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3">
  <p:sldMasterIdLst>
    <p:sldMasterId id="2147483822" r:id="rId1"/>
    <p:sldMasterId id="2147483892" r:id="rId2"/>
    <p:sldMasterId id="2147484003" r:id="rId3"/>
  </p:sldMasterIdLst>
  <p:notesMasterIdLst>
    <p:notesMasterId r:id="rId31"/>
  </p:notesMasterIdLst>
  <p:handoutMasterIdLst>
    <p:handoutMasterId r:id="rId32"/>
  </p:handoutMasterIdLst>
  <p:sldIdLst>
    <p:sldId id="277" r:id="rId4"/>
    <p:sldId id="257" r:id="rId5"/>
    <p:sldId id="259" r:id="rId6"/>
    <p:sldId id="497" r:id="rId7"/>
    <p:sldId id="454" r:id="rId8"/>
    <p:sldId id="456" r:id="rId9"/>
    <p:sldId id="457" r:id="rId10"/>
    <p:sldId id="460" r:id="rId11"/>
    <p:sldId id="466" r:id="rId12"/>
    <p:sldId id="488" r:id="rId13"/>
    <p:sldId id="496" r:id="rId14"/>
    <p:sldId id="498" r:id="rId15"/>
    <p:sldId id="482" r:id="rId16"/>
    <p:sldId id="484" r:id="rId17"/>
    <p:sldId id="452" r:id="rId18"/>
    <p:sldId id="480" r:id="rId19"/>
    <p:sldId id="486" r:id="rId20"/>
    <p:sldId id="487" r:id="rId21"/>
    <p:sldId id="490" r:id="rId22"/>
    <p:sldId id="416" r:id="rId23"/>
    <p:sldId id="411" r:id="rId24"/>
    <p:sldId id="412" r:id="rId25"/>
    <p:sldId id="391" r:id="rId26"/>
    <p:sldId id="413" r:id="rId27"/>
    <p:sldId id="414" r:id="rId28"/>
    <p:sldId id="349" r:id="rId29"/>
    <p:sldId id="415" r:id="rId30"/>
  </p:sldIdLst>
  <p:sldSz cx="1219835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to EY" id="{7993CF01-0531-47BC-853F-A2BE93E00C59}">
          <p14:sldIdLst>
            <p14:sldId id="277"/>
            <p14:sldId id="257"/>
            <p14:sldId id="259"/>
            <p14:sldId id="497"/>
          </p14:sldIdLst>
        </p14:section>
        <p14:section name="Foundational Concepts" id="{6875EF9D-A60A-4D08-A6CE-EB14E15227B4}">
          <p14:sldIdLst>
            <p14:sldId id="454"/>
            <p14:sldId id="456"/>
            <p14:sldId id="457"/>
            <p14:sldId id="460"/>
            <p14:sldId id="466"/>
            <p14:sldId id="488"/>
            <p14:sldId id="496"/>
            <p14:sldId id="498"/>
          </p14:sldIdLst>
        </p14:section>
        <p14:section name="Appendix" id="{5D8F86EC-3837-4FD9-8413-9D9414BBB002}">
          <p14:sldIdLst>
            <p14:sldId id="482"/>
            <p14:sldId id="484"/>
            <p14:sldId id="452"/>
            <p14:sldId id="480"/>
            <p14:sldId id="486"/>
            <p14:sldId id="487"/>
            <p14:sldId id="490"/>
            <p14:sldId id="416"/>
            <p14:sldId id="411"/>
            <p14:sldId id="412"/>
            <p14:sldId id="391"/>
            <p14:sldId id="413"/>
            <p14:sldId id="414"/>
            <p14:sldId id="349"/>
            <p14:sldId id="415"/>
          </p14:sldIdLst>
        </p14:section>
      </p14:sectionLst>
    </p:ext>
    <p:ext uri="{EFAFB233-063F-42B5-8137-9DF3F51BA10A}">
      <p15:sldGuideLst xmlns:p15="http://schemas.microsoft.com/office/powerpoint/2012/main">
        <p15:guide id="1" orient="horz" pos="2160" userDrawn="1">
          <p15:clr>
            <a:srgbClr val="A4A3A4"/>
          </p15:clr>
        </p15:guide>
        <p15:guide id="2" pos="3842" userDrawn="1">
          <p15:clr>
            <a:srgbClr val="A4A3A4"/>
          </p15:clr>
        </p15:guide>
        <p15:guide id="3" orient="horz" pos="335" userDrawn="1">
          <p15:clr>
            <a:srgbClr val="A4A3A4"/>
          </p15:clr>
        </p15:guide>
        <p15:guide id="4" orient="horz" pos="190" userDrawn="1">
          <p15:clr>
            <a:srgbClr val="A4A3A4"/>
          </p15:clr>
        </p15:guide>
        <p15:guide id="5" pos="386" userDrawn="1">
          <p15:clr>
            <a:srgbClr val="A4A3A4"/>
          </p15:clr>
        </p15:guide>
        <p15:guide id="6" pos="7298" userDrawn="1">
          <p15:clr>
            <a:srgbClr val="A4A3A4"/>
          </p15:clr>
        </p15:guide>
        <p15:guide id="7" orient="horz" pos="709" userDrawn="1">
          <p15:clr>
            <a:srgbClr val="A4A3A4"/>
          </p15:clr>
        </p15:guide>
        <p15:guide id="8" orient="horz" pos="3886" userDrawn="1">
          <p15:clr>
            <a:srgbClr val="A4A3A4"/>
          </p15:clr>
        </p15:guide>
        <p15:guide id="9" orient="horz" pos="4178"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000000"/>
    <a:srgbClr val="FFFFFF"/>
    <a:srgbClr val="C4C4CD"/>
    <a:srgbClr val="747480"/>
    <a:srgbClr val="2E2E38"/>
    <a:srgbClr val="80808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013" autoAdjust="0"/>
  </p:normalViewPr>
  <p:slideViewPr>
    <p:cSldViewPr snapToGrid="0" snapToObjects="1" showGuides="1">
      <p:cViewPr varScale="1">
        <p:scale>
          <a:sx n="86" d="100"/>
          <a:sy n="86" d="100"/>
        </p:scale>
        <p:origin x="557" y="58"/>
      </p:cViewPr>
      <p:guideLst>
        <p:guide orient="horz" pos="2160"/>
        <p:guide pos="3842"/>
        <p:guide orient="horz" pos="335"/>
        <p:guide orient="horz" pos="190"/>
        <p:guide pos="386"/>
        <p:guide pos="7298"/>
        <p:guide orient="horz" pos="709"/>
        <p:guide orient="horz" pos="3886"/>
        <p:guide orient="horz" pos="4178"/>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50" d="100"/>
        <a:sy n="50" d="100"/>
      </p:scale>
      <p:origin x="0" y="-157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0B2A3D-39F9-465E-8B72-28719578C376}"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IN"/>
        </a:p>
      </dgm:t>
    </dgm:pt>
    <dgm:pt modelId="{986FCB17-B644-4425-819A-131E641899BD}">
      <dgm:prSet phldrT="[Text]" custT="1"/>
      <dgm:spPr>
        <a:solidFill>
          <a:srgbClr val="FFE600"/>
        </a:solidFill>
      </dgm:spPr>
      <dgm:t>
        <a:bodyPr/>
        <a:lstStyle/>
        <a:p>
          <a:r>
            <a:rPr lang="en-US" sz="1400" b="1">
              <a:solidFill>
                <a:schemeClr val="bg2"/>
              </a:solidFill>
            </a:rPr>
            <a:t>Cost Center</a:t>
          </a:r>
          <a:endParaRPr lang="en-IN" sz="1400" b="1" dirty="0">
            <a:solidFill>
              <a:schemeClr val="bg2"/>
            </a:solidFill>
          </a:endParaRPr>
        </a:p>
      </dgm:t>
    </dgm:pt>
    <dgm:pt modelId="{FBF87E6A-2BA2-4F12-A12B-E5500F03C06F}" type="parTrans" cxnId="{3845B9BC-3E01-4A35-8E8A-6B449B0C7585}">
      <dgm:prSet/>
      <dgm:spPr/>
      <dgm:t>
        <a:bodyPr/>
        <a:lstStyle/>
        <a:p>
          <a:endParaRPr lang="en-IN" sz="1400"/>
        </a:p>
      </dgm:t>
    </dgm:pt>
    <dgm:pt modelId="{9B7B5040-2B7B-4662-932A-98437C98641A}" type="sibTrans" cxnId="{3845B9BC-3E01-4A35-8E8A-6B449B0C7585}">
      <dgm:prSet/>
      <dgm:spPr/>
      <dgm:t>
        <a:bodyPr/>
        <a:lstStyle/>
        <a:p>
          <a:endParaRPr lang="en-IN" sz="1400"/>
        </a:p>
      </dgm:t>
    </dgm:pt>
    <dgm:pt modelId="{387A8101-39F3-4046-8CC0-8B6D0160900E}">
      <dgm:prSet phldrT="[Text]" custT="1"/>
      <dgm:spPr>
        <a:solidFill>
          <a:schemeClr val="bg2">
            <a:lumMod val="20000"/>
            <a:lumOff val="80000"/>
            <a:alpha val="90000"/>
          </a:schemeClr>
        </a:solidFill>
      </dgm:spPr>
      <dgm:t>
        <a:bodyPr/>
        <a:lstStyle/>
        <a:p>
          <a:r>
            <a:rPr lang="en-IN" sz="1400" dirty="0">
              <a:solidFill>
                <a:schemeClr val="bg1"/>
              </a:solidFill>
            </a:rPr>
            <a:t>For people and internal projects is a defined location where non-chargeable expenses, summarized compensation and people driven revenues are captured.</a:t>
          </a:r>
        </a:p>
      </dgm:t>
    </dgm:pt>
    <dgm:pt modelId="{215B4D2C-0402-4AC2-ADC3-5FACF26BD9AD}" type="parTrans" cxnId="{FC0CCDC6-F9DA-4BC2-99C4-94E29330612C}">
      <dgm:prSet/>
      <dgm:spPr/>
      <dgm:t>
        <a:bodyPr/>
        <a:lstStyle/>
        <a:p>
          <a:endParaRPr lang="en-IN" sz="1400"/>
        </a:p>
      </dgm:t>
    </dgm:pt>
    <dgm:pt modelId="{4D081D66-7308-4005-AFD2-CC90E731D2DB}" type="sibTrans" cxnId="{FC0CCDC6-F9DA-4BC2-99C4-94E29330612C}">
      <dgm:prSet/>
      <dgm:spPr/>
      <dgm:t>
        <a:bodyPr/>
        <a:lstStyle/>
        <a:p>
          <a:endParaRPr lang="en-IN" sz="1400"/>
        </a:p>
      </dgm:t>
    </dgm:pt>
    <dgm:pt modelId="{D815CBBC-C093-4492-B52F-C914F661F47D}">
      <dgm:prSet phldrT="[Text]" custT="1"/>
      <dgm:spPr>
        <a:solidFill>
          <a:schemeClr val="bg2">
            <a:lumMod val="20000"/>
            <a:lumOff val="80000"/>
            <a:alpha val="90000"/>
          </a:schemeClr>
        </a:solidFill>
      </dgm:spPr>
      <dgm:t>
        <a:bodyPr/>
        <a:lstStyle/>
        <a:p>
          <a:r>
            <a:rPr lang="en-IN" sz="1400" b="1">
              <a:solidFill>
                <a:schemeClr val="bg1"/>
              </a:solidFill>
            </a:rPr>
            <a:t>Company Code + Management Layer + Competency + Location</a:t>
          </a:r>
          <a:endParaRPr lang="en-IN" sz="1400" b="1" dirty="0">
            <a:solidFill>
              <a:schemeClr val="bg1"/>
            </a:solidFill>
          </a:endParaRPr>
        </a:p>
      </dgm:t>
    </dgm:pt>
    <dgm:pt modelId="{110104E8-3C60-4500-9DD0-E5FB87593E28}" type="parTrans" cxnId="{C9AFDAC6-8EAD-4D07-8F17-C19BB1270323}">
      <dgm:prSet/>
      <dgm:spPr/>
      <dgm:t>
        <a:bodyPr/>
        <a:lstStyle/>
        <a:p>
          <a:endParaRPr lang="en-IN" sz="1400"/>
        </a:p>
      </dgm:t>
    </dgm:pt>
    <dgm:pt modelId="{A7A36799-08BF-47D8-B921-10E236ECD143}" type="sibTrans" cxnId="{C9AFDAC6-8EAD-4D07-8F17-C19BB1270323}">
      <dgm:prSet/>
      <dgm:spPr/>
      <dgm:t>
        <a:bodyPr/>
        <a:lstStyle/>
        <a:p>
          <a:endParaRPr lang="en-IN" sz="1400"/>
        </a:p>
      </dgm:t>
    </dgm:pt>
    <dgm:pt modelId="{FCBA3470-6F5D-4FEB-9703-0310151D5DBA}">
      <dgm:prSet phldrT="[Text]" custT="1"/>
      <dgm:spPr>
        <a:solidFill>
          <a:srgbClr val="FFE600"/>
        </a:solidFill>
      </dgm:spPr>
      <dgm:t>
        <a:bodyPr/>
        <a:lstStyle/>
        <a:p>
          <a:r>
            <a:rPr lang="en-US" sz="1400" b="1">
              <a:solidFill>
                <a:schemeClr val="bg2"/>
              </a:solidFill>
            </a:rPr>
            <a:t>Profit Center</a:t>
          </a:r>
          <a:endParaRPr lang="en-IN" sz="1400" b="1" dirty="0">
            <a:solidFill>
              <a:schemeClr val="bg2"/>
            </a:solidFill>
          </a:endParaRPr>
        </a:p>
      </dgm:t>
    </dgm:pt>
    <dgm:pt modelId="{3E7D5140-F0BD-4429-9834-D9F40ACF5B12}" type="parTrans" cxnId="{27BCB18A-0B9D-46EC-9BCB-0CF04B5F46F2}">
      <dgm:prSet/>
      <dgm:spPr/>
      <dgm:t>
        <a:bodyPr/>
        <a:lstStyle/>
        <a:p>
          <a:endParaRPr lang="en-IN" sz="1400"/>
        </a:p>
      </dgm:t>
    </dgm:pt>
    <dgm:pt modelId="{1DB80976-6133-4085-92C9-8F81797F2F2C}" type="sibTrans" cxnId="{27BCB18A-0B9D-46EC-9BCB-0CF04B5F46F2}">
      <dgm:prSet/>
      <dgm:spPr/>
      <dgm:t>
        <a:bodyPr/>
        <a:lstStyle/>
        <a:p>
          <a:endParaRPr lang="en-IN" sz="1400"/>
        </a:p>
      </dgm:t>
    </dgm:pt>
    <dgm:pt modelId="{A0FD1166-68E1-4606-B5B5-AE9C6F63AC5F}">
      <dgm:prSet phldrT="[Text]" custT="1"/>
      <dgm:spPr>
        <a:solidFill>
          <a:schemeClr val="bg2">
            <a:lumMod val="20000"/>
            <a:lumOff val="80000"/>
            <a:alpha val="90000"/>
          </a:schemeClr>
        </a:solidFill>
      </dgm:spPr>
      <dgm:t>
        <a:bodyPr/>
        <a:lstStyle/>
        <a:p>
          <a:r>
            <a:rPr lang="en-IN" sz="1400">
              <a:solidFill>
                <a:schemeClr val="bg1"/>
              </a:solidFill>
            </a:rPr>
            <a:t>for External Projects and Balance sheet reporting Purpose only</a:t>
          </a:r>
          <a:endParaRPr lang="en-IN" sz="1400" dirty="0">
            <a:solidFill>
              <a:schemeClr val="bg1"/>
            </a:solidFill>
          </a:endParaRPr>
        </a:p>
      </dgm:t>
    </dgm:pt>
    <dgm:pt modelId="{FF099487-059A-416A-AAD4-71FE4C81A23C}" type="parTrans" cxnId="{374DA85F-048E-4033-B989-C2D417A84E69}">
      <dgm:prSet/>
      <dgm:spPr/>
      <dgm:t>
        <a:bodyPr/>
        <a:lstStyle/>
        <a:p>
          <a:endParaRPr lang="en-IN" sz="1400"/>
        </a:p>
      </dgm:t>
    </dgm:pt>
    <dgm:pt modelId="{7FDF19F6-6F13-4824-B61E-DA06792F5C83}" type="sibTrans" cxnId="{374DA85F-048E-4033-B989-C2D417A84E69}">
      <dgm:prSet/>
      <dgm:spPr/>
      <dgm:t>
        <a:bodyPr/>
        <a:lstStyle/>
        <a:p>
          <a:endParaRPr lang="en-IN" sz="1400"/>
        </a:p>
      </dgm:t>
    </dgm:pt>
    <dgm:pt modelId="{EF115691-5576-40BB-9B11-F100FCBA4A28}">
      <dgm:prSet phldrT="[Text]" custT="1"/>
      <dgm:spPr>
        <a:solidFill>
          <a:schemeClr val="bg2">
            <a:lumMod val="20000"/>
            <a:lumOff val="80000"/>
            <a:alpha val="90000"/>
          </a:schemeClr>
        </a:solidFill>
      </dgm:spPr>
      <dgm:t>
        <a:bodyPr/>
        <a:lstStyle/>
        <a:p>
          <a:r>
            <a:rPr lang="en-IN" sz="1400" b="1">
              <a:solidFill>
                <a:schemeClr val="bg1"/>
              </a:solidFill>
            </a:rPr>
            <a:t>Service Line Code + Location + Indicator</a:t>
          </a:r>
          <a:endParaRPr lang="en-IN" sz="1400" b="1" dirty="0">
            <a:solidFill>
              <a:schemeClr val="bg1"/>
            </a:solidFill>
          </a:endParaRPr>
        </a:p>
      </dgm:t>
    </dgm:pt>
    <dgm:pt modelId="{3C638678-67AB-4152-92C3-D74DAD05EC53}" type="parTrans" cxnId="{F6D79A79-7BB3-401A-ACE5-FDBBCF4796CA}">
      <dgm:prSet/>
      <dgm:spPr/>
      <dgm:t>
        <a:bodyPr/>
        <a:lstStyle/>
        <a:p>
          <a:endParaRPr lang="en-IN" sz="1400"/>
        </a:p>
      </dgm:t>
    </dgm:pt>
    <dgm:pt modelId="{C8CAB3F7-A7B7-4E2C-BD12-35B366313D39}" type="sibTrans" cxnId="{F6D79A79-7BB3-401A-ACE5-FDBBCF4796CA}">
      <dgm:prSet/>
      <dgm:spPr/>
      <dgm:t>
        <a:bodyPr/>
        <a:lstStyle/>
        <a:p>
          <a:endParaRPr lang="en-IN" sz="1400"/>
        </a:p>
      </dgm:t>
    </dgm:pt>
    <dgm:pt modelId="{45F3574E-CDC9-407A-A7C4-17716A9AE072}">
      <dgm:prSet phldrT="[Text]" custT="1"/>
      <dgm:spPr>
        <a:solidFill>
          <a:schemeClr val="bg2">
            <a:lumMod val="20000"/>
            <a:lumOff val="80000"/>
            <a:alpha val="90000"/>
          </a:schemeClr>
        </a:solidFill>
      </dgm:spPr>
      <dgm:t>
        <a:bodyPr/>
        <a:lstStyle/>
        <a:p>
          <a:r>
            <a:rPr lang="en-IN" sz="1400" b="0">
              <a:solidFill>
                <a:schemeClr val="bg1"/>
              </a:solidFill>
            </a:rPr>
            <a:t>(Default ‘0’ but Global CBS is ‘3’)</a:t>
          </a:r>
          <a:endParaRPr lang="en-IN" sz="1400" b="0" dirty="0">
            <a:solidFill>
              <a:schemeClr val="bg1"/>
            </a:solidFill>
          </a:endParaRPr>
        </a:p>
      </dgm:t>
    </dgm:pt>
    <dgm:pt modelId="{68932BAD-60C1-44B3-AED0-0C2368E006D0}" type="parTrans" cxnId="{21AF9986-EB8E-4A7B-B33A-8163222EE49B}">
      <dgm:prSet/>
      <dgm:spPr/>
      <dgm:t>
        <a:bodyPr/>
        <a:lstStyle/>
        <a:p>
          <a:endParaRPr lang="en-IN" sz="1400"/>
        </a:p>
      </dgm:t>
    </dgm:pt>
    <dgm:pt modelId="{60A811F1-6A39-4477-992A-AD59E2FEB7B2}" type="sibTrans" cxnId="{21AF9986-EB8E-4A7B-B33A-8163222EE49B}">
      <dgm:prSet/>
      <dgm:spPr/>
      <dgm:t>
        <a:bodyPr/>
        <a:lstStyle/>
        <a:p>
          <a:endParaRPr lang="en-IN" sz="1400"/>
        </a:p>
      </dgm:t>
    </dgm:pt>
    <dgm:pt modelId="{E333ABE4-AB6E-4F79-89FB-3741F35AEB31}" type="pres">
      <dgm:prSet presAssocID="{C40B2A3D-39F9-465E-8B72-28719578C376}" presName="linearFlow" presStyleCnt="0">
        <dgm:presLayoutVars>
          <dgm:dir/>
          <dgm:animLvl val="lvl"/>
          <dgm:resizeHandles val="exact"/>
        </dgm:presLayoutVars>
      </dgm:prSet>
      <dgm:spPr/>
    </dgm:pt>
    <dgm:pt modelId="{F938DF09-591E-4AD7-B02B-3F7EAEAF5706}" type="pres">
      <dgm:prSet presAssocID="{986FCB17-B644-4425-819A-131E641899BD}" presName="composite" presStyleCnt="0"/>
      <dgm:spPr/>
    </dgm:pt>
    <dgm:pt modelId="{8CEBB36A-EB4C-4B42-9743-0E16CEE1B041}" type="pres">
      <dgm:prSet presAssocID="{986FCB17-B644-4425-819A-131E641899BD}" presName="parentText" presStyleLbl="alignNode1" presStyleIdx="0" presStyleCnt="2">
        <dgm:presLayoutVars>
          <dgm:chMax val="1"/>
          <dgm:bulletEnabled val="1"/>
        </dgm:presLayoutVars>
      </dgm:prSet>
      <dgm:spPr/>
    </dgm:pt>
    <dgm:pt modelId="{C31D0B32-9556-402B-80C7-A8CD628782D9}" type="pres">
      <dgm:prSet presAssocID="{986FCB17-B644-4425-819A-131E641899BD}" presName="descendantText" presStyleLbl="alignAcc1" presStyleIdx="0" presStyleCnt="2">
        <dgm:presLayoutVars>
          <dgm:bulletEnabled val="1"/>
        </dgm:presLayoutVars>
      </dgm:prSet>
      <dgm:spPr>
        <a:prstGeom prst="flowChartProcess">
          <a:avLst/>
        </a:prstGeom>
      </dgm:spPr>
    </dgm:pt>
    <dgm:pt modelId="{8E89C748-CD3C-41E4-9393-212C4B2C19CC}" type="pres">
      <dgm:prSet presAssocID="{9B7B5040-2B7B-4662-932A-98437C98641A}" presName="sp" presStyleCnt="0"/>
      <dgm:spPr/>
    </dgm:pt>
    <dgm:pt modelId="{C246F214-407B-4C66-9AAF-0A5BFEF5BEAF}" type="pres">
      <dgm:prSet presAssocID="{FCBA3470-6F5D-4FEB-9703-0310151D5DBA}" presName="composite" presStyleCnt="0"/>
      <dgm:spPr/>
    </dgm:pt>
    <dgm:pt modelId="{D7BA34F6-086C-4E03-8CD5-B42FAF4E170E}" type="pres">
      <dgm:prSet presAssocID="{FCBA3470-6F5D-4FEB-9703-0310151D5DBA}" presName="parentText" presStyleLbl="alignNode1" presStyleIdx="1" presStyleCnt="2">
        <dgm:presLayoutVars>
          <dgm:chMax val="1"/>
          <dgm:bulletEnabled val="1"/>
        </dgm:presLayoutVars>
      </dgm:prSet>
      <dgm:spPr/>
    </dgm:pt>
    <dgm:pt modelId="{4E7B6223-605C-46A8-B74B-15C3AAA44F7F}" type="pres">
      <dgm:prSet presAssocID="{FCBA3470-6F5D-4FEB-9703-0310151D5DBA}" presName="descendantText" presStyleLbl="alignAcc1" presStyleIdx="1" presStyleCnt="2">
        <dgm:presLayoutVars>
          <dgm:bulletEnabled val="1"/>
        </dgm:presLayoutVars>
      </dgm:prSet>
      <dgm:spPr>
        <a:prstGeom prst="flowChartProcess">
          <a:avLst/>
        </a:prstGeom>
      </dgm:spPr>
    </dgm:pt>
  </dgm:ptLst>
  <dgm:cxnLst>
    <dgm:cxn modelId="{54756A04-2248-4D5F-A8B1-F172C7B22D32}" type="presOf" srcId="{D815CBBC-C093-4492-B52F-C914F661F47D}" destId="{C31D0B32-9556-402B-80C7-A8CD628782D9}" srcOrd="0" destOrd="1" presId="urn:microsoft.com/office/officeart/2005/8/layout/chevron2"/>
    <dgm:cxn modelId="{374DA85F-048E-4033-B989-C2D417A84E69}" srcId="{FCBA3470-6F5D-4FEB-9703-0310151D5DBA}" destId="{A0FD1166-68E1-4606-B5B5-AE9C6F63AC5F}" srcOrd="0" destOrd="0" parTransId="{FF099487-059A-416A-AAD4-71FE4C81A23C}" sibTransId="{7FDF19F6-6F13-4824-B61E-DA06792F5C83}"/>
    <dgm:cxn modelId="{F6D79A79-7BB3-401A-ACE5-FDBBCF4796CA}" srcId="{FCBA3470-6F5D-4FEB-9703-0310151D5DBA}" destId="{EF115691-5576-40BB-9B11-F100FCBA4A28}" srcOrd="1" destOrd="0" parTransId="{3C638678-67AB-4152-92C3-D74DAD05EC53}" sibTransId="{C8CAB3F7-A7B7-4E2C-BD12-35B366313D39}"/>
    <dgm:cxn modelId="{21AF9986-EB8E-4A7B-B33A-8163222EE49B}" srcId="{EF115691-5576-40BB-9B11-F100FCBA4A28}" destId="{45F3574E-CDC9-407A-A7C4-17716A9AE072}" srcOrd="0" destOrd="0" parTransId="{68932BAD-60C1-44B3-AED0-0C2368E006D0}" sibTransId="{60A811F1-6A39-4477-992A-AD59E2FEB7B2}"/>
    <dgm:cxn modelId="{27BCB18A-0B9D-46EC-9BCB-0CF04B5F46F2}" srcId="{C40B2A3D-39F9-465E-8B72-28719578C376}" destId="{FCBA3470-6F5D-4FEB-9703-0310151D5DBA}" srcOrd="1" destOrd="0" parTransId="{3E7D5140-F0BD-4429-9834-D9F40ACF5B12}" sibTransId="{1DB80976-6133-4085-92C9-8F81797F2F2C}"/>
    <dgm:cxn modelId="{B382B69A-587D-487D-828D-6FF8CE2544D4}" type="presOf" srcId="{FCBA3470-6F5D-4FEB-9703-0310151D5DBA}" destId="{D7BA34F6-086C-4E03-8CD5-B42FAF4E170E}" srcOrd="0" destOrd="0" presId="urn:microsoft.com/office/officeart/2005/8/layout/chevron2"/>
    <dgm:cxn modelId="{3845B9BC-3E01-4A35-8E8A-6B449B0C7585}" srcId="{C40B2A3D-39F9-465E-8B72-28719578C376}" destId="{986FCB17-B644-4425-819A-131E641899BD}" srcOrd="0" destOrd="0" parTransId="{FBF87E6A-2BA2-4F12-A12B-E5500F03C06F}" sibTransId="{9B7B5040-2B7B-4662-932A-98437C98641A}"/>
    <dgm:cxn modelId="{FC0CCDC6-F9DA-4BC2-99C4-94E29330612C}" srcId="{986FCB17-B644-4425-819A-131E641899BD}" destId="{387A8101-39F3-4046-8CC0-8B6D0160900E}" srcOrd="0" destOrd="0" parTransId="{215B4D2C-0402-4AC2-ADC3-5FACF26BD9AD}" sibTransId="{4D081D66-7308-4005-AFD2-CC90E731D2DB}"/>
    <dgm:cxn modelId="{C9AFDAC6-8EAD-4D07-8F17-C19BB1270323}" srcId="{986FCB17-B644-4425-819A-131E641899BD}" destId="{D815CBBC-C093-4492-B52F-C914F661F47D}" srcOrd="1" destOrd="0" parTransId="{110104E8-3C60-4500-9DD0-E5FB87593E28}" sibTransId="{A7A36799-08BF-47D8-B921-10E236ECD143}"/>
    <dgm:cxn modelId="{4B848ECA-BCF0-40DA-B147-4ED8A5823F15}" type="presOf" srcId="{C40B2A3D-39F9-465E-8B72-28719578C376}" destId="{E333ABE4-AB6E-4F79-89FB-3741F35AEB31}" srcOrd="0" destOrd="0" presId="urn:microsoft.com/office/officeart/2005/8/layout/chevron2"/>
    <dgm:cxn modelId="{0D3E78CD-9ED8-41CA-AD18-1DF4883FD315}" type="presOf" srcId="{387A8101-39F3-4046-8CC0-8B6D0160900E}" destId="{C31D0B32-9556-402B-80C7-A8CD628782D9}" srcOrd="0" destOrd="0" presId="urn:microsoft.com/office/officeart/2005/8/layout/chevron2"/>
    <dgm:cxn modelId="{8700D7D4-619E-422F-8A30-532C318CB415}" type="presOf" srcId="{45F3574E-CDC9-407A-A7C4-17716A9AE072}" destId="{4E7B6223-605C-46A8-B74B-15C3AAA44F7F}" srcOrd="0" destOrd="2" presId="urn:microsoft.com/office/officeart/2005/8/layout/chevron2"/>
    <dgm:cxn modelId="{99D14DE7-A805-429A-BC4D-6C8C6E65904E}" type="presOf" srcId="{EF115691-5576-40BB-9B11-F100FCBA4A28}" destId="{4E7B6223-605C-46A8-B74B-15C3AAA44F7F}" srcOrd="0" destOrd="1" presId="urn:microsoft.com/office/officeart/2005/8/layout/chevron2"/>
    <dgm:cxn modelId="{78205FEF-FC5A-4D71-A5C6-6449F9E60940}" type="presOf" srcId="{A0FD1166-68E1-4606-B5B5-AE9C6F63AC5F}" destId="{4E7B6223-605C-46A8-B74B-15C3AAA44F7F}" srcOrd="0" destOrd="0" presId="urn:microsoft.com/office/officeart/2005/8/layout/chevron2"/>
    <dgm:cxn modelId="{3D61B8F8-472C-4FB1-A0AF-762FA3DAB17C}" type="presOf" srcId="{986FCB17-B644-4425-819A-131E641899BD}" destId="{8CEBB36A-EB4C-4B42-9743-0E16CEE1B041}" srcOrd="0" destOrd="0" presId="urn:microsoft.com/office/officeart/2005/8/layout/chevron2"/>
    <dgm:cxn modelId="{758B48A8-06CC-42E0-A960-C45E390D1EC5}" type="presParOf" srcId="{E333ABE4-AB6E-4F79-89FB-3741F35AEB31}" destId="{F938DF09-591E-4AD7-B02B-3F7EAEAF5706}" srcOrd="0" destOrd="0" presId="urn:microsoft.com/office/officeart/2005/8/layout/chevron2"/>
    <dgm:cxn modelId="{614D6A98-AF06-496A-9958-6F34832203A3}" type="presParOf" srcId="{F938DF09-591E-4AD7-B02B-3F7EAEAF5706}" destId="{8CEBB36A-EB4C-4B42-9743-0E16CEE1B041}" srcOrd="0" destOrd="0" presId="urn:microsoft.com/office/officeart/2005/8/layout/chevron2"/>
    <dgm:cxn modelId="{2FA85AF5-CB2C-4677-A02F-B97D74294A39}" type="presParOf" srcId="{F938DF09-591E-4AD7-B02B-3F7EAEAF5706}" destId="{C31D0B32-9556-402B-80C7-A8CD628782D9}" srcOrd="1" destOrd="0" presId="urn:microsoft.com/office/officeart/2005/8/layout/chevron2"/>
    <dgm:cxn modelId="{5CA65715-915D-4725-B37C-532BA0FE401B}" type="presParOf" srcId="{E333ABE4-AB6E-4F79-89FB-3741F35AEB31}" destId="{8E89C748-CD3C-41E4-9393-212C4B2C19CC}" srcOrd="1" destOrd="0" presId="urn:microsoft.com/office/officeart/2005/8/layout/chevron2"/>
    <dgm:cxn modelId="{F11F99A6-47BF-412A-80DF-03079DAE256F}" type="presParOf" srcId="{E333ABE4-AB6E-4F79-89FB-3741F35AEB31}" destId="{C246F214-407B-4C66-9AAF-0A5BFEF5BEAF}" srcOrd="2" destOrd="0" presId="urn:microsoft.com/office/officeart/2005/8/layout/chevron2"/>
    <dgm:cxn modelId="{B5C052B3-F26D-4065-8998-7BBC0513B31E}" type="presParOf" srcId="{C246F214-407B-4C66-9AAF-0A5BFEF5BEAF}" destId="{D7BA34F6-086C-4E03-8CD5-B42FAF4E170E}" srcOrd="0" destOrd="0" presId="urn:microsoft.com/office/officeart/2005/8/layout/chevron2"/>
    <dgm:cxn modelId="{D92A6B70-CB42-491C-8263-B77A96EA99FF}" type="presParOf" srcId="{C246F214-407B-4C66-9AAF-0A5BFEF5BEAF}" destId="{4E7B6223-605C-46A8-B74B-15C3AAA44F7F}"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D80EA5-2089-4163-8C96-A9E60765033E}" type="doc">
      <dgm:prSet loTypeId="urn:microsoft.com/office/officeart/2005/8/layout/chevron2" loCatId="list" qsTypeId="urn:microsoft.com/office/officeart/2005/8/quickstyle/simple3" qsCatId="simple" csTypeId="urn:microsoft.com/office/officeart/2005/8/colors/accent1_2" csCatId="accent1" phldr="1"/>
      <dgm:spPr/>
      <dgm:t>
        <a:bodyPr/>
        <a:lstStyle/>
        <a:p>
          <a:endParaRPr lang="en-IN"/>
        </a:p>
      </dgm:t>
    </dgm:pt>
    <dgm:pt modelId="{01DE662D-F253-491E-91B5-6B8215CE5527}">
      <dgm:prSet phldrT="[Text]"/>
      <dgm:spPr>
        <a:solidFill>
          <a:schemeClr val="bg1">
            <a:lumMod val="60000"/>
            <a:lumOff val="40000"/>
          </a:schemeClr>
        </a:solidFill>
      </dgm:spPr>
      <dgm:t>
        <a:bodyPr/>
        <a:lstStyle/>
        <a:p>
          <a:r>
            <a:rPr lang="en-US"/>
            <a:t>Account</a:t>
          </a:r>
          <a:endParaRPr lang="en-IN" dirty="0"/>
        </a:p>
      </dgm:t>
    </dgm:pt>
    <dgm:pt modelId="{40E70F62-C637-4D1F-94AD-601C4DCA1A2B}" type="parTrans" cxnId="{26B3C46E-2522-4B3D-8354-116F85BA7C12}">
      <dgm:prSet/>
      <dgm:spPr/>
      <dgm:t>
        <a:bodyPr/>
        <a:lstStyle/>
        <a:p>
          <a:endParaRPr lang="en-IN"/>
        </a:p>
      </dgm:t>
    </dgm:pt>
    <dgm:pt modelId="{87EFC416-7ED5-4EF2-AB23-8C4705E927F4}" type="sibTrans" cxnId="{26B3C46E-2522-4B3D-8354-116F85BA7C12}">
      <dgm:prSet/>
      <dgm:spPr/>
      <dgm:t>
        <a:bodyPr/>
        <a:lstStyle/>
        <a:p>
          <a:endParaRPr lang="en-IN"/>
        </a:p>
      </dgm:t>
    </dgm:pt>
    <dgm:pt modelId="{1E8CA1B5-0C6A-43A0-85F1-9385DF303A6A}">
      <dgm:prSet phldrT="[Text]"/>
      <dgm:spPr>
        <a:solidFill>
          <a:schemeClr val="bg2">
            <a:lumMod val="20000"/>
            <a:lumOff val="80000"/>
            <a:alpha val="90000"/>
          </a:schemeClr>
        </a:solidFill>
      </dgm:spPr>
      <dgm:t>
        <a:bodyPr/>
        <a:lstStyle/>
        <a:p>
          <a:r>
            <a:rPr lang="en-IN"/>
            <a:t>An Account is the ultimate parent entity under which multiple clients (subsidiaries of the account) align.</a:t>
          </a:r>
          <a:endParaRPr lang="en-IN" dirty="0"/>
        </a:p>
      </dgm:t>
    </dgm:pt>
    <dgm:pt modelId="{499CA655-8A78-42DB-A241-70430BBBB7B9}" type="parTrans" cxnId="{13C89105-E86C-485E-A0B1-D54B041B4FC0}">
      <dgm:prSet/>
      <dgm:spPr/>
      <dgm:t>
        <a:bodyPr/>
        <a:lstStyle/>
        <a:p>
          <a:endParaRPr lang="en-IN"/>
        </a:p>
      </dgm:t>
    </dgm:pt>
    <dgm:pt modelId="{34214A51-6FF3-43EC-AC57-07C551C896D2}" type="sibTrans" cxnId="{13C89105-E86C-485E-A0B1-D54B041B4FC0}">
      <dgm:prSet/>
      <dgm:spPr/>
      <dgm:t>
        <a:bodyPr/>
        <a:lstStyle/>
        <a:p>
          <a:endParaRPr lang="en-IN"/>
        </a:p>
      </dgm:t>
    </dgm:pt>
    <dgm:pt modelId="{570980DA-26F5-4C83-9CC8-04F8E319EA02}">
      <dgm:prSet phldrT="[Text]"/>
      <dgm:spPr>
        <a:solidFill>
          <a:schemeClr val="bg1">
            <a:lumMod val="60000"/>
            <a:lumOff val="40000"/>
          </a:schemeClr>
        </a:solidFill>
      </dgm:spPr>
      <dgm:t>
        <a:bodyPr/>
        <a:lstStyle/>
        <a:p>
          <a:r>
            <a:rPr lang="en-US"/>
            <a:t>Client</a:t>
          </a:r>
          <a:endParaRPr lang="en-IN" dirty="0"/>
        </a:p>
      </dgm:t>
    </dgm:pt>
    <dgm:pt modelId="{303F128A-12AC-42C5-8117-368461CEECFA}" type="parTrans" cxnId="{903772FD-25B8-428B-AB01-1080881EB7D1}">
      <dgm:prSet/>
      <dgm:spPr/>
      <dgm:t>
        <a:bodyPr/>
        <a:lstStyle/>
        <a:p>
          <a:endParaRPr lang="en-IN"/>
        </a:p>
      </dgm:t>
    </dgm:pt>
    <dgm:pt modelId="{0DD8704F-562D-4CC9-A48C-7CB1A1BFA30D}" type="sibTrans" cxnId="{903772FD-25B8-428B-AB01-1080881EB7D1}">
      <dgm:prSet/>
      <dgm:spPr/>
      <dgm:t>
        <a:bodyPr/>
        <a:lstStyle/>
        <a:p>
          <a:endParaRPr lang="en-IN"/>
        </a:p>
      </dgm:t>
    </dgm:pt>
    <dgm:pt modelId="{B3026567-E1E2-4C58-B309-96BA706634A6}">
      <dgm:prSet phldrT="[Text]"/>
      <dgm:spPr>
        <a:solidFill>
          <a:schemeClr val="bg2">
            <a:lumMod val="20000"/>
            <a:lumOff val="80000"/>
            <a:alpha val="90000"/>
          </a:schemeClr>
        </a:solidFill>
      </dgm:spPr>
      <dgm:t>
        <a:bodyPr/>
        <a:lstStyle/>
        <a:p>
          <a:r>
            <a:rPr lang="en-IN"/>
            <a:t>A legal or government entity or an individual who currently contracts for the firm’s services. A client may be an individual or a privately or publicly held corporation.</a:t>
          </a:r>
          <a:endParaRPr lang="en-IN" dirty="0"/>
        </a:p>
      </dgm:t>
    </dgm:pt>
    <dgm:pt modelId="{464B23E6-ED54-4A4E-AC92-6FE497A87CA7}" type="parTrans" cxnId="{C6F07ED0-1380-479D-A891-37942AE5629D}">
      <dgm:prSet/>
      <dgm:spPr/>
      <dgm:t>
        <a:bodyPr/>
        <a:lstStyle/>
        <a:p>
          <a:endParaRPr lang="en-IN"/>
        </a:p>
      </dgm:t>
    </dgm:pt>
    <dgm:pt modelId="{F71E73B3-AD2A-4057-AEC5-2631FE541FAE}" type="sibTrans" cxnId="{C6F07ED0-1380-479D-A891-37942AE5629D}">
      <dgm:prSet/>
      <dgm:spPr/>
      <dgm:t>
        <a:bodyPr/>
        <a:lstStyle/>
        <a:p>
          <a:endParaRPr lang="en-IN"/>
        </a:p>
      </dgm:t>
    </dgm:pt>
    <dgm:pt modelId="{EFA52AB1-0DD6-47C2-9781-78B2DCEEC4BA}">
      <dgm:prSet phldrT="[Text]"/>
      <dgm:spPr>
        <a:solidFill>
          <a:schemeClr val="bg1">
            <a:lumMod val="60000"/>
            <a:lumOff val="40000"/>
          </a:schemeClr>
        </a:solidFill>
      </dgm:spPr>
      <dgm:t>
        <a:bodyPr/>
        <a:lstStyle/>
        <a:p>
          <a:r>
            <a:rPr lang="en-US"/>
            <a:t>Engagement</a:t>
          </a:r>
          <a:endParaRPr lang="en-IN" dirty="0"/>
        </a:p>
      </dgm:t>
    </dgm:pt>
    <dgm:pt modelId="{FAC19A7E-7ECA-4466-8F95-ED918D0E477E}" type="parTrans" cxnId="{E55B6B21-DEC7-4FC5-B1B8-4F65624E13BF}">
      <dgm:prSet/>
      <dgm:spPr/>
      <dgm:t>
        <a:bodyPr/>
        <a:lstStyle/>
        <a:p>
          <a:endParaRPr lang="en-IN"/>
        </a:p>
      </dgm:t>
    </dgm:pt>
    <dgm:pt modelId="{3F420019-FD77-451F-BA7C-6CEAEB8FC39A}" type="sibTrans" cxnId="{E55B6B21-DEC7-4FC5-B1B8-4F65624E13BF}">
      <dgm:prSet/>
      <dgm:spPr/>
      <dgm:t>
        <a:bodyPr/>
        <a:lstStyle/>
        <a:p>
          <a:endParaRPr lang="en-IN"/>
        </a:p>
      </dgm:t>
    </dgm:pt>
    <dgm:pt modelId="{BA56CE8A-0773-43BB-8139-20F2680BE136}">
      <dgm:prSet phldrT="[Text]"/>
      <dgm:spPr>
        <a:solidFill>
          <a:schemeClr val="bg2">
            <a:lumMod val="20000"/>
            <a:lumOff val="80000"/>
            <a:alpha val="90000"/>
          </a:schemeClr>
        </a:solidFill>
      </dgm:spPr>
      <dgm:t>
        <a:bodyPr/>
        <a:lstStyle/>
        <a:p>
          <a:r>
            <a:rPr lang="en-IN" dirty="0"/>
            <a:t>Once an opportunity is successfully closed and won, a corresponding engagement is created in the system. Engagement is an agreed upon scope of work performed for a client under an agreed upon pricing arrangement. Work performed on engagements will result in billable hours and generate revenue. </a:t>
          </a:r>
        </a:p>
      </dgm:t>
    </dgm:pt>
    <dgm:pt modelId="{0C9B8D2B-12DB-4037-A777-379979F7503D}" type="parTrans" cxnId="{E569082F-E307-4574-958B-C36E76C80F5C}">
      <dgm:prSet/>
      <dgm:spPr/>
      <dgm:t>
        <a:bodyPr/>
        <a:lstStyle/>
        <a:p>
          <a:endParaRPr lang="en-IN"/>
        </a:p>
      </dgm:t>
    </dgm:pt>
    <dgm:pt modelId="{6BF8D48E-FD95-49CB-9553-4DB13DA8913B}" type="sibTrans" cxnId="{E569082F-E307-4574-958B-C36E76C80F5C}">
      <dgm:prSet/>
      <dgm:spPr/>
      <dgm:t>
        <a:bodyPr/>
        <a:lstStyle/>
        <a:p>
          <a:endParaRPr lang="en-IN"/>
        </a:p>
      </dgm:t>
    </dgm:pt>
    <dgm:pt modelId="{F5C790B6-D213-4B9A-86AE-52CBB1B3E281}">
      <dgm:prSet phldrT="[Text]"/>
      <dgm:spPr>
        <a:solidFill>
          <a:schemeClr val="bg1">
            <a:lumMod val="60000"/>
            <a:lumOff val="40000"/>
          </a:schemeClr>
        </a:solidFill>
      </dgm:spPr>
      <dgm:t>
        <a:bodyPr/>
        <a:lstStyle/>
        <a:p>
          <a:r>
            <a:rPr lang="en-US" dirty="0"/>
            <a:t>Opportunity</a:t>
          </a:r>
          <a:endParaRPr lang="en-IN" dirty="0"/>
        </a:p>
      </dgm:t>
    </dgm:pt>
    <dgm:pt modelId="{298C932A-5F18-4657-8B20-679E85D5DAAD}" type="parTrans" cxnId="{C78DF912-DCAA-40E4-A93D-B63D6A3CCB04}">
      <dgm:prSet/>
      <dgm:spPr/>
      <dgm:t>
        <a:bodyPr/>
        <a:lstStyle/>
        <a:p>
          <a:endParaRPr lang="en-IN"/>
        </a:p>
      </dgm:t>
    </dgm:pt>
    <dgm:pt modelId="{411CDEBB-C845-4FEE-8032-2798A1BCD9FA}" type="sibTrans" cxnId="{C78DF912-DCAA-40E4-A93D-B63D6A3CCB04}">
      <dgm:prSet/>
      <dgm:spPr/>
      <dgm:t>
        <a:bodyPr/>
        <a:lstStyle/>
        <a:p>
          <a:endParaRPr lang="en-IN"/>
        </a:p>
      </dgm:t>
    </dgm:pt>
    <dgm:pt modelId="{B1A42332-F7EA-4DEF-A20E-4A7EB4CF9EC0}">
      <dgm:prSet phldrT="[Text]"/>
      <dgm:spPr>
        <a:solidFill>
          <a:schemeClr val="bg2">
            <a:lumMod val="20000"/>
            <a:lumOff val="80000"/>
            <a:alpha val="90000"/>
          </a:schemeClr>
        </a:solidFill>
      </dgm:spPr>
      <dgm:t>
        <a:bodyPr/>
        <a:lstStyle/>
        <a:p>
          <a:r>
            <a:rPr lang="en-IN"/>
            <a:t>A prospective sale of EY service. Once leaders identify a scope of service (new or existing) that can be provided to a client (potential or existing), it is entered into the system as an opportunity and this opportunity passes through various stages as negotiations on various aspects continue with clients, until it is closed.</a:t>
          </a:r>
          <a:endParaRPr lang="en-IN" dirty="0"/>
        </a:p>
      </dgm:t>
    </dgm:pt>
    <dgm:pt modelId="{938EF65E-919A-45C9-ADAD-84FE74CD321B}" type="parTrans" cxnId="{55FFFE3B-95CF-403E-A0BB-09E260BA58AC}">
      <dgm:prSet/>
      <dgm:spPr/>
      <dgm:t>
        <a:bodyPr/>
        <a:lstStyle/>
        <a:p>
          <a:endParaRPr lang="en-IN"/>
        </a:p>
      </dgm:t>
    </dgm:pt>
    <dgm:pt modelId="{F06D3EB3-ACEF-453A-9DAF-9E2D458448C7}" type="sibTrans" cxnId="{55FFFE3B-95CF-403E-A0BB-09E260BA58AC}">
      <dgm:prSet/>
      <dgm:spPr/>
      <dgm:t>
        <a:bodyPr/>
        <a:lstStyle/>
        <a:p>
          <a:endParaRPr lang="en-IN"/>
        </a:p>
      </dgm:t>
    </dgm:pt>
    <dgm:pt modelId="{B7063710-6FB5-4661-BA8C-E4F7FD978ADF}" type="pres">
      <dgm:prSet presAssocID="{3BD80EA5-2089-4163-8C96-A9E60765033E}" presName="linearFlow" presStyleCnt="0">
        <dgm:presLayoutVars>
          <dgm:dir/>
          <dgm:animLvl val="lvl"/>
          <dgm:resizeHandles val="exact"/>
        </dgm:presLayoutVars>
      </dgm:prSet>
      <dgm:spPr/>
    </dgm:pt>
    <dgm:pt modelId="{22194C02-EDDC-479A-BD3C-E32796429A12}" type="pres">
      <dgm:prSet presAssocID="{01DE662D-F253-491E-91B5-6B8215CE5527}" presName="composite" presStyleCnt="0"/>
      <dgm:spPr/>
    </dgm:pt>
    <dgm:pt modelId="{C1651A5C-6FBA-431A-9E41-1413AB6E16E0}" type="pres">
      <dgm:prSet presAssocID="{01DE662D-F253-491E-91B5-6B8215CE5527}" presName="parentText" presStyleLbl="alignNode1" presStyleIdx="0" presStyleCnt="4" custLinFactNeighborX="0">
        <dgm:presLayoutVars>
          <dgm:chMax val="1"/>
          <dgm:bulletEnabled val="1"/>
        </dgm:presLayoutVars>
      </dgm:prSet>
      <dgm:spPr/>
    </dgm:pt>
    <dgm:pt modelId="{9CD777C8-C58B-4D8C-810E-78303060E789}" type="pres">
      <dgm:prSet presAssocID="{01DE662D-F253-491E-91B5-6B8215CE5527}" presName="descendantText" presStyleLbl="alignAcc1" presStyleIdx="0" presStyleCnt="4" custLinFactNeighborX="0">
        <dgm:presLayoutVars>
          <dgm:bulletEnabled val="1"/>
        </dgm:presLayoutVars>
      </dgm:prSet>
      <dgm:spPr>
        <a:prstGeom prst="flowChartProcess">
          <a:avLst/>
        </a:prstGeom>
      </dgm:spPr>
    </dgm:pt>
    <dgm:pt modelId="{09FE56EE-DBE6-412F-99FB-144E56D7E748}" type="pres">
      <dgm:prSet presAssocID="{87EFC416-7ED5-4EF2-AB23-8C4705E927F4}" presName="sp" presStyleCnt="0"/>
      <dgm:spPr/>
    </dgm:pt>
    <dgm:pt modelId="{DA84C542-4179-4F03-828A-A7F75E3CADC7}" type="pres">
      <dgm:prSet presAssocID="{570980DA-26F5-4C83-9CC8-04F8E319EA02}" presName="composite" presStyleCnt="0"/>
      <dgm:spPr/>
    </dgm:pt>
    <dgm:pt modelId="{5BB21D23-1568-46B2-96C8-EFBE8420721B}" type="pres">
      <dgm:prSet presAssocID="{570980DA-26F5-4C83-9CC8-04F8E319EA02}" presName="parentText" presStyleLbl="alignNode1" presStyleIdx="1" presStyleCnt="4">
        <dgm:presLayoutVars>
          <dgm:chMax val="1"/>
          <dgm:bulletEnabled val="1"/>
        </dgm:presLayoutVars>
      </dgm:prSet>
      <dgm:spPr/>
    </dgm:pt>
    <dgm:pt modelId="{51C98349-D5FE-4331-BF2D-DE2D2013B490}" type="pres">
      <dgm:prSet presAssocID="{570980DA-26F5-4C83-9CC8-04F8E319EA02}" presName="descendantText" presStyleLbl="alignAcc1" presStyleIdx="1" presStyleCnt="4">
        <dgm:presLayoutVars>
          <dgm:bulletEnabled val="1"/>
        </dgm:presLayoutVars>
      </dgm:prSet>
      <dgm:spPr>
        <a:prstGeom prst="flowChartProcess">
          <a:avLst/>
        </a:prstGeom>
      </dgm:spPr>
    </dgm:pt>
    <dgm:pt modelId="{8DA301D1-B725-4A4E-8C44-ECF02818437B}" type="pres">
      <dgm:prSet presAssocID="{0DD8704F-562D-4CC9-A48C-7CB1A1BFA30D}" presName="sp" presStyleCnt="0"/>
      <dgm:spPr/>
    </dgm:pt>
    <dgm:pt modelId="{520499CC-641D-479B-A17C-2745B4EED3D4}" type="pres">
      <dgm:prSet presAssocID="{F5C790B6-D213-4B9A-86AE-52CBB1B3E281}" presName="composite" presStyleCnt="0"/>
      <dgm:spPr/>
    </dgm:pt>
    <dgm:pt modelId="{ED5D4A9B-402C-4CE1-88D8-1335708C5DF0}" type="pres">
      <dgm:prSet presAssocID="{F5C790B6-D213-4B9A-86AE-52CBB1B3E281}" presName="parentText" presStyleLbl="alignNode1" presStyleIdx="2" presStyleCnt="4">
        <dgm:presLayoutVars>
          <dgm:chMax val="1"/>
          <dgm:bulletEnabled val="1"/>
        </dgm:presLayoutVars>
      </dgm:prSet>
      <dgm:spPr/>
    </dgm:pt>
    <dgm:pt modelId="{48AAE756-BA46-4139-B4CA-4AEE47BC7CC8}" type="pres">
      <dgm:prSet presAssocID="{F5C790B6-D213-4B9A-86AE-52CBB1B3E281}" presName="descendantText" presStyleLbl="alignAcc1" presStyleIdx="2" presStyleCnt="4" custLinFactNeighborY="0">
        <dgm:presLayoutVars>
          <dgm:bulletEnabled val="1"/>
        </dgm:presLayoutVars>
      </dgm:prSet>
      <dgm:spPr>
        <a:prstGeom prst="flowChartProcess">
          <a:avLst/>
        </a:prstGeom>
      </dgm:spPr>
    </dgm:pt>
    <dgm:pt modelId="{282FC74E-9DB0-4647-81E2-BC5A463ACD67}" type="pres">
      <dgm:prSet presAssocID="{411CDEBB-C845-4FEE-8032-2798A1BCD9FA}" presName="sp" presStyleCnt="0"/>
      <dgm:spPr/>
    </dgm:pt>
    <dgm:pt modelId="{48F59BBE-F2D8-4A20-9920-5B807EBE119B}" type="pres">
      <dgm:prSet presAssocID="{EFA52AB1-0DD6-47C2-9781-78B2DCEEC4BA}" presName="composite" presStyleCnt="0"/>
      <dgm:spPr/>
    </dgm:pt>
    <dgm:pt modelId="{18A1470B-2294-4783-9820-6081452779D8}" type="pres">
      <dgm:prSet presAssocID="{EFA52AB1-0DD6-47C2-9781-78B2DCEEC4BA}" presName="parentText" presStyleLbl="alignNode1" presStyleIdx="3" presStyleCnt="4">
        <dgm:presLayoutVars>
          <dgm:chMax val="1"/>
          <dgm:bulletEnabled val="1"/>
        </dgm:presLayoutVars>
      </dgm:prSet>
      <dgm:spPr/>
    </dgm:pt>
    <dgm:pt modelId="{DC2DC6BB-E645-4C5E-92EE-89D1A0546E86}" type="pres">
      <dgm:prSet presAssocID="{EFA52AB1-0DD6-47C2-9781-78B2DCEEC4BA}" presName="descendantText" presStyleLbl="alignAcc1" presStyleIdx="3" presStyleCnt="4" custLinFactNeighborY="0">
        <dgm:presLayoutVars>
          <dgm:bulletEnabled val="1"/>
        </dgm:presLayoutVars>
      </dgm:prSet>
      <dgm:spPr>
        <a:prstGeom prst="flowChartProcess">
          <a:avLst/>
        </a:prstGeom>
      </dgm:spPr>
    </dgm:pt>
  </dgm:ptLst>
  <dgm:cxnLst>
    <dgm:cxn modelId="{13C89105-E86C-485E-A0B1-D54B041B4FC0}" srcId="{01DE662D-F253-491E-91B5-6B8215CE5527}" destId="{1E8CA1B5-0C6A-43A0-85F1-9385DF303A6A}" srcOrd="0" destOrd="0" parTransId="{499CA655-8A78-42DB-A241-70430BBBB7B9}" sibTransId="{34214A51-6FF3-43EC-AC57-07C551C896D2}"/>
    <dgm:cxn modelId="{97945F0C-598F-4A4C-AC8C-A3AD64C82DC4}" type="presOf" srcId="{EFA52AB1-0DD6-47C2-9781-78B2DCEEC4BA}" destId="{18A1470B-2294-4783-9820-6081452779D8}" srcOrd="0" destOrd="0" presId="urn:microsoft.com/office/officeart/2005/8/layout/chevron2"/>
    <dgm:cxn modelId="{C78DF912-DCAA-40E4-A93D-B63D6A3CCB04}" srcId="{3BD80EA5-2089-4163-8C96-A9E60765033E}" destId="{F5C790B6-D213-4B9A-86AE-52CBB1B3E281}" srcOrd="2" destOrd="0" parTransId="{298C932A-5F18-4657-8B20-679E85D5DAAD}" sibTransId="{411CDEBB-C845-4FEE-8032-2798A1BCD9FA}"/>
    <dgm:cxn modelId="{F0E71313-6C37-489D-BF05-C333CF30E0CD}" type="presOf" srcId="{B1A42332-F7EA-4DEF-A20E-4A7EB4CF9EC0}" destId="{48AAE756-BA46-4139-B4CA-4AEE47BC7CC8}" srcOrd="0" destOrd="0" presId="urn:microsoft.com/office/officeart/2005/8/layout/chevron2"/>
    <dgm:cxn modelId="{3AE13E16-4292-4E0D-906E-BA1A6A0114FD}" type="presOf" srcId="{01DE662D-F253-491E-91B5-6B8215CE5527}" destId="{C1651A5C-6FBA-431A-9E41-1413AB6E16E0}" srcOrd="0" destOrd="0" presId="urn:microsoft.com/office/officeart/2005/8/layout/chevron2"/>
    <dgm:cxn modelId="{E55B6B21-DEC7-4FC5-B1B8-4F65624E13BF}" srcId="{3BD80EA5-2089-4163-8C96-A9E60765033E}" destId="{EFA52AB1-0DD6-47C2-9781-78B2DCEEC4BA}" srcOrd="3" destOrd="0" parTransId="{FAC19A7E-7ECA-4466-8F95-ED918D0E477E}" sibTransId="{3F420019-FD77-451F-BA7C-6CEAEB8FC39A}"/>
    <dgm:cxn modelId="{9759D92D-A629-4C11-AC83-30E70E07DCBD}" type="presOf" srcId="{F5C790B6-D213-4B9A-86AE-52CBB1B3E281}" destId="{ED5D4A9B-402C-4CE1-88D8-1335708C5DF0}" srcOrd="0" destOrd="0" presId="urn:microsoft.com/office/officeart/2005/8/layout/chevron2"/>
    <dgm:cxn modelId="{E569082F-E307-4574-958B-C36E76C80F5C}" srcId="{EFA52AB1-0DD6-47C2-9781-78B2DCEEC4BA}" destId="{BA56CE8A-0773-43BB-8139-20F2680BE136}" srcOrd="0" destOrd="0" parTransId="{0C9B8D2B-12DB-4037-A777-379979F7503D}" sibTransId="{6BF8D48E-FD95-49CB-9553-4DB13DA8913B}"/>
    <dgm:cxn modelId="{55FFFE3B-95CF-403E-A0BB-09E260BA58AC}" srcId="{F5C790B6-D213-4B9A-86AE-52CBB1B3E281}" destId="{B1A42332-F7EA-4DEF-A20E-4A7EB4CF9EC0}" srcOrd="0" destOrd="0" parTransId="{938EF65E-919A-45C9-ADAD-84FE74CD321B}" sibTransId="{F06D3EB3-ACEF-453A-9DAF-9E2D458448C7}"/>
    <dgm:cxn modelId="{26B3C46E-2522-4B3D-8354-116F85BA7C12}" srcId="{3BD80EA5-2089-4163-8C96-A9E60765033E}" destId="{01DE662D-F253-491E-91B5-6B8215CE5527}" srcOrd="0" destOrd="0" parTransId="{40E70F62-C637-4D1F-94AD-601C4DCA1A2B}" sibTransId="{87EFC416-7ED5-4EF2-AB23-8C4705E927F4}"/>
    <dgm:cxn modelId="{4BA9B959-9953-4FB0-AA49-5F859DC6435B}" type="presOf" srcId="{570980DA-26F5-4C83-9CC8-04F8E319EA02}" destId="{5BB21D23-1568-46B2-96C8-EFBE8420721B}" srcOrd="0" destOrd="0" presId="urn:microsoft.com/office/officeart/2005/8/layout/chevron2"/>
    <dgm:cxn modelId="{BBDD2F9C-AD10-4FA8-A3CD-C869417CE393}" type="presOf" srcId="{3BD80EA5-2089-4163-8C96-A9E60765033E}" destId="{B7063710-6FB5-4661-BA8C-E4F7FD978ADF}" srcOrd="0" destOrd="0" presId="urn:microsoft.com/office/officeart/2005/8/layout/chevron2"/>
    <dgm:cxn modelId="{C6F07ED0-1380-479D-A891-37942AE5629D}" srcId="{570980DA-26F5-4C83-9CC8-04F8E319EA02}" destId="{B3026567-E1E2-4C58-B309-96BA706634A6}" srcOrd="0" destOrd="0" parTransId="{464B23E6-ED54-4A4E-AC92-6FE497A87CA7}" sibTransId="{F71E73B3-AD2A-4057-AEC5-2631FE541FAE}"/>
    <dgm:cxn modelId="{D4750CE0-4ED0-4622-9DA0-BAD79CE86B87}" type="presOf" srcId="{1E8CA1B5-0C6A-43A0-85F1-9385DF303A6A}" destId="{9CD777C8-C58B-4D8C-810E-78303060E789}" srcOrd="0" destOrd="0" presId="urn:microsoft.com/office/officeart/2005/8/layout/chevron2"/>
    <dgm:cxn modelId="{41374BE5-833A-4C84-B2EC-6451CEE5ED45}" type="presOf" srcId="{BA56CE8A-0773-43BB-8139-20F2680BE136}" destId="{DC2DC6BB-E645-4C5E-92EE-89D1A0546E86}" srcOrd="0" destOrd="0" presId="urn:microsoft.com/office/officeart/2005/8/layout/chevron2"/>
    <dgm:cxn modelId="{7456FBE6-DBA4-4E26-A34E-42A07C62FB9D}" type="presOf" srcId="{B3026567-E1E2-4C58-B309-96BA706634A6}" destId="{51C98349-D5FE-4331-BF2D-DE2D2013B490}" srcOrd="0" destOrd="0" presId="urn:microsoft.com/office/officeart/2005/8/layout/chevron2"/>
    <dgm:cxn modelId="{903772FD-25B8-428B-AB01-1080881EB7D1}" srcId="{3BD80EA5-2089-4163-8C96-A9E60765033E}" destId="{570980DA-26F5-4C83-9CC8-04F8E319EA02}" srcOrd="1" destOrd="0" parTransId="{303F128A-12AC-42C5-8117-368461CEECFA}" sibTransId="{0DD8704F-562D-4CC9-A48C-7CB1A1BFA30D}"/>
    <dgm:cxn modelId="{2F04CD49-2982-48DA-A75E-D54E6F7C3EA1}" type="presParOf" srcId="{B7063710-6FB5-4661-BA8C-E4F7FD978ADF}" destId="{22194C02-EDDC-479A-BD3C-E32796429A12}" srcOrd="0" destOrd="0" presId="urn:microsoft.com/office/officeart/2005/8/layout/chevron2"/>
    <dgm:cxn modelId="{B04A21B1-F85D-4DA4-8B81-E63C3D084125}" type="presParOf" srcId="{22194C02-EDDC-479A-BD3C-E32796429A12}" destId="{C1651A5C-6FBA-431A-9E41-1413AB6E16E0}" srcOrd="0" destOrd="0" presId="urn:microsoft.com/office/officeart/2005/8/layout/chevron2"/>
    <dgm:cxn modelId="{F96CB62D-CB3D-4C65-9097-5A47D7A4B1B0}" type="presParOf" srcId="{22194C02-EDDC-479A-BD3C-E32796429A12}" destId="{9CD777C8-C58B-4D8C-810E-78303060E789}" srcOrd="1" destOrd="0" presId="urn:microsoft.com/office/officeart/2005/8/layout/chevron2"/>
    <dgm:cxn modelId="{C2026478-49E0-43DC-AA85-55C0715A684F}" type="presParOf" srcId="{B7063710-6FB5-4661-BA8C-E4F7FD978ADF}" destId="{09FE56EE-DBE6-412F-99FB-144E56D7E748}" srcOrd="1" destOrd="0" presId="urn:microsoft.com/office/officeart/2005/8/layout/chevron2"/>
    <dgm:cxn modelId="{CDA6FFDC-12EC-4506-9340-B033D7C47DF9}" type="presParOf" srcId="{B7063710-6FB5-4661-BA8C-E4F7FD978ADF}" destId="{DA84C542-4179-4F03-828A-A7F75E3CADC7}" srcOrd="2" destOrd="0" presId="urn:microsoft.com/office/officeart/2005/8/layout/chevron2"/>
    <dgm:cxn modelId="{81F67E73-C062-4786-801B-C4817593236D}" type="presParOf" srcId="{DA84C542-4179-4F03-828A-A7F75E3CADC7}" destId="{5BB21D23-1568-46B2-96C8-EFBE8420721B}" srcOrd="0" destOrd="0" presId="urn:microsoft.com/office/officeart/2005/8/layout/chevron2"/>
    <dgm:cxn modelId="{4710CE4F-C48A-4A74-AEAB-E3DFE79CD4BC}" type="presParOf" srcId="{DA84C542-4179-4F03-828A-A7F75E3CADC7}" destId="{51C98349-D5FE-4331-BF2D-DE2D2013B490}" srcOrd="1" destOrd="0" presId="urn:microsoft.com/office/officeart/2005/8/layout/chevron2"/>
    <dgm:cxn modelId="{15AD1CAB-42FB-41E2-847A-68C38E2067BA}" type="presParOf" srcId="{B7063710-6FB5-4661-BA8C-E4F7FD978ADF}" destId="{8DA301D1-B725-4A4E-8C44-ECF02818437B}" srcOrd="3" destOrd="0" presId="urn:microsoft.com/office/officeart/2005/8/layout/chevron2"/>
    <dgm:cxn modelId="{3F8899AA-C68A-45E4-8766-B8DA391DD56B}" type="presParOf" srcId="{B7063710-6FB5-4661-BA8C-E4F7FD978ADF}" destId="{520499CC-641D-479B-A17C-2745B4EED3D4}" srcOrd="4" destOrd="0" presId="urn:microsoft.com/office/officeart/2005/8/layout/chevron2"/>
    <dgm:cxn modelId="{0D8DECC5-8DA7-4493-8C05-CB974F4FC209}" type="presParOf" srcId="{520499CC-641D-479B-A17C-2745B4EED3D4}" destId="{ED5D4A9B-402C-4CE1-88D8-1335708C5DF0}" srcOrd="0" destOrd="0" presId="urn:microsoft.com/office/officeart/2005/8/layout/chevron2"/>
    <dgm:cxn modelId="{9BCE90BD-4DB5-46C8-A2DB-3F418B7AA187}" type="presParOf" srcId="{520499CC-641D-479B-A17C-2745B4EED3D4}" destId="{48AAE756-BA46-4139-B4CA-4AEE47BC7CC8}" srcOrd="1" destOrd="0" presId="urn:microsoft.com/office/officeart/2005/8/layout/chevron2"/>
    <dgm:cxn modelId="{EE53D258-AB01-4528-AFD9-3609364F44C9}" type="presParOf" srcId="{B7063710-6FB5-4661-BA8C-E4F7FD978ADF}" destId="{282FC74E-9DB0-4647-81E2-BC5A463ACD67}" srcOrd="5" destOrd="0" presId="urn:microsoft.com/office/officeart/2005/8/layout/chevron2"/>
    <dgm:cxn modelId="{A4B4BBD7-03C3-44E5-857F-8649DE204B15}" type="presParOf" srcId="{B7063710-6FB5-4661-BA8C-E4F7FD978ADF}" destId="{48F59BBE-F2D8-4A20-9920-5B807EBE119B}" srcOrd="6" destOrd="0" presId="urn:microsoft.com/office/officeart/2005/8/layout/chevron2"/>
    <dgm:cxn modelId="{DC6D8821-7684-44B8-AF9B-9DF61106A82A}" type="presParOf" srcId="{48F59BBE-F2D8-4A20-9920-5B807EBE119B}" destId="{18A1470B-2294-4783-9820-6081452779D8}" srcOrd="0" destOrd="0" presId="urn:microsoft.com/office/officeart/2005/8/layout/chevron2"/>
    <dgm:cxn modelId="{E2E080DB-0593-450A-84E7-90B61545DF01}" type="presParOf" srcId="{48F59BBE-F2D8-4A20-9920-5B807EBE119B}" destId="{DC2DC6BB-E645-4C5E-92EE-89D1A0546E86}"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9E2500-09D1-493F-BE39-CE2DC2FD25D4}" type="doc">
      <dgm:prSet loTypeId="urn:microsoft.com/office/officeart/2005/8/layout/chevron2" loCatId="list" qsTypeId="urn:microsoft.com/office/officeart/2005/8/quickstyle/simple3" qsCatId="simple" csTypeId="urn:microsoft.com/office/officeart/2005/8/colors/accent1_2" csCatId="accent1" phldr="1"/>
      <dgm:spPr/>
      <dgm:t>
        <a:bodyPr/>
        <a:lstStyle/>
        <a:p>
          <a:endParaRPr lang="en-IN"/>
        </a:p>
      </dgm:t>
    </dgm:pt>
    <dgm:pt modelId="{CAC93176-7EA4-4BCF-ABD6-EEC70068E8CE}">
      <dgm:prSet phldrT="[Text]"/>
      <dgm:spPr>
        <a:solidFill>
          <a:schemeClr val="bg1">
            <a:lumMod val="60000"/>
            <a:lumOff val="40000"/>
          </a:schemeClr>
        </a:solidFill>
      </dgm:spPr>
      <dgm:t>
        <a:bodyPr/>
        <a:lstStyle/>
        <a:p>
          <a:r>
            <a:rPr lang="en-US"/>
            <a:t>Opportunity</a:t>
          </a:r>
          <a:endParaRPr lang="en-IN" dirty="0"/>
        </a:p>
      </dgm:t>
    </dgm:pt>
    <dgm:pt modelId="{B3DF0940-9065-4D65-AA80-11F4472FF3D4}" type="parTrans" cxnId="{84CE44FC-B1FD-428B-BEFD-0747A618B78B}">
      <dgm:prSet/>
      <dgm:spPr/>
      <dgm:t>
        <a:bodyPr/>
        <a:lstStyle/>
        <a:p>
          <a:endParaRPr lang="en-IN"/>
        </a:p>
      </dgm:t>
    </dgm:pt>
    <dgm:pt modelId="{0CBE55C3-DBDA-4F9F-B348-A70152B0C4BB}" type="sibTrans" cxnId="{84CE44FC-B1FD-428B-BEFD-0747A618B78B}">
      <dgm:prSet/>
      <dgm:spPr/>
      <dgm:t>
        <a:bodyPr/>
        <a:lstStyle/>
        <a:p>
          <a:endParaRPr lang="en-IN"/>
        </a:p>
      </dgm:t>
    </dgm:pt>
    <dgm:pt modelId="{D4BB9512-8C4E-40A0-8983-1F8E26E1D3BD}">
      <dgm:prSet phldrT="[Text]"/>
      <dgm:spPr>
        <a:solidFill>
          <a:schemeClr val="bg2">
            <a:lumMod val="20000"/>
            <a:lumOff val="80000"/>
            <a:alpha val="90000"/>
          </a:schemeClr>
        </a:solidFill>
      </dgm:spPr>
      <dgm:t>
        <a:bodyPr/>
        <a:lstStyle/>
        <a:p>
          <a:r>
            <a:rPr lang="en-IN"/>
            <a:t>A prospective sale of EY service</a:t>
          </a:r>
          <a:endParaRPr lang="en-IN" dirty="0"/>
        </a:p>
      </dgm:t>
    </dgm:pt>
    <dgm:pt modelId="{66C13911-B2E9-44A2-8AD4-E52704398E47}" type="parTrans" cxnId="{CFC60DBF-4490-4153-91E8-D587AC9BA803}">
      <dgm:prSet/>
      <dgm:spPr/>
      <dgm:t>
        <a:bodyPr/>
        <a:lstStyle/>
        <a:p>
          <a:endParaRPr lang="en-IN"/>
        </a:p>
      </dgm:t>
    </dgm:pt>
    <dgm:pt modelId="{D7099320-0663-4810-BB3B-2D08297C91E1}" type="sibTrans" cxnId="{CFC60DBF-4490-4153-91E8-D587AC9BA803}">
      <dgm:prSet/>
      <dgm:spPr/>
      <dgm:t>
        <a:bodyPr/>
        <a:lstStyle/>
        <a:p>
          <a:endParaRPr lang="en-IN"/>
        </a:p>
      </dgm:t>
    </dgm:pt>
    <dgm:pt modelId="{1F0D66B7-BC4D-4F19-99FD-6E5891022496}">
      <dgm:prSet phldrT="[Text]"/>
      <dgm:spPr>
        <a:solidFill>
          <a:schemeClr val="bg1">
            <a:lumMod val="60000"/>
            <a:lumOff val="40000"/>
          </a:schemeClr>
        </a:solidFill>
      </dgm:spPr>
      <dgm:t>
        <a:bodyPr/>
        <a:lstStyle/>
        <a:p>
          <a:r>
            <a:rPr lang="en-US"/>
            <a:t>Pipeline</a:t>
          </a:r>
          <a:endParaRPr lang="en-IN" dirty="0"/>
        </a:p>
      </dgm:t>
    </dgm:pt>
    <dgm:pt modelId="{57A3EA54-2AF2-43E6-AA5D-DF1EF0D37887}" type="parTrans" cxnId="{A7500464-8649-4C01-A86E-AEFA5DA7F92F}">
      <dgm:prSet/>
      <dgm:spPr/>
      <dgm:t>
        <a:bodyPr/>
        <a:lstStyle/>
        <a:p>
          <a:endParaRPr lang="en-IN"/>
        </a:p>
      </dgm:t>
    </dgm:pt>
    <dgm:pt modelId="{6DA466C6-A0D1-4FD3-97A1-191AB1EE1198}" type="sibTrans" cxnId="{A7500464-8649-4C01-A86E-AEFA5DA7F92F}">
      <dgm:prSet/>
      <dgm:spPr/>
      <dgm:t>
        <a:bodyPr/>
        <a:lstStyle/>
        <a:p>
          <a:endParaRPr lang="en-IN"/>
        </a:p>
      </dgm:t>
    </dgm:pt>
    <dgm:pt modelId="{4D90BFA1-441D-4FDB-B4D4-5B98A2F370F8}">
      <dgm:prSet phldrT="[Text]"/>
      <dgm:spPr>
        <a:solidFill>
          <a:schemeClr val="bg2">
            <a:lumMod val="20000"/>
            <a:lumOff val="80000"/>
            <a:alpha val="90000"/>
          </a:schemeClr>
        </a:solidFill>
      </dgm:spPr>
      <dgm:t>
        <a:bodyPr/>
        <a:lstStyle/>
        <a:p>
          <a:r>
            <a:rPr lang="en-IN"/>
            <a:t>This refers to a phase when an opportunity is created in the system and is in open status. Before the opportunity closes, it goes through four stages - Identify, Qualify, Pursue and Closing.</a:t>
          </a:r>
          <a:endParaRPr lang="en-IN" dirty="0"/>
        </a:p>
      </dgm:t>
    </dgm:pt>
    <dgm:pt modelId="{71C535C1-AC92-4547-AA51-9928D46A01A7}" type="parTrans" cxnId="{12914AFE-0014-4C63-93B1-E503A57F4E3E}">
      <dgm:prSet/>
      <dgm:spPr/>
      <dgm:t>
        <a:bodyPr/>
        <a:lstStyle/>
        <a:p>
          <a:endParaRPr lang="en-IN"/>
        </a:p>
      </dgm:t>
    </dgm:pt>
    <dgm:pt modelId="{367763FA-04C8-445A-BB72-B5B2BB222FC0}" type="sibTrans" cxnId="{12914AFE-0014-4C63-93B1-E503A57F4E3E}">
      <dgm:prSet/>
      <dgm:spPr/>
      <dgm:t>
        <a:bodyPr/>
        <a:lstStyle/>
        <a:p>
          <a:endParaRPr lang="en-IN"/>
        </a:p>
      </dgm:t>
    </dgm:pt>
    <dgm:pt modelId="{1BDFC27E-0FFF-4EBC-B324-B7E91E544542}">
      <dgm:prSet phldrT="[Text]"/>
      <dgm:spPr>
        <a:solidFill>
          <a:schemeClr val="bg1">
            <a:lumMod val="60000"/>
            <a:lumOff val="40000"/>
          </a:schemeClr>
        </a:solidFill>
      </dgm:spPr>
      <dgm:t>
        <a:bodyPr/>
        <a:lstStyle/>
        <a:p>
          <a:r>
            <a:rPr lang="en-US"/>
            <a:t>Wins / Sales</a:t>
          </a:r>
          <a:endParaRPr lang="en-IN" dirty="0"/>
        </a:p>
      </dgm:t>
    </dgm:pt>
    <dgm:pt modelId="{D42E624F-59B0-4315-9A49-AE95C319ABB5}" type="parTrans" cxnId="{59AE0E29-513A-4DEC-B8EC-9688A369D6CE}">
      <dgm:prSet/>
      <dgm:spPr/>
      <dgm:t>
        <a:bodyPr/>
        <a:lstStyle/>
        <a:p>
          <a:endParaRPr lang="en-IN"/>
        </a:p>
      </dgm:t>
    </dgm:pt>
    <dgm:pt modelId="{9E8E838F-BF40-4AE5-A42B-6162191D3097}" type="sibTrans" cxnId="{59AE0E29-513A-4DEC-B8EC-9688A369D6CE}">
      <dgm:prSet/>
      <dgm:spPr/>
      <dgm:t>
        <a:bodyPr/>
        <a:lstStyle/>
        <a:p>
          <a:endParaRPr lang="en-IN"/>
        </a:p>
      </dgm:t>
    </dgm:pt>
    <dgm:pt modelId="{29B52FB6-E463-4058-B18B-46FE8E16832B}">
      <dgm:prSet phldrT="[Text]"/>
      <dgm:spPr>
        <a:solidFill>
          <a:schemeClr val="bg2">
            <a:lumMod val="20000"/>
            <a:lumOff val="80000"/>
            <a:alpha val="90000"/>
          </a:schemeClr>
        </a:solidFill>
      </dgm:spPr>
      <dgm:t>
        <a:bodyPr/>
        <a:lstStyle/>
        <a:p>
          <a:r>
            <a:rPr lang="en-IN"/>
            <a:t>Once the opportunity is successfully closed (won) it becomes a sale for EY and it is converted to an Engagement.</a:t>
          </a:r>
          <a:endParaRPr lang="en-IN" dirty="0"/>
        </a:p>
      </dgm:t>
    </dgm:pt>
    <dgm:pt modelId="{9A80041E-3052-47EE-BD1D-1D617A9CBBE2}" type="parTrans" cxnId="{5DF2D7E2-6D28-411B-B7C8-2E832F335949}">
      <dgm:prSet/>
      <dgm:spPr/>
      <dgm:t>
        <a:bodyPr/>
        <a:lstStyle/>
        <a:p>
          <a:endParaRPr lang="en-IN"/>
        </a:p>
      </dgm:t>
    </dgm:pt>
    <dgm:pt modelId="{2BA8351E-93F3-4442-8C72-10EEF7637E64}" type="sibTrans" cxnId="{5DF2D7E2-6D28-411B-B7C8-2E832F335949}">
      <dgm:prSet/>
      <dgm:spPr/>
      <dgm:t>
        <a:bodyPr/>
        <a:lstStyle/>
        <a:p>
          <a:endParaRPr lang="en-IN"/>
        </a:p>
      </dgm:t>
    </dgm:pt>
    <dgm:pt modelId="{CD9EAB69-CD54-4861-93CB-91675C5C1494}" type="pres">
      <dgm:prSet presAssocID="{569E2500-09D1-493F-BE39-CE2DC2FD25D4}" presName="linearFlow" presStyleCnt="0">
        <dgm:presLayoutVars>
          <dgm:dir/>
          <dgm:animLvl val="lvl"/>
          <dgm:resizeHandles val="exact"/>
        </dgm:presLayoutVars>
      </dgm:prSet>
      <dgm:spPr/>
    </dgm:pt>
    <dgm:pt modelId="{5E17B787-0891-40C1-B5BD-BC5426D2DCFD}" type="pres">
      <dgm:prSet presAssocID="{CAC93176-7EA4-4BCF-ABD6-EEC70068E8CE}" presName="composite" presStyleCnt="0"/>
      <dgm:spPr/>
    </dgm:pt>
    <dgm:pt modelId="{23A4DF2E-9F64-4987-AAEE-146AEEFBD039}" type="pres">
      <dgm:prSet presAssocID="{CAC93176-7EA4-4BCF-ABD6-EEC70068E8CE}" presName="parentText" presStyleLbl="alignNode1" presStyleIdx="0" presStyleCnt="3">
        <dgm:presLayoutVars>
          <dgm:chMax val="1"/>
          <dgm:bulletEnabled val="1"/>
        </dgm:presLayoutVars>
      </dgm:prSet>
      <dgm:spPr/>
    </dgm:pt>
    <dgm:pt modelId="{25CFF0F9-96E4-4D0A-81EC-D4A78DAD6261}" type="pres">
      <dgm:prSet presAssocID="{CAC93176-7EA4-4BCF-ABD6-EEC70068E8CE}" presName="descendantText" presStyleLbl="alignAcc1" presStyleIdx="0" presStyleCnt="3">
        <dgm:presLayoutVars>
          <dgm:bulletEnabled val="1"/>
        </dgm:presLayoutVars>
      </dgm:prSet>
      <dgm:spPr>
        <a:prstGeom prst="flowChartProcess">
          <a:avLst/>
        </a:prstGeom>
      </dgm:spPr>
    </dgm:pt>
    <dgm:pt modelId="{58380A0C-B24C-40FC-B105-C4756D0DE845}" type="pres">
      <dgm:prSet presAssocID="{0CBE55C3-DBDA-4F9F-B348-A70152B0C4BB}" presName="sp" presStyleCnt="0"/>
      <dgm:spPr/>
    </dgm:pt>
    <dgm:pt modelId="{7542EB26-8A00-4678-83A6-C52064DB576A}" type="pres">
      <dgm:prSet presAssocID="{1F0D66B7-BC4D-4F19-99FD-6E5891022496}" presName="composite" presStyleCnt="0"/>
      <dgm:spPr/>
    </dgm:pt>
    <dgm:pt modelId="{06E47A27-06C8-4668-BBE9-A391EE65C0CA}" type="pres">
      <dgm:prSet presAssocID="{1F0D66B7-BC4D-4F19-99FD-6E5891022496}" presName="parentText" presStyleLbl="alignNode1" presStyleIdx="1" presStyleCnt="3">
        <dgm:presLayoutVars>
          <dgm:chMax val="1"/>
          <dgm:bulletEnabled val="1"/>
        </dgm:presLayoutVars>
      </dgm:prSet>
      <dgm:spPr/>
    </dgm:pt>
    <dgm:pt modelId="{0E1EC809-39E4-41D5-AFF6-78C5B3052856}" type="pres">
      <dgm:prSet presAssocID="{1F0D66B7-BC4D-4F19-99FD-6E5891022496}" presName="descendantText" presStyleLbl="alignAcc1" presStyleIdx="1" presStyleCnt="3">
        <dgm:presLayoutVars>
          <dgm:bulletEnabled val="1"/>
        </dgm:presLayoutVars>
      </dgm:prSet>
      <dgm:spPr>
        <a:prstGeom prst="flowChartProcess">
          <a:avLst/>
        </a:prstGeom>
      </dgm:spPr>
    </dgm:pt>
    <dgm:pt modelId="{12D211C8-1B11-41E8-B3AF-49EAB7A84A00}" type="pres">
      <dgm:prSet presAssocID="{6DA466C6-A0D1-4FD3-97A1-191AB1EE1198}" presName="sp" presStyleCnt="0"/>
      <dgm:spPr/>
    </dgm:pt>
    <dgm:pt modelId="{9516A37D-B775-48BB-B367-34FC058264B9}" type="pres">
      <dgm:prSet presAssocID="{1BDFC27E-0FFF-4EBC-B324-B7E91E544542}" presName="composite" presStyleCnt="0"/>
      <dgm:spPr/>
    </dgm:pt>
    <dgm:pt modelId="{AED4FE55-EBAF-4F7B-A0C0-0E9B1EDCDEC4}" type="pres">
      <dgm:prSet presAssocID="{1BDFC27E-0FFF-4EBC-B324-B7E91E544542}" presName="parentText" presStyleLbl="alignNode1" presStyleIdx="2" presStyleCnt="3">
        <dgm:presLayoutVars>
          <dgm:chMax val="1"/>
          <dgm:bulletEnabled val="1"/>
        </dgm:presLayoutVars>
      </dgm:prSet>
      <dgm:spPr/>
    </dgm:pt>
    <dgm:pt modelId="{43BFF18A-954C-47FE-A7CD-C8617F6F21D7}" type="pres">
      <dgm:prSet presAssocID="{1BDFC27E-0FFF-4EBC-B324-B7E91E544542}" presName="descendantText" presStyleLbl="alignAcc1" presStyleIdx="2" presStyleCnt="3">
        <dgm:presLayoutVars>
          <dgm:bulletEnabled val="1"/>
        </dgm:presLayoutVars>
      </dgm:prSet>
      <dgm:spPr>
        <a:prstGeom prst="flowChartProcess">
          <a:avLst/>
        </a:prstGeom>
      </dgm:spPr>
    </dgm:pt>
  </dgm:ptLst>
  <dgm:cxnLst>
    <dgm:cxn modelId="{DA3CA101-BC64-475A-A428-8E2B6D9B93D6}" type="presOf" srcId="{CAC93176-7EA4-4BCF-ABD6-EEC70068E8CE}" destId="{23A4DF2E-9F64-4987-AAEE-146AEEFBD039}" srcOrd="0" destOrd="0" presId="urn:microsoft.com/office/officeart/2005/8/layout/chevron2"/>
    <dgm:cxn modelId="{17858722-FEF4-4E8D-A39A-B36F98F002B7}" type="presOf" srcId="{569E2500-09D1-493F-BE39-CE2DC2FD25D4}" destId="{CD9EAB69-CD54-4861-93CB-91675C5C1494}" srcOrd="0" destOrd="0" presId="urn:microsoft.com/office/officeart/2005/8/layout/chevron2"/>
    <dgm:cxn modelId="{59AE0E29-513A-4DEC-B8EC-9688A369D6CE}" srcId="{569E2500-09D1-493F-BE39-CE2DC2FD25D4}" destId="{1BDFC27E-0FFF-4EBC-B324-B7E91E544542}" srcOrd="2" destOrd="0" parTransId="{D42E624F-59B0-4315-9A49-AE95C319ABB5}" sibTransId="{9E8E838F-BF40-4AE5-A42B-6162191D3097}"/>
    <dgm:cxn modelId="{A7500464-8649-4C01-A86E-AEFA5DA7F92F}" srcId="{569E2500-09D1-493F-BE39-CE2DC2FD25D4}" destId="{1F0D66B7-BC4D-4F19-99FD-6E5891022496}" srcOrd="1" destOrd="0" parTransId="{57A3EA54-2AF2-43E6-AA5D-DF1EF0D37887}" sibTransId="{6DA466C6-A0D1-4FD3-97A1-191AB1EE1198}"/>
    <dgm:cxn modelId="{72AE1689-19C7-4920-A563-CECC90D08BA3}" type="presOf" srcId="{1BDFC27E-0FFF-4EBC-B324-B7E91E544542}" destId="{AED4FE55-EBAF-4F7B-A0C0-0E9B1EDCDEC4}" srcOrd="0" destOrd="0" presId="urn:microsoft.com/office/officeart/2005/8/layout/chevron2"/>
    <dgm:cxn modelId="{CFC60DBF-4490-4153-91E8-D587AC9BA803}" srcId="{CAC93176-7EA4-4BCF-ABD6-EEC70068E8CE}" destId="{D4BB9512-8C4E-40A0-8983-1F8E26E1D3BD}" srcOrd="0" destOrd="0" parTransId="{66C13911-B2E9-44A2-8AD4-E52704398E47}" sibTransId="{D7099320-0663-4810-BB3B-2D08297C91E1}"/>
    <dgm:cxn modelId="{60D373C8-883C-4EBD-8D9E-6D57D9AEBE7C}" type="presOf" srcId="{D4BB9512-8C4E-40A0-8983-1F8E26E1D3BD}" destId="{25CFF0F9-96E4-4D0A-81EC-D4A78DAD6261}" srcOrd="0" destOrd="0" presId="urn:microsoft.com/office/officeart/2005/8/layout/chevron2"/>
    <dgm:cxn modelId="{117C51D0-F52C-4B76-A369-ACB70C5768C5}" type="presOf" srcId="{29B52FB6-E463-4058-B18B-46FE8E16832B}" destId="{43BFF18A-954C-47FE-A7CD-C8617F6F21D7}" srcOrd="0" destOrd="0" presId="urn:microsoft.com/office/officeart/2005/8/layout/chevron2"/>
    <dgm:cxn modelId="{0611FADB-7B16-4440-9D34-A56F0E631EC5}" type="presOf" srcId="{1F0D66B7-BC4D-4F19-99FD-6E5891022496}" destId="{06E47A27-06C8-4668-BBE9-A391EE65C0CA}" srcOrd="0" destOrd="0" presId="urn:microsoft.com/office/officeart/2005/8/layout/chevron2"/>
    <dgm:cxn modelId="{5DF2D7E2-6D28-411B-B7C8-2E832F335949}" srcId="{1BDFC27E-0FFF-4EBC-B324-B7E91E544542}" destId="{29B52FB6-E463-4058-B18B-46FE8E16832B}" srcOrd="0" destOrd="0" parTransId="{9A80041E-3052-47EE-BD1D-1D617A9CBBE2}" sibTransId="{2BA8351E-93F3-4442-8C72-10EEF7637E64}"/>
    <dgm:cxn modelId="{373D5CEF-D032-4785-A339-481E29D7F3A2}" type="presOf" srcId="{4D90BFA1-441D-4FDB-B4D4-5B98A2F370F8}" destId="{0E1EC809-39E4-41D5-AFF6-78C5B3052856}" srcOrd="0" destOrd="0" presId="urn:microsoft.com/office/officeart/2005/8/layout/chevron2"/>
    <dgm:cxn modelId="{84CE44FC-B1FD-428B-BEFD-0747A618B78B}" srcId="{569E2500-09D1-493F-BE39-CE2DC2FD25D4}" destId="{CAC93176-7EA4-4BCF-ABD6-EEC70068E8CE}" srcOrd="0" destOrd="0" parTransId="{B3DF0940-9065-4D65-AA80-11F4472FF3D4}" sibTransId="{0CBE55C3-DBDA-4F9F-B348-A70152B0C4BB}"/>
    <dgm:cxn modelId="{12914AFE-0014-4C63-93B1-E503A57F4E3E}" srcId="{1F0D66B7-BC4D-4F19-99FD-6E5891022496}" destId="{4D90BFA1-441D-4FDB-B4D4-5B98A2F370F8}" srcOrd="0" destOrd="0" parTransId="{71C535C1-AC92-4547-AA51-9928D46A01A7}" sibTransId="{367763FA-04C8-445A-BB72-B5B2BB222FC0}"/>
    <dgm:cxn modelId="{A263C695-2AA2-4FF8-AE88-E216AB6231FB}" type="presParOf" srcId="{CD9EAB69-CD54-4861-93CB-91675C5C1494}" destId="{5E17B787-0891-40C1-B5BD-BC5426D2DCFD}" srcOrd="0" destOrd="0" presId="urn:microsoft.com/office/officeart/2005/8/layout/chevron2"/>
    <dgm:cxn modelId="{204BB357-884D-479D-A2A3-E9C62891C6F9}" type="presParOf" srcId="{5E17B787-0891-40C1-B5BD-BC5426D2DCFD}" destId="{23A4DF2E-9F64-4987-AAEE-146AEEFBD039}" srcOrd="0" destOrd="0" presId="urn:microsoft.com/office/officeart/2005/8/layout/chevron2"/>
    <dgm:cxn modelId="{09D4AA09-7F1F-44AB-8E05-E19C919365BC}" type="presParOf" srcId="{5E17B787-0891-40C1-B5BD-BC5426D2DCFD}" destId="{25CFF0F9-96E4-4D0A-81EC-D4A78DAD6261}" srcOrd="1" destOrd="0" presId="urn:microsoft.com/office/officeart/2005/8/layout/chevron2"/>
    <dgm:cxn modelId="{8182C28C-8E2B-4B3C-B1C7-3A52F7FC2FA6}" type="presParOf" srcId="{CD9EAB69-CD54-4861-93CB-91675C5C1494}" destId="{58380A0C-B24C-40FC-B105-C4756D0DE845}" srcOrd="1" destOrd="0" presId="urn:microsoft.com/office/officeart/2005/8/layout/chevron2"/>
    <dgm:cxn modelId="{E4118D84-17E9-4F77-A33B-5E0F1CE50DC1}" type="presParOf" srcId="{CD9EAB69-CD54-4861-93CB-91675C5C1494}" destId="{7542EB26-8A00-4678-83A6-C52064DB576A}" srcOrd="2" destOrd="0" presId="urn:microsoft.com/office/officeart/2005/8/layout/chevron2"/>
    <dgm:cxn modelId="{9931042E-43C3-4862-AF44-BC18334CB14B}" type="presParOf" srcId="{7542EB26-8A00-4678-83A6-C52064DB576A}" destId="{06E47A27-06C8-4668-BBE9-A391EE65C0CA}" srcOrd="0" destOrd="0" presId="urn:microsoft.com/office/officeart/2005/8/layout/chevron2"/>
    <dgm:cxn modelId="{9BC26CAF-518F-4805-BC53-D246A6293429}" type="presParOf" srcId="{7542EB26-8A00-4678-83A6-C52064DB576A}" destId="{0E1EC809-39E4-41D5-AFF6-78C5B3052856}" srcOrd="1" destOrd="0" presId="urn:microsoft.com/office/officeart/2005/8/layout/chevron2"/>
    <dgm:cxn modelId="{F468D118-BCA7-42C2-85E0-713E0B8FBDC2}" type="presParOf" srcId="{CD9EAB69-CD54-4861-93CB-91675C5C1494}" destId="{12D211C8-1B11-41E8-B3AF-49EAB7A84A00}" srcOrd="3" destOrd="0" presId="urn:microsoft.com/office/officeart/2005/8/layout/chevron2"/>
    <dgm:cxn modelId="{B5C6D601-BEED-436B-967E-0FFEDAB7721C}" type="presParOf" srcId="{CD9EAB69-CD54-4861-93CB-91675C5C1494}" destId="{9516A37D-B775-48BB-B367-34FC058264B9}" srcOrd="4" destOrd="0" presId="urn:microsoft.com/office/officeart/2005/8/layout/chevron2"/>
    <dgm:cxn modelId="{47AD4E02-DCD4-4078-AC23-9BB25F9354FA}" type="presParOf" srcId="{9516A37D-B775-48BB-B367-34FC058264B9}" destId="{AED4FE55-EBAF-4F7B-A0C0-0E9B1EDCDEC4}" srcOrd="0" destOrd="0" presId="urn:microsoft.com/office/officeart/2005/8/layout/chevron2"/>
    <dgm:cxn modelId="{B9D4FF55-7314-4F58-9A47-731ABDE45F6F}" type="presParOf" srcId="{9516A37D-B775-48BB-B367-34FC058264B9}" destId="{43BFF18A-954C-47FE-A7CD-C8617F6F21D7}"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B344AFF-DC56-4004-87B5-724A67F6A617}"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IN"/>
        </a:p>
      </dgm:t>
    </dgm:pt>
    <dgm:pt modelId="{EDBB2092-5DC2-4EB8-9596-EBB86C9E71F0}">
      <dgm:prSet phldrT="[Text]"/>
      <dgm:spPr>
        <a:solidFill>
          <a:srgbClr val="FFD200"/>
        </a:solidFill>
      </dgm:spPr>
      <dgm:t>
        <a:bodyPr/>
        <a:lstStyle/>
        <a:p>
          <a:r>
            <a:rPr lang="en-US" dirty="0">
              <a:solidFill>
                <a:schemeClr val="bg1"/>
              </a:solidFill>
              <a:latin typeface="EYInterstate" panose="02000503020000020004" pitchFamily="2" charset="0"/>
            </a:rPr>
            <a:t>Global</a:t>
          </a:r>
          <a:endParaRPr lang="en-IN" dirty="0">
            <a:solidFill>
              <a:schemeClr val="bg1"/>
            </a:solidFill>
            <a:latin typeface="EYInterstate" panose="02000503020000020004" pitchFamily="2" charset="0"/>
          </a:endParaRPr>
        </a:p>
      </dgm:t>
    </dgm:pt>
    <dgm:pt modelId="{52E45862-1D7B-4DF2-A394-882F759AEDC5}" type="parTrans" cxnId="{0F07F123-6489-4637-976D-9E9DC3909415}">
      <dgm:prSet/>
      <dgm:spPr/>
      <dgm:t>
        <a:bodyPr/>
        <a:lstStyle/>
        <a:p>
          <a:endParaRPr lang="en-IN"/>
        </a:p>
      </dgm:t>
    </dgm:pt>
    <dgm:pt modelId="{DF756BA4-95A1-44BB-81B4-DEED7E3660B4}" type="sibTrans" cxnId="{0F07F123-6489-4637-976D-9E9DC3909415}">
      <dgm:prSet/>
      <dgm:spPr/>
      <dgm:t>
        <a:bodyPr/>
        <a:lstStyle/>
        <a:p>
          <a:endParaRPr lang="en-IN"/>
        </a:p>
      </dgm:t>
    </dgm:pt>
    <dgm:pt modelId="{879402DB-D4B8-4EB9-9013-D5E160A4D8B7}">
      <dgm:prSet phldrT="[Text]"/>
      <dgm:spPr>
        <a:solidFill>
          <a:schemeClr val="bg2">
            <a:lumMod val="20000"/>
            <a:lumOff val="80000"/>
            <a:alpha val="90000"/>
          </a:schemeClr>
        </a:solidFill>
        <a:ln w="22225">
          <a:solidFill>
            <a:srgbClr val="000000"/>
          </a:solidFill>
        </a:ln>
      </dgm:spPr>
      <dgm:t>
        <a:bodyPr/>
        <a:lstStyle/>
        <a:p>
          <a:r>
            <a:rPr lang="en-IN" dirty="0">
              <a:solidFill>
                <a:schemeClr val="bg1"/>
              </a:solidFill>
              <a:latin typeface="EYInterstate" panose="02000503020000020004" pitchFamily="2" charset="0"/>
            </a:rPr>
            <a:t>Global revenue of accounts headquartered in a specific market segment or region or area plus Inbound revenue earned in that specific market segment or region or area from accounts headquartered else where.</a:t>
          </a:r>
        </a:p>
      </dgm:t>
    </dgm:pt>
    <dgm:pt modelId="{7212339B-28ED-49E3-BFAC-179DA78CA168}" type="parTrans" cxnId="{4B7D20D4-8739-4D16-B1D1-8BBF0E48E703}">
      <dgm:prSet/>
      <dgm:spPr/>
      <dgm:t>
        <a:bodyPr/>
        <a:lstStyle/>
        <a:p>
          <a:endParaRPr lang="en-IN"/>
        </a:p>
      </dgm:t>
    </dgm:pt>
    <dgm:pt modelId="{2DF30216-9D77-49EC-92A6-6280F266B999}" type="sibTrans" cxnId="{4B7D20D4-8739-4D16-B1D1-8BBF0E48E703}">
      <dgm:prSet/>
      <dgm:spPr/>
      <dgm:t>
        <a:bodyPr/>
        <a:lstStyle/>
        <a:p>
          <a:endParaRPr lang="en-IN"/>
        </a:p>
      </dgm:t>
    </dgm:pt>
    <dgm:pt modelId="{45A3999A-071A-409A-ADA1-50F8186FA481}">
      <dgm:prSet phldrT="[Text]"/>
      <dgm:spPr>
        <a:solidFill>
          <a:srgbClr val="FFD200"/>
        </a:solidFill>
      </dgm:spPr>
      <dgm:t>
        <a:bodyPr/>
        <a:lstStyle/>
        <a:p>
          <a:r>
            <a:rPr lang="en-US" dirty="0">
              <a:solidFill>
                <a:schemeClr val="bg1"/>
              </a:solidFill>
              <a:latin typeface="EYInterstate" panose="02000503020000020004" pitchFamily="2" charset="0"/>
            </a:rPr>
            <a:t>Inbound</a:t>
          </a:r>
          <a:endParaRPr lang="en-IN" dirty="0">
            <a:solidFill>
              <a:schemeClr val="bg1"/>
            </a:solidFill>
            <a:latin typeface="EYInterstate" panose="02000503020000020004" pitchFamily="2" charset="0"/>
          </a:endParaRPr>
        </a:p>
      </dgm:t>
    </dgm:pt>
    <dgm:pt modelId="{1E42122B-5CC7-4EAF-9287-24F51EEBEF87}" type="parTrans" cxnId="{DEED4A55-E5A8-4E9A-A133-B4E14A544FE5}">
      <dgm:prSet/>
      <dgm:spPr/>
      <dgm:t>
        <a:bodyPr/>
        <a:lstStyle/>
        <a:p>
          <a:endParaRPr lang="en-IN"/>
        </a:p>
      </dgm:t>
    </dgm:pt>
    <dgm:pt modelId="{4ABF7669-4653-4337-ADB5-AE227C8D6673}" type="sibTrans" cxnId="{DEED4A55-E5A8-4E9A-A133-B4E14A544FE5}">
      <dgm:prSet/>
      <dgm:spPr/>
      <dgm:t>
        <a:bodyPr/>
        <a:lstStyle/>
        <a:p>
          <a:endParaRPr lang="en-IN"/>
        </a:p>
      </dgm:t>
    </dgm:pt>
    <dgm:pt modelId="{C3F567F8-4596-48E4-A3A7-11BEFF28066A}">
      <dgm:prSet phldrT="[Text]"/>
      <dgm:spPr>
        <a:solidFill>
          <a:schemeClr val="bg2">
            <a:lumMod val="20000"/>
            <a:lumOff val="80000"/>
            <a:alpha val="90000"/>
          </a:schemeClr>
        </a:solidFill>
        <a:ln w="22225">
          <a:solidFill>
            <a:srgbClr val="000000"/>
          </a:solidFill>
        </a:ln>
      </dgm:spPr>
      <dgm:t>
        <a:bodyPr/>
        <a:lstStyle/>
        <a:p>
          <a:r>
            <a:rPr lang="en-IN" dirty="0">
              <a:solidFill>
                <a:schemeClr val="bg1"/>
              </a:solidFill>
              <a:latin typeface="EYInterstate" panose="02000503020000020004" pitchFamily="2" charset="0"/>
            </a:rPr>
            <a:t>Revenue earned in one market segment or region or area from accounts that are headquartered in another market segment or region or area. </a:t>
          </a:r>
        </a:p>
      </dgm:t>
    </dgm:pt>
    <dgm:pt modelId="{D184FF31-BE69-4A95-ACF1-0CE7620860AA}" type="parTrans" cxnId="{862DCA8A-1773-4011-9E36-FC0ACEDF897F}">
      <dgm:prSet/>
      <dgm:spPr/>
      <dgm:t>
        <a:bodyPr/>
        <a:lstStyle/>
        <a:p>
          <a:endParaRPr lang="en-IN"/>
        </a:p>
      </dgm:t>
    </dgm:pt>
    <dgm:pt modelId="{CB172FF1-13A3-4173-B4AD-CBA3DB58744C}" type="sibTrans" cxnId="{862DCA8A-1773-4011-9E36-FC0ACEDF897F}">
      <dgm:prSet/>
      <dgm:spPr/>
      <dgm:t>
        <a:bodyPr/>
        <a:lstStyle/>
        <a:p>
          <a:endParaRPr lang="en-IN"/>
        </a:p>
      </dgm:t>
    </dgm:pt>
    <dgm:pt modelId="{91DC1243-92C0-4179-BB0F-063F1D814899}">
      <dgm:prSet phldrT="[Text]"/>
      <dgm:spPr>
        <a:solidFill>
          <a:srgbClr val="FFD200"/>
        </a:solidFill>
      </dgm:spPr>
      <dgm:t>
        <a:bodyPr/>
        <a:lstStyle/>
        <a:p>
          <a:r>
            <a:rPr lang="en-US" dirty="0">
              <a:solidFill>
                <a:schemeClr val="bg1"/>
              </a:solidFill>
              <a:latin typeface="EYInterstate" panose="02000503020000020004" pitchFamily="2" charset="0"/>
            </a:rPr>
            <a:t>Outbound</a:t>
          </a:r>
          <a:endParaRPr lang="en-IN" dirty="0">
            <a:solidFill>
              <a:schemeClr val="bg1"/>
            </a:solidFill>
            <a:latin typeface="EYInterstate" panose="02000503020000020004" pitchFamily="2" charset="0"/>
          </a:endParaRPr>
        </a:p>
      </dgm:t>
    </dgm:pt>
    <dgm:pt modelId="{A5959200-A5DE-4E15-BCF6-D51C422C1747}" type="parTrans" cxnId="{BE02E60C-E674-4C8D-890C-A1933E4A1A54}">
      <dgm:prSet/>
      <dgm:spPr/>
      <dgm:t>
        <a:bodyPr/>
        <a:lstStyle/>
        <a:p>
          <a:endParaRPr lang="en-IN"/>
        </a:p>
      </dgm:t>
    </dgm:pt>
    <dgm:pt modelId="{1998390D-8E6D-4819-8E2B-2FAAEBECD7FC}" type="sibTrans" cxnId="{BE02E60C-E674-4C8D-890C-A1933E4A1A54}">
      <dgm:prSet/>
      <dgm:spPr/>
      <dgm:t>
        <a:bodyPr/>
        <a:lstStyle/>
        <a:p>
          <a:endParaRPr lang="en-IN"/>
        </a:p>
      </dgm:t>
    </dgm:pt>
    <dgm:pt modelId="{78D69BE8-B1B3-4F7D-B276-4BC67EB75203}">
      <dgm:prSet phldrT="[Text]"/>
      <dgm:spPr>
        <a:solidFill>
          <a:schemeClr val="bg2">
            <a:lumMod val="20000"/>
            <a:lumOff val="80000"/>
            <a:alpha val="90000"/>
          </a:schemeClr>
        </a:solidFill>
        <a:ln w="22225">
          <a:solidFill>
            <a:srgbClr val="000000"/>
          </a:solidFill>
        </a:ln>
      </dgm:spPr>
      <dgm:t>
        <a:bodyPr/>
        <a:lstStyle/>
        <a:p>
          <a:r>
            <a:rPr lang="en-IN" dirty="0">
              <a:solidFill>
                <a:schemeClr val="bg1"/>
              </a:solidFill>
              <a:latin typeface="EYInterstate" panose="02000503020000020004" pitchFamily="2" charset="0"/>
            </a:rPr>
            <a:t>Revenue earned from accounts outside of their headquartered market segment or region or area.  </a:t>
          </a:r>
        </a:p>
      </dgm:t>
    </dgm:pt>
    <dgm:pt modelId="{8A10B156-21F5-4E02-A7C9-2DFDD9F09ECA}" type="parTrans" cxnId="{F7540C1A-53ED-4C62-8431-71C60D511FAE}">
      <dgm:prSet/>
      <dgm:spPr/>
      <dgm:t>
        <a:bodyPr/>
        <a:lstStyle/>
        <a:p>
          <a:endParaRPr lang="en-IN"/>
        </a:p>
      </dgm:t>
    </dgm:pt>
    <dgm:pt modelId="{F1CA1F88-5B07-44B4-BFA5-A9D04322EB8B}" type="sibTrans" cxnId="{F7540C1A-53ED-4C62-8431-71C60D511FAE}">
      <dgm:prSet/>
      <dgm:spPr/>
      <dgm:t>
        <a:bodyPr/>
        <a:lstStyle/>
        <a:p>
          <a:endParaRPr lang="en-IN"/>
        </a:p>
      </dgm:t>
    </dgm:pt>
    <dgm:pt modelId="{127D33A0-D133-4E90-A089-4609D5239C48}">
      <dgm:prSet/>
      <dgm:spPr>
        <a:solidFill>
          <a:schemeClr val="bg2">
            <a:lumMod val="20000"/>
            <a:lumOff val="80000"/>
            <a:alpha val="90000"/>
          </a:schemeClr>
        </a:solidFill>
        <a:ln w="22225">
          <a:solidFill>
            <a:srgbClr val="000000"/>
          </a:solidFill>
        </a:ln>
      </dgm:spPr>
      <dgm:t>
        <a:bodyPr/>
        <a:lstStyle/>
        <a:p>
          <a:r>
            <a:rPr lang="en-IN" dirty="0">
              <a:solidFill>
                <a:schemeClr val="bg1"/>
              </a:solidFill>
              <a:latin typeface="EYInterstate" panose="02000503020000020004" pitchFamily="2" charset="0"/>
            </a:rPr>
            <a:t>Example: Coca-Cola is headquartered in Southeast US Region and so UKI Region earns inbound revenue from audit work on British &amp; Irish subsidiaries of Coca-Cola.</a:t>
          </a:r>
        </a:p>
      </dgm:t>
    </dgm:pt>
    <dgm:pt modelId="{FBC3C6B3-AABE-4375-8968-D08C36B74563}" type="parTrans" cxnId="{CCE79455-DC8C-4590-AA77-58FBE7786AFD}">
      <dgm:prSet/>
      <dgm:spPr/>
      <dgm:t>
        <a:bodyPr/>
        <a:lstStyle/>
        <a:p>
          <a:endParaRPr lang="en-IN"/>
        </a:p>
      </dgm:t>
    </dgm:pt>
    <dgm:pt modelId="{F9AC21DB-B2C0-4D3D-9049-3EB5A4652F59}" type="sibTrans" cxnId="{CCE79455-DC8C-4590-AA77-58FBE7786AFD}">
      <dgm:prSet/>
      <dgm:spPr/>
      <dgm:t>
        <a:bodyPr/>
        <a:lstStyle/>
        <a:p>
          <a:endParaRPr lang="en-IN"/>
        </a:p>
      </dgm:t>
    </dgm:pt>
    <dgm:pt modelId="{D53A7873-218D-42BC-B912-FCF8B9877C3D}">
      <dgm:prSet/>
      <dgm:spPr>
        <a:solidFill>
          <a:schemeClr val="bg2">
            <a:lumMod val="20000"/>
            <a:lumOff val="80000"/>
            <a:alpha val="90000"/>
          </a:schemeClr>
        </a:solidFill>
        <a:ln w="22225">
          <a:solidFill>
            <a:srgbClr val="000000"/>
          </a:solidFill>
        </a:ln>
      </dgm:spPr>
      <dgm:t>
        <a:bodyPr/>
        <a:lstStyle/>
        <a:p>
          <a:r>
            <a:rPr lang="en-IN" dirty="0">
              <a:solidFill>
                <a:schemeClr val="bg1"/>
              </a:solidFill>
              <a:latin typeface="EYInterstate" panose="02000503020000020004" pitchFamily="2" charset="0"/>
            </a:rPr>
            <a:t>Example: Coca-Cola revenue earned in UKI Region is outbound revenue for Southeast US Region and will be included as GTER in both the UKI and Southeast US reports.</a:t>
          </a:r>
        </a:p>
      </dgm:t>
    </dgm:pt>
    <dgm:pt modelId="{AB4276F2-99DA-4FF0-AE06-DE943792C083}" type="parTrans" cxnId="{055EC91E-986E-4BC9-B4C8-5B49492354CE}">
      <dgm:prSet/>
      <dgm:spPr/>
      <dgm:t>
        <a:bodyPr/>
        <a:lstStyle/>
        <a:p>
          <a:endParaRPr lang="en-IN"/>
        </a:p>
      </dgm:t>
    </dgm:pt>
    <dgm:pt modelId="{0620BF2B-0AD6-4713-9EF9-D9E6DF924B58}" type="sibTrans" cxnId="{055EC91E-986E-4BC9-B4C8-5B49492354CE}">
      <dgm:prSet/>
      <dgm:spPr/>
      <dgm:t>
        <a:bodyPr/>
        <a:lstStyle/>
        <a:p>
          <a:endParaRPr lang="en-IN"/>
        </a:p>
      </dgm:t>
    </dgm:pt>
    <dgm:pt modelId="{179164C6-CDFC-44F3-92B1-C9E24EFF0841}">
      <dgm:prSet/>
      <dgm:spPr>
        <a:solidFill>
          <a:srgbClr val="FFD200"/>
        </a:solidFill>
      </dgm:spPr>
      <dgm:t>
        <a:bodyPr/>
        <a:lstStyle/>
        <a:p>
          <a:r>
            <a:rPr lang="en-US" dirty="0">
              <a:solidFill>
                <a:schemeClr val="bg1"/>
              </a:solidFill>
              <a:latin typeface="EYInterstate" panose="02000503020000020004" pitchFamily="2" charset="0"/>
            </a:rPr>
            <a:t>Local</a:t>
          </a:r>
          <a:endParaRPr lang="en-IN" dirty="0">
            <a:solidFill>
              <a:schemeClr val="bg1"/>
            </a:solidFill>
            <a:latin typeface="EYInterstate" panose="02000503020000020004" pitchFamily="2" charset="0"/>
          </a:endParaRPr>
        </a:p>
      </dgm:t>
    </dgm:pt>
    <dgm:pt modelId="{4B23328C-5208-411C-ADEB-BB75BA4A9199}" type="parTrans" cxnId="{A54B65FB-4014-4A0A-8B53-C1D0979810E4}">
      <dgm:prSet/>
      <dgm:spPr/>
      <dgm:t>
        <a:bodyPr/>
        <a:lstStyle/>
        <a:p>
          <a:endParaRPr lang="en-IN"/>
        </a:p>
      </dgm:t>
    </dgm:pt>
    <dgm:pt modelId="{78DD4005-A60C-4AF4-BE0B-33F70101621D}" type="sibTrans" cxnId="{A54B65FB-4014-4A0A-8B53-C1D0979810E4}">
      <dgm:prSet/>
      <dgm:spPr/>
      <dgm:t>
        <a:bodyPr/>
        <a:lstStyle/>
        <a:p>
          <a:endParaRPr lang="en-IN"/>
        </a:p>
      </dgm:t>
    </dgm:pt>
    <dgm:pt modelId="{31136427-29F3-40EC-AC2A-CC27171ED0B5}">
      <dgm:prSet/>
      <dgm:spPr>
        <a:solidFill>
          <a:schemeClr val="bg2">
            <a:lumMod val="20000"/>
            <a:lumOff val="80000"/>
            <a:alpha val="90000"/>
          </a:schemeClr>
        </a:solidFill>
        <a:ln w="22225">
          <a:solidFill>
            <a:srgbClr val="000000"/>
          </a:solidFill>
        </a:ln>
      </dgm:spPr>
      <dgm:t>
        <a:bodyPr/>
        <a:lstStyle/>
        <a:p>
          <a:r>
            <a:rPr lang="en-US" dirty="0">
              <a:solidFill>
                <a:schemeClr val="bg1"/>
              </a:solidFill>
              <a:latin typeface="EYInterstate" panose="02000503020000020004" pitchFamily="2" charset="0"/>
            </a:rPr>
            <a:t>Revenue generated in a particular market segment or region or area from both - accounts headquartered in the same region and accounts headquartered in other regions.</a:t>
          </a:r>
          <a:endParaRPr lang="en-IN" dirty="0">
            <a:solidFill>
              <a:schemeClr val="bg1"/>
            </a:solidFill>
            <a:latin typeface="EYInterstate" panose="02000503020000020004" pitchFamily="2" charset="0"/>
          </a:endParaRPr>
        </a:p>
      </dgm:t>
    </dgm:pt>
    <dgm:pt modelId="{1A2699B5-1CB0-4E3F-AB6C-8D948013D08A}" type="parTrans" cxnId="{D149F98F-0C67-48F7-92F1-A62EEBF8EEBF}">
      <dgm:prSet/>
      <dgm:spPr/>
      <dgm:t>
        <a:bodyPr/>
        <a:lstStyle/>
        <a:p>
          <a:endParaRPr lang="en-IN"/>
        </a:p>
      </dgm:t>
    </dgm:pt>
    <dgm:pt modelId="{C16974AA-E9B5-48E3-B198-1B13A7F51521}" type="sibTrans" cxnId="{D149F98F-0C67-48F7-92F1-A62EEBF8EEBF}">
      <dgm:prSet/>
      <dgm:spPr/>
      <dgm:t>
        <a:bodyPr/>
        <a:lstStyle/>
        <a:p>
          <a:endParaRPr lang="en-IN"/>
        </a:p>
      </dgm:t>
    </dgm:pt>
    <dgm:pt modelId="{D5B5D495-4B9A-42B2-B292-750202138B84}">
      <dgm:prSet/>
      <dgm:spPr>
        <a:solidFill>
          <a:schemeClr val="bg2">
            <a:lumMod val="20000"/>
            <a:lumOff val="80000"/>
            <a:alpha val="90000"/>
          </a:schemeClr>
        </a:solidFill>
        <a:ln w="22225">
          <a:solidFill>
            <a:srgbClr val="000000"/>
          </a:solidFill>
        </a:ln>
      </dgm:spPr>
      <dgm:t>
        <a:bodyPr/>
        <a:lstStyle/>
        <a:p>
          <a:r>
            <a:rPr lang="en-US" dirty="0">
              <a:solidFill>
                <a:schemeClr val="bg1"/>
              </a:solidFill>
              <a:latin typeface="EYInterstate" panose="02000503020000020004" pitchFamily="2" charset="0"/>
            </a:rPr>
            <a:t>Example: Revenue earned in Southeast from accounts headquartered in Southeast plus revenue earned in Southeast from accounts headquartered in other regions.</a:t>
          </a:r>
          <a:endParaRPr lang="en-IN" dirty="0">
            <a:solidFill>
              <a:schemeClr val="bg1"/>
            </a:solidFill>
            <a:latin typeface="EYInterstate" panose="02000503020000020004" pitchFamily="2" charset="0"/>
          </a:endParaRPr>
        </a:p>
      </dgm:t>
    </dgm:pt>
    <dgm:pt modelId="{3F0E2C19-8C00-4AC2-998F-3233309A3575}" type="parTrans" cxnId="{BB470705-25E0-4529-A66F-9732F48763D8}">
      <dgm:prSet/>
      <dgm:spPr/>
      <dgm:t>
        <a:bodyPr/>
        <a:lstStyle/>
        <a:p>
          <a:endParaRPr lang="en-IN"/>
        </a:p>
      </dgm:t>
    </dgm:pt>
    <dgm:pt modelId="{E0C0FCAF-26C0-42B3-83A0-611E44C48E8D}" type="sibTrans" cxnId="{BB470705-25E0-4529-A66F-9732F48763D8}">
      <dgm:prSet/>
      <dgm:spPr/>
      <dgm:t>
        <a:bodyPr/>
        <a:lstStyle/>
        <a:p>
          <a:endParaRPr lang="en-IN"/>
        </a:p>
      </dgm:t>
    </dgm:pt>
    <dgm:pt modelId="{D7A7007A-A594-4CFC-9FC9-D88DCAEC3A5B}" type="pres">
      <dgm:prSet presAssocID="{3B344AFF-DC56-4004-87B5-724A67F6A617}" presName="linearFlow" presStyleCnt="0">
        <dgm:presLayoutVars>
          <dgm:dir/>
          <dgm:animLvl val="lvl"/>
          <dgm:resizeHandles val="exact"/>
        </dgm:presLayoutVars>
      </dgm:prSet>
      <dgm:spPr/>
    </dgm:pt>
    <dgm:pt modelId="{A4FBE9F1-3A71-418C-8FC7-B319A730899D}" type="pres">
      <dgm:prSet presAssocID="{EDBB2092-5DC2-4EB8-9596-EBB86C9E71F0}" presName="composite" presStyleCnt="0"/>
      <dgm:spPr/>
    </dgm:pt>
    <dgm:pt modelId="{E33E2F7C-B4B9-43A8-A7AD-4CCE61345D9A}" type="pres">
      <dgm:prSet presAssocID="{EDBB2092-5DC2-4EB8-9596-EBB86C9E71F0}" presName="parentText" presStyleLbl="alignNode1" presStyleIdx="0" presStyleCnt="4">
        <dgm:presLayoutVars>
          <dgm:chMax val="1"/>
          <dgm:bulletEnabled val="1"/>
        </dgm:presLayoutVars>
      </dgm:prSet>
      <dgm:spPr/>
    </dgm:pt>
    <dgm:pt modelId="{53B3D15B-DB93-4AB8-B650-CF0BB5471EBE}" type="pres">
      <dgm:prSet presAssocID="{EDBB2092-5DC2-4EB8-9596-EBB86C9E71F0}" presName="descendantText" presStyleLbl="alignAcc1" presStyleIdx="0" presStyleCnt="4" custLinFactNeighborX="0">
        <dgm:presLayoutVars>
          <dgm:bulletEnabled val="1"/>
        </dgm:presLayoutVars>
      </dgm:prSet>
      <dgm:spPr>
        <a:prstGeom prst="flowChartProcess">
          <a:avLst/>
        </a:prstGeom>
      </dgm:spPr>
    </dgm:pt>
    <dgm:pt modelId="{366C99A1-108E-4355-A064-870AEC8F4CA2}" type="pres">
      <dgm:prSet presAssocID="{DF756BA4-95A1-44BB-81B4-DEED7E3660B4}" presName="sp" presStyleCnt="0"/>
      <dgm:spPr/>
    </dgm:pt>
    <dgm:pt modelId="{66C05FA5-519F-444F-978A-495B457595D2}" type="pres">
      <dgm:prSet presAssocID="{45A3999A-071A-409A-ADA1-50F8186FA481}" presName="composite" presStyleCnt="0"/>
      <dgm:spPr/>
    </dgm:pt>
    <dgm:pt modelId="{5E19148E-5C6F-4249-B7A6-7681F8F42D12}" type="pres">
      <dgm:prSet presAssocID="{45A3999A-071A-409A-ADA1-50F8186FA481}" presName="parentText" presStyleLbl="alignNode1" presStyleIdx="1" presStyleCnt="4">
        <dgm:presLayoutVars>
          <dgm:chMax val="1"/>
          <dgm:bulletEnabled val="1"/>
        </dgm:presLayoutVars>
      </dgm:prSet>
      <dgm:spPr/>
    </dgm:pt>
    <dgm:pt modelId="{51DEE263-929E-468B-B9EE-8506A6BD68DB}" type="pres">
      <dgm:prSet presAssocID="{45A3999A-071A-409A-ADA1-50F8186FA481}" presName="descendantText" presStyleLbl="alignAcc1" presStyleIdx="1" presStyleCnt="4" custLinFactNeighborX="0">
        <dgm:presLayoutVars>
          <dgm:bulletEnabled val="1"/>
        </dgm:presLayoutVars>
      </dgm:prSet>
      <dgm:spPr>
        <a:prstGeom prst="flowChartProcess">
          <a:avLst/>
        </a:prstGeom>
      </dgm:spPr>
    </dgm:pt>
    <dgm:pt modelId="{5C4C8A03-FDB4-4D74-9488-C143928270E6}" type="pres">
      <dgm:prSet presAssocID="{4ABF7669-4653-4337-ADB5-AE227C8D6673}" presName="sp" presStyleCnt="0"/>
      <dgm:spPr/>
    </dgm:pt>
    <dgm:pt modelId="{86BCB2AC-4450-42D2-826E-A5C032EF6B83}" type="pres">
      <dgm:prSet presAssocID="{91DC1243-92C0-4179-BB0F-063F1D814899}" presName="composite" presStyleCnt="0"/>
      <dgm:spPr/>
    </dgm:pt>
    <dgm:pt modelId="{1CF597AF-9CAB-4082-B7A9-43DAF07DE244}" type="pres">
      <dgm:prSet presAssocID="{91DC1243-92C0-4179-BB0F-063F1D814899}" presName="parentText" presStyleLbl="alignNode1" presStyleIdx="2" presStyleCnt="4">
        <dgm:presLayoutVars>
          <dgm:chMax val="1"/>
          <dgm:bulletEnabled val="1"/>
        </dgm:presLayoutVars>
      </dgm:prSet>
      <dgm:spPr/>
    </dgm:pt>
    <dgm:pt modelId="{B90FB0C8-47BC-4CF0-88DE-C64E154397B2}" type="pres">
      <dgm:prSet presAssocID="{91DC1243-92C0-4179-BB0F-063F1D814899}" presName="descendantText" presStyleLbl="alignAcc1" presStyleIdx="2" presStyleCnt="4">
        <dgm:presLayoutVars>
          <dgm:bulletEnabled val="1"/>
        </dgm:presLayoutVars>
      </dgm:prSet>
      <dgm:spPr>
        <a:prstGeom prst="flowChartProcess">
          <a:avLst/>
        </a:prstGeom>
      </dgm:spPr>
    </dgm:pt>
    <dgm:pt modelId="{04C9E561-C9B4-4064-BD61-BF875EB45C5E}" type="pres">
      <dgm:prSet presAssocID="{1998390D-8E6D-4819-8E2B-2FAAEBECD7FC}" presName="sp" presStyleCnt="0"/>
      <dgm:spPr/>
    </dgm:pt>
    <dgm:pt modelId="{6F31F61D-F0FD-4078-B7F7-6FB694B7E30E}" type="pres">
      <dgm:prSet presAssocID="{179164C6-CDFC-44F3-92B1-C9E24EFF0841}" presName="composite" presStyleCnt="0"/>
      <dgm:spPr/>
    </dgm:pt>
    <dgm:pt modelId="{C454A28C-E15E-40B4-A330-082008F41722}" type="pres">
      <dgm:prSet presAssocID="{179164C6-CDFC-44F3-92B1-C9E24EFF0841}" presName="parentText" presStyleLbl="alignNode1" presStyleIdx="3" presStyleCnt="4">
        <dgm:presLayoutVars>
          <dgm:chMax val="1"/>
          <dgm:bulletEnabled val="1"/>
        </dgm:presLayoutVars>
      </dgm:prSet>
      <dgm:spPr/>
    </dgm:pt>
    <dgm:pt modelId="{1D7F4EBB-EE2A-4597-979C-C4D7724C29CB}" type="pres">
      <dgm:prSet presAssocID="{179164C6-CDFC-44F3-92B1-C9E24EFF0841}" presName="descendantText" presStyleLbl="alignAcc1" presStyleIdx="3" presStyleCnt="4">
        <dgm:presLayoutVars>
          <dgm:bulletEnabled val="1"/>
        </dgm:presLayoutVars>
      </dgm:prSet>
      <dgm:spPr>
        <a:prstGeom prst="flowChartProcess">
          <a:avLst/>
        </a:prstGeom>
      </dgm:spPr>
    </dgm:pt>
  </dgm:ptLst>
  <dgm:cxnLst>
    <dgm:cxn modelId="{BB470705-25E0-4529-A66F-9732F48763D8}" srcId="{179164C6-CDFC-44F3-92B1-C9E24EFF0841}" destId="{D5B5D495-4B9A-42B2-B292-750202138B84}" srcOrd="1" destOrd="0" parTransId="{3F0E2C19-8C00-4AC2-998F-3233309A3575}" sibTransId="{E0C0FCAF-26C0-42B3-83A0-611E44C48E8D}"/>
    <dgm:cxn modelId="{BE02E60C-E674-4C8D-890C-A1933E4A1A54}" srcId="{3B344AFF-DC56-4004-87B5-724A67F6A617}" destId="{91DC1243-92C0-4179-BB0F-063F1D814899}" srcOrd="2" destOrd="0" parTransId="{A5959200-A5DE-4E15-BCF6-D51C422C1747}" sibTransId="{1998390D-8E6D-4819-8E2B-2FAAEBECD7FC}"/>
    <dgm:cxn modelId="{F7540C1A-53ED-4C62-8431-71C60D511FAE}" srcId="{91DC1243-92C0-4179-BB0F-063F1D814899}" destId="{78D69BE8-B1B3-4F7D-B276-4BC67EB75203}" srcOrd="0" destOrd="0" parTransId="{8A10B156-21F5-4E02-A7C9-2DFDD9F09ECA}" sibTransId="{F1CA1F88-5B07-44B4-BFA5-A9D04322EB8B}"/>
    <dgm:cxn modelId="{055EC91E-986E-4BC9-B4C8-5B49492354CE}" srcId="{91DC1243-92C0-4179-BB0F-063F1D814899}" destId="{D53A7873-218D-42BC-B912-FCF8B9877C3D}" srcOrd="1" destOrd="0" parTransId="{AB4276F2-99DA-4FF0-AE06-DE943792C083}" sibTransId="{0620BF2B-0AD6-4713-9EF9-D9E6DF924B58}"/>
    <dgm:cxn modelId="{0F07F123-6489-4637-976D-9E9DC3909415}" srcId="{3B344AFF-DC56-4004-87B5-724A67F6A617}" destId="{EDBB2092-5DC2-4EB8-9596-EBB86C9E71F0}" srcOrd="0" destOrd="0" parTransId="{52E45862-1D7B-4DF2-A394-882F759AEDC5}" sibTransId="{DF756BA4-95A1-44BB-81B4-DEED7E3660B4}"/>
    <dgm:cxn modelId="{DDEAB62F-92EA-4243-B179-68D21049BAA7}" type="presOf" srcId="{45A3999A-071A-409A-ADA1-50F8186FA481}" destId="{5E19148E-5C6F-4249-B7A6-7681F8F42D12}" srcOrd="0" destOrd="0" presId="urn:microsoft.com/office/officeart/2005/8/layout/chevron2"/>
    <dgm:cxn modelId="{E35AFF2F-4AD6-453A-BA94-F630D3BFEB6D}" type="presOf" srcId="{C3F567F8-4596-48E4-A3A7-11BEFF28066A}" destId="{51DEE263-929E-468B-B9EE-8506A6BD68DB}" srcOrd="0" destOrd="0" presId="urn:microsoft.com/office/officeart/2005/8/layout/chevron2"/>
    <dgm:cxn modelId="{2A5C0A37-2CCE-4377-B415-BB46C25060B6}" type="presOf" srcId="{179164C6-CDFC-44F3-92B1-C9E24EFF0841}" destId="{C454A28C-E15E-40B4-A330-082008F41722}" srcOrd="0" destOrd="0" presId="urn:microsoft.com/office/officeart/2005/8/layout/chevron2"/>
    <dgm:cxn modelId="{0231CC62-AD0A-4F50-87BB-FF4069A85A0F}" type="presOf" srcId="{78D69BE8-B1B3-4F7D-B276-4BC67EB75203}" destId="{B90FB0C8-47BC-4CF0-88DE-C64E154397B2}" srcOrd="0" destOrd="0" presId="urn:microsoft.com/office/officeart/2005/8/layout/chevron2"/>
    <dgm:cxn modelId="{39309F6B-2C57-4911-A507-7D2981212614}" type="presOf" srcId="{D53A7873-218D-42BC-B912-FCF8B9877C3D}" destId="{B90FB0C8-47BC-4CF0-88DE-C64E154397B2}" srcOrd="0" destOrd="1" presId="urn:microsoft.com/office/officeart/2005/8/layout/chevron2"/>
    <dgm:cxn modelId="{4223054E-DF57-42C7-B44F-384A6F6E8A7A}" type="presOf" srcId="{EDBB2092-5DC2-4EB8-9596-EBB86C9E71F0}" destId="{E33E2F7C-B4B9-43A8-A7AD-4CCE61345D9A}" srcOrd="0" destOrd="0" presId="urn:microsoft.com/office/officeart/2005/8/layout/chevron2"/>
    <dgm:cxn modelId="{DEED4A55-E5A8-4E9A-A133-B4E14A544FE5}" srcId="{3B344AFF-DC56-4004-87B5-724A67F6A617}" destId="{45A3999A-071A-409A-ADA1-50F8186FA481}" srcOrd="1" destOrd="0" parTransId="{1E42122B-5CC7-4EAF-9287-24F51EEBEF87}" sibTransId="{4ABF7669-4653-4337-ADB5-AE227C8D6673}"/>
    <dgm:cxn modelId="{CCE79455-DC8C-4590-AA77-58FBE7786AFD}" srcId="{45A3999A-071A-409A-ADA1-50F8186FA481}" destId="{127D33A0-D133-4E90-A089-4609D5239C48}" srcOrd="1" destOrd="0" parTransId="{FBC3C6B3-AABE-4375-8968-D08C36B74563}" sibTransId="{F9AC21DB-B2C0-4D3D-9049-3EB5A4652F59}"/>
    <dgm:cxn modelId="{862DCA8A-1773-4011-9E36-FC0ACEDF897F}" srcId="{45A3999A-071A-409A-ADA1-50F8186FA481}" destId="{C3F567F8-4596-48E4-A3A7-11BEFF28066A}" srcOrd="0" destOrd="0" parTransId="{D184FF31-BE69-4A95-ACF1-0CE7620860AA}" sibTransId="{CB172FF1-13A3-4173-B4AD-CBA3DB58744C}"/>
    <dgm:cxn modelId="{A8D89E8B-3472-4C9D-9587-1246C3B943AE}" type="presOf" srcId="{3B344AFF-DC56-4004-87B5-724A67F6A617}" destId="{D7A7007A-A594-4CFC-9FC9-D88DCAEC3A5B}" srcOrd="0" destOrd="0" presId="urn:microsoft.com/office/officeart/2005/8/layout/chevron2"/>
    <dgm:cxn modelId="{D149F98F-0C67-48F7-92F1-A62EEBF8EEBF}" srcId="{179164C6-CDFC-44F3-92B1-C9E24EFF0841}" destId="{31136427-29F3-40EC-AC2A-CC27171ED0B5}" srcOrd="0" destOrd="0" parTransId="{1A2699B5-1CB0-4E3F-AB6C-8D948013D08A}" sibTransId="{C16974AA-E9B5-48E3-B198-1B13A7F51521}"/>
    <dgm:cxn modelId="{6DDC6198-2BD1-49D6-A038-B995C2218986}" type="presOf" srcId="{91DC1243-92C0-4179-BB0F-063F1D814899}" destId="{1CF597AF-9CAB-4082-B7A9-43DAF07DE244}" srcOrd="0" destOrd="0" presId="urn:microsoft.com/office/officeart/2005/8/layout/chevron2"/>
    <dgm:cxn modelId="{DCC8FB9D-CF95-4E57-BB67-A9C0ED820F4C}" type="presOf" srcId="{127D33A0-D133-4E90-A089-4609D5239C48}" destId="{51DEE263-929E-468B-B9EE-8506A6BD68DB}" srcOrd="0" destOrd="1" presId="urn:microsoft.com/office/officeart/2005/8/layout/chevron2"/>
    <dgm:cxn modelId="{F62CEDCC-DE81-446C-B861-E22974E695A0}" type="presOf" srcId="{879402DB-D4B8-4EB9-9013-D5E160A4D8B7}" destId="{53B3D15B-DB93-4AB8-B650-CF0BB5471EBE}" srcOrd="0" destOrd="0" presId="urn:microsoft.com/office/officeart/2005/8/layout/chevron2"/>
    <dgm:cxn modelId="{7365D0CE-086D-4172-B244-B639141C02E0}" type="presOf" srcId="{D5B5D495-4B9A-42B2-B292-750202138B84}" destId="{1D7F4EBB-EE2A-4597-979C-C4D7724C29CB}" srcOrd="0" destOrd="1" presId="urn:microsoft.com/office/officeart/2005/8/layout/chevron2"/>
    <dgm:cxn modelId="{4B7D20D4-8739-4D16-B1D1-8BBF0E48E703}" srcId="{EDBB2092-5DC2-4EB8-9596-EBB86C9E71F0}" destId="{879402DB-D4B8-4EB9-9013-D5E160A4D8B7}" srcOrd="0" destOrd="0" parTransId="{7212339B-28ED-49E3-BFAC-179DA78CA168}" sibTransId="{2DF30216-9D77-49EC-92A6-6280F266B999}"/>
    <dgm:cxn modelId="{0D8AE5D7-2C89-43E3-9E79-36DAEB853071}" type="presOf" srcId="{31136427-29F3-40EC-AC2A-CC27171ED0B5}" destId="{1D7F4EBB-EE2A-4597-979C-C4D7724C29CB}" srcOrd="0" destOrd="0" presId="urn:microsoft.com/office/officeart/2005/8/layout/chevron2"/>
    <dgm:cxn modelId="{A54B65FB-4014-4A0A-8B53-C1D0979810E4}" srcId="{3B344AFF-DC56-4004-87B5-724A67F6A617}" destId="{179164C6-CDFC-44F3-92B1-C9E24EFF0841}" srcOrd="3" destOrd="0" parTransId="{4B23328C-5208-411C-ADEB-BB75BA4A9199}" sibTransId="{78DD4005-A60C-4AF4-BE0B-33F70101621D}"/>
    <dgm:cxn modelId="{4805C95F-7606-40C8-9409-0719ED6C665D}" type="presParOf" srcId="{D7A7007A-A594-4CFC-9FC9-D88DCAEC3A5B}" destId="{A4FBE9F1-3A71-418C-8FC7-B319A730899D}" srcOrd="0" destOrd="0" presId="urn:microsoft.com/office/officeart/2005/8/layout/chevron2"/>
    <dgm:cxn modelId="{DA1D9A9A-4C9C-49ED-988B-618118734AA9}" type="presParOf" srcId="{A4FBE9F1-3A71-418C-8FC7-B319A730899D}" destId="{E33E2F7C-B4B9-43A8-A7AD-4CCE61345D9A}" srcOrd="0" destOrd="0" presId="urn:microsoft.com/office/officeart/2005/8/layout/chevron2"/>
    <dgm:cxn modelId="{BDF5B222-2710-43BF-B136-8B721DFD8716}" type="presParOf" srcId="{A4FBE9F1-3A71-418C-8FC7-B319A730899D}" destId="{53B3D15B-DB93-4AB8-B650-CF0BB5471EBE}" srcOrd="1" destOrd="0" presId="urn:microsoft.com/office/officeart/2005/8/layout/chevron2"/>
    <dgm:cxn modelId="{78742347-2C13-4CC5-A316-02F78F00F919}" type="presParOf" srcId="{D7A7007A-A594-4CFC-9FC9-D88DCAEC3A5B}" destId="{366C99A1-108E-4355-A064-870AEC8F4CA2}" srcOrd="1" destOrd="0" presId="urn:microsoft.com/office/officeart/2005/8/layout/chevron2"/>
    <dgm:cxn modelId="{F981A7DA-0E77-4E35-856D-8B25F35B9CC4}" type="presParOf" srcId="{D7A7007A-A594-4CFC-9FC9-D88DCAEC3A5B}" destId="{66C05FA5-519F-444F-978A-495B457595D2}" srcOrd="2" destOrd="0" presId="urn:microsoft.com/office/officeart/2005/8/layout/chevron2"/>
    <dgm:cxn modelId="{9EF81F29-72AD-4307-B927-6421DD140994}" type="presParOf" srcId="{66C05FA5-519F-444F-978A-495B457595D2}" destId="{5E19148E-5C6F-4249-B7A6-7681F8F42D12}" srcOrd="0" destOrd="0" presId="urn:microsoft.com/office/officeart/2005/8/layout/chevron2"/>
    <dgm:cxn modelId="{49393E8B-AD6A-4588-98AB-FDC7663E68F5}" type="presParOf" srcId="{66C05FA5-519F-444F-978A-495B457595D2}" destId="{51DEE263-929E-468B-B9EE-8506A6BD68DB}" srcOrd="1" destOrd="0" presId="urn:microsoft.com/office/officeart/2005/8/layout/chevron2"/>
    <dgm:cxn modelId="{0FD0AC8F-BBF4-46A6-BFC7-3C69FE58367B}" type="presParOf" srcId="{D7A7007A-A594-4CFC-9FC9-D88DCAEC3A5B}" destId="{5C4C8A03-FDB4-4D74-9488-C143928270E6}" srcOrd="3" destOrd="0" presId="urn:microsoft.com/office/officeart/2005/8/layout/chevron2"/>
    <dgm:cxn modelId="{9DFF4552-5618-4A36-94F5-62BFBF7B7B25}" type="presParOf" srcId="{D7A7007A-A594-4CFC-9FC9-D88DCAEC3A5B}" destId="{86BCB2AC-4450-42D2-826E-A5C032EF6B83}" srcOrd="4" destOrd="0" presId="urn:microsoft.com/office/officeart/2005/8/layout/chevron2"/>
    <dgm:cxn modelId="{1DEB57E7-2BA9-4728-826B-BECD44372756}" type="presParOf" srcId="{86BCB2AC-4450-42D2-826E-A5C032EF6B83}" destId="{1CF597AF-9CAB-4082-B7A9-43DAF07DE244}" srcOrd="0" destOrd="0" presId="urn:microsoft.com/office/officeart/2005/8/layout/chevron2"/>
    <dgm:cxn modelId="{B952D172-2051-4AE3-AEAA-40BC430546D6}" type="presParOf" srcId="{86BCB2AC-4450-42D2-826E-A5C032EF6B83}" destId="{B90FB0C8-47BC-4CF0-88DE-C64E154397B2}" srcOrd="1" destOrd="0" presId="urn:microsoft.com/office/officeart/2005/8/layout/chevron2"/>
    <dgm:cxn modelId="{44B481F7-395A-4AEE-BE32-4393A22ABF44}" type="presParOf" srcId="{D7A7007A-A594-4CFC-9FC9-D88DCAEC3A5B}" destId="{04C9E561-C9B4-4064-BD61-BF875EB45C5E}" srcOrd="5" destOrd="0" presId="urn:microsoft.com/office/officeart/2005/8/layout/chevron2"/>
    <dgm:cxn modelId="{831D84F1-F9F3-4D5D-AA72-EAA44696B287}" type="presParOf" srcId="{D7A7007A-A594-4CFC-9FC9-D88DCAEC3A5B}" destId="{6F31F61D-F0FD-4078-B7F7-6FB694B7E30E}" srcOrd="6" destOrd="0" presId="urn:microsoft.com/office/officeart/2005/8/layout/chevron2"/>
    <dgm:cxn modelId="{F7A85988-E363-4A4B-B9D9-2F54E636CDBE}" type="presParOf" srcId="{6F31F61D-F0FD-4078-B7F7-6FB694B7E30E}" destId="{C454A28C-E15E-40B4-A330-082008F41722}" srcOrd="0" destOrd="0" presId="urn:microsoft.com/office/officeart/2005/8/layout/chevron2"/>
    <dgm:cxn modelId="{4841CA85-DE56-4607-8C2A-0A81E64C9B1C}" type="presParOf" srcId="{6F31F61D-F0FD-4078-B7F7-6FB694B7E30E}" destId="{1D7F4EBB-EE2A-4597-979C-C4D7724C29CB}"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BB36A-EB4C-4B42-9743-0E16CEE1B041}">
      <dsp:nvSpPr>
        <dsp:cNvPr id="0" name=""/>
        <dsp:cNvSpPr/>
      </dsp:nvSpPr>
      <dsp:spPr>
        <a:xfrm rot="5400000">
          <a:off x="-358680" y="360311"/>
          <a:ext cx="2391205" cy="1673843"/>
        </a:xfrm>
        <a:prstGeom prst="chevron">
          <a:avLst/>
        </a:prstGeom>
        <a:solidFill>
          <a:srgbClr val="FFE6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solidFill>
                <a:schemeClr val="bg2"/>
              </a:solidFill>
            </a:rPr>
            <a:t>Cost Center</a:t>
          </a:r>
          <a:endParaRPr lang="en-IN" sz="1400" b="1" kern="1200" dirty="0">
            <a:solidFill>
              <a:schemeClr val="bg2"/>
            </a:solidFill>
          </a:endParaRPr>
        </a:p>
      </dsp:txBody>
      <dsp:txXfrm rot="-5400000">
        <a:off x="2" y="838552"/>
        <a:ext cx="1673843" cy="717362"/>
      </dsp:txXfrm>
    </dsp:sp>
    <dsp:sp modelId="{C31D0B32-9556-402B-80C7-A8CD628782D9}">
      <dsp:nvSpPr>
        <dsp:cNvPr id="0" name=""/>
        <dsp:cNvSpPr/>
      </dsp:nvSpPr>
      <dsp:spPr>
        <a:xfrm rot="5400000">
          <a:off x="2689380" y="-1013905"/>
          <a:ext cx="1554283" cy="3585357"/>
        </a:xfrm>
        <a:prstGeom prst="flowChartProcess">
          <a:avLst/>
        </a:prstGeom>
        <a:solidFill>
          <a:schemeClr val="bg2">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dirty="0">
              <a:solidFill>
                <a:schemeClr val="bg1"/>
              </a:solidFill>
            </a:rPr>
            <a:t>For people and internal projects is a defined location where non-chargeable expenses, summarized compensation and people driven revenues are captured.</a:t>
          </a:r>
        </a:p>
        <a:p>
          <a:pPr marL="114300" lvl="1" indent="-114300" algn="l" defTabSz="622300">
            <a:lnSpc>
              <a:spcPct val="90000"/>
            </a:lnSpc>
            <a:spcBef>
              <a:spcPct val="0"/>
            </a:spcBef>
            <a:spcAft>
              <a:spcPct val="15000"/>
            </a:spcAft>
            <a:buChar char="•"/>
          </a:pPr>
          <a:r>
            <a:rPr lang="en-IN" sz="1400" b="1" kern="1200">
              <a:solidFill>
                <a:schemeClr val="bg1"/>
              </a:solidFill>
            </a:rPr>
            <a:t>Company Code + Management Layer + Competency + Location</a:t>
          </a:r>
          <a:endParaRPr lang="en-IN" sz="1400" b="1" kern="1200" dirty="0">
            <a:solidFill>
              <a:schemeClr val="bg1"/>
            </a:solidFill>
          </a:endParaRPr>
        </a:p>
      </dsp:txBody>
      <dsp:txXfrm rot="-5400000">
        <a:off x="1673843" y="1632"/>
        <a:ext cx="3585357" cy="1554283"/>
      </dsp:txXfrm>
    </dsp:sp>
    <dsp:sp modelId="{D7BA34F6-086C-4E03-8CD5-B42FAF4E170E}">
      <dsp:nvSpPr>
        <dsp:cNvPr id="0" name=""/>
        <dsp:cNvSpPr/>
      </dsp:nvSpPr>
      <dsp:spPr>
        <a:xfrm rot="5400000">
          <a:off x="-358680" y="2466937"/>
          <a:ext cx="2391205" cy="1673843"/>
        </a:xfrm>
        <a:prstGeom prst="chevron">
          <a:avLst/>
        </a:prstGeom>
        <a:solidFill>
          <a:srgbClr val="FFE6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solidFill>
                <a:schemeClr val="bg2"/>
              </a:solidFill>
            </a:rPr>
            <a:t>Profit Center</a:t>
          </a:r>
          <a:endParaRPr lang="en-IN" sz="1400" b="1" kern="1200" dirty="0">
            <a:solidFill>
              <a:schemeClr val="bg2"/>
            </a:solidFill>
          </a:endParaRPr>
        </a:p>
      </dsp:txBody>
      <dsp:txXfrm rot="-5400000">
        <a:off x="2" y="2945178"/>
        <a:ext cx="1673843" cy="717362"/>
      </dsp:txXfrm>
    </dsp:sp>
    <dsp:sp modelId="{4E7B6223-605C-46A8-B74B-15C3AAA44F7F}">
      <dsp:nvSpPr>
        <dsp:cNvPr id="0" name=""/>
        <dsp:cNvSpPr/>
      </dsp:nvSpPr>
      <dsp:spPr>
        <a:xfrm rot="5400000">
          <a:off x="2689380" y="1092719"/>
          <a:ext cx="1554283" cy="3585357"/>
        </a:xfrm>
        <a:prstGeom prst="flowChartProcess">
          <a:avLst/>
        </a:prstGeom>
        <a:solidFill>
          <a:schemeClr val="bg2">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a:solidFill>
                <a:schemeClr val="bg1"/>
              </a:solidFill>
            </a:rPr>
            <a:t>for External Projects and Balance sheet reporting Purpose only</a:t>
          </a:r>
          <a:endParaRPr lang="en-IN" sz="1400" kern="1200" dirty="0">
            <a:solidFill>
              <a:schemeClr val="bg1"/>
            </a:solidFill>
          </a:endParaRPr>
        </a:p>
        <a:p>
          <a:pPr marL="114300" lvl="1" indent="-114300" algn="l" defTabSz="622300">
            <a:lnSpc>
              <a:spcPct val="90000"/>
            </a:lnSpc>
            <a:spcBef>
              <a:spcPct val="0"/>
            </a:spcBef>
            <a:spcAft>
              <a:spcPct val="15000"/>
            </a:spcAft>
            <a:buChar char="•"/>
          </a:pPr>
          <a:r>
            <a:rPr lang="en-IN" sz="1400" b="1" kern="1200">
              <a:solidFill>
                <a:schemeClr val="bg1"/>
              </a:solidFill>
            </a:rPr>
            <a:t>Service Line Code + Location + Indicator</a:t>
          </a:r>
          <a:endParaRPr lang="en-IN" sz="1400" b="1" kern="1200" dirty="0">
            <a:solidFill>
              <a:schemeClr val="bg1"/>
            </a:solidFill>
          </a:endParaRPr>
        </a:p>
        <a:p>
          <a:pPr marL="228600" lvl="2" indent="-114300" algn="l" defTabSz="622300">
            <a:lnSpc>
              <a:spcPct val="90000"/>
            </a:lnSpc>
            <a:spcBef>
              <a:spcPct val="0"/>
            </a:spcBef>
            <a:spcAft>
              <a:spcPct val="15000"/>
            </a:spcAft>
            <a:buChar char="•"/>
          </a:pPr>
          <a:r>
            <a:rPr lang="en-IN" sz="1400" b="0" kern="1200">
              <a:solidFill>
                <a:schemeClr val="bg1"/>
              </a:solidFill>
            </a:rPr>
            <a:t>(Default ‘0’ but Global CBS is ‘3’)</a:t>
          </a:r>
          <a:endParaRPr lang="en-IN" sz="1400" b="0" kern="1200" dirty="0">
            <a:solidFill>
              <a:schemeClr val="bg1"/>
            </a:solidFill>
          </a:endParaRPr>
        </a:p>
      </dsp:txBody>
      <dsp:txXfrm rot="-5400000">
        <a:off x="1673843" y="2108256"/>
        <a:ext cx="3585357" cy="15542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651A5C-6FBA-431A-9E41-1413AB6E16E0}">
      <dsp:nvSpPr>
        <dsp:cNvPr id="0" name=""/>
        <dsp:cNvSpPr/>
      </dsp:nvSpPr>
      <dsp:spPr>
        <a:xfrm rot="5400000">
          <a:off x="-194121" y="195821"/>
          <a:ext cx="1294140" cy="905898"/>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ccount</a:t>
          </a:r>
          <a:endParaRPr lang="en-IN" sz="1200" kern="1200" dirty="0"/>
        </a:p>
      </dsp:txBody>
      <dsp:txXfrm rot="-5400000">
        <a:off x="0" y="454649"/>
        <a:ext cx="905898" cy="388242"/>
      </dsp:txXfrm>
    </dsp:sp>
    <dsp:sp modelId="{9CD777C8-C58B-4D8C-810E-78303060E789}">
      <dsp:nvSpPr>
        <dsp:cNvPr id="0" name=""/>
        <dsp:cNvSpPr/>
      </dsp:nvSpPr>
      <dsp:spPr>
        <a:xfrm rot="5400000">
          <a:off x="2995776" y="-2088177"/>
          <a:ext cx="841191" cy="5020947"/>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IN" sz="1200" kern="1200"/>
            <a:t>An Account is the ultimate parent entity under which multiple clients (subsidiaries of the account) align.</a:t>
          </a:r>
          <a:endParaRPr lang="en-IN" sz="1200" kern="1200" dirty="0"/>
        </a:p>
      </dsp:txBody>
      <dsp:txXfrm rot="-5400000">
        <a:off x="905898" y="1701"/>
        <a:ext cx="5020947" cy="841191"/>
      </dsp:txXfrm>
    </dsp:sp>
    <dsp:sp modelId="{5BB21D23-1568-46B2-96C8-EFBE8420721B}">
      <dsp:nvSpPr>
        <dsp:cNvPr id="0" name=""/>
        <dsp:cNvSpPr/>
      </dsp:nvSpPr>
      <dsp:spPr>
        <a:xfrm rot="5400000">
          <a:off x="-194121" y="1343749"/>
          <a:ext cx="1294140" cy="905898"/>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Client</a:t>
          </a:r>
          <a:endParaRPr lang="en-IN" sz="1200" kern="1200" dirty="0"/>
        </a:p>
      </dsp:txBody>
      <dsp:txXfrm rot="-5400000">
        <a:off x="0" y="1602577"/>
        <a:ext cx="905898" cy="388242"/>
      </dsp:txXfrm>
    </dsp:sp>
    <dsp:sp modelId="{51C98349-D5FE-4331-BF2D-DE2D2013B490}">
      <dsp:nvSpPr>
        <dsp:cNvPr id="0" name=""/>
        <dsp:cNvSpPr/>
      </dsp:nvSpPr>
      <dsp:spPr>
        <a:xfrm rot="5400000">
          <a:off x="2995776" y="-940249"/>
          <a:ext cx="841191" cy="5020947"/>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IN" sz="1200" kern="1200"/>
            <a:t>A legal or government entity or an individual who currently contracts for the firm’s services. A client may be an individual or a privately or publicly held corporation.</a:t>
          </a:r>
          <a:endParaRPr lang="en-IN" sz="1200" kern="1200" dirty="0"/>
        </a:p>
      </dsp:txBody>
      <dsp:txXfrm rot="-5400000">
        <a:off x="905898" y="1149629"/>
        <a:ext cx="5020947" cy="841191"/>
      </dsp:txXfrm>
    </dsp:sp>
    <dsp:sp modelId="{ED5D4A9B-402C-4CE1-88D8-1335708C5DF0}">
      <dsp:nvSpPr>
        <dsp:cNvPr id="0" name=""/>
        <dsp:cNvSpPr/>
      </dsp:nvSpPr>
      <dsp:spPr>
        <a:xfrm rot="5400000">
          <a:off x="-194121" y="2491676"/>
          <a:ext cx="1294140" cy="905898"/>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pportunity</a:t>
          </a:r>
          <a:endParaRPr lang="en-IN" sz="1200" kern="1200" dirty="0"/>
        </a:p>
      </dsp:txBody>
      <dsp:txXfrm rot="-5400000">
        <a:off x="0" y="2750504"/>
        <a:ext cx="905898" cy="388242"/>
      </dsp:txXfrm>
    </dsp:sp>
    <dsp:sp modelId="{48AAE756-BA46-4139-B4CA-4AEE47BC7CC8}">
      <dsp:nvSpPr>
        <dsp:cNvPr id="0" name=""/>
        <dsp:cNvSpPr/>
      </dsp:nvSpPr>
      <dsp:spPr>
        <a:xfrm rot="5400000">
          <a:off x="2995776" y="207677"/>
          <a:ext cx="841191" cy="5020947"/>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IN" sz="1200" kern="1200"/>
            <a:t>A prospective sale of EY service. Once leaders identify a scope of service (new or existing) that can be provided to a client (potential or existing), it is entered into the system as an opportunity and this opportunity passes through various stages as negotiations on various aspects continue with clients, until it is closed.</a:t>
          </a:r>
          <a:endParaRPr lang="en-IN" sz="1200" kern="1200" dirty="0"/>
        </a:p>
      </dsp:txBody>
      <dsp:txXfrm rot="-5400000">
        <a:off x="905898" y="2297555"/>
        <a:ext cx="5020947" cy="841191"/>
      </dsp:txXfrm>
    </dsp:sp>
    <dsp:sp modelId="{18A1470B-2294-4783-9820-6081452779D8}">
      <dsp:nvSpPr>
        <dsp:cNvPr id="0" name=""/>
        <dsp:cNvSpPr/>
      </dsp:nvSpPr>
      <dsp:spPr>
        <a:xfrm rot="5400000">
          <a:off x="-194121" y="3639604"/>
          <a:ext cx="1294140" cy="905898"/>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Engagement</a:t>
          </a:r>
          <a:endParaRPr lang="en-IN" sz="1200" kern="1200" dirty="0"/>
        </a:p>
      </dsp:txBody>
      <dsp:txXfrm rot="-5400000">
        <a:off x="0" y="3898432"/>
        <a:ext cx="905898" cy="388242"/>
      </dsp:txXfrm>
    </dsp:sp>
    <dsp:sp modelId="{DC2DC6BB-E645-4C5E-92EE-89D1A0546E86}">
      <dsp:nvSpPr>
        <dsp:cNvPr id="0" name=""/>
        <dsp:cNvSpPr/>
      </dsp:nvSpPr>
      <dsp:spPr>
        <a:xfrm rot="5400000">
          <a:off x="2995776" y="1355605"/>
          <a:ext cx="841191" cy="5020947"/>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Once an opportunity is successfully closed and won, a corresponding engagement is created in the system. Engagement is an agreed upon scope of work performed for a client under an agreed upon pricing arrangement. Work performed on engagements will result in billable hours and generate revenue. </a:t>
          </a:r>
        </a:p>
      </dsp:txBody>
      <dsp:txXfrm rot="-5400000">
        <a:off x="905898" y="3445483"/>
        <a:ext cx="5020947" cy="8411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A4DF2E-9F64-4987-AAEE-146AEEFBD039}">
      <dsp:nvSpPr>
        <dsp:cNvPr id="0" name=""/>
        <dsp:cNvSpPr/>
      </dsp:nvSpPr>
      <dsp:spPr>
        <a:xfrm rot="5400000">
          <a:off x="-219156" y="220976"/>
          <a:ext cx="1461044" cy="1022730"/>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Opportunity</a:t>
          </a:r>
          <a:endParaRPr lang="en-IN" sz="1500" kern="1200" dirty="0"/>
        </a:p>
      </dsp:txBody>
      <dsp:txXfrm rot="-5400000">
        <a:off x="1" y="513184"/>
        <a:ext cx="1022730" cy="438314"/>
      </dsp:txXfrm>
    </dsp:sp>
    <dsp:sp modelId="{25CFF0F9-96E4-4D0A-81EC-D4A78DAD6261}">
      <dsp:nvSpPr>
        <dsp:cNvPr id="0" name=""/>
        <dsp:cNvSpPr/>
      </dsp:nvSpPr>
      <dsp:spPr>
        <a:xfrm rot="5400000">
          <a:off x="2463577" y="-1439026"/>
          <a:ext cx="949678" cy="3831371"/>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a:t>A prospective sale of EY service</a:t>
          </a:r>
          <a:endParaRPr lang="en-IN" sz="1400" kern="1200" dirty="0"/>
        </a:p>
      </dsp:txBody>
      <dsp:txXfrm rot="-5400000">
        <a:off x="1022731" y="1820"/>
        <a:ext cx="3831371" cy="949678"/>
      </dsp:txXfrm>
    </dsp:sp>
    <dsp:sp modelId="{06E47A27-06C8-4668-BBE9-A391EE65C0CA}">
      <dsp:nvSpPr>
        <dsp:cNvPr id="0" name=""/>
        <dsp:cNvSpPr/>
      </dsp:nvSpPr>
      <dsp:spPr>
        <a:xfrm rot="5400000">
          <a:off x="-219156" y="1486110"/>
          <a:ext cx="1461044" cy="1022730"/>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Pipeline</a:t>
          </a:r>
          <a:endParaRPr lang="en-IN" sz="1500" kern="1200" dirty="0"/>
        </a:p>
      </dsp:txBody>
      <dsp:txXfrm rot="-5400000">
        <a:off x="1" y="1778318"/>
        <a:ext cx="1022730" cy="438314"/>
      </dsp:txXfrm>
    </dsp:sp>
    <dsp:sp modelId="{0E1EC809-39E4-41D5-AFF6-78C5B3052856}">
      <dsp:nvSpPr>
        <dsp:cNvPr id="0" name=""/>
        <dsp:cNvSpPr/>
      </dsp:nvSpPr>
      <dsp:spPr>
        <a:xfrm rot="5400000">
          <a:off x="2463577" y="-173892"/>
          <a:ext cx="949678" cy="3831371"/>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a:t>This refers to a phase when an opportunity is created in the system and is in open status. Before the opportunity closes, it goes through four stages - Identify, Qualify, Pursue and Closing.</a:t>
          </a:r>
          <a:endParaRPr lang="en-IN" sz="1400" kern="1200" dirty="0"/>
        </a:p>
      </dsp:txBody>
      <dsp:txXfrm rot="-5400000">
        <a:off x="1022731" y="1266954"/>
        <a:ext cx="3831371" cy="949678"/>
      </dsp:txXfrm>
    </dsp:sp>
    <dsp:sp modelId="{AED4FE55-EBAF-4F7B-A0C0-0E9B1EDCDEC4}">
      <dsp:nvSpPr>
        <dsp:cNvPr id="0" name=""/>
        <dsp:cNvSpPr/>
      </dsp:nvSpPr>
      <dsp:spPr>
        <a:xfrm rot="5400000">
          <a:off x="-219156" y="2751243"/>
          <a:ext cx="1461044" cy="1022730"/>
        </a:xfrm>
        <a:prstGeom prst="chevron">
          <a:avLst/>
        </a:prstGeom>
        <a:solidFill>
          <a:schemeClr val="bg1">
            <a:lumMod val="60000"/>
            <a:lumOff val="40000"/>
          </a:schemeClr>
        </a:soli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a:t>Wins / Sales</a:t>
          </a:r>
          <a:endParaRPr lang="en-IN" sz="1500" kern="1200" dirty="0"/>
        </a:p>
      </dsp:txBody>
      <dsp:txXfrm rot="-5400000">
        <a:off x="1" y="3043451"/>
        <a:ext cx="1022730" cy="438314"/>
      </dsp:txXfrm>
    </dsp:sp>
    <dsp:sp modelId="{43BFF18A-954C-47FE-A7CD-C8617F6F21D7}">
      <dsp:nvSpPr>
        <dsp:cNvPr id="0" name=""/>
        <dsp:cNvSpPr/>
      </dsp:nvSpPr>
      <dsp:spPr>
        <a:xfrm rot="5400000">
          <a:off x="2463577" y="1091240"/>
          <a:ext cx="949678" cy="3831371"/>
        </a:xfrm>
        <a:prstGeom prst="flowChartProcess">
          <a:avLst/>
        </a:prstGeom>
        <a:solidFill>
          <a:schemeClr val="bg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a:t>Once the opportunity is successfully closed (won) it becomes a sale for EY and it is converted to an Engagement.</a:t>
          </a:r>
          <a:endParaRPr lang="en-IN" sz="1400" kern="1200" dirty="0"/>
        </a:p>
      </dsp:txBody>
      <dsp:txXfrm rot="-5400000">
        <a:off x="1022731" y="2532086"/>
        <a:ext cx="3831371" cy="9496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3E2F7C-B4B9-43A8-A7AD-4CCE61345D9A}">
      <dsp:nvSpPr>
        <dsp:cNvPr id="0" name=""/>
        <dsp:cNvSpPr/>
      </dsp:nvSpPr>
      <dsp:spPr>
        <a:xfrm rot="5400000">
          <a:off x="-192732" y="195989"/>
          <a:ext cx="1284884" cy="899419"/>
        </a:xfrm>
        <a:prstGeom prst="chevron">
          <a:avLst/>
        </a:prstGeom>
        <a:solidFill>
          <a:srgbClr val="FFD2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latin typeface="EYInterstate" panose="02000503020000020004" pitchFamily="2" charset="0"/>
            </a:rPr>
            <a:t>Global</a:t>
          </a:r>
          <a:endParaRPr lang="en-IN" sz="1500" kern="1200" dirty="0">
            <a:solidFill>
              <a:schemeClr val="bg1"/>
            </a:solidFill>
            <a:latin typeface="EYInterstate" panose="02000503020000020004" pitchFamily="2" charset="0"/>
          </a:endParaRPr>
        </a:p>
      </dsp:txBody>
      <dsp:txXfrm rot="-5400000">
        <a:off x="1" y="452967"/>
        <a:ext cx="899419" cy="385465"/>
      </dsp:txXfrm>
    </dsp:sp>
    <dsp:sp modelId="{53B3D15B-DB93-4AB8-B650-CF0BB5471EBE}">
      <dsp:nvSpPr>
        <dsp:cNvPr id="0" name=""/>
        <dsp:cNvSpPr/>
      </dsp:nvSpPr>
      <dsp:spPr>
        <a:xfrm rot="5400000">
          <a:off x="5521379" y="-4618703"/>
          <a:ext cx="835174" cy="10079095"/>
        </a:xfrm>
        <a:prstGeom prst="flowChartProcess">
          <a:avLst/>
        </a:prstGeom>
        <a:solidFill>
          <a:schemeClr val="bg2">
            <a:lumMod val="20000"/>
            <a:lumOff val="80000"/>
            <a:alpha val="90000"/>
          </a:schemeClr>
        </a:solidFill>
        <a:ln w="22225" cap="flat" cmpd="sng" algn="ctr">
          <a:solidFill>
            <a:srgbClr val="000000"/>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dirty="0">
              <a:solidFill>
                <a:schemeClr val="bg1"/>
              </a:solidFill>
              <a:latin typeface="EYInterstate" panose="02000503020000020004" pitchFamily="2" charset="0"/>
            </a:rPr>
            <a:t>Global revenue of accounts headquartered in a specific market segment or region or area plus Inbound revenue earned in that specific market segment or region or area from accounts headquartered else where.</a:t>
          </a:r>
        </a:p>
      </dsp:txBody>
      <dsp:txXfrm rot="-5400000">
        <a:off x="899419" y="3257"/>
        <a:ext cx="10079095" cy="835174"/>
      </dsp:txXfrm>
    </dsp:sp>
    <dsp:sp modelId="{5E19148E-5C6F-4249-B7A6-7681F8F42D12}">
      <dsp:nvSpPr>
        <dsp:cNvPr id="0" name=""/>
        <dsp:cNvSpPr/>
      </dsp:nvSpPr>
      <dsp:spPr>
        <a:xfrm rot="5400000">
          <a:off x="-192732" y="1334660"/>
          <a:ext cx="1284884" cy="899419"/>
        </a:xfrm>
        <a:prstGeom prst="chevron">
          <a:avLst/>
        </a:prstGeom>
        <a:solidFill>
          <a:srgbClr val="FFD2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latin typeface="EYInterstate" panose="02000503020000020004" pitchFamily="2" charset="0"/>
            </a:rPr>
            <a:t>Inbound</a:t>
          </a:r>
          <a:endParaRPr lang="en-IN" sz="1500" kern="1200" dirty="0">
            <a:solidFill>
              <a:schemeClr val="bg1"/>
            </a:solidFill>
            <a:latin typeface="EYInterstate" panose="02000503020000020004" pitchFamily="2" charset="0"/>
          </a:endParaRPr>
        </a:p>
      </dsp:txBody>
      <dsp:txXfrm rot="-5400000">
        <a:off x="1" y="1591638"/>
        <a:ext cx="899419" cy="385465"/>
      </dsp:txXfrm>
    </dsp:sp>
    <dsp:sp modelId="{51DEE263-929E-468B-B9EE-8506A6BD68DB}">
      <dsp:nvSpPr>
        <dsp:cNvPr id="0" name=""/>
        <dsp:cNvSpPr/>
      </dsp:nvSpPr>
      <dsp:spPr>
        <a:xfrm rot="5400000">
          <a:off x="5521379" y="-3480032"/>
          <a:ext cx="835174" cy="10079095"/>
        </a:xfrm>
        <a:prstGeom prst="flowChartProcess">
          <a:avLst/>
        </a:prstGeom>
        <a:solidFill>
          <a:schemeClr val="bg2">
            <a:lumMod val="20000"/>
            <a:lumOff val="80000"/>
            <a:alpha val="90000"/>
          </a:schemeClr>
        </a:solidFill>
        <a:ln w="22225" cap="flat" cmpd="sng" algn="ctr">
          <a:solidFill>
            <a:srgbClr val="000000"/>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dirty="0">
              <a:solidFill>
                <a:schemeClr val="bg1"/>
              </a:solidFill>
              <a:latin typeface="EYInterstate" panose="02000503020000020004" pitchFamily="2" charset="0"/>
            </a:rPr>
            <a:t>Revenue earned in one market segment or region or area from accounts that are headquartered in another market segment or region or area. </a:t>
          </a:r>
        </a:p>
        <a:p>
          <a:pPr marL="114300" lvl="1" indent="-114300" algn="l" defTabSz="622300">
            <a:lnSpc>
              <a:spcPct val="90000"/>
            </a:lnSpc>
            <a:spcBef>
              <a:spcPct val="0"/>
            </a:spcBef>
            <a:spcAft>
              <a:spcPct val="15000"/>
            </a:spcAft>
            <a:buChar char="•"/>
          </a:pPr>
          <a:r>
            <a:rPr lang="en-IN" sz="1400" kern="1200" dirty="0">
              <a:solidFill>
                <a:schemeClr val="bg1"/>
              </a:solidFill>
              <a:latin typeface="EYInterstate" panose="02000503020000020004" pitchFamily="2" charset="0"/>
            </a:rPr>
            <a:t>Example: Coca-Cola is headquartered in Southeast US Region and so UKI Region earns inbound revenue from audit work on British &amp; Irish subsidiaries of Coca-Cola.</a:t>
          </a:r>
        </a:p>
      </dsp:txBody>
      <dsp:txXfrm rot="-5400000">
        <a:off x="899419" y="1141928"/>
        <a:ext cx="10079095" cy="835174"/>
      </dsp:txXfrm>
    </dsp:sp>
    <dsp:sp modelId="{1CF597AF-9CAB-4082-B7A9-43DAF07DE244}">
      <dsp:nvSpPr>
        <dsp:cNvPr id="0" name=""/>
        <dsp:cNvSpPr/>
      </dsp:nvSpPr>
      <dsp:spPr>
        <a:xfrm rot="5400000">
          <a:off x="-192732" y="2473331"/>
          <a:ext cx="1284884" cy="899419"/>
        </a:xfrm>
        <a:prstGeom prst="chevron">
          <a:avLst/>
        </a:prstGeom>
        <a:solidFill>
          <a:srgbClr val="FFD2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latin typeface="EYInterstate" panose="02000503020000020004" pitchFamily="2" charset="0"/>
            </a:rPr>
            <a:t>Outbound</a:t>
          </a:r>
          <a:endParaRPr lang="en-IN" sz="1500" kern="1200" dirty="0">
            <a:solidFill>
              <a:schemeClr val="bg1"/>
            </a:solidFill>
            <a:latin typeface="EYInterstate" panose="02000503020000020004" pitchFamily="2" charset="0"/>
          </a:endParaRPr>
        </a:p>
      </dsp:txBody>
      <dsp:txXfrm rot="-5400000">
        <a:off x="1" y="2730309"/>
        <a:ext cx="899419" cy="385465"/>
      </dsp:txXfrm>
    </dsp:sp>
    <dsp:sp modelId="{B90FB0C8-47BC-4CF0-88DE-C64E154397B2}">
      <dsp:nvSpPr>
        <dsp:cNvPr id="0" name=""/>
        <dsp:cNvSpPr/>
      </dsp:nvSpPr>
      <dsp:spPr>
        <a:xfrm rot="5400000">
          <a:off x="5521379" y="-2341361"/>
          <a:ext cx="835174" cy="10079095"/>
        </a:xfrm>
        <a:prstGeom prst="flowChartProcess">
          <a:avLst/>
        </a:prstGeom>
        <a:solidFill>
          <a:schemeClr val="bg2">
            <a:lumMod val="20000"/>
            <a:lumOff val="80000"/>
            <a:alpha val="90000"/>
          </a:schemeClr>
        </a:solidFill>
        <a:ln w="22225" cap="flat" cmpd="sng" algn="ctr">
          <a:solidFill>
            <a:srgbClr val="000000"/>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dirty="0">
              <a:solidFill>
                <a:schemeClr val="bg1"/>
              </a:solidFill>
              <a:latin typeface="EYInterstate" panose="02000503020000020004" pitchFamily="2" charset="0"/>
            </a:rPr>
            <a:t>Revenue earned from accounts outside of their headquartered market segment or region or area.  </a:t>
          </a:r>
        </a:p>
        <a:p>
          <a:pPr marL="114300" lvl="1" indent="-114300" algn="l" defTabSz="622300">
            <a:lnSpc>
              <a:spcPct val="90000"/>
            </a:lnSpc>
            <a:spcBef>
              <a:spcPct val="0"/>
            </a:spcBef>
            <a:spcAft>
              <a:spcPct val="15000"/>
            </a:spcAft>
            <a:buChar char="•"/>
          </a:pPr>
          <a:r>
            <a:rPr lang="en-IN" sz="1400" kern="1200" dirty="0">
              <a:solidFill>
                <a:schemeClr val="bg1"/>
              </a:solidFill>
              <a:latin typeface="EYInterstate" panose="02000503020000020004" pitchFamily="2" charset="0"/>
            </a:rPr>
            <a:t>Example: Coca-Cola revenue earned in UKI Region is outbound revenue for Southeast US Region and will be included as GTER in both the UKI and Southeast US reports.</a:t>
          </a:r>
        </a:p>
      </dsp:txBody>
      <dsp:txXfrm rot="-5400000">
        <a:off x="899419" y="2280599"/>
        <a:ext cx="10079095" cy="835174"/>
      </dsp:txXfrm>
    </dsp:sp>
    <dsp:sp modelId="{C454A28C-E15E-40B4-A330-082008F41722}">
      <dsp:nvSpPr>
        <dsp:cNvPr id="0" name=""/>
        <dsp:cNvSpPr/>
      </dsp:nvSpPr>
      <dsp:spPr>
        <a:xfrm rot="5400000">
          <a:off x="-192732" y="3612002"/>
          <a:ext cx="1284884" cy="899419"/>
        </a:xfrm>
        <a:prstGeom prst="chevron">
          <a:avLst/>
        </a:prstGeom>
        <a:solidFill>
          <a:srgbClr val="FFD2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latin typeface="EYInterstate" panose="02000503020000020004" pitchFamily="2" charset="0"/>
            </a:rPr>
            <a:t>Local</a:t>
          </a:r>
          <a:endParaRPr lang="en-IN" sz="1500" kern="1200" dirty="0">
            <a:solidFill>
              <a:schemeClr val="bg1"/>
            </a:solidFill>
            <a:latin typeface="EYInterstate" panose="02000503020000020004" pitchFamily="2" charset="0"/>
          </a:endParaRPr>
        </a:p>
      </dsp:txBody>
      <dsp:txXfrm rot="-5400000">
        <a:off x="1" y="3868980"/>
        <a:ext cx="899419" cy="385465"/>
      </dsp:txXfrm>
    </dsp:sp>
    <dsp:sp modelId="{1D7F4EBB-EE2A-4597-979C-C4D7724C29CB}">
      <dsp:nvSpPr>
        <dsp:cNvPr id="0" name=""/>
        <dsp:cNvSpPr/>
      </dsp:nvSpPr>
      <dsp:spPr>
        <a:xfrm rot="5400000">
          <a:off x="5521379" y="-1202690"/>
          <a:ext cx="835174" cy="10079095"/>
        </a:xfrm>
        <a:prstGeom prst="flowChartProcess">
          <a:avLst/>
        </a:prstGeom>
        <a:solidFill>
          <a:schemeClr val="bg2">
            <a:lumMod val="20000"/>
            <a:lumOff val="80000"/>
            <a:alpha val="90000"/>
          </a:schemeClr>
        </a:solidFill>
        <a:ln w="22225" cap="flat" cmpd="sng" algn="ctr">
          <a:solidFill>
            <a:srgbClr val="000000"/>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1"/>
              </a:solidFill>
              <a:latin typeface="EYInterstate" panose="02000503020000020004" pitchFamily="2" charset="0"/>
            </a:rPr>
            <a:t>Revenue generated in a particular market segment or region or area from both - accounts headquartered in the same region and accounts headquartered in other regions.</a:t>
          </a:r>
          <a:endParaRPr lang="en-IN" sz="1400" kern="1200" dirty="0">
            <a:solidFill>
              <a:schemeClr val="bg1"/>
            </a:solidFill>
            <a:latin typeface="EYInterstate" panose="02000503020000020004" pitchFamily="2" charset="0"/>
          </a:endParaRPr>
        </a:p>
        <a:p>
          <a:pPr marL="114300" lvl="1" indent="-114300" algn="l" defTabSz="622300">
            <a:lnSpc>
              <a:spcPct val="90000"/>
            </a:lnSpc>
            <a:spcBef>
              <a:spcPct val="0"/>
            </a:spcBef>
            <a:spcAft>
              <a:spcPct val="15000"/>
            </a:spcAft>
            <a:buChar char="•"/>
          </a:pPr>
          <a:r>
            <a:rPr lang="en-US" sz="1400" kern="1200" dirty="0">
              <a:solidFill>
                <a:schemeClr val="bg1"/>
              </a:solidFill>
              <a:latin typeface="EYInterstate" panose="02000503020000020004" pitchFamily="2" charset="0"/>
            </a:rPr>
            <a:t>Example: Revenue earned in Southeast from accounts headquartered in Southeast plus revenue earned in Southeast from accounts headquartered in other regions.</a:t>
          </a:r>
          <a:endParaRPr lang="en-IN" sz="1400" kern="1200" dirty="0">
            <a:solidFill>
              <a:schemeClr val="bg1"/>
            </a:solidFill>
            <a:latin typeface="EYInterstate" panose="02000503020000020004" pitchFamily="2" charset="0"/>
          </a:endParaRPr>
        </a:p>
      </dsp:txBody>
      <dsp:txXfrm rot="-5400000">
        <a:off x="899419" y="3419270"/>
        <a:ext cx="10079095" cy="835174"/>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2/05/2020</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2/05/2020</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Tree>
    <p:extLst>
      <p:ext uri="{BB962C8B-B14F-4D97-AF65-F5344CB8AC3E}">
        <p14:creationId xmlns:p14="http://schemas.microsoft.com/office/powerpoint/2010/main" val="1629576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9</a:t>
            </a:fld>
            <a:endParaRPr lang="en-GB"/>
          </a:p>
        </p:txBody>
      </p:sp>
    </p:spTree>
    <p:extLst>
      <p:ext uri="{BB962C8B-B14F-4D97-AF65-F5344CB8AC3E}">
        <p14:creationId xmlns:p14="http://schemas.microsoft.com/office/powerpoint/2010/main" val="2276158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0</a:t>
            </a:fld>
            <a:endParaRPr lang="en-GB"/>
          </a:p>
        </p:txBody>
      </p:sp>
    </p:spTree>
    <p:extLst>
      <p:ext uri="{BB962C8B-B14F-4D97-AF65-F5344CB8AC3E}">
        <p14:creationId xmlns:p14="http://schemas.microsoft.com/office/powerpoint/2010/main" val="839389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baseline="0" dirty="0"/>
              <a:t> Explain the SER to TNR calculation flow (CBS Revenue allocation is already included in other revenue )</a:t>
            </a:r>
            <a:endParaRPr lang="en-US" dirty="0"/>
          </a:p>
        </p:txBody>
      </p:sp>
    </p:spTree>
    <p:extLst>
      <p:ext uri="{BB962C8B-B14F-4D97-AF65-F5344CB8AC3E}">
        <p14:creationId xmlns:p14="http://schemas.microsoft.com/office/powerpoint/2010/main" val="13382408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Tree>
    <p:extLst>
      <p:ext uri="{BB962C8B-B14F-4D97-AF65-F5344CB8AC3E}">
        <p14:creationId xmlns:p14="http://schemas.microsoft.com/office/powerpoint/2010/main" val="7890831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endParaRPr lang="en-US"/>
          </a:p>
        </p:txBody>
      </p:sp>
    </p:spTree>
    <p:extLst>
      <p:ext uri="{BB962C8B-B14F-4D97-AF65-F5344CB8AC3E}">
        <p14:creationId xmlns:p14="http://schemas.microsoft.com/office/powerpoint/2010/main" val="27866614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endParaRPr lang="en-US"/>
          </a:p>
        </p:txBody>
      </p:sp>
    </p:spTree>
    <p:extLst>
      <p:ext uri="{BB962C8B-B14F-4D97-AF65-F5344CB8AC3E}">
        <p14:creationId xmlns:p14="http://schemas.microsoft.com/office/powerpoint/2010/main" val="3725707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endParaRPr lang="en-US"/>
          </a:p>
        </p:txBody>
      </p:sp>
    </p:spTree>
    <p:extLst>
      <p:ext uri="{BB962C8B-B14F-4D97-AF65-F5344CB8AC3E}">
        <p14:creationId xmlns:p14="http://schemas.microsoft.com/office/powerpoint/2010/main" val="2620428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43D19E-BFDB-4C92-8EDD-32EDDA8F41DF}" type="slidenum">
              <a:rPr lang="en-GB" smtClean="0"/>
              <a:pPr/>
              <a:t>27</a:t>
            </a:fld>
            <a:endParaRPr lang="en-GB"/>
          </a:p>
        </p:txBody>
      </p:sp>
    </p:spTree>
    <p:extLst>
      <p:ext uri="{BB962C8B-B14F-4D97-AF65-F5344CB8AC3E}">
        <p14:creationId xmlns:p14="http://schemas.microsoft.com/office/powerpoint/2010/main" val="869928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100766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258460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423264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endParaRPr lang="en-US" dirty="0"/>
          </a:p>
        </p:txBody>
      </p:sp>
    </p:spTree>
    <p:extLst>
      <p:ext uri="{BB962C8B-B14F-4D97-AF65-F5344CB8AC3E}">
        <p14:creationId xmlns:p14="http://schemas.microsoft.com/office/powerpoint/2010/main" val="4141721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ln/>
        </p:spPr>
      </p:sp>
      <p:sp>
        <p:nvSpPr>
          <p:cNvPr id="83971" name="Notes Placeholder 2"/>
          <p:cNvSpPr>
            <a:spLocks noGrp="1"/>
          </p:cNvSpPr>
          <p:nvPr>
            <p:ph type="body" idx="1"/>
          </p:nvPr>
        </p:nvSpPr>
        <p:spPr>
          <a:noFill/>
          <a:ln/>
        </p:spPr>
        <p:txBody>
          <a:bodyPr/>
          <a:lstStyle/>
          <a:p>
            <a:pPr>
              <a:buFont typeface="Arial" charset="0"/>
              <a:buChar char="•"/>
            </a:pPr>
            <a:r>
              <a:rPr lang="en-US"/>
              <a:t>Explain the attributes that Engagement will reside in BU and owned by that BU</a:t>
            </a:r>
          </a:p>
        </p:txBody>
      </p:sp>
    </p:spTree>
    <p:extLst>
      <p:ext uri="{BB962C8B-B14F-4D97-AF65-F5344CB8AC3E}">
        <p14:creationId xmlns:p14="http://schemas.microsoft.com/office/powerpoint/2010/main" val="1617463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a:p>
        </p:txBody>
      </p:sp>
    </p:spTree>
    <p:extLst>
      <p:ext uri="{BB962C8B-B14F-4D97-AF65-F5344CB8AC3E}">
        <p14:creationId xmlns:p14="http://schemas.microsoft.com/office/powerpoint/2010/main" val="3283235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a:p>
        </p:txBody>
      </p:sp>
    </p:spTree>
    <p:extLst>
      <p:ext uri="{BB962C8B-B14F-4D97-AF65-F5344CB8AC3E}">
        <p14:creationId xmlns:p14="http://schemas.microsoft.com/office/powerpoint/2010/main" val="1274991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1675262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893704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580524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827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137920"/>
            <a:ext cx="10980738"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750" r="22250"/>
          <a:stretch/>
        </p:blipFill>
        <p:spPr>
          <a:xfrm>
            <a:off x="0" y="0"/>
            <a:ext cx="12198350" cy="6858000"/>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915579" y="1476597"/>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915580" y="2422865"/>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5141971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32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50013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10894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460789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629436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4931197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7221"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7221"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6786273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650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075811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761593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966410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8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0792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1921570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8"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4813482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67130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9ECE23-3339-4260-B05D-8D88245A14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Tree>
    <p:extLst>
      <p:ext uri="{BB962C8B-B14F-4D97-AF65-F5344CB8AC3E}">
        <p14:creationId xmlns:p14="http://schemas.microsoft.com/office/powerpoint/2010/main" val="16008499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tx1"/>
                </a:solidFill>
              </a:defRPr>
            </a:lvl1pPr>
          </a:lstStyle>
          <a:p>
            <a:endParaRPr lang="en-GB" dirty="0">
              <a:solidFill>
                <a:srgbClr val="808080"/>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GB" dirty="0">
              <a:solidFill>
                <a:srgbClr val="808080"/>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r>
              <a:rPr lang="en-GB" dirty="0">
                <a:solidFill>
                  <a:srgbClr val="808080"/>
                </a:solidFill>
              </a:rPr>
              <a:t>Page </a:t>
            </a:r>
            <a:fld id="{E5A1EDF7-6110-42C0-A4FC-CB56AF1E2FBC}" type="slidenum">
              <a:rPr lang="en-GB" smtClean="0">
                <a:solidFill>
                  <a:srgbClr val="808080"/>
                </a:solidFill>
              </a:rPr>
              <a:pPr/>
              <a:t>‹#›</a:t>
            </a:fld>
            <a:endParaRPr lang="en-GB" dirty="0">
              <a:solidFill>
                <a:srgbClr val="808080"/>
              </a:solidFill>
            </a:endParaRPr>
          </a:p>
        </p:txBody>
      </p:sp>
      <p:sp>
        <p:nvSpPr>
          <p:cNvPr id="2" name="Title 1"/>
          <p:cNvSpPr>
            <a:spLocks noGrp="1"/>
          </p:cNvSpPr>
          <p:nvPr>
            <p:ph type="title" hasCustomPrompt="1"/>
          </p:nvPr>
        </p:nvSpPr>
        <p:spPr>
          <a:xfrm>
            <a:off x="618421" y="261940"/>
            <a:ext cx="10957337" cy="790575"/>
          </a:xfrm>
        </p:spPr>
        <p:txBody>
          <a:bodyPr anchor="t"/>
          <a:lstStyle>
            <a:lvl1pPr algn="l">
              <a:defRPr sz="2999" b="1" cap="none" baseline="0">
                <a:solidFill>
                  <a:schemeClr val="tx1"/>
                </a:solidFill>
              </a:defRPr>
            </a:lvl1pPr>
          </a:lstStyle>
          <a:p>
            <a:r>
              <a:rPr lang="en-US" dirty="0"/>
              <a:t>Title only</a:t>
            </a:r>
            <a:endParaRPr lang="en-GB" dirty="0"/>
          </a:p>
        </p:txBody>
      </p:sp>
      <p:pic>
        <p:nvPicPr>
          <p:cNvPr id="11" name="Picture 10">
            <a:extLst>
              <a:ext uri="{FF2B5EF4-FFF2-40B4-BE49-F238E27FC236}">
                <a16:creationId xmlns:a16="http://schemas.microsoft.com/office/drawing/2014/main" id="{51B178B8-5392-4303-886F-D2BF6332BB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12" name="Line 10">
            <a:extLst>
              <a:ext uri="{FF2B5EF4-FFF2-40B4-BE49-F238E27FC236}">
                <a16:creationId xmlns:a16="http://schemas.microsoft.com/office/drawing/2014/main" id="{FC925302-52A3-4226-9265-A46C31FA53A9}"/>
              </a:ext>
            </a:extLst>
          </p:cNvPr>
          <p:cNvSpPr>
            <a:spLocks noChangeShapeType="1"/>
          </p:cNvSpPr>
          <p:nvPr userDrawn="1"/>
        </p:nvSpPr>
        <p:spPr bwMode="auto">
          <a:xfrm>
            <a:off x="609918" y="901957"/>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3" name="Line 10">
            <a:extLst>
              <a:ext uri="{FF2B5EF4-FFF2-40B4-BE49-F238E27FC236}">
                <a16:creationId xmlns:a16="http://schemas.microsoft.com/office/drawing/2014/main" id="{BECDBBB7-18EE-444D-AB66-03B676961090}"/>
              </a:ext>
            </a:extLst>
          </p:cNvPr>
          <p:cNvSpPr>
            <a:spLocks noChangeShapeType="1"/>
          </p:cNvSpPr>
          <p:nvPr userDrawn="1"/>
        </p:nvSpPr>
        <p:spPr bwMode="auto">
          <a:xfrm>
            <a:off x="629148" y="6167908"/>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Tree>
    <p:extLst>
      <p:ext uri="{BB962C8B-B14F-4D97-AF65-F5344CB8AC3E}">
        <p14:creationId xmlns:p14="http://schemas.microsoft.com/office/powerpoint/2010/main" val="991526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0" name="Text Placeholder 10"/>
          <p:cNvSpPr>
            <a:spLocks noGrp="1"/>
          </p:cNvSpPr>
          <p:nvPr>
            <p:ph type="body" sz="quarter" idx="11"/>
          </p:nvPr>
        </p:nvSpPr>
        <p:spPr>
          <a:xfrm>
            <a:off x="521142" y="1429970"/>
            <a:ext cx="10978515" cy="442800"/>
          </a:xfrm>
        </p:spPr>
        <p:txBody>
          <a:bodyPr/>
          <a:lstStyle>
            <a:lvl1pPr marL="0" indent="0">
              <a:buNone/>
              <a:defRPr sz="2200">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271895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193694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13" name="Content Placeholder 2"/>
          <p:cNvSpPr>
            <a:spLocks noGrp="1"/>
          </p:cNvSpPr>
          <p:nvPr>
            <p:ph sz="half" idx="1"/>
          </p:nvPr>
        </p:nvSpPr>
        <p:spPr>
          <a:xfrm>
            <a:off x="609917" y="2121114"/>
            <a:ext cx="5393208"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3"/>
          <p:cNvSpPr>
            <a:spLocks noGrp="1"/>
          </p:cNvSpPr>
          <p:nvPr>
            <p:ph sz="half" idx="2"/>
          </p:nvPr>
        </p:nvSpPr>
        <p:spPr>
          <a:xfrm>
            <a:off x="6204830" y="2121114"/>
            <a:ext cx="5393208"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9"/>
          <p:cNvSpPr>
            <a:spLocks noGrp="1"/>
          </p:cNvSpPr>
          <p:nvPr>
            <p:ph type="body" sz="quarter" idx="12"/>
          </p:nvPr>
        </p:nvSpPr>
        <p:spPr>
          <a:xfrm>
            <a:off x="609917" y="1426464"/>
            <a:ext cx="5393208" cy="640800"/>
          </a:xfrm>
          <a:prstGeom prst="rect">
            <a:avLst/>
          </a:prstGeom>
        </p:spPr>
        <p:txBody>
          <a:bodyPr anchor="t" anchorCtr="0"/>
          <a:lstStyle>
            <a:lvl1pPr>
              <a:buNone/>
              <a:defRPr b="1">
                <a:solidFill>
                  <a:schemeClr val="bg1"/>
                </a:solidFill>
              </a:defRPr>
            </a:lvl1pPr>
          </a:lstStyle>
          <a:p>
            <a:pPr lvl="0"/>
            <a:endParaRPr lang="en-GB" dirty="0"/>
          </a:p>
        </p:txBody>
      </p:sp>
      <p:sp>
        <p:nvSpPr>
          <p:cNvPr id="16" name="Text Placeholder 9"/>
          <p:cNvSpPr>
            <a:spLocks noGrp="1"/>
          </p:cNvSpPr>
          <p:nvPr>
            <p:ph type="body" sz="quarter" idx="13"/>
          </p:nvPr>
        </p:nvSpPr>
        <p:spPr>
          <a:xfrm>
            <a:off x="6204830" y="1426464"/>
            <a:ext cx="5393208" cy="640800"/>
          </a:xfrm>
          <a:prstGeom prst="rect">
            <a:avLst/>
          </a:prstGeom>
        </p:spPr>
        <p:txBody>
          <a:bodyPr anchor="t" anchorCtr="0"/>
          <a:lstStyle>
            <a:lvl1pPr>
              <a:buNone/>
              <a:defRPr b="1">
                <a:solidFill>
                  <a:schemeClr val="bg1"/>
                </a:solidFill>
              </a:defRPr>
            </a:lvl1pPr>
          </a:lstStyle>
          <a:p>
            <a:pPr lvl="0"/>
            <a:endParaRPr lang="en-GB" dirty="0"/>
          </a:p>
        </p:txBody>
      </p:sp>
    </p:spTree>
    <p:extLst>
      <p:ext uri="{BB962C8B-B14F-4D97-AF65-F5344CB8AC3E}">
        <p14:creationId xmlns:p14="http://schemas.microsoft.com/office/powerpoint/2010/main" val="32347246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lIns="94422" tIns="47211" rIns="94422" bIns="4721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lIns="94422" tIns="47211" rIns="94422" bIns="4721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noProof="0" dirty="0">
              <a:solidFill>
                <a:srgbClr val="646464"/>
              </a:solidFill>
            </a:endParaRPr>
          </a:p>
        </p:txBody>
      </p:sp>
      <p:sp>
        <p:nvSpPr>
          <p:cNvPr id="10" name="Text Placeholder 10"/>
          <p:cNvSpPr>
            <a:spLocks noGrp="1"/>
          </p:cNvSpPr>
          <p:nvPr>
            <p:ph type="body" sz="quarter" idx="11"/>
          </p:nvPr>
        </p:nvSpPr>
        <p:spPr>
          <a:xfrm>
            <a:off x="609918" y="620688"/>
            <a:ext cx="10978515" cy="442800"/>
          </a:xfrm>
          <a:prstGeom prst="rect">
            <a:avLst/>
          </a:prstGeom>
        </p:spPr>
        <p:txBody>
          <a:bodyPr lIns="104498" tIns="52249" rIns="104498" bIns="52249"/>
          <a:lstStyle>
            <a:lvl1pPr marL="0" indent="0">
              <a:buNone/>
              <a:defRPr sz="2259">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80306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4576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8.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1.xml"/><Relationship Id="rId5" Type="http://schemas.openxmlformats.org/officeDocument/2006/relationships/slideLayout" Target="../slideLayouts/slideLayout85.xml"/><Relationship Id="rId10" Type="http://schemas.openxmlformats.org/officeDocument/2006/relationships/vmlDrawing" Target="../drawings/vmlDrawing1.vml"/><Relationship Id="rId4" Type="http://schemas.openxmlformats.org/officeDocument/2006/relationships/slideLayout" Target="../slideLayouts/slideLayout84.xml"/><Relationship Id="rId9" Type="http://schemas.openxmlformats.org/officeDocument/2006/relationships/theme" Target="../theme/theme3.xml"/><Relationship Id="rId14" Type="http://schemas.openxmlformats.org/officeDocument/2006/relationships/image" Target="../media/image9.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926" r:id="rId26"/>
    <p:sldLayoutId id="2147483839" r:id="rId27"/>
    <p:sldLayoutId id="2147483925"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4002" r:id="rId1"/>
    <p:sldLayoutId id="2147483920"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3" r:id="rId12"/>
    <p:sldLayoutId id="2147483919" r:id="rId13"/>
    <p:sldLayoutId id="2147483922" r:id="rId14"/>
    <p:sldLayoutId id="2147483924"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 name="think-cell Slide" r:id="rId12" imgW="493" imgH="493" progId="TCLayout.ActiveDocument.1">
                  <p:embed/>
                </p:oleObj>
              </mc:Choice>
              <mc:Fallback>
                <p:oleObj name="think-cell Slide" r:id="rId12" imgW="493" imgH="493" progId="TCLayout.ActiveDocument.1">
                  <p:embed/>
                  <p:pic>
                    <p:nvPicPr>
                      <p:cNvPr id="4" name="Object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pic>
        <p:nvPicPr>
          <p:cNvPr id="12" name="Picture 1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Tree>
    <p:extLst>
      <p:ext uri="{BB962C8B-B14F-4D97-AF65-F5344CB8AC3E}">
        <p14:creationId xmlns:p14="http://schemas.microsoft.com/office/powerpoint/2010/main" val="3548812852"/>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Lst>
  <p:hf hdr="0" ftr="0" dt="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87.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85.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8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a:xfrm>
            <a:off x="917544" y="1954221"/>
            <a:ext cx="4124975" cy="979702"/>
          </a:xfrm>
        </p:spPr>
        <p:txBody>
          <a:bodyPr>
            <a:normAutofit fontScale="90000"/>
          </a:bodyPr>
          <a:lstStyle/>
          <a:p>
            <a:r>
              <a:rPr lang="en-GB" sz="4000" b="1" spc="-55" dirty="0">
                <a:latin typeface="EYInterstate" panose="02000503020000020004" pitchFamily="2" charset="0"/>
              </a:rPr>
              <a:t>Business of</a:t>
            </a:r>
            <a:br>
              <a:rPr lang="en-GB" sz="4000" b="1" spc="-55" dirty="0">
                <a:latin typeface="EYInterstate" panose="02000503020000020004" pitchFamily="2" charset="0"/>
              </a:rPr>
            </a:br>
            <a:r>
              <a:rPr lang="en-GB" sz="4000" b="1" spc="-55" dirty="0">
                <a:latin typeface="EYInterstate" panose="02000503020000020004" pitchFamily="2" charset="0"/>
              </a:rPr>
              <a:t>our Business</a:t>
            </a:r>
            <a:endParaRPr lang="en-GB" sz="3600" dirty="0">
              <a:solidFill>
                <a:srgbClr val="2E2E38"/>
              </a:solidFill>
            </a:endParaRPr>
          </a:p>
        </p:txBody>
      </p:sp>
      <p:sp>
        <p:nvSpPr>
          <p:cNvPr id="17" name="Subtitle 2"/>
          <p:cNvSpPr>
            <a:spLocks noGrp="1"/>
          </p:cNvSpPr>
          <p:nvPr>
            <p:ph type="subTitle" idx="1"/>
          </p:nvPr>
        </p:nvSpPr>
        <p:spPr>
          <a:xfrm>
            <a:off x="944184" y="3046158"/>
            <a:ext cx="4328932" cy="1046323"/>
          </a:xfrm>
        </p:spPr>
        <p:txBody>
          <a:bodyPr>
            <a:normAutofit/>
          </a:bodyPr>
          <a:lstStyle/>
          <a:p>
            <a:endParaRPr lang="en-GB" dirty="0">
              <a:solidFill>
                <a:srgbClr val="2E2E38"/>
              </a:solidFill>
            </a:endParaRPr>
          </a:p>
          <a:p>
            <a:pPr lvl="1"/>
            <a:r>
              <a:rPr lang="en-GB" sz="2000" b="0" dirty="0">
                <a:solidFill>
                  <a:srgbClr val="2E2E38"/>
                </a:solidFill>
                <a:latin typeface="EYInterstate" panose="02000503020000020004" pitchFamily="2" charset="0"/>
              </a:rPr>
              <a:t>April 2020</a:t>
            </a:r>
          </a:p>
        </p:txBody>
      </p:sp>
    </p:spTree>
    <p:extLst>
      <p:ext uri="{BB962C8B-B14F-4D97-AF65-F5344CB8AC3E}">
        <p14:creationId xmlns:p14="http://schemas.microsoft.com/office/powerpoint/2010/main" val="1242318111"/>
      </p:ext>
    </p:extLst>
  </p:cSld>
  <p:clrMapOvr>
    <a:masterClrMapping/>
  </p:clrMapOvr>
  <mc:AlternateContent xmlns:mc="http://schemas.openxmlformats.org/markup-compatibility/2006" xmlns:p14="http://schemas.microsoft.com/office/powerpoint/2010/main">
    <mc:Choice Requires="p14">
      <p:transition spd="slow" p14:dur="1500" advTm="27260">
        <p:split orient="vert"/>
      </p:transition>
    </mc:Choice>
    <mc:Fallback xmlns="">
      <p:transition spd="slow" advTm="27260">
        <p:split orient="ver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053" y="229812"/>
            <a:ext cx="9662674" cy="860400"/>
          </a:xfrm>
        </p:spPr>
        <p:txBody>
          <a:bodyPr anchor="ctr"/>
          <a:lstStyle/>
          <a:p>
            <a:r>
              <a:rPr lang="en-IN" sz="2400" dirty="0">
                <a:solidFill>
                  <a:schemeClr val="bg1">
                    <a:lumMod val="75000"/>
                  </a:schemeClr>
                </a:solidFill>
                <a:latin typeface="EYInterstate" panose="02000503020000020004" pitchFamily="2" charset="0"/>
              </a:rPr>
              <a:t>Markets and Finance Focus – Key Metrics</a:t>
            </a:r>
          </a:p>
        </p:txBody>
      </p:sp>
      <p:graphicFrame>
        <p:nvGraphicFramePr>
          <p:cNvPr id="3" name="Table 2"/>
          <p:cNvGraphicFramePr>
            <a:graphicFrameLocks noGrp="1"/>
          </p:cNvGraphicFramePr>
          <p:nvPr>
            <p:extLst>
              <p:ext uri="{D42A27DB-BD31-4B8C-83A1-F6EECF244321}">
                <p14:modId xmlns:p14="http://schemas.microsoft.com/office/powerpoint/2010/main" val="3034078632"/>
              </p:ext>
            </p:extLst>
          </p:nvPr>
        </p:nvGraphicFramePr>
        <p:xfrm>
          <a:off x="1885350" y="1280161"/>
          <a:ext cx="8439381" cy="4823457"/>
        </p:xfrm>
        <a:graphic>
          <a:graphicData uri="http://schemas.openxmlformats.org/drawingml/2006/table">
            <a:tbl>
              <a:tblPr/>
              <a:tblGrid>
                <a:gridCol w="3140001">
                  <a:extLst>
                    <a:ext uri="{9D8B030D-6E8A-4147-A177-3AD203B41FA5}">
                      <a16:colId xmlns:a16="http://schemas.microsoft.com/office/drawing/2014/main" val="20000"/>
                    </a:ext>
                  </a:extLst>
                </a:gridCol>
                <a:gridCol w="950091">
                  <a:extLst>
                    <a:ext uri="{9D8B030D-6E8A-4147-A177-3AD203B41FA5}">
                      <a16:colId xmlns:a16="http://schemas.microsoft.com/office/drawing/2014/main" val="20001"/>
                    </a:ext>
                  </a:extLst>
                </a:gridCol>
                <a:gridCol w="59051">
                  <a:extLst>
                    <a:ext uri="{9D8B030D-6E8A-4147-A177-3AD203B41FA5}">
                      <a16:colId xmlns:a16="http://schemas.microsoft.com/office/drawing/2014/main" val="20002"/>
                    </a:ext>
                  </a:extLst>
                </a:gridCol>
                <a:gridCol w="59051">
                  <a:extLst>
                    <a:ext uri="{9D8B030D-6E8A-4147-A177-3AD203B41FA5}">
                      <a16:colId xmlns:a16="http://schemas.microsoft.com/office/drawing/2014/main" val="20003"/>
                    </a:ext>
                  </a:extLst>
                </a:gridCol>
                <a:gridCol w="3031614">
                  <a:extLst>
                    <a:ext uri="{9D8B030D-6E8A-4147-A177-3AD203B41FA5}">
                      <a16:colId xmlns:a16="http://schemas.microsoft.com/office/drawing/2014/main" val="20004"/>
                    </a:ext>
                  </a:extLst>
                </a:gridCol>
                <a:gridCol w="1199573">
                  <a:extLst>
                    <a:ext uri="{9D8B030D-6E8A-4147-A177-3AD203B41FA5}">
                      <a16:colId xmlns:a16="http://schemas.microsoft.com/office/drawing/2014/main" val="20005"/>
                    </a:ext>
                  </a:extLst>
                </a:gridCol>
              </a:tblGrid>
              <a:tr h="287715">
                <a:tc gridSpan="6">
                  <a:txBody>
                    <a:bodyPr/>
                    <a:lstStyle/>
                    <a:p>
                      <a:pPr algn="ctr" rtl="0" fontAlgn="ctr"/>
                      <a:r>
                        <a:rPr lang="en-IN" sz="1400" b="1" i="0" u="none" strike="noStrike" dirty="0">
                          <a:solidFill>
                            <a:srgbClr val="333333"/>
                          </a:solidFill>
                          <a:effectLst/>
                          <a:latin typeface="Arial" panose="020B0604020202020204" pitchFamily="34" charset="0"/>
                        </a:rPr>
                        <a:t>Americas</a:t>
                      </a:r>
                      <a:endParaRPr lang="en-IN" sz="1000" b="1" i="0" u="none" strike="noStrike" dirty="0">
                        <a:solidFill>
                          <a:srgbClr val="333333"/>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pPr algn="ctr" rtl="0" fontAlgn="ctr"/>
                      <a:endParaRPr lang="en-IN" sz="1000" b="1" i="0" u="none" strike="noStrike" dirty="0">
                        <a:solidFill>
                          <a:srgbClr val="333333"/>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CC"/>
                    </a:solidFill>
                  </a:tcPr>
                </a:tc>
                <a:tc hMerge="1">
                  <a:txBody>
                    <a:bodyPr/>
                    <a:lstStyle/>
                    <a:p>
                      <a:pPr algn="l" fontAlgn="b"/>
                      <a:endParaRPr lang="en-IN" sz="1000" b="0" i="0" u="none" strike="noStrike">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a:noFill/>
                    </a:lnR>
                    <a:lnT>
                      <a:noFill/>
                    </a:lnT>
                    <a:lnB>
                      <a:noFill/>
                    </a:lnB>
                  </a:tcPr>
                </a:tc>
                <a:tc hMerge="1">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a:noFill/>
                    </a:lnR>
                    <a:lnT>
                      <a:noFill/>
                    </a:lnT>
                    <a:lnB>
                      <a:noFill/>
                    </a:lnB>
                  </a:tcPr>
                </a:tc>
                <a:tc hMerge="1">
                  <a:txBody>
                    <a:bodyPr/>
                    <a:lstStyle/>
                    <a:p>
                      <a:pPr algn="l" fontAlgn="b"/>
                      <a:endParaRPr lang="en-IN" sz="1000" b="0" i="0" u="none" strike="noStrike" dirty="0">
                        <a:effectLst/>
                        <a:latin typeface="Arial" panose="020B0604020202020204" pitchFamily="34" charset="0"/>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rtl="0" fontAlgn="ctr"/>
                      <a:endParaRPr lang="en-IN" sz="1000" b="1" i="0" u="none" strike="noStrike" dirty="0">
                        <a:solidFill>
                          <a:srgbClr val="333333"/>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CC"/>
                    </a:solidFill>
                  </a:tcPr>
                </a:tc>
                <a:extLst>
                  <a:ext uri="{0D108BD9-81ED-4DB2-BD59-A6C34878D82A}">
                    <a16:rowId xmlns:a16="http://schemas.microsoft.com/office/drawing/2014/main" val="10000"/>
                  </a:ext>
                </a:extLst>
              </a:tr>
              <a:tr h="507732">
                <a:tc>
                  <a:txBody>
                    <a:bodyPr/>
                    <a:lstStyle/>
                    <a:p>
                      <a:pPr algn="ctr" rtl="0" fontAlgn="ctr"/>
                      <a:r>
                        <a:rPr lang="en-IN" sz="1200" b="1" i="0" u="none" strike="noStrike" dirty="0">
                          <a:solidFill>
                            <a:schemeClr val="tx2"/>
                          </a:solidFill>
                          <a:effectLst/>
                          <a:latin typeface="Arial" panose="020B0604020202020204" pitchFamily="34" charset="0"/>
                        </a:rPr>
                        <a:t>Finance Foc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ctr" rtl="0" fontAlgn="ctr"/>
                      <a:r>
                        <a:rPr lang="en-IN" sz="1200" b="1" i="0" u="none" strike="noStrike" dirty="0">
                          <a:solidFill>
                            <a:schemeClr val="tx2"/>
                          </a:solidFill>
                          <a:effectLst/>
                          <a:latin typeface="Arial" panose="020B0604020202020204" pitchFamily="34" charset="0"/>
                        </a:rPr>
                        <a:t>FY19 YTD Jul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endParaRPr lang="en-IN" sz="12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2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ctr" rtl="0" fontAlgn="ctr"/>
                      <a:r>
                        <a:rPr lang="en-IN" sz="1200" b="1" i="0" u="none" strike="noStrike" dirty="0">
                          <a:solidFill>
                            <a:schemeClr val="tx2"/>
                          </a:solidFill>
                          <a:effectLst/>
                          <a:latin typeface="Arial" panose="020B0604020202020204" pitchFamily="34" charset="0"/>
                        </a:rPr>
                        <a:t>Markets Foc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ctr"/>
                      <a:r>
                        <a:rPr lang="en-IN" sz="1200" b="1" i="0" u="none" strike="noStrike" dirty="0">
                          <a:solidFill>
                            <a:schemeClr val="tx2"/>
                          </a:solidFill>
                          <a:effectLst/>
                          <a:latin typeface="Arial" panose="020B0604020202020204" pitchFamily="34" charset="0"/>
                        </a:rPr>
                        <a:t>FY19 YTD Jul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87715">
                <a:tc>
                  <a:txBody>
                    <a:bodyPr/>
                    <a:lstStyle/>
                    <a:p>
                      <a:pPr algn="l" rtl="0" fontAlgn="t"/>
                      <a:r>
                        <a:rPr lang="en-IN" sz="1000" b="0" i="0" u="none" strike="noStrike" dirty="0">
                          <a:solidFill>
                            <a:srgbClr val="333333"/>
                          </a:solidFill>
                          <a:effectLst/>
                          <a:latin typeface="Arial" panose="020B0604020202020204" pitchFamily="34" charset="0"/>
                        </a:rPr>
                        <a:t>Standard Engagement Revenu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4,077,503</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Total Pipelin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rtl="0" fontAlgn="t"/>
                      <a:r>
                        <a:rPr lang="en-IN" sz="1000" b="0" i="0" u="none" strike="noStrike" dirty="0">
                          <a:solidFill>
                            <a:srgbClr val="333333"/>
                          </a:solidFill>
                          <a:effectLst/>
                          <a:latin typeface="Arial" panose="020B0604020202020204" pitchFamily="34" charset="0"/>
                        </a:rPr>
                        <a:t>31,046,438</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02"/>
                  </a:ext>
                </a:extLst>
              </a:tr>
              <a:tr h="287715">
                <a:tc>
                  <a:txBody>
                    <a:bodyPr/>
                    <a:lstStyle/>
                    <a:p>
                      <a:pPr algn="l" rtl="0" fontAlgn="t"/>
                      <a:r>
                        <a:rPr lang="en-IN" sz="1000" b="0" i="0" u="none" strike="noStrike" dirty="0">
                          <a:solidFill>
                            <a:srgbClr val="333333"/>
                          </a:solidFill>
                          <a:effectLst/>
                          <a:latin typeface="Arial" panose="020B0604020202020204" pitchFamily="34" charset="0"/>
                        </a:rPr>
                        <a:t>Less: Discounts &amp; Reserve Chang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2,978,461</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Weighted Pipelin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0" u="none" strike="noStrike" dirty="0">
                          <a:solidFill>
                            <a:srgbClr val="333333"/>
                          </a:solidFill>
                          <a:effectLst/>
                          <a:latin typeface="Arial" panose="020B0604020202020204" pitchFamily="34" charset="0"/>
                        </a:rPr>
                        <a:t>6,675,538</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287715">
                <a:tc>
                  <a:txBody>
                    <a:bodyPr/>
                    <a:lstStyle/>
                    <a:p>
                      <a:pPr algn="l" rtl="0" fontAlgn="t"/>
                      <a:r>
                        <a:rPr lang="en-IN" sz="1000" b="0" i="0" u="none" strike="noStrike" dirty="0">
                          <a:solidFill>
                            <a:srgbClr val="333333"/>
                          </a:solidFill>
                          <a:effectLst/>
                          <a:latin typeface="Arial" panose="020B0604020202020204" pitchFamily="34" charset="0"/>
                        </a:rPr>
                        <a:t>Net Engagement Revenu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r" rtl="0" fontAlgn="t"/>
                      <a:r>
                        <a:rPr lang="en-IN" sz="1000" b="0" i="0" u="none" strike="noStrike" dirty="0">
                          <a:solidFill>
                            <a:srgbClr val="333333"/>
                          </a:solidFill>
                          <a:effectLst/>
                          <a:latin typeface="Arial" panose="020B0604020202020204" pitchFamily="34" charset="0"/>
                        </a:rPr>
                        <a:t>1,099,042</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Wi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0" u="none" strike="noStrike" dirty="0">
                          <a:solidFill>
                            <a:srgbClr val="333333"/>
                          </a:solidFill>
                          <a:effectLst/>
                          <a:latin typeface="Arial" panose="020B0604020202020204" pitchFamily="34" charset="0"/>
                        </a:rPr>
                        <a:t>1,187,499</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287715">
                <a:tc>
                  <a:txBody>
                    <a:bodyPr/>
                    <a:lstStyle/>
                    <a:p>
                      <a:pPr algn="r" rtl="0" fontAlgn="t"/>
                      <a:r>
                        <a:rPr lang="en-IN" sz="1000" b="0" i="1" u="none" strike="noStrike" dirty="0">
                          <a:solidFill>
                            <a:srgbClr val="333333"/>
                          </a:solidFill>
                          <a:effectLst/>
                          <a:latin typeface="Arial" panose="020B0604020202020204" pitchFamily="34" charset="0"/>
                        </a:rPr>
                        <a:t>Client Advance Expen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1" u="none" strike="noStrike" dirty="0">
                          <a:solidFill>
                            <a:srgbClr val="333333"/>
                          </a:solidFill>
                          <a:effectLst/>
                          <a:latin typeface="Arial" panose="020B0604020202020204" pitchFamily="34" charset="0"/>
                        </a:rPr>
                        <a:t>127,545</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Global TER (a + b)</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0" u="none" strike="noStrike" dirty="0">
                          <a:solidFill>
                            <a:srgbClr val="333333"/>
                          </a:solidFill>
                          <a:effectLst/>
                          <a:latin typeface="Arial" panose="020B0604020202020204" pitchFamily="34" charset="0"/>
                        </a:rPr>
                        <a:t>1,401,867</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287715">
                <a:tc>
                  <a:txBody>
                    <a:bodyPr/>
                    <a:lstStyle/>
                    <a:p>
                      <a:pPr algn="r" rtl="0" fontAlgn="t"/>
                      <a:r>
                        <a:rPr lang="pt-BR" sz="1000" b="0" i="1" u="none" strike="noStrike" dirty="0">
                          <a:solidFill>
                            <a:srgbClr val="333333"/>
                          </a:solidFill>
                          <a:effectLst/>
                          <a:latin typeface="Arial" panose="020B0604020202020204" pitchFamily="34" charset="0"/>
                        </a:rPr>
                        <a:t>Financial TER (NER+CAE) (GFIS Onl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r" rtl="0" fontAlgn="t"/>
                      <a:r>
                        <a:rPr lang="en-IN" sz="1000" b="0" i="1" u="none" strike="noStrike" dirty="0">
                          <a:solidFill>
                            <a:srgbClr val="333333"/>
                          </a:solidFill>
                          <a:effectLst/>
                          <a:latin typeface="Arial" panose="020B0604020202020204" pitchFamily="34" charset="0"/>
                        </a:rPr>
                        <a:t>1,226,587</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IN" sz="1000" b="0" i="1" u="none" strike="noStrike" dirty="0">
                          <a:effectLst/>
                          <a:latin typeface="Arial" panose="020B0604020202020204" pitchFamily="34" charset="0"/>
                        </a:rPr>
                        <a:t>HQ (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1" u="none" strike="noStrike" dirty="0">
                          <a:solidFill>
                            <a:srgbClr val="333333"/>
                          </a:solidFill>
                          <a:effectLst/>
                          <a:latin typeface="Arial" panose="020B0604020202020204" pitchFamily="34" charset="0"/>
                        </a:rPr>
                        <a:t>1,270,383</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287715">
                <a:tc>
                  <a:txBody>
                    <a:bodyPr/>
                    <a:lstStyle/>
                    <a:p>
                      <a:pPr algn="l" rtl="0" fontAlgn="t"/>
                      <a:r>
                        <a:rPr lang="en-IN" sz="1000" b="0" i="0" u="none" strike="noStrike">
                          <a:solidFill>
                            <a:srgbClr val="333333"/>
                          </a:solidFill>
                          <a:effectLst/>
                          <a:latin typeface="Arial" panose="020B0604020202020204" pitchFamily="34" charset="0"/>
                        </a:rPr>
                        <a:t>Plus: Net Sold Ti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610,744</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IN" sz="1000" b="0" i="1" u="none" strike="noStrike" dirty="0">
                          <a:effectLst/>
                          <a:latin typeface="Arial" panose="020B0604020202020204" pitchFamily="34" charset="0"/>
                        </a:rPr>
                        <a:t>Inbound (b)</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1" u="none" strike="noStrike" dirty="0">
                          <a:solidFill>
                            <a:srgbClr val="333333"/>
                          </a:solidFill>
                          <a:effectLst/>
                          <a:latin typeface="Arial" panose="020B0604020202020204" pitchFamily="34" charset="0"/>
                        </a:rPr>
                        <a:t>131,483</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287715">
                <a:tc>
                  <a:txBody>
                    <a:bodyPr/>
                    <a:lstStyle/>
                    <a:p>
                      <a:pPr algn="l" rtl="0" fontAlgn="t"/>
                      <a:r>
                        <a:rPr lang="en-IN" sz="1000" b="0" i="0" u="none" strike="noStrike" dirty="0">
                          <a:solidFill>
                            <a:srgbClr val="333333"/>
                          </a:solidFill>
                          <a:effectLst/>
                          <a:latin typeface="Arial" panose="020B0604020202020204" pitchFamily="34" charset="0"/>
                        </a:rPr>
                        <a:t>Less: Net Purchased Ti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615,880</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IN" sz="1000" b="0" i="1" u="none" strike="noStrike" dirty="0">
                          <a:effectLst/>
                          <a:latin typeface="Arial" panose="020B0604020202020204" pitchFamily="34" charset="0"/>
                        </a:rPr>
                        <a:t>Outbound (c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1" u="none" strike="noStrike" dirty="0">
                          <a:solidFill>
                            <a:srgbClr val="333333"/>
                          </a:solidFill>
                          <a:effectLst/>
                          <a:latin typeface="Arial" panose="020B0604020202020204" pitchFamily="34" charset="0"/>
                        </a:rPr>
                        <a:t>193,364</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287715">
                <a:tc>
                  <a:txBody>
                    <a:bodyPr/>
                    <a:lstStyle/>
                    <a:p>
                      <a:pPr algn="l" rtl="0" fontAlgn="t"/>
                      <a:r>
                        <a:rPr lang="en-IN" sz="1000" b="0" i="0" u="none" strike="noStrike" dirty="0">
                          <a:solidFill>
                            <a:srgbClr val="333333"/>
                          </a:solidFill>
                          <a:effectLst/>
                          <a:latin typeface="Arial" panose="020B0604020202020204" pitchFamily="34" charset="0"/>
                        </a:rPr>
                        <a:t>Total Net Revenu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1,150,692</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pt-BR" sz="1000" b="0" i="1" u="none" strike="noStrike" dirty="0">
                          <a:effectLst/>
                          <a:latin typeface="Arial" panose="020B0604020202020204" pitchFamily="34" charset="0"/>
                        </a:rPr>
                        <a:t>Local TER (a + b - c) w/o IFB</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1" u="none" strike="noStrike" dirty="0">
                          <a:solidFill>
                            <a:srgbClr val="333333"/>
                          </a:solidFill>
                          <a:effectLst/>
                          <a:latin typeface="Arial" panose="020B0604020202020204" pitchFamily="34" charset="0"/>
                        </a:rPr>
                        <a:t>1,208,502</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287715">
                <a:tc>
                  <a:txBody>
                    <a:bodyPr/>
                    <a:lstStyle/>
                    <a:p>
                      <a:pPr algn="l" rtl="0" fontAlgn="t"/>
                      <a:r>
                        <a:rPr lang="en-IN" sz="1000" b="0" i="0" u="none" strike="noStrike" dirty="0">
                          <a:solidFill>
                            <a:srgbClr val="333333"/>
                          </a:solidFill>
                          <a:effectLst/>
                          <a:latin typeface="Arial" panose="020B0604020202020204" pitchFamily="34" charset="0"/>
                        </a:rPr>
                        <a:t>Less: Total Direct Expens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587,903</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1" u="none" strike="noStrike" dirty="0">
                          <a:effectLst/>
                          <a:latin typeface="Arial" panose="020B0604020202020204" pitchFamily="34" charset="0"/>
                        </a:rPr>
                        <a:t>Local TER (a + b - c) with IFB</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r" rtl="0" fontAlgn="t"/>
                      <a:r>
                        <a:rPr lang="en-IN" sz="1000" b="0" i="1" u="none" strike="noStrike" dirty="0">
                          <a:solidFill>
                            <a:srgbClr val="333333"/>
                          </a:solidFill>
                          <a:effectLst/>
                          <a:latin typeface="Arial" panose="020B0604020202020204" pitchFamily="34" charset="0"/>
                        </a:rPr>
                        <a:t>1,276,949</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extLst>
                  <a:ext uri="{0D108BD9-81ED-4DB2-BD59-A6C34878D82A}">
                    <a16:rowId xmlns:a16="http://schemas.microsoft.com/office/drawing/2014/main" val="10010"/>
                  </a:ext>
                </a:extLst>
              </a:tr>
              <a:tr h="287715">
                <a:tc>
                  <a:txBody>
                    <a:bodyPr/>
                    <a:lstStyle/>
                    <a:p>
                      <a:pPr algn="l" rtl="0" fontAlgn="t"/>
                      <a:r>
                        <a:rPr lang="en-IN" sz="1000" b="0" i="0" u="none" strike="noStrike" dirty="0">
                          <a:solidFill>
                            <a:srgbClr val="333333"/>
                          </a:solidFill>
                          <a:effectLst/>
                          <a:latin typeface="Arial" panose="020B0604020202020204" pitchFamily="34" charset="0"/>
                        </a:rPr>
                        <a:t>Gross Margi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r" rtl="0" fontAlgn="t"/>
                      <a:r>
                        <a:rPr lang="en-IN" sz="1000" b="0" i="0" u="none" strike="noStrike" dirty="0">
                          <a:solidFill>
                            <a:srgbClr val="333333"/>
                          </a:solidFill>
                          <a:effectLst/>
                          <a:latin typeface="Arial" panose="020B0604020202020204" pitchFamily="34" charset="0"/>
                        </a:rPr>
                        <a:t>181,667</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Global N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r" rtl="0" fontAlgn="t"/>
                      <a:r>
                        <a:rPr lang="en-IN" sz="1000" b="0" i="0" u="none" strike="noStrike" dirty="0">
                          <a:solidFill>
                            <a:srgbClr val="333333"/>
                          </a:solidFill>
                          <a:effectLst/>
                          <a:latin typeface="Arial" panose="020B0604020202020204" pitchFamily="34" charset="0"/>
                        </a:rPr>
                        <a:t>1,337,198</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extLst>
                  <a:ext uri="{0D108BD9-81ED-4DB2-BD59-A6C34878D82A}">
                    <a16:rowId xmlns:a16="http://schemas.microsoft.com/office/drawing/2014/main" val="10011"/>
                  </a:ext>
                </a:extLst>
              </a:tr>
              <a:tr h="287715">
                <a:tc>
                  <a:txBody>
                    <a:bodyPr/>
                    <a:lstStyle/>
                    <a:p>
                      <a:pPr algn="l" rtl="0" fontAlgn="t"/>
                      <a:r>
                        <a:rPr lang="en-IN" sz="1000" b="0" i="0" u="none" strike="noStrike" dirty="0">
                          <a:solidFill>
                            <a:srgbClr val="333333"/>
                          </a:solidFill>
                          <a:effectLst/>
                          <a:latin typeface="Arial" panose="020B0604020202020204" pitchFamily="34" charset="0"/>
                        </a:rPr>
                        <a:t>Less: Total Indirect Expen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a:solidFill>
                            <a:srgbClr val="333333"/>
                          </a:solidFill>
                          <a:effectLst/>
                          <a:latin typeface="Arial" panose="020B0604020202020204" pitchFamily="34" charset="0"/>
                        </a:rPr>
                        <a:t>379,705</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Less: Direct Co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0" u="none" strike="noStrike" dirty="0">
                          <a:solidFill>
                            <a:srgbClr val="333333"/>
                          </a:solidFill>
                          <a:effectLst/>
                          <a:latin typeface="Arial" panose="020B0604020202020204" pitchFamily="34" charset="0"/>
                        </a:rPr>
                        <a:t>711,396</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2"/>
                  </a:ext>
                </a:extLst>
              </a:tr>
              <a:tr h="287715">
                <a:tc>
                  <a:txBody>
                    <a:bodyPr/>
                    <a:lstStyle/>
                    <a:p>
                      <a:pPr algn="l" rtl="0" fontAlgn="t"/>
                      <a:r>
                        <a:rPr lang="en-IN" sz="1000" b="0" i="0" u="none" strike="noStrike" dirty="0">
                          <a:solidFill>
                            <a:srgbClr val="333333"/>
                          </a:solidFill>
                          <a:effectLst/>
                          <a:latin typeface="Arial" panose="020B0604020202020204" pitchFamily="34" charset="0"/>
                        </a:rPr>
                        <a:t> Total Inco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183,084</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Global Account Margin (pre NBD In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tc>
                  <a:txBody>
                    <a:bodyPr/>
                    <a:lstStyle/>
                    <a:p>
                      <a:pPr algn="r" rtl="0" fontAlgn="t"/>
                      <a:r>
                        <a:rPr lang="en-IN" sz="1000" b="0" i="0" u="none" strike="noStrike" dirty="0">
                          <a:solidFill>
                            <a:srgbClr val="333333"/>
                          </a:solidFill>
                          <a:effectLst/>
                          <a:latin typeface="Arial" panose="020B0604020202020204" pitchFamily="34" charset="0"/>
                        </a:rPr>
                        <a:t>625,803</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600"/>
                    </a:solidFill>
                  </a:tcPr>
                </a:tc>
                <a:extLst>
                  <a:ext uri="{0D108BD9-81ED-4DB2-BD59-A6C34878D82A}">
                    <a16:rowId xmlns:a16="http://schemas.microsoft.com/office/drawing/2014/main" val="10013"/>
                  </a:ext>
                </a:extLst>
              </a:tr>
              <a:tr h="287715">
                <a:tc>
                  <a:txBody>
                    <a:bodyPr/>
                    <a:lstStyle/>
                    <a:p>
                      <a:pPr algn="l" rtl="0" fontAlgn="t"/>
                      <a:r>
                        <a:rPr lang="en-IN" sz="1000" b="0" i="0" u="none" strike="noStrike">
                          <a:solidFill>
                            <a:srgbClr val="333333"/>
                          </a:solidFill>
                          <a:effectLst/>
                          <a:latin typeface="Arial" panose="020B0604020202020204" pitchFamily="34" charset="0"/>
                        </a:rPr>
                        <a:t>Less: Other Charg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1,532</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r>
                        <a:rPr lang="en-IN" sz="1000" b="0" i="0" u="none" strike="noStrike" dirty="0">
                          <a:effectLst/>
                          <a:latin typeface="Arial" panose="020B0604020202020204" pitchFamily="34" charset="0"/>
                        </a:rPr>
                        <a:t>Less: NBD Invest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r" rtl="0" fontAlgn="t"/>
                      <a:r>
                        <a:rPr lang="en-IN" sz="1000" b="0" i="0" u="none" strike="noStrike" dirty="0">
                          <a:solidFill>
                            <a:srgbClr val="333333"/>
                          </a:solidFill>
                          <a:effectLst/>
                          <a:latin typeface="Arial" panose="020B0604020202020204" pitchFamily="34" charset="0"/>
                        </a:rPr>
                        <a:t>161,911</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4"/>
                  </a:ext>
                </a:extLst>
              </a:tr>
              <a:tr h="287715">
                <a:tc>
                  <a:txBody>
                    <a:bodyPr/>
                    <a:lstStyle/>
                    <a:p>
                      <a:pPr algn="l" rtl="0" fontAlgn="t"/>
                      <a:r>
                        <a:rPr lang="en-IN" sz="1000" b="0" i="0" u="none" strike="noStrike">
                          <a:solidFill>
                            <a:srgbClr val="333333"/>
                          </a:solidFill>
                          <a:effectLst/>
                          <a:latin typeface="Arial" panose="020B0604020202020204" pitchFamily="34" charset="0"/>
                        </a:rPr>
                        <a:t>  Distributable Inco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t"/>
                      <a:r>
                        <a:rPr lang="en-IN" sz="1000" b="0" i="0" u="none" strike="noStrike" dirty="0">
                          <a:solidFill>
                            <a:srgbClr val="333333"/>
                          </a:solidFill>
                          <a:effectLst/>
                          <a:latin typeface="Arial" panose="020B0604020202020204" pitchFamily="34" charset="0"/>
                        </a:rPr>
                        <a:t>181,551</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IN" sz="1000" b="0" i="0" u="none" strike="noStrike">
                        <a:effectLst/>
                        <a:latin typeface="Arial" panose="020B0604020202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b"/>
                      <a:r>
                        <a:rPr lang="en-IN" sz="1000" b="0" i="0" u="none" strike="noStrike" dirty="0">
                          <a:effectLst/>
                          <a:latin typeface="Arial" panose="020B0604020202020204" pitchFamily="34" charset="0"/>
                        </a:rPr>
                        <a:t>Global Account Margin (post NBD In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r" rtl="0" fontAlgn="t"/>
                      <a:r>
                        <a:rPr lang="en-IN" sz="1000" b="0" i="0" u="none" strike="noStrike" dirty="0">
                          <a:solidFill>
                            <a:srgbClr val="333333"/>
                          </a:solidFill>
                          <a:effectLst/>
                          <a:latin typeface="Arial" panose="020B0604020202020204" pitchFamily="34" charset="0"/>
                        </a:rPr>
                        <a:t>463,892</a:t>
                      </a:r>
                    </a:p>
                  </a:txBody>
                  <a:tcPr marL="9525" marR="36576"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sp>
        <p:nvSpPr>
          <p:cNvPr id="4" name="Rectangular Callout 3"/>
          <p:cNvSpPr/>
          <p:nvPr/>
        </p:nvSpPr>
        <p:spPr>
          <a:xfrm>
            <a:off x="636270" y="4106179"/>
            <a:ext cx="1088571" cy="848018"/>
          </a:xfrm>
          <a:prstGeom prst="wedgeRectCallout">
            <a:avLst>
              <a:gd name="adj1" fmla="val 65967"/>
              <a:gd name="adj2" fmla="val -134418"/>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Local with IFB </a:t>
            </a:r>
          </a:p>
          <a:p>
            <a:pPr algn="ctr"/>
            <a:r>
              <a:rPr lang="en-US" sz="1100" i="1" dirty="0">
                <a:solidFill>
                  <a:schemeClr val="tx2"/>
                </a:solidFill>
              </a:rPr>
              <a:t>(Inter-Firm Billing)</a:t>
            </a:r>
            <a:endParaRPr lang="en-IN" sz="1100" i="1" dirty="0">
              <a:solidFill>
                <a:schemeClr val="tx2"/>
              </a:solidFill>
            </a:endParaRPr>
          </a:p>
        </p:txBody>
      </p:sp>
      <p:sp>
        <p:nvSpPr>
          <p:cNvPr id="5" name="Rectangular Callout 4"/>
          <p:cNvSpPr/>
          <p:nvPr/>
        </p:nvSpPr>
        <p:spPr>
          <a:xfrm>
            <a:off x="10481029" y="3753158"/>
            <a:ext cx="1088571" cy="451363"/>
          </a:xfrm>
          <a:prstGeom prst="wedgeRectCallout">
            <a:avLst>
              <a:gd name="adj1" fmla="val -65283"/>
              <a:gd name="adj2" fmla="val -20532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Global</a:t>
            </a:r>
            <a:endParaRPr lang="en-IN" sz="1200" dirty="0">
              <a:solidFill>
                <a:schemeClr val="tx2"/>
              </a:solidFill>
            </a:endParaRPr>
          </a:p>
        </p:txBody>
      </p:sp>
      <p:sp>
        <p:nvSpPr>
          <p:cNvPr id="6" name="Rectangular Callout 5"/>
          <p:cNvSpPr/>
          <p:nvPr/>
        </p:nvSpPr>
        <p:spPr>
          <a:xfrm>
            <a:off x="10498784" y="1843949"/>
            <a:ext cx="1088571" cy="710277"/>
          </a:xfrm>
          <a:prstGeom prst="wedgeRectCallout">
            <a:avLst>
              <a:gd name="adj1" fmla="val -67383"/>
              <a:gd name="adj2" fmla="val 39850"/>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With average probability of  Win at 21.5%</a:t>
            </a:r>
            <a:endParaRPr lang="en-IN" sz="1200" dirty="0">
              <a:solidFill>
                <a:schemeClr val="tx2"/>
              </a:solidFill>
            </a:endParaRPr>
          </a:p>
        </p:txBody>
      </p:sp>
      <p:sp>
        <p:nvSpPr>
          <p:cNvPr id="8" name="Rectangular Callout 7"/>
          <p:cNvSpPr/>
          <p:nvPr/>
        </p:nvSpPr>
        <p:spPr>
          <a:xfrm>
            <a:off x="10458169" y="4728517"/>
            <a:ext cx="1088571" cy="451363"/>
          </a:xfrm>
          <a:prstGeom prst="wedgeRectCallout">
            <a:avLst>
              <a:gd name="adj1" fmla="val -468340"/>
              <a:gd name="adj2" fmla="val -340963"/>
            </a:avLst>
          </a:prstGeom>
          <a:solidFill>
            <a:schemeClr val="bg1">
              <a:alpha val="29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x</a:t>
            </a:r>
            <a:endParaRPr lang="en-IN" sz="1200" dirty="0">
              <a:solidFill>
                <a:schemeClr val="tx2"/>
              </a:solidFill>
            </a:endParaRPr>
          </a:p>
        </p:txBody>
      </p:sp>
      <p:sp>
        <p:nvSpPr>
          <p:cNvPr id="7" name="Rectangular Callout 6"/>
          <p:cNvSpPr/>
          <p:nvPr/>
        </p:nvSpPr>
        <p:spPr>
          <a:xfrm>
            <a:off x="10458169" y="4728518"/>
            <a:ext cx="1088571" cy="792173"/>
          </a:xfrm>
          <a:prstGeom prst="wedgeRectCallout">
            <a:avLst>
              <a:gd name="adj1" fmla="val -64233"/>
              <a:gd name="adj2" fmla="val -75144"/>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Gap between both TERs due to adjustments</a:t>
            </a:r>
            <a:endParaRPr lang="en-IN" sz="1200" dirty="0">
              <a:solidFill>
                <a:schemeClr val="tx2"/>
              </a:solidFill>
            </a:endParaRPr>
          </a:p>
        </p:txBody>
      </p:sp>
    </p:spTree>
    <p:extLst>
      <p:ext uri="{BB962C8B-B14F-4D97-AF65-F5344CB8AC3E}">
        <p14:creationId xmlns:p14="http://schemas.microsoft.com/office/powerpoint/2010/main" val="2112920736"/>
      </p:ext>
    </p:extLst>
  </p:cSld>
  <p:clrMapOvr>
    <a:masterClrMapping/>
  </p:clrMapOvr>
  <mc:AlternateContent xmlns:mc="http://schemas.openxmlformats.org/markup-compatibility/2006" xmlns:p14="http://schemas.microsoft.com/office/powerpoint/2010/main">
    <mc:Choice Requires="p14">
      <p:transition spd="slow" p14:dur="1500" advTm="26155">
        <p:split orient="vert"/>
      </p:transition>
    </mc:Choice>
    <mc:Fallback xmlns="">
      <p:transition spd="slow" advTm="26155">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98" name="Title 1"/>
          <p:cNvSpPr>
            <a:spLocks noGrp="1"/>
          </p:cNvSpPr>
          <p:nvPr>
            <p:ph type="title"/>
          </p:nvPr>
        </p:nvSpPr>
        <p:spPr>
          <a:xfrm>
            <a:off x="715388" y="493396"/>
            <a:ext cx="9711313" cy="638175"/>
          </a:xfrm>
        </p:spPr>
        <p:txBody>
          <a:bodyPr/>
          <a:lstStyle/>
          <a:p>
            <a:r>
              <a:rPr lang="en-US" sz="2400" dirty="0">
                <a:solidFill>
                  <a:schemeClr val="bg1">
                    <a:lumMod val="75000"/>
                  </a:schemeClr>
                </a:solidFill>
                <a:latin typeface="EYInterstate" panose="02000503020000020004" pitchFamily="2" charset="0"/>
              </a:rPr>
              <a:t>Mercury OneGate</a:t>
            </a:r>
          </a:p>
        </p:txBody>
      </p:sp>
      <p:pic>
        <p:nvPicPr>
          <p:cNvPr id="5" name="Picture 4850">
            <a:extLst>
              <a:ext uri="{FF2B5EF4-FFF2-40B4-BE49-F238E27FC236}">
                <a16:creationId xmlns:a16="http://schemas.microsoft.com/office/drawing/2014/main" id="{127EEE5E-D917-41CD-ACAF-C4D380CA6EB0}"/>
              </a:ext>
            </a:extLst>
          </p:cNvPr>
          <p:cNvPicPr>
            <a:picLocks noChangeArrowheads="1"/>
          </p:cNvPicPr>
          <p:nvPr/>
        </p:nvPicPr>
        <p:blipFill rotWithShape="1">
          <a:blip r:embed="rId3">
            <a:extLst>
              <a:ext uri="{28A0092B-C50C-407E-A947-70E740481C1C}">
                <a14:useLocalDpi xmlns:a14="http://schemas.microsoft.com/office/drawing/2010/main" val="0"/>
              </a:ext>
            </a:extLst>
          </a:blip>
          <a:srcRect t="4882" b="6194"/>
          <a:stretch/>
        </p:blipFill>
        <p:spPr>
          <a:xfrm>
            <a:off x="203226" y="1131571"/>
            <a:ext cx="11501580" cy="5086351"/>
          </a:xfrm>
          <a:prstGeom prst="rect">
            <a:avLst/>
          </a:prstGeom>
          <a:noFill/>
        </p:spPr>
      </p:pic>
    </p:spTree>
    <p:extLst>
      <p:ext uri="{BB962C8B-B14F-4D97-AF65-F5344CB8AC3E}">
        <p14:creationId xmlns:p14="http://schemas.microsoft.com/office/powerpoint/2010/main" val="2563187951"/>
      </p:ext>
    </p:extLst>
  </p:cSld>
  <p:clrMapOvr>
    <a:masterClrMapping/>
  </p:clrMapOvr>
  <mc:AlternateContent xmlns:mc="http://schemas.openxmlformats.org/markup-compatibility/2006" xmlns:p14="http://schemas.microsoft.com/office/powerpoint/2010/main">
    <mc:Choice Requires="p14">
      <p:transition spd="slow" p14:dur="1500" advTm="10458">
        <p:split orient="vert"/>
      </p:transition>
    </mc:Choice>
    <mc:Fallback xmlns="">
      <p:transition spd="slow" advTm="10458">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5C4F9C-3D93-41D0-96DD-17949E98C9C0}"/>
              </a:ext>
            </a:extLst>
          </p:cNvPr>
          <p:cNvSpPr>
            <a:spLocks noGrp="1"/>
          </p:cNvSpPr>
          <p:nvPr>
            <p:ph type="title"/>
          </p:nvPr>
        </p:nvSpPr>
        <p:spPr>
          <a:xfrm>
            <a:off x="609918" y="477825"/>
            <a:ext cx="10978515" cy="860400"/>
          </a:xfrm>
        </p:spPr>
        <p:txBody>
          <a:bodyPr/>
          <a:lstStyle/>
          <a:p>
            <a:r>
              <a:rPr lang="en-IN" sz="2400" dirty="0">
                <a:solidFill>
                  <a:schemeClr val="bg1">
                    <a:lumMod val="75000"/>
                  </a:schemeClr>
                </a:solidFill>
                <a:latin typeface="EYInterstate" panose="02000503020000020004" pitchFamily="2" charset="0"/>
              </a:rPr>
              <a:t>Fiscal Calendar and concept of dates</a:t>
            </a:r>
          </a:p>
        </p:txBody>
      </p:sp>
      <p:pic>
        <p:nvPicPr>
          <p:cNvPr id="4" name="Picture 3">
            <a:extLst>
              <a:ext uri="{FF2B5EF4-FFF2-40B4-BE49-F238E27FC236}">
                <a16:creationId xmlns:a16="http://schemas.microsoft.com/office/drawing/2014/main" id="{70197FDF-3910-457D-9136-C13C42083C36}"/>
              </a:ext>
            </a:extLst>
          </p:cNvPr>
          <p:cNvPicPr>
            <a:picLocks noChangeAspect="1"/>
          </p:cNvPicPr>
          <p:nvPr/>
        </p:nvPicPr>
        <p:blipFill>
          <a:blip r:embed="rId3"/>
          <a:stretch>
            <a:fillRect/>
          </a:stretch>
        </p:blipFill>
        <p:spPr>
          <a:xfrm>
            <a:off x="609918" y="1062000"/>
            <a:ext cx="6569094" cy="5153974"/>
          </a:xfrm>
          <a:prstGeom prst="rect">
            <a:avLst/>
          </a:prstGeom>
        </p:spPr>
      </p:pic>
      <p:sp>
        <p:nvSpPr>
          <p:cNvPr id="3" name="TextBox 2"/>
          <p:cNvSpPr txBox="1"/>
          <p:nvPr/>
        </p:nvSpPr>
        <p:spPr>
          <a:xfrm>
            <a:off x="7105823" y="1059798"/>
            <a:ext cx="4555799" cy="5124480"/>
          </a:xfrm>
          <a:prstGeom prst="rect">
            <a:avLst/>
          </a:prstGeom>
          <a:noFill/>
        </p:spPr>
        <p:txBody>
          <a:bodyPr wrap="square" lIns="0" tIns="36576" rIns="0" bIns="0" rtlCol="0">
            <a:spAutoFit/>
          </a:bodyPr>
          <a:lstStyle/>
          <a:p>
            <a:pPr marL="356616" indent="-356616">
              <a:lnSpc>
                <a:spcPct val="85000"/>
              </a:lnSpc>
              <a:spcAft>
                <a:spcPts val="600"/>
              </a:spcAft>
              <a:buClr>
                <a:schemeClr val="accent2"/>
              </a:buClr>
              <a:buSzPct val="70000"/>
              <a:buFont typeface="Arial" pitchFamily="34" charset="0"/>
              <a:buChar char="►"/>
            </a:pPr>
            <a:r>
              <a:rPr lang="en-US" sz="1600" dirty="0">
                <a:solidFill>
                  <a:schemeClr val="bg1"/>
                </a:solidFill>
                <a:latin typeface="EYInterstate" panose="02000503020000020004" pitchFamily="2" charset="0"/>
              </a:rPr>
              <a:t>Transaction Date – Date on which transaction occurred</a:t>
            </a:r>
          </a:p>
          <a:p>
            <a:pPr marL="356616" indent="-356616">
              <a:lnSpc>
                <a:spcPct val="85000"/>
              </a:lnSpc>
              <a:spcAft>
                <a:spcPts val="600"/>
              </a:spcAft>
              <a:buClr>
                <a:schemeClr val="accent2"/>
              </a:buClr>
              <a:buSzPct val="70000"/>
              <a:buFont typeface="Arial" pitchFamily="34" charset="0"/>
              <a:buChar char="►"/>
            </a:pPr>
            <a:endParaRPr lang="en-US" sz="1600" dirty="0">
              <a:solidFill>
                <a:schemeClr val="bg1"/>
              </a:solidFill>
              <a:latin typeface="EYInterstate" panose="02000503020000020004" pitchFamily="2" charset="0"/>
            </a:endParaRPr>
          </a:p>
          <a:p>
            <a:pPr marL="356616" indent="-356616">
              <a:lnSpc>
                <a:spcPct val="85000"/>
              </a:lnSpc>
              <a:spcAft>
                <a:spcPts val="600"/>
              </a:spcAft>
              <a:buClr>
                <a:schemeClr val="accent2"/>
              </a:buClr>
              <a:buSzPct val="70000"/>
              <a:buFont typeface="Arial" pitchFamily="34" charset="0"/>
              <a:buChar char="►"/>
            </a:pPr>
            <a:r>
              <a:rPr lang="en-US" sz="1600" dirty="0">
                <a:solidFill>
                  <a:schemeClr val="bg1"/>
                </a:solidFill>
                <a:latin typeface="EYInterstate" panose="02000503020000020004" pitchFamily="2" charset="0"/>
              </a:rPr>
              <a:t>Transaction Cycle Date – Week ending (Friday) date of the week in which transaction occurred</a:t>
            </a:r>
          </a:p>
          <a:p>
            <a:pPr marL="356616" indent="-356616">
              <a:lnSpc>
                <a:spcPct val="85000"/>
              </a:lnSpc>
              <a:spcAft>
                <a:spcPts val="600"/>
              </a:spcAft>
              <a:buClr>
                <a:schemeClr val="accent2"/>
              </a:buClr>
              <a:buSzPct val="70000"/>
              <a:buFont typeface="Arial" pitchFamily="34" charset="0"/>
              <a:buChar char="►"/>
            </a:pPr>
            <a:endParaRPr lang="en-US" sz="1600" dirty="0">
              <a:solidFill>
                <a:schemeClr val="bg1"/>
              </a:solidFill>
              <a:latin typeface="EYInterstate" panose="02000503020000020004" pitchFamily="2" charset="0"/>
            </a:endParaRPr>
          </a:p>
          <a:p>
            <a:pPr marL="356616" indent="-356616">
              <a:lnSpc>
                <a:spcPct val="85000"/>
              </a:lnSpc>
              <a:spcAft>
                <a:spcPts val="600"/>
              </a:spcAft>
              <a:buClr>
                <a:schemeClr val="accent2"/>
              </a:buClr>
              <a:buSzPct val="70000"/>
              <a:buFont typeface="Arial" pitchFamily="34" charset="0"/>
              <a:buChar char="►"/>
            </a:pPr>
            <a:r>
              <a:rPr lang="en-US" sz="1600" dirty="0">
                <a:solidFill>
                  <a:schemeClr val="bg1"/>
                </a:solidFill>
                <a:latin typeface="EYInterstate" panose="02000503020000020004" pitchFamily="2" charset="0"/>
              </a:rPr>
              <a:t>Period Ending Date – Week ending (Friday) date of the week in which the expense or time was submitted and processed in the system</a:t>
            </a:r>
          </a:p>
          <a:p>
            <a:pPr marL="356616" indent="-356616">
              <a:lnSpc>
                <a:spcPct val="85000"/>
              </a:lnSpc>
              <a:spcAft>
                <a:spcPts val="600"/>
              </a:spcAft>
              <a:buClr>
                <a:schemeClr val="accent2"/>
              </a:buClr>
              <a:buSzPct val="70000"/>
              <a:buFont typeface="Arial" pitchFamily="34" charset="0"/>
              <a:buChar char="►"/>
            </a:pPr>
            <a:endParaRPr lang="en-US" sz="1600" dirty="0">
              <a:solidFill>
                <a:schemeClr val="bg1"/>
              </a:solidFill>
              <a:latin typeface="EYInterstate" panose="02000503020000020004" pitchFamily="2" charset="0"/>
            </a:endParaRPr>
          </a:p>
          <a:p>
            <a:pPr marL="356616" indent="-356616">
              <a:lnSpc>
                <a:spcPct val="85000"/>
              </a:lnSpc>
              <a:spcAft>
                <a:spcPts val="600"/>
              </a:spcAft>
              <a:buClr>
                <a:schemeClr val="accent2"/>
              </a:buClr>
              <a:buSzPct val="70000"/>
              <a:buFont typeface="Arial" pitchFamily="34" charset="0"/>
              <a:buChar char="►"/>
            </a:pPr>
            <a:r>
              <a:rPr lang="en-US" sz="1600" dirty="0">
                <a:solidFill>
                  <a:schemeClr val="bg1"/>
                </a:solidFill>
                <a:latin typeface="EYInterstate" panose="02000503020000020004" pitchFamily="2" charset="0"/>
              </a:rPr>
              <a:t>Accounting Month Number – Number assigned to each month starting July (as 1) and so on</a:t>
            </a:r>
          </a:p>
          <a:p>
            <a:pPr marL="356616" indent="-356616">
              <a:lnSpc>
                <a:spcPct val="85000"/>
              </a:lnSpc>
              <a:spcAft>
                <a:spcPts val="600"/>
              </a:spcAft>
              <a:buClr>
                <a:schemeClr val="accent2"/>
              </a:buClr>
              <a:buSzPct val="70000"/>
              <a:buFont typeface="Arial" pitchFamily="34" charset="0"/>
              <a:buChar char="►"/>
            </a:pPr>
            <a:endParaRPr lang="en-US" sz="1600" dirty="0">
              <a:solidFill>
                <a:schemeClr val="bg1"/>
              </a:solidFill>
              <a:latin typeface="EYInterstate" panose="02000503020000020004" pitchFamily="2" charset="0"/>
            </a:endParaRPr>
          </a:p>
          <a:p>
            <a:pPr marL="356616" indent="-356616">
              <a:lnSpc>
                <a:spcPct val="85000"/>
              </a:lnSpc>
              <a:spcAft>
                <a:spcPts val="600"/>
              </a:spcAft>
              <a:buClr>
                <a:schemeClr val="accent2"/>
              </a:buClr>
              <a:buSzPct val="70000"/>
              <a:buFont typeface="Arial" pitchFamily="34" charset="0"/>
              <a:buChar char="►"/>
            </a:pPr>
            <a:r>
              <a:rPr lang="en-US" sz="1600" dirty="0">
                <a:solidFill>
                  <a:schemeClr val="bg1"/>
                </a:solidFill>
                <a:latin typeface="EYInterstate" panose="02000503020000020004" pitchFamily="2" charset="0"/>
              </a:rPr>
              <a:t>Accounting Period – Could be week number starting July first week assigned as 1 and so on or could be month starting July assigned as 1. Assume per context. </a:t>
            </a:r>
          </a:p>
          <a:p>
            <a:pPr marL="356616" indent="-356616">
              <a:lnSpc>
                <a:spcPct val="85000"/>
              </a:lnSpc>
              <a:spcAft>
                <a:spcPts val="600"/>
              </a:spcAft>
              <a:buClr>
                <a:schemeClr val="accent2"/>
              </a:buClr>
              <a:buSzPct val="70000"/>
              <a:buFont typeface="Arial" pitchFamily="34" charset="0"/>
              <a:buChar char="►"/>
            </a:pPr>
            <a:r>
              <a:rPr lang="en-US" sz="1600" dirty="0">
                <a:solidFill>
                  <a:schemeClr val="bg1"/>
                </a:solidFill>
                <a:latin typeface="EYInterstate" panose="02000503020000020004" pitchFamily="2" charset="0"/>
              </a:rPr>
              <a:t>Reporting: MTD, YTD, QTD, Full Year, PY</a:t>
            </a:r>
          </a:p>
        </p:txBody>
      </p:sp>
      <p:sp>
        <p:nvSpPr>
          <p:cNvPr id="2" name="Rectangle: Rounded Corners 1">
            <a:extLst>
              <a:ext uri="{FF2B5EF4-FFF2-40B4-BE49-F238E27FC236}">
                <a16:creationId xmlns:a16="http://schemas.microsoft.com/office/drawing/2014/main" id="{F81D15B5-7BC2-4231-9411-4C85D4BB85D6}"/>
              </a:ext>
            </a:extLst>
          </p:cNvPr>
          <p:cNvSpPr/>
          <p:nvPr/>
        </p:nvSpPr>
        <p:spPr>
          <a:xfrm>
            <a:off x="6243125" y="3867801"/>
            <a:ext cx="252249" cy="798787"/>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ln>
                <a:solidFill>
                  <a:schemeClr val="tx1"/>
                </a:solidFill>
              </a:ln>
              <a:solidFill>
                <a:schemeClr val="tx1"/>
              </a:solidFill>
            </a:endParaRPr>
          </a:p>
        </p:txBody>
      </p:sp>
      <p:sp>
        <p:nvSpPr>
          <p:cNvPr id="6" name="Rectangle 5">
            <a:extLst>
              <a:ext uri="{FF2B5EF4-FFF2-40B4-BE49-F238E27FC236}">
                <a16:creationId xmlns:a16="http://schemas.microsoft.com/office/drawing/2014/main" id="{312BA335-8962-46AE-9F0A-6DD7C127F93E}"/>
              </a:ext>
            </a:extLst>
          </p:cNvPr>
          <p:cNvSpPr/>
          <p:nvPr/>
        </p:nvSpPr>
        <p:spPr>
          <a:xfrm>
            <a:off x="6716110" y="3520967"/>
            <a:ext cx="714704" cy="262758"/>
          </a:xfrm>
          <a:prstGeom prst="rect">
            <a:avLst/>
          </a:prstGeom>
          <a:solidFill>
            <a:schemeClr val="accent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200" b="1" dirty="0">
                <a:solidFill>
                  <a:schemeClr val="tx2"/>
                </a:solidFill>
              </a:rPr>
              <a:t>WTD</a:t>
            </a:r>
          </a:p>
        </p:txBody>
      </p:sp>
      <p:cxnSp>
        <p:nvCxnSpPr>
          <p:cNvPr id="12" name="Straight Arrow Connector 11">
            <a:extLst>
              <a:ext uri="{FF2B5EF4-FFF2-40B4-BE49-F238E27FC236}">
                <a16:creationId xmlns:a16="http://schemas.microsoft.com/office/drawing/2014/main" id="{6B9DCDF3-B14C-4398-BBEC-DE2FEEC7C07C}"/>
              </a:ext>
            </a:extLst>
          </p:cNvPr>
          <p:cNvCxnSpPr>
            <a:cxnSpLocks/>
            <a:endCxn id="6" idx="1"/>
          </p:cNvCxnSpPr>
          <p:nvPr/>
        </p:nvCxnSpPr>
        <p:spPr>
          <a:xfrm flipV="1">
            <a:off x="6505865" y="3652346"/>
            <a:ext cx="210245" cy="383626"/>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3EEB4B23-35B1-44B4-8C79-7ED1DAD829DD}"/>
              </a:ext>
            </a:extLst>
          </p:cNvPr>
          <p:cNvSpPr/>
          <p:nvPr/>
        </p:nvSpPr>
        <p:spPr>
          <a:xfrm>
            <a:off x="5076497" y="3652346"/>
            <a:ext cx="1545020" cy="1014242"/>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5" name="Rectangle 14">
            <a:extLst>
              <a:ext uri="{FF2B5EF4-FFF2-40B4-BE49-F238E27FC236}">
                <a16:creationId xmlns:a16="http://schemas.microsoft.com/office/drawing/2014/main" id="{76E498E6-4E43-4937-8491-DE2BE52166B8}"/>
              </a:ext>
            </a:extLst>
          </p:cNvPr>
          <p:cNvSpPr/>
          <p:nvPr/>
        </p:nvSpPr>
        <p:spPr>
          <a:xfrm>
            <a:off x="6716110" y="4035972"/>
            <a:ext cx="714704" cy="262758"/>
          </a:xfrm>
          <a:prstGeom prst="rect">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200" b="1" dirty="0">
                <a:solidFill>
                  <a:schemeClr val="tx2"/>
                </a:solidFill>
              </a:rPr>
              <a:t>MTD</a:t>
            </a:r>
          </a:p>
        </p:txBody>
      </p:sp>
      <p:cxnSp>
        <p:nvCxnSpPr>
          <p:cNvPr id="17" name="Straight Arrow Connector 16">
            <a:extLst>
              <a:ext uri="{FF2B5EF4-FFF2-40B4-BE49-F238E27FC236}">
                <a16:creationId xmlns:a16="http://schemas.microsoft.com/office/drawing/2014/main" id="{3EE5A5A7-388F-4BB5-B660-7812B64F0F85}"/>
              </a:ext>
            </a:extLst>
          </p:cNvPr>
          <p:cNvCxnSpPr/>
          <p:nvPr/>
        </p:nvCxnSpPr>
        <p:spPr>
          <a:xfrm flipV="1">
            <a:off x="6621517" y="4298730"/>
            <a:ext cx="252249" cy="252249"/>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18BA7E6A-7C7A-4AA6-8C59-21ED24FE4411}"/>
              </a:ext>
            </a:extLst>
          </p:cNvPr>
          <p:cNvSpPr/>
          <p:nvPr/>
        </p:nvSpPr>
        <p:spPr>
          <a:xfrm>
            <a:off x="609918" y="3552497"/>
            <a:ext cx="6106192" cy="1145621"/>
          </a:xfrm>
          <a:prstGeom prst="roundRect">
            <a:avLst/>
          </a:prstGeom>
          <a:noFill/>
          <a:ln w="38100">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0" name="Rectangle 19">
            <a:extLst>
              <a:ext uri="{FF2B5EF4-FFF2-40B4-BE49-F238E27FC236}">
                <a16:creationId xmlns:a16="http://schemas.microsoft.com/office/drawing/2014/main" id="{57E4B339-1FC0-4526-9BE0-BCDCE070DB23}"/>
              </a:ext>
            </a:extLst>
          </p:cNvPr>
          <p:cNvSpPr/>
          <p:nvPr/>
        </p:nvSpPr>
        <p:spPr>
          <a:xfrm>
            <a:off x="7036676" y="4671846"/>
            <a:ext cx="714704" cy="262758"/>
          </a:xfrm>
          <a:prstGeom prst="rect">
            <a:avLst/>
          </a:prstGeom>
          <a:solidFill>
            <a:srgbClr val="91278F"/>
          </a:solidFill>
          <a:ln w="9525">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200" b="1" dirty="0">
                <a:solidFill>
                  <a:schemeClr val="tx2"/>
                </a:solidFill>
              </a:rPr>
              <a:t>QTD</a:t>
            </a:r>
          </a:p>
        </p:txBody>
      </p:sp>
      <p:cxnSp>
        <p:nvCxnSpPr>
          <p:cNvPr id="22" name="Straight Arrow Connector 21">
            <a:extLst>
              <a:ext uri="{FF2B5EF4-FFF2-40B4-BE49-F238E27FC236}">
                <a16:creationId xmlns:a16="http://schemas.microsoft.com/office/drawing/2014/main" id="{581C1CB8-7DB7-447E-ABAC-8BD55235D9D8}"/>
              </a:ext>
            </a:extLst>
          </p:cNvPr>
          <p:cNvCxnSpPr/>
          <p:nvPr/>
        </p:nvCxnSpPr>
        <p:spPr>
          <a:xfrm>
            <a:off x="6716110" y="4550979"/>
            <a:ext cx="320566" cy="120867"/>
          </a:xfrm>
          <a:prstGeom prst="straightConnector1">
            <a:avLst/>
          </a:prstGeom>
          <a:ln w="28575">
            <a:solidFill>
              <a:srgbClr val="91278F"/>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28CE9A9-E20F-4FD8-BAB9-7D2CA27DC20D}"/>
              </a:ext>
            </a:extLst>
          </p:cNvPr>
          <p:cNvSpPr/>
          <p:nvPr/>
        </p:nvSpPr>
        <p:spPr>
          <a:xfrm>
            <a:off x="609918" y="1308995"/>
            <a:ext cx="6174956" cy="3625609"/>
          </a:xfrm>
          <a:prstGeom prst="roundRect">
            <a:avLst/>
          </a:prstGeom>
          <a:noFill/>
          <a:ln w="381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4" name="Rectangle 23">
            <a:extLst>
              <a:ext uri="{FF2B5EF4-FFF2-40B4-BE49-F238E27FC236}">
                <a16:creationId xmlns:a16="http://schemas.microsoft.com/office/drawing/2014/main" id="{F27E2F85-66FB-473C-A3E4-B4673629A477}"/>
              </a:ext>
            </a:extLst>
          </p:cNvPr>
          <p:cNvSpPr/>
          <p:nvPr/>
        </p:nvSpPr>
        <p:spPr>
          <a:xfrm>
            <a:off x="6099175" y="6106510"/>
            <a:ext cx="774591" cy="293394"/>
          </a:xfrm>
          <a:prstGeom prst="rect">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200" b="1" dirty="0">
                <a:solidFill>
                  <a:schemeClr val="tx1"/>
                </a:solidFill>
              </a:rPr>
              <a:t>YTD</a:t>
            </a:r>
          </a:p>
        </p:txBody>
      </p:sp>
      <p:cxnSp>
        <p:nvCxnSpPr>
          <p:cNvPr id="29" name="Straight Arrow Connector 28">
            <a:extLst>
              <a:ext uri="{FF2B5EF4-FFF2-40B4-BE49-F238E27FC236}">
                <a16:creationId xmlns:a16="http://schemas.microsoft.com/office/drawing/2014/main" id="{71660FC1-094E-4400-A08F-A798DD212718}"/>
              </a:ext>
            </a:extLst>
          </p:cNvPr>
          <p:cNvCxnSpPr>
            <a:endCxn id="24" idx="0"/>
          </p:cNvCxnSpPr>
          <p:nvPr/>
        </p:nvCxnSpPr>
        <p:spPr>
          <a:xfrm flipH="1">
            <a:off x="6486471" y="4824248"/>
            <a:ext cx="19394" cy="1282262"/>
          </a:xfrm>
          <a:prstGeom prst="straightConnector1">
            <a:avLst/>
          </a:prstGeom>
          <a:ln w="38100">
            <a:solidFill>
              <a:srgbClr val="FFE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4421804"/>
      </p:ext>
    </p:extLst>
  </p:cSld>
  <p:clrMapOvr>
    <a:masterClrMapping/>
  </p:clrMapOvr>
  <mc:AlternateContent xmlns:mc="http://schemas.openxmlformats.org/markup-compatibility/2006" xmlns:p14="http://schemas.microsoft.com/office/powerpoint/2010/main">
    <mc:Choice Requires="p14">
      <p:transition spd="slow" p14:dur="1500" advTm="171088">
        <p:split orient="vert"/>
      </p:transition>
    </mc:Choice>
    <mc:Fallback xmlns="">
      <p:transition spd="slow" advTm="171088">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en-GB" dirty="0">
                <a:solidFill>
                  <a:schemeClr val="bg1">
                    <a:lumMod val="75000"/>
                  </a:schemeClr>
                </a:solidFill>
                <a:latin typeface="EYInterstate" panose="02000503020000020004" pitchFamily="2" charset="0"/>
              </a:rPr>
              <a:t>Appendix</a:t>
            </a:r>
          </a:p>
        </p:txBody>
      </p:sp>
    </p:spTree>
    <p:extLst>
      <p:ext uri="{BB962C8B-B14F-4D97-AF65-F5344CB8AC3E}">
        <p14:creationId xmlns:p14="http://schemas.microsoft.com/office/powerpoint/2010/main" val="1292497617"/>
      </p:ext>
    </p:extLst>
  </p:cSld>
  <p:clrMapOvr>
    <a:masterClrMapping/>
  </p:clrMapOvr>
  <mc:AlternateContent xmlns:mc="http://schemas.openxmlformats.org/markup-compatibility/2006" xmlns:p14="http://schemas.microsoft.com/office/powerpoint/2010/main">
    <mc:Choice Requires="p14">
      <p:transition spd="slow" p14:dur="1500" advTm="16131">
        <p:split orient="vert"/>
      </p:transition>
    </mc:Choice>
    <mc:Fallback xmlns="">
      <p:transition spd="slow" advTm="16131">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619936" y="199260"/>
            <a:ext cx="11128442" cy="860400"/>
          </a:xfrm>
        </p:spPr>
        <p:txBody>
          <a:bodyPr anchor="ctr"/>
          <a:lstStyle/>
          <a:p>
            <a:r>
              <a:rPr lang="en-US" altLang="zh-CN" sz="2400" dirty="0">
                <a:solidFill>
                  <a:schemeClr val="bg1">
                    <a:lumMod val="75000"/>
                  </a:schemeClr>
                </a:solidFill>
                <a:latin typeface="EYInterstate" panose="02000503020000020004" pitchFamily="2" charset="0"/>
                <a:ea typeface="宋体" pitchFamily="2" charset="-122"/>
              </a:rPr>
              <a:t>Who are our customers? And how do we provide services and lead to EY revenue ?</a:t>
            </a:r>
          </a:p>
        </p:txBody>
      </p:sp>
      <p:graphicFrame>
        <p:nvGraphicFramePr>
          <p:cNvPr id="9" name="Diagram 8"/>
          <p:cNvGraphicFramePr/>
          <p:nvPr>
            <p:extLst>
              <p:ext uri="{D42A27DB-BD31-4B8C-83A1-F6EECF244321}">
                <p14:modId xmlns:p14="http://schemas.microsoft.com/office/powerpoint/2010/main" val="2045745131"/>
              </p:ext>
            </p:extLst>
          </p:nvPr>
        </p:nvGraphicFramePr>
        <p:xfrm>
          <a:off x="616830" y="1215914"/>
          <a:ext cx="5926846" cy="4741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C93E604C-0BA3-45A9-83D3-14322FD9A9DA}"/>
              </a:ext>
            </a:extLst>
          </p:cNvPr>
          <p:cNvGraphicFramePr/>
          <p:nvPr>
            <p:extLst>
              <p:ext uri="{D42A27DB-BD31-4B8C-83A1-F6EECF244321}">
                <p14:modId xmlns:p14="http://schemas.microsoft.com/office/powerpoint/2010/main" val="2542874424"/>
              </p:ext>
            </p:extLst>
          </p:nvPr>
        </p:nvGraphicFramePr>
        <p:xfrm>
          <a:off x="6770452" y="1580223"/>
          <a:ext cx="4854102" cy="39949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93531622"/>
      </p:ext>
    </p:extLst>
  </p:cSld>
  <p:clrMapOvr>
    <a:masterClrMapping/>
  </p:clrMapOvr>
  <mc:AlternateContent xmlns:mc="http://schemas.openxmlformats.org/markup-compatibility/2006" xmlns:p14="http://schemas.microsoft.com/office/powerpoint/2010/main">
    <mc:Choice Requires="p14">
      <p:transition spd="slow" p14:dur="1500" advTm="33232">
        <p:split orient="vert"/>
      </p:transition>
    </mc:Choice>
    <mc:Fallback xmlns="">
      <p:transition spd="slow" advTm="33232">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18" y="392100"/>
            <a:ext cx="10978515" cy="419088"/>
          </a:xfrm>
        </p:spPr>
        <p:txBody>
          <a:bodyPr anchor="ctr"/>
          <a:lstStyle/>
          <a:p>
            <a:pPr>
              <a:lnSpc>
                <a:spcPts val="2500"/>
              </a:lnSpc>
            </a:pPr>
            <a:r>
              <a:rPr lang="en-US" sz="2400" dirty="0">
                <a:solidFill>
                  <a:schemeClr val="bg1">
                    <a:lumMod val="75000"/>
                  </a:schemeClr>
                </a:solidFill>
                <a:latin typeface="EYInterstate" panose="02000503020000020004" pitchFamily="2" charset="0"/>
              </a:rPr>
              <a:t>Pursuit lifecycle</a:t>
            </a:r>
            <a:br>
              <a:rPr lang="en-US" sz="2400" dirty="0">
                <a:solidFill>
                  <a:schemeClr val="bg1">
                    <a:lumMod val="75000"/>
                  </a:schemeClr>
                </a:solidFill>
                <a:latin typeface="EYInterstate" panose="02000503020000020004" pitchFamily="2" charset="0"/>
              </a:rPr>
            </a:br>
            <a:r>
              <a:rPr lang="en-US" sz="2400" b="0" dirty="0">
                <a:solidFill>
                  <a:schemeClr val="bg1">
                    <a:lumMod val="75000"/>
                  </a:schemeClr>
                </a:solidFill>
                <a:latin typeface="EYInterstate" panose="02000503020000020004" pitchFamily="2" charset="0"/>
              </a:rPr>
              <a:t>Why clients go out to bid</a:t>
            </a:r>
          </a:p>
        </p:txBody>
      </p:sp>
      <p:grpSp>
        <p:nvGrpSpPr>
          <p:cNvPr id="23" name="Group 22"/>
          <p:cNvGrpSpPr/>
          <p:nvPr/>
        </p:nvGrpSpPr>
        <p:grpSpPr>
          <a:xfrm rot="21256738">
            <a:off x="534604" y="1825559"/>
            <a:ext cx="4038600" cy="5041069"/>
            <a:chOff x="7158990" y="2312993"/>
            <a:chExt cx="4038600" cy="5112434"/>
          </a:xfrm>
        </p:grpSpPr>
        <p:sp>
          <p:nvSpPr>
            <p:cNvPr id="24" name="Rechteck 66"/>
            <p:cNvSpPr/>
            <p:nvPr/>
          </p:nvSpPr>
          <p:spPr bwMode="gray">
            <a:xfrm>
              <a:off x="9084987" y="4901728"/>
              <a:ext cx="46771" cy="2523699"/>
            </a:xfrm>
            <a:prstGeom prst="rect">
              <a:avLst/>
            </a:prstGeom>
            <a:solidFill>
              <a:schemeClr val="bg1">
                <a:lumMod val="40000"/>
                <a:lumOff val="6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dirty="0"/>
            </a:p>
          </p:txBody>
        </p:sp>
        <p:sp>
          <p:nvSpPr>
            <p:cNvPr id="25" name="TextBox 24"/>
            <p:cNvSpPr txBox="1"/>
            <p:nvPr/>
          </p:nvSpPr>
          <p:spPr>
            <a:xfrm>
              <a:off x="7158990" y="2312993"/>
              <a:ext cx="4038600" cy="2610648"/>
            </a:xfrm>
            <a:prstGeom prst="rect">
              <a:avLst/>
            </a:prstGeom>
            <a:solidFill>
              <a:schemeClr val="accent2"/>
            </a:solidFill>
            <a:ln w="19050">
              <a:solidFill>
                <a:schemeClr val="accent2"/>
              </a:solidFill>
            </a:ln>
          </p:spPr>
          <p:txBody>
            <a:bodyPr wrap="square" lIns="274320" tIns="274320" rIns="274320" bIns="274320" rtlCol="0">
              <a:noAutofit/>
            </a:bodyPr>
            <a:lstStyle/>
            <a:p>
              <a:pPr>
                <a:spcAft>
                  <a:spcPts val="1800"/>
                </a:spcAft>
              </a:pPr>
              <a:r>
                <a:rPr lang="en-US" sz="2200" dirty="0">
                  <a:solidFill>
                    <a:schemeClr val="tx1">
                      <a:lumMod val="65000"/>
                      <a:lumOff val="35000"/>
                    </a:schemeClr>
                  </a:solidFill>
                  <a:latin typeface="EYInterstate Light" panose="02000506000000020004" pitchFamily="2" charset="0"/>
                </a:rPr>
                <a:t>The purchasing process begins the moment a client recognizes a </a:t>
              </a:r>
              <a:r>
                <a:rPr lang="en-US" sz="2800" b="1" dirty="0">
                  <a:solidFill>
                    <a:schemeClr val="tx1">
                      <a:lumMod val="65000"/>
                      <a:lumOff val="35000"/>
                    </a:schemeClr>
                  </a:solidFill>
                  <a:latin typeface="EYInterstate" panose="02000503020000020004" pitchFamily="2" charset="0"/>
                </a:rPr>
                <a:t>need</a:t>
              </a:r>
              <a:r>
                <a:rPr lang="en-US" sz="2400" dirty="0">
                  <a:solidFill>
                    <a:schemeClr val="tx1">
                      <a:lumMod val="65000"/>
                      <a:lumOff val="35000"/>
                    </a:schemeClr>
                  </a:solidFill>
                  <a:latin typeface="EYInterstate Light" panose="02000506000000020004" pitchFamily="2" charset="0"/>
                </a:rPr>
                <a:t> </a:t>
              </a:r>
              <a:r>
                <a:rPr lang="en-US" sz="2200" dirty="0">
                  <a:solidFill>
                    <a:schemeClr val="tx1">
                      <a:lumMod val="65000"/>
                      <a:lumOff val="35000"/>
                    </a:schemeClr>
                  </a:solidFill>
                  <a:latin typeface="EYInterstate Light" panose="02000506000000020004" pitchFamily="2" charset="0"/>
                </a:rPr>
                <a:t>or</a:t>
              </a:r>
              <a:r>
                <a:rPr lang="en-US" sz="2400" dirty="0">
                  <a:solidFill>
                    <a:schemeClr val="tx1">
                      <a:lumMod val="65000"/>
                      <a:lumOff val="35000"/>
                    </a:schemeClr>
                  </a:solidFill>
                  <a:latin typeface="EYInterstate Light" panose="02000506000000020004" pitchFamily="2" charset="0"/>
                </a:rPr>
                <a:t> </a:t>
              </a:r>
              <a:r>
                <a:rPr lang="en-US" sz="2800" b="1" dirty="0">
                  <a:solidFill>
                    <a:schemeClr val="tx1">
                      <a:lumMod val="65000"/>
                      <a:lumOff val="35000"/>
                    </a:schemeClr>
                  </a:solidFill>
                  <a:latin typeface="EYInterstate" panose="02000503020000020004" pitchFamily="2" charset="0"/>
                </a:rPr>
                <a:t>want</a:t>
              </a:r>
              <a:r>
                <a:rPr lang="en-US" sz="2400" dirty="0">
                  <a:solidFill>
                    <a:schemeClr val="tx1">
                      <a:lumMod val="65000"/>
                      <a:lumOff val="35000"/>
                    </a:schemeClr>
                  </a:solidFill>
                  <a:latin typeface="EYInterstate Light" panose="02000506000000020004" pitchFamily="2" charset="0"/>
                </a:rPr>
                <a:t> </a:t>
              </a:r>
              <a:r>
                <a:rPr lang="en-US" sz="2200" dirty="0">
                  <a:solidFill>
                    <a:schemeClr val="tx1">
                      <a:lumMod val="65000"/>
                      <a:lumOff val="35000"/>
                    </a:schemeClr>
                  </a:solidFill>
                  <a:latin typeface="EYInterstate Light" panose="02000506000000020004" pitchFamily="2" charset="0"/>
                </a:rPr>
                <a:t>to</a:t>
              </a:r>
              <a:r>
                <a:rPr lang="en-US" sz="2400" dirty="0">
                  <a:solidFill>
                    <a:schemeClr val="tx1">
                      <a:lumMod val="65000"/>
                      <a:lumOff val="35000"/>
                    </a:schemeClr>
                  </a:solidFill>
                  <a:latin typeface="EYInterstate Light" panose="02000506000000020004" pitchFamily="2" charset="0"/>
                </a:rPr>
                <a:t> </a:t>
              </a:r>
              <a:r>
                <a:rPr lang="en-US" sz="2800" b="1" dirty="0">
                  <a:solidFill>
                    <a:schemeClr val="tx1">
                      <a:lumMod val="65000"/>
                      <a:lumOff val="35000"/>
                    </a:schemeClr>
                  </a:solidFill>
                  <a:latin typeface="EYInterstate" panose="02000503020000020004" pitchFamily="2" charset="0"/>
                </a:rPr>
                <a:t>accomplish</a:t>
              </a:r>
              <a:r>
                <a:rPr lang="en-US" sz="2400" dirty="0">
                  <a:solidFill>
                    <a:schemeClr val="tx1">
                      <a:lumMod val="65000"/>
                      <a:lumOff val="35000"/>
                    </a:schemeClr>
                  </a:solidFill>
                  <a:latin typeface="EYInterstate Light" panose="02000506000000020004" pitchFamily="2" charset="0"/>
                </a:rPr>
                <a:t>, </a:t>
              </a:r>
              <a:r>
                <a:rPr lang="en-US" sz="2800" b="1" dirty="0">
                  <a:solidFill>
                    <a:schemeClr val="tx1">
                      <a:lumMod val="65000"/>
                      <a:lumOff val="35000"/>
                    </a:schemeClr>
                  </a:solidFill>
                  <a:latin typeface="EYInterstate" panose="02000503020000020004" pitchFamily="2" charset="0"/>
                </a:rPr>
                <a:t>fix</a:t>
              </a:r>
              <a:r>
                <a:rPr lang="en-US" sz="2400" dirty="0">
                  <a:solidFill>
                    <a:schemeClr val="tx1">
                      <a:lumMod val="65000"/>
                      <a:lumOff val="35000"/>
                    </a:schemeClr>
                  </a:solidFill>
                  <a:latin typeface="EYInterstate Light" panose="02000506000000020004" pitchFamily="2" charset="0"/>
                </a:rPr>
                <a:t> </a:t>
              </a:r>
              <a:r>
                <a:rPr lang="en-US" sz="2200" dirty="0">
                  <a:solidFill>
                    <a:schemeClr val="tx1">
                      <a:lumMod val="65000"/>
                      <a:lumOff val="35000"/>
                    </a:schemeClr>
                  </a:solidFill>
                  <a:latin typeface="EYInterstate Light" panose="02000506000000020004" pitchFamily="2" charset="0"/>
                </a:rPr>
                <a:t>or</a:t>
              </a:r>
              <a:r>
                <a:rPr lang="en-US" sz="2400" dirty="0">
                  <a:solidFill>
                    <a:schemeClr val="tx1">
                      <a:lumMod val="65000"/>
                      <a:lumOff val="35000"/>
                    </a:schemeClr>
                  </a:solidFill>
                  <a:latin typeface="EYInterstate Light" panose="02000506000000020004" pitchFamily="2" charset="0"/>
                </a:rPr>
                <a:t> </a:t>
              </a:r>
              <a:r>
                <a:rPr lang="en-US" sz="2800" b="1" dirty="0">
                  <a:solidFill>
                    <a:schemeClr val="tx1">
                      <a:lumMod val="65000"/>
                      <a:lumOff val="35000"/>
                    </a:schemeClr>
                  </a:solidFill>
                  <a:latin typeface="EYInterstate" panose="02000503020000020004" pitchFamily="2" charset="0"/>
                </a:rPr>
                <a:t>avoid</a:t>
              </a:r>
              <a:r>
                <a:rPr lang="en-US" sz="2400" dirty="0">
                  <a:solidFill>
                    <a:schemeClr val="tx1">
                      <a:lumMod val="65000"/>
                      <a:lumOff val="35000"/>
                    </a:schemeClr>
                  </a:solidFill>
                  <a:latin typeface="EYInterstate Light" panose="02000506000000020004" pitchFamily="2" charset="0"/>
                </a:rPr>
                <a:t> </a:t>
              </a:r>
              <a:r>
                <a:rPr lang="en-US" sz="2200" dirty="0">
                  <a:solidFill>
                    <a:schemeClr val="tx1">
                      <a:lumMod val="65000"/>
                      <a:lumOff val="35000"/>
                    </a:schemeClr>
                  </a:solidFill>
                  <a:latin typeface="EYInterstate Light" panose="02000506000000020004" pitchFamily="2" charset="0"/>
                </a:rPr>
                <a:t>something.</a:t>
              </a:r>
            </a:p>
          </p:txBody>
        </p:sp>
        <p:grpSp>
          <p:nvGrpSpPr>
            <p:cNvPr id="27" name="Gruppieren 145"/>
            <p:cNvGrpSpPr/>
            <p:nvPr/>
          </p:nvGrpSpPr>
          <p:grpSpPr bwMode="gray">
            <a:xfrm>
              <a:off x="9024908" y="4776684"/>
              <a:ext cx="166929" cy="389501"/>
              <a:chOff x="2217736" y="3579814"/>
              <a:chExt cx="190500" cy="444500"/>
            </a:xfrm>
            <a:effectLst/>
          </p:grpSpPr>
          <p:sp>
            <p:nvSpPr>
              <p:cNvPr id="29" name="Freeform 6"/>
              <p:cNvSpPr>
                <a:spLocks/>
              </p:cNvSpPr>
              <p:nvPr/>
            </p:nvSpPr>
            <p:spPr bwMode="gray">
              <a:xfrm>
                <a:off x="2347913" y="3778251"/>
                <a:ext cx="23813" cy="107950"/>
              </a:xfrm>
              <a:custGeom>
                <a:avLst/>
                <a:gdLst/>
                <a:ahLst/>
                <a:cxnLst>
                  <a:cxn ang="0">
                    <a:pos x="0" y="26"/>
                  </a:cxn>
                  <a:cxn ang="0">
                    <a:pos x="3" y="29"/>
                  </a:cxn>
                  <a:cxn ang="0">
                    <a:pos x="6" y="26"/>
                  </a:cxn>
                  <a:cxn ang="0">
                    <a:pos x="6" y="0"/>
                  </a:cxn>
                  <a:cxn ang="0">
                    <a:pos x="0" y="1"/>
                  </a:cxn>
                  <a:cxn ang="0">
                    <a:pos x="0" y="26"/>
                  </a:cxn>
                </a:cxnLst>
                <a:rect l="0" t="0" r="r" b="b"/>
                <a:pathLst>
                  <a:path w="6" h="29">
                    <a:moveTo>
                      <a:pt x="0" y="26"/>
                    </a:moveTo>
                    <a:cubicBezTo>
                      <a:pt x="0" y="28"/>
                      <a:pt x="1" y="29"/>
                      <a:pt x="3" y="29"/>
                    </a:cubicBezTo>
                    <a:cubicBezTo>
                      <a:pt x="5" y="29"/>
                      <a:pt x="6" y="28"/>
                      <a:pt x="6" y="26"/>
                    </a:cubicBezTo>
                    <a:cubicBezTo>
                      <a:pt x="6" y="15"/>
                      <a:pt x="6" y="6"/>
                      <a:pt x="6" y="0"/>
                    </a:cubicBezTo>
                    <a:cubicBezTo>
                      <a:pt x="0" y="1"/>
                      <a:pt x="0" y="1"/>
                      <a:pt x="0" y="1"/>
                    </a:cubicBezTo>
                    <a:cubicBezTo>
                      <a:pt x="0" y="26"/>
                      <a:pt x="0" y="26"/>
                      <a:pt x="0" y="26"/>
                    </a:cubicBezTo>
                    <a:close/>
                  </a:path>
                </a:pathLst>
              </a:custGeom>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sp>
            <p:nvSpPr>
              <p:cNvPr id="34" name="Freeform 7"/>
              <p:cNvSpPr>
                <a:spLocks/>
              </p:cNvSpPr>
              <p:nvPr/>
            </p:nvSpPr>
            <p:spPr bwMode="gray">
              <a:xfrm>
                <a:off x="2217736" y="3579814"/>
                <a:ext cx="190500" cy="444500"/>
              </a:xfrm>
              <a:custGeom>
                <a:avLst/>
                <a:gdLst/>
                <a:ahLst/>
                <a:cxnLst>
                  <a:cxn ang="0">
                    <a:pos x="30" y="0"/>
                  </a:cxn>
                  <a:cxn ang="0">
                    <a:pos x="23" y="0"/>
                  </a:cxn>
                  <a:cxn ang="0">
                    <a:pos x="1" y="22"/>
                  </a:cxn>
                  <a:cxn ang="0">
                    <a:pos x="0" y="78"/>
                  </a:cxn>
                  <a:cxn ang="0">
                    <a:pos x="4" y="81"/>
                  </a:cxn>
                  <a:cxn ang="0">
                    <a:pos x="7" y="78"/>
                  </a:cxn>
                  <a:cxn ang="0">
                    <a:pos x="7" y="22"/>
                  </a:cxn>
                  <a:cxn ang="0">
                    <a:pos x="23" y="7"/>
                  </a:cxn>
                  <a:cxn ang="0">
                    <a:pos x="30" y="7"/>
                  </a:cxn>
                  <a:cxn ang="0">
                    <a:pos x="44" y="22"/>
                  </a:cxn>
                  <a:cxn ang="0">
                    <a:pos x="43" y="97"/>
                  </a:cxn>
                  <a:cxn ang="0">
                    <a:pos x="39" y="109"/>
                  </a:cxn>
                  <a:cxn ang="0">
                    <a:pos x="28" y="112"/>
                  </a:cxn>
                  <a:cxn ang="0">
                    <a:pos x="19" y="108"/>
                  </a:cxn>
                  <a:cxn ang="0">
                    <a:pos x="16" y="97"/>
                  </a:cxn>
                  <a:cxn ang="0">
                    <a:pos x="16" y="55"/>
                  </a:cxn>
                  <a:cxn ang="0">
                    <a:pos x="10" y="56"/>
                  </a:cxn>
                  <a:cxn ang="0">
                    <a:pos x="9" y="97"/>
                  </a:cxn>
                  <a:cxn ang="0">
                    <a:pos x="14" y="112"/>
                  </a:cxn>
                  <a:cxn ang="0">
                    <a:pos x="28" y="119"/>
                  </a:cxn>
                  <a:cxn ang="0">
                    <a:pos x="44" y="114"/>
                  </a:cxn>
                  <a:cxn ang="0">
                    <a:pos x="50" y="97"/>
                  </a:cxn>
                  <a:cxn ang="0">
                    <a:pos x="51" y="42"/>
                  </a:cxn>
                  <a:cxn ang="0">
                    <a:pos x="51" y="22"/>
                  </a:cxn>
                  <a:cxn ang="0">
                    <a:pos x="30" y="0"/>
                  </a:cxn>
                </a:cxnLst>
                <a:rect l="0" t="0" r="r" b="b"/>
                <a:pathLst>
                  <a:path w="51" h="119">
                    <a:moveTo>
                      <a:pt x="30" y="0"/>
                    </a:moveTo>
                    <a:cubicBezTo>
                      <a:pt x="23" y="0"/>
                      <a:pt x="23" y="0"/>
                      <a:pt x="23" y="0"/>
                    </a:cubicBezTo>
                    <a:cubicBezTo>
                      <a:pt x="11" y="0"/>
                      <a:pt x="1" y="10"/>
                      <a:pt x="1" y="22"/>
                    </a:cubicBezTo>
                    <a:cubicBezTo>
                      <a:pt x="0" y="78"/>
                      <a:pt x="0" y="78"/>
                      <a:pt x="0" y="78"/>
                    </a:cubicBezTo>
                    <a:cubicBezTo>
                      <a:pt x="0" y="80"/>
                      <a:pt x="2" y="81"/>
                      <a:pt x="4" y="81"/>
                    </a:cubicBezTo>
                    <a:cubicBezTo>
                      <a:pt x="5" y="81"/>
                      <a:pt x="7" y="80"/>
                      <a:pt x="7" y="78"/>
                    </a:cubicBezTo>
                    <a:cubicBezTo>
                      <a:pt x="7" y="22"/>
                      <a:pt x="7" y="22"/>
                      <a:pt x="7" y="22"/>
                    </a:cubicBezTo>
                    <a:cubicBezTo>
                      <a:pt x="8" y="13"/>
                      <a:pt x="14" y="7"/>
                      <a:pt x="23" y="7"/>
                    </a:cubicBezTo>
                    <a:cubicBezTo>
                      <a:pt x="30" y="7"/>
                      <a:pt x="30" y="7"/>
                      <a:pt x="30" y="7"/>
                    </a:cubicBezTo>
                    <a:cubicBezTo>
                      <a:pt x="38" y="7"/>
                      <a:pt x="45" y="14"/>
                      <a:pt x="44" y="22"/>
                    </a:cubicBezTo>
                    <a:cubicBezTo>
                      <a:pt x="43" y="97"/>
                      <a:pt x="43" y="97"/>
                      <a:pt x="43" y="97"/>
                    </a:cubicBezTo>
                    <a:cubicBezTo>
                      <a:pt x="43" y="103"/>
                      <a:pt x="42" y="106"/>
                      <a:pt x="39" y="109"/>
                    </a:cubicBezTo>
                    <a:cubicBezTo>
                      <a:pt x="37" y="111"/>
                      <a:pt x="33" y="112"/>
                      <a:pt x="28" y="112"/>
                    </a:cubicBezTo>
                    <a:cubicBezTo>
                      <a:pt x="23" y="112"/>
                      <a:pt x="20" y="111"/>
                      <a:pt x="19" y="108"/>
                    </a:cubicBezTo>
                    <a:cubicBezTo>
                      <a:pt x="17" y="106"/>
                      <a:pt x="16" y="102"/>
                      <a:pt x="16" y="97"/>
                    </a:cubicBezTo>
                    <a:cubicBezTo>
                      <a:pt x="16" y="77"/>
                      <a:pt x="16" y="64"/>
                      <a:pt x="16" y="55"/>
                    </a:cubicBezTo>
                    <a:cubicBezTo>
                      <a:pt x="10" y="56"/>
                      <a:pt x="10" y="56"/>
                      <a:pt x="10" y="56"/>
                    </a:cubicBezTo>
                    <a:cubicBezTo>
                      <a:pt x="9" y="97"/>
                      <a:pt x="9" y="97"/>
                      <a:pt x="9" y="97"/>
                    </a:cubicBezTo>
                    <a:cubicBezTo>
                      <a:pt x="9" y="103"/>
                      <a:pt x="10" y="108"/>
                      <a:pt x="14" y="112"/>
                    </a:cubicBezTo>
                    <a:cubicBezTo>
                      <a:pt x="17" y="116"/>
                      <a:pt x="22" y="119"/>
                      <a:pt x="28" y="119"/>
                    </a:cubicBezTo>
                    <a:cubicBezTo>
                      <a:pt x="34" y="119"/>
                      <a:pt x="40" y="117"/>
                      <a:pt x="44" y="114"/>
                    </a:cubicBezTo>
                    <a:cubicBezTo>
                      <a:pt x="48" y="110"/>
                      <a:pt x="50" y="104"/>
                      <a:pt x="50" y="97"/>
                    </a:cubicBezTo>
                    <a:cubicBezTo>
                      <a:pt x="51" y="42"/>
                      <a:pt x="51" y="42"/>
                      <a:pt x="51" y="42"/>
                    </a:cubicBezTo>
                    <a:cubicBezTo>
                      <a:pt x="51" y="22"/>
                      <a:pt x="51" y="22"/>
                      <a:pt x="51" y="22"/>
                    </a:cubicBezTo>
                    <a:cubicBezTo>
                      <a:pt x="51" y="10"/>
                      <a:pt x="41" y="1"/>
                      <a:pt x="30" y="0"/>
                    </a:cubicBezTo>
                    <a:close/>
                  </a:path>
                </a:pathLst>
              </a:custGeom>
              <a:solidFill>
                <a:schemeClr val="bg1"/>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grpSp>
      </p:grpSp>
      <p:grpSp>
        <p:nvGrpSpPr>
          <p:cNvPr id="35" name="Group 34"/>
          <p:cNvGrpSpPr/>
          <p:nvPr/>
        </p:nvGrpSpPr>
        <p:grpSpPr>
          <a:xfrm>
            <a:off x="4302698" y="1096261"/>
            <a:ext cx="4038600" cy="3724614"/>
            <a:chOff x="7158990" y="1441571"/>
            <a:chExt cx="4038600" cy="3724614"/>
          </a:xfrm>
        </p:grpSpPr>
        <p:sp>
          <p:nvSpPr>
            <p:cNvPr id="37" name="TextBox 36"/>
            <p:cNvSpPr txBox="1"/>
            <p:nvPr/>
          </p:nvSpPr>
          <p:spPr>
            <a:xfrm>
              <a:off x="7158990" y="1441571"/>
              <a:ext cx="4038600" cy="3482070"/>
            </a:xfrm>
            <a:prstGeom prst="rect">
              <a:avLst/>
            </a:prstGeom>
            <a:solidFill>
              <a:schemeClr val="bg1">
                <a:lumMod val="75000"/>
              </a:schemeClr>
            </a:solidFill>
            <a:ln w="19050">
              <a:solidFill>
                <a:schemeClr val="bg1">
                  <a:lumMod val="75000"/>
                </a:schemeClr>
              </a:solidFill>
            </a:ln>
          </p:spPr>
          <p:txBody>
            <a:bodyPr wrap="square" lIns="274320" tIns="274320" rIns="274320" bIns="274320" rtlCol="0">
              <a:noAutofit/>
            </a:bodyPr>
            <a:lstStyle/>
            <a:p>
              <a:pPr>
                <a:spcAft>
                  <a:spcPts val="600"/>
                </a:spcAft>
              </a:pPr>
              <a:r>
                <a:rPr lang="en-US" b="1" dirty="0">
                  <a:solidFill>
                    <a:schemeClr val="tx2"/>
                  </a:solidFill>
                  <a:latin typeface="EYInterstate" panose="02000503020000020004" pitchFamily="2" charset="0"/>
                </a:rPr>
                <a:t>Examples include:</a:t>
              </a:r>
            </a:p>
            <a:p>
              <a:pPr marL="274320" marR="0" lvl="0" indent="-274320">
                <a:spcAft>
                  <a:spcPts val="600"/>
                </a:spcAft>
                <a:buClr>
                  <a:schemeClr val="accent2"/>
                </a:buClr>
                <a:buSzPct val="70000"/>
                <a:buFont typeface="Arial" panose="020B0604020202020204" pitchFamily="34" charset="0"/>
                <a:buChar char="►"/>
              </a:pPr>
              <a:r>
                <a:rPr lang="en-US" dirty="0">
                  <a:solidFill>
                    <a:schemeClr val="tx2"/>
                  </a:solidFill>
                  <a:latin typeface="EYInterstate Light" panose="02000506000000020004" pitchFamily="2" charset="0"/>
                  <a:ea typeface="Times New Roman"/>
                  <a:cs typeface="Arial" panose="020B0604020202020204" pitchFamily="34" charset="0"/>
                </a:rPr>
                <a:t>Dissatisfaction with current systems, service or vendor</a:t>
              </a:r>
            </a:p>
            <a:p>
              <a:pPr marL="274320" marR="0" lvl="0" indent="-274320">
                <a:spcAft>
                  <a:spcPts val="600"/>
                </a:spcAft>
                <a:buClr>
                  <a:schemeClr val="accent2"/>
                </a:buClr>
                <a:buSzPct val="70000"/>
                <a:buFont typeface="Arial" panose="020B0604020202020204" pitchFamily="34" charset="0"/>
                <a:buChar char="►"/>
              </a:pPr>
              <a:r>
                <a:rPr lang="en-US" dirty="0">
                  <a:solidFill>
                    <a:schemeClr val="tx2"/>
                  </a:solidFill>
                  <a:latin typeface="EYInterstate Light" panose="02000506000000020004" pitchFamily="2" charset="0"/>
                  <a:ea typeface="Times New Roman"/>
                  <a:cs typeface="Arial" panose="020B0604020202020204" pitchFamily="34" charset="0"/>
                </a:rPr>
                <a:t>Competitive threats</a:t>
              </a:r>
            </a:p>
            <a:p>
              <a:pPr marL="274320" marR="0" lvl="0" indent="-274320">
                <a:spcAft>
                  <a:spcPts val="600"/>
                </a:spcAft>
                <a:buClr>
                  <a:schemeClr val="accent2"/>
                </a:buClr>
                <a:buSzPct val="70000"/>
                <a:buFont typeface="Arial" panose="020B0604020202020204" pitchFamily="34" charset="0"/>
                <a:buChar char="►"/>
              </a:pPr>
              <a:r>
                <a:rPr lang="en-US" dirty="0">
                  <a:solidFill>
                    <a:schemeClr val="tx2"/>
                  </a:solidFill>
                  <a:latin typeface="EYInterstate Light" panose="02000506000000020004" pitchFamily="2" charset="0"/>
                  <a:ea typeface="Times New Roman"/>
                  <a:cs typeface="Arial" panose="020B0604020202020204" pitchFamily="34" charset="0"/>
                </a:rPr>
                <a:t>Growth plans</a:t>
              </a:r>
            </a:p>
            <a:p>
              <a:pPr marL="274320" marR="0" lvl="0" indent="-274320">
                <a:spcAft>
                  <a:spcPts val="600"/>
                </a:spcAft>
                <a:buClr>
                  <a:schemeClr val="accent2"/>
                </a:buClr>
                <a:buSzPct val="70000"/>
                <a:buFont typeface="Arial" panose="020B0604020202020204" pitchFamily="34" charset="0"/>
                <a:buChar char="►"/>
              </a:pPr>
              <a:r>
                <a:rPr lang="en-US" dirty="0">
                  <a:solidFill>
                    <a:schemeClr val="tx2"/>
                  </a:solidFill>
                  <a:latin typeface="EYInterstate Light" panose="02000506000000020004" pitchFamily="2" charset="0"/>
                  <a:ea typeface="Times New Roman"/>
                  <a:cs typeface="Arial" panose="020B0604020202020204" pitchFamily="34" charset="0"/>
                </a:rPr>
                <a:t>Cost reduction</a:t>
              </a:r>
            </a:p>
            <a:p>
              <a:pPr marL="274320" marR="0" lvl="0" indent="-274320">
                <a:spcAft>
                  <a:spcPts val="600"/>
                </a:spcAft>
                <a:buClr>
                  <a:schemeClr val="accent2"/>
                </a:buClr>
                <a:buSzPct val="70000"/>
                <a:buFont typeface="Arial" panose="020B0604020202020204" pitchFamily="34" charset="0"/>
                <a:buChar char="►"/>
              </a:pPr>
              <a:r>
                <a:rPr lang="en-US" dirty="0">
                  <a:solidFill>
                    <a:schemeClr val="tx2"/>
                  </a:solidFill>
                  <a:latin typeface="EYInterstate Light" panose="02000506000000020004" pitchFamily="2" charset="0"/>
                  <a:ea typeface="Times New Roman"/>
                  <a:cs typeface="Arial" panose="020B0604020202020204" pitchFamily="34" charset="0"/>
                </a:rPr>
                <a:t>Technology improvements</a:t>
              </a:r>
            </a:p>
            <a:p>
              <a:pPr marL="274320" marR="0" lvl="0" indent="-274320">
                <a:spcAft>
                  <a:spcPts val="600"/>
                </a:spcAft>
                <a:buClr>
                  <a:schemeClr val="accent2"/>
                </a:buClr>
                <a:buSzPct val="70000"/>
                <a:buFont typeface="Arial" panose="020B0604020202020204" pitchFamily="34" charset="0"/>
                <a:buChar char="►"/>
              </a:pPr>
              <a:r>
                <a:rPr lang="en-US" dirty="0">
                  <a:solidFill>
                    <a:schemeClr val="tx2"/>
                  </a:solidFill>
                  <a:latin typeface="EYInterstate Light" panose="02000506000000020004" pitchFamily="2" charset="0"/>
                  <a:ea typeface="Times New Roman"/>
                  <a:cs typeface="Arial" panose="020B0604020202020204" pitchFamily="34" charset="0"/>
                </a:rPr>
                <a:t>Regulatory change</a:t>
              </a:r>
              <a:endParaRPr lang="en-US" dirty="0">
                <a:solidFill>
                  <a:schemeClr val="tx2"/>
                </a:solidFill>
                <a:latin typeface="EYInterstate Light" panose="02000506000000020004" pitchFamily="2" charset="0"/>
              </a:endParaRPr>
            </a:p>
          </p:txBody>
        </p:sp>
        <p:grpSp>
          <p:nvGrpSpPr>
            <p:cNvPr id="38" name="Gruppieren 145"/>
            <p:cNvGrpSpPr/>
            <p:nvPr/>
          </p:nvGrpSpPr>
          <p:grpSpPr bwMode="gray">
            <a:xfrm>
              <a:off x="9024908" y="4776684"/>
              <a:ext cx="166929" cy="389501"/>
              <a:chOff x="2217736" y="3579814"/>
              <a:chExt cx="190500" cy="444500"/>
            </a:xfrm>
            <a:effectLst/>
          </p:grpSpPr>
          <p:sp>
            <p:nvSpPr>
              <p:cNvPr id="39" name="Freeform 6"/>
              <p:cNvSpPr>
                <a:spLocks/>
              </p:cNvSpPr>
              <p:nvPr/>
            </p:nvSpPr>
            <p:spPr bwMode="gray">
              <a:xfrm>
                <a:off x="2347913" y="3778251"/>
                <a:ext cx="23813" cy="107950"/>
              </a:xfrm>
              <a:custGeom>
                <a:avLst/>
                <a:gdLst/>
                <a:ahLst/>
                <a:cxnLst>
                  <a:cxn ang="0">
                    <a:pos x="0" y="26"/>
                  </a:cxn>
                  <a:cxn ang="0">
                    <a:pos x="3" y="29"/>
                  </a:cxn>
                  <a:cxn ang="0">
                    <a:pos x="6" y="26"/>
                  </a:cxn>
                  <a:cxn ang="0">
                    <a:pos x="6" y="0"/>
                  </a:cxn>
                  <a:cxn ang="0">
                    <a:pos x="0" y="1"/>
                  </a:cxn>
                  <a:cxn ang="0">
                    <a:pos x="0" y="26"/>
                  </a:cxn>
                </a:cxnLst>
                <a:rect l="0" t="0" r="r" b="b"/>
                <a:pathLst>
                  <a:path w="6" h="29">
                    <a:moveTo>
                      <a:pt x="0" y="26"/>
                    </a:moveTo>
                    <a:cubicBezTo>
                      <a:pt x="0" y="28"/>
                      <a:pt x="1" y="29"/>
                      <a:pt x="3" y="29"/>
                    </a:cubicBezTo>
                    <a:cubicBezTo>
                      <a:pt x="5" y="29"/>
                      <a:pt x="6" y="28"/>
                      <a:pt x="6" y="26"/>
                    </a:cubicBezTo>
                    <a:cubicBezTo>
                      <a:pt x="6" y="15"/>
                      <a:pt x="6" y="6"/>
                      <a:pt x="6" y="0"/>
                    </a:cubicBezTo>
                    <a:cubicBezTo>
                      <a:pt x="0" y="1"/>
                      <a:pt x="0" y="1"/>
                      <a:pt x="0" y="1"/>
                    </a:cubicBezTo>
                    <a:cubicBezTo>
                      <a:pt x="0" y="26"/>
                      <a:pt x="0" y="26"/>
                      <a:pt x="0" y="26"/>
                    </a:cubicBezTo>
                    <a:close/>
                  </a:path>
                </a:pathLst>
              </a:custGeom>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 name="Freeform 7"/>
              <p:cNvSpPr>
                <a:spLocks/>
              </p:cNvSpPr>
              <p:nvPr/>
            </p:nvSpPr>
            <p:spPr bwMode="gray">
              <a:xfrm>
                <a:off x="2217736" y="3579814"/>
                <a:ext cx="190500" cy="444500"/>
              </a:xfrm>
              <a:custGeom>
                <a:avLst/>
                <a:gdLst/>
                <a:ahLst/>
                <a:cxnLst>
                  <a:cxn ang="0">
                    <a:pos x="30" y="0"/>
                  </a:cxn>
                  <a:cxn ang="0">
                    <a:pos x="23" y="0"/>
                  </a:cxn>
                  <a:cxn ang="0">
                    <a:pos x="1" y="22"/>
                  </a:cxn>
                  <a:cxn ang="0">
                    <a:pos x="0" y="78"/>
                  </a:cxn>
                  <a:cxn ang="0">
                    <a:pos x="4" y="81"/>
                  </a:cxn>
                  <a:cxn ang="0">
                    <a:pos x="7" y="78"/>
                  </a:cxn>
                  <a:cxn ang="0">
                    <a:pos x="7" y="22"/>
                  </a:cxn>
                  <a:cxn ang="0">
                    <a:pos x="23" y="7"/>
                  </a:cxn>
                  <a:cxn ang="0">
                    <a:pos x="30" y="7"/>
                  </a:cxn>
                  <a:cxn ang="0">
                    <a:pos x="44" y="22"/>
                  </a:cxn>
                  <a:cxn ang="0">
                    <a:pos x="43" y="97"/>
                  </a:cxn>
                  <a:cxn ang="0">
                    <a:pos x="39" y="109"/>
                  </a:cxn>
                  <a:cxn ang="0">
                    <a:pos x="28" y="112"/>
                  </a:cxn>
                  <a:cxn ang="0">
                    <a:pos x="19" y="108"/>
                  </a:cxn>
                  <a:cxn ang="0">
                    <a:pos x="16" y="97"/>
                  </a:cxn>
                  <a:cxn ang="0">
                    <a:pos x="16" y="55"/>
                  </a:cxn>
                  <a:cxn ang="0">
                    <a:pos x="10" y="56"/>
                  </a:cxn>
                  <a:cxn ang="0">
                    <a:pos x="9" y="97"/>
                  </a:cxn>
                  <a:cxn ang="0">
                    <a:pos x="14" y="112"/>
                  </a:cxn>
                  <a:cxn ang="0">
                    <a:pos x="28" y="119"/>
                  </a:cxn>
                  <a:cxn ang="0">
                    <a:pos x="44" y="114"/>
                  </a:cxn>
                  <a:cxn ang="0">
                    <a:pos x="50" y="97"/>
                  </a:cxn>
                  <a:cxn ang="0">
                    <a:pos x="51" y="42"/>
                  </a:cxn>
                  <a:cxn ang="0">
                    <a:pos x="51" y="22"/>
                  </a:cxn>
                  <a:cxn ang="0">
                    <a:pos x="30" y="0"/>
                  </a:cxn>
                </a:cxnLst>
                <a:rect l="0" t="0" r="r" b="b"/>
                <a:pathLst>
                  <a:path w="51" h="119">
                    <a:moveTo>
                      <a:pt x="30" y="0"/>
                    </a:moveTo>
                    <a:cubicBezTo>
                      <a:pt x="23" y="0"/>
                      <a:pt x="23" y="0"/>
                      <a:pt x="23" y="0"/>
                    </a:cubicBezTo>
                    <a:cubicBezTo>
                      <a:pt x="11" y="0"/>
                      <a:pt x="1" y="10"/>
                      <a:pt x="1" y="22"/>
                    </a:cubicBezTo>
                    <a:cubicBezTo>
                      <a:pt x="0" y="78"/>
                      <a:pt x="0" y="78"/>
                      <a:pt x="0" y="78"/>
                    </a:cubicBezTo>
                    <a:cubicBezTo>
                      <a:pt x="0" y="80"/>
                      <a:pt x="2" y="81"/>
                      <a:pt x="4" y="81"/>
                    </a:cubicBezTo>
                    <a:cubicBezTo>
                      <a:pt x="5" y="81"/>
                      <a:pt x="7" y="80"/>
                      <a:pt x="7" y="78"/>
                    </a:cubicBezTo>
                    <a:cubicBezTo>
                      <a:pt x="7" y="22"/>
                      <a:pt x="7" y="22"/>
                      <a:pt x="7" y="22"/>
                    </a:cubicBezTo>
                    <a:cubicBezTo>
                      <a:pt x="8" y="13"/>
                      <a:pt x="14" y="7"/>
                      <a:pt x="23" y="7"/>
                    </a:cubicBezTo>
                    <a:cubicBezTo>
                      <a:pt x="30" y="7"/>
                      <a:pt x="30" y="7"/>
                      <a:pt x="30" y="7"/>
                    </a:cubicBezTo>
                    <a:cubicBezTo>
                      <a:pt x="38" y="7"/>
                      <a:pt x="45" y="14"/>
                      <a:pt x="44" y="22"/>
                    </a:cubicBezTo>
                    <a:cubicBezTo>
                      <a:pt x="43" y="97"/>
                      <a:pt x="43" y="97"/>
                      <a:pt x="43" y="97"/>
                    </a:cubicBezTo>
                    <a:cubicBezTo>
                      <a:pt x="43" y="103"/>
                      <a:pt x="42" y="106"/>
                      <a:pt x="39" y="109"/>
                    </a:cubicBezTo>
                    <a:cubicBezTo>
                      <a:pt x="37" y="111"/>
                      <a:pt x="33" y="112"/>
                      <a:pt x="28" y="112"/>
                    </a:cubicBezTo>
                    <a:cubicBezTo>
                      <a:pt x="23" y="112"/>
                      <a:pt x="20" y="111"/>
                      <a:pt x="19" y="108"/>
                    </a:cubicBezTo>
                    <a:cubicBezTo>
                      <a:pt x="17" y="106"/>
                      <a:pt x="16" y="102"/>
                      <a:pt x="16" y="97"/>
                    </a:cubicBezTo>
                    <a:cubicBezTo>
                      <a:pt x="16" y="77"/>
                      <a:pt x="16" y="64"/>
                      <a:pt x="16" y="55"/>
                    </a:cubicBezTo>
                    <a:cubicBezTo>
                      <a:pt x="10" y="56"/>
                      <a:pt x="10" y="56"/>
                      <a:pt x="10" y="56"/>
                    </a:cubicBezTo>
                    <a:cubicBezTo>
                      <a:pt x="9" y="97"/>
                      <a:pt x="9" y="97"/>
                      <a:pt x="9" y="97"/>
                    </a:cubicBezTo>
                    <a:cubicBezTo>
                      <a:pt x="9" y="103"/>
                      <a:pt x="10" y="108"/>
                      <a:pt x="14" y="112"/>
                    </a:cubicBezTo>
                    <a:cubicBezTo>
                      <a:pt x="17" y="116"/>
                      <a:pt x="22" y="119"/>
                      <a:pt x="28" y="119"/>
                    </a:cubicBezTo>
                    <a:cubicBezTo>
                      <a:pt x="34" y="119"/>
                      <a:pt x="40" y="117"/>
                      <a:pt x="44" y="114"/>
                    </a:cubicBezTo>
                    <a:cubicBezTo>
                      <a:pt x="48" y="110"/>
                      <a:pt x="50" y="104"/>
                      <a:pt x="50" y="97"/>
                    </a:cubicBezTo>
                    <a:cubicBezTo>
                      <a:pt x="51" y="42"/>
                      <a:pt x="51" y="42"/>
                      <a:pt x="51" y="42"/>
                    </a:cubicBezTo>
                    <a:cubicBezTo>
                      <a:pt x="51" y="22"/>
                      <a:pt x="51" y="22"/>
                      <a:pt x="51" y="22"/>
                    </a:cubicBezTo>
                    <a:cubicBezTo>
                      <a:pt x="51" y="10"/>
                      <a:pt x="41" y="1"/>
                      <a:pt x="30" y="0"/>
                    </a:cubicBezTo>
                    <a:close/>
                  </a:path>
                </a:pathLst>
              </a:custGeom>
              <a:solidFill>
                <a:schemeClr val="bg1"/>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grpSp>
      <p:grpSp>
        <p:nvGrpSpPr>
          <p:cNvPr id="22" name="Group 21"/>
          <p:cNvGrpSpPr/>
          <p:nvPr/>
        </p:nvGrpSpPr>
        <p:grpSpPr>
          <a:xfrm rot="346655">
            <a:off x="8079014" y="2891665"/>
            <a:ext cx="3514904" cy="3980543"/>
            <a:chOff x="7398188" y="2774614"/>
            <a:chExt cx="3514904" cy="3980543"/>
          </a:xfrm>
        </p:grpSpPr>
        <p:sp>
          <p:nvSpPr>
            <p:cNvPr id="28" name="Rechteck 66"/>
            <p:cNvSpPr/>
            <p:nvPr/>
          </p:nvSpPr>
          <p:spPr bwMode="gray">
            <a:xfrm flipH="1">
              <a:off x="9086651" y="4896934"/>
              <a:ext cx="45719" cy="1858223"/>
            </a:xfrm>
            <a:prstGeom prst="rect">
              <a:avLst/>
            </a:prstGeom>
            <a:solidFill>
              <a:schemeClr val="bg1">
                <a:lumMod val="40000"/>
                <a:lumOff val="6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dirty="0"/>
            </a:p>
          </p:txBody>
        </p:sp>
        <p:sp>
          <p:nvSpPr>
            <p:cNvPr id="30" name="TextBox 29"/>
            <p:cNvSpPr txBox="1"/>
            <p:nvPr/>
          </p:nvSpPr>
          <p:spPr>
            <a:xfrm>
              <a:off x="7398188" y="2774614"/>
              <a:ext cx="3514904" cy="2159720"/>
            </a:xfrm>
            <a:prstGeom prst="rect">
              <a:avLst/>
            </a:prstGeom>
            <a:solidFill>
              <a:schemeClr val="bg1">
                <a:lumMod val="60000"/>
                <a:lumOff val="40000"/>
              </a:schemeClr>
            </a:solidFill>
            <a:ln w="19050">
              <a:solidFill>
                <a:schemeClr val="bg1">
                  <a:lumMod val="60000"/>
                  <a:lumOff val="40000"/>
                </a:schemeClr>
              </a:solidFill>
            </a:ln>
          </p:spPr>
          <p:txBody>
            <a:bodyPr wrap="square" lIns="274320" tIns="274320" rIns="274320" bIns="274320" rtlCol="0">
              <a:noAutofit/>
            </a:bodyPr>
            <a:lstStyle/>
            <a:p>
              <a:pPr>
                <a:spcAft>
                  <a:spcPts val="1800"/>
                </a:spcAft>
              </a:pPr>
              <a:r>
                <a:rPr lang="en-US" sz="2400" dirty="0">
                  <a:solidFill>
                    <a:schemeClr val="tx2"/>
                  </a:solidFill>
                  <a:latin typeface="EYInterstate Light" panose="02000506000000020004" pitchFamily="2" charset="0"/>
                </a:rPr>
                <a:t>This moment marks the earliest stages </a:t>
              </a:r>
              <a:br>
                <a:rPr lang="en-US" sz="2400" dirty="0">
                  <a:solidFill>
                    <a:schemeClr val="tx2"/>
                  </a:solidFill>
                  <a:latin typeface="EYInterstate Light" panose="02000506000000020004" pitchFamily="2" charset="0"/>
                </a:rPr>
              </a:br>
              <a:r>
                <a:rPr lang="en-US" sz="2400" dirty="0">
                  <a:solidFill>
                    <a:schemeClr val="tx2"/>
                  </a:solidFill>
                  <a:latin typeface="EYInterstate Light" panose="02000506000000020004" pitchFamily="2" charset="0"/>
                </a:rPr>
                <a:t>of a potential pursuit for EY</a:t>
              </a:r>
            </a:p>
          </p:txBody>
        </p:sp>
        <p:grpSp>
          <p:nvGrpSpPr>
            <p:cNvPr id="31" name="Gruppieren 145"/>
            <p:cNvGrpSpPr/>
            <p:nvPr/>
          </p:nvGrpSpPr>
          <p:grpSpPr bwMode="gray">
            <a:xfrm>
              <a:off x="9024908" y="4776684"/>
              <a:ext cx="166929" cy="389501"/>
              <a:chOff x="2217736" y="3579814"/>
              <a:chExt cx="190500" cy="444500"/>
            </a:xfrm>
            <a:effectLst/>
          </p:grpSpPr>
          <p:sp>
            <p:nvSpPr>
              <p:cNvPr id="32" name="Freeform 6"/>
              <p:cNvSpPr>
                <a:spLocks/>
              </p:cNvSpPr>
              <p:nvPr/>
            </p:nvSpPr>
            <p:spPr bwMode="gray">
              <a:xfrm>
                <a:off x="2347913" y="3778251"/>
                <a:ext cx="23813" cy="107950"/>
              </a:xfrm>
              <a:custGeom>
                <a:avLst/>
                <a:gdLst/>
                <a:ahLst/>
                <a:cxnLst>
                  <a:cxn ang="0">
                    <a:pos x="0" y="26"/>
                  </a:cxn>
                  <a:cxn ang="0">
                    <a:pos x="3" y="29"/>
                  </a:cxn>
                  <a:cxn ang="0">
                    <a:pos x="6" y="26"/>
                  </a:cxn>
                  <a:cxn ang="0">
                    <a:pos x="6" y="0"/>
                  </a:cxn>
                  <a:cxn ang="0">
                    <a:pos x="0" y="1"/>
                  </a:cxn>
                  <a:cxn ang="0">
                    <a:pos x="0" y="26"/>
                  </a:cxn>
                </a:cxnLst>
                <a:rect l="0" t="0" r="r" b="b"/>
                <a:pathLst>
                  <a:path w="6" h="29">
                    <a:moveTo>
                      <a:pt x="0" y="26"/>
                    </a:moveTo>
                    <a:cubicBezTo>
                      <a:pt x="0" y="28"/>
                      <a:pt x="1" y="29"/>
                      <a:pt x="3" y="29"/>
                    </a:cubicBezTo>
                    <a:cubicBezTo>
                      <a:pt x="5" y="29"/>
                      <a:pt x="6" y="28"/>
                      <a:pt x="6" y="26"/>
                    </a:cubicBezTo>
                    <a:cubicBezTo>
                      <a:pt x="6" y="15"/>
                      <a:pt x="6" y="6"/>
                      <a:pt x="6" y="0"/>
                    </a:cubicBezTo>
                    <a:cubicBezTo>
                      <a:pt x="0" y="1"/>
                      <a:pt x="0" y="1"/>
                      <a:pt x="0" y="1"/>
                    </a:cubicBezTo>
                    <a:cubicBezTo>
                      <a:pt x="0" y="26"/>
                      <a:pt x="0" y="26"/>
                      <a:pt x="0" y="26"/>
                    </a:cubicBezTo>
                    <a:close/>
                  </a:path>
                </a:pathLst>
              </a:custGeom>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sp>
            <p:nvSpPr>
              <p:cNvPr id="33" name="Freeform 7"/>
              <p:cNvSpPr>
                <a:spLocks/>
              </p:cNvSpPr>
              <p:nvPr/>
            </p:nvSpPr>
            <p:spPr bwMode="gray">
              <a:xfrm>
                <a:off x="2217736" y="3579814"/>
                <a:ext cx="190500" cy="444500"/>
              </a:xfrm>
              <a:custGeom>
                <a:avLst/>
                <a:gdLst/>
                <a:ahLst/>
                <a:cxnLst>
                  <a:cxn ang="0">
                    <a:pos x="30" y="0"/>
                  </a:cxn>
                  <a:cxn ang="0">
                    <a:pos x="23" y="0"/>
                  </a:cxn>
                  <a:cxn ang="0">
                    <a:pos x="1" y="22"/>
                  </a:cxn>
                  <a:cxn ang="0">
                    <a:pos x="0" y="78"/>
                  </a:cxn>
                  <a:cxn ang="0">
                    <a:pos x="4" y="81"/>
                  </a:cxn>
                  <a:cxn ang="0">
                    <a:pos x="7" y="78"/>
                  </a:cxn>
                  <a:cxn ang="0">
                    <a:pos x="7" y="22"/>
                  </a:cxn>
                  <a:cxn ang="0">
                    <a:pos x="23" y="7"/>
                  </a:cxn>
                  <a:cxn ang="0">
                    <a:pos x="30" y="7"/>
                  </a:cxn>
                  <a:cxn ang="0">
                    <a:pos x="44" y="22"/>
                  </a:cxn>
                  <a:cxn ang="0">
                    <a:pos x="43" y="97"/>
                  </a:cxn>
                  <a:cxn ang="0">
                    <a:pos x="39" y="109"/>
                  </a:cxn>
                  <a:cxn ang="0">
                    <a:pos x="28" y="112"/>
                  </a:cxn>
                  <a:cxn ang="0">
                    <a:pos x="19" y="108"/>
                  </a:cxn>
                  <a:cxn ang="0">
                    <a:pos x="16" y="97"/>
                  </a:cxn>
                  <a:cxn ang="0">
                    <a:pos x="16" y="55"/>
                  </a:cxn>
                  <a:cxn ang="0">
                    <a:pos x="10" y="56"/>
                  </a:cxn>
                  <a:cxn ang="0">
                    <a:pos x="9" y="97"/>
                  </a:cxn>
                  <a:cxn ang="0">
                    <a:pos x="14" y="112"/>
                  </a:cxn>
                  <a:cxn ang="0">
                    <a:pos x="28" y="119"/>
                  </a:cxn>
                  <a:cxn ang="0">
                    <a:pos x="44" y="114"/>
                  </a:cxn>
                  <a:cxn ang="0">
                    <a:pos x="50" y="97"/>
                  </a:cxn>
                  <a:cxn ang="0">
                    <a:pos x="51" y="42"/>
                  </a:cxn>
                  <a:cxn ang="0">
                    <a:pos x="51" y="22"/>
                  </a:cxn>
                  <a:cxn ang="0">
                    <a:pos x="30" y="0"/>
                  </a:cxn>
                </a:cxnLst>
                <a:rect l="0" t="0" r="r" b="b"/>
                <a:pathLst>
                  <a:path w="51" h="119">
                    <a:moveTo>
                      <a:pt x="30" y="0"/>
                    </a:moveTo>
                    <a:cubicBezTo>
                      <a:pt x="23" y="0"/>
                      <a:pt x="23" y="0"/>
                      <a:pt x="23" y="0"/>
                    </a:cubicBezTo>
                    <a:cubicBezTo>
                      <a:pt x="11" y="0"/>
                      <a:pt x="1" y="10"/>
                      <a:pt x="1" y="22"/>
                    </a:cubicBezTo>
                    <a:cubicBezTo>
                      <a:pt x="0" y="78"/>
                      <a:pt x="0" y="78"/>
                      <a:pt x="0" y="78"/>
                    </a:cubicBezTo>
                    <a:cubicBezTo>
                      <a:pt x="0" y="80"/>
                      <a:pt x="2" y="81"/>
                      <a:pt x="4" y="81"/>
                    </a:cubicBezTo>
                    <a:cubicBezTo>
                      <a:pt x="5" y="81"/>
                      <a:pt x="7" y="80"/>
                      <a:pt x="7" y="78"/>
                    </a:cubicBezTo>
                    <a:cubicBezTo>
                      <a:pt x="7" y="22"/>
                      <a:pt x="7" y="22"/>
                      <a:pt x="7" y="22"/>
                    </a:cubicBezTo>
                    <a:cubicBezTo>
                      <a:pt x="8" y="13"/>
                      <a:pt x="14" y="7"/>
                      <a:pt x="23" y="7"/>
                    </a:cubicBezTo>
                    <a:cubicBezTo>
                      <a:pt x="30" y="7"/>
                      <a:pt x="30" y="7"/>
                      <a:pt x="30" y="7"/>
                    </a:cubicBezTo>
                    <a:cubicBezTo>
                      <a:pt x="38" y="7"/>
                      <a:pt x="45" y="14"/>
                      <a:pt x="44" y="22"/>
                    </a:cubicBezTo>
                    <a:cubicBezTo>
                      <a:pt x="43" y="97"/>
                      <a:pt x="43" y="97"/>
                      <a:pt x="43" y="97"/>
                    </a:cubicBezTo>
                    <a:cubicBezTo>
                      <a:pt x="43" y="103"/>
                      <a:pt x="42" y="106"/>
                      <a:pt x="39" y="109"/>
                    </a:cubicBezTo>
                    <a:cubicBezTo>
                      <a:pt x="37" y="111"/>
                      <a:pt x="33" y="112"/>
                      <a:pt x="28" y="112"/>
                    </a:cubicBezTo>
                    <a:cubicBezTo>
                      <a:pt x="23" y="112"/>
                      <a:pt x="20" y="111"/>
                      <a:pt x="19" y="108"/>
                    </a:cubicBezTo>
                    <a:cubicBezTo>
                      <a:pt x="17" y="106"/>
                      <a:pt x="16" y="102"/>
                      <a:pt x="16" y="97"/>
                    </a:cubicBezTo>
                    <a:cubicBezTo>
                      <a:pt x="16" y="77"/>
                      <a:pt x="16" y="64"/>
                      <a:pt x="16" y="55"/>
                    </a:cubicBezTo>
                    <a:cubicBezTo>
                      <a:pt x="10" y="56"/>
                      <a:pt x="10" y="56"/>
                      <a:pt x="10" y="56"/>
                    </a:cubicBezTo>
                    <a:cubicBezTo>
                      <a:pt x="9" y="97"/>
                      <a:pt x="9" y="97"/>
                      <a:pt x="9" y="97"/>
                    </a:cubicBezTo>
                    <a:cubicBezTo>
                      <a:pt x="9" y="103"/>
                      <a:pt x="10" y="108"/>
                      <a:pt x="14" y="112"/>
                    </a:cubicBezTo>
                    <a:cubicBezTo>
                      <a:pt x="17" y="116"/>
                      <a:pt x="22" y="119"/>
                      <a:pt x="28" y="119"/>
                    </a:cubicBezTo>
                    <a:cubicBezTo>
                      <a:pt x="34" y="119"/>
                      <a:pt x="40" y="117"/>
                      <a:pt x="44" y="114"/>
                    </a:cubicBezTo>
                    <a:cubicBezTo>
                      <a:pt x="48" y="110"/>
                      <a:pt x="50" y="104"/>
                      <a:pt x="50" y="97"/>
                    </a:cubicBezTo>
                    <a:cubicBezTo>
                      <a:pt x="51" y="42"/>
                      <a:pt x="51" y="42"/>
                      <a:pt x="51" y="42"/>
                    </a:cubicBezTo>
                    <a:cubicBezTo>
                      <a:pt x="51" y="22"/>
                      <a:pt x="51" y="22"/>
                      <a:pt x="51" y="22"/>
                    </a:cubicBezTo>
                    <a:cubicBezTo>
                      <a:pt x="51" y="10"/>
                      <a:pt x="41" y="1"/>
                      <a:pt x="30" y="0"/>
                    </a:cubicBezTo>
                    <a:close/>
                  </a:path>
                </a:pathLst>
              </a:custGeom>
              <a:solidFill>
                <a:schemeClr val="bg1"/>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grpSp>
      </p:grpSp>
      <p:sp>
        <p:nvSpPr>
          <p:cNvPr id="47" name="Rechteck 66">
            <a:extLst>
              <a:ext uri="{FF2B5EF4-FFF2-40B4-BE49-F238E27FC236}">
                <a16:creationId xmlns:a16="http://schemas.microsoft.com/office/drawing/2014/main" id="{542C5849-DAE6-44DD-947C-3C341B0B55E4}"/>
              </a:ext>
            </a:extLst>
          </p:cNvPr>
          <p:cNvSpPr/>
          <p:nvPr/>
        </p:nvSpPr>
        <p:spPr bwMode="gray">
          <a:xfrm flipH="1">
            <a:off x="6244784" y="4578331"/>
            <a:ext cx="45719" cy="2279669"/>
          </a:xfrm>
          <a:prstGeom prst="rect">
            <a:avLst/>
          </a:prstGeom>
          <a:solidFill>
            <a:schemeClr val="bg1">
              <a:lumMod val="40000"/>
              <a:lumOff val="6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dirty="0"/>
          </a:p>
        </p:txBody>
      </p:sp>
    </p:spTree>
    <p:extLst>
      <p:ext uri="{BB962C8B-B14F-4D97-AF65-F5344CB8AC3E}">
        <p14:creationId xmlns:p14="http://schemas.microsoft.com/office/powerpoint/2010/main" val="2771611746"/>
      </p:ext>
    </p:extLst>
  </p:cSld>
  <p:clrMapOvr>
    <a:masterClrMapping/>
  </p:clrMapOvr>
  <mc:AlternateContent xmlns:mc="http://schemas.openxmlformats.org/markup-compatibility/2006" xmlns:p14="http://schemas.microsoft.com/office/powerpoint/2010/main">
    <mc:Choice Requires="p14">
      <p:transition spd="slow" p14:dur="1500" advTm="9665">
        <p:split orient="vert"/>
      </p:transition>
    </mc:Choice>
    <mc:Fallback xmlns="">
      <p:transition spd="slow" advTm="9665">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p:cNvSpPr txBox="1"/>
          <p:nvPr/>
        </p:nvSpPr>
        <p:spPr>
          <a:xfrm>
            <a:off x="2366934" y="4870067"/>
            <a:ext cx="6823563" cy="1118507"/>
          </a:xfrm>
          <a:prstGeom prst="rect">
            <a:avLst/>
          </a:prstGeom>
          <a:noFill/>
          <a:ln>
            <a:solidFill>
              <a:schemeClr val="tx1"/>
            </a:solidFill>
            <a:prstDash val="dash"/>
          </a:ln>
        </p:spPr>
        <p:txBody>
          <a:bodyPr wrap="square" lIns="182880" tIns="0" rIns="0" bIns="0" rtlCol="0" anchor="ctr">
            <a:noAutofit/>
          </a:bodyPr>
          <a:lstStyle/>
          <a:p>
            <a:pPr algn="ctr">
              <a:spcAft>
                <a:spcPts val="600"/>
              </a:spcAft>
              <a:buClr>
                <a:schemeClr val="accent2"/>
              </a:buClr>
              <a:buSzPct val="70000"/>
            </a:pPr>
            <a:r>
              <a:rPr lang="en-US" sz="1600" dirty="0">
                <a:solidFill>
                  <a:schemeClr val="bg1"/>
                </a:solidFill>
                <a:latin typeface="EYInterstate" panose="02000503020000020004" pitchFamily="2" charset="0"/>
                <a:ea typeface="Times New Roman"/>
                <a:cs typeface="Arial" panose="020B0604020202020204" pitchFamily="34" charset="0"/>
              </a:rPr>
              <a:t>The pursuit lifecycle is </a:t>
            </a:r>
            <a:r>
              <a:rPr lang="en-US" sz="1600" b="1" u="sng" dirty="0">
                <a:solidFill>
                  <a:schemeClr val="bg1"/>
                </a:solidFill>
                <a:latin typeface="EYInterstate" panose="02000503020000020004" pitchFamily="2" charset="0"/>
                <a:ea typeface="Times New Roman"/>
                <a:cs typeface="Arial" panose="020B0604020202020204" pitchFamily="34" charset="0"/>
              </a:rPr>
              <a:t>not</a:t>
            </a:r>
            <a:r>
              <a:rPr lang="en-US" sz="1600" b="1" dirty="0">
                <a:solidFill>
                  <a:schemeClr val="bg1"/>
                </a:solidFill>
                <a:latin typeface="EYInterstate" panose="02000503020000020004" pitchFamily="2" charset="0"/>
                <a:ea typeface="Times New Roman"/>
                <a:cs typeface="Arial" panose="020B0604020202020204" pitchFamily="34" charset="0"/>
              </a:rPr>
              <a:t> </a:t>
            </a:r>
            <a:r>
              <a:rPr lang="en-US" sz="1600" dirty="0">
                <a:solidFill>
                  <a:schemeClr val="bg1"/>
                </a:solidFill>
                <a:latin typeface="EYInterstate" panose="02000503020000020004" pitchFamily="2" charset="0"/>
                <a:ea typeface="Times New Roman"/>
                <a:cs typeface="Arial" panose="020B0604020202020204" pitchFamily="34" charset="0"/>
              </a:rPr>
              <a:t>a linear process; it is dynamic</a:t>
            </a:r>
          </a:p>
          <a:p>
            <a:pPr marR="0" lvl="0" algn="ctr">
              <a:spcAft>
                <a:spcPts val="600"/>
              </a:spcAft>
              <a:buClr>
                <a:schemeClr val="accent2"/>
              </a:buClr>
              <a:buSzPct val="70000"/>
            </a:pPr>
            <a:r>
              <a:rPr lang="en-US" sz="1600" dirty="0">
                <a:solidFill>
                  <a:schemeClr val="bg1"/>
                </a:solidFill>
                <a:latin typeface="EYInterstate" panose="02000503020000020004" pitchFamily="2" charset="0"/>
                <a:ea typeface="Times New Roman"/>
                <a:cs typeface="Arial" panose="020B0604020202020204" pitchFamily="34" charset="0"/>
              </a:rPr>
              <a:t>Every pursuit will have a different path</a:t>
            </a:r>
          </a:p>
        </p:txBody>
      </p:sp>
      <p:sp>
        <p:nvSpPr>
          <p:cNvPr id="54" name="Title 1"/>
          <p:cNvSpPr>
            <a:spLocks noGrp="1"/>
          </p:cNvSpPr>
          <p:nvPr>
            <p:ph type="title"/>
          </p:nvPr>
        </p:nvSpPr>
        <p:spPr>
          <a:xfrm>
            <a:off x="609918" y="373050"/>
            <a:ext cx="10978515" cy="419088"/>
          </a:xfrm>
          <a:ln>
            <a:noFill/>
          </a:ln>
        </p:spPr>
        <p:txBody>
          <a:bodyPr anchor="ctr"/>
          <a:lstStyle/>
          <a:p>
            <a:pPr>
              <a:lnSpc>
                <a:spcPts val="2500"/>
              </a:lnSpc>
            </a:pPr>
            <a:r>
              <a:rPr lang="en-US" sz="2400" dirty="0">
                <a:solidFill>
                  <a:schemeClr val="bg1">
                    <a:lumMod val="75000"/>
                  </a:schemeClr>
                </a:solidFill>
                <a:latin typeface="EYInterstate" panose="02000503020000020004" pitchFamily="2" charset="0"/>
              </a:rPr>
              <a:t>Pursuit lifecycle</a:t>
            </a:r>
            <a:br>
              <a:rPr lang="en-US" sz="2400" dirty="0">
                <a:solidFill>
                  <a:schemeClr val="bg1">
                    <a:lumMod val="75000"/>
                  </a:schemeClr>
                </a:solidFill>
                <a:latin typeface="EYInterstate" panose="02000503020000020004" pitchFamily="2" charset="0"/>
              </a:rPr>
            </a:br>
            <a:r>
              <a:rPr lang="en-US" sz="2400" b="0" dirty="0">
                <a:solidFill>
                  <a:schemeClr val="bg1">
                    <a:lumMod val="75000"/>
                  </a:schemeClr>
                </a:solidFill>
                <a:latin typeface="EYInterstate" panose="02000503020000020004" pitchFamily="2" charset="0"/>
              </a:rPr>
              <a:t>Framework</a:t>
            </a:r>
          </a:p>
        </p:txBody>
      </p:sp>
      <p:grpSp>
        <p:nvGrpSpPr>
          <p:cNvPr id="132" name="Group 131"/>
          <p:cNvGrpSpPr/>
          <p:nvPr/>
        </p:nvGrpSpPr>
        <p:grpSpPr>
          <a:xfrm>
            <a:off x="7069138" y="1264506"/>
            <a:ext cx="4257675" cy="1697769"/>
            <a:chOff x="7069138" y="1264506"/>
            <a:chExt cx="4257675" cy="1697769"/>
          </a:xfrm>
        </p:grpSpPr>
        <p:grpSp>
          <p:nvGrpSpPr>
            <p:cNvPr id="133" name="Group 132"/>
            <p:cNvGrpSpPr/>
            <p:nvPr/>
          </p:nvGrpSpPr>
          <p:grpSpPr>
            <a:xfrm>
              <a:off x="7512046" y="1264506"/>
              <a:ext cx="3704469" cy="1444810"/>
              <a:chOff x="7512046" y="1264506"/>
              <a:chExt cx="3704469" cy="1444810"/>
            </a:xfrm>
          </p:grpSpPr>
          <p:grpSp>
            <p:nvGrpSpPr>
              <p:cNvPr id="135" name="Gruppieren 73"/>
              <p:cNvGrpSpPr/>
              <p:nvPr/>
            </p:nvGrpSpPr>
            <p:grpSpPr bwMode="gray">
              <a:xfrm>
                <a:off x="10888732" y="2047913"/>
                <a:ext cx="327783" cy="661403"/>
                <a:chOff x="8462152" y="2938643"/>
                <a:chExt cx="253232" cy="510974"/>
              </a:xfrm>
              <a:solidFill>
                <a:schemeClr val="accent6"/>
              </a:solidFill>
            </p:grpSpPr>
            <p:sp>
              <p:nvSpPr>
                <p:cNvPr id="138" name="Rechteck 76"/>
                <p:cNvSpPr/>
                <p:nvPr/>
              </p:nvSpPr>
              <p:spPr bwMode="gray">
                <a:xfrm>
                  <a:off x="8462152" y="2953931"/>
                  <a:ext cx="35924" cy="495686"/>
                </a:xfrm>
                <a:prstGeom prst="rect">
                  <a:avLst/>
                </a:prstGeom>
                <a:grpFill/>
                <a:ln w="12700">
                  <a:solidFill>
                    <a:schemeClr val="tx1"/>
                  </a:solidFill>
                  <a:round/>
                  <a:headEnd/>
                  <a:tailEnd/>
                </a:ln>
              </p:spPr>
              <p:txBody>
                <a:bodyPr rtlCol="0" anchor="ctr"/>
                <a:lstStyle/>
                <a:p>
                  <a:pPr algn="ctr"/>
                  <a:endParaRPr lang="en-US" dirty="0">
                    <a:solidFill>
                      <a:schemeClr val="bg1"/>
                    </a:solidFill>
                  </a:endParaRPr>
                </a:p>
              </p:txBody>
            </p:sp>
            <p:sp>
              <p:nvSpPr>
                <p:cNvPr id="139" name="Freeform 9"/>
                <p:cNvSpPr>
                  <a:spLocks/>
                </p:cNvSpPr>
                <p:nvPr/>
              </p:nvSpPr>
              <p:spPr bwMode="gray">
                <a:xfrm>
                  <a:off x="8498076" y="2938643"/>
                  <a:ext cx="217308" cy="139273"/>
                </a:xfrm>
                <a:custGeom>
                  <a:avLst/>
                  <a:gdLst/>
                  <a:ahLst/>
                  <a:cxnLst>
                    <a:cxn ang="0">
                      <a:pos x="149" y="106"/>
                    </a:cxn>
                    <a:cxn ang="0">
                      <a:pos x="111" y="77"/>
                    </a:cxn>
                    <a:cxn ang="0">
                      <a:pos x="97" y="43"/>
                    </a:cxn>
                    <a:cxn ang="0">
                      <a:pos x="0" y="24"/>
                    </a:cxn>
                    <a:cxn ang="0">
                      <a:pos x="0" y="60"/>
                    </a:cxn>
                    <a:cxn ang="0">
                      <a:pos x="70" y="37"/>
                    </a:cxn>
                    <a:cxn ang="0">
                      <a:pos x="115" y="124"/>
                    </a:cxn>
                    <a:cxn ang="0">
                      <a:pos x="116" y="124"/>
                    </a:cxn>
                    <a:cxn ang="0">
                      <a:pos x="162" y="125"/>
                    </a:cxn>
                    <a:cxn ang="0">
                      <a:pos x="162" y="123"/>
                    </a:cxn>
                    <a:cxn ang="0">
                      <a:pos x="186" y="104"/>
                    </a:cxn>
                    <a:cxn ang="0">
                      <a:pos x="149" y="106"/>
                    </a:cxn>
                  </a:cxnLst>
                  <a:rect l="0" t="0" r="r" b="b"/>
                  <a:pathLst>
                    <a:path w="186" h="135">
                      <a:moveTo>
                        <a:pt x="149" y="106"/>
                      </a:moveTo>
                      <a:cubicBezTo>
                        <a:pt x="136" y="110"/>
                        <a:pt x="123" y="101"/>
                        <a:pt x="111" y="77"/>
                      </a:cubicBezTo>
                      <a:cubicBezTo>
                        <a:pt x="106" y="68"/>
                        <a:pt x="101" y="56"/>
                        <a:pt x="97" y="43"/>
                      </a:cubicBezTo>
                      <a:cubicBezTo>
                        <a:pt x="82" y="0"/>
                        <a:pt x="29" y="13"/>
                        <a:pt x="0" y="24"/>
                      </a:cubicBezTo>
                      <a:cubicBezTo>
                        <a:pt x="0" y="60"/>
                        <a:pt x="0" y="60"/>
                        <a:pt x="0" y="60"/>
                      </a:cubicBezTo>
                      <a:cubicBezTo>
                        <a:pt x="26" y="51"/>
                        <a:pt x="53" y="38"/>
                        <a:pt x="70" y="37"/>
                      </a:cubicBezTo>
                      <a:cubicBezTo>
                        <a:pt x="98" y="37"/>
                        <a:pt x="99" y="111"/>
                        <a:pt x="115" y="124"/>
                      </a:cubicBezTo>
                      <a:cubicBezTo>
                        <a:pt x="115" y="124"/>
                        <a:pt x="116" y="124"/>
                        <a:pt x="116" y="124"/>
                      </a:cubicBezTo>
                      <a:cubicBezTo>
                        <a:pt x="132" y="135"/>
                        <a:pt x="162" y="125"/>
                        <a:pt x="162" y="125"/>
                      </a:cubicBezTo>
                      <a:cubicBezTo>
                        <a:pt x="162" y="123"/>
                        <a:pt x="162" y="123"/>
                        <a:pt x="162" y="123"/>
                      </a:cubicBezTo>
                      <a:cubicBezTo>
                        <a:pt x="186" y="104"/>
                        <a:pt x="186" y="104"/>
                        <a:pt x="186" y="104"/>
                      </a:cubicBezTo>
                      <a:cubicBezTo>
                        <a:pt x="149" y="114"/>
                        <a:pt x="164" y="102"/>
                        <a:pt x="149" y="106"/>
                      </a:cubicBezTo>
                      <a:close/>
                    </a:path>
                  </a:pathLst>
                </a:custGeom>
                <a:grpFill/>
                <a:ln w="12700">
                  <a:solidFill>
                    <a:schemeClr val="tx1"/>
                  </a:solidFill>
                  <a:miter lim="800000"/>
                  <a:headEnd/>
                  <a:tailEnd/>
                </a:ln>
                <a:effectLst/>
              </p:spPr>
              <p:txBody>
                <a:bodyPr lIns="72000" tIns="0" rIns="0" bIns="0" anchor="ctr" anchorCtr="0"/>
                <a:lstStyle/>
                <a:p>
                  <a:pPr indent="-88900">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endParaRPr lang="en-US" sz="2000" b="1" noProof="1">
                    <a:solidFill>
                      <a:schemeClr val="bg1"/>
                    </a:solidFill>
                    <a:effectLst>
                      <a:innerShdw blurRad="63500" dist="63500" dir="13500000">
                        <a:prstClr val="black">
                          <a:alpha val="50000"/>
                        </a:prstClr>
                      </a:innerShdw>
                    </a:effectLst>
                  </a:endParaRPr>
                </a:p>
              </p:txBody>
            </p:sp>
          </p:grpSp>
          <p:sp>
            <p:nvSpPr>
              <p:cNvPr id="136" name="Freeform 11"/>
              <p:cNvSpPr>
                <a:spLocks noEditPoints="1"/>
              </p:cNvSpPr>
              <p:nvPr/>
            </p:nvSpPr>
            <p:spPr bwMode="gray">
              <a:xfrm>
                <a:off x="9462689" y="1264506"/>
                <a:ext cx="1292841" cy="1294896"/>
              </a:xfrm>
              <a:custGeom>
                <a:avLst/>
                <a:gdLst/>
                <a:ahLst/>
                <a:cxnLst>
                  <a:cxn ang="0">
                    <a:pos x="1071" y="1060"/>
                  </a:cxn>
                  <a:cxn ang="0">
                    <a:pos x="1043" y="1039"/>
                  </a:cxn>
                  <a:cxn ang="0">
                    <a:pos x="994" y="894"/>
                  </a:cxn>
                  <a:cxn ang="0">
                    <a:pos x="959" y="712"/>
                  </a:cxn>
                  <a:cxn ang="0">
                    <a:pos x="863" y="581"/>
                  </a:cxn>
                  <a:cxn ang="0">
                    <a:pos x="835" y="468"/>
                  </a:cxn>
                  <a:cxn ang="0">
                    <a:pos x="876" y="396"/>
                  </a:cxn>
                  <a:cxn ang="0">
                    <a:pos x="966" y="227"/>
                  </a:cxn>
                  <a:cxn ang="0">
                    <a:pos x="992" y="187"/>
                  </a:cxn>
                  <a:cxn ang="0">
                    <a:pos x="1013" y="210"/>
                  </a:cxn>
                  <a:cxn ang="0">
                    <a:pos x="1046" y="200"/>
                  </a:cxn>
                  <a:cxn ang="0">
                    <a:pos x="1057" y="189"/>
                  </a:cxn>
                  <a:cxn ang="0">
                    <a:pos x="1069" y="180"/>
                  </a:cxn>
                  <a:cxn ang="0">
                    <a:pos x="1074" y="178"/>
                  </a:cxn>
                  <a:cxn ang="0">
                    <a:pos x="1082" y="151"/>
                  </a:cxn>
                  <a:cxn ang="0">
                    <a:pos x="1112" y="114"/>
                  </a:cxn>
                  <a:cxn ang="0">
                    <a:pos x="1117" y="89"/>
                  </a:cxn>
                  <a:cxn ang="0">
                    <a:pos x="1020" y="6"/>
                  </a:cxn>
                  <a:cxn ang="0">
                    <a:pos x="859" y="59"/>
                  </a:cxn>
                  <a:cxn ang="0">
                    <a:pos x="742" y="110"/>
                  </a:cxn>
                  <a:cxn ang="0">
                    <a:pos x="505" y="251"/>
                  </a:cxn>
                  <a:cxn ang="0">
                    <a:pos x="394" y="293"/>
                  </a:cxn>
                  <a:cxn ang="0">
                    <a:pos x="413" y="295"/>
                  </a:cxn>
                  <a:cxn ang="0">
                    <a:pos x="392" y="332"/>
                  </a:cxn>
                  <a:cxn ang="0">
                    <a:pos x="411" y="344"/>
                  </a:cxn>
                  <a:cxn ang="0">
                    <a:pos x="432" y="345"/>
                  </a:cxn>
                  <a:cxn ang="0">
                    <a:pos x="477" y="327"/>
                  </a:cxn>
                  <a:cxn ang="0">
                    <a:pos x="515" y="316"/>
                  </a:cxn>
                  <a:cxn ang="0">
                    <a:pos x="452" y="366"/>
                  </a:cxn>
                  <a:cxn ang="0">
                    <a:pos x="367" y="389"/>
                  </a:cxn>
                  <a:cxn ang="0">
                    <a:pos x="402" y="396"/>
                  </a:cxn>
                  <a:cxn ang="0">
                    <a:pos x="352" y="409"/>
                  </a:cxn>
                  <a:cxn ang="0">
                    <a:pos x="363" y="420"/>
                  </a:cxn>
                  <a:cxn ang="0">
                    <a:pos x="362" y="435"/>
                  </a:cxn>
                  <a:cxn ang="0">
                    <a:pos x="409" y="429"/>
                  </a:cxn>
                  <a:cxn ang="0">
                    <a:pos x="369" y="454"/>
                  </a:cxn>
                  <a:cxn ang="0">
                    <a:pos x="425" y="441"/>
                  </a:cxn>
                  <a:cxn ang="0">
                    <a:pos x="443" y="440"/>
                  </a:cxn>
                  <a:cxn ang="0">
                    <a:pos x="502" y="392"/>
                  </a:cxn>
                  <a:cxn ang="0">
                    <a:pos x="658" y="276"/>
                  </a:cxn>
                  <a:cxn ang="0">
                    <a:pos x="640" y="357"/>
                  </a:cxn>
                  <a:cxn ang="0">
                    <a:pos x="577" y="434"/>
                  </a:cxn>
                  <a:cxn ang="0">
                    <a:pos x="480" y="663"/>
                  </a:cxn>
                  <a:cxn ang="0">
                    <a:pos x="325" y="639"/>
                  </a:cxn>
                  <a:cxn ang="0">
                    <a:pos x="188" y="531"/>
                  </a:cxn>
                  <a:cxn ang="0">
                    <a:pos x="60" y="566"/>
                  </a:cxn>
                  <a:cxn ang="0">
                    <a:pos x="68" y="647"/>
                  </a:cxn>
                  <a:cxn ang="0">
                    <a:pos x="146" y="652"/>
                  </a:cxn>
                  <a:cxn ang="0">
                    <a:pos x="166" y="639"/>
                  </a:cxn>
                  <a:cxn ang="0">
                    <a:pos x="396" y="793"/>
                  </a:cxn>
                  <a:cxn ang="0">
                    <a:pos x="597" y="706"/>
                  </a:cxn>
                  <a:cxn ang="0">
                    <a:pos x="669" y="680"/>
                  </a:cxn>
                  <a:cxn ang="0">
                    <a:pos x="721" y="691"/>
                  </a:cxn>
                  <a:cxn ang="0">
                    <a:pos x="791" y="679"/>
                  </a:cxn>
                  <a:cxn ang="0">
                    <a:pos x="908" y="894"/>
                  </a:cxn>
                  <a:cxn ang="0">
                    <a:pos x="932" y="1037"/>
                  </a:cxn>
                  <a:cxn ang="0">
                    <a:pos x="984" y="1119"/>
                  </a:cxn>
                  <a:cxn ang="0">
                    <a:pos x="1164" y="1133"/>
                  </a:cxn>
                  <a:cxn ang="0">
                    <a:pos x="566" y="274"/>
                  </a:cxn>
                  <a:cxn ang="0">
                    <a:pos x="580" y="261"/>
                  </a:cxn>
                </a:cxnLst>
                <a:rect l="0" t="0" r="r" b="b"/>
                <a:pathLst>
                  <a:path w="1173" h="1174">
                    <a:moveTo>
                      <a:pt x="1135" y="1096"/>
                    </a:moveTo>
                    <a:cubicBezTo>
                      <a:pt x="1097" y="1078"/>
                      <a:pt x="1073" y="1067"/>
                      <a:pt x="1071" y="1060"/>
                    </a:cubicBezTo>
                    <a:cubicBezTo>
                      <a:pt x="1069" y="1053"/>
                      <a:pt x="1062" y="1046"/>
                      <a:pt x="1058" y="1040"/>
                    </a:cubicBezTo>
                    <a:cubicBezTo>
                      <a:pt x="1053" y="1034"/>
                      <a:pt x="1043" y="1039"/>
                      <a:pt x="1043" y="1039"/>
                    </a:cubicBezTo>
                    <a:cubicBezTo>
                      <a:pt x="1033" y="1041"/>
                      <a:pt x="1033" y="1041"/>
                      <a:pt x="1033" y="1041"/>
                    </a:cubicBezTo>
                    <a:cubicBezTo>
                      <a:pt x="1033" y="1041"/>
                      <a:pt x="1001" y="982"/>
                      <a:pt x="994" y="894"/>
                    </a:cubicBezTo>
                    <a:cubicBezTo>
                      <a:pt x="988" y="805"/>
                      <a:pt x="967" y="779"/>
                      <a:pt x="967" y="779"/>
                    </a:cubicBezTo>
                    <a:cubicBezTo>
                      <a:pt x="967" y="779"/>
                      <a:pt x="962" y="725"/>
                      <a:pt x="959" y="712"/>
                    </a:cubicBezTo>
                    <a:cubicBezTo>
                      <a:pt x="956" y="700"/>
                      <a:pt x="898" y="634"/>
                      <a:pt x="886" y="624"/>
                    </a:cubicBezTo>
                    <a:cubicBezTo>
                      <a:pt x="874" y="614"/>
                      <a:pt x="878" y="601"/>
                      <a:pt x="863" y="581"/>
                    </a:cubicBezTo>
                    <a:cubicBezTo>
                      <a:pt x="847" y="561"/>
                      <a:pt x="818" y="528"/>
                      <a:pt x="818" y="528"/>
                    </a:cubicBezTo>
                    <a:cubicBezTo>
                      <a:pt x="818" y="528"/>
                      <a:pt x="835" y="478"/>
                      <a:pt x="835" y="468"/>
                    </a:cubicBezTo>
                    <a:cubicBezTo>
                      <a:pt x="835" y="458"/>
                      <a:pt x="883" y="436"/>
                      <a:pt x="879" y="416"/>
                    </a:cubicBezTo>
                    <a:cubicBezTo>
                      <a:pt x="876" y="396"/>
                      <a:pt x="873" y="408"/>
                      <a:pt x="876" y="396"/>
                    </a:cubicBezTo>
                    <a:cubicBezTo>
                      <a:pt x="879" y="384"/>
                      <a:pt x="907" y="346"/>
                      <a:pt x="920" y="324"/>
                    </a:cubicBezTo>
                    <a:cubicBezTo>
                      <a:pt x="934" y="302"/>
                      <a:pt x="966" y="265"/>
                      <a:pt x="966" y="227"/>
                    </a:cubicBezTo>
                    <a:cubicBezTo>
                      <a:pt x="966" y="188"/>
                      <a:pt x="970" y="191"/>
                      <a:pt x="978" y="188"/>
                    </a:cubicBezTo>
                    <a:cubicBezTo>
                      <a:pt x="982" y="186"/>
                      <a:pt x="988" y="186"/>
                      <a:pt x="992" y="187"/>
                    </a:cubicBezTo>
                    <a:cubicBezTo>
                      <a:pt x="995" y="189"/>
                      <a:pt x="997" y="192"/>
                      <a:pt x="1000" y="194"/>
                    </a:cubicBezTo>
                    <a:cubicBezTo>
                      <a:pt x="1002" y="199"/>
                      <a:pt x="1007" y="206"/>
                      <a:pt x="1013" y="210"/>
                    </a:cubicBezTo>
                    <a:cubicBezTo>
                      <a:pt x="1016" y="211"/>
                      <a:pt x="1019" y="212"/>
                      <a:pt x="1023" y="211"/>
                    </a:cubicBezTo>
                    <a:cubicBezTo>
                      <a:pt x="1031" y="214"/>
                      <a:pt x="1041" y="215"/>
                      <a:pt x="1046" y="200"/>
                    </a:cubicBezTo>
                    <a:cubicBezTo>
                      <a:pt x="1046" y="200"/>
                      <a:pt x="1057" y="199"/>
                      <a:pt x="1058" y="196"/>
                    </a:cubicBezTo>
                    <a:cubicBezTo>
                      <a:pt x="1060" y="193"/>
                      <a:pt x="1057" y="189"/>
                      <a:pt x="1057" y="189"/>
                    </a:cubicBezTo>
                    <a:cubicBezTo>
                      <a:pt x="1057" y="189"/>
                      <a:pt x="1064" y="189"/>
                      <a:pt x="1066" y="187"/>
                    </a:cubicBezTo>
                    <a:cubicBezTo>
                      <a:pt x="1066" y="186"/>
                      <a:pt x="1068" y="183"/>
                      <a:pt x="1069" y="180"/>
                    </a:cubicBezTo>
                    <a:cubicBezTo>
                      <a:pt x="1070" y="181"/>
                      <a:pt x="1071" y="180"/>
                      <a:pt x="1072" y="179"/>
                    </a:cubicBezTo>
                    <a:cubicBezTo>
                      <a:pt x="1073" y="179"/>
                      <a:pt x="1073" y="178"/>
                      <a:pt x="1074" y="178"/>
                    </a:cubicBezTo>
                    <a:cubicBezTo>
                      <a:pt x="1078" y="177"/>
                      <a:pt x="1083" y="176"/>
                      <a:pt x="1084" y="169"/>
                    </a:cubicBezTo>
                    <a:cubicBezTo>
                      <a:pt x="1084" y="163"/>
                      <a:pt x="1082" y="157"/>
                      <a:pt x="1082" y="151"/>
                    </a:cubicBezTo>
                    <a:cubicBezTo>
                      <a:pt x="1083" y="148"/>
                      <a:pt x="1085" y="144"/>
                      <a:pt x="1087" y="142"/>
                    </a:cubicBezTo>
                    <a:cubicBezTo>
                      <a:pt x="1094" y="137"/>
                      <a:pt x="1108" y="128"/>
                      <a:pt x="1112" y="114"/>
                    </a:cubicBezTo>
                    <a:cubicBezTo>
                      <a:pt x="1116" y="106"/>
                      <a:pt x="1119" y="98"/>
                      <a:pt x="1117" y="92"/>
                    </a:cubicBezTo>
                    <a:cubicBezTo>
                      <a:pt x="1117" y="91"/>
                      <a:pt x="1117" y="90"/>
                      <a:pt x="1117" y="89"/>
                    </a:cubicBezTo>
                    <a:cubicBezTo>
                      <a:pt x="1118" y="80"/>
                      <a:pt x="1117" y="71"/>
                      <a:pt x="1109" y="59"/>
                    </a:cubicBezTo>
                    <a:cubicBezTo>
                      <a:pt x="1098" y="31"/>
                      <a:pt x="1075" y="0"/>
                      <a:pt x="1020" y="6"/>
                    </a:cubicBezTo>
                    <a:cubicBezTo>
                      <a:pt x="966" y="13"/>
                      <a:pt x="951" y="60"/>
                      <a:pt x="951" y="60"/>
                    </a:cubicBezTo>
                    <a:cubicBezTo>
                      <a:pt x="951" y="60"/>
                      <a:pt x="918" y="35"/>
                      <a:pt x="859" y="59"/>
                    </a:cubicBezTo>
                    <a:cubicBezTo>
                      <a:pt x="859" y="59"/>
                      <a:pt x="831" y="76"/>
                      <a:pt x="817" y="75"/>
                    </a:cubicBezTo>
                    <a:cubicBezTo>
                      <a:pt x="794" y="75"/>
                      <a:pt x="786" y="88"/>
                      <a:pt x="742" y="110"/>
                    </a:cubicBezTo>
                    <a:cubicBezTo>
                      <a:pt x="742" y="110"/>
                      <a:pt x="707" y="127"/>
                      <a:pt x="677" y="136"/>
                    </a:cubicBezTo>
                    <a:cubicBezTo>
                      <a:pt x="616" y="154"/>
                      <a:pt x="532" y="249"/>
                      <a:pt x="505" y="251"/>
                    </a:cubicBezTo>
                    <a:cubicBezTo>
                      <a:pt x="446" y="255"/>
                      <a:pt x="467" y="259"/>
                      <a:pt x="442" y="268"/>
                    </a:cubicBezTo>
                    <a:cubicBezTo>
                      <a:pt x="418" y="276"/>
                      <a:pt x="413" y="284"/>
                      <a:pt x="394" y="293"/>
                    </a:cubicBezTo>
                    <a:cubicBezTo>
                      <a:pt x="394" y="293"/>
                      <a:pt x="384" y="300"/>
                      <a:pt x="398" y="301"/>
                    </a:cubicBezTo>
                    <a:cubicBezTo>
                      <a:pt x="412" y="302"/>
                      <a:pt x="413" y="295"/>
                      <a:pt x="413" y="295"/>
                    </a:cubicBezTo>
                    <a:cubicBezTo>
                      <a:pt x="422" y="296"/>
                      <a:pt x="422" y="296"/>
                      <a:pt x="422" y="296"/>
                    </a:cubicBezTo>
                    <a:cubicBezTo>
                      <a:pt x="422" y="296"/>
                      <a:pt x="388" y="325"/>
                      <a:pt x="392" y="332"/>
                    </a:cubicBezTo>
                    <a:cubicBezTo>
                      <a:pt x="398" y="339"/>
                      <a:pt x="405" y="331"/>
                      <a:pt x="405" y="331"/>
                    </a:cubicBezTo>
                    <a:cubicBezTo>
                      <a:pt x="405" y="331"/>
                      <a:pt x="394" y="349"/>
                      <a:pt x="411" y="344"/>
                    </a:cubicBezTo>
                    <a:cubicBezTo>
                      <a:pt x="421" y="341"/>
                      <a:pt x="426" y="337"/>
                      <a:pt x="428" y="334"/>
                    </a:cubicBezTo>
                    <a:cubicBezTo>
                      <a:pt x="426" y="339"/>
                      <a:pt x="423" y="347"/>
                      <a:pt x="432" y="345"/>
                    </a:cubicBezTo>
                    <a:cubicBezTo>
                      <a:pt x="447" y="342"/>
                      <a:pt x="457" y="326"/>
                      <a:pt x="457" y="326"/>
                    </a:cubicBezTo>
                    <a:cubicBezTo>
                      <a:pt x="457" y="326"/>
                      <a:pt x="460" y="333"/>
                      <a:pt x="477" y="327"/>
                    </a:cubicBezTo>
                    <a:cubicBezTo>
                      <a:pt x="493" y="322"/>
                      <a:pt x="497" y="318"/>
                      <a:pt x="497" y="318"/>
                    </a:cubicBezTo>
                    <a:cubicBezTo>
                      <a:pt x="515" y="316"/>
                      <a:pt x="515" y="316"/>
                      <a:pt x="515" y="316"/>
                    </a:cubicBezTo>
                    <a:cubicBezTo>
                      <a:pt x="515" y="316"/>
                      <a:pt x="494" y="346"/>
                      <a:pt x="484" y="351"/>
                    </a:cubicBezTo>
                    <a:cubicBezTo>
                      <a:pt x="474" y="355"/>
                      <a:pt x="474" y="364"/>
                      <a:pt x="452" y="366"/>
                    </a:cubicBezTo>
                    <a:cubicBezTo>
                      <a:pt x="430" y="368"/>
                      <a:pt x="406" y="384"/>
                      <a:pt x="406" y="384"/>
                    </a:cubicBezTo>
                    <a:cubicBezTo>
                      <a:pt x="406" y="384"/>
                      <a:pt x="366" y="383"/>
                      <a:pt x="367" y="389"/>
                    </a:cubicBezTo>
                    <a:cubicBezTo>
                      <a:pt x="368" y="396"/>
                      <a:pt x="378" y="396"/>
                      <a:pt x="386" y="396"/>
                    </a:cubicBezTo>
                    <a:cubicBezTo>
                      <a:pt x="394" y="396"/>
                      <a:pt x="396" y="393"/>
                      <a:pt x="402" y="396"/>
                    </a:cubicBezTo>
                    <a:cubicBezTo>
                      <a:pt x="409" y="399"/>
                      <a:pt x="385" y="406"/>
                      <a:pt x="385" y="406"/>
                    </a:cubicBezTo>
                    <a:cubicBezTo>
                      <a:pt x="385" y="406"/>
                      <a:pt x="357" y="406"/>
                      <a:pt x="352" y="409"/>
                    </a:cubicBezTo>
                    <a:cubicBezTo>
                      <a:pt x="346" y="413"/>
                      <a:pt x="349" y="419"/>
                      <a:pt x="356" y="419"/>
                    </a:cubicBezTo>
                    <a:cubicBezTo>
                      <a:pt x="363" y="419"/>
                      <a:pt x="363" y="420"/>
                      <a:pt x="363" y="420"/>
                    </a:cubicBezTo>
                    <a:cubicBezTo>
                      <a:pt x="363" y="420"/>
                      <a:pt x="357" y="421"/>
                      <a:pt x="354" y="426"/>
                    </a:cubicBezTo>
                    <a:cubicBezTo>
                      <a:pt x="350" y="430"/>
                      <a:pt x="353" y="435"/>
                      <a:pt x="362" y="435"/>
                    </a:cubicBezTo>
                    <a:cubicBezTo>
                      <a:pt x="371" y="435"/>
                      <a:pt x="390" y="432"/>
                      <a:pt x="390" y="432"/>
                    </a:cubicBezTo>
                    <a:cubicBezTo>
                      <a:pt x="409" y="429"/>
                      <a:pt x="409" y="429"/>
                      <a:pt x="409" y="429"/>
                    </a:cubicBezTo>
                    <a:cubicBezTo>
                      <a:pt x="409" y="429"/>
                      <a:pt x="413" y="434"/>
                      <a:pt x="407" y="435"/>
                    </a:cubicBezTo>
                    <a:cubicBezTo>
                      <a:pt x="400" y="436"/>
                      <a:pt x="366" y="450"/>
                      <a:pt x="369" y="454"/>
                    </a:cubicBezTo>
                    <a:cubicBezTo>
                      <a:pt x="373" y="457"/>
                      <a:pt x="371" y="462"/>
                      <a:pt x="392" y="456"/>
                    </a:cubicBezTo>
                    <a:cubicBezTo>
                      <a:pt x="413" y="449"/>
                      <a:pt x="425" y="441"/>
                      <a:pt x="425" y="441"/>
                    </a:cubicBezTo>
                    <a:cubicBezTo>
                      <a:pt x="425" y="441"/>
                      <a:pt x="419" y="461"/>
                      <a:pt x="429" y="456"/>
                    </a:cubicBezTo>
                    <a:cubicBezTo>
                      <a:pt x="436" y="454"/>
                      <a:pt x="436" y="444"/>
                      <a:pt x="443" y="440"/>
                    </a:cubicBezTo>
                    <a:cubicBezTo>
                      <a:pt x="451" y="437"/>
                      <a:pt x="468" y="430"/>
                      <a:pt x="475" y="416"/>
                    </a:cubicBezTo>
                    <a:cubicBezTo>
                      <a:pt x="483" y="402"/>
                      <a:pt x="502" y="392"/>
                      <a:pt x="502" y="392"/>
                    </a:cubicBezTo>
                    <a:cubicBezTo>
                      <a:pt x="502" y="392"/>
                      <a:pt x="561" y="340"/>
                      <a:pt x="589" y="331"/>
                    </a:cubicBezTo>
                    <a:cubicBezTo>
                      <a:pt x="618" y="322"/>
                      <a:pt x="650" y="276"/>
                      <a:pt x="658" y="276"/>
                    </a:cubicBezTo>
                    <a:cubicBezTo>
                      <a:pt x="666" y="276"/>
                      <a:pt x="719" y="274"/>
                      <a:pt x="719" y="274"/>
                    </a:cubicBezTo>
                    <a:cubicBezTo>
                      <a:pt x="719" y="274"/>
                      <a:pt x="707" y="325"/>
                      <a:pt x="640" y="357"/>
                    </a:cubicBezTo>
                    <a:cubicBezTo>
                      <a:pt x="640" y="357"/>
                      <a:pt x="633" y="382"/>
                      <a:pt x="604" y="398"/>
                    </a:cubicBezTo>
                    <a:cubicBezTo>
                      <a:pt x="575" y="415"/>
                      <a:pt x="584" y="421"/>
                      <a:pt x="577" y="434"/>
                    </a:cubicBezTo>
                    <a:cubicBezTo>
                      <a:pt x="571" y="446"/>
                      <a:pt x="544" y="465"/>
                      <a:pt x="536" y="494"/>
                    </a:cubicBezTo>
                    <a:cubicBezTo>
                      <a:pt x="529" y="524"/>
                      <a:pt x="498" y="644"/>
                      <a:pt x="480" y="663"/>
                    </a:cubicBezTo>
                    <a:cubicBezTo>
                      <a:pt x="462" y="681"/>
                      <a:pt x="447" y="728"/>
                      <a:pt x="428" y="711"/>
                    </a:cubicBezTo>
                    <a:cubicBezTo>
                      <a:pt x="409" y="695"/>
                      <a:pt x="354" y="646"/>
                      <a:pt x="325" y="639"/>
                    </a:cubicBezTo>
                    <a:cubicBezTo>
                      <a:pt x="296" y="633"/>
                      <a:pt x="200" y="600"/>
                      <a:pt x="199" y="590"/>
                    </a:cubicBezTo>
                    <a:cubicBezTo>
                      <a:pt x="198" y="580"/>
                      <a:pt x="199" y="542"/>
                      <a:pt x="188" y="531"/>
                    </a:cubicBezTo>
                    <a:cubicBezTo>
                      <a:pt x="177" y="520"/>
                      <a:pt x="176" y="508"/>
                      <a:pt x="152" y="512"/>
                    </a:cubicBezTo>
                    <a:cubicBezTo>
                      <a:pt x="129" y="517"/>
                      <a:pt x="83" y="556"/>
                      <a:pt x="60" y="566"/>
                    </a:cubicBezTo>
                    <a:cubicBezTo>
                      <a:pt x="38" y="576"/>
                      <a:pt x="0" y="634"/>
                      <a:pt x="16" y="645"/>
                    </a:cubicBezTo>
                    <a:cubicBezTo>
                      <a:pt x="33" y="656"/>
                      <a:pt x="43" y="660"/>
                      <a:pt x="68" y="647"/>
                    </a:cubicBezTo>
                    <a:cubicBezTo>
                      <a:pt x="94" y="634"/>
                      <a:pt x="101" y="643"/>
                      <a:pt x="113" y="644"/>
                    </a:cubicBezTo>
                    <a:cubicBezTo>
                      <a:pt x="124" y="645"/>
                      <a:pt x="141" y="657"/>
                      <a:pt x="146" y="652"/>
                    </a:cubicBezTo>
                    <a:cubicBezTo>
                      <a:pt x="150" y="646"/>
                      <a:pt x="150" y="639"/>
                      <a:pt x="150" y="639"/>
                    </a:cubicBezTo>
                    <a:cubicBezTo>
                      <a:pt x="150" y="639"/>
                      <a:pt x="149" y="632"/>
                      <a:pt x="166" y="639"/>
                    </a:cubicBezTo>
                    <a:cubicBezTo>
                      <a:pt x="182" y="647"/>
                      <a:pt x="287" y="732"/>
                      <a:pt x="327" y="754"/>
                    </a:cubicBezTo>
                    <a:cubicBezTo>
                      <a:pt x="367" y="777"/>
                      <a:pt x="380" y="783"/>
                      <a:pt x="396" y="793"/>
                    </a:cubicBezTo>
                    <a:cubicBezTo>
                      <a:pt x="411" y="803"/>
                      <a:pt x="452" y="840"/>
                      <a:pt x="487" y="798"/>
                    </a:cubicBezTo>
                    <a:cubicBezTo>
                      <a:pt x="521" y="756"/>
                      <a:pt x="591" y="707"/>
                      <a:pt x="597" y="706"/>
                    </a:cubicBezTo>
                    <a:cubicBezTo>
                      <a:pt x="604" y="705"/>
                      <a:pt x="629" y="694"/>
                      <a:pt x="643" y="689"/>
                    </a:cubicBezTo>
                    <a:cubicBezTo>
                      <a:pt x="656" y="685"/>
                      <a:pt x="669" y="680"/>
                      <a:pt x="669" y="680"/>
                    </a:cubicBezTo>
                    <a:cubicBezTo>
                      <a:pt x="674" y="658"/>
                      <a:pt x="674" y="658"/>
                      <a:pt x="674" y="658"/>
                    </a:cubicBezTo>
                    <a:cubicBezTo>
                      <a:pt x="674" y="658"/>
                      <a:pt x="710" y="695"/>
                      <a:pt x="721" y="691"/>
                    </a:cubicBezTo>
                    <a:cubicBezTo>
                      <a:pt x="732" y="688"/>
                      <a:pt x="758" y="679"/>
                      <a:pt x="758" y="679"/>
                    </a:cubicBezTo>
                    <a:cubicBezTo>
                      <a:pt x="758" y="679"/>
                      <a:pt x="786" y="668"/>
                      <a:pt x="791" y="679"/>
                    </a:cubicBezTo>
                    <a:cubicBezTo>
                      <a:pt x="795" y="690"/>
                      <a:pt x="863" y="740"/>
                      <a:pt x="865" y="746"/>
                    </a:cubicBezTo>
                    <a:cubicBezTo>
                      <a:pt x="867" y="751"/>
                      <a:pt x="883" y="867"/>
                      <a:pt x="908" y="894"/>
                    </a:cubicBezTo>
                    <a:cubicBezTo>
                      <a:pt x="934" y="920"/>
                      <a:pt x="951" y="1009"/>
                      <a:pt x="952" y="1016"/>
                    </a:cubicBezTo>
                    <a:cubicBezTo>
                      <a:pt x="953" y="1022"/>
                      <a:pt x="940" y="1016"/>
                      <a:pt x="932" y="1037"/>
                    </a:cubicBezTo>
                    <a:cubicBezTo>
                      <a:pt x="925" y="1058"/>
                      <a:pt x="919" y="1085"/>
                      <a:pt x="926" y="1093"/>
                    </a:cubicBezTo>
                    <a:cubicBezTo>
                      <a:pt x="932" y="1101"/>
                      <a:pt x="953" y="1119"/>
                      <a:pt x="984" y="1119"/>
                    </a:cubicBezTo>
                    <a:cubicBezTo>
                      <a:pt x="1015" y="1119"/>
                      <a:pt x="1038" y="1135"/>
                      <a:pt x="1054" y="1138"/>
                    </a:cubicBezTo>
                    <a:cubicBezTo>
                      <a:pt x="1071" y="1142"/>
                      <a:pt x="1156" y="1174"/>
                      <a:pt x="1164" y="1133"/>
                    </a:cubicBezTo>
                    <a:cubicBezTo>
                      <a:pt x="1164" y="1133"/>
                      <a:pt x="1173" y="1115"/>
                      <a:pt x="1135" y="1096"/>
                    </a:cubicBezTo>
                    <a:close/>
                    <a:moveTo>
                      <a:pt x="566" y="274"/>
                    </a:moveTo>
                    <a:cubicBezTo>
                      <a:pt x="560" y="278"/>
                      <a:pt x="555" y="278"/>
                      <a:pt x="555" y="278"/>
                    </a:cubicBezTo>
                    <a:cubicBezTo>
                      <a:pt x="555" y="278"/>
                      <a:pt x="564" y="265"/>
                      <a:pt x="580" y="261"/>
                    </a:cubicBezTo>
                    <a:cubicBezTo>
                      <a:pt x="580" y="261"/>
                      <a:pt x="572" y="270"/>
                      <a:pt x="566" y="274"/>
                    </a:cubicBezTo>
                    <a:close/>
                  </a:path>
                </a:pathLst>
              </a:custGeom>
              <a:solidFill>
                <a:schemeClr val="bg1">
                  <a:lumMod val="60000"/>
                  <a:lumOff val="4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7" name="Text Box 56" descr="© INSCALE GmbH, 26.05.2010&#10;http://www.presentationload.com/"/>
              <p:cNvSpPr txBox="1">
                <a:spLocks noChangeArrowheads="1"/>
              </p:cNvSpPr>
              <p:nvPr/>
            </p:nvSpPr>
            <p:spPr bwMode="gray">
              <a:xfrm>
                <a:off x="7512046" y="1593485"/>
                <a:ext cx="1899990" cy="646331"/>
              </a:xfrm>
              <a:prstGeom prst="rect">
                <a:avLst/>
              </a:prstGeom>
              <a:noFill/>
              <a:ln w="9525">
                <a:solidFill>
                  <a:schemeClr val="tx1"/>
                </a:solidFill>
                <a:miter lim="800000"/>
                <a:headEnd/>
                <a:tailEnd/>
              </a:ln>
              <a:effectLst/>
            </p:spPr>
            <p:txBody>
              <a:bodyPr wrap="square" lIns="90000" tIns="0" rIns="72000" bIns="0" anchor="b" anchorCtr="0">
                <a:spAutoFit/>
              </a:bodyPr>
              <a:lstStyle/>
              <a:p>
                <a:pPr algn="r"/>
                <a:r>
                  <a:rPr lang="en-US" sz="2800" b="1" noProof="1">
                    <a:solidFill>
                      <a:schemeClr val="bg1"/>
                    </a:solidFill>
                    <a:latin typeface="EYInterstate" panose="02000503020000020004" pitchFamily="2" charset="0"/>
                    <a:cs typeface="Calibri" pitchFamily="34" charset="0"/>
                  </a:rPr>
                  <a:t>Win!</a:t>
                </a:r>
              </a:p>
              <a:p>
                <a:pPr algn="r"/>
                <a:r>
                  <a:rPr lang="en-US" sz="1400" dirty="0">
                    <a:solidFill>
                      <a:schemeClr val="bg1"/>
                    </a:solidFill>
                    <a:latin typeface="EYInterstate" panose="02000503020000020004" pitchFamily="2" charset="0"/>
                  </a:rPr>
                  <a:t>Orals and post-orals</a:t>
                </a:r>
              </a:p>
            </p:txBody>
          </p:sp>
        </p:grpSp>
        <p:sp>
          <p:nvSpPr>
            <p:cNvPr id="134" name="Freeform 133"/>
            <p:cNvSpPr>
              <a:spLocks/>
            </p:cNvSpPr>
            <p:nvPr/>
          </p:nvSpPr>
          <p:spPr bwMode="auto">
            <a:xfrm>
              <a:off x="7069138" y="2338388"/>
              <a:ext cx="4257675" cy="623887"/>
            </a:xfrm>
            <a:custGeom>
              <a:avLst/>
              <a:gdLst>
                <a:gd name="T0" fmla="*/ 1336 w 1336"/>
                <a:gd name="T1" fmla="*/ 158 h 193"/>
                <a:gd name="T2" fmla="*/ 1274 w 1336"/>
                <a:gd name="T3" fmla="*/ 76 h 193"/>
                <a:gd name="T4" fmla="*/ 1267 w 1336"/>
                <a:gd name="T5" fmla="*/ 108 h 193"/>
                <a:gd name="T6" fmla="*/ 0 w 1336"/>
                <a:gd name="T7" fmla="*/ 0 h 193"/>
                <a:gd name="T8" fmla="*/ 0 w 1336"/>
                <a:gd name="T9" fmla="*/ 52 h 193"/>
                <a:gd name="T10" fmla="*/ 1252 w 1336"/>
                <a:gd name="T11" fmla="*/ 162 h 193"/>
                <a:gd name="T12" fmla="*/ 1243 w 1336"/>
                <a:gd name="T13" fmla="*/ 193 h 193"/>
                <a:gd name="T14" fmla="*/ 1336 w 1336"/>
                <a:gd name="T15" fmla="*/ 158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6" h="193">
                  <a:moveTo>
                    <a:pt x="1336" y="158"/>
                  </a:moveTo>
                  <a:cubicBezTo>
                    <a:pt x="1274" y="76"/>
                    <a:pt x="1274" y="76"/>
                    <a:pt x="1274" y="76"/>
                  </a:cubicBezTo>
                  <a:cubicBezTo>
                    <a:pt x="1267" y="108"/>
                    <a:pt x="1267" y="108"/>
                    <a:pt x="1267" y="108"/>
                  </a:cubicBezTo>
                  <a:cubicBezTo>
                    <a:pt x="910" y="43"/>
                    <a:pt x="472" y="9"/>
                    <a:pt x="0" y="0"/>
                  </a:cubicBezTo>
                  <a:cubicBezTo>
                    <a:pt x="0" y="52"/>
                    <a:pt x="0" y="52"/>
                    <a:pt x="0" y="52"/>
                  </a:cubicBezTo>
                  <a:cubicBezTo>
                    <a:pt x="461" y="65"/>
                    <a:pt x="889" y="104"/>
                    <a:pt x="1252" y="162"/>
                  </a:cubicBezTo>
                  <a:cubicBezTo>
                    <a:pt x="1243" y="193"/>
                    <a:pt x="1243" y="193"/>
                    <a:pt x="1243" y="193"/>
                  </a:cubicBezTo>
                  <a:cubicBezTo>
                    <a:pt x="1336" y="158"/>
                    <a:pt x="1336" y="158"/>
                    <a:pt x="1336" y="158"/>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40" name="Group 139"/>
          <p:cNvGrpSpPr/>
          <p:nvPr/>
        </p:nvGrpSpPr>
        <p:grpSpPr>
          <a:xfrm>
            <a:off x="4813301" y="1029357"/>
            <a:ext cx="2255838" cy="1477306"/>
            <a:chOff x="4813301" y="1029357"/>
            <a:chExt cx="2255838" cy="1477306"/>
          </a:xfrm>
        </p:grpSpPr>
        <p:sp>
          <p:nvSpPr>
            <p:cNvPr id="141" name="Freeform 140"/>
            <p:cNvSpPr>
              <a:spLocks/>
            </p:cNvSpPr>
            <p:nvPr/>
          </p:nvSpPr>
          <p:spPr bwMode="auto">
            <a:xfrm>
              <a:off x="4813301" y="2325688"/>
              <a:ext cx="2255838" cy="180975"/>
            </a:xfrm>
            <a:custGeom>
              <a:avLst/>
              <a:gdLst>
                <a:gd name="T0" fmla="*/ 539 w 708"/>
                <a:gd name="T1" fmla="*/ 2 h 56"/>
                <a:gd name="T2" fmla="*/ 0 w 708"/>
                <a:gd name="T3" fmla="*/ 12 h 56"/>
                <a:gd name="T4" fmla="*/ 0 w 708"/>
                <a:gd name="T5" fmla="*/ 56 h 56"/>
                <a:gd name="T6" fmla="*/ 577 w 708"/>
                <a:gd name="T7" fmla="*/ 53 h 56"/>
                <a:gd name="T8" fmla="*/ 708 w 708"/>
                <a:gd name="T9" fmla="*/ 56 h 56"/>
                <a:gd name="T10" fmla="*/ 708 w 708"/>
                <a:gd name="T11" fmla="*/ 4 h 56"/>
                <a:gd name="T12" fmla="*/ 539 w 708"/>
                <a:gd name="T13" fmla="*/ 2 h 56"/>
              </a:gdLst>
              <a:ahLst/>
              <a:cxnLst>
                <a:cxn ang="0">
                  <a:pos x="T0" y="T1"/>
                </a:cxn>
                <a:cxn ang="0">
                  <a:pos x="T2" y="T3"/>
                </a:cxn>
                <a:cxn ang="0">
                  <a:pos x="T4" y="T5"/>
                </a:cxn>
                <a:cxn ang="0">
                  <a:pos x="T6" y="T7"/>
                </a:cxn>
                <a:cxn ang="0">
                  <a:pos x="T8" y="T9"/>
                </a:cxn>
                <a:cxn ang="0">
                  <a:pos x="T10" y="T11"/>
                </a:cxn>
                <a:cxn ang="0">
                  <a:pos x="T12" y="T13"/>
                </a:cxn>
              </a:cxnLst>
              <a:rect l="0" t="0" r="r" b="b"/>
              <a:pathLst>
                <a:path w="708" h="56">
                  <a:moveTo>
                    <a:pt x="539" y="2"/>
                  </a:moveTo>
                  <a:cubicBezTo>
                    <a:pt x="354" y="0"/>
                    <a:pt x="173" y="4"/>
                    <a:pt x="0" y="12"/>
                  </a:cubicBezTo>
                  <a:cubicBezTo>
                    <a:pt x="0" y="56"/>
                    <a:pt x="0" y="56"/>
                    <a:pt x="0" y="56"/>
                  </a:cubicBezTo>
                  <a:cubicBezTo>
                    <a:pt x="186" y="50"/>
                    <a:pt x="379" y="49"/>
                    <a:pt x="577" y="53"/>
                  </a:cubicBezTo>
                  <a:cubicBezTo>
                    <a:pt x="621" y="54"/>
                    <a:pt x="665" y="55"/>
                    <a:pt x="708" y="56"/>
                  </a:cubicBezTo>
                  <a:cubicBezTo>
                    <a:pt x="708" y="4"/>
                    <a:pt x="708" y="4"/>
                    <a:pt x="708" y="4"/>
                  </a:cubicBezTo>
                  <a:cubicBezTo>
                    <a:pt x="652" y="3"/>
                    <a:pt x="596" y="2"/>
                    <a:pt x="539" y="2"/>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142" name="Group 141"/>
            <p:cNvGrpSpPr/>
            <p:nvPr/>
          </p:nvGrpSpPr>
          <p:grpSpPr>
            <a:xfrm>
              <a:off x="4931268" y="1029357"/>
              <a:ext cx="2078886" cy="1249585"/>
              <a:chOff x="4931268" y="1029357"/>
              <a:chExt cx="2078886" cy="1249585"/>
            </a:xfrm>
          </p:grpSpPr>
          <p:sp>
            <p:nvSpPr>
              <p:cNvPr id="143" name="Freeform 9"/>
              <p:cNvSpPr>
                <a:spLocks noEditPoints="1"/>
              </p:cNvSpPr>
              <p:nvPr/>
            </p:nvSpPr>
            <p:spPr bwMode="gray">
              <a:xfrm>
                <a:off x="4931268" y="1029357"/>
                <a:ext cx="880881" cy="1249585"/>
              </a:xfrm>
              <a:custGeom>
                <a:avLst/>
                <a:gdLst/>
                <a:ahLst/>
                <a:cxnLst>
                  <a:cxn ang="0">
                    <a:pos x="852" y="1320"/>
                  </a:cxn>
                  <a:cxn ang="0">
                    <a:pos x="838" y="1220"/>
                  </a:cxn>
                  <a:cxn ang="0">
                    <a:pos x="837" y="1109"/>
                  </a:cxn>
                  <a:cxn ang="0">
                    <a:pos x="889" y="902"/>
                  </a:cxn>
                  <a:cxn ang="0">
                    <a:pos x="772" y="758"/>
                  </a:cxn>
                  <a:cxn ang="0">
                    <a:pos x="699" y="615"/>
                  </a:cxn>
                  <a:cxn ang="0">
                    <a:pos x="773" y="346"/>
                  </a:cxn>
                  <a:cxn ang="0">
                    <a:pos x="962" y="416"/>
                  </a:cxn>
                  <a:cxn ang="0">
                    <a:pos x="891" y="185"/>
                  </a:cxn>
                  <a:cxn ang="0">
                    <a:pos x="855" y="121"/>
                  </a:cxn>
                  <a:cxn ang="0">
                    <a:pos x="814" y="133"/>
                  </a:cxn>
                  <a:cxn ang="0">
                    <a:pos x="795" y="139"/>
                  </a:cxn>
                  <a:cxn ang="0">
                    <a:pos x="782" y="73"/>
                  </a:cxn>
                  <a:cxn ang="0">
                    <a:pos x="621" y="154"/>
                  </a:cxn>
                  <a:cxn ang="0">
                    <a:pos x="630" y="215"/>
                  </a:cxn>
                  <a:cxn ang="0">
                    <a:pos x="576" y="277"/>
                  </a:cxn>
                  <a:cxn ang="0">
                    <a:pos x="426" y="368"/>
                  </a:cxn>
                  <a:cxn ang="0">
                    <a:pos x="309" y="538"/>
                  </a:cxn>
                  <a:cxn ang="0">
                    <a:pos x="272" y="597"/>
                  </a:cxn>
                  <a:cxn ang="0">
                    <a:pos x="293" y="618"/>
                  </a:cxn>
                  <a:cxn ang="0">
                    <a:pos x="337" y="581"/>
                  </a:cxn>
                  <a:cxn ang="0">
                    <a:pos x="468" y="417"/>
                  </a:cxn>
                  <a:cxn ang="0">
                    <a:pos x="545" y="397"/>
                  </a:cxn>
                  <a:cxn ang="0">
                    <a:pos x="493" y="565"/>
                  </a:cxn>
                  <a:cxn ang="0">
                    <a:pos x="410" y="748"/>
                  </a:cxn>
                  <a:cxn ang="0">
                    <a:pos x="374" y="938"/>
                  </a:cxn>
                  <a:cxn ang="0">
                    <a:pos x="74" y="1121"/>
                  </a:cxn>
                  <a:cxn ang="0">
                    <a:pos x="4" y="1179"/>
                  </a:cxn>
                  <a:cxn ang="0">
                    <a:pos x="135" y="1321"/>
                  </a:cxn>
                  <a:cxn ang="0">
                    <a:pos x="147" y="1242"/>
                  </a:cxn>
                  <a:cxn ang="0">
                    <a:pos x="145" y="1169"/>
                  </a:cxn>
                  <a:cxn ang="0">
                    <a:pos x="255" y="1118"/>
                  </a:cxn>
                  <a:cxn ang="0">
                    <a:pos x="506" y="976"/>
                  </a:cxn>
                  <a:cxn ang="0">
                    <a:pos x="590" y="858"/>
                  </a:cxn>
                  <a:cxn ang="0">
                    <a:pos x="683" y="865"/>
                  </a:cxn>
                  <a:cxn ang="0">
                    <a:pos x="771" y="1043"/>
                  </a:cxn>
                  <a:cxn ang="0">
                    <a:pos x="712" y="1223"/>
                  </a:cxn>
                  <a:cxn ang="0">
                    <a:pos x="732" y="1281"/>
                  </a:cxn>
                  <a:cxn ang="0">
                    <a:pos x="875" y="1384"/>
                  </a:cxn>
                  <a:cxn ang="0">
                    <a:pos x="862" y="1339"/>
                  </a:cxn>
                  <a:cxn ang="0">
                    <a:pos x="854" y="224"/>
                  </a:cxn>
                  <a:cxn ang="0">
                    <a:pos x="859" y="286"/>
                  </a:cxn>
                  <a:cxn ang="0">
                    <a:pos x="798" y="225"/>
                  </a:cxn>
                  <a:cxn ang="0">
                    <a:pos x="831" y="212"/>
                  </a:cxn>
                </a:cxnLst>
                <a:rect l="0" t="0" r="r" b="b"/>
                <a:pathLst>
                  <a:path w="983" h="1394">
                    <a:moveTo>
                      <a:pt x="862" y="1339"/>
                    </a:moveTo>
                    <a:cubicBezTo>
                      <a:pt x="852" y="1320"/>
                      <a:pt x="852" y="1320"/>
                      <a:pt x="852" y="1320"/>
                    </a:cubicBezTo>
                    <a:cubicBezTo>
                      <a:pt x="830" y="1248"/>
                      <a:pt x="830" y="1248"/>
                      <a:pt x="830" y="1248"/>
                    </a:cubicBezTo>
                    <a:cubicBezTo>
                      <a:pt x="830" y="1248"/>
                      <a:pt x="850" y="1225"/>
                      <a:pt x="838" y="1220"/>
                    </a:cubicBezTo>
                    <a:cubicBezTo>
                      <a:pt x="825" y="1216"/>
                      <a:pt x="823" y="1220"/>
                      <a:pt x="823" y="1220"/>
                    </a:cubicBezTo>
                    <a:cubicBezTo>
                      <a:pt x="823" y="1220"/>
                      <a:pt x="823" y="1158"/>
                      <a:pt x="837" y="1109"/>
                    </a:cubicBezTo>
                    <a:cubicBezTo>
                      <a:pt x="852" y="1060"/>
                      <a:pt x="873" y="1006"/>
                      <a:pt x="871" y="966"/>
                    </a:cubicBezTo>
                    <a:cubicBezTo>
                      <a:pt x="869" y="927"/>
                      <a:pt x="886" y="915"/>
                      <a:pt x="889" y="902"/>
                    </a:cubicBezTo>
                    <a:cubicBezTo>
                      <a:pt x="893" y="888"/>
                      <a:pt x="891" y="853"/>
                      <a:pt x="857" y="831"/>
                    </a:cubicBezTo>
                    <a:cubicBezTo>
                      <a:pt x="823" y="809"/>
                      <a:pt x="799" y="777"/>
                      <a:pt x="772" y="758"/>
                    </a:cubicBezTo>
                    <a:cubicBezTo>
                      <a:pt x="746" y="739"/>
                      <a:pt x="690" y="713"/>
                      <a:pt x="674" y="696"/>
                    </a:cubicBezTo>
                    <a:cubicBezTo>
                      <a:pt x="659" y="680"/>
                      <a:pt x="689" y="649"/>
                      <a:pt x="699" y="615"/>
                    </a:cubicBezTo>
                    <a:cubicBezTo>
                      <a:pt x="710" y="581"/>
                      <a:pt x="755" y="472"/>
                      <a:pt x="755" y="444"/>
                    </a:cubicBezTo>
                    <a:cubicBezTo>
                      <a:pt x="754" y="415"/>
                      <a:pt x="771" y="350"/>
                      <a:pt x="773" y="346"/>
                    </a:cubicBezTo>
                    <a:cubicBezTo>
                      <a:pt x="774" y="342"/>
                      <a:pt x="827" y="392"/>
                      <a:pt x="870" y="402"/>
                    </a:cubicBezTo>
                    <a:cubicBezTo>
                      <a:pt x="912" y="413"/>
                      <a:pt x="941" y="432"/>
                      <a:pt x="962" y="416"/>
                    </a:cubicBezTo>
                    <a:cubicBezTo>
                      <a:pt x="983" y="401"/>
                      <a:pt x="977" y="360"/>
                      <a:pt x="969" y="340"/>
                    </a:cubicBezTo>
                    <a:cubicBezTo>
                      <a:pt x="961" y="319"/>
                      <a:pt x="900" y="197"/>
                      <a:pt x="891" y="185"/>
                    </a:cubicBezTo>
                    <a:cubicBezTo>
                      <a:pt x="882" y="173"/>
                      <a:pt x="883" y="174"/>
                      <a:pt x="882" y="164"/>
                    </a:cubicBezTo>
                    <a:cubicBezTo>
                      <a:pt x="881" y="154"/>
                      <a:pt x="862" y="121"/>
                      <a:pt x="855" y="121"/>
                    </a:cubicBezTo>
                    <a:cubicBezTo>
                      <a:pt x="847" y="120"/>
                      <a:pt x="838" y="117"/>
                      <a:pt x="835" y="123"/>
                    </a:cubicBezTo>
                    <a:cubicBezTo>
                      <a:pt x="835" y="123"/>
                      <a:pt x="816" y="110"/>
                      <a:pt x="814" y="133"/>
                    </a:cubicBezTo>
                    <a:cubicBezTo>
                      <a:pt x="814" y="133"/>
                      <a:pt x="812" y="136"/>
                      <a:pt x="802" y="134"/>
                    </a:cubicBezTo>
                    <a:cubicBezTo>
                      <a:pt x="797" y="133"/>
                      <a:pt x="795" y="136"/>
                      <a:pt x="795" y="139"/>
                    </a:cubicBezTo>
                    <a:cubicBezTo>
                      <a:pt x="790" y="134"/>
                      <a:pt x="784" y="125"/>
                      <a:pt x="785" y="116"/>
                    </a:cubicBezTo>
                    <a:cubicBezTo>
                      <a:pt x="788" y="104"/>
                      <a:pt x="786" y="86"/>
                      <a:pt x="782" y="73"/>
                    </a:cubicBezTo>
                    <a:cubicBezTo>
                      <a:pt x="773" y="48"/>
                      <a:pt x="699" y="0"/>
                      <a:pt x="634" y="54"/>
                    </a:cubicBezTo>
                    <a:cubicBezTo>
                      <a:pt x="634" y="54"/>
                      <a:pt x="600" y="109"/>
                      <a:pt x="621" y="154"/>
                    </a:cubicBezTo>
                    <a:cubicBezTo>
                      <a:pt x="641" y="200"/>
                      <a:pt x="645" y="188"/>
                      <a:pt x="642" y="197"/>
                    </a:cubicBezTo>
                    <a:cubicBezTo>
                      <a:pt x="639" y="205"/>
                      <a:pt x="635" y="207"/>
                      <a:pt x="630" y="215"/>
                    </a:cubicBezTo>
                    <a:cubicBezTo>
                      <a:pt x="625" y="223"/>
                      <a:pt x="610" y="235"/>
                      <a:pt x="606" y="236"/>
                    </a:cubicBezTo>
                    <a:cubicBezTo>
                      <a:pt x="603" y="237"/>
                      <a:pt x="579" y="265"/>
                      <a:pt x="576" y="277"/>
                    </a:cubicBezTo>
                    <a:cubicBezTo>
                      <a:pt x="574" y="288"/>
                      <a:pt x="555" y="302"/>
                      <a:pt x="542" y="304"/>
                    </a:cubicBezTo>
                    <a:cubicBezTo>
                      <a:pt x="509" y="308"/>
                      <a:pt x="442" y="361"/>
                      <a:pt x="426" y="368"/>
                    </a:cubicBezTo>
                    <a:cubicBezTo>
                      <a:pt x="413" y="374"/>
                      <a:pt x="415" y="387"/>
                      <a:pt x="395" y="401"/>
                    </a:cubicBezTo>
                    <a:cubicBezTo>
                      <a:pt x="375" y="416"/>
                      <a:pt x="322" y="529"/>
                      <a:pt x="309" y="538"/>
                    </a:cubicBezTo>
                    <a:cubicBezTo>
                      <a:pt x="296" y="547"/>
                      <a:pt x="281" y="571"/>
                      <a:pt x="280" y="580"/>
                    </a:cubicBezTo>
                    <a:cubicBezTo>
                      <a:pt x="280" y="580"/>
                      <a:pt x="267" y="590"/>
                      <a:pt x="272" y="597"/>
                    </a:cubicBezTo>
                    <a:cubicBezTo>
                      <a:pt x="277" y="604"/>
                      <a:pt x="276" y="611"/>
                      <a:pt x="284" y="612"/>
                    </a:cubicBezTo>
                    <a:cubicBezTo>
                      <a:pt x="284" y="612"/>
                      <a:pt x="289" y="620"/>
                      <a:pt x="293" y="618"/>
                    </a:cubicBezTo>
                    <a:cubicBezTo>
                      <a:pt x="293" y="618"/>
                      <a:pt x="304" y="627"/>
                      <a:pt x="313" y="625"/>
                    </a:cubicBezTo>
                    <a:cubicBezTo>
                      <a:pt x="322" y="624"/>
                      <a:pt x="337" y="628"/>
                      <a:pt x="337" y="581"/>
                    </a:cubicBezTo>
                    <a:cubicBezTo>
                      <a:pt x="337" y="534"/>
                      <a:pt x="381" y="520"/>
                      <a:pt x="401" y="491"/>
                    </a:cubicBezTo>
                    <a:cubicBezTo>
                      <a:pt x="421" y="462"/>
                      <a:pt x="467" y="425"/>
                      <a:pt x="468" y="417"/>
                    </a:cubicBezTo>
                    <a:cubicBezTo>
                      <a:pt x="468" y="417"/>
                      <a:pt x="503" y="421"/>
                      <a:pt x="530" y="404"/>
                    </a:cubicBezTo>
                    <a:cubicBezTo>
                      <a:pt x="556" y="387"/>
                      <a:pt x="545" y="397"/>
                      <a:pt x="545" y="397"/>
                    </a:cubicBezTo>
                    <a:cubicBezTo>
                      <a:pt x="545" y="397"/>
                      <a:pt x="546" y="435"/>
                      <a:pt x="528" y="457"/>
                    </a:cubicBezTo>
                    <a:cubicBezTo>
                      <a:pt x="510" y="479"/>
                      <a:pt x="494" y="548"/>
                      <a:pt x="493" y="565"/>
                    </a:cubicBezTo>
                    <a:cubicBezTo>
                      <a:pt x="493" y="565"/>
                      <a:pt x="458" y="601"/>
                      <a:pt x="448" y="627"/>
                    </a:cubicBezTo>
                    <a:cubicBezTo>
                      <a:pt x="438" y="653"/>
                      <a:pt x="407" y="714"/>
                      <a:pt x="410" y="748"/>
                    </a:cubicBezTo>
                    <a:cubicBezTo>
                      <a:pt x="413" y="773"/>
                      <a:pt x="410" y="837"/>
                      <a:pt x="415" y="870"/>
                    </a:cubicBezTo>
                    <a:cubicBezTo>
                      <a:pt x="414" y="893"/>
                      <a:pt x="396" y="921"/>
                      <a:pt x="374" y="938"/>
                    </a:cubicBezTo>
                    <a:cubicBezTo>
                      <a:pt x="330" y="972"/>
                      <a:pt x="251" y="1006"/>
                      <a:pt x="146" y="1090"/>
                    </a:cubicBezTo>
                    <a:cubicBezTo>
                      <a:pt x="146" y="1090"/>
                      <a:pt x="89" y="1123"/>
                      <a:pt x="74" y="1121"/>
                    </a:cubicBezTo>
                    <a:cubicBezTo>
                      <a:pt x="58" y="1120"/>
                      <a:pt x="29" y="1136"/>
                      <a:pt x="14" y="1151"/>
                    </a:cubicBezTo>
                    <a:cubicBezTo>
                      <a:pt x="0" y="1165"/>
                      <a:pt x="1" y="1164"/>
                      <a:pt x="4" y="1179"/>
                    </a:cubicBezTo>
                    <a:cubicBezTo>
                      <a:pt x="7" y="1194"/>
                      <a:pt x="52" y="1239"/>
                      <a:pt x="58" y="1246"/>
                    </a:cubicBezTo>
                    <a:cubicBezTo>
                      <a:pt x="63" y="1254"/>
                      <a:pt x="122" y="1320"/>
                      <a:pt x="135" y="1321"/>
                    </a:cubicBezTo>
                    <a:cubicBezTo>
                      <a:pt x="148" y="1322"/>
                      <a:pt x="170" y="1316"/>
                      <a:pt x="170" y="1303"/>
                    </a:cubicBezTo>
                    <a:cubicBezTo>
                      <a:pt x="170" y="1289"/>
                      <a:pt x="147" y="1247"/>
                      <a:pt x="147" y="1242"/>
                    </a:cubicBezTo>
                    <a:cubicBezTo>
                      <a:pt x="148" y="1236"/>
                      <a:pt x="143" y="1186"/>
                      <a:pt x="143" y="1186"/>
                    </a:cubicBezTo>
                    <a:cubicBezTo>
                      <a:pt x="145" y="1169"/>
                      <a:pt x="145" y="1169"/>
                      <a:pt x="145" y="1169"/>
                    </a:cubicBezTo>
                    <a:cubicBezTo>
                      <a:pt x="131" y="1162"/>
                      <a:pt x="131" y="1162"/>
                      <a:pt x="131" y="1162"/>
                    </a:cubicBezTo>
                    <a:cubicBezTo>
                      <a:pt x="131" y="1162"/>
                      <a:pt x="213" y="1126"/>
                      <a:pt x="255" y="1118"/>
                    </a:cubicBezTo>
                    <a:cubicBezTo>
                      <a:pt x="298" y="1111"/>
                      <a:pt x="414" y="1030"/>
                      <a:pt x="426" y="1030"/>
                    </a:cubicBezTo>
                    <a:cubicBezTo>
                      <a:pt x="437" y="1029"/>
                      <a:pt x="489" y="1015"/>
                      <a:pt x="506" y="976"/>
                    </a:cubicBezTo>
                    <a:cubicBezTo>
                      <a:pt x="523" y="937"/>
                      <a:pt x="562" y="877"/>
                      <a:pt x="588" y="859"/>
                    </a:cubicBezTo>
                    <a:cubicBezTo>
                      <a:pt x="589" y="859"/>
                      <a:pt x="589" y="858"/>
                      <a:pt x="590" y="858"/>
                    </a:cubicBezTo>
                    <a:cubicBezTo>
                      <a:pt x="612" y="869"/>
                      <a:pt x="639" y="888"/>
                      <a:pt x="639" y="888"/>
                    </a:cubicBezTo>
                    <a:cubicBezTo>
                      <a:pt x="683" y="865"/>
                      <a:pt x="683" y="865"/>
                      <a:pt x="683" y="865"/>
                    </a:cubicBezTo>
                    <a:cubicBezTo>
                      <a:pt x="683" y="865"/>
                      <a:pt x="784" y="890"/>
                      <a:pt x="788" y="909"/>
                    </a:cubicBezTo>
                    <a:cubicBezTo>
                      <a:pt x="793" y="928"/>
                      <a:pt x="765" y="1017"/>
                      <a:pt x="771" y="1043"/>
                    </a:cubicBezTo>
                    <a:cubicBezTo>
                      <a:pt x="778" y="1069"/>
                      <a:pt x="765" y="1180"/>
                      <a:pt x="760" y="1181"/>
                    </a:cubicBezTo>
                    <a:cubicBezTo>
                      <a:pt x="754" y="1183"/>
                      <a:pt x="718" y="1205"/>
                      <a:pt x="712" y="1223"/>
                    </a:cubicBezTo>
                    <a:cubicBezTo>
                      <a:pt x="712" y="1223"/>
                      <a:pt x="697" y="1230"/>
                      <a:pt x="700" y="1237"/>
                    </a:cubicBezTo>
                    <a:cubicBezTo>
                      <a:pt x="703" y="1244"/>
                      <a:pt x="719" y="1267"/>
                      <a:pt x="732" y="1281"/>
                    </a:cubicBezTo>
                    <a:cubicBezTo>
                      <a:pt x="745" y="1295"/>
                      <a:pt x="810" y="1357"/>
                      <a:pt x="822" y="1365"/>
                    </a:cubicBezTo>
                    <a:cubicBezTo>
                      <a:pt x="834" y="1372"/>
                      <a:pt x="868" y="1394"/>
                      <a:pt x="875" y="1384"/>
                    </a:cubicBezTo>
                    <a:cubicBezTo>
                      <a:pt x="881" y="1374"/>
                      <a:pt x="876" y="1356"/>
                      <a:pt x="869" y="1347"/>
                    </a:cubicBezTo>
                    <a:cubicBezTo>
                      <a:pt x="862" y="1339"/>
                      <a:pt x="862" y="1339"/>
                      <a:pt x="862" y="1339"/>
                    </a:cubicBezTo>
                    <a:close/>
                    <a:moveTo>
                      <a:pt x="831" y="212"/>
                    </a:moveTo>
                    <a:cubicBezTo>
                      <a:pt x="849" y="214"/>
                      <a:pt x="852" y="212"/>
                      <a:pt x="854" y="224"/>
                    </a:cubicBezTo>
                    <a:cubicBezTo>
                      <a:pt x="856" y="236"/>
                      <a:pt x="884" y="275"/>
                      <a:pt x="882" y="296"/>
                    </a:cubicBezTo>
                    <a:cubicBezTo>
                      <a:pt x="882" y="296"/>
                      <a:pt x="874" y="299"/>
                      <a:pt x="859" y="286"/>
                    </a:cubicBezTo>
                    <a:cubicBezTo>
                      <a:pt x="844" y="272"/>
                      <a:pt x="837" y="284"/>
                      <a:pt x="815" y="250"/>
                    </a:cubicBezTo>
                    <a:cubicBezTo>
                      <a:pt x="805" y="234"/>
                      <a:pt x="800" y="227"/>
                      <a:pt x="798" y="225"/>
                    </a:cubicBezTo>
                    <a:cubicBezTo>
                      <a:pt x="801" y="225"/>
                      <a:pt x="806" y="221"/>
                      <a:pt x="805" y="204"/>
                    </a:cubicBezTo>
                    <a:cubicBezTo>
                      <a:pt x="814" y="208"/>
                      <a:pt x="824" y="212"/>
                      <a:pt x="831" y="212"/>
                    </a:cubicBezTo>
                    <a:close/>
                  </a:path>
                </a:pathLst>
              </a:custGeom>
              <a:solidFill>
                <a:schemeClr val="bg1">
                  <a:lumMod val="60000"/>
                  <a:lumOff val="4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4" name="Text Box 56" descr="© INSCALE GmbH, 26.05.2010&#10;http://www.presentationload.com/"/>
              <p:cNvSpPr txBox="1">
                <a:spLocks noChangeArrowheads="1"/>
              </p:cNvSpPr>
              <p:nvPr/>
            </p:nvSpPr>
            <p:spPr bwMode="gray">
              <a:xfrm>
                <a:off x="5720167" y="1649225"/>
                <a:ext cx="1289987" cy="523220"/>
              </a:xfrm>
              <a:prstGeom prst="rect">
                <a:avLst/>
              </a:prstGeom>
              <a:noFill/>
              <a:ln w="9525">
                <a:solidFill>
                  <a:schemeClr val="tx1"/>
                </a:solidFill>
                <a:miter lim="800000"/>
                <a:headEnd/>
                <a:tailEnd/>
              </a:ln>
              <a:effectLst/>
            </p:spPr>
            <p:txBody>
              <a:bodyPr wrap="square" lIns="90000" tIns="0" rIns="72000" bIns="0" anchor="b" anchorCtr="0">
                <a:spAutoFit/>
              </a:bodyPr>
              <a:lstStyle/>
              <a:p>
                <a:pPr algn="l"/>
                <a:r>
                  <a:rPr lang="en-US" sz="2000" b="1" noProof="1">
                    <a:solidFill>
                      <a:schemeClr val="bg1"/>
                    </a:solidFill>
                    <a:latin typeface="EYInterstate" panose="02000503020000020004" pitchFamily="2" charset="0"/>
                    <a:cs typeface="Calibri" pitchFamily="34" charset="0"/>
                  </a:rPr>
                  <a:t>Set</a:t>
                </a:r>
                <a:endParaRPr lang="en-US" b="1" noProof="1">
                  <a:solidFill>
                    <a:schemeClr val="bg1"/>
                  </a:solidFill>
                  <a:latin typeface="EYInterstate" panose="02000503020000020004" pitchFamily="2" charset="0"/>
                  <a:cs typeface="Calibri" pitchFamily="34" charset="0"/>
                </a:endParaRPr>
              </a:p>
              <a:p>
                <a:r>
                  <a:rPr lang="en-US" sz="1400" dirty="0">
                    <a:solidFill>
                      <a:schemeClr val="bg1"/>
                    </a:solidFill>
                    <a:latin typeface="EYInterstate" panose="02000503020000020004" pitchFamily="2" charset="0"/>
                  </a:rPr>
                  <a:t>Our response</a:t>
                </a:r>
              </a:p>
            </p:txBody>
          </p:sp>
        </p:grpSp>
      </p:grpSp>
      <p:grpSp>
        <p:nvGrpSpPr>
          <p:cNvPr id="145" name="Group 144"/>
          <p:cNvGrpSpPr/>
          <p:nvPr/>
        </p:nvGrpSpPr>
        <p:grpSpPr>
          <a:xfrm>
            <a:off x="554038" y="1782663"/>
            <a:ext cx="4259263" cy="1189137"/>
            <a:chOff x="554038" y="1782663"/>
            <a:chExt cx="4259263" cy="1189137"/>
          </a:xfrm>
        </p:grpSpPr>
        <p:sp>
          <p:nvSpPr>
            <p:cNvPr id="146" name="Freeform 145"/>
            <p:cNvSpPr>
              <a:spLocks/>
            </p:cNvSpPr>
            <p:nvPr/>
          </p:nvSpPr>
          <p:spPr bwMode="auto">
            <a:xfrm>
              <a:off x="554038" y="2363788"/>
              <a:ext cx="4259263" cy="608012"/>
            </a:xfrm>
            <a:custGeom>
              <a:avLst/>
              <a:gdLst>
                <a:gd name="T0" fmla="*/ 0 w 1337"/>
                <a:gd name="T1" fmla="*/ 188 h 188"/>
                <a:gd name="T2" fmla="*/ 1337 w 1337"/>
                <a:gd name="T3" fmla="*/ 44 h 188"/>
                <a:gd name="T4" fmla="*/ 1337 w 1337"/>
                <a:gd name="T5" fmla="*/ 0 h 188"/>
                <a:gd name="T6" fmla="*/ 0 w 1337"/>
                <a:gd name="T7" fmla="*/ 188 h 188"/>
              </a:gdLst>
              <a:ahLst/>
              <a:cxnLst>
                <a:cxn ang="0">
                  <a:pos x="T0" y="T1"/>
                </a:cxn>
                <a:cxn ang="0">
                  <a:pos x="T2" y="T3"/>
                </a:cxn>
                <a:cxn ang="0">
                  <a:pos x="T4" y="T5"/>
                </a:cxn>
                <a:cxn ang="0">
                  <a:pos x="T6" y="T7"/>
                </a:cxn>
              </a:cxnLst>
              <a:rect l="0" t="0" r="r" b="b"/>
              <a:pathLst>
                <a:path w="1337" h="188">
                  <a:moveTo>
                    <a:pt x="0" y="188"/>
                  </a:moveTo>
                  <a:cubicBezTo>
                    <a:pt x="349" y="111"/>
                    <a:pt x="813" y="60"/>
                    <a:pt x="1337" y="44"/>
                  </a:cubicBezTo>
                  <a:cubicBezTo>
                    <a:pt x="1337" y="0"/>
                    <a:pt x="1337" y="0"/>
                    <a:pt x="1337" y="0"/>
                  </a:cubicBezTo>
                  <a:cubicBezTo>
                    <a:pt x="801" y="25"/>
                    <a:pt x="333" y="94"/>
                    <a:pt x="0" y="188"/>
                  </a:cubicBezTo>
                  <a:close/>
                </a:path>
              </a:pathLst>
            </a:custGeom>
            <a:solidFill>
              <a:schemeClr val="accent2"/>
            </a:solidFill>
            <a:ln>
              <a:solidFill>
                <a:schemeClr val="tx1"/>
              </a:solid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147" name="Group 146"/>
            <p:cNvGrpSpPr/>
            <p:nvPr/>
          </p:nvGrpSpPr>
          <p:grpSpPr>
            <a:xfrm>
              <a:off x="593848" y="1782663"/>
              <a:ext cx="2682662" cy="949737"/>
              <a:chOff x="593848" y="1782663"/>
              <a:chExt cx="2682662" cy="949737"/>
            </a:xfrm>
          </p:grpSpPr>
          <p:sp>
            <p:nvSpPr>
              <p:cNvPr id="148" name="Freeform 6"/>
              <p:cNvSpPr>
                <a:spLocks noEditPoints="1"/>
              </p:cNvSpPr>
              <p:nvPr/>
            </p:nvSpPr>
            <p:spPr bwMode="gray">
              <a:xfrm>
                <a:off x="593848" y="1964965"/>
                <a:ext cx="730731" cy="767435"/>
              </a:xfrm>
              <a:custGeom>
                <a:avLst/>
                <a:gdLst/>
                <a:ahLst/>
                <a:cxnLst>
                  <a:cxn ang="0">
                    <a:pos x="773" y="787"/>
                  </a:cxn>
                  <a:cxn ang="0">
                    <a:pos x="742" y="760"/>
                  </a:cxn>
                  <a:cxn ang="0">
                    <a:pos x="687" y="717"/>
                  </a:cxn>
                  <a:cxn ang="0">
                    <a:pos x="681" y="645"/>
                  </a:cxn>
                  <a:cxn ang="0">
                    <a:pos x="688" y="636"/>
                  </a:cxn>
                  <a:cxn ang="0">
                    <a:pos x="664" y="613"/>
                  </a:cxn>
                  <a:cxn ang="0">
                    <a:pos x="645" y="546"/>
                  </a:cxn>
                  <a:cxn ang="0">
                    <a:pos x="612" y="326"/>
                  </a:cxn>
                  <a:cxn ang="0">
                    <a:pos x="666" y="195"/>
                  </a:cxn>
                  <a:cxn ang="0">
                    <a:pos x="735" y="181"/>
                  </a:cxn>
                  <a:cxn ang="0">
                    <a:pos x="740" y="166"/>
                  </a:cxn>
                  <a:cxn ang="0">
                    <a:pos x="747" y="150"/>
                  </a:cxn>
                  <a:cxn ang="0">
                    <a:pos x="745" y="110"/>
                  </a:cxn>
                  <a:cxn ang="0">
                    <a:pos x="713" y="19"/>
                  </a:cxn>
                  <a:cxn ang="0">
                    <a:pos x="589" y="112"/>
                  </a:cxn>
                  <a:cxn ang="0">
                    <a:pos x="432" y="159"/>
                  </a:cxn>
                  <a:cxn ang="0">
                    <a:pos x="244" y="279"/>
                  </a:cxn>
                  <a:cxn ang="0">
                    <a:pos x="198" y="477"/>
                  </a:cxn>
                  <a:cxn ang="0">
                    <a:pos x="294" y="604"/>
                  </a:cxn>
                  <a:cxn ang="0">
                    <a:pos x="142" y="581"/>
                  </a:cxn>
                  <a:cxn ang="0">
                    <a:pos x="86" y="554"/>
                  </a:cxn>
                  <a:cxn ang="0">
                    <a:pos x="6" y="699"/>
                  </a:cxn>
                  <a:cxn ang="0">
                    <a:pos x="66" y="710"/>
                  </a:cxn>
                  <a:cxn ang="0">
                    <a:pos x="118" y="649"/>
                  </a:cxn>
                  <a:cxn ang="0">
                    <a:pos x="145" y="644"/>
                  </a:cxn>
                  <a:cxn ang="0">
                    <a:pos x="207" y="699"/>
                  </a:cxn>
                  <a:cxn ang="0">
                    <a:pos x="344" y="770"/>
                  </a:cxn>
                  <a:cxn ang="0">
                    <a:pos x="421" y="712"/>
                  </a:cxn>
                  <a:cxn ang="0">
                    <a:pos x="421" y="602"/>
                  </a:cxn>
                  <a:cxn ang="0">
                    <a:pos x="562" y="569"/>
                  </a:cxn>
                  <a:cxn ang="0">
                    <a:pos x="650" y="741"/>
                  </a:cxn>
                  <a:cxn ang="0">
                    <a:pos x="641" y="799"/>
                  </a:cxn>
                  <a:cxn ang="0">
                    <a:pos x="668" y="808"/>
                  </a:cxn>
                  <a:cxn ang="0">
                    <a:pos x="701" y="818"/>
                  </a:cxn>
                  <a:cxn ang="0">
                    <a:pos x="712" y="848"/>
                  </a:cxn>
                  <a:cxn ang="0">
                    <a:pos x="725" y="807"/>
                  </a:cxn>
                  <a:cxn ang="0">
                    <a:pos x="759" y="824"/>
                  </a:cxn>
                  <a:cxn ang="0">
                    <a:pos x="785" y="829"/>
                  </a:cxn>
                  <a:cxn ang="0">
                    <a:pos x="812" y="816"/>
                  </a:cxn>
                  <a:cxn ang="0">
                    <a:pos x="446" y="489"/>
                  </a:cxn>
                  <a:cxn ang="0">
                    <a:pos x="402" y="505"/>
                  </a:cxn>
                  <a:cxn ang="0">
                    <a:pos x="448" y="489"/>
                  </a:cxn>
                  <a:cxn ang="0">
                    <a:pos x="446" y="489"/>
                  </a:cxn>
                  <a:cxn ang="0">
                    <a:pos x="501" y="382"/>
                  </a:cxn>
                  <a:cxn ang="0">
                    <a:pos x="525" y="390"/>
                  </a:cxn>
                </a:cxnLst>
                <a:rect l="0" t="0" r="r" b="b"/>
                <a:pathLst>
                  <a:path w="815" h="856">
                    <a:moveTo>
                      <a:pt x="798" y="808"/>
                    </a:moveTo>
                    <a:cubicBezTo>
                      <a:pt x="782" y="802"/>
                      <a:pt x="773" y="787"/>
                      <a:pt x="773" y="787"/>
                    </a:cubicBezTo>
                    <a:cubicBezTo>
                      <a:pt x="773" y="787"/>
                      <a:pt x="769" y="781"/>
                      <a:pt x="763" y="775"/>
                    </a:cubicBezTo>
                    <a:cubicBezTo>
                      <a:pt x="758" y="769"/>
                      <a:pt x="745" y="764"/>
                      <a:pt x="742" y="760"/>
                    </a:cubicBezTo>
                    <a:cubicBezTo>
                      <a:pt x="739" y="756"/>
                      <a:pt x="734" y="750"/>
                      <a:pt x="717" y="741"/>
                    </a:cubicBezTo>
                    <a:cubicBezTo>
                      <a:pt x="700" y="732"/>
                      <a:pt x="687" y="717"/>
                      <a:pt x="687" y="717"/>
                    </a:cubicBezTo>
                    <a:cubicBezTo>
                      <a:pt x="687" y="717"/>
                      <a:pt x="664" y="660"/>
                      <a:pt x="664" y="649"/>
                    </a:cubicBezTo>
                    <a:cubicBezTo>
                      <a:pt x="664" y="649"/>
                      <a:pt x="682" y="654"/>
                      <a:pt x="681" y="645"/>
                    </a:cubicBezTo>
                    <a:cubicBezTo>
                      <a:pt x="681" y="645"/>
                      <a:pt x="675" y="638"/>
                      <a:pt x="674" y="635"/>
                    </a:cubicBezTo>
                    <a:cubicBezTo>
                      <a:pt x="674" y="635"/>
                      <a:pt x="686" y="638"/>
                      <a:pt x="688" y="636"/>
                    </a:cubicBezTo>
                    <a:cubicBezTo>
                      <a:pt x="689" y="633"/>
                      <a:pt x="690" y="628"/>
                      <a:pt x="683" y="627"/>
                    </a:cubicBezTo>
                    <a:cubicBezTo>
                      <a:pt x="675" y="627"/>
                      <a:pt x="665" y="616"/>
                      <a:pt x="664" y="613"/>
                    </a:cubicBezTo>
                    <a:cubicBezTo>
                      <a:pt x="663" y="609"/>
                      <a:pt x="653" y="600"/>
                      <a:pt x="653" y="600"/>
                    </a:cubicBezTo>
                    <a:cubicBezTo>
                      <a:pt x="653" y="600"/>
                      <a:pt x="645" y="564"/>
                      <a:pt x="645" y="546"/>
                    </a:cubicBezTo>
                    <a:cubicBezTo>
                      <a:pt x="645" y="528"/>
                      <a:pt x="622" y="468"/>
                      <a:pt x="618" y="457"/>
                    </a:cubicBezTo>
                    <a:cubicBezTo>
                      <a:pt x="614" y="445"/>
                      <a:pt x="604" y="351"/>
                      <a:pt x="612" y="326"/>
                    </a:cubicBezTo>
                    <a:cubicBezTo>
                      <a:pt x="619" y="300"/>
                      <a:pt x="642" y="242"/>
                      <a:pt x="623" y="211"/>
                    </a:cubicBezTo>
                    <a:cubicBezTo>
                      <a:pt x="623" y="211"/>
                      <a:pt x="658" y="202"/>
                      <a:pt x="666" y="195"/>
                    </a:cubicBezTo>
                    <a:cubicBezTo>
                      <a:pt x="673" y="187"/>
                      <a:pt x="698" y="201"/>
                      <a:pt x="706" y="201"/>
                    </a:cubicBezTo>
                    <a:cubicBezTo>
                      <a:pt x="714" y="201"/>
                      <a:pt x="738" y="206"/>
                      <a:pt x="735" y="181"/>
                    </a:cubicBezTo>
                    <a:cubicBezTo>
                      <a:pt x="735" y="181"/>
                      <a:pt x="744" y="175"/>
                      <a:pt x="744" y="172"/>
                    </a:cubicBezTo>
                    <a:cubicBezTo>
                      <a:pt x="744" y="169"/>
                      <a:pt x="740" y="166"/>
                      <a:pt x="740" y="166"/>
                    </a:cubicBezTo>
                    <a:cubicBezTo>
                      <a:pt x="740" y="166"/>
                      <a:pt x="747" y="163"/>
                      <a:pt x="747" y="160"/>
                    </a:cubicBezTo>
                    <a:cubicBezTo>
                      <a:pt x="747" y="158"/>
                      <a:pt x="747" y="150"/>
                      <a:pt x="747" y="150"/>
                    </a:cubicBezTo>
                    <a:cubicBezTo>
                      <a:pt x="747" y="150"/>
                      <a:pt x="759" y="145"/>
                      <a:pt x="755" y="136"/>
                    </a:cubicBezTo>
                    <a:cubicBezTo>
                      <a:pt x="751" y="127"/>
                      <a:pt x="740" y="119"/>
                      <a:pt x="745" y="110"/>
                    </a:cubicBezTo>
                    <a:cubicBezTo>
                      <a:pt x="750" y="101"/>
                      <a:pt x="760" y="85"/>
                      <a:pt x="753" y="68"/>
                    </a:cubicBezTo>
                    <a:cubicBezTo>
                      <a:pt x="747" y="51"/>
                      <a:pt x="752" y="33"/>
                      <a:pt x="713" y="19"/>
                    </a:cubicBezTo>
                    <a:cubicBezTo>
                      <a:pt x="675" y="4"/>
                      <a:pt x="639" y="0"/>
                      <a:pt x="610" y="37"/>
                    </a:cubicBezTo>
                    <a:cubicBezTo>
                      <a:pt x="591" y="62"/>
                      <a:pt x="589" y="112"/>
                      <a:pt x="589" y="112"/>
                    </a:cubicBezTo>
                    <a:cubicBezTo>
                      <a:pt x="589" y="112"/>
                      <a:pt x="585" y="123"/>
                      <a:pt x="567" y="127"/>
                    </a:cubicBezTo>
                    <a:cubicBezTo>
                      <a:pt x="549" y="130"/>
                      <a:pt x="479" y="129"/>
                      <a:pt x="432" y="159"/>
                    </a:cubicBezTo>
                    <a:cubicBezTo>
                      <a:pt x="385" y="188"/>
                      <a:pt x="340" y="196"/>
                      <a:pt x="325" y="209"/>
                    </a:cubicBezTo>
                    <a:cubicBezTo>
                      <a:pt x="309" y="221"/>
                      <a:pt x="253" y="271"/>
                      <a:pt x="244" y="279"/>
                    </a:cubicBezTo>
                    <a:cubicBezTo>
                      <a:pt x="235" y="287"/>
                      <a:pt x="198" y="328"/>
                      <a:pt x="188" y="334"/>
                    </a:cubicBezTo>
                    <a:cubicBezTo>
                      <a:pt x="178" y="340"/>
                      <a:pt x="132" y="429"/>
                      <a:pt x="198" y="477"/>
                    </a:cubicBezTo>
                    <a:cubicBezTo>
                      <a:pt x="198" y="477"/>
                      <a:pt x="233" y="511"/>
                      <a:pt x="246" y="541"/>
                    </a:cubicBezTo>
                    <a:cubicBezTo>
                      <a:pt x="259" y="572"/>
                      <a:pt x="294" y="604"/>
                      <a:pt x="294" y="604"/>
                    </a:cubicBezTo>
                    <a:cubicBezTo>
                      <a:pt x="294" y="604"/>
                      <a:pt x="298" y="613"/>
                      <a:pt x="224" y="602"/>
                    </a:cubicBezTo>
                    <a:cubicBezTo>
                      <a:pt x="224" y="602"/>
                      <a:pt x="152" y="595"/>
                      <a:pt x="142" y="581"/>
                    </a:cubicBezTo>
                    <a:cubicBezTo>
                      <a:pt x="132" y="568"/>
                      <a:pt x="136" y="569"/>
                      <a:pt x="124" y="563"/>
                    </a:cubicBezTo>
                    <a:cubicBezTo>
                      <a:pt x="112" y="556"/>
                      <a:pt x="94" y="554"/>
                      <a:pt x="86" y="554"/>
                    </a:cubicBezTo>
                    <a:cubicBezTo>
                      <a:pt x="79" y="554"/>
                      <a:pt x="72" y="545"/>
                      <a:pt x="64" y="554"/>
                    </a:cubicBezTo>
                    <a:cubicBezTo>
                      <a:pt x="56" y="563"/>
                      <a:pt x="0" y="659"/>
                      <a:pt x="6" y="699"/>
                    </a:cubicBezTo>
                    <a:cubicBezTo>
                      <a:pt x="13" y="738"/>
                      <a:pt x="23" y="760"/>
                      <a:pt x="45" y="750"/>
                    </a:cubicBezTo>
                    <a:cubicBezTo>
                      <a:pt x="66" y="740"/>
                      <a:pt x="66" y="716"/>
                      <a:pt x="66" y="710"/>
                    </a:cubicBezTo>
                    <a:cubicBezTo>
                      <a:pt x="66" y="704"/>
                      <a:pt x="75" y="691"/>
                      <a:pt x="78" y="688"/>
                    </a:cubicBezTo>
                    <a:cubicBezTo>
                      <a:pt x="81" y="685"/>
                      <a:pt x="113" y="649"/>
                      <a:pt x="118" y="649"/>
                    </a:cubicBezTo>
                    <a:cubicBezTo>
                      <a:pt x="123" y="649"/>
                      <a:pt x="137" y="654"/>
                      <a:pt x="140" y="649"/>
                    </a:cubicBezTo>
                    <a:cubicBezTo>
                      <a:pt x="142" y="645"/>
                      <a:pt x="145" y="644"/>
                      <a:pt x="145" y="644"/>
                    </a:cubicBezTo>
                    <a:cubicBezTo>
                      <a:pt x="145" y="644"/>
                      <a:pt x="212" y="661"/>
                      <a:pt x="217" y="669"/>
                    </a:cubicBezTo>
                    <a:cubicBezTo>
                      <a:pt x="223" y="677"/>
                      <a:pt x="199" y="688"/>
                      <a:pt x="207" y="699"/>
                    </a:cubicBezTo>
                    <a:cubicBezTo>
                      <a:pt x="215" y="711"/>
                      <a:pt x="223" y="722"/>
                      <a:pt x="270" y="740"/>
                    </a:cubicBezTo>
                    <a:cubicBezTo>
                      <a:pt x="317" y="757"/>
                      <a:pt x="331" y="771"/>
                      <a:pt x="344" y="770"/>
                    </a:cubicBezTo>
                    <a:cubicBezTo>
                      <a:pt x="356" y="769"/>
                      <a:pt x="423" y="765"/>
                      <a:pt x="432" y="744"/>
                    </a:cubicBezTo>
                    <a:cubicBezTo>
                      <a:pt x="441" y="724"/>
                      <a:pt x="426" y="712"/>
                      <a:pt x="421" y="712"/>
                    </a:cubicBezTo>
                    <a:cubicBezTo>
                      <a:pt x="417" y="712"/>
                      <a:pt x="428" y="691"/>
                      <a:pt x="428" y="685"/>
                    </a:cubicBezTo>
                    <a:cubicBezTo>
                      <a:pt x="428" y="679"/>
                      <a:pt x="424" y="605"/>
                      <a:pt x="421" y="602"/>
                    </a:cubicBezTo>
                    <a:cubicBezTo>
                      <a:pt x="419" y="599"/>
                      <a:pt x="535" y="548"/>
                      <a:pt x="548" y="531"/>
                    </a:cubicBezTo>
                    <a:cubicBezTo>
                      <a:pt x="548" y="531"/>
                      <a:pt x="557" y="545"/>
                      <a:pt x="562" y="569"/>
                    </a:cubicBezTo>
                    <a:cubicBezTo>
                      <a:pt x="566" y="594"/>
                      <a:pt x="613" y="668"/>
                      <a:pt x="623" y="693"/>
                    </a:cubicBezTo>
                    <a:cubicBezTo>
                      <a:pt x="633" y="717"/>
                      <a:pt x="648" y="727"/>
                      <a:pt x="650" y="741"/>
                    </a:cubicBezTo>
                    <a:cubicBezTo>
                      <a:pt x="652" y="755"/>
                      <a:pt x="660" y="773"/>
                      <a:pt x="660" y="773"/>
                    </a:cubicBezTo>
                    <a:cubicBezTo>
                      <a:pt x="660" y="773"/>
                      <a:pt x="657" y="797"/>
                      <a:pt x="641" y="799"/>
                    </a:cubicBezTo>
                    <a:cubicBezTo>
                      <a:pt x="641" y="799"/>
                      <a:pt x="631" y="805"/>
                      <a:pt x="643" y="809"/>
                    </a:cubicBezTo>
                    <a:cubicBezTo>
                      <a:pt x="654" y="813"/>
                      <a:pt x="665" y="814"/>
                      <a:pt x="668" y="808"/>
                    </a:cubicBezTo>
                    <a:cubicBezTo>
                      <a:pt x="671" y="803"/>
                      <a:pt x="685" y="773"/>
                      <a:pt x="695" y="786"/>
                    </a:cubicBezTo>
                    <a:cubicBezTo>
                      <a:pt x="704" y="799"/>
                      <a:pt x="707" y="808"/>
                      <a:pt x="701" y="818"/>
                    </a:cubicBezTo>
                    <a:cubicBezTo>
                      <a:pt x="695" y="828"/>
                      <a:pt x="693" y="846"/>
                      <a:pt x="701" y="851"/>
                    </a:cubicBezTo>
                    <a:cubicBezTo>
                      <a:pt x="709" y="856"/>
                      <a:pt x="712" y="848"/>
                      <a:pt x="712" y="848"/>
                    </a:cubicBezTo>
                    <a:cubicBezTo>
                      <a:pt x="712" y="848"/>
                      <a:pt x="712" y="835"/>
                      <a:pt x="716" y="829"/>
                    </a:cubicBezTo>
                    <a:cubicBezTo>
                      <a:pt x="720" y="824"/>
                      <a:pt x="725" y="807"/>
                      <a:pt x="725" y="807"/>
                    </a:cubicBezTo>
                    <a:cubicBezTo>
                      <a:pt x="725" y="807"/>
                      <a:pt x="732" y="792"/>
                      <a:pt x="736" y="796"/>
                    </a:cubicBezTo>
                    <a:cubicBezTo>
                      <a:pt x="740" y="799"/>
                      <a:pt x="755" y="812"/>
                      <a:pt x="759" y="824"/>
                    </a:cubicBezTo>
                    <a:cubicBezTo>
                      <a:pt x="763" y="835"/>
                      <a:pt x="779" y="844"/>
                      <a:pt x="784" y="844"/>
                    </a:cubicBezTo>
                    <a:cubicBezTo>
                      <a:pt x="790" y="844"/>
                      <a:pt x="796" y="840"/>
                      <a:pt x="785" y="829"/>
                    </a:cubicBezTo>
                    <a:cubicBezTo>
                      <a:pt x="775" y="817"/>
                      <a:pt x="777" y="815"/>
                      <a:pt x="777" y="815"/>
                    </a:cubicBezTo>
                    <a:cubicBezTo>
                      <a:pt x="777" y="815"/>
                      <a:pt x="809" y="835"/>
                      <a:pt x="812" y="816"/>
                    </a:cubicBezTo>
                    <a:cubicBezTo>
                      <a:pt x="812" y="816"/>
                      <a:pt x="815" y="813"/>
                      <a:pt x="798" y="808"/>
                    </a:cubicBezTo>
                    <a:close/>
                    <a:moveTo>
                      <a:pt x="446" y="489"/>
                    </a:moveTo>
                    <a:cubicBezTo>
                      <a:pt x="431" y="494"/>
                      <a:pt x="404" y="518"/>
                      <a:pt x="404" y="518"/>
                    </a:cubicBezTo>
                    <a:cubicBezTo>
                      <a:pt x="402" y="505"/>
                      <a:pt x="402" y="505"/>
                      <a:pt x="402" y="505"/>
                    </a:cubicBezTo>
                    <a:cubicBezTo>
                      <a:pt x="406" y="500"/>
                      <a:pt x="435" y="492"/>
                      <a:pt x="446" y="489"/>
                    </a:cubicBezTo>
                    <a:cubicBezTo>
                      <a:pt x="447" y="489"/>
                      <a:pt x="447" y="489"/>
                      <a:pt x="448" y="489"/>
                    </a:cubicBezTo>
                    <a:cubicBezTo>
                      <a:pt x="452" y="488"/>
                      <a:pt x="450" y="488"/>
                      <a:pt x="446" y="489"/>
                    </a:cubicBezTo>
                    <a:cubicBezTo>
                      <a:pt x="446" y="489"/>
                      <a:pt x="446" y="489"/>
                      <a:pt x="446" y="489"/>
                    </a:cubicBezTo>
                    <a:close/>
                    <a:moveTo>
                      <a:pt x="501" y="384"/>
                    </a:moveTo>
                    <a:cubicBezTo>
                      <a:pt x="501" y="382"/>
                      <a:pt x="501" y="382"/>
                      <a:pt x="501" y="382"/>
                    </a:cubicBezTo>
                    <a:cubicBezTo>
                      <a:pt x="510" y="381"/>
                      <a:pt x="519" y="365"/>
                      <a:pt x="519" y="365"/>
                    </a:cubicBezTo>
                    <a:cubicBezTo>
                      <a:pt x="516" y="370"/>
                      <a:pt x="525" y="390"/>
                      <a:pt x="525" y="390"/>
                    </a:cubicBezTo>
                    <a:cubicBezTo>
                      <a:pt x="516" y="386"/>
                      <a:pt x="501" y="384"/>
                      <a:pt x="501" y="384"/>
                    </a:cubicBezTo>
                    <a:close/>
                  </a:path>
                </a:pathLst>
              </a:custGeom>
              <a:solidFill>
                <a:schemeClr val="bg1">
                  <a:lumMod val="60000"/>
                  <a:lumOff val="4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9" name="Text Box 56" descr="© INSCALE GmbH, 26.05.2010&#10;http://www.presentationload.com/"/>
              <p:cNvSpPr txBox="1">
                <a:spLocks noChangeArrowheads="1"/>
              </p:cNvSpPr>
              <p:nvPr/>
            </p:nvSpPr>
            <p:spPr bwMode="gray">
              <a:xfrm>
                <a:off x="1323453" y="1782663"/>
                <a:ext cx="1953057" cy="738664"/>
              </a:xfrm>
              <a:prstGeom prst="rect">
                <a:avLst/>
              </a:prstGeom>
              <a:noFill/>
              <a:ln w="9525">
                <a:solidFill>
                  <a:schemeClr val="tx1"/>
                </a:solidFill>
                <a:miter lim="800000"/>
                <a:headEnd/>
                <a:tailEnd/>
              </a:ln>
              <a:effectLst/>
            </p:spPr>
            <p:txBody>
              <a:bodyPr wrap="square" lIns="90000" tIns="0" rIns="72000" bIns="0" anchor="b" anchorCtr="0">
                <a:spAutoFit/>
              </a:bodyPr>
              <a:lstStyle/>
              <a:p>
                <a:pPr algn="l"/>
                <a:r>
                  <a:rPr lang="en-US" sz="2000" b="1" noProof="1">
                    <a:solidFill>
                      <a:schemeClr val="bg1"/>
                    </a:solidFill>
                    <a:latin typeface="EYInterstate" panose="02000503020000020004" pitchFamily="2" charset="0"/>
                    <a:cs typeface="Calibri" pitchFamily="34" charset="0"/>
                  </a:rPr>
                  <a:t>Ready</a:t>
                </a:r>
                <a:endParaRPr lang="en-US" b="1" noProof="1">
                  <a:solidFill>
                    <a:schemeClr val="bg1"/>
                  </a:solidFill>
                  <a:latin typeface="EYInterstate" panose="02000503020000020004" pitchFamily="2" charset="0"/>
                  <a:cs typeface="Calibri" pitchFamily="34" charset="0"/>
                </a:endParaRPr>
              </a:p>
              <a:p>
                <a:r>
                  <a:rPr lang="en-US" sz="1400" dirty="0">
                    <a:solidFill>
                      <a:schemeClr val="bg1"/>
                    </a:solidFill>
                    <a:latin typeface="EYInterstate" panose="02000503020000020004" pitchFamily="2" charset="0"/>
                  </a:rPr>
                  <a:t>Pursuit strategy development</a:t>
                </a:r>
              </a:p>
            </p:txBody>
          </p:sp>
        </p:grpSp>
      </p:grpSp>
      <p:grpSp>
        <p:nvGrpSpPr>
          <p:cNvPr id="150" name="Group 149"/>
          <p:cNvGrpSpPr/>
          <p:nvPr/>
        </p:nvGrpSpPr>
        <p:grpSpPr>
          <a:xfrm>
            <a:off x="384175" y="1052987"/>
            <a:ext cx="10832340" cy="3474720"/>
            <a:chOff x="384175" y="1052987"/>
            <a:chExt cx="10832340" cy="3474720"/>
          </a:xfrm>
        </p:grpSpPr>
        <p:grpSp>
          <p:nvGrpSpPr>
            <p:cNvPr id="151" name="Group 150"/>
            <p:cNvGrpSpPr/>
            <p:nvPr/>
          </p:nvGrpSpPr>
          <p:grpSpPr>
            <a:xfrm>
              <a:off x="384175" y="2433732"/>
              <a:ext cx="10832340" cy="2007253"/>
              <a:chOff x="384175" y="2433732"/>
              <a:chExt cx="10832340" cy="2007253"/>
            </a:xfrm>
          </p:grpSpPr>
          <p:sp>
            <p:nvSpPr>
              <p:cNvPr id="154" name="Line 55" descr="© INSCALE GmbH, 26.05.2010&#10;http://www.presentationload.com/"/>
              <p:cNvSpPr>
                <a:spLocks noChangeShapeType="1"/>
              </p:cNvSpPr>
              <p:nvPr/>
            </p:nvSpPr>
            <p:spPr bwMode="gray">
              <a:xfrm flipV="1">
                <a:off x="1084016" y="2841230"/>
                <a:ext cx="0" cy="339515"/>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55" name="Text Box 56" descr="© INSCALE GmbH, 26.05.2010&#10;http://www.presentationload.com/"/>
              <p:cNvSpPr txBox="1">
                <a:spLocks noChangeArrowheads="1"/>
              </p:cNvSpPr>
              <p:nvPr/>
            </p:nvSpPr>
            <p:spPr bwMode="gray">
              <a:xfrm>
                <a:off x="384175" y="3218400"/>
                <a:ext cx="1762124" cy="524076"/>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Preliminary meeting with client – opportunity </a:t>
                </a:r>
                <a:r>
                  <a:rPr lang="en-US" sz="1200" b="1" noProof="1">
                    <a:solidFill>
                      <a:schemeClr val="bg1"/>
                    </a:solidFill>
                    <a:latin typeface="EYInterstate" panose="02000503020000020004" pitchFamily="2" charset="0"/>
                    <a:cs typeface="Calibri" pitchFamily="34" charset="0"/>
                  </a:rPr>
                  <a:t>identified</a:t>
                </a:r>
                <a:r>
                  <a:rPr lang="en-US" sz="1200" noProof="1">
                    <a:solidFill>
                      <a:schemeClr val="bg1"/>
                    </a:solidFill>
                    <a:latin typeface="EYInterstate" panose="02000503020000020004" pitchFamily="2" charset="0"/>
                    <a:cs typeface="Calibri" pitchFamily="34" charset="0"/>
                  </a:rPr>
                  <a:t> (external)</a:t>
                </a:r>
              </a:p>
            </p:txBody>
          </p:sp>
          <p:sp>
            <p:nvSpPr>
              <p:cNvPr id="156" name="Line 55" descr="© INSCALE GmbH, 26.05.2010&#10;http://www.presentationload.com/"/>
              <p:cNvSpPr>
                <a:spLocks noChangeShapeType="1"/>
              </p:cNvSpPr>
              <p:nvPr/>
            </p:nvSpPr>
            <p:spPr bwMode="gray">
              <a:xfrm flipV="1">
                <a:off x="2322824" y="2642208"/>
                <a:ext cx="0" cy="1193192"/>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57" name="Text Box 56" descr="© INSCALE GmbH, 26.05.2010&#10;http://www.presentationload.com/"/>
              <p:cNvSpPr txBox="1">
                <a:spLocks noChangeArrowheads="1"/>
              </p:cNvSpPr>
              <p:nvPr/>
            </p:nvSpPr>
            <p:spPr bwMode="gray">
              <a:xfrm>
                <a:off x="1589641" y="3900216"/>
                <a:ext cx="1393607" cy="524076"/>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Discussion with EY team – opportunity validated (internal)</a:t>
                </a:r>
              </a:p>
            </p:txBody>
          </p:sp>
          <p:sp>
            <p:nvSpPr>
              <p:cNvPr id="158" name="Line 55" descr="© INSCALE GmbH, 26.05.2010&#10;http://www.presentationload.com/"/>
              <p:cNvSpPr>
                <a:spLocks noChangeShapeType="1"/>
              </p:cNvSpPr>
              <p:nvPr/>
            </p:nvSpPr>
            <p:spPr bwMode="gray">
              <a:xfrm flipV="1">
                <a:off x="3000796" y="2565698"/>
                <a:ext cx="0" cy="339515"/>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59" name="Text Box 56" descr="© INSCALE GmbH, 26.05.2010&#10;http://www.presentationload.com/"/>
              <p:cNvSpPr txBox="1">
                <a:spLocks noChangeArrowheads="1"/>
              </p:cNvSpPr>
              <p:nvPr/>
            </p:nvSpPr>
            <p:spPr bwMode="gray">
              <a:xfrm>
                <a:off x="2654300" y="2930168"/>
                <a:ext cx="1258724" cy="524076"/>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b="1" noProof="1">
                    <a:solidFill>
                      <a:schemeClr val="bg1"/>
                    </a:solidFill>
                    <a:latin typeface="EYInterstate" panose="02000503020000020004" pitchFamily="2" charset="0"/>
                    <a:cs typeface="Calibri" pitchFamily="34" charset="0"/>
                  </a:rPr>
                  <a:t>Qualify</a:t>
                </a:r>
                <a:r>
                  <a:rPr lang="en-US" sz="1200" noProof="1">
                    <a:solidFill>
                      <a:schemeClr val="bg1"/>
                    </a:solidFill>
                    <a:latin typeface="EYInterstate" panose="02000503020000020004" pitchFamily="2" charset="0"/>
                    <a:cs typeface="Calibri" pitchFamily="34" charset="0"/>
                  </a:rPr>
                  <a:t> opportunity with client (external)</a:t>
                </a:r>
              </a:p>
            </p:txBody>
          </p:sp>
          <p:sp>
            <p:nvSpPr>
              <p:cNvPr id="160" name="Text Box 56" descr="© INSCALE GmbH, 26.05.2010&#10;http://www.presentationload.com/"/>
              <p:cNvSpPr txBox="1">
                <a:spLocks noChangeArrowheads="1"/>
              </p:cNvSpPr>
              <p:nvPr/>
            </p:nvSpPr>
            <p:spPr bwMode="gray">
              <a:xfrm>
                <a:off x="5460755" y="2551708"/>
                <a:ext cx="1452523" cy="365760"/>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b="1" noProof="1">
                    <a:solidFill>
                      <a:schemeClr val="bg1"/>
                    </a:solidFill>
                    <a:latin typeface="EYInterstate" panose="02000503020000020004" pitchFamily="2" charset="0"/>
                    <a:cs typeface="Calibri" pitchFamily="34" charset="0"/>
                  </a:rPr>
                  <a:t>Pursuit </a:t>
                </a:r>
                <a:br>
                  <a:rPr lang="en-US" sz="1200" noProof="1">
                    <a:solidFill>
                      <a:schemeClr val="bg1"/>
                    </a:solidFill>
                    <a:latin typeface="EYInterstate" panose="02000503020000020004" pitchFamily="2" charset="0"/>
                    <a:cs typeface="Calibri" pitchFamily="34" charset="0"/>
                  </a:rPr>
                </a:br>
                <a:r>
                  <a:rPr lang="en-US" sz="1200" noProof="1">
                    <a:solidFill>
                      <a:schemeClr val="bg1"/>
                    </a:solidFill>
                    <a:latin typeface="EYInterstate" panose="02000503020000020004" pitchFamily="2" charset="0"/>
                    <a:cs typeface="Calibri" pitchFamily="34" charset="0"/>
                  </a:rPr>
                  <a:t>kick-off meeting</a:t>
                </a:r>
              </a:p>
            </p:txBody>
          </p:sp>
          <p:sp>
            <p:nvSpPr>
              <p:cNvPr id="161" name="Text Box 56" descr="© INSCALE GmbH, 26.05.2010&#10;http://www.presentationload.com/"/>
              <p:cNvSpPr txBox="1">
                <a:spLocks noChangeArrowheads="1"/>
              </p:cNvSpPr>
              <p:nvPr/>
            </p:nvSpPr>
            <p:spPr bwMode="gray">
              <a:xfrm>
                <a:off x="5460755" y="3099612"/>
                <a:ext cx="1452523" cy="365760"/>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Meetings with key </a:t>
                </a:r>
                <a:br>
                  <a:rPr lang="en-US" sz="1200" noProof="1">
                    <a:solidFill>
                      <a:schemeClr val="bg1"/>
                    </a:solidFill>
                    <a:latin typeface="EYInterstate" panose="02000503020000020004" pitchFamily="2" charset="0"/>
                    <a:cs typeface="Calibri" pitchFamily="34" charset="0"/>
                  </a:rPr>
                </a:br>
                <a:r>
                  <a:rPr lang="en-US" sz="1200" noProof="1">
                    <a:solidFill>
                      <a:schemeClr val="bg1"/>
                    </a:solidFill>
                    <a:latin typeface="EYInterstate" panose="02000503020000020004" pitchFamily="2" charset="0"/>
                    <a:cs typeface="Calibri" pitchFamily="34" charset="0"/>
                  </a:rPr>
                  <a:t>client stakeholders</a:t>
                </a:r>
              </a:p>
            </p:txBody>
          </p:sp>
          <p:sp>
            <p:nvSpPr>
              <p:cNvPr id="162" name="Text Box 56" descr="© INSCALE GmbH, 26.05.2010&#10;http://www.presentationload.com/"/>
              <p:cNvSpPr txBox="1">
                <a:spLocks noChangeArrowheads="1"/>
              </p:cNvSpPr>
              <p:nvPr/>
            </p:nvSpPr>
            <p:spPr bwMode="gray">
              <a:xfrm>
                <a:off x="5460755" y="3675939"/>
                <a:ext cx="1452523" cy="365760"/>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Develop proposal response</a:t>
                </a:r>
              </a:p>
            </p:txBody>
          </p:sp>
          <p:sp>
            <p:nvSpPr>
              <p:cNvPr id="163" name="Text Box 56" descr="© INSCALE GmbH, 26.05.2010&#10;http://www.presentationload.com/"/>
              <p:cNvSpPr txBox="1">
                <a:spLocks noChangeArrowheads="1"/>
              </p:cNvSpPr>
              <p:nvPr/>
            </p:nvSpPr>
            <p:spPr bwMode="gray">
              <a:xfrm>
                <a:off x="5460755" y="4261943"/>
                <a:ext cx="1452523" cy="179042"/>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Deliver proposal</a:t>
                </a:r>
              </a:p>
            </p:txBody>
          </p:sp>
          <p:sp>
            <p:nvSpPr>
              <p:cNvPr id="164" name="Line 55" descr="© INSCALE GmbH, 26.05.2010&#10;http://www.presentationload.com/"/>
              <p:cNvSpPr>
                <a:spLocks noChangeShapeType="1"/>
              </p:cNvSpPr>
              <p:nvPr/>
            </p:nvSpPr>
            <p:spPr bwMode="gray">
              <a:xfrm flipV="1">
                <a:off x="5155807" y="2433732"/>
                <a:ext cx="0" cy="1929061"/>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65" name="Line 55" descr="© INSCALE GmbH, 26.05.2010&#10;http://www.presentationload.com/"/>
              <p:cNvSpPr>
                <a:spLocks noChangeShapeType="1"/>
              </p:cNvSpPr>
              <p:nvPr/>
            </p:nvSpPr>
            <p:spPr bwMode="gray">
              <a:xfrm flipV="1">
                <a:off x="5193907" y="2631328"/>
                <a:ext cx="182880" cy="0"/>
              </a:xfrm>
              <a:prstGeom prst="line">
                <a:avLst/>
              </a:prstGeom>
              <a:noFill/>
              <a:ln w="19050">
                <a:solidFill>
                  <a:schemeClr val="tx1"/>
                </a:solidFill>
                <a:prstDash val="sysDot"/>
                <a:round/>
                <a:headEnd/>
                <a:tailEnd/>
              </a:ln>
              <a:effectLst/>
            </p:spPr>
            <p:txBody>
              <a:bodyPr/>
              <a:lstStyle/>
              <a:p>
                <a:endParaRPr lang="en-US" dirty="0">
                  <a:solidFill>
                    <a:schemeClr val="bg1"/>
                  </a:solidFill>
                  <a:latin typeface="Calibri" pitchFamily="34" charset="0"/>
                  <a:cs typeface="Calibri" pitchFamily="34" charset="0"/>
                </a:endParaRPr>
              </a:p>
            </p:txBody>
          </p:sp>
          <p:sp>
            <p:nvSpPr>
              <p:cNvPr id="166" name="Line 55" descr="© INSCALE GmbH, 26.05.2010&#10;http://www.presentationload.com/"/>
              <p:cNvSpPr>
                <a:spLocks noChangeShapeType="1"/>
              </p:cNvSpPr>
              <p:nvPr/>
            </p:nvSpPr>
            <p:spPr bwMode="gray">
              <a:xfrm flipV="1">
                <a:off x="5193907" y="3208483"/>
                <a:ext cx="182880" cy="0"/>
              </a:xfrm>
              <a:prstGeom prst="line">
                <a:avLst/>
              </a:prstGeom>
              <a:noFill/>
              <a:ln w="19050">
                <a:solidFill>
                  <a:schemeClr val="tx1"/>
                </a:solidFill>
                <a:prstDash val="sysDot"/>
                <a:round/>
                <a:headEnd/>
                <a:tailEnd/>
              </a:ln>
              <a:effectLst/>
            </p:spPr>
            <p:txBody>
              <a:bodyPr/>
              <a:lstStyle/>
              <a:p>
                <a:endParaRPr lang="en-US" dirty="0">
                  <a:solidFill>
                    <a:schemeClr val="bg1"/>
                  </a:solidFill>
                  <a:latin typeface="Calibri" pitchFamily="34" charset="0"/>
                  <a:cs typeface="Calibri" pitchFamily="34" charset="0"/>
                </a:endParaRPr>
              </a:p>
            </p:txBody>
          </p:sp>
          <p:sp>
            <p:nvSpPr>
              <p:cNvPr id="167" name="Line 55" descr="© INSCALE GmbH, 26.05.2010&#10;http://www.presentationload.com/"/>
              <p:cNvSpPr>
                <a:spLocks noChangeShapeType="1"/>
              </p:cNvSpPr>
              <p:nvPr/>
            </p:nvSpPr>
            <p:spPr bwMode="gray">
              <a:xfrm flipV="1">
                <a:off x="5193907" y="3785638"/>
                <a:ext cx="182880" cy="0"/>
              </a:xfrm>
              <a:prstGeom prst="line">
                <a:avLst/>
              </a:prstGeom>
              <a:noFill/>
              <a:ln w="19050">
                <a:solidFill>
                  <a:schemeClr val="tx1"/>
                </a:solidFill>
                <a:prstDash val="sysDot"/>
                <a:round/>
                <a:headEnd/>
                <a:tailEnd/>
              </a:ln>
              <a:effectLst/>
            </p:spPr>
            <p:txBody>
              <a:bodyPr/>
              <a:lstStyle/>
              <a:p>
                <a:endParaRPr lang="en-US" dirty="0">
                  <a:solidFill>
                    <a:schemeClr val="bg1"/>
                  </a:solidFill>
                  <a:latin typeface="Calibri" pitchFamily="34" charset="0"/>
                  <a:cs typeface="Calibri" pitchFamily="34" charset="0"/>
                </a:endParaRPr>
              </a:p>
            </p:txBody>
          </p:sp>
          <p:sp>
            <p:nvSpPr>
              <p:cNvPr id="168" name="Line 55" descr="© INSCALE GmbH, 26.05.2010&#10;http://www.presentationload.com/"/>
              <p:cNvSpPr>
                <a:spLocks noChangeShapeType="1"/>
              </p:cNvSpPr>
              <p:nvPr/>
            </p:nvSpPr>
            <p:spPr bwMode="gray">
              <a:xfrm flipV="1">
                <a:off x="5193907" y="4362793"/>
                <a:ext cx="182880" cy="0"/>
              </a:xfrm>
              <a:prstGeom prst="line">
                <a:avLst/>
              </a:prstGeom>
              <a:noFill/>
              <a:ln w="19050">
                <a:solidFill>
                  <a:schemeClr val="tx1"/>
                </a:solidFill>
                <a:prstDash val="sysDot"/>
                <a:round/>
                <a:headEnd/>
                <a:tailEnd/>
              </a:ln>
              <a:effectLst/>
            </p:spPr>
            <p:txBody>
              <a:bodyPr/>
              <a:lstStyle/>
              <a:p>
                <a:endParaRPr lang="en-US" dirty="0">
                  <a:solidFill>
                    <a:schemeClr val="bg1"/>
                  </a:solidFill>
                  <a:latin typeface="Calibri" pitchFamily="34" charset="0"/>
                  <a:cs typeface="Calibri" pitchFamily="34" charset="0"/>
                </a:endParaRPr>
              </a:p>
            </p:txBody>
          </p:sp>
          <p:sp>
            <p:nvSpPr>
              <p:cNvPr id="169" name="Line 55" descr="© INSCALE GmbH, 26.05.2010&#10;http://www.presentationload.com/"/>
              <p:cNvSpPr>
                <a:spLocks noChangeShapeType="1"/>
              </p:cNvSpPr>
              <p:nvPr/>
            </p:nvSpPr>
            <p:spPr bwMode="gray">
              <a:xfrm flipV="1">
                <a:off x="7773122" y="2434942"/>
                <a:ext cx="0" cy="339515"/>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70" name="Text Box 56" descr="© INSCALE GmbH, 26.05.2010&#10;http://www.presentationload.com/"/>
              <p:cNvSpPr txBox="1">
                <a:spLocks noChangeArrowheads="1"/>
              </p:cNvSpPr>
              <p:nvPr/>
            </p:nvSpPr>
            <p:spPr bwMode="gray">
              <a:xfrm>
                <a:off x="7268384" y="2812112"/>
                <a:ext cx="1452523" cy="524076"/>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Activities following proposal delivery</a:t>
                </a:r>
              </a:p>
            </p:txBody>
          </p:sp>
          <p:sp>
            <p:nvSpPr>
              <p:cNvPr id="171" name="Line 55" descr="© INSCALE GmbH, 26.05.2010&#10;http://www.presentationload.com/"/>
              <p:cNvSpPr>
                <a:spLocks noChangeShapeType="1"/>
              </p:cNvSpPr>
              <p:nvPr/>
            </p:nvSpPr>
            <p:spPr bwMode="gray">
              <a:xfrm flipV="1">
                <a:off x="8807856" y="2490238"/>
                <a:ext cx="0" cy="1371600"/>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72" name="Text Box 56" descr="© INSCALE GmbH, 26.05.2010&#10;http://www.presentationload.com/"/>
              <p:cNvSpPr txBox="1">
                <a:spLocks noChangeArrowheads="1"/>
              </p:cNvSpPr>
              <p:nvPr/>
            </p:nvSpPr>
            <p:spPr bwMode="gray">
              <a:xfrm>
                <a:off x="8516330" y="3887945"/>
                <a:ext cx="1288699" cy="524076"/>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Conduct </a:t>
                </a:r>
                <a:br>
                  <a:rPr lang="en-US" sz="1200" noProof="1">
                    <a:solidFill>
                      <a:schemeClr val="bg1"/>
                    </a:solidFill>
                    <a:latin typeface="EYInterstate" panose="02000503020000020004" pitchFamily="2" charset="0"/>
                    <a:cs typeface="Calibri" pitchFamily="34" charset="0"/>
                  </a:rPr>
                </a:br>
                <a:r>
                  <a:rPr lang="en-US" sz="1200" noProof="1">
                    <a:solidFill>
                      <a:schemeClr val="bg1"/>
                    </a:solidFill>
                    <a:latin typeface="EYInterstate" panose="02000503020000020004" pitchFamily="2" charset="0"/>
                    <a:cs typeface="Calibri" pitchFamily="34" charset="0"/>
                  </a:rPr>
                  <a:t>oral presentation</a:t>
                </a:r>
              </a:p>
            </p:txBody>
          </p:sp>
          <p:sp>
            <p:nvSpPr>
              <p:cNvPr id="173" name="Line 55" descr="© INSCALE GmbH, 26.05.2010&#10;http://www.presentationload.com/"/>
              <p:cNvSpPr>
                <a:spLocks noChangeShapeType="1"/>
              </p:cNvSpPr>
              <p:nvPr/>
            </p:nvSpPr>
            <p:spPr bwMode="gray">
              <a:xfrm flipV="1">
                <a:off x="9680599" y="2578398"/>
                <a:ext cx="0" cy="339515"/>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74" name="Text Box 56" descr="© INSCALE GmbH, 26.05.2010&#10;http://www.presentationload.com/"/>
              <p:cNvSpPr txBox="1">
                <a:spLocks noChangeArrowheads="1"/>
              </p:cNvSpPr>
              <p:nvPr/>
            </p:nvSpPr>
            <p:spPr bwMode="gray">
              <a:xfrm>
                <a:off x="9402511" y="2955568"/>
                <a:ext cx="900344" cy="411752"/>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Post-orals activities</a:t>
                </a:r>
              </a:p>
            </p:txBody>
          </p:sp>
          <p:sp>
            <p:nvSpPr>
              <p:cNvPr id="175" name="Line 55" descr="© INSCALE GmbH, 26.05.2010&#10;http://www.presentationload.com/"/>
              <p:cNvSpPr>
                <a:spLocks noChangeShapeType="1"/>
              </p:cNvSpPr>
              <p:nvPr/>
            </p:nvSpPr>
            <p:spPr bwMode="gray">
              <a:xfrm flipV="1">
                <a:off x="10623770" y="2702199"/>
                <a:ext cx="0" cy="694363"/>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76" name="Text Box 56" descr="© INSCALE GmbH, 26.05.2010&#10;http://www.presentationload.com/"/>
              <p:cNvSpPr txBox="1">
                <a:spLocks noChangeArrowheads="1"/>
              </p:cNvSpPr>
              <p:nvPr/>
            </p:nvSpPr>
            <p:spPr bwMode="gray">
              <a:xfrm>
                <a:off x="10379447" y="3426805"/>
                <a:ext cx="837068" cy="311053"/>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Win-loss debrief</a:t>
                </a:r>
              </a:p>
            </p:txBody>
          </p:sp>
          <p:sp>
            <p:nvSpPr>
              <p:cNvPr id="177" name="Line 55" descr="© INSCALE GmbH, 26.05.2010&#10;http://www.presentationload.com/"/>
              <p:cNvSpPr>
                <a:spLocks noChangeShapeType="1"/>
              </p:cNvSpPr>
              <p:nvPr/>
            </p:nvSpPr>
            <p:spPr bwMode="gray">
              <a:xfrm flipV="1">
                <a:off x="4057273" y="2464838"/>
                <a:ext cx="0" cy="1180062"/>
              </a:xfrm>
              <a:prstGeom prst="line">
                <a:avLst/>
              </a:prstGeom>
              <a:noFill/>
              <a:ln w="19050">
                <a:solidFill>
                  <a:schemeClr val="tx1"/>
                </a:solidFill>
                <a:prstDash val="sysDot"/>
                <a:round/>
                <a:headEnd/>
                <a:tailEnd type="oval"/>
              </a:ln>
              <a:effectLst/>
            </p:spPr>
            <p:txBody>
              <a:bodyPr/>
              <a:lstStyle/>
              <a:p>
                <a:endParaRPr lang="en-US" dirty="0">
                  <a:solidFill>
                    <a:schemeClr val="bg1"/>
                  </a:solidFill>
                  <a:latin typeface="Calibri" pitchFamily="34" charset="0"/>
                  <a:cs typeface="Calibri" pitchFamily="34" charset="0"/>
                </a:endParaRPr>
              </a:p>
            </p:txBody>
          </p:sp>
          <p:sp>
            <p:nvSpPr>
              <p:cNvPr id="178" name="Text Box 56" descr="© INSCALE GmbH, 26.05.2010&#10;http://www.presentationload.com/"/>
              <p:cNvSpPr txBox="1">
                <a:spLocks noChangeArrowheads="1"/>
              </p:cNvSpPr>
              <p:nvPr/>
            </p:nvSpPr>
            <p:spPr bwMode="gray">
              <a:xfrm>
                <a:off x="3281952" y="3722845"/>
                <a:ext cx="1453922" cy="524076"/>
              </a:xfrm>
              <a:prstGeom prst="rect">
                <a:avLst/>
              </a:prstGeom>
              <a:noFill/>
              <a:ln w="9525">
                <a:solidFill>
                  <a:schemeClr val="tx1"/>
                </a:solidFill>
                <a:miter lim="800000"/>
                <a:headEnd/>
                <a:tailEnd/>
              </a:ln>
              <a:effectLst/>
            </p:spPr>
            <p:txBody>
              <a:bodyPr wrap="square" lIns="0" tIns="0" rIns="0" bIns="0" anchor="t" anchorCtr="0">
                <a:noAutofit/>
              </a:bodyPr>
              <a:lstStyle/>
              <a:p>
                <a:r>
                  <a:rPr lang="en-US" sz="1200" noProof="1">
                    <a:solidFill>
                      <a:schemeClr val="bg1"/>
                    </a:solidFill>
                    <a:latin typeface="EYInterstate" panose="02000503020000020004" pitchFamily="2" charset="0"/>
                    <a:cs typeface="Calibri" pitchFamily="34" charset="0"/>
                  </a:rPr>
                  <a:t>Strategy session/ establish touchpoint campaign (internal)</a:t>
                </a:r>
              </a:p>
            </p:txBody>
          </p:sp>
        </p:grpSp>
        <p:sp>
          <p:nvSpPr>
            <p:cNvPr id="152" name="Line 55" descr="© INSCALE GmbH, 26.05.2010&#10;http://www.presentationload.com/"/>
            <p:cNvSpPr>
              <a:spLocks noChangeShapeType="1"/>
            </p:cNvSpPr>
            <p:nvPr/>
          </p:nvSpPr>
          <p:spPr bwMode="gray">
            <a:xfrm flipV="1">
              <a:off x="4812907" y="1052987"/>
              <a:ext cx="0" cy="3474720"/>
            </a:xfrm>
            <a:prstGeom prst="line">
              <a:avLst/>
            </a:prstGeom>
            <a:noFill/>
            <a:ln w="19050">
              <a:solidFill>
                <a:schemeClr val="tx1"/>
              </a:solidFill>
              <a:prstDash val="sysDot"/>
              <a:round/>
              <a:headEnd/>
              <a:tailEnd/>
            </a:ln>
            <a:effectLst/>
          </p:spPr>
          <p:txBody>
            <a:bodyPr/>
            <a:lstStyle/>
            <a:p>
              <a:endParaRPr lang="en-US" dirty="0">
                <a:solidFill>
                  <a:schemeClr val="bg1"/>
                </a:solidFill>
                <a:latin typeface="Calibri" pitchFamily="34" charset="0"/>
                <a:cs typeface="Calibri" pitchFamily="34" charset="0"/>
              </a:endParaRPr>
            </a:p>
          </p:txBody>
        </p:sp>
        <p:sp>
          <p:nvSpPr>
            <p:cNvPr id="153" name="Line 55" descr="© INSCALE GmbH, 26.05.2010&#10;http://www.presentationload.com/"/>
            <p:cNvSpPr>
              <a:spLocks noChangeShapeType="1"/>
            </p:cNvSpPr>
            <p:nvPr/>
          </p:nvSpPr>
          <p:spPr bwMode="gray">
            <a:xfrm flipV="1">
              <a:off x="7073507" y="1052987"/>
              <a:ext cx="0" cy="3474720"/>
            </a:xfrm>
            <a:prstGeom prst="line">
              <a:avLst/>
            </a:prstGeom>
            <a:noFill/>
            <a:ln w="19050">
              <a:solidFill>
                <a:schemeClr val="tx1"/>
              </a:solidFill>
              <a:prstDash val="sysDot"/>
              <a:round/>
              <a:headEnd/>
              <a:tailEnd/>
            </a:ln>
            <a:effectLst/>
          </p:spPr>
          <p:txBody>
            <a:bodyPr/>
            <a:lstStyle/>
            <a:p>
              <a:endParaRPr lang="en-US" dirty="0">
                <a:solidFill>
                  <a:schemeClr val="bg1"/>
                </a:solidFill>
                <a:latin typeface="Calibri" pitchFamily="34" charset="0"/>
                <a:cs typeface="Calibri" pitchFamily="34" charset="0"/>
              </a:endParaRPr>
            </a:p>
          </p:txBody>
        </p:sp>
      </p:grpSp>
      <p:sp>
        <p:nvSpPr>
          <p:cNvPr id="52" name="Text Box 56" descr="© INSCALE GmbH, 26.05.2010&#10;http://www.presentationload.com/">
            <a:extLst>
              <a:ext uri="{FF2B5EF4-FFF2-40B4-BE49-F238E27FC236}">
                <a16:creationId xmlns:a16="http://schemas.microsoft.com/office/drawing/2014/main" id="{2F8E53C2-C1FE-4C7E-85E3-EE0882CC157C}"/>
              </a:ext>
            </a:extLst>
          </p:cNvPr>
          <p:cNvSpPr txBox="1">
            <a:spLocks noChangeArrowheads="1"/>
          </p:cNvSpPr>
          <p:nvPr/>
        </p:nvSpPr>
        <p:spPr bwMode="gray">
          <a:xfrm>
            <a:off x="11197038" y="2650386"/>
            <a:ext cx="1002517" cy="430887"/>
          </a:xfrm>
          <a:prstGeom prst="rect">
            <a:avLst/>
          </a:prstGeom>
          <a:noFill/>
          <a:ln w="9525">
            <a:solidFill>
              <a:schemeClr val="tx1"/>
            </a:solidFill>
            <a:miter lim="800000"/>
            <a:headEnd/>
            <a:tailEnd/>
          </a:ln>
          <a:effectLst/>
        </p:spPr>
        <p:txBody>
          <a:bodyPr wrap="square" lIns="90000" tIns="0" rIns="72000" bIns="0" anchor="b" anchorCtr="0">
            <a:spAutoFit/>
          </a:bodyPr>
          <a:lstStyle/>
          <a:p>
            <a:pPr algn="r"/>
            <a:r>
              <a:rPr lang="en-US" sz="2800" b="1" noProof="1">
                <a:solidFill>
                  <a:schemeClr val="bg1"/>
                </a:solidFill>
                <a:highlight>
                  <a:srgbClr val="FFFF00"/>
                </a:highlight>
                <a:latin typeface="EYInterstate" panose="02000503020000020004" pitchFamily="2" charset="0"/>
                <a:cs typeface="Calibri" pitchFamily="34" charset="0"/>
              </a:rPr>
              <a:t>ENG</a:t>
            </a:r>
            <a:endParaRPr lang="en-US" sz="1400" dirty="0">
              <a:solidFill>
                <a:schemeClr val="bg1"/>
              </a:solidFill>
              <a:highlight>
                <a:srgbClr val="FFFF00"/>
              </a:highlight>
              <a:latin typeface="EYInterstate" panose="02000503020000020004" pitchFamily="2" charset="0"/>
            </a:endParaRPr>
          </a:p>
        </p:txBody>
      </p:sp>
    </p:spTree>
    <p:extLst>
      <p:ext uri="{BB962C8B-B14F-4D97-AF65-F5344CB8AC3E}">
        <p14:creationId xmlns:p14="http://schemas.microsoft.com/office/powerpoint/2010/main" val="4246844555"/>
      </p:ext>
    </p:extLst>
  </p:cSld>
  <p:clrMapOvr>
    <a:masterClrMapping/>
  </p:clrMapOvr>
  <mc:AlternateContent xmlns:mc="http://schemas.openxmlformats.org/markup-compatibility/2006" xmlns:p14="http://schemas.microsoft.com/office/powerpoint/2010/main">
    <mc:Choice Requires="p14">
      <p:transition spd="slow" p14:dur="1500" advTm="11223">
        <p:split orient="vert"/>
      </p:transition>
    </mc:Choice>
    <mc:Fallback xmlns="">
      <p:transition spd="slow" advTm="11223">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984376" y="1272726"/>
            <a:ext cx="8232774" cy="4156525"/>
          </a:xfrm>
          <a:prstGeom prst="rect">
            <a:avLst/>
          </a:prstGeom>
          <a:solidFill>
            <a:schemeClr val="accent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rgbClr val="000000"/>
              </a:solidFill>
              <a:latin typeface="EYInterstate Light" panose="02000506000000020004" pitchFamily="2" charset="0"/>
            </a:endParaRPr>
          </a:p>
        </p:txBody>
      </p:sp>
      <p:sp>
        <p:nvSpPr>
          <p:cNvPr id="59" name="Rectangle 58"/>
          <p:cNvSpPr/>
          <p:nvPr/>
        </p:nvSpPr>
        <p:spPr>
          <a:xfrm>
            <a:off x="6750685" y="1836187"/>
            <a:ext cx="3211830" cy="3341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rgbClr val="000000"/>
              </a:solidFill>
              <a:latin typeface="EYInterstate Light" panose="02000506000000020004" pitchFamily="2" charset="0"/>
            </a:endParaRPr>
          </a:p>
        </p:txBody>
      </p:sp>
      <p:sp>
        <p:nvSpPr>
          <p:cNvPr id="58" name="Rectangle 57"/>
          <p:cNvSpPr/>
          <p:nvPr/>
        </p:nvSpPr>
        <p:spPr>
          <a:xfrm>
            <a:off x="2228963" y="1836189"/>
            <a:ext cx="3072940" cy="33415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rgbClr val="000000"/>
              </a:solidFill>
              <a:latin typeface="EYInterstate Light" panose="02000506000000020004" pitchFamily="2"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563460138"/>
              </p:ext>
            </p:extLst>
          </p:nvPr>
        </p:nvGraphicFramePr>
        <p:xfrm>
          <a:off x="2258695" y="1955220"/>
          <a:ext cx="7703820" cy="3195072"/>
        </p:xfrm>
        <a:graphic>
          <a:graphicData uri="http://schemas.openxmlformats.org/drawingml/2006/table">
            <a:tbl>
              <a:tblPr firstRow="1" bandRow="1">
                <a:tableStyleId>{5C22544A-7EE6-4342-B048-85BDC9FD1C3A}</a:tableStyleId>
              </a:tblPr>
              <a:tblGrid>
                <a:gridCol w="3838354">
                  <a:extLst>
                    <a:ext uri="{9D8B030D-6E8A-4147-A177-3AD203B41FA5}">
                      <a16:colId xmlns:a16="http://schemas.microsoft.com/office/drawing/2014/main" val="20000"/>
                    </a:ext>
                  </a:extLst>
                </a:gridCol>
                <a:gridCol w="3865466">
                  <a:extLst>
                    <a:ext uri="{9D8B030D-6E8A-4147-A177-3AD203B41FA5}">
                      <a16:colId xmlns:a16="http://schemas.microsoft.com/office/drawing/2014/main" val="20001"/>
                    </a:ext>
                  </a:extLst>
                </a:gridCol>
              </a:tblGrid>
              <a:tr h="355008">
                <a:tc>
                  <a:txBody>
                    <a:bodyPr/>
                    <a:lstStyle/>
                    <a:p>
                      <a:pPr algn="l"/>
                      <a:r>
                        <a:rPr lang="en-US" sz="1200" b="1" dirty="0">
                          <a:solidFill>
                            <a:schemeClr val="bg1"/>
                          </a:solidFill>
                          <a:latin typeface="Arial" panose="020B0604020202020204" pitchFamily="34" charset="0"/>
                          <a:cs typeface="Arial" panose="020B0604020202020204" pitchFamily="34" charset="0"/>
                        </a:rPr>
                        <a:t>Manual</a:t>
                      </a:r>
                      <a:r>
                        <a:rPr lang="en-US" sz="1100" baseline="0" dirty="0">
                          <a:solidFill>
                            <a:schemeClr val="bg1"/>
                          </a:solidFill>
                          <a:latin typeface="Arial" panose="020B0604020202020204" pitchFamily="34" charset="0"/>
                          <a:cs typeface="Arial" panose="020B0604020202020204" pitchFamily="34" charset="0"/>
                        </a:rPr>
                        <a:t> Spreadsheets, </a:t>
                      </a:r>
                      <a:r>
                        <a:rPr lang="en-US" sz="1100" dirty="0">
                          <a:solidFill>
                            <a:schemeClr val="bg1"/>
                          </a:solidFill>
                          <a:latin typeface="Arial" panose="020B0604020202020204" pitchFamily="34" charset="0"/>
                          <a:cs typeface="Arial" panose="020B0604020202020204" pitchFamily="34" charset="0"/>
                        </a:rPr>
                        <a:t>Paperwork</a:t>
                      </a:r>
                      <a:r>
                        <a:rPr lang="en-US" sz="1100" baseline="0" dirty="0">
                          <a:solidFill>
                            <a:schemeClr val="bg1"/>
                          </a:solidFill>
                          <a:latin typeface="Arial" panose="020B0604020202020204" pitchFamily="34" charset="0"/>
                          <a:cs typeface="Arial" panose="020B0604020202020204" pitchFamily="34" charset="0"/>
                        </a:rPr>
                        <a:t> via PC</a:t>
                      </a:r>
                      <a:endParaRPr lang="en-US" sz="1100"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1200" b="1" dirty="0">
                          <a:solidFill>
                            <a:schemeClr val="bg1"/>
                          </a:solidFill>
                          <a:latin typeface="Arial" panose="020B0604020202020204" pitchFamily="34" charset="0"/>
                          <a:cs typeface="Arial" panose="020B0604020202020204" pitchFamily="34" charset="0"/>
                        </a:rPr>
                        <a:t>Automated</a:t>
                      </a:r>
                      <a:r>
                        <a:rPr lang="en-US" sz="1100" dirty="0">
                          <a:solidFill>
                            <a:schemeClr val="bg1"/>
                          </a:solidFill>
                          <a:latin typeface="Arial" panose="020B0604020202020204" pitchFamily="34" charset="0"/>
                          <a:cs typeface="Arial" panose="020B0604020202020204" pitchFamily="34" charset="0"/>
                        </a:rPr>
                        <a:t> Mobile Devices</a:t>
                      </a:r>
                      <a:r>
                        <a:rPr lang="en-US" sz="1100" baseline="0" dirty="0">
                          <a:solidFill>
                            <a:schemeClr val="bg1"/>
                          </a:solidFill>
                          <a:latin typeface="Arial" panose="020B0604020202020204" pitchFamily="34" charset="0"/>
                          <a:cs typeface="Arial" panose="020B0604020202020204" pitchFamily="34" charset="0"/>
                        </a:rPr>
                        <a:t> and Intuitive Tools</a:t>
                      </a:r>
                      <a:endParaRPr lang="en-US" sz="1100"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5008">
                <a:tc>
                  <a:txBody>
                    <a:bodyPr/>
                    <a:lstStyle/>
                    <a:p>
                      <a:pPr algn="l"/>
                      <a:r>
                        <a:rPr lang="en-US" sz="1200" b="1" dirty="0">
                          <a:solidFill>
                            <a:schemeClr val="bg1"/>
                          </a:solidFill>
                          <a:latin typeface="Arial" panose="020B0604020202020204" pitchFamily="34" charset="0"/>
                          <a:cs typeface="Arial" panose="020B0604020202020204" pitchFamily="34" charset="0"/>
                        </a:rPr>
                        <a:t>Reactive</a:t>
                      </a:r>
                      <a:r>
                        <a:rPr lang="en-US" sz="1100" dirty="0">
                          <a:solidFill>
                            <a:schemeClr val="bg1"/>
                          </a:solidFill>
                          <a:latin typeface="Arial" panose="020B0604020202020204" pitchFamily="34" charset="0"/>
                          <a:cs typeface="Arial" panose="020B0604020202020204" pitchFamily="34" charset="0"/>
                        </a:rPr>
                        <a:t> backward looking historical analysis</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200" b="1" dirty="0">
                          <a:solidFill>
                            <a:schemeClr val="bg1"/>
                          </a:solidFill>
                          <a:latin typeface="Arial" panose="020B0604020202020204" pitchFamily="34" charset="0"/>
                          <a:cs typeface="Arial" panose="020B0604020202020204" pitchFamily="34" charset="0"/>
                        </a:rPr>
                        <a:t>Proactive</a:t>
                      </a:r>
                      <a:r>
                        <a:rPr lang="en-US" sz="1100" dirty="0">
                          <a:solidFill>
                            <a:schemeClr val="bg1"/>
                          </a:solidFill>
                          <a:latin typeface="Arial" panose="020B0604020202020204" pitchFamily="34" charset="0"/>
                          <a:cs typeface="Arial" panose="020B0604020202020204" pitchFamily="34" charset="0"/>
                        </a:rPr>
                        <a:t> forward looking predictive analysis</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5008">
                <a:tc>
                  <a:txBody>
                    <a:bodyPr/>
                    <a:lstStyle/>
                    <a:p>
                      <a:pPr algn="l"/>
                      <a:r>
                        <a:rPr lang="en-US" sz="1200" b="1" dirty="0">
                          <a:solidFill>
                            <a:schemeClr val="bg1"/>
                          </a:solidFill>
                          <a:latin typeface="Arial" panose="020B0604020202020204" pitchFamily="34" charset="0"/>
                          <a:cs typeface="Arial" panose="020B0604020202020204" pitchFamily="34" charset="0"/>
                        </a:rPr>
                        <a:t>Multiple</a:t>
                      </a:r>
                      <a:r>
                        <a:rPr lang="en-US" sz="1200" b="0" baseline="0" dirty="0">
                          <a:solidFill>
                            <a:schemeClr val="bg1"/>
                          </a:solidFill>
                          <a:latin typeface="Arial" panose="020B0604020202020204" pitchFamily="34" charset="0"/>
                          <a:cs typeface="Arial" panose="020B0604020202020204" pitchFamily="34" charset="0"/>
                        </a:rPr>
                        <a:t> </a:t>
                      </a:r>
                      <a:r>
                        <a:rPr lang="en-US" sz="1100" dirty="0">
                          <a:solidFill>
                            <a:schemeClr val="bg1"/>
                          </a:solidFill>
                          <a:latin typeface="Arial" panose="020B0604020202020204" pitchFamily="34" charset="0"/>
                          <a:cs typeface="Arial" panose="020B0604020202020204" pitchFamily="34" charset="0"/>
                        </a:rPr>
                        <a:t>data entries</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200" b="1" dirty="0">
                          <a:solidFill>
                            <a:schemeClr val="bg1"/>
                          </a:solidFill>
                          <a:latin typeface="Arial" panose="020B0604020202020204" pitchFamily="34" charset="0"/>
                          <a:cs typeface="Arial" panose="020B0604020202020204" pitchFamily="34" charset="0"/>
                        </a:rPr>
                        <a:t>One</a:t>
                      </a:r>
                      <a:r>
                        <a:rPr lang="en-US" sz="1100" dirty="0">
                          <a:solidFill>
                            <a:schemeClr val="bg1"/>
                          </a:solidFill>
                          <a:latin typeface="Arial" panose="020B0604020202020204" pitchFamily="34" charset="0"/>
                          <a:cs typeface="Arial" panose="020B0604020202020204" pitchFamily="34" charset="0"/>
                        </a:rPr>
                        <a:t> data entry point</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5008">
                <a:tc>
                  <a:txBody>
                    <a:bodyPr/>
                    <a:lstStyle/>
                    <a:p>
                      <a:pPr algn="l"/>
                      <a:r>
                        <a:rPr lang="en-US" sz="1200" b="1" dirty="0">
                          <a:solidFill>
                            <a:schemeClr val="bg1"/>
                          </a:solidFill>
                          <a:latin typeface="Arial" panose="020B0604020202020204" pitchFamily="34" charset="0"/>
                          <a:cs typeface="Arial" panose="020B0604020202020204" pitchFamily="34" charset="0"/>
                        </a:rPr>
                        <a:t>Best guess </a:t>
                      </a:r>
                      <a:r>
                        <a:rPr lang="en-US" sz="1100" dirty="0">
                          <a:solidFill>
                            <a:schemeClr val="bg1"/>
                          </a:solidFill>
                          <a:latin typeface="Arial" panose="020B0604020202020204" pitchFamily="34" charset="0"/>
                          <a:cs typeface="Arial" panose="020B0604020202020204" pitchFamily="34" charset="0"/>
                        </a:rPr>
                        <a:t>rate</a:t>
                      </a:r>
                      <a:r>
                        <a:rPr lang="en-US" sz="1100" baseline="0" dirty="0">
                          <a:solidFill>
                            <a:schemeClr val="bg1"/>
                          </a:solidFill>
                          <a:latin typeface="Arial" panose="020B0604020202020204" pitchFamily="34" charset="0"/>
                          <a:cs typeface="Arial" panose="020B0604020202020204" pitchFamily="34" charset="0"/>
                        </a:rPr>
                        <a:t> calculation and pricing</a:t>
                      </a:r>
                      <a:endParaRPr lang="en-US" sz="1100"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200" b="1" dirty="0">
                          <a:solidFill>
                            <a:schemeClr val="bg1"/>
                          </a:solidFill>
                          <a:latin typeface="Arial" panose="020B0604020202020204" pitchFamily="34" charset="0"/>
                          <a:cs typeface="Arial" panose="020B0604020202020204" pitchFamily="34" charset="0"/>
                        </a:rPr>
                        <a:t>Informed</a:t>
                      </a:r>
                      <a:r>
                        <a:rPr lang="en-US" sz="1100" dirty="0">
                          <a:solidFill>
                            <a:schemeClr val="bg1"/>
                          </a:solidFill>
                          <a:latin typeface="Arial" panose="020B0604020202020204" pitchFamily="34" charset="0"/>
                          <a:cs typeface="Arial" panose="020B0604020202020204" pitchFamily="34" charset="0"/>
                        </a:rPr>
                        <a:t> budgets and</a:t>
                      </a:r>
                      <a:r>
                        <a:rPr lang="en-US" sz="1100" baseline="0" dirty="0">
                          <a:solidFill>
                            <a:schemeClr val="bg1"/>
                          </a:solidFill>
                          <a:latin typeface="Arial" panose="020B0604020202020204" pitchFamily="34" charset="0"/>
                          <a:cs typeface="Arial" panose="020B0604020202020204" pitchFamily="34" charset="0"/>
                        </a:rPr>
                        <a:t> margin modeling</a:t>
                      </a:r>
                      <a:endParaRPr lang="en-US" sz="1100"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5008">
                <a:tc>
                  <a:txBody>
                    <a:bodyPr/>
                    <a:lstStyle/>
                    <a:p>
                      <a:pPr algn="l"/>
                      <a:r>
                        <a:rPr lang="en-US" sz="1200" b="1" dirty="0">
                          <a:solidFill>
                            <a:schemeClr val="bg1"/>
                          </a:solidFill>
                          <a:latin typeface="Arial" panose="020B0604020202020204" pitchFamily="34" charset="0"/>
                          <a:cs typeface="Arial" panose="020B0604020202020204" pitchFamily="34" charset="0"/>
                        </a:rPr>
                        <a:t>Segregated</a:t>
                      </a:r>
                      <a:r>
                        <a:rPr lang="en-US" sz="1100" dirty="0">
                          <a:solidFill>
                            <a:schemeClr val="bg1"/>
                          </a:solidFill>
                          <a:latin typeface="Arial" panose="020B0604020202020204" pitchFamily="34" charset="0"/>
                          <a:cs typeface="Arial" panose="020B0604020202020204" pitchFamily="34" charset="0"/>
                        </a:rPr>
                        <a:t> processes and systems</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200" b="1" dirty="0">
                          <a:solidFill>
                            <a:schemeClr val="bg1"/>
                          </a:solidFill>
                          <a:latin typeface="Arial" panose="020B0604020202020204" pitchFamily="34" charset="0"/>
                          <a:cs typeface="Arial" panose="020B0604020202020204" pitchFamily="34" charset="0"/>
                        </a:rPr>
                        <a:t>Integrated</a:t>
                      </a:r>
                      <a:r>
                        <a:rPr lang="en-US" sz="1100" dirty="0">
                          <a:solidFill>
                            <a:schemeClr val="bg1"/>
                          </a:solidFill>
                          <a:latin typeface="Arial" panose="020B0604020202020204" pitchFamily="34" charset="0"/>
                          <a:cs typeface="Arial" panose="020B0604020202020204" pitchFamily="34" charset="0"/>
                        </a:rPr>
                        <a:t> processes and systems</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5008">
                <a:tc>
                  <a:txBody>
                    <a:bodyPr/>
                    <a:lstStyle/>
                    <a:p>
                      <a:pPr algn="l"/>
                      <a:r>
                        <a:rPr lang="en-US" sz="1100" dirty="0">
                          <a:solidFill>
                            <a:schemeClr val="bg1"/>
                          </a:solidFill>
                          <a:latin typeface="Arial" panose="020B0604020202020204" pitchFamily="34" charset="0"/>
                          <a:cs typeface="Arial" panose="020B0604020202020204" pitchFamily="34" charset="0"/>
                        </a:rPr>
                        <a:t>Access from an Office</a:t>
                      </a:r>
                      <a:r>
                        <a:rPr lang="en-US" sz="1100" baseline="0" dirty="0">
                          <a:solidFill>
                            <a:schemeClr val="bg1"/>
                          </a:solidFill>
                          <a:latin typeface="Arial" panose="020B0604020202020204" pitchFamily="34" charset="0"/>
                          <a:cs typeface="Arial" panose="020B0604020202020204" pitchFamily="34" charset="0"/>
                        </a:rPr>
                        <a:t>; </a:t>
                      </a:r>
                      <a:r>
                        <a:rPr lang="en-US" sz="1200" b="1" dirty="0">
                          <a:solidFill>
                            <a:schemeClr val="bg1"/>
                          </a:solidFill>
                          <a:latin typeface="Arial" panose="020B0604020202020204" pitchFamily="34" charset="0"/>
                          <a:cs typeface="Arial" panose="020B0604020202020204" pitchFamily="34" charset="0"/>
                        </a:rPr>
                        <a:t>Tied to a</a:t>
                      </a:r>
                      <a:r>
                        <a:rPr lang="en-US" sz="1200" b="1" baseline="0" dirty="0">
                          <a:solidFill>
                            <a:schemeClr val="bg1"/>
                          </a:solidFill>
                          <a:latin typeface="Arial" panose="020B0604020202020204" pitchFamily="34" charset="0"/>
                          <a:cs typeface="Arial" panose="020B0604020202020204" pitchFamily="34" charset="0"/>
                        </a:rPr>
                        <a:t> Desk</a:t>
                      </a:r>
                      <a:endParaRPr lang="en-US" sz="1100" b="1"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100" dirty="0">
                          <a:solidFill>
                            <a:schemeClr val="bg1"/>
                          </a:solidFill>
                          <a:latin typeface="Arial" panose="020B0604020202020204" pitchFamily="34" charset="0"/>
                          <a:cs typeface="Arial" panose="020B0604020202020204" pitchFamily="34" charset="0"/>
                        </a:rPr>
                        <a:t>Access from Anywhere;</a:t>
                      </a:r>
                      <a:r>
                        <a:rPr lang="en-US" sz="1100" baseline="0" dirty="0">
                          <a:solidFill>
                            <a:schemeClr val="bg1"/>
                          </a:solidFill>
                          <a:latin typeface="Arial" panose="020B0604020202020204" pitchFamily="34" charset="0"/>
                          <a:cs typeface="Arial" panose="020B0604020202020204" pitchFamily="34" charset="0"/>
                        </a:rPr>
                        <a:t> </a:t>
                      </a:r>
                      <a:r>
                        <a:rPr lang="en-US" sz="1200" b="1" dirty="0">
                          <a:solidFill>
                            <a:schemeClr val="bg1"/>
                          </a:solidFill>
                          <a:latin typeface="Arial" panose="020B0604020202020204" pitchFamily="34" charset="0"/>
                          <a:cs typeface="Arial" panose="020B0604020202020204" pitchFamily="34" charset="0"/>
                        </a:rPr>
                        <a:t>Out with a Client</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5008">
                <a:tc>
                  <a:txBody>
                    <a:bodyPr/>
                    <a:lstStyle/>
                    <a:p>
                      <a:pPr algn="l"/>
                      <a:r>
                        <a:rPr lang="en-US" sz="1100" dirty="0">
                          <a:solidFill>
                            <a:schemeClr val="bg1"/>
                          </a:solidFill>
                          <a:latin typeface="Arial" panose="020B0604020202020204" pitchFamily="34" charset="0"/>
                          <a:cs typeface="Arial" panose="020B0604020202020204" pitchFamily="34" charset="0"/>
                        </a:rPr>
                        <a:t>Client and Market </a:t>
                      </a:r>
                      <a:r>
                        <a:rPr lang="en-US" sz="1200" b="1" dirty="0">
                          <a:solidFill>
                            <a:schemeClr val="bg1"/>
                          </a:solidFill>
                          <a:latin typeface="Arial" panose="020B0604020202020204" pitchFamily="34" charset="0"/>
                          <a:cs typeface="Arial" panose="020B0604020202020204" pitchFamily="34" charset="0"/>
                        </a:rPr>
                        <a:t>Research</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100" dirty="0">
                          <a:solidFill>
                            <a:schemeClr val="bg1"/>
                          </a:solidFill>
                          <a:latin typeface="Arial" panose="020B0604020202020204" pitchFamily="34" charset="0"/>
                          <a:cs typeface="Arial" panose="020B0604020202020204" pitchFamily="34" charset="0"/>
                        </a:rPr>
                        <a:t>Client and Market </a:t>
                      </a:r>
                      <a:r>
                        <a:rPr lang="en-US" sz="1200" b="1" dirty="0">
                          <a:solidFill>
                            <a:schemeClr val="bg1"/>
                          </a:solidFill>
                          <a:latin typeface="Arial" panose="020B0604020202020204" pitchFamily="34" charset="0"/>
                          <a:cs typeface="Arial" panose="020B0604020202020204" pitchFamily="34" charset="0"/>
                        </a:rPr>
                        <a:t>Intelligence</a:t>
                      </a:r>
                      <a:endParaRPr lang="en-US" sz="1100" b="1"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5008">
                <a:tc>
                  <a:txBody>
                    <a:bodyPr/>
                    <a:lstStyle/>
                    <a:p>
                      <a:pPr algn="l"/>
                      <a:r>
                        <a:rPr lang="en-US" sz="1100" dirty="0">
                          <a:solidFill>
                            <a:schemeClr val="bg1"/>
                          </a:solidFill>
                          <a:latin typeface="Arial" panose="020B0604020202020204" pitchFamily="34" charset="0"/>
                          <a:cs typeface="Arial" panose="020B0604020202020204" pitchFamily="34" charset="0"/>
                        </a:rPr>
                        <a:t>Staffing</a:t>
                      </a:r>
                      <a:r>
                        <a:rPr lang="en-US" sz="1100" baseline="0" dirty="0">
                          <a:solidFill>
                            <a:schemeClr val="bg1"/>
                          </a:solidFill>
                          <a:latin typeface="Arial" panose="020B0604020202020204" pitchFamily="34" charset="0"/>
                          <a:cs typeface="Arial" panose="020B0604020202020204" pitchFamily="34" charset="0"/>
                        </a:rPr>
                        <a:t> from Your </a:t>
                      </a:r>
                      <a:r>
                        <a:rPr lang="en-US" sz="1200" b="1" baseline="0" dirty="0">
                          <a:solidFill>
                            <a:schemeClr val="bg1"/>
                          </a:solidFill>
                          <a:latin typeface="Arial" panose="020B0604020202020204" pitchFamily="34" charset="0"/>
                          <a:cs typeface="Arial" panose="020B0604020202020204" pitchFamily="34" charset="0"/>
                        </a:rPr>
                        <a:t>Personal Network</a:t>
                      </a:r>
                      <a:endParaRPr lang="en-US" sz="1100" b="1"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100" dirty="0">
                          <a:solidFill>
                            <a:schemeClr val="bg1"/>
                          </a:solidFill>
                          <a:latin typeface="Arial" panose="020B0604020202020204" pitchFamily="34" charset="0"/>
                          <a:cs typeface="Arial" panose="020B0604020202020204" pitchFamily="34" charset="0"/>
                        </a:rPr>
                        <a:t>Staffing from </a:t>
                      </a:r>
                      <a:r>
                        <a:rPr lang="en-US" sz="1200" b="1" dirty="0">
                          <a:solidFill>
                            <a:schemeClr val="bg1"/>
                          </a:solidFill>
                          <a:latin typeface="Arial" panose="020B0604020202020204" pitchFamily="34" charset="0"/>
                          <a:cs typeface="Arial" panose="020B0604020202020204" pitchFamily="34" charset="0"/>
                        </a:rPr>
                        <a:t>EY’s Global Network</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55008">
                <a:tc>
                  <a:txBody>
                    <a:bodyPr/>
                    <a:lstStyle/>
                    <a:p>
                      <a:pPr algn="l"/>
                      <a:r>
                        <a:rPr lang="en-US" sz="1100" dirty="0">
                          <a:solidFill>
                            <a:schemeClr val="bg1"/>
                          </a:solidFill>
                          <a:latin typeface="Arial" panose="020B0604020202020204" pitchFamily="34" charset="0"/>
                          <a:cs typeface="Arial" panose="020B0604020202020204" pitchFamily="34" charset="0"/>
                        </a:rPr>
                        <a:t>Focus</a:t>
                      </a:r>
                      <a:r>
                        <a:rPr lang="en-US" sz="1100" baseline="0" dirty="0">
                          <a:solidFill>
                            <a:schemeClr val="bg1"/>
                          </a:solidFill>
                          <a:latin typeface="Arial" panose="020B0604020202020204" pitchFamily="34" charset="0"/>
                          <a:cs typeface="Arial" panose="020B0604020202020204" pitchFamily="34" charset="0"/>
                        </a:rPr>
                        <a:t> on </a:t>
                      </a:r>
                      <a:r>
                        <a:rPr lang="en-US" sz="1200" b="1" baseline="0" dirty="0">
                          <a:solidFill>
                            <a:schemeClr val="bg1"/>
                          </a:solidFill>
                          <a:latin typeface="Arial" panose="020B0604020202020204" pitchFamily="34" charset="0"/>
                          <a:cs typeface="Arial" panose="020B0604020202020204" pitchFamily="34" charset="0"/>
                        </a:rPr>
                        <a:t>Administration</a:t>
                      </a:r>
                      <a:endParaRPr lang="en-US" sz="1200" b="1"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100" dirty="0">
                          <a:solidFill>
                            <a:schemeClr val="bg1"/>
                          </a:solidFill>
                          <a:latin typeface="Arial" panose="020B0604020202020204" pitchFamily="34" charset="0"/>
                          <a:cs typeface="Arial" panose="020B0604020202020204" pitchFamily="34" charset="0"/>
                        </a:rPr>
                        <a:t>Focus on </a:t>
                      </a:r>
                      <a:r>
                        <a:rPr lang="en-US" sz="1200" b="1" dirty="0">
                          <a:solidFill>
                            <a:schemeClr val="bg1"/>
                          </a:solidFill>
                          <a:latin typeface="Arial" panose="020B0604020202020204" pitchFamily="34" charset="0"/>
                          <a:cs typeface="Arial" panose="020B0604020202020204" pitchFamily="34" charset="0"/>
                        </a:rPr>
                        <a:t>Service Delivery</a:t>
                      </a:r>
                      <a:endParaRPr lang="en-US" sz="1100" b="1" dirty="0">
                        <a:solidFill>
                          <a:schemeClr val="bg1"/>
                        </a:solidFill>
                        <a:latin typeface="Arial" panose="020B0604020202020204" pitchFamily="34" charset="0"/>
                        <a:cs typeface="Arial" panose="020B0604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 name="Title 1"/>
          <p:cNvSpPr>
            <a:spLocks noGrp="1"/>
          </p:cNvSpPr>
          <p:nvPr>
            <p:ph type="title"/>
          </p:nvPr>
        </p:nvSpPr>
        <p:spPr>
          <a:xfrm>
            <a:off x="609918" y="544500"/>
            <a:ext cx="10978515" cy="419088"/>
          </a:xfrm>
        </p:spPr>
        <p:txBody>
          <a:bodyPr anchor="ctr"/>
          <a:lstStyle/>
          <a:p>
            <a:r>
              <a:rPr lang="en-US" sz="2400" dirty="0">
                <a:solidFill>
                  <a:schemeClr val="bg1">
                    <a:lumMod val="75000"/>
                  </a:schemeClr>
                </a:solidFill>
                <a:latin typeface="EYInterstate" panose="02000503020000020004" pitchFamily="2" charset="0"/>
              </a:rPr>
              <a:t>GFIS vs Mercury – What’s changing?</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0477" y="5628545"/>
            <a:ext cx="832247" cy="526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9073" y="5628545"/>
            <a:ext cx="731044" cy="566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ight Arrow 5"/>
          <p:cNvSpPr/>
          <p:nvPr/>
        </p:nvSpPr>
        <p:spPr>
          <a:xfrm>
            <a:off x="5377355" y="3097530"/>
            <a:ext cx="1304750" cy="605790"/>
          </a:xfrm>
          <a:prstGeom prst="rightArrow">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7" name="TextBox 6"/>
          <p:cNvSpPr txBox="1"/>
          <p:nvPr/>
        </p:nvSpPr>
        <p:spPr>
          <a:xfrm>
            <a:off x="3035936" y="1383127"/>
            <a:ext cx="836768" cy="40318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800" b="1" dirty="0">
                <a:solidFill>
                  <a:schemeClr val="bg1"/>
                </a:solidFill>
              </a:rPr>
              <a:t>GFIS</a:t>
            </a:r>
            <a:endParaRPr lang="en-IN" sz="2800" b="1" dirty="0" err="1">
              <a:solidFill>
                <a:schemeClr val="bg1"/>
              </a:solidFill>
            </a:endParaRPr>
          </a:p>
        </p:txBody>
      </p:sp>
      <p:sp>
        <p:nvSpPr>
          <p:cNvPr id="28" name="TextBox 27"/>
          <p:cNvSpPr txBox="1"/>
          <p:nvPr/>
        </p:nvSpPr>
        <p:spPr>
          <a:xfrm>
            <a:off x="7652705" y="1385278"/>
            <a:ext cx="1802866" cy="40318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800" b="1" dirty="0">
                <a:solidFill>
                  <a:schemeClr val="bg1"/>
                </a:solidFill>
              </a:rPr>
              <a:t>MERCURY</a:t>
            </a:r>
            <a:endParaRPr lang="en-IN" sz="2800" b="1" dirty="0" err="1">
              <a:solidFill>
                <a:schemeClr val="bg1"/>
              </a:solidFill>
            </a:endParaRPr>
          </a:p>
        </p:txBody>
      </p:sp>
    </p:spTree>
    <p:extLst>
      <p:ext uri="{BB962C8B-B14F-4D97-AF65-F5344CB8AC3E}">
        <p14:creationId xmlns:p14="http://schemas.microsoft.com/office/powerpoint/2010/main" val="317372757"/>
      </p:ext>
    </p:extLst>
  </p:cSld>
  <p:clrMapOvr>
    <a:masterClrMapping/>
  </p:clrMapOvr>
  <mc:AlternateContent xmlns:mc="http://schemas.openxmlformats.org/markup-compatibility/2006" xmlns:p14="http://schemas.microsoft.com/office/powerpoint/2010/main">
    <mc:Choice Requires="p14">
      <p:transition spd="slow" p14:dur="1500" advTm="48145">
        <p:split orient="vert"/>
      </p:transition>
    </mc:Choice>
    <mc:Fallback xmlns="">
      <p:transition spd="slow" advTm="48145">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2"/>
          <p:cNvSpPr>
            <a:spLocks noGrp="1"/>
          </p:cNvSpPr>
          <p:nvPr>
            <p:ph type="body" sz="quarter" idx="11"/>
          </p:nvPr>
        </p:nvSpPr>
        <p:spPr>
          <a:xfrm>
            <a:off x="597751" y="514525"/>
            <a:ext cx="8229600" cy="442800"/>
          </a:xfrm>
        </p:spPr>
        <p:txBody>
          <a:bodyPr/>
          <a:lstStyle/>
          <a:p>
            <a:r>
              <a:rPr lang="en-GB" sz="2400" dirty="0">
                <a:latin typeface="EYInterstate" panose="02000503020000020004" pitchFamily="2" charset="0"/>
              </a:rPr>
              <a:t>Global vs Local TER</a:t>
            </a:r>
          </a:p>
        </p:txBody>
      </p:sp>
      <p:sp>
        <p:nvSpPr>
          <p:cNvPr id="4" name="Title 3">
            <a:extLst>
              <a:ext uri="{FF2B5EF4-FFF2-40B4-BE49-F238E27FC236}">
                <a16:creationId xmlns:a16="http://schemas.microsoft.com/office/drawing/2014/main" id="{CE9E267F-8980-45BA-90E2-B295311880ED}"/>
              </a:ext>
            </a:extLst>
          </p:cNvPr>
          <p:cNvSpPr>
            <a:spLocks noGrp="1"/>
          </p:cNvSpPr>
          <p:nvPr>
            <p:ph type="title"/>
          </p:nvPr>
        </p:nvSpPr>
        <p:spPr>
          <a:xfrm>
            <a:off x="609918" y="201600"/>
            <a:ext cx="10978515" cy="419088"/>
          </a:xfrm>
        </p:spPr>
        <p:txBody>
          <a:bodyPr/>
          <a:lstStyle/>
          <a:p>
            <a:r>
              <a:rPr lang="en-IN" sz="2400" dirty="0">
                <a:latin typeface="EYInterstate" panose="02000503020000020004" pitchFamily="2" charset="0"/>
              </a:rPr>
              <a:t>EY Revenue</a:t>
            </a:r>
          </a:p>
        </p:txBody>
      </p:sp>
      <p:graphicFrame>
        <p:nvGraphicFramePr>
          <p:cNvPr id="62" name="Diagram 61">
            <a:extLst>
              <a:ext uri="{FF2B5EF4-FFF2-40B4-BE49-F238E27FC236}">
                <a16:creationId xmlns:a16="http://schemas.microsoft.com/office/drawing/2014/main" id="{8666ECF7-B6D9-4D47-80E4-A2C65981AB28}"/>
              </a:ext>
            </a:extLst>
          </p:cNvPr>
          <p:cNvGraphicFramePr/>
          <p:nvPr>
            <p:extLst>
              <p:ext uri="{D42A27DB-BD31-4B8C-83A1-F6EECF244321}">
                <p14:modId xmlns:p14="http://schemas.microsoft.com/office/powerpoint/2010/main" val="176744086"/>
              </p:ext>
            </p:extLst>
          </p:nvPr>
        </p:nvGraphicFramePr>
        <p:xfrm>
          <a:off x="571499" y="1287895"/>
          <a:ext cx="10978515" cy="47074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69797202"/>
      </p:ext>
    </p:extLst>
  </p:cSld>
  <p:clrMapOvr>
    <a:masterClrMapping/>
  </p:clrMapOvr>
  <mc:AlternateContent xmlns:mc="http://schemas.openxmlformats.org/markup-compatibility/2006" xmlns:p14="http://schemas.microsoft.com/office/powerpoint/2010/main">
    <mc:Choice Requires="p14">
      <p:transition spd="slow" p14:dur="1500" advTm="38912">
        <p:split orient="vert"/>
      </p:transition>
    </mc:Choice>
    <mc:Fallback xmlns="">
      <p:transition spd="slow" advTm="38912">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18" y="554025"/>
            <a:ext cx="10978515" cy="860400"/>
          </a:xfrm>
        </p:spPr>
        <p:txBody>
          <a:bodyPr/>
          <a:lstStyle/>
          <a:p>
            <a:r>
              <a:rPr lang="en-US" sz="2400" dirty="0">
                <a:solidFill>
                  <a:schemeClr val="bg1">
                    <a:lumMod val="75000"/>
                  </a:schemeClr>
                </a:solidFill>
                <a:latin typeface="EYInterstate" panose="02000503020000020004" pitchFamily="2" charset="0"/>
              </a:rPr>
              <a:t>GTER Concept - Overview</a:t>
            </a:r>
          </a:p>
        </p:txBody>
      </p:sp>
      <p:grpSp>
        <p:nvGrpSpPr>
          <p:cNvPr id="5" name="Group 4">
            <a:extLst>
              <a:ext uri="{FF2B5EF4-FFF2-40B4-BE49-F238E27FC236}">
                <a16:creationId xmlns:a16="http://schemas.microsoft.com/office/drawing/2014/main" id="{BA0338E1-9217-4E3C-83CB-4A1EF7A7515F}"/>
              </a:ext>
            </a:extLst>
          </p:cNvPr>
          <p:cNvGrpSpPr/>
          <p:nvPr/>
        </p:nvGrpSpPr>
        <p:grpSpPr>
          <a:xfrm>
            <a:off x="609916" y="1175791"/>
            <a:ext cx="10978517" cy="4936470"/>
            <a:chOff x="1984375" y="1045192"/>
            <a:chExt cx="8255001" cy="5069297"/>
          </a:xfrm>
        </p:grpSpPr>
        <p:sp>
          <p:nvSpPr>
            <p:cNvPr id="40" name="TextBox 39"/>
            <p:cNvSpPr txBox="1"/>
            <p:nvPr/>
          </p:nvSpPr>
          <p:spPr>
            <a:xfrm>
              <a:off x="1984375" y="1964763"/>
              <a:ext cx="8255000" cy="1728000"/>
            </a:xfrm>
            <a:prstGeom prst="rect">
              <a:avLst/>
            </a:prstGeom>
            <a:solidFill>
              <a:schemeClr val="tx2"/>
            </a:solidFill>
            <a:ln>
              <a:solidFill>
                <a:schemeClr val="bg1">
                  <a:lumMod val="75000"/>
                </a:schemeClr>
              </a:solidFill>
            </a:ln>
            <a:effectLst>
              <a:outerShdw blurRad="50800" dist="38100" dir="2700000" algn="tl" rotWithShape="0">
                <a:prstClr val="black">
                  <a:alpha val="40000"/>
                </a:prstClr>
              </a:outerShdw>
            </a:effectLst>
          </p:spPr>
          <p:txBody>
            <a:bodyPr wrap="square" rtlCol="0">
              <a:noAutofit/>
            </a:bodyPr>
            <a:lstStyle/>
            <a:p>
              <a:r>
                <a:rPr lang="en-GB" sz="1200" b="1" i="1" dirty="0">
                  <a:solidFill>
                    <a:schemeClr val="tx1">
                      <a:lumMod val="75000"/>
                    </a:schemeClr>
                  </a:solidFill>
                  <a:latin typeface="EYInterstate" panose="02000503020000020004" pitchFamily="2" charset="0"/>
                </a:rPr>
                <a:t>Global TER Equation</a:t>
              </a:r>
              <a:endParaRPr lang="en-GB" sz="1200" b="1" i="1" dirty="0">
                <a:latin typeface="EYInterstate" panose="02000503020000020004" pitchFamily="2" charset="0"/>
              </a:endParaRPr>
            </a:p>
          </p:txBody>
        </p:sp>
        <p:sp>
          <p:nvSpPr>
            <p:cNvPr id="41" name="TextBox 40"/>
            <p:cNvSpPr txBox="1"/>
            <p:nvPr/>
          </p:nvSpPr>
          <p:spPr>
            <a:xfrm>
              <a:off x="4735055" y="2083150"/>
              <a:ext cx="1856598" cy="923330"/>
            </a:xfrm>
            <a:prstGeom prst="rect">
              <a:avLst/>
            </a:prstGeom>
            <a:noFill/>
          </p:spPr>
          <p:txBody>
            <a:bodyPr wrap="square" rtlCol="0">
              <a:noAutofit/>
            </a:bodyPr>
            <a:lstStyle/>
            <a:p>
              <a:pPr algn="ctr"/>
              <a:r>
                <a:rPr lang="en-GB" sz="2800" dirty="0">
                  <a:latin typeface="EYInterstate" panose="02000503020000020004" pitchFamily="2" charset="0"/>
                </a:rPr>
                <a:t>TER</a:t>
              </a:r>
            </a:p>
            <a:p>
              <a:pPr algn="ctr"/>
              <a:r>
                <a:rPr lang="en-GB" sz="800" b="1" dirty="0">
                  <a:latin typeface="EYInterstate" panose="02000503020000020004" pitchFamily="2" charset="0"/>
                </a:rPr>
                <a:t>Headquarter</a:t>
              </a:r>
            </a:p>
            <a:p>
              <a:pPr algn="ctr"/>
              <a:endParaRPr lang="en-GB" sz="1000" dirty="0">
                <a:latin typeface="EYInterstate" panose="02000503020000020004" pitchFamily="2" charset="0"/>
              </a:endParaRPr>
            </a:p>
            <a:p>
              <a:pPr algn="ctr"/>
              <a:r>
                <a:rPr lang="en-GB" sz="900" dirty="0">
                  <a:latin typeface="EYInterstate" panose="02000503020000020004" pitchFamily="2" charset="0"/>
                </a:rPr>
                <a:t>Aggregation of all TER for accounts headquartered in the selected Region/ (no matter where the work was performed)</a:t>
              </a:r>
            </a:p>
          </p:txBody>
        </p:sp>
        <p:sp>
          <p:nvSpPr>
            <p:cNvPr id="42" name="TextBox 41"/>
            <p:cNvSpPr txBox="1"/>
            <p:nvPr/>
          </p:nvSpPr>
          <p:spPr>
            <a:xfrm>
              <a:off x="6903514" y="2077348"/>
              <a:ext cx="1512000" cy="1046440"/>
            </a:xfrm>
            <a:prstGeom prst="rect">
              <a:avLst/>
            </a:prstGeom>
            <a:noFill/>
          </p:spPr>
          <p:txBody>
            <a:bodyPr wrap="square" rtlCol="0">
              <a:noAutofit/>
            </a:bodyPr>
            <a:lstStyle/>
            <a:p>
              <a:pPr algn="ctr"/>
              <a:r>
                <a:rPr lang="en-GB" sz="2800" dirty="0">
                  <a:latin typeface="EYInterstate" panose="02000503020000020004" pitchFamily="2" charset="0"/>
                </a:rPr>
                <a:t>TER</a:t>
              </a:r>
            </a:p>
            <a:p>
              <a:pPr algn="ctr"/>
              <a:r>
                <a:rPr lang="en-GB" sz="800" b="1" dirty="0">
                  <a:latin typeface="EYInterstate" panose="02000503020000020004" pitchFamily="2" charset="0"/>
                </a:rPr>
                <a:t>Inbound</a:t>
              </a:r>
            </a:p>
            <a:p>
              <a:pPr algn="ctr"/>
              <a:endParaRPr lang="en-GB" sz="1000" dirty="0">
                <a:latin typeface="EYInterstate" panose="02000503020000020004" pitchFamily="2" charset="0"/>
              </a:endParaRPr>
            </a:p>
            <a:p>
              <a:pPr algn="ctr"/>
              <a:r>
                <a:rPr lang="en-GB" sz="900" dirty="0">
                  <a:latin typeface="EYInterstate" panose="02000503020000020004" pitchFamily="2" charset="0"/>
                </a:rPr>
                <a:t>Aggregation of all TER for accounts not headquartered in the selected Region but the work was performed in your region</a:t>
              </a:r>
            </a:p>
          </p:txBody>
        </p:sp>
        <p:sp>
          <p:nvSpPr>
            <p:cNvPr id="43" name="TextBox 42"/>
            <p:cNvSpPr txBox="1"/>
            <p:nvPr/>
          </p:nvSpPr>
          <p:spPr>
            <a:xfrm>
              <a:off x="6457700" y="2258140"/>
              <a:ext cx="407483" cy="523220"/>
            </a:xfrm>
            <a:prstGeom prst="rect">
              <a:avLst/>
            </a:prstGeom>
            <a:noFill/>
          </p:spPr>
          <p:txBody>
            <a:bodyPr wrap="none" rtlCol="0">
              <a:spAutoFit/>
            </a:bodyPr>
            <a:lstStyle/>
            <a:p>
              <a:pPr algn="ctr"/>
              <a:r>
                <a:rPr lang="en-GB" sz="2800" dirty="0">
                  <a:latin typeface="+mj-lt"/>
                </a:rPr>
                <a:t>+</a:t>
              </a:r>
            </a:p>
          </p:txBody>
        </p:sp>
        <p:sp>
          <p:nvSpPr>
            <p:cNvPr id="44" name="TextBox 43"/>
            <p:cNvSpPr txBox="1"/>
            <p:nvPr/>
          </p:nvSpPr>
          <p:spPr>
            <a:xfrm>
              <a:off x="2157547" y="2258140"/>
              <a:ext cx="1429513" cy="537298"/>
            </a:xfrm>
            <a:prstGeom prst="rect">
              <a:avLst/>
            </a:prstGeom>
            <a:noFill/>
          </p:spPr>
          <p:txBody>
            <a:bodyPr wrap="none" rtlCol="0">
              <a:spAutoFit/>
            </a:bodyPr>
            <a:lstStyle/>
            <a:p>
              <a:r>
                <a:rPr lang="en-GB" sz="2800" dirty="0">
                  <a:latin typeface="EYInterstate" panose="02000503020000020004" pitchFamily="2" charset="0"/>
                </a:rPr>
                <a:t>Global TER</a:t>
              </a:r>
            </a:p>
          </p:txBody>
        </p:sp>
        <p:sp>
          <p:nvSpPr>
            <p:cNvPr id="45" name="TextBox 44"/>
            <p:cNvSpPr txBox="1"/>
            <p:nvPr/>
          </p:nvSpPr>
          <p:spPr>
            <a:xfrm>
              <a:off x="4193619" y="2264668"/>
              <a:ext cx="407483" cy="523220"/>
            </a:xfrm>
            <a:prstGeom prst="rect">
              <a:avLst/>
            </a:prstGeom>
            <a:noFill/>
          </p:spPr>
          <p:txBody>
            <a:bodyPr wrap="none" rtlCol="0">
              <a:spAutoFit/>
            </a:bodyPr>
            <a:lstStyle/>
            <a:p>
              <a:pPr algn="ctr"/>
              <a:r>
                <a:rPr lang="en-GB" sz="2800" dirty="0">
                  <a:latin typeface="+mj-lt"/>
                </a:rPr>
                <a:t>=</a:t>
              </a:r>
            </a:p>
          </p:txBody>
        </p:sp>
        <p:sp>
          <p:nvSpPr>
            <p:cNvPr id="3" name="Right Brace 2"/>
            <p:cNvSpPr/>
            <p:nvPr/>
          </p:nvSpPr>
          <p:spPr>
            <a:xfrm>
              <a:off x="8566150" y="2355288"/>
              <a:ext cx="155448" cy="1260000"/>
            </a:xfrm>
            <a:prstGeom prst="rightBrace">
              <a:avLst>
                <a:gd name="adj1" fmla="val 69607"/>
                <a:gd name="adj2" fmla="val 50000"/>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sp>
          <p:nvSpPr>
            <p:cNvPr id="46" name="TextBox 45"/>
            <p:cNvSpPr txBox="1"/>
            <p:nvPr/>
          </p:nvSpPr>
          <p:spPr>
            <a:xfrm>
              <a:off x="8721599" y="2600569"/>
              <a:ext cx="1517777" cy="616313"/>
            </a:xfrm>
            <a:prstGeom prst="rect">
              <a:avLst/>
            </a:prstGeom>
            <a:noFill/>
          </p:spPr>
          <p:txBody>
            <a:bodyPr wrap="square" rtlCol="0">
              <a:spAutoFit/>
            </a:bodyPr>
            <a:lstStyle/>
            <a:p>
              <a:pPr algn="ctr"/>
              <a:r>
                <a:rPr lang="en-GB" sz="1100" i="1" dirty="0">
                  <a:latin typeface="EYInterstate" panose="02000503020000020004" pitchFamily="2" charset="0"/>
                </a:rPr>
                <a:t>same logic is applied to Global Margin, Global Sales and Global Pipeline</a:t>
              </a:r>
            </a:p>
          </p:txBody>
        </p:sp>
        <p:sp>
          <p:nvSpPr>
            <p:cNvPr id="47" name="TextBox 46"/>
            <p:cNvSpPr txBox="1"/>
            <p:nvPr/>
          </p:nvSpPr>
          <p:spPr>
            <a:xfrm>
              <a:off x="1984375" y="3820552"/>
              <a:ext cx="8255000" cy="2293937"/>
            </a:xfrm>
            <a:prstGeom prst="rect">
              <a:avLst/>
            </a:prstGeom>
            <a:solidFill>
              <a:schemeClr val="tx2"/>
            </a:solidFill>
            <a:ln>
              <a:solidFill>
                <a:schemeClr val="bg1">
                  <a:lumMod val="75000"/>
                </a:schemeClr>
              </a:solidFill>
            </a:ln>
            <a:effectLst>
              <a:outerShdw blurRad="50800" dist="38100" dir="2700000" algn="tl" rotWithShape="0">
                <a:prstClr val="black">
                  <a:alpha val="40000"/>
                </a:prstClr>
              </a:outerShdw>
            </a:effectLst>
          </p:spPr>
          <p:txBody>
            <a:bodyPr wrap="square" rtlCol="0">
              <a:noAutofit/>
            </a:bodyPr>
            <a:lstStyle/>
            <a:p>
              <a:r>
                <a:rPr lang="en-US" sz="1200" b="1" i="1" dirty="0">
                  <a:solidFill>
                    <a:schemeClr val="tx1">
                      <a:lumMod val="75000"/>
                    </a:schemeClr>
                  </a:solidFill>
                  <a:latin typeface="EYInterstate" panose="02000503020000020004" pitchFamily="2" charset="0"/>
                </a:rPr>
                <a:t>Example for a single account HQ in UKI and on which $17k is revenue worked in UKI, Canada own engagements on this account worth $6k and China $9k .  The $6k and $9k is “double-counted”  see below.</a:t>
              </a:r>
            </a:p>
          </p:txBody>
        </p:sp>
        <p:sp>
          <p:nvSpPr>
            <p:cNvPr id="101" name="Rectangle 100"/>
            <p:cNvSpPr/>
            <p:nvPr/>
          </p:nvSpPr>
          <p:spPr>
            <a:xfrm>
              <a:off x="2090872" y="4281929"/>
              <a:ext cx="914400" cy="47532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dirty="0">
                  <a:solidFill>
                    <a:schemeClr val="tx2"/>
                  </a:solidFill>
                  <a:latin typeface="EYInterstate" panose="02000503020000020004" pitchFamily="2" charset="0"/>
                </a:rPr>
                <a:t>Region</a:t>
              </a:r>
            </a:p>
          </p:txBody>
        </p:sp>
        <p:grpSp>
          <p:nvGrpSpPr>
            <p:cNvPr id="137" name="Group 136"/>
            <p:cNvGrpSpPr/>
            <p:nvPr/>
          </p:nvGrpSpPr>
          <p:grpSpPr>
            <a:xfrm>
              <a:off x="3062422" y="4281929"/>
              <a:ext cx="7027726" cy="627194"/>
              <a:chOff x="1540954" y="3799510"/>
              <a:chExt cx="6185781" cy="1010078"/>
            </a:xfrm>
          </p:grpSpPr>
          <p:sp>
            <p:nvSpPr>
              <p:cNvPr id="102" name="Rectangle 101"/>
              <p:cNvSpPr/>
              <p:nvPr/>
            </p:nvSpPr>
            <p:spPr>
              <a:xfrm>
                <a:off x="1540954" y="3799510"/>
                <a:ext cx="956320" cy="914400"/>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dirty="0">
                    <a:solidFill>
                      <a:schemeClr val="tx1"/>
                    </a:solidFill>
                    <a:latin typeface="EYInterstate" panose="02000503020000020004" pitchFamily="2" charset="0"/>
                  </a:rPr>
                  <a:t>HQ TER</a:t>
                </a:r>
              </a:p>
            </p:txBody>
          </p:sp>
          <p:sp>
            <p:nvSpPr>
              <p:cNvPr id="103" name="Rectangle 102"/>
              <p:cNvSpPr/>
              <p:nvPr/>
            </p:nvSpPr>
            <p:spPr>
              <a:xfrm>
                <a:off x="2915885" y="3799510"/>
                <a:ext cx="914400" cy="914400"/>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dirty="0">
                    <a:solidFill>
                      <a:schemeClr val="tx1"/>
                    </a:solidFill>
                    <a:latin typeface="EYInterstate" panose="02000503020000020004" pitchFamily="2" charset="0"/>
                  </a:rPr>
                  <a:t>Inbound TER</a:t>
                </a:r>
              </a:p>
            </p:txBody>
          </p:sp>
          <p:sp>
            <p:nvSpPr>
              <p:cNvPr id="130" name="TextBox 129"/>
              <p:cNvSpPr txBox="1"/>
              <p:nvPr/>
            </p:nvSpPr>
            <p:spPr>
              <a:xfrm>
                <a:off x="2582163" y="3995100"/>
                <a:ext cx="248829" cy="811017"/>
              </a:xfrm>
              <a:prstGeom prst="rect">
                <a:avLst/>
              </a:prstGeom>
              <a:noFill/>
            </p:spPr>
            <p:txBody>
              <a:bodyPr wrap="none" lIns="36000" tIns="36000" rIns="36000" bIns="36000" rtlCol="0" anchor="ctr" anchorCtr="0">
                <a:spAutoFit/>
              </a:bodyPr>
              <a:lstStyle/>
              <a:p>
                <a:pPr algn="ctr"/>
                <a:r>
                  <a:rPr lang="en-GB" sz="2800" dirty="0">
                    <a:latin typeface="+mj-lt"/>
                  </a:rPr>
                  <a:t>+</a:t>
                </a:r>
              </a:p>
            </p:txBody>
          </p:sp>
          <p:sp>
            <p:nvSpPr>
              <p:cNvPr id="131" name="TextBox 130"/>
              <p:cNvSpPr txBox="1"/>
              <p:nvPr/>
            </p:nvSpPr>
            <p:spPr>
              <a:xfrm>
                <a:off x="3915175" y="3995100"/>
                <a:ext cx="248829" cy="811017"/>
              </a:xfrm>
              <a:prstGeom prst="rect">
                <a:avLst/>
              </a:prstGeom>
              <a:noFill/>
            </p:spPr>
            <p:txBody>
              <a:bodyPr wrap="none" lIns="36000" tIns="36000" rIns="36000" bIns="36000" rtlCol="0" anchor="ctr" anchorCtr="0">
                <a:spAutoFit/>
              </a:bodyPr>
              <a:lstStyle/>
              <a:p>
                <a:pPr algn="ctr"/>
                <a:r>
                  <a:rPr lang="en-GB" sz="2800" dirty="0">
                    <a:latin typeface="+mj-lt"/>
                  </a:rPr>
                  <a:t>=</a:t>
                </a:r>
              </a:p>
            </p:txBody>
          </p:sp>
          <p:sp>
            <p:nvSpPr>
              <p:cNvPr id="132" name="Rectangle 131"/>
              <p:cNvSpPr/>
              <p:nvPr/>
            </p:nvSpPr>
            <p:spPr>
              <a:xfrm>
                <a:off x="4248898" y="3799510"/>
                <a:ext cx="914400" cy="914400"/>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dirty="0">
                    <a:solidFill>
                      <a:schemeClr val="tx1"/>
                    </a:solidFill>
                    <a:latin typeface="EYInterstate" panose="02000503020000020004" pitchFamily="2" charset="0"/>
                  </a:rPr>
                  <a:t>Global TER</a:t>
                </a:r>
              </a:p>
            </p:txBody>
          </p:sp>
          <p:sp>
            <p:nvSpPr>
              <p:cNvPr id="133" name="Rectangle 132"/>
              <p:cNvSpPr/>
              <p:nvPr/>
            </p:nvSpPr>
            <p:spPr>
              <a:xfrm>
                <a:off x="5479319" y="3799510"/>
                <a:ext cx="914400" cy="1010078"/>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dirty="0">
                    <a:solidFill>
                      <a:schemeClr val="tx1"/>
                    </a:solidFill>
                    <a:latin typeface="EYInterstate" panose="02000503020000020004" pitchFamily="2" charset="0"/>
                  </a:rPr>
                  <a:t>Outbound TER</a:t>
                </a:r>
              </a:p>
            </p:txBody>
          </p:sp>
          <p:sp>
            <p:nvSpPr>
              <p:cNvPr id="134" name="TextBox 133"/>
              <p:cNvSpPr txBox="1"/>
              <p:nvPr/>
            </p:nvSpPr>
            <p:spPr>
              <a:xfrm>
                <a:off x="5236400" y="3998571"/>
                <a:ext cx="169815" cy="811017"/>
              </a:xfrm>
              <a:prstGeom prst="rect">
                <a:avLst/>
              </a:prstGeom>
              <a:noFill/>
            </p:spPr>
            <p:txBody>
              <a:bodyPr wrap="none" lIns="36000" tIns="36000" rIns="36000" bIns="36000" rtlCol="0" anchor="ctr" anchorCtr="0">
                <a:spAutoFit/>
              </a:bodyPr>
              <a:lstStyle/>
              <a:p>
                <a:pPr algn="ctr"/>
                <a:r>
                  <a:rPr lang="en-GB" sz="2800" dirty="0">
                    <a:latin typeface="+mj-lt"/>
                  </a:rPr>
                  <a:t>-</a:t>
                </a:r>
              </a:p>
            </p:txBody>
          </p:sp>
          <p:sp>
            <p:nvSpPr>
              <p:cNvPr id="135" name="Rectangle 134"/>
              <p:cNvSpPr/>
              <p:nvPr/>
            </p:nvSpPr>
            <p:spPr>
              <a:xfrm>
                <a:off x="6812335" y="3799510"/>
                <a:ext cx="914400" cy="914400"/>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dirty="0">
                    <a:solidFill>
                      <a:schemeClr val="tx1"/>
                    </a:solidFill>
                    <a:latin typeface="EYInterstate" panose="02000503020000020004" pitchFamily="2" charset="0"/>
                  </a:rPr>
                  <a:t>(Local) TER</a:t>
                </a:r>
              </a:p>
            </p:txBody>
          </p:sp>
          <p:sp>
            <p:nvSpPr>
              <p:cNvPr id="136" name="TextBox 135"/>
              <p:cNvSpPr txBox="1"/>
              <p:nvPr/>
            </p:nvSpPr>
            <p:spPr>
              <a:xfrm>
                <a:off x="6478610" y="3995100"/>
                <a:ext cx="248829" cy="811017"/>
              </a:xfrm>
              <a:prstGeom prst="rect">
                <a:avLst/>
              </a:prstGeom>
              <a:noFill/>
            </p:spPr>
            <p:txBody>
              <a:bodyPr wrap="none" lIns="36000" tIns="36000" rIns="36000" bIns="36000" rtlCol="0" anchor="ctr" anchorCtr="0">
                <a:spAutoFit/>
              </a:bodyPr>
              <a:lstStyle/>
              <a:p>
                <a:pPr algn="ctr"/>
                <a:r>
                  <a:rPr lang="en-GB" sz="2800" dirty="0">
                    <a:latin typeface="+mj-lt"/>
                  </a:rPr>
                  <a:t>=</a:t>
                </a:r>
              </a:p>
            </p:txBody>
          </p:sp>
        </p:grpSp>
        <p:sp>
          <p:nvSpPr>
            <p:cNvPr id="138" name="Rectangle 137"/>
            <p:cNvSpPr/>
            <p:nvPr/>
          </p:nvSpPr>
          <p:spPr>
            <a:xfrm>
              <a:off x="2090872" y="4757258"/>
              <a:ext cx="914400" cy="1104630"/>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36000" rtlCol="0" anchor="t" anchorCtr="0"/>
            <a:lstStyle/>
            <a:p>
              <a:pPr>
                <a:spcAft>
                  <a:spcPts val="1200"/>
                </a:spcAft>
              </a:pPr>
              <a:r>
                <a:rPr lang="en-US" sz="1200" dirty="0">
                  <a:solidFill>
                    <a:schemeClr val="tx1"/>
                  </a:solidFill>
                  <a:latin typeface="EYInterstate" panose="02000503020000020004" pitchFamily="2" charset="0"/>
                </a:rPr>
                <a:t>UK&amp;I (HQ)</a:t>
              </a:r>
            </a:p>
            <a:p>
              <a:pPr>
                <a:spcAft>
                  <a:spcPts val="1200"/>
                </a:spcAft>
              </a:pPr>
              <a:r>
                <a:rPr lang="en-US" sz="1200" dirty="0">
                  <a:solidFill>
                    <a:schemeClr val="tx1"/>
                  </a:solidFill>
                  <a:latin typeface="EYInterstate" panose="02000503020000020004" pitchFamily="2" charset="0"/>
                </a:rPr>
                <a:t>Canada</a:t>
              </a:r>
            </a:p>
            <a:p>
              <a:pPr>
                <a:spcAft>
                  <a:spcPts val="1200"/>
                </a:spcAft>
              </a:pPr>
              <a:r>
                <a:rPr lang="en-US" sz="1200" dirty="0">
                  <a:solidFill>
                    <a:schemeClr val="tx1"/>
                  </a:solidFill>
                  <a:latin typeface="EYInterstate" panose="02000503020000020004" pitchFamily="2" charset="0"/>
                </a:rPr>
                <a:t>China</a:t>
              </a:r>
            </a:p>
          </p:txBody>
        </p:sp>
        <p:grpSp>
          <p:nvGrpSpPr>
            <p:cNvPr id="139" name="Group 138"/>
            <p:cNvGrpSpPr/>
            <p:nvPr/>
          </p:nvGrpSpPr>
          <p:grpSpPr>
            <a:xfrm>
              <a:off x="3062422" y="4757257"/>
              <a:ext cx="7027728" cy="1104630"/>
              <a:chOff x="1540952" y="3799510"/>
              <a:chExt cx="6185783" cy="914400"/>
            </a:xfrm>
            <a:solidFill>
              <a:schemeClr val="tx2"/>
            </a:solidFill>
          </p:grpSpPr>
          <p:sp>
            <p:nvSpPr>
              <p:cNvPr id="140" name="Rectangle 139"/>
              <p:cNvSpPr/>
              <p:nvPr/>
            </p:nvSpPr>
            <p:spPr>
              <a:xfrm>
                <a:off x="1540952" y="3799510"/>
                <a:ext cx="956320" cy="914400"/>
              </a:xfrm>
              <a:prstGeom prst="rect">
                <a:avLst/>
              </a:prstGeom>
              <a:grp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36000" bIns="72000" rtlCol="0" anchor="t" anchorCtr="0"/>
              <a:lstStyle/>
              <a:p>
                <a:pPr algn="r">
                  <a:spcAft>
                    <a:spcPts val="1200"/>
                  </a:spcAft>
                </a:pPr>
                <a:r>
                  <a:rPr lang="en-US" sz="1200" dirty="0">
                    <a:solidFill>
                      <a:schemeClr val="tx1"/>
                    </a:solidFill>
                    <a:latin typeface="EYInterstate" panose="02000503020000020004" pitchFamily="2" charset="0"/>
                  </a:rPr>
                  <a:t>17 + 6 + 9 = 32</a:t>
                </a:r>
              </a:p>
            </p:txBody>
          </p:sp>
          <p:sp>
            <p:nvSpPr>
              <p:cNvPr id="141" name="Rectangle 140"/>
              <p:cNvSpPr/>
              <p:nvPr/>
            </p:nvSpPr>
            <p:spPr>
              <a:xfrm>
                <a:off x="2915885" y="3799510"/>
                <a:ext cx="914400" cy="914400"/>
              </a:xfrm>
              <a:prstGeom prst="rect">
                <a:avLst/>
              </a:prstGeom>
              <a:grp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algn="r">
                  <a:spcAft>
                    <a:spcPts val="1200"/>
                  </a:spcAft>
                </a:pPr>
                <a:endParaRPr lang="en-US" sz="1200" dirty="0">
                  <a:solidFill>
                    <a:schemeClr val="tx1"/>
                  </a:solidFill>
                </a:endParaRPr>
              </a:p>
              <a:p>
                <a:pPr algn="r">
                  <a:spcAft>
                    <a:spcPts val="1200"/>
                  </a:spcAft>
                </a:pPr>
                <a:r>
                  <a:rPr lang="en-US" sz="1200" dirty="0">
                    <a:solidFill>
                      <a:schemeClr val="tx1"/>
                    </a:solidFill>
                    <a:latin typeface="EYInterstate" panose="02000503020000020004" pitchFamily="2" charset="0"/>
                  </a:rPr>
                  <a:t>6</a:t>
                </a:r>
              </a:p>
              <a:p>
                <a:pPr algn="r">
                  <a:spcAft>
                    <a:spcPts val="1200"/>
                  </a:spcAft>
                </a:pPr>
                <a:r>
                  <a:rPr lang="en-US" sz="1200" dirty="0">
                    <a:solidFill>
                      <a:schemeClr val="tx1"/>
                    </a:solidFill>
                    <a:latin typeface="EYInterstate" panose="02000503020000020004" pitchFamily="2" charset="0"/>
                  </a:rPr>
                  <a:t>9</a:t>
                </a:r>
              </a:p>
            </p:txBody>
          </p:sp>
          <p:sp>
            <p:nvSpPr>
              <p:cNvPr id="144" name="Rectangle 143"/>
              <p:cNvSpPr/>
              <p:nvPr/>
            </p:nvSpPr>
            <p:spPr>
              <a:xfrm>
                <a:off x="4248898" y="3799510"/>
                <a:ext cx="914400" cy="914400"/>
              </a:xfrm>
              <a:prstGeom prst="rect">
                <a:avLst/>
              </a:prstGeom>
              <a:grp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algn="r">
                  <a:spcAft>
                    <a:spcPts val="1200"/>
                  </a:spcAft>
                </a:pPr>
                <a:r>
                  <a:rPr lang="en-US" sz="1200" dirty="0">
                    <a:solidFill>
                      <a:schemeClr val="tx1"/>
                    </a:solidFill>
                    <a:latin typeface="EYInterstate" panose="02000503020000020004" pitchFamily="2" charset="0"/>
                  </a:rPr>
                  <a:t>32</a:t>
                </a:r>
              </a:p>
              <a:p>
                <a:pPr algn="r">
                  <a:spcAft>
                    <a:spcPts val="1200"/>
                  </a:spcAft>
                </a:pPr>
                <a:r>
                  <a:rPr lang="en-US" sz="1200" dirty="0">
                    <a:solidFill>
                      <a:schemeClr val="tx1"/>
                    </a:solidFill>
                    <a:latin typeface="EYInterstate" panose="02000503020000020004" pitchFamily="2" charset="0"/>
                  </a:rPr>
                  <a:t>6</a:t>
                </a:r>
              </a:p>
              <a:p>
                <a:pPr algn="r">
                  <a:spcAft>
                    <a:spcPts val="1200"/>
                  </a:spcAft>
                </a:pPr>
                <a:r>
                  <a:rPr lang="en-US" sz="1200" dirty="0">
                    <a:solidFill>
                      <a:schemeClr val="tx1"/>
                    </a:solidFill>
                    <a:latin typeface="EYInterstate" panose="02000503020000020004" pitchFamily="2" charset="0"/>
                  </a:rPr>
                  <a:t>9</a:t>
                </a:r>
              </a:p>
            </p:txBody>
          </p:sp>
          <p:sp>
            <p:nvSpPr>
              <p:cNvPr id="145" name="Rectangle 144"/>
              <p:cNvSpPr/>
              <p:nvPr/>
            </p:nvSpPr>
            <p:spPr>
              <a:xfrm>
                <a:off x="5479319" y="3799510"/>
                <a:ext cx="914400" cy="914400"/>
              </a:xfrm>
              <a:prstGeom prst="rect">
                <a:avLst/>
              </a:prstGeom>
              <a:grp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algn="r">
                  <a:spcAft>
                    <a:spcPts val="1200"/>
                  </a:spcAft>
                </a:pPr>
                <a:r>
                  <a:rPr lang="en-US" sz="1200" dirty="0">
                    <a:solidFill>
                      <a:schemeClr val="tx1"/>
                    </a:solidFill>
                    <a:latin typeface="EYInterstate" panose="02000503020000020004" pitchFamily="2" charset="0"/>
                  </a:rPr>
                  <a:t>6 + 9 = 15</a:t>
                </a:r>
              </a:p>
            </p:txBody>
          </p:sp>
          <p:sp>
            <p:nvSpPr>
              <p:cNvPr id="147" name="Rectangle 146"/>
              <p:cNvSpPr/>
              <p:nvPr/>
            </p:nvSpPr>
            <p:spPr>
              <a:xfrm>
                <a:off x="6812335" y="3799510"/>
                <a:ext cx="914400" cy="914400"/>
              </a:xfrm>
              <a:prstGeom prst="rect">
                <a:avLst/>
              </a:prstGeom>
              <a:grp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algn="r">
                  <a:spcAft>
                    <a:spcPts val="1200"/>
                  </a:spcAft>
                </a:pPr>
                <a:r>
                  <a:rPr lang="en-US" sz="1200" dirty="0">
                    <a:solidFill>
                      <a:schemeClr val="tx1"/>
                    </a:solidFill>
                    <a:latin typeface="EYInterstate" panose="02000503020000020004" pitchFamily="2" charset="0"/>
                  </a:rPr>
                  <a:t>17</a:t>
                </a:r>
              </a:p>
              <a:p>
                <a:pPr algn="r">
                  <a:spcAft>
                    <a:spcPts val="1200"/>
                  </a:spcAft>
                </a:pPr>
                <a:r>
                  <a:rPr lang="en-US" sz="1200" dirty="0">
                    <a:solidFill>
                      <a:schemeClr val="tx1"/>
                    </a:solidFill>
                    <a:latin typeface="EYInterstate" panose="02000503020000020004" pitchFamily="2" charset="0"/>
                  </a:rPr>
                  <a:t>6</a:t>
                </a:r>
              </a:p>
              <a:p>
                <a:pPr algn="r">
                  <a:spcAft>
                    <a:spcPts val="1200"/>
                  </a:spcAft>
                </a:pPr>
                <a:r>
                  <a:rPr lang="en-US" sz="1200" dirty="0">
                    <a:solidFill>
                      <a:schemeClr val="tx1"/>
                    </a:solidFill>
                    <a:latin typeface="EYInterstate" panose="02000503020000020004" pitchFamily="2" charset="0"/>
                  </a:rPr>
                  <a:t>9</a:t>
                </a:r>
              </a:p>
            </p:txBody>
          </p:sp>
        </p:grpSp>
        <p:sp>
          <p:nvSpPr>
            <p:cNvPr id="34" name="TextBox 33"/>
            <p:cNvSpPr txBox="1"/>
            <p:nvPr/>
          </p:nvSpPr>
          <p:spPr>
            <a:xfrm>
              <a:off x="1984375" y="1045192"/>
              <a:ext cx="8229600" cy="663722"/>
            </a:xfrm>
            <a:prstGeom prst="rect">
              <a:avLst/>
            </a:prstGeom>
            <a:noFill/>
          </p:spPr>
          <p:txBody>
            <a:bodyPr wrap="square" rtlCol="0">
              <a:spAutoFit/>
            </a:bodyPr>
            <a:lstStyle/>
            <a:p>
              <a:r>
                <a:rPr lang="en-US" b="1" dirty="0">
                  <a:solidFill>
                    <a:schemeClr val="bg1">
                      <a:lumMod val="75000"/>
                    </a:schemeClr>
                  </a:solidFill>
                  <a:latin typeface="EYInterstate" panose="02000503020000020004" pitchFamily="2" charset="0"/>
                </a:rPr>
                <a:t>All Global TER from accounts </a:t>
              </a:r>
              <a:r>
                <a:rPr lang="en-US" b="1" dirty="0" err="1">
                  <a:solidFill>
                    <a:schemeClr val="bg1">
                      <a:lumMod val="75000"/>
                    </a:schemeClr>
                  </a:solidFill>
                  <a:latin typeface="EYInterstate" panose="02000503020000020004" pitchFamily="2" charset="0"/>
                </a:rPr>
                <a:t>HQd</a:t>
              </a:r>
              <a:r>
                <a:rPr lang="en-US" b="1" dirty="0">
                  <a:solidFill>
                    <a:schemeClr val="bg1">
                      <a:lumMod val="75000"/>
                    </a:schemeClr>
                  </a:solidFill>
                  <a:latin typeface="EYInterstate" panose="02000503020000020004" pitchFamily="2" charset="0"/>
                </a:rPr>
                <a:t> in your Region (own domestic plus  that earned by other regions) + local TER generated in your Region from inbound accounts (your region is not the HQ owner).  </a:t>
              </a:r>
            </a:p>
          </p:txBody>
        </p:sp>
      </p:grpSp>
    </p:spTree>
    <p:extLst>
      <p:ext uri="{BB962C8B-B14F-4D97-AF65-F5344CB8AC3E}">
        <p14:creationId xmlns:p14="http://schemas.microsoft.com/office/powerpoint/2010/main" val="2807581441"/>
      </p:ext>
    </p:extLst>
  </p:cSld>
  <p:clrMapOvr>
    <a:masterClrMapping/>
  </p:clrMapOvr>
  <mc:AlternateContent xmlns:mc="http://schemas.openxmlformats.org/markup-compatibility/2006" xmlns:p14="http://schemas.microsoft.com/office/powerpoint/2010/main">
    <mc:Choice Requires="p14">
      <p:transition spd="slow" p14:dur="1500" advTm="152875">
        <p:split orient="vert"/>
      </p:transition>
    </mc:Choice>
    <mc:Fallback xmlns="">
      <p:transition spd="slow" advTm="152875">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alpha val="0"/>
          </a:scheme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8BCDB9-A0B5-4E5B-BD8B-90EA5AD18B2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8350" cy="6858000"/>
          </a:xfrm>
          <a:prstGeom prst="rect">
            <a:avLst/>
          </a:prstGeom>
          <a:effectLst>
            <a:glow rad="127000">
              <a:schemeClr val="accent1">
                <a:alpha val="36000"/>
              </a:schemeClr>
            </a:glow>
          </a:effectLst>
        </p:spPr>
      </p:pic>
      <p:sp>
        <p:nvSpPr>
          <p:cNvPr id="7" name="Rectangle 6">
            <a:extLst>
              <a:ext uri="{FF2B5EF4-FFF2-40B4-BE49-F238E27FC236}">
                <a16:creationId xmlns:a16="http://schemas.microsoft.com/office/drawing/2014/main" id="{A46088FF-C235-4A9A-8810-31999B1A3247}"/>
              </a:ext>
            </a:extLst>
          </p:cNvPr>
          <p:cNvSpPr/>
          <p:nvPr/>
        </p:nvSpPr>
        <p:spPr>
          <a:xfrm>
            <a:off x="6350" y="0"/>
            <a:ext cx="12192000" cy="6858000"/>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609917" y="291516"/>
            <a:ext cx="10978515" cy="590400"/>
          </a:xfrm>
        </p:spPr>
        <p:txBody>
          <a:bodyPr anchor="ctr"/>
          <a:lstStyle/>
          <a:p>
            <a:r>
              <a:rPr lang="en-GB" b="1" dirty="0">
                <a:solidFill>
                  <a:schemeClr val="tx1"/>
                </a:solidFill>
                <a:latin typeface="EYInterstate" panose="02000503020000020004" pitchFamily="2" charset="0"/>
              </a:rPr>
              <a:t>Agenda</a:t>
            </a:r>
          </a:p>
        </p:txBody>
      </p:sp>
      <p:sp>
        <p:nvSpPr>
          <p:cNvPr id="3" name="Content Placeholder 2"/>
          <p:cNvSpPr>
            <a:spLocks noGrp="1"/>
          </p:cNvSpPr>
          <p:nvPr>
            <p:ph idx="1"/>
          </p:nvPr>
        </p:nvSpPr>
        <p:spPr>
          <a:xfrm>
            <a:off x="609918" y="1173431"/>
            <a:ext cx="10978515" cy="4947920"/>
          </a:xfrm>
        </p:spPr>
        <p:txBody>
          <a:bodyPr/>
          <a:lstStyle/>
          <a:p>
            <a:r>
              <a:rPr lang="en-US" altLang="zh-CN" dirty="0">
                <a:solidFill>
                  <a:schemeClr val="tx1"/>
                </a:solidFill>
                <a:ea typeface="宋体" pitchFamily="2" charset="-122"/>
              </a:rPr>
              <a:t>Understanding EY – overview, areas, regions, service lines and our customers/services and roles.</a:t>
            </a:r>
          </a:p>
          <a:p>
            <a:pPr marL="0" indent="0">
              <a:buNone/>
            </a:pPr>
            <a:endParaRPr lang="en-US" altLang="zh-CN" dirty="0">
              <a:solidFill>
                <a:schemeClr val="tx1"/>
              </a:solidFill>
              <a:ea typeface="宋体" pitchFamily="2" charset="-122"/>
            </a:endParaRPr>
          </a:p>
          <a:p>
            <a:r>
              <a:rPr lang="en-US" altLang="zh-CN" dirty="0">
                <a:solidFill>
                  <a:schemeClr val="tx1"/>
                </a:solidFill>
                <a:ea typeface="宋体" pitchFamily="2" charset="-122"/>
              </a:rPr>
              <a:t>GFIS and Mercury Scenario</a:t>
            </a:r>
          </a:p>
          <a:p>
            <a:endParaRPr lang="en-IN" dirty="0">
              <a:solidFill>
                <a:schemeClr val="tx1"/>
              </a:solidFill>
            </a:endParaRPr>
          </a:p>
          <a:p>
            <a:r>
              <a:rPr lang="en-US" altLang="zh-CN" dirty="0">
                <a:solidFill>
                  <a:schemeClr val="tx1"/>
                </a:solidFill>
                <a:ea typeface="宋体" pitchFamily="2" charset="-122"/>
              </a:rPr>
              <a:t>Opportunity &amp; Engagement Life cycle</a:t>
            </a:r>
          </a:p>
          <a:p>
            <a:endParaRPr lang="en-IN" dirty="0">
              <a:solidFill>
                <a:schemeClr val="tx1"/>
              </a:solidFill>
            </a:endParaRPr>
          </a:p>
          <a:p>
            <a:r>
              <a:rPr lang="en-US" altLang="zh-CN" dirty="0">
                <a:solidFill>
                  <a:schemeClr val="tx1"/>
                </a:solidFill>
                <a:ea typeface="宋体" pitchFamily="2" charset="-122"/>
              </a:rPr>
              <a:t>Markets and Finance Focus – Key metrics and Revenue</a:t>
            </a:r>
          </a:p>
          <a:p>
            <a:endParaRPr lang="en-IN" dirty="0">
              <a:solidFill>
                <a:schemeClr val="tx1"/>
              </a:solidFill>
            </a:endParaRPr>
          </a:p>
          <a:p>
            <a:r>
              <a:rPr lang="en-US" altLang="zh-CN" dirty="0">
                <a:solidFill>
                  <a:schemeClr val="tx1"/>
                </a:solidFill>
                <a:ea typeface="宋体" pitchFamily="2" charset="-122"/>
              </a:rPr>
              <a:t>EY Fiscal Calendar and concept of dates</a:t>
            </a:r>
          </a:p>
          <a:p>
            <a:pPr marL="0" indent="0">
              <a:buNone/>
            </a:pPr>
            <a:endParaRPr lang="en-US" dirty="0"/>
          </a:p>
        </p:txBody>
      </p:sp>
      <p:cxnSp>
        <p:nvCxnSpPr>
          <p:cNvPr id="9" name="Straight Connector 8">
            <a:extLst>
              <a:ext uri="{FF2B5EF4-FFF2-40B4-BE49-F238E27FC236}">
                <a16:creationId xmlns:a16="http://schemas.microsoft.com/office/drawing/2014/main" id="{0FBBBD78-0021-4238-8A5E-25C686E5BF94}"/>
              </a:ext>
            </a:extLst>
          </p:cNvPr>
          <p:cNvCxnSpPr/>
          <p:nvPr/>
        </p:nvCxnSpPr>
        <p:spPr>
          <a:xfrm>
            <a:off x="609918" y="881916"/>
            <a:ext cx="11258232"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2294E8-4F2D-44E9-8C6B-1528DCCAEAED}"/>
              </a:ext>
            </a:extLst>
          </p:cNvPr>
          <p:cNvCxnSpPr/>
          <p:nvPr/>
        </p:nvCxnSpPr>
        <p:spPr>
          <a:xfrm>
            <a:off x="609918" y="5949216"/>
            <a:ext cx="11258232"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AC82BDC9-A955-4187-8E4F-95ED71B082B7}"/>
              </a:ext>
            </a:extLst>
          </p:cNvPr>
          <p:cNvGrpSpPr/>
          <p:nvPr/>
        </p:nvGrpSpPr>
        <p:grpSpPr>
          <a:xfrm>
            <a:off x="11436825" y="6178524"/>
            <a:ext cx="303213" cy="311151"/>
            <a:chOff x="12498705" y="4634082"/>
            <a:chExt cx="303213" cy="311151"/>
          </a:xfrm>
        </p:grpSpPr>
        <p:sp>
          <p:nvSpPr>
            <p:cNvPr id="12" name="Freeform 5">
              <a:extLst>
                <a:ext uri="{FF2B5EF4-FFF2-40B4-BE49-F238E27FC236}">
                  <a16:creationId xmlns:a16="http://schemas.microsoft.com/office/drawing/2014/main" id="{FA2BD4E7-B890-4B50-ADE7-D29148BEF400}"/>
                </a:ext>
              </a:extLst>
            </p:cNvPr>
            <p:cNvSpPr>
              <a:spLocks/>
            </p:cNvSpPr>
            <p:nvPr userDrawn="1"/>
          </p:nvSpPr>
          <p:spPr bwMode="auto">
            <a:xfrm>
              <a:off x="12498705" y="4634082"/>
              <a:ext cx="303213" cy="111125"/>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6">
              <a:extLst>
                <a:ext uri="{FF2B5EF4-FFF2-40B4-BE49-F238E27FC236}">
                  <a16:creationId xmlns:a16="http://schemas.microsoft.com/office/drawing/2014/main" id="{47A23370-95DB-4278-8278-035AC0D6CE3A}"/>
                </a:ext>
              </a:extLst>
            </p:cNvPr>
            <p:cNvSpPr>
              <a:spLocks/>
            </p:cNvSpPr>
            <p:nvPr userDrawn="1"/>
          </p:nvSpPr>
          <p:spPr bwMode="auto">
            <a:xfrm>
              <a:off x="12500293" y="4791245"/>
              <a:ext cx="123825" cy="15398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5F69F6E3-18B1-4197-9622-BDA99FB0A42B}"/>
                </a:ext>
              </a:extLst>
            </p:cNvPr>
            <p:cNvSpPr>
              <a:spLocks/>
            </p:cNvSpPr>
            <p:nvPr userDrawn="1"/>
          </p:nvSpPr>
          <p:spPr bwMode="auto">
            <a:xfrm>
              <a:off x="12603480" y="4791245"/>
              <a:ext cx="152400" cy="15398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spTree>
  </p:cSld>
  <p:clrMapOvr>
    <a:masterClrMapping/>
  </p:clrMapOvr>
  <mc:AlternateContent xmlns:mc="http://schemas.openxmlformats.org/markup-compatibility/2006" xmlns:p14="http://schemas.microsoft.com/office/powerpoint/2010/main">
    <mc:Choice Requires="p14">
      <p:transition spd="slow" p14:dur="1500" advTm="46104">
        <p:split orient="vert"/>
      </p:transition>
    </mc:Choice>
    <mc:Fallback xmlns="">
      <p:transition spd="slow" advTm="46104">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18" y="277800"/>
            <a:ext cx="10978515" cy="860400"/>
          </a:xfrm>
        </p:spPr>
        <p:txBody>
          <a:bodyPr anchor="ctr"/>
          <a:lstStyle/>
          <a:p>
            <a:r>
              <a:rPr lang="en-US" sz="2400" dirty="0">
                <a:solidFill>
                  <a:schemeClr val="bg1">
                    <a:lumMod val="75000"/>
                  </a:schemeClr>
                </a:solidFill>
                <a:latin typeface="EYInterstate" panose="02000503020000020004" pitchFamily="2" charset="0"/>
              </a:rPr>
              <a:t>EY Operations Statement – Overview</a:t>
            </a:r>
            <a:endParaRPr lang="en-IN" sz="2400" dirty="0">
              <a:solidFill>
                <a:schemeClr val="bg1">
                  <a:lumMod val="75000"/>
                </a:schemeClr>
              </a:solidFill>
              <a:latin typeface="EYInterstate" panose="02000503020000020004" pitchFamily="2" charset="0"/>
            </a:endParaRPr>
          </a:p>
        </p:txBody>
      </p:sp>
      <p:graphicFrame>
        <p:nvGraphicFramePr>
          <p:cNvPr id="4" name="Table 3"/>
          <p:cNvGraphicFramePr>
            <a:graphicFrameLocks noGrp="1"/>
          </p:cNvGraphicFramePr>
          <p:nvPr>
            <p:extLst>
              <p:ext uri="{D42A27DB-BD31-4B8C-83A1-F6EECF244321}">
                <p14:modId xmlns:p14="http://schemas.microsoft.com/office/powerpoint/2010/main" val="4260654469"/>
              </p:ext>
            </p:extLst>
          </p:nvPr>
        </p:nvGraphicFramePr>
        <p:xfrm>
          <a:off x="609918" y="1090309"/>
          <a:ext cx="9315132" cy="5112462"/>
        </p:xfrm>
        <a:graphic>
          <a:graphicData uri="http://schemas.openxmlformats.org/drawingml/2006/table">
            <a:tbl>
              <a:tblPr/>
              <a:tblGrid>
                <a:gridCol w="3946549">
                  <a:extLst>
                    <a:ext uri="{9D8B030D-6E8A-4147-A177-3AD203B41FA5}">
                      <a16:colId xmlns:a16="http://schemas.microsoft.com/office/drawing/2014/main" val="20000"/>
                    </a:ext>
                  </a:extLst>
                </a:gridCol>
                <a:gridCol w="1533881">
                  <a:extLst>
                    <a:ext uri="{9D8B030D-6E8A-4147-A177-3AD203B41FA5}">
                      <a16:colId xmlns:a16="http://schemas.microsoft.com/office/drawing/2014/main" val="20001"/>
                    </a:ext>
                  </a:extLst>
                </a:gridCol>
                <a:gridCol w="1285166">
                  <a:extLst>
                    <a:ext uri="{9D8B030D-6E8A-4147-A177-3AD203B41FA5}">
                      <a16:colId xmlns:a16="http://schemas.microsoft.com/office/drawing/2014/main" val="20002"/>
                    </a:ext>
                  </a:extLst>
                </a:gridCol>
                <a:gridCol w="1343169">
                  <a:extLst>
                    <a:ext uri="{9D8B030D-6E8A-4147-A177-3AD203B41FA5}">
                      <a16:colId xmlns:a16="http://schemas.microsoft.com/office/drawing/2014/main" val="20003"/>
                    </a:ext>
                  </a:extLst>
                </a:gridCol>
                <a:gridCol w="1206367">
                  <a:extLst>
                    <a:ext uri="{9D8B030D-6E8A-4147-A177-3AD203B41FA5}">
                      <a16:colId xmlns:a16="http://schemas.microsoft.com/office/drawing/2014/main" val="20004"/>
                    </a:ext>
                  </a:extLst>
                </a:gridCol>
              </a:tblGrid>
              <a:tr h="257441">
                <a:tc>
                  <a:txBody>
                    <a:bodyPr/>
                    <a:lstStyle/>
                    <a:p>
                      <a:pPr algn="ctr" rtl="0" fontAlgn="ctr"/>
                      <a:endParaRPr lang="en-IN" sz="12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IN" sz="1200" b="1" i="0" u="none" strike="noStrike" dirty="0">
                        <a:solidFill>
                          <a:srgbClr val="000000"/>
                        </a:solidFill>
                        <a:effectLst/>
                        <a:latin typeface="Arial" panose="020B0604020202020204" pitchFamily="34" charset="0"/>
                      </a:endParaRPr>
                    </a:p>
                  </a:txBody>
                  <a:tcPr marL="9525" marR="9525" marT="9525"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fontAlgn="ctr"/>
                      <a:r>
                        <a:rPr lang="en-US" sz="1200" b="1" i="0" u="none" strike="noStrike" dirty="0">
                          <a:solidFill>
                            <a:srgbClr val="000000"/>
                          </a:solidFill>
                          <a:effectLst/>
                          <a:latin typeface="Arial" panose="020B0604020202020204" pitchFamily="34" charset="0"/>
                        </a:rPr>
                        <a:t>FY19 YTD July Americas</a:t>
                      </a:r>
                      <a:endParaRPr lang="en-IN" sz="12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00"/>
                    </a:solidFill>
                  </a:tcPr>
                </a:tc>
                <a:tc hMerge="1">
                  <a:txBody>
                    <a:bodyPr/>
                    <a:lstStyle/>
                    <a:p>
                      <a:pPr algn="ctr" rtl="0" fontAlgn="ctr"/>
                      <a:endParaRPr lang="en-IN" sz="120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hMerge="1">
                  <a:txBody>
                    <a:bodyPr/>
                    <a:lstStyle/>
                    <a:p>
                      <a:pPr algn="ctr" rtl="0" fontAlgn="ctr"/>
                      <a:endParaRPr lang="en-IN" sz="120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0"/>
                  </a:ext>
                </a:extLst>
              </a:tr>
              <a:tr h="580283">
                <a:tc>
                  <a:txBody>
                    <a:bodyPr/>
                    <a:lstStyle/>
                    <a:p>
                      <a:pPr algn="ctr" rtl="0" fontAlgn="ctr"/>
                      <a:r>
                        <a:rPr lang="en-IN" sz="1200" b="1" i="0" u="none" strike="noStrike" dirty="0">
                          <a:solidFill>
                            <a:srgbClr val="000000"/>
                          </a:solidFill>
                          <a:effectLst/>
                          <a:latin typeface="Arial" panose="020B0604020202020204" pitchFamily="34" charset="0"/>
                        </a:rPr>
                        <a:t>Operational Variances</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CCCCCC"/>
                    </a:solidFill>
                  </a:tcPr>
                </a:tc>
                <a:tc>
                  <a:txBody>
                    <a:bodyPr/>
                    <a:lstStyle/>
                    <a:p>
                      <a:pPr algn="ctr" rtl="0" fontAlgn="ctr"/>
                      <a:r>
                        <a:rPr lang="en-IN" sz="1200" b="1" i="0" u="none" strike="noStrike">
                          <a:solidFill>
                            <a:srgbClr val="000000"/>
                          </a:solidFill>
                          <a:effectLst/>
                          <a:latin typeface="Arial" panose="020B0604020202020204" pitchFamily="34" charset="0"/>
                        </a:rPr>
                        <a:t>Calculation</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CCCCCC"/>
                    </a:solidFill>
                  </a:tcPr>
                </a:tc>
                <a:tc>
                  <a:txBody>
                    <a:bodyPr/>
                    <a:lstStyle/>
                    <a:p>
                      <a:pPr algn="ctr" rtl="0" fontAlgn="ctr"/>
                      <a:r>
                        <a:rPr lang="en-IN" sz="1200" b="1" i="0" u="none" strike="noStrike" dirty="0">
                          <a:solidFill>
                            <a:srgbClr val="000000"/>
                          </a:solidFill>
                          <a:effectLst/>
                          <a:latin typeface="Arial" panose="020B0604020202020204" pitchFamily="34" charset="0"/>
                        </a:rPr>
                        <a:t>Actual</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200" b="1" i="0" u="none" strike="noStrike">
                          <a:solidFill>
                            <a:srgbClr val="000000"/>
                          </a:solidFill>
                          <a:effectLst/>
                          <a:latin typeface="Arial" panose="020B0604020202020204" pitchFamily="34" charset="0"/>
                        </a:rPr>
                        <a:t>Inc/(Dec) % </a:t>
                      </a:r>
                      <a:br>
                        <a:rPr lang="en-IN" sz="1200" b="1" i="0" u="none" strike="noStrike">
                          <a:solidFill>
                            <a:srgbClr val="000000"/>
                          </a:solidFill>
                          <a:effectLst/>
                          <a:latin typeface="Arial" panose="020B0604020202020204" pitchFamily="34" charset="0"/>
                        </a:rPr>
                      </a:br>
                      <a:r>
                        <a:rPr lang="en-IN" sz="1200" b="1" i="0" u="none" strike="noStrike">
                          <a:solidFill>
                            <a:srgbClr val="000000"/>
                          </a:solidFill>
                          <a:effectLst/>
                          <a:latin typeface="Arial" panose="020B0604020202020204" pitchFamily="34" charset="0"/>
                        </a:rPr>
                        <a:t>vs Plan</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200" b="1" i="0" u="none" strike="noStrike" dirty="0">
                          <a:solidFill>
                            <a:srgbClr val="000000"/>
                          </a:solidFill>
                          <a:effectLst/>
                          <a:latin typeface="Arial" panose="020B0604020202020204" pitchFamily="34" charset="0"/>
                        </a:rPr>
                        <a:t>Inc/(Dec) %</a:t>
                      </a:r>
                      <a:br>
                        <a:rPr lang="en-IN" sz="1200" b="1" i="0" u="none" strike="noStrike" dirty="0">
                          <a:solidFill>
                            <a:srgbClr val="000000"/>
                          </a:solidFill>
                          <a:effectLst/>
                          <a:latin typeface="Arial" panose="020B0604020202020204" pitchFamily="34" charset="0"/>
                        </a:rPr>
                      </a:br>
                      <a:r>
                        <a:rPr lang="en-IN" sz="1200" b="1" i="0" u="none" strike="noStrike" dirty="0">
                          <a:solidFill>
                            <a:srgbClr val="000000"/>
                          </a:solidFill>
                          <a:effectLst/>
                          <a:latin typeface="Arial" panose="020B0604020202020204" pitchFamily="34" charset="0"/>
                        </a:rPr>
                        <a:t>vs PY</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1"/>
                  </a:ext>
                </a:extLst>
              </a:tr>
              <a:tr h="328826">
                <a:tc>
                  <a:txBody>
                    <a:bodyPr/>
                    <a:lstStyle/>
                    <a:p>
                      <a:pPr algn="l" rtl="0" fontAlgn="t"/>
                      <a:r>
                        <a:rPr lang="en-IN" sz="1200" b="0" i="0" u="none" strike="noStrike" dirty="0">
                          <a:solidFill>
                            <a:srgbClr val="333333"/>
                          </a:solidFill>
                          <a:effectLst/>
                          <a:latin typeface="Arial" panose="020B0604020202020204" pitchFamily="34" charset="0"/>
                        </a:rPr>
                        <a:t>  Total Net Revenue</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ctr" rtl="0" fontAlgn="t"/>
                      <a:r>
                        <a:rPr lang="en-IN" sz="1200" b="0" i="0" u="none" strike="noStrike">
                          <a:solidFill>
                            <a:srgbClr val="333333"/>
                          </a:solidFill>
                          <a:effectLst/>
                          <a:latin typeface="Arial" panose="020B0604020202020204" pitchFamily="34" charset="0"/>
                        </a:rPr>
                        <a:t>A</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rtl="0" fontAlgn="t"/>
                      <a:r>
                        <a:rPr lang="en-IN" sz="1200" b="0" i="0" u="none" strike="noStrike" dirty="0">
                          <a:solidFill>
                            <a:srgbClr val="333333"/>
                          </a:solidFill>
                          <a:effectLst/>
                          <a:latin typeface="Arial" panose="020B0604020202020204" pitchFamily="34" charset="0"/>
                        </a:rPr>
                        <a:t>1,150,69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0.2%)</a:t>
                      </a:r>
                    </a:p>
                  </a:txBody>
                  <a:tcPr marL="9525" marR="9525" marT="9525" marB="0" anchor="ctr">
                    <a:lnL>
                      <a:noFill/>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02"/>
                  </a:ext>
                </a:extLst>
              </a:tr>
              <a:tr h="328826">
                <a:tc>
                  <a:txBody>
                    <a:bodyPr/>
                    <a:lstStyle/>
                    <a:p>
                      <a:pPr algn="l" rtl="0" fontAlgn="t"/>
                      <a:r>
                        <a:rPr lang="en-IN" sz="1200" b="0" i="0" u="none" strike="noStrike" dirty="0">
                          <a:solidFill>
                            <a:srgbClr val="333333"/>
                          </a:solidFill>
                          <a:effectLst/>
                          <a:latin typeface="Arial" panose="020B0604020202020204" pitchFamily="34" charset="0"/>
                        </a:rPr>
                        <a:t>  Total Direct Expense</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tc>
                  <a:txBody>
                    <a:bodyPr/>
                    <a:lstStyle/>
                    <a:p>
                      <a:pPr algn="ctr" rtl="0" fontAlgn="t"/>
                      <a:r>
                        <a:rPr lang="en-IN" sz="1200" b="0" i="0" u="none" strike="noStrike" dirty="0">
                          <a:solidFill>
                            <a:srgbClr val="333333"/>
                          </a:solidFill>
                          <a:effectLst/>
                          <a:latin typeface="Arial" panose="020B0604020202020204" pitchFamily="34" charset="0"/>
                        </a:rPr>
                        <a:t>B</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200" b="0" i="0" u="none" strike="noStrike">
                          <a:solidFill>
                            <a:srgbClr val="333333"/>
                          </a:solidFill>
                          <a:effectLst/>
                          <a:latin typeface="Arial" panose="020B0604020202020204" pitchFamily="34" charset="0"/>
                        </a:rPr>
                        <a:t>587,90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0.7%)</a:t>
                      </a:r>
                    </a:p>
                  </a:txBody>
                  <a:tcPr marL="9525" marR="9525" marT="9525" marB="0" anchor="ctr">
                    <a:lnL>
                      <a:noFill/>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9.6%</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328826">
                <a:tc>
                  <a:txBody>
                    <a:bodyPr/>
                    <a:lstStyle/>
                    <a:p>
                      <a:pPr algn="l" rtl="0" fontAlgn="t"/>
                      <a:r>
                        <a:rPr lang="en-IN" sz="1200" b="0" i="0" u="none" strike="noStrike" dirty="0">
                          <a:solidFill>
                            <a:srgbClr val="333333"/>
                          </a:solidFill>
                          <a:effectLst/>
                          <a:latin typeface="Arial" panose="020B0604020202020204" pitchFamily="34" charset="0"/>
                        </a:rPr>
                        <a:t>  Gross Margin before PNC</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chemeClr val="accent6"/>
                    </a:solidFill>
                  </a:tcPr>
                </a:tc>
                <a:tc>
                  <a:txBody>
                    <a:bodyPr/>
                    <a:lstStyle/>
                    <a:p>
                      <a:pPr algn="ctr" rtl="0" fontAlgn="t"/>
                      <a:r>
                        <a:rPr lang="en-IN" sz="1200" b="0" i="0" u="none" strike="noStrike" dirty="0">
                          <a:solidFill>
                            <a:srgbClr val="333333"/>
                          </a:solidFill>
                          <a:effectLst/>
                          <a:latin typeface="Arial" panose="020B0604020202020204" pitchFamily="34" charset="0"/>
                        </a:rPr>
                        <a:t>C = A - B</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562,789</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0.3%</a:t>
                      </a:r>
                    </a:p>
                  </a:txBody>
                  <a:tcPr marL="9525" marR="9525" marT="9525" marB="0" anchor="ctr">
                    <a:lnL>
                      <a:noFill/>
                    </a:lnL>
                    <a:lnR>
                      <a:noFill/>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4.7%)</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0004"/>
                  </a:ext>
                </a:extLst>
              </a:tr>
              <a:tr h="328826">
                <a:tc>
                  <a:txBody>
                    <a:bodyPr/>
                    <a:lstStyle/>
                    <a:p>
                      <a:pPr algn="l" rtl="0" fontAlgn="t"/>
                      <a:r>
                        <a:rPr lang="en-IN" sz="1200" b="0" i="0" u="none" strike="noStrike" dirty="0">
                          <a:solidFill>
                            <a:schemeClr val="tx2"/>
                          </a:solidFill>
                          <a:effectLst/>
                          <a:latin typeface="Arial" panose="020B0604020202020204" pitchFamily="34" charset="0"/>
                        </a:rPr>
                        <a:t>  Partner Notional Compensation</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chemeClr val="bg1"/>
                    </a:solidFill>
                  </a:tcPr>
                </a:tc>
                <a:tc>
                  <a:txBody>
                    <a:bodyPr/>
                    <a:lstStyle/>
                    <a:p>
                      <a:pPr algn="ctr" rtl="0" fontAlgn="t"/>
                      <a:r>
                        <a:rPr lang="en-IN" sz="1200" b="0" i="0" u="none" strike="noStrike" dirty="0">
                          <a:solidFill>
                            <a:schemeClr val="tx2"/>
                          </a:solidFill>
                          <a:effectLst/>
                          <a:latin typeface="Arial" panose="020B0604020202020204" pitchFamily="34" charset="0"/>
                        </a:rPr>
                        <a:t>D</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r" rtl="0" fontAlgn="t"/>
                      <a:r>
                        <a:rPr lang="en-IN" sz="1200" b="0" i="0" u="none" strike="noStrike" dirty="0">
                          <a:solidFill>
                            <a:schemeClr val="tx2"/>
                          </a:solidFill>
                          <a:effectLst/>
                          <a:latin typeface="Arial" panose="020B0604020202020204" pitchFamily="34" charset="0"/>
                        </a:rPr>
                        <a:t>381,123</a:t>
                      </a:r>
                    </a:p>
                  </a:txBody>
                  <a:tcPr marL="9525" marR="9525" marT="9525" marB="0" anchor="ctr">
                    <a:lnL w="12700" cap="flat" cmpd="sng" algn="ctr">
                      <a:solidFill>
                        <a:schemeClr val="tx1"/>
                      </a:solidFill>
                      <a:prstDash val="solid"/>
                      <a:round/>
                      <a:headEnd type="none" w="med" len="med"/>
                      <a:tailEnd type="none" w="med" len="med"/>
                    </a:lnL>
                    <a:lnR>
                      <a:noFill/>
                    </a:lnR>
                    <a:lnT>
                      <a:noFill/>
                    </a:lnT>
                    <a:lnB w="6350" cap="flat" cmpd="sng" algn="ctr">
                      <a:solidFill>
                        <a:srgbClr val="808080"/>
                      </a:solidFill>
                      <a:prstDash val="solid"/>
                      <a:round/>
                      <a:headEnd type="none" w="med" len="med"/>
                      <a:tailEnd type="none" w="med" len="med"/>
                    </a:lnB>
                    <a:solidFill>
                      <a:schemeClr val="bg1"/>
                    </a:solidFill>
                  </a:tcPr>
                </a:tc>
                <a:tc>
                  <a:txBody>
                    <a:bodyPr/>
                    <a:lstStyle/>
                    <a:p>
                      <a:pPr algn="r" rtl="0" fontAlgn="t"/>
                      <a:r>
                        <a:rPr lang="en-IN" sz="1200" b="0" i="0" u="none" strike="noStrike" dirty="0">
                          <a:solidFill>
                            <a:schemeClr val="tx2"/>
                          </a:solidFill>
                          <a:effectLst/>
                          <a:latin typeface="Arial" panose="020B0604020202020204" pitchFamily="34" charset="0"/>
                        </a:rPr>
                        <a:t>(1.1%)</a:t>
                      </a:r>
                    </a:p>
                  </a:txBody>
                  <a:tcPr marL="9525" marR="9525" marT="9525" marB="0" anchor="ctr">
                    <a:lnL>
                      <a:noFill/>
                    </a:lnL>
                    <a:lnR>
                      <a:noFill/>
                    </a:lnR>
                    <a:lnT>
                      <a:noFill/>
                    </a:lnT>
                    <a:lnB w="6350" cap="flat" cmpd="sng" algn="ctr">
                      <a:solidFill>
                        <a:srgbClr val="808080"/>
                      </a:solidFill>
                      <a:prstDash val="solid"/>
                      <a:round/>
                      <a:headEnd type="none" w="med" len="med"/>
                      <a:tailEnd type="none" w="med" len="med"/>
                    </a:lnB>
                    <a:solidFill>
                      <a:schemeClr val="bg1"/>
                    </a:solidFill>
                  </a:tcPr>
                </a:tc>
                <a:tc>
                  <a:txBody>
                    <a:bodyPr/>
                    <a:lstStyle/>
                    <a:p>
                      <a:pPr algn="r" rtl="0" fontAlgn="t"/>
                      <a:r>
                        <a:rPr lang="en-IN" sz="1200" b="0" i="0" u="none" strike="noStrike" dirty="0">
                          <a:solidFill>
                            <a:schemeClr val="tx2"/>
                          </a:solidFill>
                          <a:effectLst/>
                          <a:latin typeface="Arial" panose="020B0604020202020204" pitchFamily="34" charset="0"/>
                        </a:rPr>
                        <a:t>6.8%</a:t>
                      </a:r>
                    </a:p>
                  </a:txBody>
                  <a:tcPr marL="9525" marR="9525" marT="9525" marB="0" anchor="ctr">
                    <a:lnL>
                      <a:noFill/>
                    </a:lnL>
                    <a:lnR w="12700" cap="flat" cmpd="sng" algn="ctr">
                      <a:solidFill>
                        <a:schemeClr val="tx1"/>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28826">
                <a:tc>
                  <a:txBody>
                    <a:bodyPr/>
                    <a:lstStyle/>
                    <a:p>
                      <a:pPr algn="l" rtl="0" fontAlgn="t"/>
                      <a:r>
                        <a:rPr lang="en-IN" sz="1200" b="0" i="0" u="none" strike="noStrike" dirty="0">
                          <a:solidFill>
                            <a:srgbClr val="333333"/>
                          </a:solidFill>
                          <a:effectLst/>
                          <a:latin typeface="Arial" panose="020B0604020202020204" pitchFamily="34" charset="0"/>
                        </a:rPr>
                        <a:t>  Gross Margin</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chemeClr val="accent6"/>
                    </a:solidFill>
                  </a:tcPr>
                </a:tc>
                <a:tc>
                  <a:txBody>
                    <a:bodyPr/>
                    <a:lstStyle/>
                    <a:p>
                      <a:pPr algn="ctr" rtl="0" fontAlgn="t"/>
                      <a:r>
                        <a:rPr lang="en-IN" sz="1200" b="0" i="0" u="none" strike="noStrike" dirty="0">
                          <a:solidFill>
                            <a:srgbClr val="333333"/>
                          </a:solidFill>
                          <a:effectLst/>
                          <a:latin typeface="Arial" panose="020B0604020202020204" pitchFamily="34" charset="0"/>
                        </a:rPr>
                        <a:t>E = C - D</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181,66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3.2%</a:t>
                      </a:r>
                    </a:p>
                  </a:txBody>
                  <a:tcPr marL="9525" marR="9525" marT="9525" marB="0" anchor="ctr">
                    <a:lnL>
                      <a:noFill/>
                    </a:lnL>
                    <a:lnR>
                      <a:noFill/>
                    </a:lnR>
                    <a:lnT w="6350" cap="flat" cmpd="sng" algn="ctr">
                      <a:solidFill>
                        <a:srgbClr val="808080"/>
                      </a:solidFill>
                      <a:prstDash val="solid"/>
                      <a:round/>
                      <a:headEnd type="none" w="med" len="med"/>
                      <a:tailEnd type="none" w="med" len="med"/>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2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accent6"/>
                    </a:solidFill>
                  </a:tcPr>
                </a:tc>
                <a:extLst>
                  <a:ext uri="{0D108BD9-81ED-4DB2-BD59-A6C34878D82A}">
                    <a16:rowId xmlns:a16="http://schemas.microsoft.com/office/drawing/2014/main" val="10006"/>
                  </a:ext>
                </a:extLst>
              </a:tr>
              <a:tr h="328826">
                <a:tc>
                  <a:txBody>
                    <a:bodyPr/>
                    <a:lstStyle/>
                    <a:p>
                      <a:pPr algn="l" rtl="0" fontAlgn="t"/>
                      <a:r>
                        <a:rPr lang="en-IN" sz="1200" b="0" i="0" u="none" strike="noStrike">
                          <a:solidFill>
                            <a:srgbClr val="333333"/>
                          </a:solidFill>
                          <a:effectLst/>
                          <a:latin typeface="Arial" panose="020B0604020202020204" pitchFamily="34" charset="0"/>
                        </a:rPr>
                        <a:t>  Regional Controllable Indirect Expenses</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tc>
                  <a:txBody>
                    <a:bodyPr/>
                    <a:lstStyle/>
                    <a:p>
                      <a:pPr algn="ctr" rtl="0" fontAlgn="t"/>
                      <a:r>
                        <a:rPr lang="en-IN" sz="1200" b="0" i="0" u="none" strike="noStrike">
                          <a:solidFill>
                            <a:srgbClr val="333333"/>
                          </a:solidFill>
                          <a:effectLst/>
                          <a:latin typeface="Arial" panose="020B0604020202020204" pitchFamily="34" charset="0"/>
                        </a:rPr>
                        <a:t>F</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200" b="0" i="0" u="none" strike="noStrike" dirty="0">
                          <a:solidFill>
                            <a:srgbClr val="333333"/>
                          </a:solidFill>
                          <a:effectLst/>
                          <a:latin typeface="Arial" panose="020B0604020202020204" pitchFamily="34" charset="0"/>
                        </a:rPr>
                        <a:t>215,988</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11.3%)</a:t>
                      </a:r>
                    </a:p>
                  </a:txBody>
                  <a:tcPr marL="9525" marR="9525" marT="9525" marB="0" anchor="ctr">
                    <a:lnL>
                      <a:noFill/>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7.7%</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328826">
                <a:tc>
                  <a:txBody>
                    <a:bodyPr/>
                    <a:lstStyle/>
                    <a:p>
                      <a:pPr algn="l" rtl="0" fontAlgn="t"/>
                      <a:r>
                        <a:rPr lang="en-IN" sz="1200" b="0" i="0" u="none" strike="noStrike" dirty="0">
                          <a:solidFill>
                            <a:srgbClr val="333333"/>
                          </a:solidFill>
                          <a:effectLst/>
                          <a:latin typeface="Arial" panose="020B0604020202020204" pitchFamily="34" charset="0"/>
                        </a:rPr>
                        <a:t>  CCM before PNC</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chemeClr val="accent6"/>
                    </a:solidFill>
                  </a:tcPr>
                </a:tc>
                <a:tc>
                  <a:txBody>
                    <a:bodyPr/>
                    <a:lstStyle/>
                    <a:p>
                      <a:pPr algn="ctr" rtl="0" fontAlgn="t"/>
                      <a:r>
                        <a:rPr lang="en-IN" sz="1200" b="0" i="0" u="none" strike="noStrike" dirty="0">
                          <a:solidFill>
                            <a:srgbClr val="333333"/>
                          </a:solidFill>
                          <a:effectLst/>
                          <a:latin typeface="Arial" panose="020B0604020202020204" pitchFamily="34" charset="0"/>
                        </a:rPr>
                        <a:t>G = C - F</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346,801</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9.0%</a:t>
                      </a:r>
                    </a:p>
                  </a:txBody>
                  <a:tcPr marL="9525" marR="9525" marT="9525" marB="0" anchor="ctr">
                    <a:lnL>
                      <a:noFill/>
                    </a:lnL>
                    <a:lnR>
                      <a:noFill/>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11.0%)</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0008"/>
                  </a:ext>
                </a:extLst>
              </a:tr>
              <a:tr h="328826">
                <a:tc>
                  <a:txBody>
                    <a:bodyPr/>
                    <a:lstStyle/>
                    <a:p>
                      <a:pPr algn="l" rtl="0" fontAlgn="t"/>
                      <a:r>
                        <a:rPr lang="en-IN" sz="1200" b="0" i="0" u="none" strike="noStrike">
                          <a:solidFill>
                            <a:srgbClr val="333333"/>
                          </a:solidFill>
                          <a:effectLst/>
                          <a:latin typeface="Arial" panose="020B0604020202020204" pitchFamily="34" charset="0"/>
                        </a:rPr>
                        <a:t>  Centrally Controlled Indirect Expenses</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tc>
                  <a:txBody>
                    <a:bodyPr/>
                    <a:lstStyle/>
                    <a:p>
                      <a:pPr algn="ctr" rtl="0" fontAlgn="t"/>
                      <a:r>
                        <a:rPr lang="en-IN" sz="1200" b="0" i="0" u="none" strike="noStrike">
                          <a:solidFill>
                            <a:srgbClr val="333333"/>
                          </a:solidFill>
                          <a:effectLst/>
                          <a:latin typeface="Arial" panose="020B0604020202020204" pitchFamily="34" charset="0"/>
                        </a:rPr>
                        <a:t>H</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200" b="0" i="0" u="none" strike="noStrike">
                          <a:solidFill>
                            <a:srgbClr val="333333"/>
                          </a:solidFill>
                          <a:effectLst/>
                          <a:latin typeface="Arial" panose="020B0604020202020204" pitchFamily="34" charset="0"/>
                        </a:rPr>
                        <a:t>163,717</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0.3%)</a:t>
                      </a:r>
                    </a:p>
                  </a:txBody>
                  <a:tcPr marL="9525" marR="9525" marT="9525" marB="0" anchor="ctr">
                    <a:lnL>
                      <a:noFill/>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4.0%</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328826">
                <a:tc>
                  <a:txBody>
                    <a:bodyPr/>
                    <a:lstStyle/>
                    <a:p>
                      <a:pPr algn="l" rtl="0" fontAlgn="t"/>
                      <a:r>
                        <a:rPr lang="en-IN" sz="1200" b="0" i="0" u="none" strike="noStrike">
                          <a:solidFill>
                            <a:srgbClr val="333333"/>
                          </a:solidFill>
                          <a:effectLst/>
                          <a:latin typeface="Arial" panose="020B0604020202020204" pitchFamily="34" charset="0"/>
                        </a:rPr>
                        <a:t>  Operating Income</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tc>
                  <a:txBody>
                    <a:bodyPr/>
                    <a:lstStyle/>
                    <a:p>
                      <a:pPr algn="ctr" rtl="0" fontAlgn="t"/>
                      <a:r>
                        <a:rPr lang="en-IN" sz="1200" b="0" i="0" u="none" strike="noStrike">
                          <a:solidFill>
                            <a:srgbClr val="333333"/>
                          </a:solidFill>
                          <a:effectLst/>
                          <a:latin typeface="Arial" panose="020B0604020202020204" pitchFamily="34" charset="0"/>
                        </a:rPr>
                        <a:t>I = E - (F + H)</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200" b="0" i="0" u="none" strike="noStrike">
                          <a:solidFill>
                            <a:srgbClr val="333333"/>
                          </a:solidFill>
                          <a:effectLst/>
                          <a:latin typeface="Arial" panose="020B0604020202020204" pitchFamily="34" charset="0"/>
                        </a:rPr>
                        <a:t>(198,039)</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14.6%</a:t>
                      </a:r>
                    </a:p>
                  </a:txBody>
                  <a:tcPr marL="9525" marR="9525" marT="9525" marB="0" anchor="ctr">
                    <a:lnL>
                      <a:noFill/>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59.7%)</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328826">
                <a:tc>
                  <a:txBody>
                    <a:bodyPr/>
                    <a:lstStyle/>
                    <a:p>
                      <a:pPr algn="l" rtl="0" fontAlgn="t"/>
                      <a:r>
                        <a:rPr lang="en-IN" sz="1200" b="0" i="0" u="none" strike="noStrike" dirty="0">
                          <a:solidFill>
                            <a:schemeClr val="tx2"/>
                          </a:solidFill>
                          <a:effectLst/>
                          <a:latin typeface="Arial" panose="020B0604020202020204" pitchFamily="34" charset="0"/>
                        </a:rPr>
                        <a:t>  Addback: Partner Notional Comp</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chemeClr val="bg1"/>
                    </a:solidFill>
                  </a:tcPr>
                </a:tc>
                <a:tc>
                  <a:txBody>
                    <a:bodyPr/>
                    <a:lstStyle/>
                    <a:p>
                      <a:pPr algn="ctr" rtl="0" fontAlgn="t"/>
                      <a:r>
                        <a:rPr lang="en-IN" sz="1200" b="0" i="0" u="none" strike="noStrike" dirty="0">
                          <a:solidFill>
                            <a:schemeClr val="tx2"/>
                          </a:solidFill>
                          <a:effectLst/>
                          <a:latin typeface="Arial" panose="020B0604020202020204" pitchFamily="34" charset="0"/>
                        </a:rPr>
                        <a:t>D</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r" rtl="0" fontAlgn="t"/>
                      <a:r>
                        <a:rPr lang="en-IN" sz="1200" b="0" i="0" u="none" strike="noStrike" dirty="0">
                          <a:solidFill>
                            <a:schemeClr val="tx2"/>
                          </a:solidFill>
                          <a:effectLst/>
                          <a:latin typeface="Arial" panose="020B0604020202020204" pitchFamily="34" charset="0"/>
                        </a:rPr>
                        <a:t>381,12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algn="r" rtl="0" fontAlgn="t"/>
                      <a:r>
                        <a:rPr lang="en-IN" sz="1200" b="0" i="0" u="none" strike="noStrike" dirty="0">
                          <a:solidFill>
                            <a:schemeClr val="tx2"/>
                          </a:solidFill>
                          <a:effectLst/>
                          <a:latin typeface="Arial" panose="020B0604020202020204" pitchFamily="34" charset="0"/>
                        </a:rPr>
                        <a:t>(1.1%)</a:t>
                      </a:r>
                    </a:p>
                  </a:txBody>
                  <a:tcPr marL="9525" marR="9525" marT="9525" marB="0" anchor="ctr">
                    <a:lnL>
                      <a:noFill/>
                    </a:lnL>
                    <a:lnR>
                      <a:noFill/>
                    </a:lnR>
                    <a:lnT>
                      <a:noFill/>
                    </a:lnT>
                    <a:lnB>
                      <a:noFill/>
                    </a:lnB>
                    <a:solidFill>
                      <a:schemeClr val="bg1"/>
                    </a:solidFill>
                  </a:tcPr>
                </a:tc>
                <a:tc>
                  <a:txBody>
                    <a:bodyPr/>
                    <a:lstStyle/>
                    <a:p>
                      <a:pPr algn="r" rtl="0" fontAlgn="t"/>
                      <a:r>
                        <a:rPr lang="en-IN" sz="1200" b="0" i="0" u="none" strike="noStrike" dirty="0">
                          <a:solidFill>
                            <a:schemeClr val="tx2"/>
                          </a:solidFill>
                          <a:effectLst/>
                          <a:latin typeface="Arial" panose="020B0604020202020204" pitchFamily="34" charset="0"/>
                        </a:rPr>
                        <a:t>6.8%</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11"/>
                  </a:ext>
                </a:extLst>
              </a:tr>
              <a:tr h="328826">
                <a:tc>
                  <a:txBody>
                    <a:bodyPr/>
                    <a:lstStyle/>
                    <a:p>
                      <a:pPr algn="l" rtl="0" fontAlgn="t"/>
                      <a:r>
                        <a:rPr lang="en-IN" sz="1200" b="0" i="0" u="none" strike="noStrike" dirty="0">
                          <a:solidFill>
                            <a:srgbClr val="333333"/>
                          </a:solidFill>
                          <a:effectLst/>
                          <a:latin typeface="Arial" panose="020B0604020202020204" pitchFamily="34" charset="0"/>
                        </a:rPr>
                        <a:t>  Total Income</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chemeClr val="accent6"/>
                    </a:solidFill>
                  </a:tcPr>
                </a:tc>
                <a:tc>
                  <a:txBody>
                    <a:bodyPr/>
                    <a:lstStyle/>
                    <a:p>
                      <a:pPr algn="ctr" rtl="0" fontAlgn="t"/>
                      <a:r>
                        <a:rPr lang="en-IN" sz="1200" b="0" i="0" u="none" strike="noStrike" dirty="0">
                          <a:solidFill>
                            <a:srgbClr val="333333"/>
                          </a:solidFill>
                          <a:effectLst/>
                          <a:latin typeface="Arial" panose="020B0604020202020204" pitchFamily="34" charset="0"/>
                        </a:rPr>
                        <a:t>J = I + D</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183,084</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18.9%</a:t>
                      </a:r>
                    </a:p>
                  </a:txBody>
                  <a:tcPr marL="9525" marR="9525" marT="9525" marB="0" anchor="ctr">
                    <a:lnL>
                      <a:noFill/>
                    </a:lnL>
                    <a:lnR>
                      <a:noFill/>
                    </a:lnR>
                    <a:lnT>
                      <a:noFill/>
                    </a:lnT>
                    <a:lnB>
                      <a:noFill/>
                    </a:lnB>
                    <a:solidFill>
                      <a:schemeClr val="accent6"/>
                    </a:solidFill>
                  </a:tcPr>
                </a:tc>
                <a:tc>
                  <a:txBody>
                    <a:bodyPr/>
                    <a:lstStyle/>
                    <a:p>
                      <a:pPr algn="r" rtl="0" fontAlgn="t"/>
                      <a:r>
                        <a:rPr lang="en-IN" sz="1200" b="0" i="0" u="none" strike="noStrike" dirty="0">
                          <a:solidFill>
                            <a:srgbClr val="333333"/>
                          </a:solidFill>
                          <a:effectLst/>
                          <a:latin typeface="Arial" panose="020B0604020202020204" pitchFamily="34" charset="0"/>
                        </a:rPr>
                        <a:t>(21.2%)</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0012"/>
                  </a:ext>
                </a:extLst>
              </a:tr>
              <a:tr h="328826">
                <a:tc>
                  <a:txBody>
                    <a:bodyPr/>
                    <a:lstStyle/>
                    <a:p>
                      <a:pPr algn="l" rtl="0" fontAlgn="t"/>
                      <a:r>
                        <a:rPr lang="en-IN" sz="1200" b="0" i="0" u="none" strike="noStrike">
                          <a:solidFill>
                            <a:srgbClr val="333333"/>
                          </a:solidFill>
                          <a:effectLst/>
                          <a:latin typeface="Arial" panose="020B0604020202020204" pitchFamily="34" charset="0"/>
                        </a:rPr>
                        <a:t>  Other Charges</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solidFill>
                      <a:srgbClr val="FFFFFF"/>
                    </a:solidFill>
                  </a:tcPr>
                </a:tc>
                <a:tc>
                  <a:txBody>
                    <a:bodyPr/>
                    <a:lstStyle/>
                    <a:p>
                      <a:pPr algn="ctr" rtl="0" fontAlgn="t"/>
                      <a:r>
                        <a:rPr lang="en-IN" sz="1200" b="0" i="0" u="none" strike="noStrike">
                          <a:solidFill>
                            <a:srgbClr val="333333"/>
                          </a:solidFill>
                          <a:effectLst/>
                          <a:latin typeface="Arial" panose="020B0604020202020204" pitchFamily="34" charset="0"/>
                        </a:rPr>
                        <a:t>K</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200" b="0" i="0" u="none" strike="noStrike">
                          <a:solidFill>
                            <a:srgbClr val="333333"/>
                          </a:solidFill>
                          <a:effectLst/>
                          <a:latin typeface="Arial" panose="020B0604020202020204" pitchFamily="34" charset="0"/>
                        </a:rPr>
                        <a:t>1,532</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200" b="0" i="0" u="none" strike="noStrike">
                          <a:solidFill>
                            <a:srgbClr val="333333"/>
                          </a:solidFill>
                          <a:effectLst/>
                          <a:latin typeface="Arial" panose="020B0604020202020204" pitchFamily="34" charset="0"/>
                        </a:rPr>
                        <a:t>(88.0%)</a:t>
                      </a:r>
                    </a:p>
                  </a:txBody>
                  <a:tcPr marL="9525" marR="9525" marT="9525" marB="0" anchor="ctr">
                    <a:lnL>
                      <a:noFill/>
                    </a:lnL>
                    <a:lnR>
                      <a:noFill/>
                    </a:lnR>
                    <a:lnT>
                      <a:noFill/>
                    </a:lnT>
                    <a:lnB>
                      <a:noFill/>
                    </a:lnB>
                  </a:tcPr>
                </a:tc>
                <a:tc>
                  <a:txBody>
                    <a:bodyPr/>
                    <a:lstStyle/>
                    <a:p>
                      <a:pPr algn="r" rtl="0" fontAlgn="t"/>
                      <a:r>
                        <a:rPr lang="en-IN" sz="1200" b="0" i="0" u="none" strike="noStrike" dirty="0">
                          <a:solidFill>
                            <a:srgbClr val="333333"/>
                          </a:solidFill>
                          <a:effectLst/>
                          <a:latin typeface="Arial" panose="020B0604020202020204" pitchFamily="34" charset="0"/>
                        </a:rPr>
                        <a:t>(93.4%)</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3"/>
                  </a:ext>
                </a:extLst>
              </a:tr>
              <a:tr h="328826">
                <a:tc>
                  <a:txBody>
                    <a:bodyPr/>
                    <a:lstStyle/>
                    <a:p>
                      <a:pPr algn="l" rtl="0" fontAlgn="t"/>
                      <a:r>
                        <a:rPr lang="en-IN" sz="1200" b="0" i="0" u="none" strike="noStrike" dirty="0">
                          <a:solidFill>
                            <a:srgbClr val="333333"/>
                          </a:solidFill>
                          <a:effectLst/>
                          <a:latin typeface="Arial" panose="020B0604020202020204" pitchFamily="34" charset="0"/>
                        </a:rPr>
                        <a:t>  </a:t>
                      </a:r>
                      <a:r>
                        <a:rPr lang="en-IN" sz="1200" b="1" i="0" u="none" strike="noStrike" dirty="0">
                          <a:solidFill>
                            <a:srgbClr val="333333"/>
                          </a:solidFill>
                          <a:effectLst/>
                          <a:latin typeface="Arial" panose="020B0604020202020204" pitchFamily="34" charset="0"/>
                        </a:rPr>
                        <a:t>Distributable Income</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t"/>
                      <a:r>
                        <a:rPr lang="en-IN" sz="1200" b="0" i="0" u="none" strike="noStrike" dirty="0">
                          <a:solidFill>
                            <a:srgbClr val="333333"/>
                          </a:solidFill>
                          <a:effectLst/>
                          <a:latin typeface="Arial" panose="020B0604020202020204" pitchFamily="34" charset="0"/>
                        </a:rPr>
                        <a:t>L = J - K</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200" b="0" i="0" u="none" strike="noStrike" dirty="0">
                          <a:solidFill>
                            <a:srgbClr val="333333"/>
                          </a:solidFill>
                          <a:effectLst/>
                          <a:latin typeface="Arial" panose="020B0604020202020204" pitchFamily="34" charset="0"/>
                        </a:rPr>
                        <a:t>181,551</a:t>
                      </a:r>
                    </a:p>
                  </a:txBody>
                  <a:tcPr marL="9525" marR="9525" marT="9525"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200" b="0" i="0" u="none" strike="noStrike" dirty="0">
                          <a:solidFill>
                            <a:srgbClr val="333333"/>
                          </a:solidFill>
                          <a:effectLst/>
                          <a:latin typeface="Arial" panose="020B0604020202020204" pitchFamily="34" charset="0"/>
                        </a:rPr>
                        <a:t>29.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200" b="0" i="0" u="none" strike="noStrike" dirty="0">
                          <a:solidFill>
                            <a:srgbClr val="333333"/>
                          </a:solidFill>
                          <a:effectLst/>
                          <a:latin typeface="Arial" panose="020B0604020202020204" pitchFamily="34" charset="0"/>
                        </a:rPr>
                        <a:t>(12.0%)</a:t>
                      </a:r>
                    </a:p>
                  </a:txBody>
                  <a:tcPr marL="9525" marR="9525" marT="9525"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14"/>
                  </a:ext>
                </a:extLst>
              </a:tr>
            </a:tbl>
          </a:graphicData>
        </a:graphic>
      </p:graphicFrame>
      <p:sp>
        <p:nvSpPr>
          <p:cNvPr id="5" name="Rectangular Callout 4"/>
          <p:cNvSpPr/>
          <p:nvPr/>
        </p:nvSpPr>
        <p:spPr>
          <a:xfrm>
            <a:off x="10329636" y="2276203"/>
            <a:ext cx="1273628" cy="609600"/>
          </a:xfrm>
          <a:prstGeom prst="wedgeRectCallout">
            <a:avLst>
              <a:gd name="adj1" fmla="val -78953"/>
              <a:gd name="adj2" fmla="val 71428"/>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dirty="0">
                <a:solidFill>
                  <a:schemeClr val="tx2"/>
                </a:solidFill>
              </a:rPr>
              <a:t>Notional Accounting Treatment</a:t>
            </a:r>
            <a:endParaRPr lang="en-IN" sz="1200" dirty="0">
              <a:solidFill>
                <a:schemeClr val="tx2"/>
              </a:solidFill>
            </a:endParaRPr>
          </a:p>
        </p:txBody>
      </p:sp>
      <p:sp>
        <p:nvSpPr>
          <p:cNvPr id="6" name="Rectangular Callout 5"/>
          <p:cNvSpPr/>
          <p:nvPr/>
        </p:nvSpPr>
        <p:spPr>
          <a:xfrm>
            <a:off x="10329636" y="3277688"/>
            <a:ext cx="1273628" cy="609600"/>
          </a:xfrm>
          <a:prstGeom prst="wedgeRectCallout">
            <a:avLst>
              <a:gd name="adj1" fmla="val -78953"/>
              <a:gd name="adj2" fmla="val 71428"/>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dirty="0">
                <a:solidFill>
                  <a:schemeClr val="tx2"/>
                </a:solidFill>
              </a:rPr>
              <a:t>Controllable Contribution Margin</a:t>
            </a:r>
            <a:endParaRPr lang="en-IN" sz="1200" dirty="0">
              <a:solidFill>
                <a:schemeClr val="tx2"/>
              </a:solidFill>
            </a:endParaRPr>
          </a:p>
        </p:txBody>
      </p:sp>
      <p:sp>
        <p:nvSpPr>
          <p:cNvPr id="7" name="Rectangular Callout 6"/>
          <p:cNvSpPr/>
          <p:nvPr/>
        </p:nvSpPr>
        <p:spPr>
          <a:xfrm>
            <a:off x="10329636" y="4256312"/>
            <a:ext cx="1273628" cy="1186544"/>
          </a:xfrm>
          <a:prstGeom prst="wedgeRectCallout">
            <a:avLst>
              <a:gd name="adj1" fmla="val -79807"/>
              <a:gd name="adj2" fmla="val 16703"/>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dirty="0">
                <a:solidFill>
                  <a:schemeClr val="tx2"/>
                </a:solidFill>
              </a:rPr>
              <a:t>Partner Notional Compensation </a:t>
            </a:r>
          </a:p>
          <a:p>
            <a:pPr algn="ctr"/>
            <a:r>
              <a:rPr lang="en-US" sz="1200" dirty="0">
                <a:solidFill>
                  <a:schemeClr val="tx2"/>
                </a:solidFill>
              </a:rPr>
              <a:t>is added back, to get real Total Income</a:t>
            </a:r>
            <a:endParaRPr lang="en-IN" sz="1200" dirty="0">
              <a:solidFill>
                <a:schemeClr val="tx2"/>
              </a:solidFill>
            </a:endParaRPr>
          </a:p>
        </p:txBody>
      </p:sp>
    </p:spTree>
    <p:extLst>
      <p:ext uri="{BB962C8B-B14F-4D97-AF65-F5344CB8AC3E}">
        <p14:creationId xmlns:p14="http://schemas.microsoft.com/office/powerpoint/2010/main" val="2258578800"/>
      </p:ext>
    </p:extLst>
  </p:cSld>
  <p:clrMapOvr>
    <a:masterClrMapping/>
  </p:clrMapOvr>
  <mc:AlternateContent xmlns:mc="http://schemas.openxmlformats.org/markup-compatibility/2006" xmlns:p14="http://schemas.microsoft.com/office/powerpoint/2010/main">
    <mc:Choice Requires="p14">
      <p:transition spd="slow" p14:dur="1500" advTm="38242">
        <p:split orient="vert"/>
      </p:transition>
    </mc:Choice>
    <mc:Fallback xmlns="">
      <p:transition spd="slow" advTm="38242">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xfrm>
            <a:off x="609918" y="258750"/>
            <a:ext cx="10978515" cy="860400"/>
          </a:xfrm>
        </p:spPr>
        <p:txBody>
          <a:bodyPr anchor="ctr"/>
          <a:lstStyle/>
          <a:p>
            <a:r>
              <a:rPr lang="en-US" altLang="zh-CN" sz="2400" dirty="0">
                <a:solidFill>
                  <a:schemeClr val="bg1">
                    <a:lumMod val="75000"/>
                  </a:schemeClr>
                </a:solidFill>
                <a:latin typeface="EYInterstate" panose="02000503020000020004" pitchFamily="2" charset="0"/>
                <a:ea typeface="宋体" pitchFamily="2" charset="-122"/>
              </a:rPr>
              <a:t>EY Operations Statement</a:t>
            </a:r>
          </a:p>
        </p:txBody>
      </p:sp>
      <p:graphicFrame>
        <p:nvGraphicFramePr>
          <p:cNvPr id="2" name="Table 1"/>
          <p:cNvGraphicFramePr>
            <a:graphicFrameLocks noGrp="1"/>
          </p:cNvGraphicFramePr>
          <p:nvPr>
            <p:extLst>
              <p:ext uri="{D42A27DB-BD31-4B8C-83A1-F6EECF244321}">
                <p14:modId xmlns:p14="http://schemas.microsoft.com/office/powerpoint/2010/main" val="3293394064"/>
              </p:ext>
            </p:extLst>
          </p:nvPr>
        </p:nvGraphicFramePr>
        <p:xfrm>
          <a:off x="612777" y="1112289"/>
          <a:ext cx="10975656" cy="5047995"/>
        </p:xfrm>
        <a:graphic>
          <a:graphicData uri="http://schemas.openxmlformats.org/drawingml/2006/table">
            <a:tbl>
              <a:tblPr/>
              <a:tblGrid>
                <a:gridCol w="5566708">
                  <a:extLst>
                    <a:ext uri="{9D8B030D-6E8A-4147-A177-3AD203B41FA5}">
                      <a16:colId xmlns:a16="http://schemas.microsoft.com/office/drawing/2014/main" val="20000"/>
                    </a:ext>
                  </a:extLst>
                </a:gridCol>
                <a:gridCol w="2163578">
                  <a:extLst>
                    <a:ext uri="{9D8B030D-6E8A-4147-A177-3AD203B41FA5}">
                      <a16:colId xmlns:a16="http://schemas.microsoft.com/office/drawing/2014/main" val="20001"/>
                    </a:ext>
                  </a:extLst>
                </a:gridCol>
                <a:gridCol w="1622685">
                  <a:extLst>
                    <a:ext uri="{9D8B030D-6E8A-4147-A177-3AD203B41FA5}">
                      <a16:colId xmlns:a16="http://schemas.microsoft.com/office/drawing/2014/main" val="20002"/>
                    </a:ext>
                  </a:extLst>
                </a:gridCol>
                <a:gridCol w="1622685">
                  <a:extLst>
                    <a:ext uri="{9D8B030D-6E8A-4147-A177-3AD203B41FA5}">
                      <a16:colId xmlns:a16="http://schemas.microsoft.com/office/drawing/2014/main" val="20003"/>
                    </a:ext>
                  </a:extLst>
                </a:gridCol>
              </a:tblGrid>
              <a:tr h="240662">
                <a:tc>
                  <a:txBody>
                    <a:bodyPr/>
                    <a:lstStyle/>
                    <a:p>
                      <a:pPr algn="ctr" rtl="0" fontAlgn="ctr"/>
                      <a:endParaRPr lang="en-IN" sz="105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0000"/>
                          </a:solidFill>
                          <a:effectLst/>
                          <a:latin typeface="Arial" panose="020B0604020202020204" pitchFamily="34" charset="0"/>
                        </a:rPr>
                        <a:t>FY19 YTD July Americas</a:t>
                      </a:r>
                      <a:endParaRPr lang="en-IN" sz="105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00"/>
                    </a:solidFill>
                  </a:tcPr>
                </a:tc>
                <a:tc hMerge="1">
                  <a:txBody>
                    <a:bodyPr/>
                    <a:lstStyle/>
                    <a:p>
                      <a:pPr algn="ctr" rtl="0" fontAlgn="ctr"/>
                      <a:endParaRPr lang="en-IN" sz="105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hMerge="1">
                  <a:txBody>
                    <a:bodyPr/>
                    <a:lstStyle/>
                    <a:p>
                      <a:pPr algn="ctr" rtl="0" fontAlgn="ctr"/>
                      <a:endParaRPr lang="en-IN" sz="105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0"/>
                  </a:ext>
                </a:extLst>
              </a:tr>
              <a:tr h="321705">
                <a:tc>
                  <a:txBody>
                    <a:bodyPr/>
                    <a:lstStyle/>
                    <a:p>
                      <a:pPr algn="ctr" rtl="0" fontAlgn="ctr"/>
                      <a:r>
                        <a:rPr lang="en-IN" sz="1050" b="1" i="0" u="none" strike="noStrike" dirty="0">
                          <a:solidFill>
                            <a:srgbClr val="000000"/>
                          </a:solidFill>
                          <a:effectLst/>
                          <a:latin typeface="Arial" panose="020B0604020202020204" pitchFamily="34" charset="0"/>
                        </a:rPr>
                        <a:t>Operational Varian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CCCCCC"/>
                    </a:solidFill>
                  </a:tcPr>
                </a:tc>
                <a:tc>
                  <a:txBody>
                    <a:bodyPr/>
                    <a:lstStyle/>
                    <a:p>
                      <a:pPr algn="ctr" rtl="0" fontAlgn="ctr"/>
                      <a:r>
                        <a:rPr lang="en-IN" sz="1050" b="1" i="0" u="none" strike="noStrike" dirty="0">
                          <a:solidFill>
                            <a:srgbClr val="000000"/>
                          </a:solidFill>
                          <a:effectLst/>
                          <a:latin typeface="Arial" panose="020B0604020202020204" pitchFamily="34" charset="0"/>
                        </a:rPr>
                        <a:t>Actual</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050" b="1" i="0" u="none" strike="noStrike">
                          <a:solidFill>
                            <a:srgbClr val="000000"/>
                          </a:solidFill>
                          <a:effectLst/>
                          <a:latin typeface="Arial" panose="020B0604020202020204" pitchFamily="34" charset="0"/>
                        </a:rPr>
                        <a:t>Inc/(Dec) % </a:t>
                      </a:r>
                      <a:br>
                        <a:rPr lang="en-IN" sz="1050" b="1" i="0" u="none" strike="noStrike">
                          <a:solidFill>
                            <a:srgbClr val="000000"/>
                          </a:solidFill>
                          <a:effectLst/>
                          <a:latin typeface="Arial" panose="020B0604020202020204" pitchFamily="34" charset="0"/>
                        </a:rPr>
                      </a:br>
                      <a:r>
                        <a:rPr lang="en-IN" sz="1050" b="1" i="0" u="none" strike="noStrike">
                          <a:solidFill>
                            <a:srgbClr val="000000"/>
                          </a:solidFill>
                          <a:effectLst/>
                          <a:latin typeface="Arial" panose="020B0604020202020204" pitchFamily="34" charset="0"/>
                        </a:rPr>
                        <a:t>vs Plan</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050" b="1" i="0" u="none" strike="noStrike">
                          <a:solidFill>
                            <a:srgbClr val="000000"/>
                          </a:solidFill>
                          <a:effectLst/>
                          <a:latin typeface="Arial" panose="020B0604020202020204" pitchFamily="34" charset="0"/>
                        </a:rPr>
                        <a:t>Inc/(Dec) %</a:t>
                      </a:r>
                      <a:br>
                        <a:rPr lang="en-IN" sz="1050" b="1" i="0" u="none" strike="noStrike">
                          <a:solidFill>
                            <a:srgbClr val="000000"/>
                          </a:solidFill>
                          <a:effectLst/>
                          <a:latin typeface="Arial" panose="020B0604020202020204" pitchFamily="34" charset="0"/>
                        </a:rPr>
                      </a:br>
                      <a:r>
                        <a:rPr lang="en-IN" sz="1050" b="1" i="0" u="none" strike="noStrike">
                          <a:solidFill>
                            <a:srgbClr val="000000"/>
                          </a:solidFill>
                          <a:effectLst/>
                          <a:latin typeface="Arial" panose="020B0604020202020204" pitchFamily="34" charset="0"/>
                        </a:rPr>
                        <a:t>vs PY</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1"/>
                  </a:ext>
                </a:extLst>
              </a:tr>
              <a:tr h="174414">
                <a:tc>
                  <a:txBody>
                    <a:bodyPr/>
                    <a:lstStyle/>
                    <a:p>
                      <a:pPr algn="ctr" rtl="0" fontAlgn="t"/>
                      <a:r>
                        <a:rPr lang="en-IN" sz="1050" b="1" i="0" u="none" strike="noStrike" dirty="0">
                          <a:solidFill>
                            <a:srgbClr val="333333"/>
                          </a:solidFill>
                          <a:effectLst/>
                          <a:latin typeface="Arial" panose="020B0604020202020204" pitchFamily="34" charset="0"/>
                        </a:rPr>
                        <a:t>  Revenu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a:noFill/>
                    </a:lnL>
                    <a:lnR>
                      <a:noFill/>
                    </a:lnR>
                    <a:lnT w="6350" cap="flat" cmpd="sng" algn="ctr">
                      <a:solidFill>
                        <a:srgbClr val="808080"/>
                      </a:solidFill>
                      <a:prstDash val="solid"/>
                      <a:round/>
                      <a:headEnd type="none" w="med" len="med"/>
                      <a:tailEnd type="none" w="med" len="med"/>
                    </a:lnT>
                    <a:lnB>
                      <a:noFill/>
                    </a:lnB>
                    <a:solidFill>
                      <a:schemeClr val="accent2"/>
                    </a:solidFill>
                  </a:tcPr>
                </a:tc>
                <a:tc>
                  <a:txBody>
                    <a:bodyPr/>
                    <a:lstStyle/>
                    <a:p>
                      <a:pPr algn="r" rtl="0" fontAlgn="t"/>
                      <a:r>
                        <a:rPr lang="en-IN" sz="1050" b="0" i="0" u="none" strike="noStrike" dirty="0">
                          <a:solidFill>
                            <a:srgbClr val="333333"/>
                          </a:solidFill>
                          <a:effectLst/>
                          <a:latin typeface="Arial" panose="020B0604020202020204" pitchFamily="34" charset="0"/>
                        </a:rPr>
                        <a:t> </a:t>
                      </a:r>
                    </a:p>
                  </a:txBody>
                  <a:tcPr marL="9525" marR="9525" marT="9525" marB="0">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chemeClr val="accent2"/>
                    </a:solidFill>
                  </a:tcPr>
                </a:tc>
                <a:extLst>
                  <a:ext uri="{0D108BD9-81ED-4DB2-BD59-A6C34878D82A}">
                    <a16:rowId xmlns:a16="http://schemas.microsoft.com/office/drawing/2014/main" val="10002"/>
                  </a:ext>
                </a:extLst>
              </a:tr>
              <a:tr h="174414">
                <a:tc>
                  <a:txBody>
                    <a:bodyPr/>
                    <a:lstStyle/>
                    <a:p>
                      <a:pPr algn="l" rtl="0" fontAlgn="t"/>
                      <a:r>
                        <a:rPr lang="en-IN" sz="1050" b="0" i="0" u="none" strike="noStrike" dirty="0">
                          <a:solidFill>
                            <a:srgbClr val="333333"/>
                          </a:solidFill>
                          <a:effectLst/>
                          <a:latin typeface="Arial" panose="020B0604020202020204" pitchFamily="34" charset="0"/>
                        </a:rPr>
                        <a:t>      Standard Engagement Revenu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4,077,503</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0%</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5.9%</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174414">
                <a:tc>
                  <a:txBody>
                    <a:bodyPr/>
                    <a:lstStyle/>
                    <a:p>
                      <a:pPr algn="l" rtl="0" fontAlgn="t"/>
                      <a:r>
                        <a:rPr lang="en-IN" sz="1050" b="0" i="0" u="none" strike="noStrike" dirty="0">
                          <a:solidFill>
                            <a:srgbClr val="333333"/>
                          </a:solidFill>
                          <a:effectLst/>
                          <a:latin typeface="Arial" panose="020B0604020202020204" pitchFamily="34" charset="0"/>
                        </a:rPr>
                        <a:t>      Less: Discounts &amp; Reserve Chang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2,978,461</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0%</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7.9%</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174414">
                <a:tc>
                  <a:txBody>
                    <a:bodyPr/>
                    <a:lstStyle/>
                    <a:p>
                      <a:pPr algn="l" rtl="0" fontAlgn="t"/>
                      <a:r>
                        <a:rPr lang="en-IN" sz="1050" b="0" i="0" u="none" strike="noStrike">
                          <a:solidFill>
                            <a:srgbClr val="333333"/>
                          </a:solidFill>
                          <a:effectLst/>
                          <a:latin typeface="Arial" panose="020B0604020202020204" pitchFamily="34" charset="0"/>
                        </a:rPr>
                        <a:t>      Net Engagement Revenu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1,099,042</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4.2%</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0%</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174414">
                <a:tc>
                  <a:txBody>
                    <a:bodyPr/>
                    <a:lstStyle/>
                    <a:p>
                      <a:pPr algn="l" rtl="0" fontAlgn="t"/>
                      <a:r>
                        <a:rPr lang="en-IN" sz="1050" b="0" i="0" u="none" strike="noStrike">
                          <a:solidFill>
                            <a:srgbClr val="333333"/>
                          </a:solidFill>
                          <a:effectLst/>
                          <a:latin typeface="Arial" panose="020B0604020202020204" pitchFamily="34" charset="0"/>
                        </a:rPr>
                        <a:t>      Plus: Net Sold Tim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610,744</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79.8%</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3.3%</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174414">
                <a:tc>
                  <a:txBody>
                    <a:bodyPr/>
                    <a:lstStyle/>
                    <a:p>
                      <a:pPr algn="l" rtl="0" fontAlgn="t"/>
                      <a:r>
                        <a:rPr lang="en-IN" sz="1050" b="0" i="0" u="none" strike="noStrike" dirty="0">
                          <a:solidFill>
                            <a:srgbClr val="333333"/>
                          </a:solidFill>
                          <a:effectLst/>
                          <a:latin typeface="Arial" panose="020B0604020202020204" pitchFamily="34" charset="0"/>
                        </a:rPr>
                        <a:t>      Less: Net Purchased Tim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615,880</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0%</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4.1%</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174414">
                <a:tc>
                  <a:txBody>
                    <a:bodyPr/>
                    <a:lstStyle/>
                    <a:p>
                      <a:pPr algn="l" rtl="0" fontAlgn="t"/>
                      <a:r>
                        <a:rPr lang="en-IN" sz="1050" b="1" i="0" u="none" strike="noStrike">
                          <a:solidFill>
                            <a:srgbClr val="333333"/>
                          </a:solidFill>
                          <a:effectLst/>
                          <a:latin typeface="Arial" panose="020B0604020202020204" pitchFamily="34" charset="0"/>
                        </a:rPr>
                        <a:t>    Net Revenue from Services (GFI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1,093,906</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4.8%)</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6%</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174414">
                <a:tc>
                  <a:txBody>
                    <a:bodyPr/>
                    <a:lstStyle/>
                    <a:p>
                      <a:pPr algn="l" rtl="0" fontAlgn="t"/>
                      <a:r>
                        <a:rPr lang="en-IN" sz="1050" b="0" i="0" u="none" strike="noStrike">
                          <a:solidFill>
                            <a:srgbClr val="333333"/>
                          </a:solidFill>
                          <a:effectLst/>
                          <a:latin typeface="Arial" panose="020B0604020202020204" pitchFamily="34" charset="0"/>
                        </a:rPr>
                        <a:t>      ANSR</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64,586</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0.0%</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5.7%</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220015">
                <a:tc>
                  <a:txBody>
                    <a:bodyPr/>
                    <a:lstStyle/>
                    <a:p>
                      <a:pPr algn="l" rtl="0" fontAlgn="t"/>
                      <a:r>
                        <a:rPr lang="en-IN" sz="1050" b="1" i="0" u="none" strike="noStrike" dirty="0">
                          <a:solidFill>
                            <a:srgbClr val="333333"/>
                          </a:solidFill>
                          <a:effectLst/>
                          <a:latin typeface="Arial" panose="020B0604020202020204" pitchFamily="34" charset="0"/>
                        </a:rPr>
                        <a:t>    Net Revenue from Services (Mercury)</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64,586</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0%</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5.7%</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174414">
                <a:tc>
                  <a:txBody>
                    <a:bodyPr/>
                    <a:lstStyle/>
                    <a:p>
                      <a:pPr algn="l" rtl="0" fontAlgn="t"/>
                      <a:r>
                        <a:rPr lang="en-IN" sz="1050" b="1" i="0" u="none" strike="noStrike">
                          <a:solidFill>
                            <a:srgbClr val="333333"/>
                          </a:solidFill>
                          <a:effectLst/>
                          <a:latin typeface="Arial" panose="020B0604020202020204" pitchFamily="34" charset="0"/>
                        </a:rPr>
                        <a:t>  Net Revenue from Servic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1,158,492</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0%</a:t>
                      </a:r>
                    </a:p>
                  </a:txBody>
                  <a:tcPr marL="9525" marR="9525" marT="9525" marB="0">
                    <a:lnL>
                      <a:noFill/>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4%</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1"/>
                  </a:ext>
                </a:extLst>
              </a:tr>
              <a:tr h="174414">
                <a:tc>
                  <a:txBody>
                    <a:bodyPr/>
                    <a:lstStyle/>
                    <a:p>
                      <a:pPr algn="l" rtl="0" fontAlgn="t"/>
                      <a:r>
                        <a:rPr lang="en-IN" sz="1050" b="0" i="0" u="none" strike="noStrike">
                          <a:solidFill>
                            <a:srgbClr val="333333"/>
                          </a:solidFill>
                          <a:effectLst/>
                          <a:latin typeface="Arial" panose="020B0604020202020204" pitchFamily="34" charset="0"/>
                        </a:rPr>
                        <a:t>  Other Revenu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7,800)</a:t>
                      </a:r>
                    </a:p>
                  </a:txBody>
                  <a:tcPr marL="9525" marR="9525" marT="9525" marB="0">
                    <a:lnL w="12700" cap="flat" cmpd="sng" algn="ctr">
                      <a:solidFill>
                        <a:schemeClr val="tx1"/>
                      </a:solidFill>
                      <a:prstDash val="solid"/>
                      <a:round/>
                      <a:headEnd type="none" w="med" len="med"/>
                      <a:tailEnd type="none" w="med" len="med"/>
                    </a:lnL>
                    <a:lnR>
                      <a:noFill/>
                    </a:lnR>
                    <a:lnT>
                      <a:noFill/>
                    </a:lnT>
                    <a:lnB w="6350" cap="flat" cmpd="sng" algn="ctr">
                      <a:solidFill>
                        <a:srgbClr val="808080"/>
                      </a:solidFill>
                      <a:prstDash val="solid"/>
                      <a:round/>
                      <a:headEnd type="none" w="med" len="med"/>
                      <a:tailEnd type="none" w="med" len="med"/>
                    </a:lnB>
                  </a:tcPr>
                </a:tc>
                <a:tc>
                  <a:txBody>
                    <a:bodyPr/>
                    <a:lstStyle/>
                    <a:p>
                      <a:pPr algn="r" rtl="0" fontAlgn="t"/>
                      <a:r>
                        <a:rPr lang="en-IN" sz="1050" b="0" i="0" u="none" strike="noStrike">
                          <a:solidFill>
                            <a:srgbClr val="333333"/>
                          </a:solidFill>
                          <a:effectLst/>
                          <a:latin typeface="Arial" panose="020B0604020202020204" pitchFamily="34" charset="0"/>
                        </a:rPr>
                        <a:t>(230.0%)</a:t>
                      </a:r>
                    </a:p>
                  </a:txBody>
                  <a:tcPr marL="9525" marR="9525" marT="9525" marB="0">
                    <a:lnL>
                      <a:noFill/>
                    </a:lnL>
                    <a:lnR>
                      <a:noFill/>
                    </a:lnR>
                    <a:lnT>
                      <a:noFill/>
                    </a:lnT>
                    <a:lnB w="6350" cap="flat" cmpd="sng" algn="ctr">
                      <a:solidFill>
                        <a:srgbClr val="808080"/>
                      </a:solidFill>
                      <a:prstDash val="solid"/>
                      <a:round/>
                      <a:headEnd type="none" w="med" len="med"/>
                      <a:tailEnd type="none" w="med" len="med"/>
                    </a:lnB>
                  </a:tcPr>
                </a:tc>
                <a:tc>
                  <a:txBody>
                    <a:bodyPr/>
                    <a:lstStyle/>
                    <a:p>
                      <a:pPr algn="r" rtl="0" fontAlgn="t"/>
                      <a:r>
                        <a:rPr lang="en-IN" sz="1050" b="0" i="0" u="none" strike="noStrike">
                          <a:solidFill>
                            <a:srgbClr val="333333"/>
                          </a:solidFill>
                          <a:effectLst/>
                          <a:latin typeface="Arial" panose="020B0604020202020204" pitchFamily="34" charset="0"/>
                        </a:rPr>
                        <a:t>49.6%</a:t>
                      </a:r>
                    </a:p>
                  </a:txBody>
                  <a:tcPr marL="9525" marR="9525" marT="9525" marB="0">
                    <a:lnL>
                      <a:noFill/>
                    </a:lnL>
                    <a:lnR w="12700" cap="flat" cmpd="sng" algn="ctr">
                      <a:solidFill>
                        <a:schemeClr val="tx1"/>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2"/>
                  </a:ext>
                </a:extLst>
              </a:tr>
              <a:tr h="174414">
                <a:tc>
                  <a:txBody>
                    <a:bodyPr/>
                    <a:lstStyle/>
                    <a:p>
                      <a:pPr algn="l" rtl="0" fontAlgn="t"/>
                      <a:r>
                        <a:rPr lang="en-IN" sz="1050" b="1" i="0" u="none" strike="noStrike">
                          <a:solidFill>
                            <a:srgbClr val="333333"/>
                          </a:solidFill>
                          <a:effectLst/>
                          <a:latin typeface="Arial" panose="020B0604020202020204" pitchFamily="34" charset="0"/>
                        </a:rPr>
                        <a:t>  Total Net Revenu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1,150,692</a:t>
                      </a:r>
                    </a:p>
                  </a:txBody>
                  <a:tcPr marL="9525" marR="9525" marT="9525" marB="0">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0.2%)</a:t>
                      </a:r>
                    </a:p>
                  </a:txBody>
                  <a:tcPr marL="9525" marR="9525" marT="9525" marB="0">
                    <a:lnL>
                      <a:noFill/>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050" b="0" i="0" u="none" strike="noStrike">
                          <a:solidFill>
                            <a:srgbClr val="333333"/>
                          </a:solidFill>
                          <a:effectLst/>
                          <a:latin typeface="Arial" panose="020B0604020202020204" pitchFamily="34" charset="0"/>
                        </a:rPr>
                        <a:t>2.1%</a:t>
                      </a:r>
                    </a:p>
                  </a:txBody>
                  <a:tcPr marL="9525" marR="9525" marT="9525" marB="0">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13"/>
                  </a:ext>
                </a:extLst>
              </a:tr>
              <a:tr h="174414">
                <a:tc>
                  <a:txBody>
                    <a:bodyPr/>
                    <a:lstStyle/>
                    <a:p>
                      <a:pPr algn="ctr" rtl="0" fontAlgn="t"/>
                      <a:r>
                        <a:rPr lang="en-IN" sz="1050" b="1" i="0" u="none" strike="noStrike" dirty="0">
                          <a:solidFill>
                            <a:srgbClr val="333333"/>
                          </a:solidFill>
                          <a:effectLst/>
                          <a:latin typeface="Arial" panose="020B0604020202020204" pitchFamily="34" charset="0"/>
                        </a:rPr>
                        <a:t>  Direct Expens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a:noFill/>
                    </a:lnR>
                    <a:lnT>
                      <a:noFill/>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a:noFill/>
                    </a:lnL>
                    <a:lnR>
                      <a:noFill/>
                    </a:lnR>
                    <a:lnT>
                      <a:noFill/>
                    </a:lnT>
                    <a:lnB>
                      <a:noFill/>
                    </a:lnB>
                    <a:solidFill>
                      <a:schemeClr val="accent2"/>
                    </a:solidFill>
                  </a:tcPr>
                </a:tc>
                <a:tc>
                  <a:txBody>
                    <a:bodyPr/>
                    <a:lstStyle/>
                    <a:p>
                      <a:pPr algn="r" rtl="0" fontAlgn="t"/>
                      <a:r>
                        <a:rPr lang="en-IN" sz="1050" b="0" i="0" u="none" strike="noStrike" dirty="0">
                          <a:solidFill>
                            <a:srgbClr val="333333"/>
                          </a:solidFill>
                          <a:effectLst/>
                          <a:latin typeface="Arial" panose="020B0604020202020204" pitchFamily="34" charset="0"/>
                        </a:rPr>
                        <a:t> </a:t>
                      </a:r>
                    </a:p>
                  </a:txBody>
                  <a:tcPr marL="9525" marR="9525" marT="9525" marB="0">
                    <a:lnL>
                      <a:noFill/>
                    </a:lnL>
                    <a:lnR w="12700" cap="flat" cmpd="sng" algn="ctr">
                      <a:solidFill>
                        <a:schemeClr val="tx1"/>
                      </a:solidFill>
                      <a:prstDash val="solid"/>
                      <a:round/>
                      <a:headEnd type="none" w="med" len="med"/>
                      <a:tailEnd type="none" w="med" len="med"/>
                    </a:lnR>
                    <a:lnT>
                      <a:noFill/>
                    </a:lnT>
                    <a:lnB>
                      <a:noFill/>
                    </a:lnB>
                    <a:solidFill>
                      <a:schemeClr val="accent2"/>
                    </a:solidFill>
                  </a:tcPr>
                </a:tc>
                <a:extLst>
                  <a:ext uri="{0D108BD9-81ED-4DB2-BD59-A6C34878D82A}">
                    <a16:rowId xmlns:a16="http://schemas.microsoft.com/office/drawing/2014/main" val="10014"/>
                  </a:ext>
                </a:extLst>
              </a:tr>
              <a:tr h="174414">
                <a:tc>
                  <a:txBody>
                    <a:bodyPr/>
                    <a:lstStyle/>
                    <a:p>
                      <a:pPr algn="l" rtl="0" fontAlgn="t"/>
                      <a:r>
                        <a:rPr lang="en-IN" sz="1050" b="0" i="0" u="none" strike="noStrike">
                          <a:solidFill>
                            <a:srgbClr val="333333"/>
                          </a:solidFill>
                          <a:effectLst/>
                          <a:latin typeface="Arial" panose="020B0604020202020204" pitchFamily="34" charset="0"/>
                        </a:rPr>
                        <a:t>  Employee Base Comp</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454,033</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3%)</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9.2%</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5"/>
                  </a:ext>
                </a:extLst>
              </a:tr>
              <a:tr h="174414">
                <a:tc>
                  <a:txBody>
                    <a:bodyPr/>
                    <a:lstStyle/>
                    <a:p>
                      <a:pPr algn="l" rtl="0" fontAlgn="t"/>
                      <a:r>
                        <a:rPr lang="en-IN" sz="1050" b="0" i="0" u="none" strike="noStrike">
                          <a:solidFill>
                            <a:srgbClr val="333333"/>
                          </a:solidFill>
                          <a:effectLst/>
                          <a:latin typeface="Arial" panose="020B0604020202020204" pitchFamily="34" charset="0"/>
                        </a:rPr>
                        <a:t>  Employee Variable Compensatio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36,945</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1.6%)</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8.1%</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6"/>
                  </a:ext>
                </a:extLst>
              </a:tr>
              <a:tr h="174414">
                <a:tc>
                  <a:txBody>
                    <a:bodyPr/>
                    <a:lstStyle/>
                    <a:p>
                      <a:pPr algn="l" rtl="0" fontAlgn="t"/>
                      <a:r>
                        <a:rPr lang="en-IN" sz="1050" b="0" i="0" u="none" strike="noStrike">
                          <a:solidFill>
                            <a:srgbClr val="333333"/>
                          </a:solidFill>
                          <a:effectLst/>
                          <a:latin typeface="Arial" panose="020B0604020202020204" pitchFamily="34" charset="0"/>
                        </a:rPr>
                        <a:t>  Employee Benefit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75,185</a:t>
                      </a:r>
                    </a:p>
                  </a:txBody>
                  <a:tcPr marL="9525" marR="9525" marT="9525" marB="0">
                    <a:lnL w="12700" cap="flat" cmpd="sng" algn="ctr">
                      <a:solidFill>
                        <a:schemeClr val="tx1"/>
                      </a:solidFill>
                      <a:prstDash val="solid"/>
                      <a:round/>
                      <a:headEnd type="none" w="med" len="med"/>
                      <a:tailEnd type="none" w="med" len="med"/>
                    </a:lnL>
                    <a:lnR>
                      <a:noFill/>
                    </a:lnR>
                    <a:lnT>
                      <a:noFill/>
                    </a:lnT>
                    <a:lnB w="6350" cap="flat" cmpd="sng" algn="ctr">
                      <a:solidFill>
                        <a:srgbClr val="808080"/>
                      </a:solidFill>
                      <a:prstDash val="solid"/>
                      <a:round/>
                      <a:headEnd type="none" w="med" len="med"/>
                      <a:tailEnd type="none" w="med" len="med"/>
                    </a:lnB>
                  </a:tcPr>
                </a:tc>
                <a:tc>
                  <a:txBody>
                    <a:bodyPr/>
                    <a:lstStyle/>
                    <a:p>
                      <a:pPr algn="r" rtl="0" fontAlgn="t"/>
                      <a:r>
                        <a:rPr lang="en-IN" sz="1050" b="0" i="0" u="none" strike="noStrike">
                          <a:solidFill>
                            <a:srgbClr val="333333"/>
                          </a:solidFill>
                          <a:effectLst/>
                          <a:latin typeface="Arial" panose="020B0604020202020204" pitchFamily="34" charset="0"/>
                        </a:rPr>
                        <a:t>(5.1%)</a:t>
                      </a:r>
                    </a:p>
                  </a:txBody>
                  <a:tcPr marL="9525" marR="9525" marT="9525" marB="0">
                    <a:lnL>
                      <a:noFill/>
                    </a:lnL>
                    <a:lnR>
                      <a:noFill/>
                    </a:lnR>
                    <a:lnT>
                      <a:noFill/>
                    </a:lnT>
                    <a:lnB w="6350" cap="flat" cmpd="sng" algn="ctr">
                      <a:solidFill>
                        <a:srgbClr val="808080"/>
                      </a:solidFill>
                      <a:prstDash val="solid"/>
                      <a:round/>
                      <a:headEnd type="none" w="med" len="med"/>
                      <a:tailEnd type="none" w="med" len="med"/>
                    </a:lnB>
                  </a:tcPr>
                </a:tc>
                <a:tc>
                  <a:txBody>
                    <a:bodyPr/>
                    <a:lstStyle/>
                    <a:p>
                      <a:pPr algn="r" rtl="0" fontAlgn="t"/>
                      <a:r>
                        <a:rPr lang="en-IN" sz="1050" b="0" i="0" u="none" strike="noStrike">
                          <a:solidFill>
                            <a:srgbClr val="333333"/>
                          </a:solidFill>
                          <a:effectLst/>
                          <a:latin typeface="Arial" panose="020B0604020202020204" pitchFamily="34" charset="0"/>
                        </a:rPr>
                        <a:t>3.9%</a:t>
                      </a:r>
                    </a:p>
                  </a:txBody>
                  <a:tcPr marL="9525" marR="9525" marT="9525" marB="0">
                    <a:lnL>
                      <a:noFill/>
                    </a:lnL>
                    <a:lnR w="12700" cap="flat" cmpd="sng" algn="ctr">
                      <a:solidFill>
                        <a:schemeClr val="tx1"/>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7"/>
                  </a:ext>
                </a:extLst>
              </a:tr>
              <a:tr h="174414">
                <a:tc>
                  <a:txBody>
                    <a:bodyPr/>
                    <a:lstStyle/>
                    <a:p>
                      <a:pPr algn="l" rtl="0" fontAlgn="t"/>
                      <a:r>
                        <a:rPr lang="en-IN" sz="1050" b="1" i="0" u="none" strike="noStrike">
                          <a:solidFill>
                            <a:srgbClr val="333333"/>
                          </a:solidFill>
                          <a:effectLst/>
                          <a:latin typeface="Arial" panose="020B0604020202020204" pitchFamily="34" charset="0"/>
                        </a:rPr>
                        <a:t>  CS Staff Comp &amp; Benefit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566,163</a:t>
                      </a:r>
                    </a:p>
                  </a:txBody>
                  <a:tcPr marL="9525" marR="9525" marT="9525" marB="0">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1.0%)</a:t>
                      </a:r>
                    </a:p>
                  </a:txBody>
                  <a:tcPr marL="9525" marR="9525" marT="9525" marB="0">
                    <a:lnL>
                      <a:noFill/>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8.4%</a:t>
                      </a:r>
                    </a:p>
                  </a:txBody>
                  <a:tcPr marL="9525" marR="9525" marT="9525" marB="0">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18"/>
                  </a:ext>
                </a:extLst>
              </a:tr>
              <a:tr h="174414">
                <a:tc>
                  <a:txBody>
                    <a:bodyPr/>
                    <a:lstStyle/>
                    <a:p>
                      <a:pPr algn="l" rtl="0" fontAlgn="t"/>
                      <a:r>
                        <a:rPr lang="en-IN" sz="1050" b="0" i="0" u="none" strike="noStrike">
                          <a:solidFill>
                            <a:srgbClr val="333333"/>
                          </a:solidFill>
                          <a:effectLst/>
                          <a:latin typeface="Arial" panose="020B0604020202020204" pitchFamily="34" charset="0"/>
                        </a:rPr>
                        <a:t>  Outside Consultant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21,739</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0.0%</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53.7%</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9"/>
                  </a:ext>
                </a:extLst>
              </a:tr>
              <a:tr h="174414">
                <a:tc>
                  <a:txBody>
                    <a:bodyPr/>
                    <a:lstStyle/>
                    <a:p>
                      <a:pPr algn="l" rtl="0" fontAlgn="t"/>
                      <a:r>
                        <a:rPr lang="en-IN" sz="1050" b="0" i="0" u="none" strike="noStrike">
                          <a:solidFill>
                            <a:srgbClr val="333333"/>
                          </a:solidFill>
                          <a:effectLst/>
                          <a:latin typeface="Arial" panose="020B0604020202020204" pitchFamily="34" charset="0"/>
                        </a:rPr>
                        <a:t>  Net Client Expens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0</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0%</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0.0%</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20"/>
                  </a:ext>
                </a:extLst>
              </a:tr>
              <a:tr h="174414">
                <a:tc>
                  <a:txBody>
                    <a:bodyPr/>
                    <a:lstStyle/>
                    <a:p>
                      <a:pPr algn="l" rtl="0" fontAlgn="t"/>
                      <a:r>
                        <a:rPr lang="en-IN" sz="1050" b="0" i="0" u="none" strike="noStrike">
                          <a:solidFill>
                            <a:srgbClr val="333333"/>
                          </a:solidFill>
                          <a:effectLst/>
                          <a:latin typeface="Arial" panose="020B0604020202020204" pitchFamily="34" charset="0"/>
                        </a:rPr>
                        <a:t>  Client Tech Expens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0</a:t>
                      </a:r>
                    </a:p>
                  </a:txBody>
                  <a:tcPr marL="9525" marR="9525" marT="9525" marB="0">
                    <a:lnL w="12700" cap="flat" cmpd="sng" algn="ctr">
                      <a:solidFill>
                        <a:schemeClr val="tx1"/>
                      </a:solidFill>
                      <a:prstDash val="solid"/>
                      <a:round/>
                      <a:headEnd type="none" w="med" len="med"/>
                      <a:tailEnd type="none" w="med" len="med"/>
                    </a:lnL>
                    <a:lnR>
                      <a:noFill/>
                    </a:lnR>
                    <a:lnT>
                      <a:noFill/>
                    </a:lnT>
                    <a:lnB w="6350" cap="flat" cmpd="sng" algn="ctr">
                      <a:solidFill>
                        <a:srgbClr val="808080"/>
                      </a:solidFill>
                      <a:prstDash val="solid"/>
                      <a:round/>
                      <a:headEnd type="none" w="med" len="med"/>
                      <a:tailEnd type="none" w="med" len="med"/>
                    </a:lnB>
                  </a:tcPr>
                </a:tc>
                <a:tc>
                  <a:txBody>
                    <a:bodyPr/>
                    <a:lstStyle/>
                    <a:p>
                      <a:pPr algn="r" rtl="0" fontAlgn="t"/>
                      <a:r>
                        <a:rPr lang="en-IN" sz="1050" b="0" i="0" u="none" strike="noStrike">
                          <a:solidFill>
                            <a:srgbClr val="333333"/>
                          </a:solidFill>
                          <a:effectLst/>
                          <a:latin typeface="Arial" panose="020B0604020202020204" pitchFamily="34" charset="0"/>
                        </a:rPr>
                        <a:t>0.0%</a:t>
                      </a:r>
                    </a:p>
                  </a:txBody>
                  <a:tcPr marL="9525" marR="9525" marT="9525" marB="0">
                    <a:lnL>
                      <a:noFill/>
                    </a:lnL>
                    <a:lnR>
                      <a:noFill/>
                    </a:lnR>
                    <a:lnT>
                      <a:noFill/>
                    </a:lnT>
                    <a:lnB w="6350" cap="flat" cmpd="sng" algn="ctr">
                      <a:solidFill>
                        <a:srgbClr val="808080"/>
                      </a:solidFill>
                      <a:prstDash val="solid"/>
                      <a:round/>
                      <a:headEnd type="none" w="med" len="med"/>
                      <a:tailEnd type="none" w="med" len="med"/>
                    </a:lnB>
                  </a:tcPr>
                </a:tc>
                <a:tc>
                  <a:txBody>
                    <a:bodyPr/>
                    <a:lstStyle/>
                    <a:p>
                      <a:pPr algn="r" rtl="0" fontAlgn="t"/>
                      <a:r>
                        <a:rPr lang="en-IN" sz="1050" b="0" i="0" u="none" strike="noStrike" dirty="0">
                          <a:solidFill>
                            <a:srgbClr val="333333"/>
                          </a:solidFill>
                          <a:effectLst/>
                          <a:latin typeface="Arial" panose="020B0604020202020204" pitchFamily="34" charset="0"/>
                        </a:rPr>
                        <a:t>0.0%</a:t>
                      </a:r>
                    </a:p>
                  </a:txBody>
                  <a:tcPr marL="9525" marR="9525" marT="9525" marB="0">
                    <a:lnL>
                      <a:noFill/>
                    </a:lnL>
                    <a:lnR w="12700" cap="flat" cmpd="sng" algn="ctr">
                      <a:solidFill>
                        <a:schemeClr val="tx1"/>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21"/>
                  </a:ext>
                </a:extLst>
              </a:tr>
              <a:tr h="174414">
                <a:tc>
                  <a:txBody>
                    <a:bodyPr/>
                    <a:lstStyle/>
                    <a:p>
                      <a:pPr algn="l" rtl="0" fontAlgn="t"/>
                      <a:r>
                        <a:rPr lang="en-IN" sz="1050" b="1" i="0" u="none" strike="noStrike">
                          <a:solidFill>
                            <a:srgbClr val="333333"/>
                          </a:solidFill>
                          <a:effectLst/>
                          <a:latin typeface="Arial" panose="020B0604020202020204" pitchFamily="34" charset="0"/>
                        </a:rPr>
                        <a:t>  Total Direct Expens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587,903</a:t>
                      </a:r>
                    </a:p>
                  </a:txBody>
                  <a:tcPr marL="9525" marR="9525" marT="9525" marB="0">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050" b="0" i="0" u="none" strike="noStrike">
                          <a:solidFill>
                            <a:srgbClr val="333333"/>
                          </a:solidFill>
                          <a:effectLst/>
                          <a:latin typeface="Arial" panose="020B0604020202020204" pitchFamily="34" charset="0"/>
                        </a:rPr>
                        <a:t>(0.7%)</a:t>
                      </a:r>
                    </a:p>
                  </a:txBody>
                  <a:tcPr marL="9525" marR="9525" marT="9525" marB="0">
                    <a:lnL>
                      <a:noFill/>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9.6%</a:t>
                      </a:r>
                    </a:p>
                  </a:txBody>
                  <a:tcPr marL="9525" marR="9525" marT="9525" marB="0">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22"/>
                  </a:ext>
                </a:extLst>
              </a:tr>
              <a:tr h="174414">
                <a:tc>
                  <a:txBody>
                    <a:bodyPr/>
                    <a:lstStyle/>
                    <a:p>
                      <a:pPr algn="ctr" rtl="0" fontAlgn="t"/>
                      <a:r>
                        <a:rPr lang="en-US" sz="1050" b="1" i="0" u="none" strike="noStrike" dirty="0">
                          <a:solidFill>
                            <a:srgbClr val="333333"/>
                          </a:solidFill>
                          <a:effectLst/>
                          <a:latin typeface="Arial" panose="020B0604020202020204" pitchFamily="34" charset="0"/>
                        </a:rPr>
                        <a:t>Indirect Expenses</a:t>
                      </a:r>
                      <a:endParaRPr lang="en-IN" sz="1050" b="1" i="0" u="none" strike="noStrike" dirty="0">
                        <a:solidFill>
                          <a:srgbClr val="333333"/>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a:noFill/>
                    </a:lnR>
                    <a:lnT>
                      <a:noFill/>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a:noFill/>
                    </a:lnL>
                    <a:lnR>
                      <a:noFill/>
                    </a:lnR>
                    <a:lnT>
                      <a:noFill/>
                    </a:lnT>
                    <a:lnB>
                      <a:noFill/>
                    </a:lnB>
                    <a:solidFill>
                      <a:schemeClr val="accent2"/>
                    </a:solidFill>
                  </a:tcPr>
                </a:tc>
                <a:tc>
                  <a:txBody>
                    <a:bodyPr/>
                    <a:lstStyle/>
                    <a:p>
                      <a:pPr algn="r" rtl="0" fontAlgn="t"/>
                      <a:endParaRPr lang="en-IN" sz="1050" b="0" i="0" u="none" strike="noStrike" dirty="0">
                        <a:solidFill>
                          <a:srgbClr val="333333"/>
                        </a:solidFill>
                        <a:effectLst/>
                        <a:latin typeface="Arial" panose="020B0604020202020204" pitchFamily="34" charset="0"/>
                      </a:endParaRPr>
                    </a:p>
                  </a:txBody>
                  <a:tcPr marL="9525" marR="9525" marT="9525" marB="0">
                    <a:lnL>
                      <a:noFill/>
                    </a:lnL>
                    <a:lnR w="12700" cap="flat" cmpd="sng" algn="ctr">
                      <a:solidFill>
                        <a:schemeClr val="tx1"/>
                      </a:solidFill>
                      <a:prstDash val="solid"/>
                      <a:round/>
                      <a:headEnd type="none" w="med" len="med"/>
                      <a:tailEnd type="none" w="med" len="med"/>
                    </a:lnR>
                    <a:lnT>
                      <a:noFill/>
                    </a:lnT>
                    <a:lnB>
                      <a:noFill/>
                    </a:lnB>
                    <a:solidFill>
                      <a:schemeClr val="accent2"/>
                    </a:solidFill>
                  </a:tcPr>
                </a:tc>
                <a:extLst>
                  <a:ext uri="{0D108BD9-81ED-4DB2-BD59-A6C34878D82A}">
                    <a16:rowId xmlns:a16="http://schemas.microsoft.com/office/drawing/2014/main" val="10023"/>
                  </a:ext>
                </a:extLst>
              </a:tr>
              <a:tr h="174414">
                <a:tc>
                  <a:txBody>
                    <a:bodyPr/>
                    <a:lstStyle/>
                    <a:p>
                      <a:pPr algn="l" rtl="0" fontAlgn="t"/>
                      <a:r>
                        <a:rPr lang="en-IN" sz="1050" b="0" i="0" u="none" strike="noStrike" baseline="0" dirty="0">
                          <a:solidFill>
                            <a:srgbClr val="333333"/>
                          </a:solidFill>
                          <a:effectLst/>
                          <a:latin typeface="Arial" panose="020B0604020202020204" pitchFamily="34" charset="0"/>
                        </a:rPr>
                        <a:t>  </a:t>
                      </a:r>
                      <a:r>
                        <a:rPr lang="en-IN" sz="1050" b="0" i="0" u="none" strike="noStrike" dirty="0">
                          <a:solidFill>
                            <a:srgbClr val="333333"/>
                          </a:solidFill>
                          <a:effectLst/>
                          <a:latin typeface="Arial" panose="020B0604020202020204" pitchFamily="34" charset="0"/>
                        </a:rPr>
                        <a:t>Regional Controllable Indirect Expens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215,988</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11.3%)</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7.7%</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24"/>
                  </a:ext>
                </a:extLst>
              </a:tr>
              <a:tr h="174414">
                <a:tc>
                  <a:txBody>
                    <a:bodyPr/>
                    <a:lstStyle/>
                    <a:p>
                      <a:pPr algn="l" rtl="0" fontAlgn="t"/>
                      <a:r>
                        <a:rPr lang="en-IN" sz="1050" b="0" i="0" u="none" strike="noStrike" dirty="0">
                          <a:solidFill>
                            <a:srgbClr val="333333"/>
                          </a:solidFill>
                          <a:effectLst/>
                          <a:latin typeface="Arial" panose="020B0604020202020204" pitchFamily="34" charset="0"/>
                        </a:rPr>
                        <a:t>  Centrally Controlled Indirect Expens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050" b="0" i="0" u="none" strike="noStrike">
                          <a:solidFill>
                            <a:srgbClr val="333333"/>
                          </a:solidFill>
                          <a:effectLst/>
                          <a:latin typeface="Arial" panose="020B0604020202020204" pitchFamily="34" charset="0"/>
                        </a:rPr>
                        <a:t>163,717</a:t>
                      </a:r>
                    </a:p>
                  </a:txBody>
                  <a:tcPr marL="9525" marR="9525" marT="9525" marB="0">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050" b="0" i="0" u="none" strike="noStrike">
                          <a:solidFill>
                            <a:srgbClr val="333333"/>
                          </a:solidFill>
                          <a:effectLst/>
                          <a:latin typeface="Arial" panose="020B0604020202020204" pitchFamily="34" charset="0"/>
                        </a:rPr>
                        <a:t>(0.3%)</a:t>
                      </a:r>
                    </a:p>
                  </a:txBody>
                  <a:tcPr marL="9525" marR="9525" marT="9525" marB="0">
                    <a:lnL>
                      <a:noFill/>
                    </a:lnL>
                    <a:lnR>
                      <a:noFill/>
                    </a:lnR>
                    <a:lnT>
                      <a:noFill/>
                    </a:lnT>
                    <a:lnB>
                      <a:noFill/>
                    </a:lnB>
                  </a:tcPr>
                </a:tc>
                <a:tc>
                  <a:txBody>
                    <a:bodyPr/>
                    <a:lstStyle/>
                    <a:p>
                      <a:pPr algn="r" rtl="0" fontAlgn="t"/>
                      <a:r>
                        <a:rPr lang="en-IN" sz="1050" b="0" i="0" u="none" strike="noStrike" dirty="0">
                          <a:solidFill>
                            <a:srgbClr val="333333"/>
                          </a:solidFill>
                          <a:effectLst/>
                          <a:latin typeface="Arial" panose="020B0604020202020204" pitchFamily="34" charset="0"/>
                        </a:rPr>
                        <a:t>4.0%</a:t>
                      </a:r>
                    </a:p>
                  </a:txBody>
                  <a:tcPr marL="9525" marR="9525" marT="9525" marB="0">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25"/>
                  </a:ext>
                </a:extLst>
              </a:tr>
              <a:tr h="246231">
                <a:tc>
                  <a:txBody>
                    <a:bodyPr/>
                    <a:lstStyle/>
                    <a:p>
                      <a:pPr algn="l" rtl="0" fontAlgn="t"/>
                      <a:r>
                        <a:rPr lang="en-IN" sz="1050" b="1" i="0" u="none" strike="noStrike">
                          <a:solidFill>
                            <a:srgbClr val="333333"/>
                          </a:solidFill>
                          <a:effectLst/>
                          <a:latin typeface="Arial" panose="020B0604020202020204" pitchFamily="34" charset="0"/>
                        </a:rPr>
                        <a:t>  Total Indirect Expens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r" rtl="0" fontAlgn="t"/>
                      <a:r>
                        <a:rPr lang="en-IN" sz="1050" b="0" i="0" u="none" strike="noStrike" dirty="0">
                          <a:solidFill>
                            <a:srgbClr val="333333"/>
                          </a:solidFill>
                          <a:effectLst/>
                          <a:latin typeface="Arial" panose="020B0604020202020204" pitchFamily="34" charset="0"/>
                        </a:rPr>
                        <a:t>379,705</a:t>
                      </a:r>
                    </a:p>
                  </a:txBody>
                  <a:tcPr marL="9525" marR="9525" marT="9525" marB="0">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r" rtl="0" fontAlgn="t"/>
                      <a:r>
                        <a:rPr lang="en-IN" sz="1050" b="0" i="0" u="none" strike="noStrike">
                          <a:solidFill>
                            <a:srgbClr val="333333"/>
                          </a:solidFill>
                          <a:effectLst/>
                          <a:latin typeface="Arial" panose="020B0604020202020204" pitchFamily="34" charset="0"/>
                        </a:rPr>
                        <a:t>(6.8%)</a:t>
                      </a:r>
                    </a:p>
                  </a:txBody>
                  <a:tcPr marL="9525" marR="9525" marT="9525" marB="0">
                    <a:lnL>
                      <a:noFill/>
                    </a:lnL>
                    <a:lnR>
                      <a:noFill/>
                    </a:lnR>
                    <a:lnT>
                      <a:noFill/>
                    </a:lnT>
                    <a:lnB w="12700" cap="flat" cmpd="sng" algn="ctr">
                      <a:solidFill>
                        <a:schemeClr val="tx1"/>
                      </a:solidFill>
                      <a:prstDash val="solid"/>
                      <a:round/>
                      <a:headEnd type="none" w="med" len="med"/>
                      <a:tailEnd type="none" w="med" len="med"/>
                    </a:lnB>
                  </a:tcPr>
                </a:tc>
                <a:tc>
                  <a:txBody>
                    <a:bodyPr/>
                    <a:lstStyle/>
                    <a:p>
                      <a:pPr algn="r" rtl="0" fontAlgn="t"/>
                      <a:r>
                        <a:rPr lang="en-IN" sz="1050" b="0" i="0" u="none" strike="noStrike" dirty="0">
                          <a:solidFill>
                            <a:srgbClr val="333333"/>
                          </a:solidFill>
                          <a:effectLst/>
                          <a:latin typeface="Arial" panose="020B0604020202020204" pitchFamily="34" charset="0"/>
                        </a:rPr>
                        <a:t>6.1%</a:t>
                      </a:r>
                    </a:p>
                  </a:txBody>
                  <a:tcPr marL="9525" marR="9525" marT="9525" marB="0">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2792410273"/>
      </p:ext>
    </p:extLst>
  </p:cSld>
  <p:clrMapOvr>
    <a:masterClrMapping/>
  </p:clrMapOvr>
  <mc:AlternateContent xmlns:mc="http://schemas.openxmlformats.org/markup-compatibility/2006" xmlns:p14="http://schemas.microsoft.com/office/powerpoint/2010/main">
    <mc:Choice Requires="p14">
      <p:transition spd="slow" p14:dur="1500" advTm="53546">
        <p:split orient="vert"/>
      </p:transition>
    </mc:Choice>
    <mc:Fallback xmlns="">
      <p:transition spd="slow" advTm="53546">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xfrm>
            <a:off x="609918" y="287325"/>
            <a:ext cx="10978515" cy="860400"/>
          </a:xfrm>
        </p:spPr>
        <p:txBody>
          <a:bodyPr anchor="ctr"/>
          <a:lstStyle/>
          <a:p>
            <a:r>
              <a:rPr lang="en-US" altLang="zh-CN" sz="2400" dirty="0">
                <a:solidFill>
                  <a:schemeClr val="bg1">
                    <a:lumMod val="75000"/>
                  </a:schemeClr>
                </a:solidFill>
                <a:latin typeface="EYInterstate" panose="02000503020000020004" pitchFamily="2" charset="0"/>
                <a:ea typeface="宋体" pitchFamily="2" charset="-122"/>
              </a:rPr>
              <a:t>EY Operations Statement – RCIE</a:t>
            </a:r>
          </a:p>
        </p:txBody>
      </p:sp>
      <p:graphicFrame>
        <p:nvGraphicFramePr>
          <p:cNvPr id="3" name="Table 2"/>
          <p:cNvGraphicFramePr>
            <a:graphicFrameLocks noGrp="1"/>
          </p:cNvGraphicFramePr>
          <p:nvPr>
            <p:extLst>
              <p:ext uri="{D42A27DB-BD31-4B8C-83A1-F6EECF244321}">
                <p14:modId xmlns:p14="http://schemas.microsoft.com/office/powerpoint/2010/main" val="2899762998"/>
              </p:ext>
            </p:extLst>
          </p:nvPr>
        </p:nvGraphicFramePr>
        <p:xfrm>
          <a:off x="622300" y="1134133"/>
          <a:ext cx="10966132" cy="4980917"/>
        </p:xfrm>
        <a:graphic>
          <a:graphicData uri="http://schemas.openxmlformats.org/drawingml/2006/table">
            <a:tbl>
              <a:tblPr/>
              <a:tblGrid>
                <a:gridCol w="7155687">
                  <a:extLst>
                    <a:ext uri="{9D8B030D-6E8A-4147-A177-3AD203B41FA5}">
                      <a16:colId xmlns:a16="http://schemas.microsoft.com/office/drawing/2014/main" val="20000"/>
                    </a:ext>
                  </a:extLst>
                </a:gridCol>
                <a:gridCol w="1154552">
                  <a:extLst>
                    <a:ext uri="{9D8B030D-6E8A-4147-A177-3AD203B41FA5}">
                      <a16:colId xmlns:a16="http://schemas.microsoft.com/office/drawing/2014/main" val="20001"/>
                    </a:ext>
                  </a:extLst>
                </a:gridCol>
                <a:gridCol w="1319488">
                  <a:extLst>
                    <a:ext uri="{9D8B030D-6E8A-4147-A177-3AD203B41FA5}">
                      <a16:colId xmlns:a16="http://schemas.microsoft.com/office/drawing/2014/main" val="20002"/>
                    </a:ext>
                  </a:extLst>
                </a:gridCol>
                <a:gridCol w="1336405">
                  <a:extLst>
                    <a:ext uri="{9D8B030D-6E8A-4147-A177-3AD203B41FA5}">
                      <a16:colId xmlns:a16="http://schemas.microsoft.com/office/drawing/2014/main" val="20003"/>
                    </a:ext>
                  </a:extLst>
                </a:gridCol>
              </a:tblGrid>
              <a:tr h="254924">
                <a:tc>
                  <a:txBody>
                    <a:bodyPr/>
                    <a:lstStyle/>
                    <a:p>
                      <a:pPr algn="ctr" rtl="0" fontAlgn="ctr"/>
                      <a:endParaRPr lang="en-IN" sz="1100" b="1"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Arial" panose="020B0604020202020204" pitchFamily="34" charset="0"/>
                        </a:rPr>
                        <a:t>FY19 YTD July Americas</a:t>
                      </a:r>
                      <a:endParaRPr lang="en-IN" sz="1100" b="1" i="0" u="none" strike="noStrike" dirty="0">
                        <a:solidFill>
                          <a:srgbClr val="000000"/>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00"/>
                    </a:solidFill>
                  </a:tcPr>
                </a:tc>
                <a:tc hMerge="1">
                  <a:txBody>
                    <a:bodyPr/>
                    <a:lstStyle/>
                    <a:p>
                      <a:pPr algn="ctr" rtl="0" fontAlgn="ctr"/>
                      <a:endParaRPr lang="en-IN" sz="11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hMerge="1">
                  <a:txBody>
                    <a:bodyPr/>
                    <a:lstStyle/>
                    <a:p>
                      <a:pPr algn="ctr" rtl="0" fontAlgn="ctr"/>
                      <a:endParaRPr lang="en-IN" sz="11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0"/>
                  </a:ext>
                </a:extLst>
              </a:tr>
              <a:tr h="369294">
                <a:tc>
                  <a:txBody>
                    <a:bodyPr/>
                    <a:lstStyle/>
                    <a:p>
                      <a:pPr algn="ctr" rtl="0" fontAlgn="ctr"/>
                      <a:r>
                        <a:rPr lang="en-IN" sz="1100" b="1" i="0" u="none" strike="noStrike" dirty="0">
                          <a:solidFill>
                            <a:srgbClr val="000000"/>
                          </a:solidFill>
                          <a:effectLst/>
                          <a:latin typeface="Arial" panose="020B0604020202020204" pitchFamily="34" charset="0"/>
                        </a:rPr>
                        <a:t>Operational Varianc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CCCCCC"/>
                    </a:solidFill>
                  </a:tcPr>
                </a:tc>
                <a:tc>
                  <a:txBody>
                    <a:bodyPr/>
                    <a:lstStyle/>
                    <a:p>
                      <a:pPr algn="ctr" rtl="0" fontAlgn="ctr"/>
                      <a:r>
                        <a:rPr lang="en-IN" sz="1100" b="1" i="0" u="none" strike="noStrike" dirty="0">
                          <a:solidFill>
                            <a:srgbClr val="000000"/>
                          </a:solidFill>
                          <a:effectLst/>
                          <a:latin typeface="Arial" panose="020B0604020202020204" pitchFamily="34" charset="0"/>
                        </a:rPr>
                        <a:t>Actual</a:t>
                      </a:r>
                    </a:p>
                  </a:txBody>
                  <a:tcPr marL="6350" marR="6350" marT="6350"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100" b="1" i="0" u="none" strike="noStrike">
                          <a:solidFill>
                            <a:srgbClr val="000000"/>
                          </a:solidFill>
                          <a:effectLst/>
                          <a:latin typeface="Arial" panose="020B0604020202020204" pitchFamily="34" charset="0"/>
                        </a:rPr>
                        <a:t>Inc/(Dec) % </a:t>
                      </a:r>
                      <a:br>
                        <a:rPr lang="en-IN" sz="1100" b="1" i="0" u="none" strike="noStrike">
                          <a:solidFill>
                            <a:srgbClr val="000000"/>
                          </a:solidFill>
                          <a:effectLst/>
                          <a:latin typeface="Arial" panose="020B0604020202020204" pitchFamily="34" charset="0"/>
                        </a:rPr>
                      </a:br>
                      <a:r>
                        <a:rPr lang="en-IN" sz="1100" b="1" i="0" u="none" strike="noStrike">
                          <a:solidFill>
                            <a:srgbClr val="000000"/>
                          </a:solidFill>
                          <a:effectLst/>
                          <a:latin typeface="Arial" panose="020B0604020202020204" pitchFamily="34" charset="0"/>
                        </a:rPr>
                        <a:t>vs Plan</a:t>
                      </a:r>
                    </a:p>
                  </a:txBody>
                  <a:tcPr marL="6350" marR="6350" marT="635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100" b="1" i="0" u="none" strike="noStrike">
                          <a:solidFill>
                            <a:srgbClr val="000000"/>
                          </a:solidFill>
                          <a:effectLst/>
                          <a:latin typeface="Arial" panose="020B0604020202020204" pitchFamily="34" charset="0"/>
                        </a:rPr>
                        <a:t>Inc/(Dec) %</a:t>
                      </a:r>
                      <a:br>
                        <a:rPr lang="en-IN" sz="1100" b="1" i="0" u="none" strike="noStrike">
                          <a:solidFill>
                            <a:srgbClr val="000000"/>
                          </a:solidFill>
                          <a:effectLst/>
                          <a:latin typeface="Arial" panose="020B0604020202020204" pitchFamily="34" charset="0"/>
                        </a:rPr>
                      </a:br>
                      <a:r>
                        <a:rPr lang="en-IN" sz="1100" b="1" i="0" u="none" strike="noStrike">
                          <a:solidFill>
                            <a:srgbClr val="000000"/>
                          </a:solidFill>
                          <a:effectLst/>
                          <a:latin typeface="Arial" panose="020B0604020202020204" pitchFamily="34" charset="0"/>
                        </a:rPr>
                        <a:t>vs PY</a:t>
                      </a:r>
                    </a:p>
                  </a:txBody>
                  <a:tcPr marL="6350" marR="6350" marT="6350"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1"/>
                  </a:ext>
                </a:extLst>
              </a:tr>
              <a:tr h="171605">
                <a:tc>
                  <a:txBody>
                    <a:bodyPr/>
                    <a:lstStyle/>
                    <a:p>
                      <a:pPr algn="l" rtl="0" fontAlgn="t"/>
                      <a:r>
                        <a:rPr lang="en-IN" sz="1000" b="0" i="0" u="none" strike="noStrike" dirty="0">
                          <a:solidFill>
                            <a:srgbClr val="333333"/>
                          </a:solidFill>
                          <a:effectLst/>
                          <a:latin typeface="Arial" panose="020B0604020202020204" pitchFamily="34" charset="0"/>
                        </a:rPr>
                        <a:t>   PSA Employee Base Compensation +  PSA Employee Variable Compensation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w="6350" cap="flat" cmpd="sng" algn="ctr">
                      <a:solidFill>
                        <a:srgbClr val="808080"/>
                      </a:solidFill>
                      <a:prstDash val="solid"/>
                      <a:round/>
                      <a:headEnd type="none" w="med" len="med"/>
                      <a:tailEnd type="none" w="med" len="med"/>
                    </a:lnT>
                    <a:lnB>
                      <a:noFill/>
                    </a:lnB>
                  </a:tcPr>
                </a:tc>
                <a:tc>
                  <a:txBody>
                    <a:bodyPr/>
                    <a:lstStyle/>
                    <a:p>
                      <a:pPr algn="r" rtl="0" fontAlgn="t"/>
                      <a:endParaRPr lang="en-IN" sz="1000" b="0" i="0" u="none" strike="noStrike">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02"/>
                  </a:ext>
                </a:extLst>
              </a:tr>
              <a:tr h="192444">
                <a:tc>
                  <a:txBody>
                    <a:bodyPr/>
                    <a:lstStyle/>
                    <a:p>
                      <a:pPr algn="l" rtl="0" fontAlgn="t"/>
                      <a:r>
                        <a:rPr lang="en-IN" sz="1000" b="0" i="0" u="none" strike="noStrike" dirty="0">
                          <a:solidFill>
                            <a:srgbClr val="333333"/>
                          </a:solidFill>
                          <a:effectLst/>
                          <a:latin typeface="Arial" panose="020B0604020202020204" pitchFamily="34" charset="0"/>
                        </a:rPr>
                        <a:t>   PSA Employee Fringe Benefits + Non-client Purchased/Sold Time +  Purchased Services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18380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000" b="0" i="0" u="none" strike="noStrike" dirty="0">
                          <a:solidFill>
                            <a:srgbClr val="333333"/>
                          </a:solidFill>
                          <a:effectLst/>
                          <a:latin typeface="Arial" panose="020B0604020202020204" pitchFamily="34" charset="0"/>
                        </a:rPr>
                        <a:t>   Practice Support &amp; Admin Staffing Recharg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Practice Support &amp; Admin Staffin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92,319</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9.1%)</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3.2%</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05"/>
                  </a:ext>
                </a:extLst>
              </a:tr>
              <a:tr h="171605">
                <a:tc>
                  <a:txBody>
                    <a:bodyPr/>
                    <a:lstStyle/>
                    <a:p>
                      <a:pPr algn="l" rtl="0" fontAlgn="t"/>
                      <a:r>
                        <a:rPr lang="en-IN" sz="1000" b="0" i="0" u="none" strike="noStrike" dirty="0">
                          <a:solidFill>
                            <a:srgbClr val="333333"/>
                          </a:solidFill>
                          <a:effectLst/>
                          <a:latin typeface="Arial" panose="020B0604020202020204" pitchFamily="34" charset="0"/>
                        </a:rPr>
                        <a:t>   Recruiting +  Relocation +  Educa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Peopl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5,526</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4.2%</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7.7%)</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07"/>
                  </a:ext>
                </a:extLst>
              </a:tr>
              <a:tr h="171605">
                <a:tc>
                  <a:txBody>
                    <a:bodyPr/>
                    <a:lstStyle/>
                    <a:p>
                      <a:pPr algn="l" rtl="0" fontAlgn="t"/>
                      <a:r>
                        <a:rPr lang="en-IN" sz="1000" b="0" i="0" u="none" strike="noStrike" dirty="0">
                          <a:solidFill>
                            <a:srgbClr val="333333"/>
                          </a:solidFill>
                          <a:effectLst/>
                          <a:latin typeface="Arial" panose="020B0604020202020204" pitchFamily="34" charset="0"/>
                        </a:rPr>
                        <a:t>   Knowledg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Tool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3,520</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23.1%</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06.2%</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09"/>
                  </a:ext>
                </a:extLst>
              </a:tr>
              <a:tr h="21420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000" b="0" i="0" u="none" strike="noStrike" dirty="0">
                          <a:solidFill>
                            <a:srgbClr val="333333"/>
                          </a:solidFill>
                          <a:effectLst/>
                          <a:latin typeface="Arial" panose="020B0604020202020204" pitchFamily="34" charset="0"/>
                        </a:rPr>
                        <a:t>   Audio &amp; Video Consumable +  End User Hardware + Telecommunications Consumable</a:t>
                      </a:r>
                      <a:r>
                        <a:rPr lang="en-IN" sz="1000" b="0" i="0" u="none" strike="noStrike" baseline="0" dirty="0">
                          <a:solidFill>
                            <a:srgbClr val="333333"/>
                          </a:solidFill>
                          <a:effectLst/>
                          <a:latin typeface="Arial" panose="020B0604020202020204" pitchFamily="34" charset="0"/>
                        </a:rPr>
                        <a:t> +</a:t>
                      </a:r>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16253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000" b="0" i="0" u="none" strike="noStrike" dirty="0">
                          <a:solidFill>
                            <a:srgbClr val="333333"/>
                          </a:solidFill>
                          <a:effectLst/>
                          <a:latin typeface="Arial" panose="020B0604020202020204" pitchFamily="34" charset="0"/>
                        </a:rPr>
                        <a:t>   Other Consumabl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1"/>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Technology Consumabl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8,264</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9.8%)</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7.9%</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12"/>
                  </a:ext>
                </a:extLst>
              </a:tr>
              <a:tr h="171605">
                <a:tc>
                  <a:txBody>
                    <a:bodyPr/>
                    <a:lstStyle/>
                    <a:p>
                      <a:pPr algn="l" rtl="0" fontAlgn="t"/>
                      <a:r>
                        <a:rPr lang="en-IN" sz="1000" b="0" i="0" u="none" strike="noStrike" dirty="0">
                          <a:solidFill>
                            <a:srgbClr val="333333"/>
                          </a:solidFill>
                          <a:effectLst/>
                          <a:latin typeface="Arial" panose="020B0604020202020204" pitchFamily="34" charset="0"/>
                        </a:rPr>
                        <a:t>   Marketing &amp; Advertisin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3"/>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Sales &amp; Marketin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675</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47.9%)</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22.1%)</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14"/>
                  </a:ext>
                </a:extLst>
              </a:tr>
              <a:tr h="171605">
                <a:tc>
                  <a:txBody>
                    <a:bodyPr/>
                    <a:lstStyle/>
                    <a:p>
                      <a:pPr algn="l" rtl="0" fontAlgn="t"/>
                      <a:r>
                        <a:rPr lang="en-IN" sz="1000" b="0" i="0" u="none" strike="noStrike" dirty="0">
                          <a:solidFill>
                            <a:srgbClr val="333333"/>
                          </a:solidFill>
                          <a:effectLst/>
                          <a:latin typeface="Arial" panose="020B0604020202020204" pitchFamily="34" charset="0"/>
                        </a:rPr>
                        <a:t>   Legal + Professional Activiti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5"/>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Legal &amp; Professional Activiti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5,811</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8.5%)</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05.5%</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16"/>
                  </a:ext>
                </a:extLst>
              </a:tr>
              <a:tr h="17160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000" b="0" i="0" u="none" strike="noStrike" dirty="0">
                          <a:solidFill>
                            <a:srgbClr val="333333"/>
                          </a:solidFill>
                          <a:effectLst/>
                          <a:latin typeface="Arial" panose="020B0604020202020204" pitchFamily="34" charset="0"/>
                        </a:rPr>
                        <a:t>   Firm &amp; Office Meetings + Non-client Related Travel</a:t>
                      </a:r>
                      <a:r>
                        <a:rPr lang="en-IN" sz="1000" b="0" i="0" u="none" strike="noStrike" baseline="0" dirty="0">
                          <a:solidFill>
                            <a:srgbClr val="333333"/>
                          </a:solidFill>
                          <a:effectLst/>
                          <a:latin typeface="Arial" panose="020B0604020202020204" pitchFamily="34" charset="0"/>
                        </a:rPr>
                        <a:t> + </a:t>
                      </a:r>
                      <a:r>
                        <a:rPr lang="en-IN" sz="1000" b="0" i="0" u="none" strike="noStrike" dirty="0">
                          <a:solidFill>
                            <a:srgbClr val="333333"/>
                          </a:solidFill>
                          <a:effectLst/>
                          <a:latin typeface="Arial" panose="020B0604020202020204" pitchFamily="34" charset="0"/>
                        </a:rPr>
                        <a:t>Other General Administra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7"/>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General Administra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37,216</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25.5%)</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6.4%</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18"/>
                  </a:ext>
                </a:extLst>
              </a:tr>
              <a:tr h="171605">
                <a:tc>
                  <a:txBody>
                    <a:bodyPr/>
                    <a:lstStyle/>
                    <a:p>
                      <a:pPr algn="l" rtl="0" fontAlgn="t"/>
                      <a:r>
                        <a:rPr lang="en-IN" sz="1000" b="0" i="0" u="none" strike="noStrike" dirty="0">
                          <a:solidFill>
                            <a:srgbClr val="333333"/>
                          </a:solidFill>
                          <a:effectLst/>
                          <a:latin typeface="Arial" panose="020B0604020202020204" pitchFamily="34" charset="0"/>
                        </a:rPr>
                        <a:t>   Occupancy + Facility Management + Printing/Duplication &amp; Stationery &amp; Postag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9"/>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Faciliti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39,451</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2.5%)</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2.4%</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20"/>
                  </a:ext>
                </a:extLst>
              </a:tr>
              <a:tr h="171605">
                <a:tc>
                  <a:txBody>
                    <a:bodyPr/>
                    <a:lstStyle/>
                    <a:p>
                      <a:pPr algn="l" rtl="0" fontAlgn="t"/>
                      <a:r>
                        <a:rPr lang="en-IN" sz="1000" b="0" i="0" u="none" strike="noStrike" dirty="0">
                          <a:solidFill>
                            <a:srgbClr val="333333"/>
                          </a:solidFill>
                          <a:effectLst/>
                          <a:latin typeface="Arial" panose="020B0604020202020204" pitchFamily="34" charset="0"/>
                        </a:rPr>
                        <a:t>   Interest  + Miscellaneous Taxes + Other Financial Income &amp; Expens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21"/>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Financia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3,439</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0.5%</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9.6%</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22"/>
                  </a:ext>
                </a:extLst>
              </a:tr>
              <a:tr h="171605">
                <a:tc>
                  <a:txBody>
                    <a:bodyPr/>
                    <a:lstStyle/>
                    <a:p>
                      <a:pPr algn="l" rtl="0" fontAlgn="t"/>
                      <a:r>
                        <a:rPr lang="en-IN" sz="1000" b="0" i="0" u="none" strike="noStrike" dirty="0">
                          <a:solidFill>
                            <a:srgbClr val="333333"/>
                          </a:solidFill>
                          <a:effectLst/>
                          <a:latin typeface="Arial" panose="020B0604020202020204" pitchFamily="34" charset="0"/>
                        </a:rPr>
                        <a:t>   Contingencies + Affiliate Income &amp; Expense + Miscellaneous Income &amp; Expens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a:noFill/>
                    </a:lnR>
                    <a:lnT>
                      <a:noFill/>
                    </a:lnT>
                    <a:lnB>
                      <a:noFill/>
                    </a:lnB>
                  </a:tcPr>
                </a:tc>
                <a:tc>
                  <a:txBody>
                    <a:bodyPr/>
                    <a:lstStyle/>
                    <a:p>
                      <a:pPr algn="r" rtl="0" fontAlgn="t"/>
                      <a:endParaRPr lang="en-IN" sz="1000" b="0" i="0" u="none" strike="noStrike" dirty="0">
                        <a:solidFill>
                          <a:srgbClr val="333333"/>
                        </a:solidFill>
                        <a:effectLst/>
                        <a:latin typeface="Arial" panose="020B0604020202020204" pitchFamily="34" charset="0"/>
                      </a:endParaRP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23"/>
                  </a:ext>
                </a:extLst>
              </a:tr>
              <a:tr h="171605">
                <a:tc>
                  <a:txBody>
                    <a:bodyPr/>
                    <a:lstStyle/>
                    <a:p>
                      <a:pPr algn="l" rtl="0" fontAlgn="t"/>
                      <a:r>
                        <a:rPr lang="en-IN" sz="1000" b="1" i="0" u="none" strike="noStrike" dirty="0">
                          <a:solidFill>
                            <a:sysClr val="windowText" lastClr="000000"/>
                          </a:solidFill>
                          <a:effectLst/>
                          <a:latin typeface="Arial" panose="020B0604020202020204" pitchFamily="34" charset="0"/>
                        </a:rPr>
                        <a:t>  Other Income &amp; Expens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1,278)</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238.5%)</a:t>
                      </a:r>
                    </a:p>
                  </a:txBody>
                  <a:tcPr marL="6350" marR="6350" marT="6350" marB="0" anchor="ctr">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ysClr val="windowText" lastClr="000000"/>
                          </a:solidFill>
                          <a:effectLst/>
                          <a:latin typeface="Arial" panose="020B0604020202020204" pitchFamily="34" charset="0"/>
                        </a:rPr>
                        <a:t>45.6%</a:t>
                      </a:r>
                    </a:p>
                  </a:txBody>
                  <a:tcPr marL="6350" marR="6350" marT="6350" marB="0" anchor="ctr">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24"/>
                  </a:ext>
                </a:extLst>
              </a:tr>
              <a:tr h="171605">
                <a:tc>
                  <a:txBody>
                    <a:bodyPr/>
                    <a:lstStyle/>
                    <a:p>
                      <a:pPr algn="l" rtl="0" fontAlgn="t"/>
                      <a:r>
                        <a:rPr lang="en-IN" sz="1000" b="1" i="0" u="none" strike="noStrike" dirty="0">
                          <a:solidFill>
                            <a:srgbClr val="333333"/>
                          </a:solidFill>
                          <a:effectLst/>
                          <a:latin typeface="Arial" panose="020B0604020202020204" pitchFamily="34" charset="0"/>
                        </a:rPr>
                        <a:t>  Cost Allocations excl. Centra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tc>
                  <a:txBody>
                    <a:bodyPr/>
                    <a:lstStyle/>
                    <a:p>
                      <a:pPr algn="r" rtl="0" fontAlgn="t"/>
                      <a:r>
                        <a:rPr lang="en-IN" sz="1000" b="0" i="0" u="none" strike="noStrike" dirty="0">
                          <a:solidFill>
                            <a:srgbClr val="333333"/>
                          </a:solidFill>
                          <a:effectLst/>
                          <a:latin typeface="Arial" panose="020B0604020202020204" pitchFamily="34" charset="0"/>
                        </a:rPr>
                        <a:t>45</a:t>
                      </a:r>
                    </a:p>
                  </a:txBody>
                  <a:tcPr marL="9525" marR="9525" marT="9525" marB="0">
                    <a:lnL w="12700" cap="flat" cmpd="sng" algn="ctr">
                      <a:solidFill>
                        <a:schemeClr val="tx1"/>
                      </a:solidFill>
                      <a:prstDash val="solid"/>
                      <a:round/>
                      <a:headEnd type="none" w="med" len="med"/>
                      <a:tailEnd type="none" w="med" len="med"/>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rgbClr val="333333"/>
                          </a:solidFill>
                          <a:effectLst/>
                          <a:latin typeface="Arial" panose="020B0604020202020204" pitchFamily="34" charset="0"/>
                        </a:rPr>
                        <a:t>65.5%</a:t>
                      </a:r>
                    </a:p>
                  </a:txBody>
                  <a:tcPr marL="9525" marR="9525" marT="9525" marB="0">
                    <a:lnL>
                      <a:noFill/>
                    </a:lnL>
                    <a:lnR>
                      <a:noFill/>
                    </a:lnR>
                    <a:lnT>
                      <a:noFill/>
                    </a:lnT>
                    <a:lnB>
                      <a:noFill/>
                    </a:lnB>
                    <a:solidFill>
                      <a:schemeClr val="bg1">
                        <a:lumMod val="20000"/>
                        <a:lumOff val="80000"/>
                      </a:schemeClr>
                    </a:solidFill>
                  </a:tcPr>
                </a:tc>
                <a:tc>
                  <a:txBody>
                    <a:bodyPr/>
                    <a:lstStyle/>
                    <a:p>
                      <a:pPr algn="r" rtl="0" fontAlgn="t"/>
                      <a:r>
                        <a:rPr lang="en-IN" sz="1000" b="0" i="0" u="none" strike="noStrike" dirty="0">
                          <a:solidFill>
                            <a:srgbClr val="333333"/>
                          </a:solidFill>
                          <a:effectLst/>
                          <a:latin typeface="Arial" panose="020B0604020202020204" pitchFamily="34" charset="0"/>
                        </a:rPr>
                        <a:t>43.4%</a:t>
                      </a:r>
                    </a:p>
                  </a:txBody>
                  <a:tcPr marL="9525" marR="9525" marT="9525" marB="0">
                    <a:lnL>
                      <a:noFill/>
                    </a:lnL>
                    <a:lnR w="12700" cap="flat" cmpd="sng" algn="ctr">
                      <a:solidFill>
                        <a:schemeClr val="tx1"/>
                      </a:solidFill>
                      <a:prstDash val="solid"/>
                      <a:round/>
                      <a:headEnd type="none" w="med" len="med"/>
                      <a:tailEnd type="none" w="med" len="med"/>
                    </a:lnR>
                    <a:lnT>
                      <a:noFill/>
                    </a:lnT>
                    <a:lnB>
                      <a:noFill/>
                    </a:lnB>
                    <a:solidFill>
                      <a:schemeClr val="bg1">
                        <a:lumMod val="20000"/>
                        <a:lumOff val="80000"/>
                      </a:schemeClr>
                    </a:solidFill>
                  </a:tcPr>
                </a:tc>
                <a:extLst>
                  <a:ext uri="{0D108BD9-81ED-4DB2-BD59-A6C34878D82A}">
                    <a16:rowId xmlns:a16="http://schemas.microsoft.com/office/drawing/2014/main" val="10025"/>
                  </a:ext>
                </a:extLst>
              </a:tr>
              <a:tr h="171605">
                <a:tc>
                  <a:txBody>
                    <a:bodyPr/>
                    <a:lstStyle/>
                    <a:p>
                      <a:pPr algn="l" rtl="0" fontAlgn="t"/>
                      <a:r>
                        <a:rPr lang="en-IN" sz="1000" b="1" i="0" u="none" strike="noStrike" dirty="0">
                          <a:solidFill>
                            <a:schemeClr val="tx1"/>
                          </a:solidFill>
                          <a:effectLst/>
                          <a:latin typeface="Arial" panose="020B0604020202020204" pitchFamily="34" charset="0"/>
                        </a:rPr>
                        <a:t>  Regional Controllable Indirect Expense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000" b="1" i="0" u="none" strike="noStrike" dirty="0">
                          <a:solidFill>
                            <a:schemeClr val="tx1"/>
                          </a:solidFill>
                          <a:effectLst/>
                          <a:latin typeface="Arial" panose="020B0604020202020204" pitchFamily="34" charset="0"/>
                        </a:rPr>
                        <a:t>215,988</a:t>
                      </a:r>
                    </a:p>
                  </a:txBody>
                  <a:tcPr marL="6350" marR="6350" marT="635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000" b="1" i="0" u="none" strike="noStrike" dirty="0">
                          <a:solidFill>
                            <a:schemeClr val="tx1"/>
                          </a:solidFill>
                          <a:effectLst/>
                          <a:latin typeface="Arial" panose="020B0604020202020204" pitchFamily="34" charset="0"/>
                        </a:rPr>
                        <a:t>(11.3%)</a:t>
                      </a: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000" b="1" i="0" u="none" strike="noStrike" dirty="0">
                          <a:solidFill>
                            <a:schemeClr val="tx1"/>
                          </a:solidFill>
                          <a:effectLst/>
                          <a:latin typeface="Arial" panose="020B0604020202020204" pitchFamily="34" charset="0"/>
                        </a:rPr>
                        <a:t>7.7%</a:t>
                      </a:r>
                    </a:p>
                  </a:txBody>
                  <a:tcPr marL="6350" marR="6350" marT="635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2205601792"/>
      </p:ext>
    </p:extLst>
  </p:cSld>
  <p:clrMapOvr>
    <a:masterClrMapping/>
  </p:clrMapOvr>
  <mc:AlternateContent xmlns:mc="http://schemas.openxmlformats.org/markup-compatibility/2006" xmlns:p14="http://schemas.microsoft.com/office/powerpoint/2010/main">
    <mc:Choice Requires="p14">
      <p:transition spd="slow" p14:dur="1500" advTm="51848">
        <p:split orient="vert"/>
      </p:transition>
    </mc:Choice>
    <mc:Fallback xmlns="">
      <p:transition spd="slow" advTm="51848">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a:xfrm>
            <a:off x="599458" y="283125"/>
            <a:ext cx="8229600" cy="8604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altLang="zh-CN" sz="2400" dirty="0">
                <a:solidFill>
                  <a:schemeClr val="bg1">
                    <a:lumMod val="75000"/>
                  </a:schemeClr>
                </a:solidFill>
                <a:latin typeface="EYInterstate" panose="02000503020000020004" pitchFamily="2" charset="0"/>
                <a:ea typeface="宋体" pitchFamily="2" charset="-122"/>
              </a:rPr>
              <a:t>EY Operations Statement - CCIE</a:t>
            </a:r>
          </a:p>
        </p:txBody>
      </p:sp>
      <p:graphicFrame>
        <p:nvGraphicFramePr>
          <p:cNvPr id="2" name="Table 1"/>
          <p:cNvGraphicFramePr>
            <a:graphicFrameLocks noGrp="1"/>
          </p:cNvGraphicFramePr>
          <p:nvPr>
            <p:extLst>
              <p:ext uri="{D42A27DB-BD31-4B8C-83A1-F6EECF244321}">
                <p14:modId xmlns:p14="http://schemas.microsoft.com/office/powerpoint/2010/main" val="3106173958"/>
              </p:ext>
            </p:extLst>
          </p:nvPr>
        </p:nvGraphicFramePr>
        <p:xfrm>
          <a:off x="629556" y="1183322"/>
          <a:ext cx="10933794" cy="4815206"/>
        </p:xfrm>
        <a:graphic>
          <a:graphicData uri="http://schemas.openxmlformats.org/drawingml/2006/table">
            <a:tbl>
              <a:tblPr/>
              <a:tblGrid>
                <a:gridCol w="5545476">
                  <a:extLst>
                    <a:ext uri="{9D8B030D-6E8A-4147-A177-3AD203B41FA5}">
                      <a16:colId xmlns:a16="http://schemas.microsoft.com/office/drawing/2014/main" val="20000"/>
                    </a:ext>
                  </a:extLst>
                </a:gridCol>
                <a:gridCol w="2155326">
                  <a:extLst>
                    <a:ext uri="{9D8B030D-6E8A-4147-A177-3AD203B41FA5}">
                      <a16:colId xmlns:a16="http://schemas.microsoft.com/office/drawing/2014/main" val="20001"/>
                    </a:ext>
                  </a:extLst>
                </a:gridCol>
                <a:gridCol w="1616496">
                  <a:extLst>
                    <a:ext uri="{9D8B030D-6E8A-4147-A177-3AD203B41FA5}">
                      <a16:colId xmlns:a16="http://schemas.microsoft.com/office/drawing/2014/main" val="20002"/>
                    </a:ext>
                  </a:extLst>
                </a:gridCol>
                <a:gridCol w="1616496">
                  <a:extLst>
                    <a:ext uri="{9D8B030D-6E8A-4147-A177-3AD203B41FA5}">
                      <a16:colId xmlns:a16="http://schemas.microsoft.com/office/drawing/2014/main" val="20003"/>
                    </a:ext>
                  </a:extLst>
                </a:gridCol>
              </a:tblGrid>
              <a:tr h="336868">
                <a:tc>
                  <a:txBody>
                    <a:bodyPr/>
                    <a:lstStyle/>
                    <a:p>
                      <a:pPr algn="ctr" rtl="0" fontAlgn="ctr"/>
                      <a:endParaRPr lang="en-IN" sz="14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panose="020B0604020202020204" pitchFamily="34" charset="0"/>
                        </a:rPr>
                        <a:t>FY19 YTD July Americas</a:t>
                      </a:r>
                      <a:endParaRPr lang="en-IN" sz="14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00"/>
                    </a:solidFill>
                  </a:tcPr>
                </a:tc>
                <a:tc hMerge="1">
                  <a:txBody>
                    <a:bodyPr/>
                    <a:lstStyle/>
                    <a:p>
                      <a:pPr algn="ctr" rtl="0" fontAlgn="ctr"/>
                      <a:endParaRPr lang="en-IN" sz="140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hMerge="1">
                  <a:txBody>
                    <a:bodyPr/>
                    <a:lstStyle/>
                    <a:p>
                      <a:pPr algn="ctr" rtl="0" fontAlgn="ctr"/>
                      <a:endParaRPr lang="en-IN" sz="140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0"/>
                  </a:ext>
                </a:extLst>
              </a:tr>
              <a:tr h="682314">
                <a:tc>
                  <a:txBody>
                    <a:bodyPr/>
                    <a:lstStyle/>
                    <a:p>
                      <a:pPr algn="ctr" rtl="0" fontAlgn="ctr"/>
                      <a:r>
                        <a:rPr lang="en-IN" sz="1400" b="1" i="0" u="none" strike="noStrike" dirty="0">
                          <a:solidFill>
                            <a:srgbClr val="000000"/>
                          </a:solidFill>
                          <a:effectLst/>
                          <a:latin typeface="Arial" panose="020B0604020202020204" pitchFamily="34" charset="0"/>
                        </a:rPr>
                        <a:t>Operational Varian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CCCCCC"/>
                    </a:solidFill>
                  </a:tcPr>
                </a:tc>
                <a:tc>
                  <a:txBody>
                    <a:bodyPr/>
                    <a:lstStyle/>
                    <a:p>
                      <a:pPr algn="ctr" rtl="0" fontAlgn="ctr"/>
                      <a:r>
                        <a:rPr lang="en-IN" sz="1400" b="1" i="0" u="none" strike="noStrike" dirty="0">
                          <a:solidFill>
                            <a:srgbClr val="000000"/>
                          </a:solidFill>
                          <a:effectLst/>
                          <a:latin typeface="Arial" panose="020B0604020202020204" pitchFamily="34" charset="0"/>
                        </a:rPr>
                        <a:t>Actual</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400" b="1" i="0" u="none" strike="noStrike">
                          <a:solidFill>
                            <a:srgbClr val="000000"/>
                          </a:solidFill>
                          <a:effectLst/>
                          <a:latin typeface="Arial" panose="020B0604020202020204" pitchFamily="34" charset="0"/>
                        </a:rPr>
                        <a:t>Inc/(Dec) % </a:t>
                      </a:r>
                      <a:br>
                        <a:rPr lang="en-IN" sz="1400" b="1" i="0" u="none" strike="noStrike">
                          <a:solidFill>
                            <a:srgbClr val="000000"/>
                          </a:solidFill>
                          <a:effectLst/>
                          <a:latin typeface="Arial" panose="020B0604020202020204" pitchFamily="34" charset="0"/>
                        </a:rPr>
                      </a:br>
                      <a:r>
                        <a:rPr lang="en-IN" sz="1400" b="1" i="0" u="none" strike="noStrike">
                          <a:solidFill>
                            <a:srgbClr val="000000"/>
                          </a:solidFill>
                          <a:effectLst/>
                          <a:latin typeface="Arial" panose="020B0604020202020204" pitchFamily="34" charset="0"/>
                        </a:rPr>
                        <a:t>vs Plan</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tc>
                  <a:txBody>
                    <a:bodyPr/>
                    <a:lstStyle/>
                    <a:p>
                      <a:pPr algn="ctr" rtl="0" fontAlgn="ctr"/>
                      <a:r>
                        <a:rPr lang="en-IN" sz="1400" b="1" i="0" u="none" strike="noStrike">
                          <a:solidFill>
                            <a:srgbClr val="000000"/>
                          </a:solidFill>
                          <a:effectLst/>
                          <a:latin typeface="Arial" panose="020B0604020202020204" pitchFamily="34" charset="0"/>
                        </a:rPr>
                        <a:t>Inc/(Dec) %</a:t>
                      </a:r>
                      <a:br>
                        <a:rPr lang="en-IN" sz="1400" b="1" i="0" u="none" strike="noStrike">
                          <a:solidFill>
                            <a:srgbClr val="000000"/>
                          </a:solidFill>
                          <a:effectLst/>
                          <a:latin typeface="Arial" panose="020B0604020202020204" pitchFamily="34" charset="0"/>
                        </a:rPr>
                      </a:br>
                      <a:r>
                        <a:rPr lang="en-IN" sz="1400" b="1" i="0" u="none" strike="noStrike">
                          <a:solidFill>
                            <a:srgbClr val="000000"/>
                          </a:solidFill>
                          <a:effectLst/>
                          <a:latin typeface="Arial" panose="020B0604020202020204" pitchFamily="34" charset="0"/>
                        </a:rPr>
                        <a:t>vs PY</a:t>
                      </a:r>
                    </a:p>
                  </a:txBody>
                  <a:tcPr marL="9525" marR="9525" marT="9525" marB="0" anchor="ctr">
                    <a:lnL w="6350" cap="flat" cmpd="sng" algn="ctr">
                      <a:solidFill>
                        <a:srgbClr val="80808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E600"/>
                    </a:solidFill>
                  </a:tcPr>
                </a:tc>
                <a:extLst>
                  <a:ext uri="{0D108BD9-81ED-4DB2-BD59-A6C34878D82A}">
                    <a16:rowId xmlns:a16="http://schemas.microsoft.com/office/drawing/2014/main" val="10001"/>
                  </a:ext>
                </a:extLst>
              </a:tr>
              <a:tr h="386645">
                <a:tc>
                  <a:txBody>
                    <a:bodyPr/>
                    <a:lstStyle/>
                    <a:p>
                      <a:pPr algn="l" rtl="0" fontAlgn="t"/>
                      <a:r>
                        <a:rPr lang="en-IN" sz="1400" b="0" i="0" u="none" strike="noStrike" dirty="0">
                          <a:solidFill>
                            <a:srgbClr val="333333"/>
                          </a:solidFill>
                          <a:effectLst/>
                          <a:latin typeface="Arial" panose="020B0604020202020204" pitchFamily="34" charset="0"/>
                        </a:rPr>
                        <a:t>   PI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rtl="0" fontAlgn="t"/>
                      <a:r>
                        <a:rPr lang="en-IN" sz="1400" b="0" i="0" u="none" strike="noStrike" dirty="0">
                          <a:solidFill>
                            <a:srgbClr val="333333"/>
                          </a:solidFill>
                          <a:effectLst/>
                          <a:latin typeface="Arial" panose="020B0604020202020204" pitchFamily="34" charset="0"/>
                        </a:rPr>
                        <a:t>6,38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400" b="0" i="0" u="none" strike="noStrike">
                          <a:solidFill>
                            <a:srgbClr val="333333"/>
                          </a:solidFill>
                          <a:effectLst/>
                          <a:latin typeface="Arial" panose="020B0604020202020204" pitchFamily="34" charset="0"/>
                        </a:rPr>
                        <a:t>(0.7%)</a:t>
                      </a:r>
                    </a:p>
                  </a:txBody>
                  <a:tcPr marL="9525" marR="9525" marT="9525" marB="0" anchor="ctr">
                    <a:lnL>
                      <a:noFill/>
                    </a:lnL>
                    <a:lnR>
                      <a:noFill/>
                    </a:lnR>
                    <a:lnT w="6350" cap="flat" cmpd="sng" algn="ctr">
                      <a:solidFill>
                        <a:srgbClr val="808080"/>
                      </a:solidFill>
                      <a:prstDash val="solid"/>
                      <a:round/>
                      <a:headEnd type="none" w="med" len="med"/>
                      <a:tailEnd type="none" w="med" len="med"/>
                    </a:lnT>
                    <a:lnB>
                      <a:noFill/>
                    </a:lnB>
                  </a:tcPr>
                </a:tc>
                <a:tc>
                  <a:txBody>
                    <a:bodyPr/>
                    <a:lstStyle/>
                    <a:p>
                      <a:pPr algn="r" rtl="0" fontAlgn="t"/>
                      <a:r>
                        <a:rPr lang="en-IN" sz="1400" b="0" i="0" u="none" strike="noStrike">
                          <a:solidFill>
                            <a:srgbClr val="333333"/>
                          </a:solidFill>
                          <a:effectLst/>
                          <a:latin typeface="Arial" panose="020B0604020202020204" pitchFamily="34" charset="0"/>
                        </a:rPr>
                        <a:t>(28.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808080"/>
                      </a:solidFill>
                      <a:prstDash val="solid"/>
                      <a:round/>
                      <a:headEnd type="none" w="med" len="med"/>
                      <a:tailEnd type="none" w="med" len="med"/>
                    </a:lnT>
                    <a:lnB>
                      <a:noFill/>
                    </a:lnB>
                  </a:tcPr>
                </a:tc>
                <a:extLst>
                  <a:ext uri="{0D108BD9-81ED-4DB2-BD59-A6C34878D82A}">
                    <a16:rowId xmlns:a16="http://schemas.microsoft.com/office/drawing/2014/main" val="10002"/>
                  </a:ext>
                </a:extLst>
              </a:tr>
              <a:tr h="386645">
                <a:tc>
                  <a:txBody>
                    <a:bodyPr/>
                    <a:lstStyle/>
                    <a:p>
                      <a:pPr algn="l" rtl="0" fontAlgn="t"/>
                      <a:r>
                        <a:rPr lang="en-IN" sz="1400" b="0" i="0" u="none" strike="noStrike" dirty="0">
                          <a:solidFill>
                            <a:srgbClr val="333333"/>
                          </a:solidFill>
                          <a:effectLst/>
                          <a:latin typeface="Arial" panose="020B0604020202020204" pitchFamily="34" charset="0"/>
                        </a:rPr>
                        <a:t>   Recharges - PI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400" b="0" i="0" u="none" strike="noStrike" dirty="0">
                          <a:solidFill>
                            <a:srgbClr val="333333"/>
                          </a:solidFill>
                          <a:effectLst/>
                          <a:latin typeface="Arial" panose="020B0604020202020204" pitchFamily="34" charset="0"/>
                        </a:rPr>
                        <a:t>(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400" b="0" i="0" u="none" strike="noStrike">
                          <a:solidFill>
                            <a:srgbClr val="333333"/>
                          </a:solidFill>
                          <a:effectLst/>
                          <a:latin typeface="Arial" panose="020B0604020202020204" pitchFamily="34" charset="0"/>
                        </a:rPr>
                        <a:t>0.0%</a:t>
                      </a:r>
                    </a:p>
                  </a:txBody>
                  <a:tcPr marL="9525" marR="9525" marT="9525" marB="0" anchor="ctr">
                    <a:lnL>
                      <a:noFill/>
                    </a:lnL>
                    <a:lnR>
                      <a:noFill/>
                    </a:lnR>
                    <a:lnT>
                      <a:noFill/>
                    </a:lnT>
                    <a:lnB>
                      <a:noFill/>
                    </a:lnB>
                  </a:tcPr>
                </a:tc>
                <a:tc>
                  <a:txBody>
                    <a:bodyPr/>
                    <a:lstStyle/>
                    <a:p>
                      <a:pPr algn="r" rtl="0" fontAlgn="t"/>
                      <a:r>
                        <a:rPr lang="en-IN" sz="1400" b="0" i="0" u="none" strike="noStrike">
                          <a:solidFill>
                            <a:srgbClr val="333333"/>
                          </a:solidFill>
                          <a:effectLst/>
                          <a:latin typeface="Arial" panose="020B0604020202020204" pitchFamily="34" charset="0"/>
                        </a:rPr>
                        <a:t>0.0%</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386645">
                <a:tc>
                  <a:txBody>
                    <a:bodyPr/>
                    <a:lstStyle/>
                    <a:p>
                      <a:pPr algn="l" rtl="0" fontAlgn="t"/>
                      <a:r>
                        <a:rPr lang="en-IN" sz="1400" b="1" i="0" u="none" strike="noStrike" dirty="0">
                          <a:solidFill>
                            <a:schemeClr val="tx2"/>
                          </a:solidFill>
                          <a:effectLst/>
                          <a:latin typeface="Arial" panose="020B0604020202020204" pitchFamily="34" charset="0"/>
                        </a:rPr>
                        <a:t>  Professional Indemni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6,383</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0.7%)</a:t>
                      </a:r>
                    </a:p>
                  </a:txBody>
                  <a:tcPr marL="9525" marR="9525" marT="9525" marB="0" anchor="ctr">
                    <a:lnL>
                      <a:noFill/>
                    </a:lnL>
                    <a:lnR>
                      <a:noFill/>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28.5%)</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4"/>
                  </a:ext>
                </a:extLst>
              </a:tr>
              <a:tr h="386645">
                <a:tc>
                  <a:txBody>
                    <a:bodyPr/>
                    <a:lstStyle/>
                    <a:p>
                      <a:pPr algn="l" rtl="0" fontAlgn="t"/>
                      <a:r>
                        <a:rPr lang="en-IN" sz="1400" b="0" i="0" u="none" strike="noStrike" dirty="0">
                          <a:solidFill>
                            <a:srgbClr val="333333"/>
                          </a:solidFill>
                          <a:effectLst/>
                          <a:latin typeface="Arial" panose="020B0604020202020204" pitchFamily="34" charset="0"/>
                        </a:rPr>
                        <a:t>   Area Assess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400" b="0" i="0" u="none" strike="noStrike">
                          <a:solidFill>
                            <a:srgbClr val="333333"/>
                          </a:solidFill>
                          <a:effectLst/>
                          <a:latin typeface="Arial" panose="020B0604020202020204" pitchFamily="34" charset="0"/>
                        </a:rPr>
                        <a:t>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400" b="0" i="0" u="none" strike="noStrike" dirty="0">
                          <a:solidFill>
                            <a:srgbClr val="333333"/>
                          </a:solidFill>
                          <a:effectLst/>
                          <a:latin typeface="Arial" panose="020B0604020202020204" pitchFamily="34" charset="0"/>
                        </a:rPr>
                        <a:t>(100.0%)</a:t>
                      </a:r>
                    </a:p>
                  </a:txBody>
                  <a:tcPr marL="9525" marR="9525" marT="9525" marB="0" anchor="ctr">
                    <a:lnL>
                      <a:noFill/>
                    </a:lnL>
                    <a:lnR>
                      <a:noFill/>
                    </a:lnR>
                    <a:lnT>
                      <a:noFill/>
                    </a:lnT>
                    <a:lnB>
                      <a:noFill/>
                    </a:lnB>
                  </a:tcPr>
                </a:tc>
                <a:tc>
                  <a:txBody>
                    <a:bodyPr/>
                    <a:lstStyle/>
                    <a:p>
                      <a:pPr algn="r" rtl="0" fontAlgn="t"/>
                      <a:r>
                        <a:rPr lang="en-IN" sz="1400" b="0" i="0" u="none" strike="noStrike" dirty="0">
                          <a:solidFill>
                            <a:srgbClr val="333333"/>
                          </a:solidFill>
                          <a:effectLst/>
                          <a:latin typeface="Arial" panose="020B0604020202020204" pitchFamily="34" charset="0"/>
                        </a:rPr>
                        <a:t>0.0%</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386645">
                <a:tc>
                  <a:txBody>
                    <a:bodyPr/>
                    <a:lstStyle/>
                    <a:p>
                      <a:pPr algn="l" rtl="0" fontAlgn="t"/>
                      <a:r>
                        <a:rPr lang="en-IN" sz="1400" b="0" i="0" u="none" strike="noStrike">
                          <a:solidFill>
                            <a:srgbClr val="333333"/>
                          </a:solidFill>
                          <a:effectLst/>
                          <a:latin typeface="Arial" panose="020B0604020202020204" pitchFamily="34" charset="0"/>
                        </a:rPr>
                        <a:t>   Executive Assess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400" b="0" i="0" u="none" strike="noStrike" dirty="0">
                          <a:solidFill>
                            <a:srgbClr val="333333"/>
                          </a:solidFill>
                          <a:effectLst/>
                          <a:latin typeface="Arial" panose="020B0604020202020204" pitchFamily="34" charset="0"/>
                        </a:rPr>
                        <a:t>59,186</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400" b="0" i="0" u="none" strike="noStrike" dirty="0">
                          <a:solidFill>
                            <a:srgbClr val="333333"/>
                          </a:solidFill>
                          <a:effectLst/>
                          <a:latin typeface="Arial" panose="020B0604020202020204" pitchFamily="34" charset="0"/>
                        </a:rPr>
                        <a:t>1.1%</a:t>
                      </a:r>
                    </a:p>
                  </a:txBody>
                  <a:tcPr marL="9525" marR="9525" marT="9525" marB="0" anchor="ctr">
                    <a:lnL>
                      <a:noFill/>
                    </a:lnL>
                    <a:lnR>
                      <a:noFill/>
                    </a:lnR>
                    <a:lnT>
                      <a:noFill/>
                    </a:lnT>
                    <a:lnB>
                      <a:noFill/>
                    </a:lnB>
                  </a:tcPr>
                </a:tc>
                <a:tc>
                  <a:txBody>
                    <a:bodyPr/>
                    <a:lstStyle/>
                    <a:p>
                      <a:pPr algn="r" rtl="0" fontAlgn="t"/>
                      <a:r>
                        <a:rPr lang="en-IN" sz="1400" b="0" i="0" u="none" strike="noStrike">
                          <a:solidFill>
                            <a:srgbClr val="333333"/>
                          </a:solidFill>
                          <a:effectLst/>
                          <a:latin typeface="Arial" panose="020B0604020202020204" pitchFamily="34" charset="0"/>
                        </a:rPr>
                        <a:t>3.3%</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317789">
                <a:tc>
                  <a:txBody>
                    <a:bodyPr/>
                    <a:lstStyle/>
                    <a:p>
                      <a:pPr algn="l" rtl="0" fontAlgn="t"/>
                      <a:r>
                        <a:rPr lang="en-IN" sz="1400" b="1" i="0" u="none" strike="noStrike" dirty="0">
                          <a:solidFill>
                            <a:schemeClr val="tx2"/>
                          </a:solidFill>
                          <a:effectLst/>
                          <a:latin typeface="Arial" panose="020B0604020202020204" pitchFamily="34" charset="0"/>
                        </a:rPr>
                        <a:t>  Executive Assessment (Executive &amp; Are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59,186</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1.1%</a:t>
                      </a:r>
                    </a:p>
                  </a:txBody>
                  <a:tcPr marL="9525" marR="9525" marT="9525" marB="0" anchor="ctr">
                    <a:lnL>
                      <a:noFill/>
                    </a:lnL>
                    <a:lnR>
                      <a:noFill/>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3.3%</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7"/>
                  </a:ext>
                </a:extLst>
              </a:tr>
              <a:tr h="386645">
                <a:tc>
                  <a:txBody>
                    <a:bodyPr/>
                    <a:lstStyle/>
                    <a:p>
                      <a:pPr algn="l" rtl="0" fontAlgn="t"/>
                      <a:r>
                        <a:rPr lang="en-IN" sz="1400" b="0" i="0" u="none" strike="noStrike">
                          <a:solidFill>
                            <a:srgbClr val="333333"/>
                          </a:solidFill>
                          <a:effectLst/>
                          <a:latin typeface="Arial" panose="020B0604020202020204" pitchFamily="34" charset="0"/>
                        </a:rPr>
                        <a:t>   Technolog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400" b="0" i="0" u="none" strike="noStrike">
                          <a:solidFill>
                            <a:srgbClr val="333333"/>
                          </a:solidFill>
                          <a:effectLst/>
                          <a:latin typeface="Arial" panose="020B0604020202020204" pitchFamily="34" charset="0"/>
                        </a:rPr>
                        <a:t>63,278</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400" b="0" i="0" u="none" strike="noStrike" dirty="0">
                          <a:solidFill>
                            <a:srgbClr val="333333"/>
                          </a:solidFill>
                          <a:effectLst/>
                          <a:latin typeface="Arial" panose="020B0604020202020204" pitchFamily="34" charset="0"/>
                        </a:rPr>
                        <a:t>(2.6%)</a:t>
                      </a:r>
                    </a:p>
                  </a:txBody>
                  <a:tcPr marL="9525" marR="9525" marT="9525" marB="0" anchor="ctr">
                    <a:lnL>
                      <a:noFill/>
                    </a:lnL>
                    <a:lnR>
                      <a:noFill/>
                    </a:lnR>
                    <a:lnT>
                      <a:noFill/>
                    </a:lnT>
                    <a:lnB>
                      <a:noFill/>
                    </a:lnB>
                  </a:tcPr>
                </a:tc>
                <a:tc>
                  <a:txBody>
                    <a:bodyPr/>
                    <a:lstStyle/>
                    <a:p>
                      <a:pPr algn="r" rtl="0" fontAlgn="t"/>
                      <a:r>
                        <a:rPr lang="en-IN" sz="1400" b="0" i="0" u="none" strike="noStrike" dirty="0">
                          <a:solidFill>
                            <a:srgbClr val="333333"/>
                          </a:solidFill>
                          <a:effectLst/>
                          <a:latin typeface="Arial" panose="020B0604020202020204" pitchFamily="34" charset="0"/>
                        </a:rPr>
                        <a:t>11.9%</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386645">
                <a:tc>
                  <a:txBody>
                    <a:bodyPr/>
                    <a:lstStyle/>
                    <a:p>
                      <a:pPr algn="l" rtl="0" fontAlgn="t"/>
                      <a:r>
                        <a:rPr lang="en-IN" sz="1400" b="0" i="0" u="none" strike="noStrike">
                          <a:solidFill>
                            <a:srgbClr val="333333"/>
                          </a:solidFill>
                          <a:effectLst/>
                          <a:latin typeface="Arial" panose="020B0604020202020204" pitchFamily="34" charset="0"/>
                        </a:rPr>
                        <a:t>   EYG Servi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r" rtl="0" fontAlgn="t"/>
                      <a:r>
                        <a:rPr lang="en-IN" sz="1400" b="0" i="0" u="none" strike="noStrike">
                          <a:solidFill>
                            <a:srgbClr val="333333"/>
                          </a:solidFill>
                          <a:effectLst/>
                          <a:latin typeface="Arial" panose="020B0604020202020204" pitchFamily="34" charset="0"/>
                        </a:rPr>
                        <a:t>34,869</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r" rtl="0" fontAlgn="t"/>
                      <a:r>
                        <a:rPr lang="en-IN" sz="1400" b="0" i="0" u="none" strike="noStrike">
                          <a:solidFill>
                            <a:srgbClr val="333333"/>
                          </a:solidFill>
                          <a:effectLst/>
                          <a:latin typeface="Arial" panose="020B0604020202020204" pitchFamily="34" charset="0"/>
                        </a:rPr>
                        <a:t>1.8%</a:t>
                      </a:r>
                    </a:p>
                  </a:txBody>
                  <a:tcPr marL="9525" marR="9525" marT="9525" marB="0" anchor="ctr">
                    <a:lnL>
                      <a:noFill/>
                    </a:lnL>
                    <a:lnR>
                      <a:noFill/>
                    </a:lnR>
                    <a:lnT>
                      <a:noFill/>
                    </a:lnT>
                    <a:lnB>
                      <a:noFill/>
                    </a:lnB>
                  </a:tcPr>
                </a:tc>
                <a:tc>
                  <a:txBody>
                    <a:bodyPr/>
                    <a:lstStyle/>
                    <a:p>
                      <a:pPr algn="r" rtl="0" fontAlgn="t"/>
                      <a:r>
                        <a:rPr lang="en-IN" sz="1400" b="0" i="0" u="none" strike="noStrike" dirty="0">
                          <a:solidFill>
                            <a:srgbClr val="333333"/>
                          </a:solidFill>
                          <a:effectLst/>
                          <a:latin typeface="Arial" panose="020B0604020202020204" pitchFamily="34" charset="0"/>
                        </a:rPr>
                        <a:t>0.8%</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386645">
                <a:tc>
                  <a:txBody>
                    <a:bodyPr/>
                    <a:lstStyle/>
                    <a:p>
                      <a:pPr algn="l" rtl="0" fontAlgn="t"/>
                      <a:r>
                        <a:rPr lang="en-IN" sz="1400" b="1" i="0" u="none" strike="noStrike" dirty="0">
                          <a:solidFill>
                            <a:schemeClr val="tx2"/>
                          </a:solidFill>
                          <a:effectLst/>
                          <a:latin typeface="Arial" panose="020B0604020202020204" pitchFamily="34" charset="0"/>
                        </a:rPr>
                        <a:t>  EYGS Co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98,148</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1.1%)</a:t>
                      </a:r>
                    </a:p>
                  </a:txBody>
                  <a:tcPr marL="9525" marR="9525" marT="9525" marB="0" anchor="ctr">
                    <a:lnL>
                      <a:noFill/>
                    </a:lnL>
                    <a:lnR>
                      <a:noFill/>
                    </a:lnR>
                    <a:lnT>
                      <a:noFill/>
                    </a:lnT>
                    <a:lnB>
                      <a:noFill/>
                    </a:lnB>
                    <a:solidFill>
                      <a:schemeClr val="bg1"/>
                    </a:solidFill>
                  </a:tcPr>
                </a:tc>
                <a:tc>
                  <a:txBody>
                    <a:bodyPr/>
                    <a:lstStyle/>
                    <a:p>
                      <a:pPr algn="r" rtl="0" fontAlgn="t"/>
                      <a:r>
                        <a:rPr lang="en-IN" sz="1400" b="0" i="0" u="none" strike="noStrike" dirty="0">
                          <a:solidFill>
                            <a:schemeClr val="tx2"/>
                          </a:solidFill>
                          <a:effectLst/>
                          <a:latin typeface="Arial" panose="020B0604020202020204" pitchFamily="34" charset="0"/>
                        </a:rPr>
                        <a:t>7.6%</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10"/>
                  </a:ext>
                </a:extLst>
              </a:tr>
              <a:tr h="385075">
                <a:tc>
                  <a:txBody>
                    <a:bodyPr/>
                    <a:lstStyle/>
                    <a:p>
                      <a:pPr algn="l" rtl="0" fontAlgn="t"/>
                      <a:r>
                        <a:rPr lang="en-IN" sz="1400" b="1" i="0" u="none" strike="noStrike" dirty="0">
                          <a:solidFill>
                            <a:srgbClr val="333333"/>
                          </a:solidFill>
                          <a:effectLst/>
                          <a:latin typeface="Arial" panose="020B0604020202020204" pitchFamily="34" charset="0"/>
                        </a:rPr>
                        <a:t>  Centrally Controlled Indirect Expen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400" b="0" i="0" u="none" strike="noStrike" dirty="0">
                          <a:solidFill>
                            <a:srgbClr val="333333"/>
                          </a:solidFill>
                          <a:effectLst/>
                          <a:latin typeface="Arial" panose="020B0604020202020204" pitchFamily="34" charset="0"/>
                        </a:rPr>
                        <a:t>163,717</a:t>
                      </a:r>
                    </a:p>
                  </a:txBody>
                  <a:tcPr marL="9525" marR="9525" marT="9525"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400" b="0" i="0" u="none" strike="noStrike" dirty="0">
                          <a:solidFill>
                            <a:srgbClr val="333333"/>
                          </a:solidFill>
                          <a:effectLst/>
                          <a:latin typeface="Arial" panose="020B0604020202020204" pitchFamily="34" charset="0"/>
                        </a:rPr>
                        <a:t>(0.3%)</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accent2"/>
                    </a:solidFill>
                  </a:tcPr>
                </a:tc>
                <a:tc>
                  <a:txBody>
                    <a:bodyPr/>
                    <a:lstStyle/>
                    <a:p>
                      <a:pPr algn="r" rtl="0" fontAlgn="t"/>
                      <a:r>
                        <a:rPr lang="en-IN" sz="1400" b="0" i="0" u="none" strike="noStrike" dirty="0">
                          <a:solidFill>
                            <a:srgbClr val="333333"/>
                          </a:solidFill>
                          <a:effectLst/>
                          <a:latin typeface="Arial" panose="020B0604020202020204" pitchFamily="34" charset="0"/>
                        </a:rPr>
                        <a:t>4.0%</a:t>
                      </a:r>
                    </a:p>
                  </a:txBody>
                  <a:tcPr marL="9525" marR="9525" marT="9525"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02043592"/>
      </p:ext>
    </p:extLst>
  </p:cSld>
  <p:clrMapOvr>
    <a:masterClrMapping/>
  </p:clrMapOvr>
  <mc:AlternateContent xmlns:mc="http://schemas.openxmlformats.org/markup-compatibility/2006" xmlns:p14="http://schemas.microsoft.com/office/powerpoint/2010/main">
    <mc:Choice Requires="p14">
      <p:transition spd="slow" p14:dur="1500" advTm="45359">
        <p:split orient="vert"/>
      </p:transition>
    </mc:Choice>
    <mc:Fallback xmlns="">
      <p:transition spd="slow" advTm="45359">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584201" y="213030"/>
            <a:ext cx="8232775" cy="860400"/>
          </a:xfrm>
        </p:spPr>
        <p:txBody>
          <a:bodyPr anchor="ctr"/>
          <a:lstStyle/>
          <a:p>
            <a:r>
              <a:rPr lang="en-US" altLang="zh-CN" sz="2400" dirty="0">
                <a:solidFill>
                  <a:schemeClr val="bg1">
                    <a:lumMod val="75000"/>
                  </a:schemeClr>
                </a:solidFill>
                <a:latin typeface="EYInterstate" panose="02000503020000020004" pitchFamily="2" charset="0"/>
                <a:ea typeface="宋体" pitchFamily="2" charset="-122"/>
              </a:rPr>
              <a:t>Other key metrics</a:t>
            </a:r>
          </a:p>
        </p:txBody>
      </p:sp>
      <p:graphicFrame>
        <p:nvGraphicFramePr>
          <p:cNvPr id="6" name="Group 52"/>
          <p:cNvGraphicFramePr>
            <a:graphicFrameLocks/>
          </p:cNvGraphicFramePr>
          <p:nvPr>
            <p:extLst>
              <p:ext uri="{D42A27DB-BD31-4B8C-83A1-F6EECF244321}">
                <p14:modId xmlns:p14="http://schemas.microsoft.com/office/powerpoint/2010/main" val="2686214655"/>
              </p:ext>
            </p:extLst>
          </p:nvPr>
        </p:nvGraphicFramePr>
        <p:xfrm>
          <a:off x="611188" y="1151266"/>
          <a:ext cx="10914062" cy="4985556"/>
        </p:xfrm>
        <a:graphic>
          <a:graphicData uri="http://schemas.openxmlformats.org/drawingml/2006/table">
            <a:tbl>
              <a:tblPr/>
              <a:tblGrid>
                <a:gridCol w="4043570">
                  <a:extLst>
                    <a:ext uri="{9D8B030D-6E8A-4147-A177-3AD203B41FA5}">
                      <a16:colId xmlns:a16="http://schemas.microsoft.com/office/drawing/2014/main" val="20000"/>
                    </a:ext>
                  </a:extLst>
                </a:gridCol>
                <a:gridCol w="6870492">
                  <a:extLst>
                    <a:ext uri="{9D8B030D-6E8A-4147-A177-3AD203B41FA5}">
                      <a16:colId xmlns:a16="http://schemas.microsoft.com/office/drawing/2014/main" val="20001"/>
                    </a:ext>
                  </a:extLst>
                </a:gridCol>
              </a:tblGrid>
              <a:tr h="575042">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Charged Hours</a:t>
                      </a:r>
                    </a:p>
                  </a:txBody>
                  <a:tcPr marL="4572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bg2"/>
                          </a:solidFill>
                          <a:effectLst/>
                          <a:latin typeface="Arial" charset="0"/>
                          <a:ea typeface="宋体" pitchFamily="2" charset="-122"/>
                        </a:rPr>
                        <a:t>Hours charged to client engagement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85163">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Available Hours </a:t>
                      </a:r>
                    </a:p>
                  </a:txBody>
                  <a:tcPr marL="4572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bg2"/>
                          </a:solidFill>
                          <a:effectLst/>
                          <a:latin typeface="Arial" charset="0"/>
                          <a:ea typeface="宋体" pitchFamily="2" charset="-122"/>
                        </a:rPr>
                        <a:t>General standard is 8 hours per day, 5 days a week and 52 weeks in a year (5x8x52 = 2080 hour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2706">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Utilization %</a:t>
                      </a:r>
                    </a:p>
                  </a:txBody>
                  <a:tcPr marL="4572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bg2"/>
                          </a:solidFill>
                          <a:effectLst/>
                          <a:latin typeface="Arial" charset="0"/>
                          <a:ea typeface="宋体" pitchFamily="2" charset="-122"/>
                        </a:rPr>
                        <a:t>Charged Hours / Available Hour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9756">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Effective Available Hours</a:t>
                      </a:r>
                    </a:p>
                  </a:txBody>
                  <a:tcPr marL="4572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bg2"/>
                          </a:solidFill>
                          <a:effectLst/>
                          <a:latin typeface="Arial" charset="0"/>
                          <a:ea typeface="宋体" pitchFamily="2" charset="-122"/>
                        </a:rPr>
                        <a:t>Available Hours less vacation, holiday hour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98988">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Effective Utilization %</a:t>
                      </a:r>
                    </a:p>
                  </a:txBody>
                  <a:tcPr marL="4572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bg2"/>
                          </a:solidFill>
                          <a:effectLst/>
                          <a:latin typeface="Arial" charset="0"/>
                          <a:ea typeface="宋体" pitchFamily="2" charset="-122"/>
                        </a:rPr>
                        <a:t>Charged Hours / Effective Available Hour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25285">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FTE</a:t>
                      </a:r>
                    </a:p>
                  </a:txBody>
                  <a:tcPr marL="4572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bg2"/>
                          </a:solidFill>
                          <a:effectLst/>
                          <a:latin typeface="Arial" charset="0"/>
                          <a:ea typeface="宋体" pitchFamily="2" charset="-122"/>
                        </a:rPr>
                        <a:t>Full time Equivalent</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85163">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Client Advanced Expenses</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Out of pocket expenses and disbursements charged to a client engagement.</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273453">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ERP</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The estimated percentage of total standard revenue that is expected to be received as cash collections for work performed excluding collection of CAE’s and other expenses. ERP supports accrual accounting by recording revenue at the net realizable value as the revenue is earned.</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558382081"/>
      </p:ext>
    </p:extLst>
  </p:cSld>
  <p:clrMapOvr>
    <a:masterClrMapping/>
  </p:clrMapOvr>
  <mc:AlternateContent xmlns:mc="http://schemas.openxmlformats.org/markup-compatibility/2006" xmlns:p14="http://schemas.microsoft.com/office/powerpoint/2010/main">
    <mc:Choice Requires="p14">
      <p:transition spd="slow" p14:dur="1500" advTm="7984">
        <p:split orient="vert"/>
      </p:transition>
    </mc:Choice>
    <mc:Fallback xmlns="">
      <p:transition spd="slow" advTm="7984">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nchor="ctr"/>
          <a:lstStyle/>
          <a:p>
            <a:r>
              <a:rPr lang="en-US" altLang="zh-CN" sz="2400" dirty="0">
                <a:solidFill>
                  <a:schemeClr val="bg1">
                    <a:lumMod val="75000"/>
                  </a:schemeClr>
                </a:solidFill>
                <a:latin typeface="EYInterstate" panose="02000503020000020004" pitchFamily="2" charset="0"/>
                <a:ea typeface="宋体" pitchFamily="2" charset="-122"/>
              </a:rPr>
              <a:t>Other key metrics (continued…)</a:t>
            </a:r>
          </a:p>
        </p:txBody>
      </p:sp>
      <p:graphicFrame>
        <p:nvGraphicFramePr>
          <p:cNvPr id="6" name="Group 32"/>
          <p:cNvGraphicFramePr>
            <a:graphicFrameLocks/>
          </p:cNvGraphicFramePr>
          <p:nvPr>
            <p:extLst>
              <p:ext uri="{D42A27DB-BD31-4B8C-83A1-F6EECF244321}">
                <p14:modId xmlns:p14="http://schemas.microsoft.com/office/powerpoint/2010/main" val="3830720150"/>
              </p:ext>
            </p:extLst>
          </p:nvPr>
        </p:nvGraphicFramePr>
        <p:xfrm>
          <a:off x="592139" y="1185865"/>
          <a:ext cx="10996294" cy="4899249"/>
        </p:xfrm>
        <a:graphic>
          <a:graphicData uri="http://schemas.openxmlformats.org/drawingml/2006/table">
            <a:tbl>
              <a:tblPr/>
              <a:tblGrid>
                <a:gridCol w="4074036">
                  <a:extLst>
                    <a:ext uri="{9D8B030D-6E8A-4147-A177-3AD203B41FA5}">
                      <a16:colId xmlns:a16="http://schemas.microsoft.com/office/drawing/2014/main" val="20000"/>
                    </a:ext>
                  </a:extLst>
                </a:gridCol>
                <a:gridCol w="6922258">
                  <a:extLst>
                    <a:ext uri="{9D8B030D-6E8A-4147-A177-3AD203B41FA5}">
                      <a16:colId xmlns:a16="http://schemas.microsoft.com/office/drawing/2014/main" val="20001"/>
                    </a:ext>
                  </a:extLst>
                </a:gridCol>
              </a:tblGrid>
              <a:tr h="921184">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Revenue Days</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Billed Receivable and unbilled inventory (net of valuation reserves) expressed in number of days of TER. A calculation used to measure the age of EYs inventory.</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18920">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Advance Bill</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A bill generated prior to hours being posted to an engagement.</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16777">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Unbilled Inventory</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Hours fees and expenses that have been charged to an engagement using standard billing rate, but that have not been billed or collected. Net Unbilled inventory is Unbilled Inventory less fee adjustments and ERP reserve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21184">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Billed Inventory</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Amounts billed to clients but yet to be collected</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21184">
                <a:tc>
                  <a:txBody>
                    <a:bodyPr/>
                    <a:lstStyle/>
                    <a:p>
                      <a:pPr marL="0" marR="0" lvl="0" indent="0" algn="ct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chemeClr val="tx2"/>
                          </a:solidFill>
                          <a:effectLst/>
                          <a:latin typeface="Arial" charset="0"/>
                          <a:ea typeface="宋体" pitchFamily="2" charset="-122"/>
                        </a:rPr>
                        <a:t>Inventory (net)</a:t>
                      </a:r>
                    </a:p>
                  </a:txBody>
                  <a:tcPr marL="45720" marR="4572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en-US" altLang="zh-CN" sz="1400" b="0" i="0" u="none" strike="noStrike" cap="none" normalizeH="0" baseline="0" dirty="0">
                          <a:ln>
                            <a:noFill/>
                          </a:ln>
                          <a:solidFill>
                            <a:srgbClr val="646464"/>
                          </a:solidFill>
                          <a:effectLst/>
                          <a:latin typeface="Arial" charset="0"/>
                          <a:ea typeface="宋体" pitchFamily="2" charset="-122"/>
                        </a:rPr>
                        <a:t>Unbilled and billed hours, fees and expenses charged to engagements and not yet collected, adjusted by ERP reserves, A/R reserves, fee adjustments and A/R write offs.</a:t>
                      </a:r>
                    </a:p>
                  </a:txBody>
                  <a:tcPr marL="27432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99192846"/>
      </p:ext>
    </p:extLst>
  </p:cSld>
  <p:clrMapOvr>
    <a:masterClrMapping/>
  </p:clrMapOvr>
  <mc:AlternateContent xmlns:mc="http://schemas.openxmlformats.org/markup-compatibility/2006" xmlns:p14="http://schemas.microsoft.com/office/powerpoint/2010/main">
    <mc:Choice Requires="p14">
      <p:transition spd="slow" p14:dur="1500" advTm="8569">
        <p:split orient="vert"/>
      </p:transition>
    </mc:Choice>
    <mc:Fallback xmlns="">
      <p:transition spd="slow" advTm="8569">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nchor="ctr"/>
          <a:lstStyle/>
          <a:p>
            <a:r>
              <a:rPr lang="en-US" altLang="zh-CN" sz="2400" dirty="0">
                <a:solidFill>
                  <a:schemeClr val="bg1">
                    <a:lumMod val="75000"/>
                  </a:schemeClr>
                </a:solidFill>
                <a:latin typeface="EYInterstate" panose="02000503020000020004" pitchFamily="2" charset="0"/>
                <a:ea typeface="宋体" pitchFamily="2" charset="-122"/>
              </a:rPr>
              <a:t>Full Time Equivalent</a:t>
            </a:r>
          </a:p>
        </p:txBody>
      </p:sp>
      <p:sp>
        <p:nvSpPr>
          <p:cNvPr id="36867" name="Rectangle 3"/>
          <p:cNvSpPr>
            <a:spLocks noGrp="1" noChangeArrowheads="1"/>
          </p:cNvSpPr>
          <p:nvPr>
            <p:ph idx="1"/>
          </p:nvPr>
        </p:nvSpPr>
        <p:spPr>
          <a:xfrm>
            <a:off x="609918" y="1143000"/>
            <a:ext cx="10978514" cy="4572000"/>
          </a:xfrm>
        </p:spPr>
        <p:txBody>
          <a:bodyPr/>
          <a:lstStyle/>
          <a:p>
            <a:pPr marL="0" indent="0">
              <a:buNone/>
            </a:pPr>
            <a:r>
              <a:rPr lang="en-IN" sz="2000" b="1" dirty="0">
                <a:latin typeface=" Arial"/>
              </a:rPr>
              <a:t>FTE</a:t>
            </a:r>
            <a:r>
              <a:rPr lang="en-IN" sz="2000" dirty="0">
                <a:latin typeface=" Arial"/>
              </a:rPr>
              <a:t> is the count of people which is based on standard week hours the individual is employed contracted to work for EY.</a:t>
            </a:r>
            <a:br>
              <a:rPr lang="en-IN" sz="2000" dirty="0"/>
            </a:br>
            <a:br>
              <a:rPr lang="en-IN" sz="1600" dirty="0"/>
            </a:br>
            <a:r>
              <a:rPr lang="en-IN" sz="1600" dirty="0"/>
              <a:t>* </a:t>
            </a:r>
            <a:r>
              <a:rPr lang="en-IN" sz="1600" dirty="0">
                <a:latin typeface="Arial" panose="020B0604020202020204" pitchFamily="34" charset="0"/>
              </a:rPr>
              <a:t>Local standard week hours may differ by </a:t>
            </a:r>
            <a:r>
              <a:rPr lang="en-IN" sz="1600" dirty="0">
                <a:latin typeface=" Arial"/>
              </a:rPr>
              <a:t>country, rank, location, Service Line and time of the year.</a:t>
            </a:r>
          </a:p>
          <a:p>
            <a:pPr marL="0" indent="0">
              <a:buNone/>
            </a:pPr>
            <a:endParaRPr lang="en-US" sz="1600" dirty="0">
              <a:latin typeface=" Arial"/>
            </a:endParaRPr>
          </a:p>
          <a:p>
            <a:pPr marL="0" indent="0">
              <a:buNone/>
            </a:pPr>
            <a:endParaRPr lang="en-US" sz="1600" dirty="0">
              <a:latin typeface=" Arial"/>
            </a:endParaRPr>
          </a:p>
          <a:p>
            <a:pPr marL="0" indent="0">
              <a:buNone/>
            </a:pPr>
            <a:endParaRPr lang="en-US" sz="1600" dirty="0">
              <a:latin typeface=" Arial"/>
            </a:endParaRPr>
          </a:p>
          <a:p>
            <a:pPr marL="0" indent="0">
              <a:buNone/>
            </a:pPr>
            <a:endParaRPr lang="en-US" sz="1600" dirty="0">
              <a:latin typeface=" Arial"/>
            </a:endParaRPr>
          </a:p>
          <a:p>
            <a:pPr marL="0" indent="0">
              <a:buNone/>
            </a:pPr>
            <a:endParaRPr lang="en-US" sz="1600" dirty="0">
              <a:latin typeface=" Arial"/>
            </a:endParaRPr>
          </a:p>
          <a:p>
            <a:pPr marL="0" indent="0">
              <a:buNone/>
            </a:pPr>
            <a:endParaRPr lang="en-US" sz="1600" dirty="0">
              <a:latin typeface=" Arial"/>
            </a:endParaRPr>
          </a:p>
          <a:p>
            <a:pPr marL="0" indent="0">
              <a:buNone/>
            </a:pPr>
            <a:endParaRPr lang="en-US" sz="1600" dirty="0">
              <a:latin typeface=" Arial"/>
            </a:endParaRPr>
          </a:p>
          <a:p>
            <a:pPr marL="0" indent="0">
              <a:buNone/>
            </a:pPr>
            <a:endParaRPr lang="en-US" sz="1600" dirty="0">
              <a:latin typeface=" Arial"/>
            </a:endParaRPr>
          </a:p>
          <a:p>
            <a:pPr marL="0" indent="0">
              <a:buNone/>
            </a:pPr>
            <a:r>
              <a:rPr lang="en-US" sz="1400" dirty="0">
                <a:latin typeface=" Arial"/>
              </a:rPr>
              <a:t>Weekly FTE: Individual Standard hours / Comparative Standard hours for same role, entity and week</a:t>
            </a:r>
          </a:p>
          <a:p>
            <a:pPr marL="0" indent="0">
              <a:buNone/>
            </a:pPr>
            <a:r>
              <a:rPr lang="en-US" sz="1400" dirty="0">
                <a:latin typeface=" Arial"/>
              </a:rPr>
              <a:t>MTD FTE: </a:t>
            </a:r>
            <a:r>
              <a:rPr lang="en-IN" sz="1400" dirty="0">
                <a:latin typeface=" Arial"/>
              </a:rPr>
              <a:t>Sum of weekly FTEs in MTD / # of weeks in Month</a:t>
            </a:r>
          </a:p>
          <a:p>
            <a:pPr marL="0" indent="0">
              <a:buNone/>
            </a:pPr>
            <a:r>
              <a:rPr lang="en-IN" sz="1400" dirty="0">
                <a:latin typeface=" Arial"/>
              </a:rPr>
              <a:t>YTD FTEs = Sum of weekly FTEs in YTD / # of weeks in YTD</a:t>
            </a:r>
            <a:endParaRPr lang="en-US" sz="1400" dirty="0">
              <a:latin typeface=" Arial"/>
            </a:endParaRPr>
          </a:p>
          <a:p>
            <a:pPr marL="0" indent="0">
              <a:buNone/>
            </a:pPr>
            <a:endParaRPr lang="en-US" sz="1600" dirty="0">
              <a:latin typeface=" Arial"/>
            </a:endParaRPr>
          </a:p>
          <a:p>
            <a:pPr marL="0" indent="0">
              <a:buNone/>
            </a:pPr>
            <a:endParaRPr lang="en-IN" sz="1600" dirty="0">
              <a:latin typeface=" Arial"/>
            </a:endParaRPr>
          </a:p>
          <a:p>
            <a:pPr marL="0" indent="0">
              <a:buNone/>
            </a:pPr>
            <a:endParaRPr lang="en-US" altLang="zh-CN" sz="2000" b="1" dirty="0">
              <a:latin typeface=" Arial"/>
              <a:ea typeface="宋体" pitchFamily="2" charset="-122"/>
              <a:cs typeface="Arial" panose="020B0604020202020204" pitchFamily="34" charset="0"/>
            </a:endParaRPr>
          </a:p>
          <a:p>
            <a:pPr marL="0" indent="0">
              <a:buNone/>
            </a:pPr>
            <a:endParaRPr lang="en-US" altLang="zh-CN" sz="2000" b="1" dirty="0">
              <a:latin typeface="Arial" panose="020B0604020202020204" pitchFamily="34" charset="0"/>
              <a:ea typeface="宋体" pitchFamily="2" charset="-122"/>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180311056"/>
              </p:ext>
            </p:extLst>
          </p:nvPr>
        </p:nvGraphicFramePr>
        <p:xfrm>
          <a:off x="609918" y="2492133"/>
          <a:ext cx="8229597" cy="1771651"/>
        </p:xfrm>
        <a:graphic>
          <a:graphicData uri="http://schemas.openxmlformats.org/drawingml/2006/table">
            <a:tbl>
              <a:tblPr/>
              <a:tblGrid>
                <a:gridCol w="3726178">
                  <a:extLst>
                    <a:ext uri="{9D8B030D-6E8A-4147-A177-3AD203B41FA5}">
                      <a16:colId xmlns:a16="http://schemas.microsoft.com/office/drawing/2014/main" val="20000"/>
                    </a:ext>
                  </a:extLst>
                </a:gridCol>
                <a:gridCol w="688943">
                  <a:extLst>
                    <a:ext uri="{9D8B030D-6E8A-4147-A177-3AD203B41FA5}">
                      <a16:colId xmlns:a16="http://schemas.microsoft.com/office/drawing/2014/main" val="20001"/>
                    </a:ext>
                  </a:extLst>
                </a:gridCol>
                <a:gridCol w="748854">
                  <a:extLst>
                    <a:ext uri="{9D8B030D-6E8A-4147-A177-3AD203B41FA5}">
                      <a16:colId xmlns:a16="http://schemas.microsoft.com/office/drawing/2014/main" val="20002"/>
                    </a:ext>
                  </a:extLst>
                </a:gridCol>
                <a:gridCol w="819060">
                  <a:extLst>
                    <a:ext uri="{9D8B030D-6E8A-4147-A177-3AD203B41FA5}">
                      <a16:colId xmlns:a16="http://schemas.microsoft.com/office/drawing/2014/main" val="20003"/>
                    </a:ext>
                  </a:extLst>
                </a:gridCol>
                <a:gridCol w="748854">
                  <a:extLst>
                    <a:ext uri="{9D8B030D-6E8A-4147-A177-3AD203B41FA5}">
                      <a16:colId xmlns:a16="http://schemas.microsoft.com/office/drawing/2014/main" val="20004"/>
                    </a:ext>
                  </a:extLst>
                </a:gridCol>
                <a:gridCol w="748854">
                  <a:extLst>
                    <a:ext uri="{9D8B030D-6E8A-4147-A177-3AD203B41FA5}">
                      <a16:colId xmlns:a16="http://schemas.microsoft.com/office/drawing/2014/main" val="20005"/>
                    </a:ext>
                  </a:extLst>
                </a:gridCol>
                <a:gridCol w="748854">
                  <a:extLst>
                    <a:ext uri="{9D8B030D-6E8A-4147-A177-3AD203B41FA5}">
                      <a16:colId xmlns:a16="http://schemas.microsoft.com/office/drawing/2014/main" val="20006"/>
                    </a:ext>
                  </a:extLst>
                </a:gridCol>
              </a:tblGrid>
              <a:tr h="253093">
                <a:tc>
                  <a:txBody>
                    <a:bodyPr/>
                    <a:lstStyle/>
                    <a:p>
                      <a:pPr algn="ctr" fontAlgn="ctr"/>
                      <a:r>
                        <a:rPr lang="en-IN" sz="1200" b="1" i="0" u="none" strike="noStrike" dirty="0">
                          <a:effectLst/>
                          <a:latin typeface="Arial" panose="020B0604020202020204" pitchFamily="34" charset="0"/>
                        </a:rPr>
                        <a:t>Mon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00"/>
                    </a:solidFill>
                  </a:tcPr>
                </a:tc>
                <a:tc gridSpan="5">
                  <a:txBody>
                    <a:bodyPr/>
                    <a:lstStyle/>
                    <a:p>
                      <a:pPr algn="ctr" fontAlgn="ctr"/>
                      <a:r>
                        <a:rPr lang="en-IN" sz="1200" b="1" i="0" u="none" strike="noStrike" dirty="0">
                          <a:effectLst/>
                          <a:latin typeface="Arial" panose="020B0604020202020204" pitchFamily="34" charset="0"/>
                        </a:rPr>
                        <a:t>Jul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ctr" fontAlgn="ctr"/>
                      <a:r>
                        <a:rPr lang="en-IN" sz="1200" b="1" i="0" u="none" strike="noStrike">
                          <a:effectLst/>
                          <a:latin typeface="Arial" panose="020B0604020202020204" pitchFamily="34" charset="0"/>
                        </a:rPr>
                        <a:t>Augus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00"/>
                    </a:solidFill>
                  </a:tcPr>
                </a:tc>
                <a:extLst>
                  <a:ext uri="{0D108BD9-81ED-4DB2-BD59-A6C34878D82A}">
                    <a16:rowId xmlns:a16="http://schemas.microsoft.com/office/drawing/2014/main" val="10000"/>
                  </a:ext>
                </a:extLst>
              </a:tr>
              <a:tr h="253093">
                <a:tc>
                  <a:txBody>
                    <a:bodyPr/>
                    <a:lstStyle/>
                    <a:p>
                      <a:pPr algn="ctr" fontAlgn="ctr"/>
                      <a:r>
                        <a:rPr lang="en-IN" sz="1200" b="1" i="0" u="none" strike="noStrike">
                          <a:solidFill>
                            <a:srgbClr val="FFFFFF"/>
                          </a:solidFill>
                          <a:effectLst/>
                          <a:latin typeface="Arial" panose="020B0604020202020204" pitchFamily="34" charset="0"/>
                        </a:rPr>
                        <a:t>Wee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IN" sz="1200" b="1" i="0" u="none" strike="noStrike" dirty="0">
                          <a:solidFill>
                            <a:srgbClr val="FFFFFF"/>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IN" sz="1200" b="1" i="0" u="none" strike="noStrike" dirty="0">
                          <a:solidFill>
                            <a:srgbClr val="FFFFFF"/>
                          </a:solidFill>
                          <a:effectLst/>
                          <a:latin typeface="Arial" panose="020B0604020202020204" pitchFamily="34" charset="0"/>
                        </a:rPr>
                        <a:t>2</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IN" sz="1200" b="1" i="0" u="none" strike="noStrike" dirty="0">
                          <a:solidFill>
                            <a:srgbClr val="FFFFFF"/>
                          </a:solidFill>
                          <a:effectLst/>
                          <a:latin typeface="Arial" panose="020B0604020202020204" pitchFamily="34" charset="0"/>
                        </a:rPr>
                        <a:t>3</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IN" sz="1200" b="1" i="0" u="none" strike="noStrike" dirty="0">
                          <a:solidFill>
                            <a:srgbClr val="FFFFFF"/>
                          </a:solidFill>
                          <a:effectLst/>
                          <a:latin typeface="Arial" panose="020B0604020202020204" pitchFamily="34" charset="0"/>
                        </a:rPr>
                        <a:t>4</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IN" sz="1200" b="1" i="0" u="none" strike="noStrike" dirty="0">
                          <a:solidFill>
                            <a:srgbClr val="FFFFFF"/>
                          </a:solidFill>
                          <a:effectLst/>
                          <a:latin typeface="Arial" panose="020B0604020202020204" pitchFamily="34" charset="0"/>
                        </a:rPr>
                        <a:t>5</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IN" sz="1200" b="1" i="0" u="none" strike="noStrike" dirty="0">
                          <a:solidFill>
                            <a:srgbClr val="FFFFFF"/>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10001"/>
                  </a:ext>
                </a:extLst>
              </a:tr>
              <a:tr h="253093">
                <a:tc>
                  <a:txBody>
                    <a:bodyPr/>
                    <a:lstStyle/>
                    <a:p>
                      <a:pPr algn="r" fontAlgn="b"/>
                      <a:r>
                        <a:rPr lang="en-IN" sz="1200" b="0" i="0" u="none" strike="noStrike" dirty="0">
                          <a:effectLst/>
                          <a:latin typeface="Arial" panose="020B0604020202020204" pitchFamily="34" charset="0"/>
                        </a:rPr>
                        <a:t>Individual's standard hours</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dirty="0">
                          <a:effectLst/>
                          <a:latin typeface="Arial" panose="020B0604020202020204" pitchFamily="34" charset="0"/>
                        </a:rPr>
                        <a:t>0</a:t>
                      </a:r>
                    </a:p>
                  </a:txBody>
                  <a:tcPr marL="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dirty="0">
                          <a:effectLst/>
                          <a:latin typeface="Arial" panose="020B0604020202020204" pitchFamily="34" charset="0"/>
                        </a:rPr>
                        <a:t>6</a:t>
                      </a:r>
                    </a:p>
                  </a:txBody>
                  <a:tcPr marL="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dirty="0">
                          <a:effectLst/>
                          <a:latin typeface="Arial" panose="020B0604020202020204" pitchFamily="34" charset="0"/>
                        </a:rPr>
                        <a:t>30</a:t>
                      </a:r>
                    </a:p>
                  </a:txBody>
                  <a:tcPr marL="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30</a:t>
                      </a:r>
                    </a:p>
                  </a:txBody>
                  <a:tcPr marL="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30</a:t>
                      </a:r>
                    </a:p>
                  </a:txBody>
                  <a:tcPr marL="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40</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2"/>
                  </a:ext>
                </a:extLst>
              </a:tr>
              <a:tr h="253093">
                <a:tc>
                  <a:txBody>
                    <a:bodyPr/>
                    <a:lstStyle/>
                    <a:p>
                      <a:pPr algn="r" fontAlgn="b"/>
                      <a:r>
                        <a:rPr lang="en-IN" sz="1200" b="0" i="0" u="none" strike="noStrike" dirty="0">
                          <a:effectLst/>
                          <a:latin typeface="Arial" panose="020B0604020202020204" pitchFamily="34" charset="0"/>
                        </a:rPr>
                        <a:t>Comparative FTE hours for a full time working person</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40</a:t>
                      </a:r>
                    </a:p>
                  </a:txBody>
                  <a:tcPr marL="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40</a:t>
                      </a:r>
                    </a:p>
                  </a:txBody>
                  <a:tcPr marL="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dirty="0">
                          <a:effectLst/>
                          <a:latin typeface="Arial" panose="020B0604020202020204" pitchFamily="34" charset="0"/>
                        </a:rPr>
                        <a:t>40</a:t>
                      </a:r>
                    </a:p>
                  </a:txBody>
                  <a:tcPr marL="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dirty="0">
                          <a:effectLst/>
                          <a:latin typeface="Arial" panose="020B0604020202020204" pitchFamily="34" charset="0"/>
                        </a:rPr>
                        <a:t>40</a:t>
                      </a:r>
                    </a:p>
                  </a:txBody>
                  <a:tcPr marL="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dirty="0">
                          <a:effectLst/>
                          <a:latin typeface="Arial" panose="020B0604020202020204" pitchFamily="34" charset="0"/>
                        </a:rPr>
                        <a:t>40</a:t>
                      </a:r>
                    </a:p>
                  </a:txBody>
                  <a:tcPr marL="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40</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53093">
                <a:tc>
                  <a:txBody>
                    <a:bodyPr/>
                    <a:lstStyle/>
                    <a:p>
                      <a:pPr algn="r" fontAlgn="b"/>
                      <a:r>
                        <a:rPr lang="en-IN" sz="1200" b="0" i="0" u="none" strike="noStrike" dirty="0">
                          <a:effectLst/>
                          <a:latin typeface="Arial" panose="020B0604020202020204" pitchFamily="34" charset="0"/>
                        </a:rPr>
                        <a:t>Weekly FTE</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          -   </a:t>
                      </a:r>
                    </a:p>
                  </a:txBody>
                  <a:tcPr marL="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       0.15 </a:t>
                      </a:r>
                    </a:p>
                  </a:txBody>
                  <a:tcPr marL="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         0.75 </a:t>
                      </a:r>
                    </a:p>
                  </a:txBody>
                  <a:tcPr marL="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       0.75 </a:t>
                      </a:r>
                    </a:p>
                  </a:txBody>
                  <a:tcPr marL="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dirty="0">
                          <a:effectLst/>
                          <a:latin typeface="Arial" panose="020B0604020202020204" pitchFamily="34" charset="0"/>
                        </a:rPr>
                        <a:t>       0.75 </a:t>
                      </a:r>
                    </a:p>
                  </a:txBody>
                  <a:tcPr marL="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IN" sz="1200" b="0" i="0" u="none" strike="noStrike">
                          <a:effectLst/>
                          <a:latin typeface="Arial" panose="020B0604020202020204" pitchFamily="34" charset="0"/>
                        </a:rPr>
                        <a:t>       1.00 </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4"/>
                  </a:ext>
                </a:extLst>
              </a:tr>
              <a:tr h="253093">
                <a:tc>
                  <a:txBody>
                    <a:bodyPr/>
                    <a:lstStyle/>
                    <a:p>
                      <a:pPr algn="r" fontAlgn="b"/>
                      <a:r>
                        <a:rPr lang="en-IN" sz="1200" b="0" i="0" u="none" strike="noStrike" dirty="0">
                          <a:effectLst/>
                          <a:latin typeface="Arial" panose="020B0604020202020204" pitchFamily="34" charset="0"/>
                        </a:rPr>
                        <a:t>MTD FTE</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IN" sz="1200" b="0" i="0" u="none" strike="noStrike">
                          <a:effectLst/>
                          <a:latin typeface="Arial" panose="020B0604020202020204" pitchFamily="34" charset="0"/>
                        </a:rPr>
                        <a:t>          -   </a:t>
                      </a:r>
                    </a:p>
                  </a:txBody>
                  <a:tcPr marL="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IN" sz="1200" b="0" i="0" u="none" strike="noStrike">
                          <a:effectLst/>
                          <a:latin typeface="Arial" panose="020B0604020202020204" pitchFamily="34" charset="0"/>
                        </a:rPr>
                        <a:t>       0.08 </a:t>
                      </a:r>
                    </a:p>
                  </a:txBody>
                  <a:tcPr marL="9525" marT="9525" marB="0" anchor="ctr">
                    <a:lnL>
                      <a:noFill/>
                    </a:lnL>
                    <a:lnR>
                      <a:noFill/>
                    </a:lnR>
                    <a:lnT>
                      <a:noFill/>
                    </a:lnT>
                    <a:lnB>
                      <a:noFill/>
                    </a:lnB>
                  </a:tcPr>
                </a:tc>
                <a:tc>
                  <a:txBody>
                    <a:bodyPr/>
                    <a:lstStyle/>
                    <a:p>
                      <a:pPr algn="r" fontAlgn="b"/>
                      <a:r>
                        <a:rPr lang="en-IN" sz="1200" b="0" i="0" u="none" strike="noStrike">
                          <a:effectLst/>
                          <a:latin typeface="Arial" panose="020B0604020202020204" pitchFamily="34" charset="0"/>
                        </a:rPr>
                        <a:t>         0.30 </a:t>
                      </a:r>
                    </a:p>
                  </a:txBody>
                  <a:tcPr marL="9525" marT="9525" marB="0" anchor="ctr">
                    <a:lnL>
                      <a:noFill/>
                    </a:lnL>
                    <a:lnR>
                      <a:noFill/>
                    </a:lnR>
                    <a:lnT>
                      <a:noFill/>
                    </a:lnT>
                    <a:lnB>
                      <a:noFill/>
                    </a:lnB>
                  </a:tcPr>
                </a:tc>
                <a:tc>
                  <a:txBody>
                    <a:bodyPr/>
                    <a:lstStyle/>
                    <a:p>
                      <a:pPr algn="r" fontAlgn="b"/>
                      <a:r>
                        <a:rPr lang="en-IN" sz="1200" b="0" i="0" u="none" strike="noStrike">
                          <a:effectLst/>
                          <a:latin typeface="Arial" panose="020B0604020202020204" pitchFamily="34" charset="0"/>
                        </a:rPr>
                        <a:t>       0.41 </a:t>
                      </a:r>
                    </a:p>
                  </a:txBody>
                  <a:tcPr marL="9525" marT="9525" marB="0" anchor="ctr">
                    <a:lnL>
                      <a:noFill/>
                    </a:lnL>
                    <a:lnR>
                      <a:noFill/>
                    </a:lnR>
                    <a:lnT>
                      <a:noFill/>
                    </a:lnT>
                    <a:lnB>
                      <a:noFill/>
                    </a:lnB>
                  </a:tcPr>
                </a:tc>
                <a:tc>
                  <a:txBody>
                    <a:bodyPr/>
                    <a:lstStyle/>
                    <a:p>
                      <a:pPr algn="r" fontAlgn="b"/>
                      <a:r>
                        <a:rPr lang="en-IN" sz="1200" b="0" i="0" u="none" strike="noStrike" dirty="0">
                          <a:effectLst/>
                          <a:latin typeface="Arial" panose="020B0604020202020204" pitchFamily="34" charset="0"/>
                        </a:rPr>
                        <a:t>       0.48 </a:t>
                      </a:r>
                    </a:p>
                  </a:txBody>
                  <a:tcPr marL="9525" marT="9525"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IN" sz="1200" b="0" i="0" u="none" strike="noStrike" dirty="0">
                          <a:effectLst/>
                          <a:latin typeface="Arial" panose="020B0604020202020204" pitchFamily="34" charset="0"/>
                        </a:rPr>
                        <a:t>       1.00 </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253093">
                <a:tc>
                  <a:txBody>
                    <a:bodyPr/>
                    <a:lstStyle/>
                    <a:p>
                      <a:pPr algn="r" fontAlgn="b"/>
                      <a:r>
                        <a:rPr lang="en-IN" sz="1200" b="0" i="0" u="none" strike="noStrike" dirty="0">
                          <a:effectLst/>
                          <a:latin typeface="Arial" panose="020B0604020202020204" pitchFamily="34" charset="0"/>
                        </a:rPr>
                        <a:t>YTD FTE</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          -   </a:t>
                      </a:r>
                    </a:p>
                  </a:txBody>
                  <a:tcPr marL="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       0.08 </a:t>
                      </a:r>
                    </a:p>
                  </a:txBody>
                  <a:tcPr marL="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         0.30 </a:t>
                      </a:r>
                    </a:p>
                  </a:txBody>
                  <a:tcPr marL="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       0.41 </a:t>
                      </a:r>
                    </a:p>
                  </a:txBody>
                  <a:tcPr marL="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a:effectLst/>
                          <a:latin typeface="Arial" panose="020B0604020202020204" pitchFamily="34" charset="0"/>
                        </a:rPr>
                        <a:t>       0.48 </a:t>
                      </a:r>
                    </a:p>
                  </a:txBody>
                  <a:tcPr marL="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IN" sz="1200" b="0" i="0" u="none" strike="noStrike" dirty="0">
                          <a:effectLst/>
                          <a:latin typeface="Arial" panose="020B0604020202020204" pitchFamily="34" charset="0"/>
                        </a:rPr>
                        <a:t>       0.57 </a:t>
                      </a:r>
                    </a:p>
                  </a:txBody>
                  <a:tcPr marL="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020762985"/>
      </p:ext>
    </p:extLst>
  </p:cSld>
  <p:clrMapOvr>
    <a:masterClrMapping/>
  </p:clrMapOvr>
  <mc:AlternateContent xmlns:mc="http://schemas.openxmlformats.org/markup-compatibility/2006" xmlns:p14="http://schemas.microsoft.com/office/powerpoint/2010/main">
    <mc:Choice Requires="p14">
      <p:transition spd="slow" p14:dur="1500" advTm="27197">
        <p:split orient="vert"/>
      </p:transition>
    </mc:Choice>
    <mc:Fallback xmlns="">
      <p:transition spd="slow" advTm="27197">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en-GB" sz="2400" dirty="0">
                <a:solidFill>
                  <a:schemeClr val="bg1">
                    <a:lumMod val="75000"/>
                  </a:schemeClr>
                </a:solidFill>
                <a:latin typeface="EYInterstate" panose="02000503020000020004" pitchFamily="2" charset="0"/>
              </a:rPr>
              <a:t>Questions?</a:t>
            </a:r>
          </a:p>
        </p:txBody>
      </p:sp>
    </p:spTree>
    <p:extLst>
      <p:ext uri="{BB962C8B-B14F-4D97-AF65-F5344CB8AC3E}">
        <p14:creationId xmlns:p14="http://schemas.microsoft.com/office/powerpoint/2010/main" val="16814017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08E75E-44E2-4857-B35C-79FB21986C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8350" cy="6858001"/>
          </a:xfrm>
          <a:prstGeom prst="rect">
            <a:avLst/>
          </a:prstGeom>
          <a:effectLst>
            <a:glow rad="127000">
              <a:schemeClr val="accent1">
                <a:alpha val="0"/>
              </a:schemeClr>
            </a:glow>
          </a:effectLst>
        </p:spPr>
      </p:pic>
      <p:sp>
        <p:nvSpPr>
          <p:cNvPr id="5" name="Rectangle 4">
            <a:extLst>
              <a:ext uri="{FF2B5EF4-FFF2-40B4-BE49-F238E27FC236}">
                <a16:creationId xmlns:a16="http://schemas.microsoft.com/office/drawing/2014/main" id="{730C932D-FAF2-4808-B600-0B8A02C010D0}"/>
              </a:ext>
            </a:extLst>
          </p:cNvPr>
          <p:cNvSpPr/>
          <p:nvPr/>
        </p:nvSpPr>
        <p:spPr>
          <a:xfrm>
            <a:off x="6350" y="-1"/>
            <a:ext cx="12192000"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609917" y="1137920"/>
            <a:ext cx="10978515" cy="4834800"/>
          </a:xfrm>
          <a:effectLst>
            <a:glow rad="127000">
              <a:schemeClr val="accent1">
                <a:alpha val="0"/>
              </a:schemeClr>
            </a:glow>
          </a:effectLst>
        </p:spPr>
        <p:txBody>
          <a:bodyPr/>
          <a:lstStyle/>
          <a:p>
            <a:pPr>
              <a:lnSpc>
                <a:spcPct val="90000"/>
              </a:lnSpc>
              <a:spcAft>
                <a:spcPts val="500"/>
              </a:spcAft>
            </a:pPr>
            <a:r>
              <a:rPr lang="en-US" altLang="zh-CN" dirty="0">
                <a:solidFill>
                  <a:schemeClr val="tx1"/>
                </a:solidFill>
                <a:ea typeface="宋体" pitchFamily="2" charset="-122"/>
              </a:rPr>
              <a:t>EY is one of the Big 4 financial services firms having presence in more than 150 countries across the Globe. </a:t>
            </a:r>
          </a:p>
          <a:p>
            <a:pPr>
              <a:lnSpc>
                <a:spcPct val="90000"/>
              </a:lnSpc>
              <a:spcAft>
                <a:spcPts val="500"/>
              </a:spcAft>
            </a:pPr>
            <a:r>
              <a:rPr lang="en-US" altLang="zh-CN" dirty="0">
                <a:solidFill>
                  <a:schemeClr val="tx1"/>
                </a:solidFill>
                <a:ea typeface="宋体" pitchFamily="2" charset="-122"/>
              </a:rPr>
              <a:t> </a:t>
            </a:r>
          </a:p>
          <a:p>
            <a:pPr>
              <a:lnSpc>
                <a:spcPct val="90000"/>
              </a:lnSpc>
              <a:spcAft>
                <a:spcPts val="500"/>
              </a:spcAft>
            </a:pPr>
            <a:r>
              <a:rPr lang="en-US" altLang="zh-CN" dirty="0">
                <a:solidFill>
                  <a:schemeClr val="tx1"/>
                </a:solidFill>
                <a:ea typeface="宋体" pitchFamily="2" charset="-122"/>
              </a:rPr>
              <a:t>EYs line of services provided to clients can be broadly classified into 4 Service Lines namely Assurance, Tax, Advisory, Transaction Advisory Services (TAS) and Core Business Services (CBS)</a:t>
            </a:r>
          </a:p>
          <a:p>
            <a:pPr>
              <a:lnSpc>
                <a:spcPct val="90000"/>
              </a:lnSpc>
              <a:spcAft>
                <a:spcPts val="500"/>
              </a:spcAft>
            </a:pPr>
            <a:endParaRPr lang="en-US" altLang="zh-CN" dirty="0">
              <a:solidFill>
                <a:schemeClr val="tx1"/>
              </a:solidFill>
              <a:ea typeface="宋体" pitchFamily="2" charset="-122"/>
            </a:endParaRPr>
          </a:p>
          <a:p>
            <a:pPr>
              <a:lnSpc>
                <a:spcPct val="90000"/>
              </a:lnSpc>
              <a:spcAft>
                <a:spcPts val="500"/>
              </a:spcAft>
            </a:pPr>
            <a:r>
              <a:rPr lang="en-US" altLang="zh-CN" dirty="0">
                <a:solidFill>
                  <a:schemeClr val="tx1"/>
                </a:solidFill>
                <a:ea typeface="宋体" pitchFamily="2" charset="-122"/>
              </a:rPr>
              <a:t>EY also has a CBS (Core Business Services) as a support system service line and helps in the functioning of EY Service lines and Operations.</a:t>
            </a:r>
          </a:p>
          <a:p>
            <a:pPr>
              <a:lnSpc>
                <a:spcPct val="90000"/>
              </a:lnSpc>
              <a:spcAft>
                <a:spcPts val="500"/>
              </a:spcAft>
            </a:pPr>
            <a:endParaRPr lang="en-US" altLang="zh-CN" dirty="0">
              <a:solidFill>
                <a:schemeClr val="tx1"/>
              </a:solidFill>
              <a:ea typeface="宋体" pitchFamily="2" charset="-122"/>
            </a:endParaRPr>
          </a:p>
          <a:p>
            <a:pPr>
              <a:lnSpc>
                <a:spcPct val="90000"/>
              </a:lnSpc>
              <a:spcAft>
                <a:spcPts val="500"/>
              </a:spcAft>
            </a:pPr>
            <a:r>
              <a:rPr lang="en-US" altLang="zh-CN" dirty="0">
                <a:solidFill>
                  <a:schemeClr val="tx1"/>
                </a:solidFill>
                <a:ea typeface="宋体" pitchFamily="2" charset="-122"/>
              </a:rPr>
              <a:t>EY sells its services to clients and generate revenue by billing them on the service provided based on the hours spent on the service.</a:t>
            </a:r>
          </a:p>
          <a:p>
            <a:pPr>
              <a:lnSpc>
                <a:spcPct val="90000"/>
              </a:lnSpc>
              <a:spcAft>
                <a:spcPts val="500"/>
              </a:spcAft>
            </a:pPr>
            <a:endParaRPr lang="en-US" altLang="zh-CN" dirty="0">
              <a:solidFill>
                <a:schemeClr val="tx1"/>
              </a:solidFill>
              <a:ea typeface="宋体" pitchFamily="2" charset="-122"/>
            </a:endParaRPr>
          </a:p>
          <a:p>
            <a:pPr>
              <a:lnSpc>
                <a:spcPct val="90000"/>
              </a:lnSpc>
              <a:spcAft>
                <a:spcPts val="500"/>
              </a:spcAft>
            </a:pPr>
            <a:r>
              <a:rPr lang="en-US" altLang="zh-CN" dirty="0">
                <a:solidFill>
                  <a:schemeClr val="tx1"/>
                </a:solidFill>
                <a:ea typeface="宋体" pitchFamily="2" charset="-122"/>
              </a:rPr>
              <a:t>EY is divided into 3 Areas (Americas, EMEIA and Asia-Pacific), each Area is further divided into Regions.</a:t>
            </a:r>
            <a:endParaRPr lang="en-US" altLang="zh-CN" b="1" dirty="0">
              <a:solidFill>
                <a:schemeClr val="tx1"/>
              </a:solidFill>
              <a:ea typeface="宋体" pitchFamily="2" charset="-122"/>
            </a:endParaRPr>
          </a:p>
          <a:p>
            <a:pPr>
              <a:spcAft>
                <a:spcPts val="1200"/>
              </a:spcAft>
            </a:pPr>
            <a:endParaRPr lang="en-GB" dirty="0">
              <a:solidFill>
                <a:schemeClr val="tx1"/>
              </a:solidFill>
            </a:endParaRPr>
          </a:p>
        </p:txBody>
      </p:sp>
      <p:sp>
        <p:nvSpPr>
          <p:cNvPr id="2" name="Title 1"/>
          <p:cNvSpPr>
            <a:spLocks noGrp="1"/>
          </p:cNvSpPr>
          <p:nvPr>
            <p:ph type="title"/>
          </p:nvPr>
        </p:nvSpPr>
        <p:spPr>
          <a:effectLst>
            <a:glow rad="127000">
              <a:schemeClr val="accent1">
                <a:alpha val="0"/>
              </a:schemeClr>
            </a:glow>
          </a:effectLst>
        </p:spPr>
        <p:txBody>
          <a:bodyPr anchor="ctr"/>
          <a:lstStyle/>
          <a:p>
            <a:r>
              <a:rPr lang="en-US" b="1" dirty="0">
                <a:solidFill>
                  <a:schemeClr val="tx1"/>
                </a:solidFill>
                <a:latin typeface="EYInterstate" panose="02000503020000020004" pitchFamily="2" charset="0"/>
              </a:rPr>
              <a:t>Understanding what EY Does</a:t>
            </a:r>
            <a:endParaRPr lang="en-GB" b="1" dirty="0">
              <a:solidFill>
                <a:schemeClr val="tx1"/>
              </a:solidFill>
            </a:endParaRPr>
          </a:p>
        </p:txBody>
      </p:sp>
      <p:cxnSp>
        <p:nvCxnSpPr>
          <p:cNvPr id="6" name="Straight Connector 5">
            <a:extLst>
              <a:ext uri="{FF2B5EF4-FFF2-40B4-BE49-F238E27FC236}">
                <a16:creationId xmlns:a16="http://schemas.microsoft.com/office/drawing/2014/main" id="{3CAC66DC-FDBB-42ED-BF6D-7D93F802EEB3}"/>
              </a:ext>
            </a:extLst>
          </p:cNvPr>
          <p:cNvCxnSpPr/>
          <p:nvPr/>
        </p:nvCxnSpPr>
        <p:spPr>
          <a:xfrm>
            <a:off x="609918" y="881916"/>
            <a:ext cx="11258232"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F9395FF-668D-4307-8A61-6215D80A03FF}"/>
              </a:ext>
            </a:extLst>
          </p:cNvPr>
          <p:cNvCxnSpPr/>
          <p:nvPr/>
        </p:nvCxnSpPr>
        <p:spPr>
          <a:xfrm>
            <a:off x="609918" y="5949216"/>
            <a:ext cx="11258232"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C314F0E-D106-4C52-BF83-76D89D7A9885}"/>
              </a:ext>
            </a:extLst>
          </p:cNvPr>
          <p:cNvGrpSpPr/>
          <p:nvPr/>
        </p:nvGrpSpPr>
        <p:grpSpPr>
          <a:xfrm>
            <a:off x="11436825" y="6178524"/>
            <a:ext cx="303213" cy="311151"/>
            <a:chOff x="12498705" y="4634082"/>
            <a:chExt cx="303213" cy="311151"/>
          </a:xfrm>
        </p:grpSpPr>
        <p:sp>
          <p:nvSpPr>
            <p:cNvPr id="9" name="Freeform 5">
              <a:extLst>
                <a:ext uri="{FF2B5EF4-FFF2-40B4-BE49-F238E27FC236}">
                  <a16:creationId xmlns:a16="http://schemas.microsoft.com/office/drawing/2014/main" id="{7DAF02D9-2202-4037-8C51-C3EE5EE4952D}"/>
                </a:ext>
              </a:extLst>
            </p:cNvPr>
            <p:cNvSpPr>
              <a:spLocks/>
            </p:cNvSpPr>
            <p:nvPr userDrawn="1"/>
          </p:nvSpPr>
          <p:spPr bwMode="auto">
            <a:xfrm>
              <a:off x="12498705" y="4634082"/>
              <a:ext cx="303213" cy="111125"/>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Freeform 6">
              <a:extLst>
                <a:ext uri="{FF2B5EF4-FFF2-40B4-BE49-F238E27FC236}">
                  <a16:creationId xmlns:a16="http://schemas.microsoft.com/office/drawing/2014/main" id="{5155B848-5C3B-4CAF-87E2-64212A81FAFE}"/>
                </a:ext>
              </a:extLst>
            </p:cNvPr>
            <p:cNvSpPr>
              <a:spLocks/>
            </p:cNvSpPr>
            <p:nvPr userDrawn="1"/>
          </p:nvSpPr>
          <p:spPr bwMode="auto">
            <a:xfrm>
              <a:off x="12500293" y="4791245"/>
              <a:ext cx="123825" cy="15398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sp>
          <p:nvSpPr>
            <p:cNvPr id="11" name="Freeform 7">
              <a:extLst>
                <a:ext uri="{FF2B5EF4-FFF2-40B4-BE49-F238E27FC236}">
                  <a16:creationId xmlns:a16="http://schemas.microsoft.com/office/drawing/2014/main" id="{CDBE8285-D311-4ED5-B46D-9D4AD88BF933}"/>
                </a:ext>
              </a:extLst>
            </p:cNvPr>
            <p:cNvSpPr>
              <a:spLocks/>
            </p:cNvSpPr>
            <p:nvPr userDrawn="1"/>
          </p:nvSpPr>
          <p:spPr bwMode="auto">
            <a:xfrm>
              <a:off x="12603480" y="4791245"/>
              <a:ext cx="152400" cy="15398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a:p>
          </p:txBody>
        </p:sp>
      </p:grpSp>
    </p:spTree>
  </p:cSld>
  <p:clrMapOvr>
    <a:masterClrMapping/>
  </p:clrMapOvr>
  <mc:AlternateContent xmlns:mc="http://schemas.openxmlformats.org/markup-compatibility/2006" xmlns:p14="http://schemas.microsoft.com/office/powerpoint/2010/main">
    <mc:Choice Requires="p14">
      <p:transition spd="slow" p14:dur="1500" advTm="208722">
        <p:split orient="vert"/>
      </p:transition>
    </mc:Choice>
    <mc:Fallback xmlns="">
      <p:transition spd="slow" advTm="208722">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Freeform 61"/>
          <p:cNvSpPr>
            <a:spLocks/>
          </p:cNvSpPr>
          <p:nvPr/>
        </p:nvSpPr>
        <p:spPr bwMode="gray">
          <a:xfrm rot="47099">
            <a:off x="1728657" y="1041582"/>
            <a:ext cx="4453" cy="9649"/>
          </a:xfrm>
          <a:custGeom>
            <a:avLst/>
            <a:gdLst>
              <a:gd name="T0" fmla="*/ 9 w 9"/>
              <a:gd name="T1" fmla="*/ 7 h 22"/>
              <a:gd name="T2" fmla="*/ 9 w 9"/>
              <a:gd name="T3" fmla="*/ 17 h 22"/>
              <a:gd name="T4" fmla="*/ 7 w 9"/>
              <a:gd name="T5" fmla="*/ 22 h 22"/>
              <a:gd name="T6" fmla="*/ 2 w 9"/>
              <a:gd name="T7" fmla="*/ 17 h 22"/>
              <a:gd name="T8" fmla="*/ 0 w 9"/>
              <a:gd name="T9" fmla="*/ 12 h 22"/>
              <a:gd name="T10" fmla="*/ 0 w 9"/>
              <a:gd name="T11" fmla="*/ 7 h 22"/>
              <a:gd name="T12" fmla="*/ 2 w 9"/>
              <a:gd name="T13" fmla="*/ 5 h 22"/>
              <a:gd name="T14" fmla="*/ 7 w 9"/>
              <a:gd name="T15" fmla="*/ 0 h 22"/>
              <a:gd name="T16" fmla="*/ 7 w 9"/>
              <a:gd name="T17" fmla="*/ 5 h 22"/>
              <a:gd name="T18" fmla="*/ 9 w 9"/>
              <a:gd name="T19" fmla="*/ 7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22"/>
              <a:gd name="T32" fmla="*/ 9 w 9"/>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22">
                <a:moveTo>
                  <a:pt x="9" y="7"/>
                </a:moveTo>
                <a:lnTo>
                  <a:pt x="9" y="17"/>
                </a:lnTo>
                <a:lnTo>
                  <a:pt x="7" y="22"/>
                </a:lnTo>
                <a:lnTo>
                  <a:pt x="2" y="17"/>
                </a:lnTo>
                <a:lnTo>
                  <a:pt x="0" y="12"/>
                </a:lnTo>
                <a:lnTo>
                  <a:pt x="0" y="7"/>
                </a:lnTo>
                <a:lnTo>
                  <a:pt x="2" y="5"/>
                </a:lnTo>
                <a:lnTo>
                  <a:pt x="7" y="0"/>
                </a:lnTo>
                <a:lnTo>
                  <a:pt x="7" y="5"/>
                </a:lnTo>
                <a:lnTo>
                  <a:pt x="9" y="7"/>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13" name="Freeform 63"/>
          <p:cNvSpPr>
            <a:spLocks/>
          </p:cNvSpPr>
          <p:nvPr/>
        </p:nvSpPr>
        <p:spPr bwMode="gray">
          <a:xfrm rot="47099">
            <a:off x="1748347" y="1037052"/>
            <a:ext cx="8015" cy="4824"/>
          </a:xfrm>
          <a:custGeom>
            <a:avLst/>
            <a:gdLst>
              <a:gd name="T0" fmla="*/ 15 w 15"/>
              <a:gd name="T1" fmla="*/ 2 h 9"/>
              <a:gd name="T2" fmla="*/ 15 w 15"/>
              <a:gd name="T3" fmla="*/ 7 h 9"/>
              <a:gd name="T4" fmla="*/ 12 w 15"/>
              <a:gd name="T5" fmla="*/ 7 h 9"/>
              <a:gd name="T6" fmla="*/ 12 w 15"/>
              <a:gd name="T7" fmla="*/ 9 h 9"/>
              <a:gd name="T8" fmla="*/ 0 w 15"/>
              <a:gd name="T9" fmla="*/ 9 h 9"/>
              <a:gd name="T10" fmla="*/ 0 w 15"/>
              <a:gd name="T11" fmla="*/ 7 h 9"/>
              <a:gd name="T12" fmla="*/ 5 w 15"/>
              <a:gd name="T13" fmla="*/ 2 h 9"/>
              <a:gd name="T14" fmla="*/ 5 w 15"/>
              <a:gd name="T15" fmla="*/ 0 h 9"/>
              <a:gd name="T16" fmla="*/ 15 w 15"/>
              <a:gd name="T17" fmla="*/ 0 h 9"/>
              <a:gd name="T18" fmla="*/ 15 w 15"/>
              <a:gd name="T19" fmla="*/ 2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9"/>
              <a:gd name="T32" fmla="*/ 15 w 15"/>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9">
                <a:moveTo>
                  <a:pt x="15" y="2"/>
                </a:moveTo>
                <a:lnTo>
                  <a:pt x="15" y="7"/>
                </a:lnTo>
                <a:lnTo>
                  <a:pt x="12" y="7"/>
                </a:lnTo>
                <a:lnTo>
                  <a:pt x="12" y="9"/>
                </a:lnTo>
                <a:lnTo>
                  <a:pt x="0" y="9"/>
                </a:lnTo>
                <a:lnTo>
                  <a:pt x="0" y="7"/>
                </a:lnTo>
                <a:lnTo>
                  <a:pt x="5" y="2"/>
                </a:lnTo>
                <a:lnTo>
                  <a:pt x="5" y="0"/>
                </a:lnTo>
                <a:lnTo>
                  <a:pt x="15" y="0"/>
                </a:lnTo>
                <a:lnTo>
                  <a:pt x="15" y="2"/>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16" name="Freeform 66"/>
          <p:cNvSpPr>
            <a:spLocks/>
          </p:cNvSpPr>
          <p:nvPr/>
        </p:nvSpPr>
        <p:spPr bwMode="gray">
          <a:xfrm rot="47099">
            <a:off x="1795775" y="1086882"/>
            <a:ext cx="3563" cy="2894"/>
          </a:xfrm>
          <a:custGeom>
            <a:avLst/>
            <a:gdLst>
              <a:gd name="T0" fmla="*/ 9 w 9"/>
              <a:gd name="T1" fmla="*/ 0 h 7"/>
              <a:gd name="T2" fmla="*/ 9 w 9"/>
              <a:gd name="T3" fmla="*/ 2 h 7"/>
              <a:gd name="T4" fmla="*/ 2 w 9"/>
              <a:gd name="T5" fmla="*/ 7 h 7"/>
              <a:gd name="T6" fmla="*/ 0 w 9"/>
              <a:gd name="T7" fmla="*/ 7 h 7"/>
              <a:gd name="T8" fmla="*/ 2 w 9"/>
              <a:gd name="T9" fmla="*/ 0 h 7"/>
              <a:gd name="T10" fmla="*/ 9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9" y="0"/>
                </a:moveTo>
                <a:lnTo>
                  <a:pt x="9" y="2"/>
                </a:lnTo>
                <a:lnTo>
                  <a:pt x="2" y="7"/>
                </a:lnTo>
                <a:lnTo>
                  <a:pt x="0" y="7"/>
                </a:lnTo>
                <a:lnTo>
                  <a:pt x="2" y="0"/>
                </a:lnTo>
                <a:lnTo>
                  <a:pt x="9" y="0"/>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17" name="Freeform 67"/>
          <p:cNvSpPr>
            <a:spLocks/>
          </p:cNvSpPr>
          <p:nvPr/>
        </p:nvSpPr>
        <p:spPr bwMode="gray">
          <a:xfrm rot="47099">
            <a:off x="1766132" y="1038230"/>
            <a:ext cx="3563" cy="6754"/>
          </a:xfrm>
          <a:custGeom>
            <a:avLst/>
            <a:gdLst>
              <a:gd name="T0" fmla="*/ 9 w 9"/>
              <a:gd name="T1" fmla="*/ 12 h 14"/>
              <a:gd name="T2" fmla="*/ 9 w 9"/>
              <a:gd name="T3" fmla="*/ 14 h 14"/>
              <a:gd name="T4" fmla="*/ 0 w 9"/>
              <a:gd name="T5" fmla="*/ 14 h 14"/>
              <a:gd name="T6" fmla="*/ 2 w 9"/>
              <a:gd name="T7" fmla="*/ 5 h 14"/>
              <a:gd name="T8" fmla="*/ 2 w 9"/>
              <a:gd name="T9" fmla="*/ 0 h 14"/>
              <a:gd name="T10" fmla="*/ 9 w 9"/>
              <a:gd name="T11" fmla="*/ 7 h 14"/>
              <a:gd name="T12" fmla="*/ 9 w 9"/>
              <a:gd name="T13" fmla="*/ 12 h 14"/>
              <a:gd name="T14" fmla="*/ 0 60000 65536"/>
              <a:gd name="T15" fmla="*/ 0 60000 65536"/>
              <a:gd name="T16" fmla="*/ 0 60000 65536"/>
              <a:gd name="T17" fmla="*/ 0 60000 65536"/>
              <a:gd name="T18" fmla="*/ 0 60000 65536"/>
              <a:gd name="T19" fmla="*/ 0 60000 65536"/>
              <a:gd name="T20" fmla="*/ 0 60000 65536"/>
              <a:gd name="T21" fmla="*/ 0 w 9"/>
              <a:gd name="T22" fmla="*/ 0 h 14"/>
              <a:gd name="T23" fmla="*/ 9 w 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4">
                <a:moveTo>
                  <a:pt x="9" y="12"/>
                </a:moveTo>
                <a:lnTo>
                  <a:pt x="9" y="14"/>
                </a:lnTo>
                <a:lnTo>
                  <a:pt x="0" y="14"/>
                </a:lnTo>
                <a:lnTo>
                  <a:pt x="2" y="5"/>
                </a:lnTo>
                <a:lnTo>
                  <a:pt x="2" y="0"/>
                </a:lnTo>
                <a:lnTo>
                  <a:pt x="9" y="7"/>
                </a:lnTo>
                <a:lnTo>
                  <a:pt x="9" y="12"/>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19" name="Freeform 69"/>
          <p:cNvSpPr>
            <a:spLocks/>
          </p:cNvSpPr>
          <p:nvPr/>
        </p:nvSpPr>
        <p:spPr bwMode="gray">
          <a:xfrm rot="47099">
            <a:off x="1795874" y="1078230"/>
            <a:ext cx="8015" cy="5789"/>
          </a:xfrm>
          <a:custGeom>
            <a:avLst/>
            <a:gdLst>
              <a:gd name="T0" fmla="*/ 12 w 17"/>
              <a:gd name="T1" fmla="*/ 3 h 12"/>
              <a:gd name="T2" fmla="*/ 12 w 17"/>
              <a:gd name="T3" fmla="*/ 7 h 12"/>
              <a:gd name="T4" fmla="*/ 9 w 17"/>
              <a:gd name="T5" fmla="*/ 7 h 12"/>
              <a:gd name="T6" fmla="*/ 2 w 17"/>
              <a:gd name="T7" fmla="*/ 12 h 12"/>
              <a:gd name="T8" fmla="*/ 0 w 17"/>
              <a:gd name="T9" fmla="*/ 10 h 12"/>
              <a:gd name="T10" fmla="*/ 0 w 17"/>
              <a:gd name="T11" fmla="*/ 7 h 12"/>
              <a:gd name="T12" fmla="*/ 2 w 17"/>
              <a:gd name="T13" fmla="*/ 3 h 12"/>
              <a:gd name="T14" fmla="*/ 17 w 17"/>
              <a:gd name="T15" fmla="*/ 0 h 12"/>
              <a:gd name="T16" fmla="*/ 12 w 17"/>
              <a:gd name="T17" fmla="*/ 3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2" y="3"/>
                </a:moveTo>
                <a:lnTo>
                  <a:pt x="12" y="7"/>
                </a:lnTo>
                <a:lnTo>
                  <a:pt x="9" y="7"/>
                </a:lnTo>
                <a:lnTo>
                  <a:pt x="2" y="12"/>
                </a:lnTo>
                <a:lnTo>
                  <a:pt x="0" y="10"/>
                </a:lnTo>
                <a:lnTo>
                  <a:pt x="0" y="7"/>
                </a:lnTo>
                <a:lnTo>
                  <a:pt x="2" y="3"/>
                </a:lnTo>
                <a:lnTo>
                  <a:pt x="17" y="0"/>
                </a:lnTo>
                <a:lnTo>
                  <a:pt x="12" y="3"/>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22" name="Freeform 72"/>
          <p:cNvSpPr>
            <a:spLocks/>
          </p:cNvSpPr>
          <p:nvPr/>
        </p:nvSpPr>
        <p:spPr bwMode="gray">
          <a:xfrm rot="47099">
            <a:off x="1781711" y="1071348"/>
            <a:ext cx="17812" cy="6754"/>
          </a:xfrm>
          <a:custGeom>
            <a:avLst/>
            <a:gdLst>
              <a:gd name="T0" fmla="*/ 38 w 40"/>
              <a:gd name="T1" fmla="*/ 2 h 16"/>
              <a:gd name="T2" fmla="*/ 33 w 40"/>
              <a:gd name="T3" fmla="*/ 9 h 16"/>
              <a:gd name="T4" fmla="*/ 31 w 40"/>
              <a:gd name="T5" fmla="*/ 12 h 16"/>
              <a:gd name="T6" fmla="*/ 3 w 40"/>
              <a:gd name="T7" fmla="*/ 12 h 16"/>
              <a:gd name="T8" fmla="*/ 0 w 40"/>
              <a:gd name="T9" fmla="*/ 16 h 16"/>
              <a:gd name="T10" fmla="*/ 0 w 40"/>
              <a:gd name="T11" fmla="*/ 12 h 16"/>
              <a:gd name="T12" fmla="*/ 3 w 40"/>
              <a:gd name="T13" fmla="*/ 9 h 16"/>
              <a:gd name="T14" fmla="*/ 14 w 40"/>
              <a:gd name="T15" fmla="*/ 9 h 16"/>
              <a:gd name="T16" fmla="*/ 14 w 40"/>
              <a:gd name="T17" fmla="*/ 2 h 16"/>
              <a:gd name="T18" fmla="*/ 17 w 40"/>
              <a:gd name="T19" fmla="*/ 0 h 16"/>
              <a:gd name="T20" fmla="*/ 24 w 40"/>
              <a:gd name="T21" fmla="*/ 0 h 16"/>
              <a:gd name="T22" fmla="*/ 24 w 40"/>
              <a:gd name="T23" fmla="*/ 2 h 16"/>
              <a:gd name="T24" fmla="*/ 22 w 40"/>
              <a:gd name="T25" fmla="*/ 7 h 16"/>
              <a:gd name="T26" fmla="*/ 31 w 40"/>
              <a:gd name="T27" fmla="*/ 7 h 16"/>
              <a:gd name="T28" fmla="*/ 31 w 40"/>
              <a:gd name="T29" fmla="*/ 2 h 16"/>
              <a:gd name="T30" fmla="*/ 33 w 40"/>
              <a:gd name="T31" fmla="*/ 2 h 16"/>
              <a:gd name="T32" fmla="*/ 38 w 40"/>
              <a:gd name="T33" fmla="*/ 0 h 16"/>
              <a:gd name="T34" fmla="*/ 40 w 40"/>
              <a:gd name="T35" fmla="*/ 0 h 16"/>
              <a:gd name="T36" fmla="*/ 40 w 40"/>
              <a:gd name="T37" fmla="*/ 2 h 16"/>
              <a:gd name="T38" fmla="*/ 38 w 40"/>
              <a:gd name="T39" fmla="*/ 2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16"/>
              <a:gd name="T62" fmla="*/ 40 w 40"/>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16">
                <a:moveTo>
                  <a:pt x="38" y="2"/>
                </a:moveTo>
                <a:lnTo>
                  <a:pt x="33" y="9"/>
                </a:lnTo>
                <a:lnTo>
                  <a:pt x="31" y="12"/>
                </a:lnTo>
                <a:lnTo>
                  <a:pt x="3" y="12"/>
                </a:lnTo>
                <a:lnTo>
                  <a:pt x="0" y="16"/>
                </a:lnTo>
                <a:lnTo>
                  <a:pt x="0" y="12"/>
                </a:lnTo>
                <a:lnTo>
                  <a:pt x="3" y="9"/>
                </a:lnTo>
                <a:lnTo>
                  <a:pt x="14" y="9"/>
                </a:lnTo>
                <a:lnTo>
                  <a:pt x="14" y="2"/>
                </a:lnTo>
                <a:lnTo>
                  <a:pt x="17" y="0"/>
                </a:lnTo>
                <a:lnTo>
                  <a:pt x="24" y="0"/>
                </a:lnTo>
                <a:lnTo>
                  <a:pt x="24" y="2"/>
                </a:lnTo>
                <a:lnTo>
                  <a:pt x="22" y="7"/>
                </a:lnTo>
                <a:lnTo>
                  <a:pt x="31" y="7"/>
                </a:lnTo>
                <a:lnTo>
                  <a:pt x="31" y="2"/>
                </a:lnTo>
                <a:lnTo>
                  <a:pt x="33" y="2"/>
                </a:lnTo>
                <a:lnTo>
                  <a:pt x="38" y="0"/>
                </a:lnTo>
                <a:lnTo>
                  <a:pt x="40" y="0"/>
                </a:lnTo>
                <a:lnTo>
                  <a:pt x="40" y="2"/>
                </a:lnTo>
                <a:lnTo>
                  <a:pt x="38" y="2"/>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24" name="Freeform 74"/>
          <p:cNvSpPr>
            <a:spLocks/>
          </p:cNvSpPr>
          <p:nvPr/>
        </p:nvSpPr>
        <p:spPr bwMode="gray">
          <a:xfrm rot="47099">
            <a:off x="1791692" y="1057885"/>
            <a:ext cx="4453" cy="6754"/>
          </a:xfrm>
          <a:custGeom>
            <a:avLst/>
            <a:gdLst>
              <a:gd name="T0" fmla="*/ 4 w 9"/>
              <a:gd name="T1" fmla="*/ 12 h 15"/>
              <a:gd name="T2" fmla="*/ 2 w 9"/>
              <a:gd name="T3" fmla="*/ 15 h 15"/>
              <a:gd name="T4" fmla="*/ 0 w 9"/>
              <a:gd name="T5" fmla="*/ 15 h 15"/>
              <a:gd name="T6" fmla="*/ 0 w 9"/>
              <a:gd name="T7" fmla="*/ 5 h 15"/>
              <a:gd name="T8" fmla="*/ 2 w 9"/>
              <a:gd name="T9" fmla="*/ 0 h 15"/>
              <a:gd name="T10" fmla="*/ 9 w 9"/>
              <a:gd name="T11" fmla="*/ 7 h 15"/>
              <a:gd name="T12" fmla="*/ 4 w 9"/>
              <a:gd name="T13" fmla="*/ 12 h 15"/>
              <a:gd name="T14" fmla="*/ 0 60000 65536"/>
              <a:gd name="T15" fmla="*/ 0 60000 65536"/>
              <a:gd name="T16" fmla="*/ 0 60000 65536"/>
              <a:gd name="T17" fmla="*/ 0 60000 65536"/>
              <a:gd name="T18" fmla="*/ 0 60000 65536"/>
              <a:gd name="T19" fmla="*/ 0 60000 65536"/>
              <a:gd name="T20" fmla="*/ 0 60000 65536"/>
              <a:gd name="T21" fmla="*/ 0 w 9"/>
              <a:gd name="T22" fmla="*/ 0 h 15"/>
              <a:gd name="T23" fmla="*/ 9 w 9"/>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5">
                <a:moveTo>
                  <a:pt x="4" y="12"/>
                </a:moveTo>
                <a:lnTo>
                  <a:pt x="2" y="15"/>
                </a:lnTo>
                <a:lnTo>
                  <a:pt x="0" y="15"/>
                </a:lnTo>
                <a:lnTo>
                  <a:pt x="0" y="5"/>
                </a:lnTo>
                <a:lnTo>
                  <a:pt x="2" y="0"/>
                </a:lnTo>
                <a:lnTo>
                  <a:pt x="9" y="7"/>
                </a:lnTo>
                <a:lnTo>
                  <a:pt x="4" y="12"/>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28" name="Freeform 78"/>
          <p:cNvSpPr>
            <a:spLocks/>
          </p:cNvSpPr>
          <p:nvPr/>
        </p:nvSpPr>
        <p:spPr bwMode="gray">
          <a:xfrm rot="47099">
            <a:off x="1797049" y="1057945"/>
            <a:ext cx="2672" cy="4824"/>
          </a:xfrm>
          <a:custGeom>
            <a:avLst/>
            <a:gdLst>
              <a:gd name="T0" fmla="*/ 7 w 7"/>
              <a:gd name="T1" fmla="*/ 12 h 12"/>
              <a:gd name="T2" fmla="*/ 5 w 7"/>
              <a:gd name="T3" fmla="*/ 12 h 12"/>
              <a:gd name="T4" fmla="*/ 0 w 7"/>
              <a:gd name="T5" fmla="*/ 5 h 12"/>
              <a:gd name="T6" fmla="*/ 5 w 7"/>
              <a:gd name="T7" fmla="*/ 0 h 12"/>
              <a:gd name="T8" fmla="*/ 5 w 7"/>
              <a:gd name="T9" fmla="*/ 5 h 12"/>
              <a:gd name="T10" fmla="*/ 7 w 7"/>
              <a:gd name="T11" fmla="*/ 5 h 12"/>
              <a:gd name="T12" fmla="*/ 7 w 7"/>
              <a:gd name="T13" fmla="*/ 12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7" y="12"/>
                </a:moveTo>
                <a:lnTo>
                  <a:pt x="5" y="12"/>
                </a:lnTo>
                <a:lnTo>
                  <a:pt x="0" y="5"/>
                </a:lnTo>
                <a:lnTo>
                  <a:pt x="5" y="0"/>
                </a:lnTo>
                <a:lnTo>
                  <a:pt x="5" y="5"/>
                </a:lnTo>
                <a:lnTo>
                  <a:pt x="7" y="5"/>
                </a:lnTo>
                <a:lnTo>
                  <a:pt x="7" y="12"/>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33" name="Freeform 83"/>
          <p:cNvSpPr>
            <a:spLocks/>
          </p:cNvSpPr>
          <p:nvPr/>
        </p:nvSpPr>
        <p:spPr bwMode="gray">
          <a:xfrm rot="47099">
            <a:off x="1830717" y="1071922"/>
            <a:ext cx="3563" cy="2894"/>
          </a:xfrm>
          <a:custGeom>
            <a:avLst/>
            <a:gdLst>
              <a:gd name="T0" fmla="*/ 7 w 7"/>
              <a:gd name="T1" fmla="*/ 0 h 7"/>
              <a:gd name="T2" fmla="*/ 7 w 7"/>
              <a:gd name="T3" fmla="*/ 7 h 7"/>
              <a:gd name="T4" fmla="*/ 0 w 7"/>
              <a:gd name="T5" fmla="*/ 2 h 7"/>
              <a:gd name="T6" fmla="*/ 0 w 7"/>
              <a:gd name="T7" fmla="*/ 0 h 7"/>
              <a:gd name="T8" fmla="*/ 7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7" y="0"/>
                </a:moveTo>
                <a:lnTo>
                  <a:pt x="7" y="7"/>
                </a:lnTo>
                <a:lnTo>
                  <a:pt x="0" y="2"/>
                </a:lnTo>
                <a:lnTo>
                  <a:pt x="0" y="0"/>
                </a:lnTo>
                <a:lnTo>
                  <a:pt x="7" y="0"/>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35" name="Freeform 85"/>
          <p:cNvSpPr>
            <a:spLocks/>
          </p:cNvSpPr>
          <p:nvPr/>
        </p:nvSpPr>
        <p:spPr bwMode="gray">
          <a:xfrm rot="47099">
            <a:off x="1877207" y="1122753"/>
            <a:ext cx="6235" cy="5789"/>
          </a:xfrm>
          <a:custGeom>
            <a:avLst/>
            <a:gdLst>
              <a:gd name="T0" fmla="*/ 10 w 12"/>
              <a:gd name="T1" fmla="*/ 5 h 12"/>
              <a:gd name="T2" fmla="*/ 10 w 12"/>
              <a:gd name="T3" fmla="*/ 7 h 12"/>
              <a:gd name="T4" fmla="*/ 7 w 12"/>
              <a:gd name="T5" fmla="*/ 12 h 12"/>
              <a:gd name="T6" fmla="*/ 3 w 12"/>
              <a:gd name="T7" fmla="*/ 12 h 12"/>
              <a:gd name="T8" fmla="*/ 0 w 12"/>
              <a:gd name="T9" fmla="*/ 5 h 12"/>
              <a:gd name="T10" fmla="*/ 3 w 12"/>
              <a:gd name="T11" fmla="*/ 0 h 12"/>
              <a:gd name="T12" fmla="*/ 12 w 12"/>
              <a:gd name="T13" fmla="*/ 0 h 12"/>
              <a:gd name="T14" fmla="*/ 10 w 12"/>
              <a:gd name="T15" fmla="*/ 5 h 12"/>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2"/>
              <a:gd name="T26" fmla="*/ 12 w 1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2">
                <a:moveTo>
                  <a:pt x="10" y="5"/>
                </a:moveTo>
                <a:lnTo>
                  <a:pt x="10" y="7"/>
                </a:lnTo>
                <a:lnTo>
                  <a:pt x="7" y="12"/>
                </a:lnTo>
                <a:lnTo>
                  <a:pt x="3" y="12"/>
                </a:lnTo>
                <a:lnTo>
                  <a:pt x="0" y="5"/>
                </a:lnTo>
                <a:lnTo>
                  <a:pt x="3" y="0"/>
                </a:lnTo>
                <a:lnTo>
                  <a:pt x="12" y="0"/>
                </a:lnTo>
                <a:lnTo>
                  <a:pt x="10" y="5"/>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43" name="Freeform 93"/>
          <p:cNvSpPr>
            <a:spLocks/>
          </p:cNvSpPr>
          <p:nvPr/>
        </p:nvSpPr>
        <p:spPr bwMode="gray">
          <a:xfrm rot="47099">
            <a:off x="1923489" y="1126282"/>
            <a:ext cx="6235" cy="3860"/>
          </a:xfrm>
          <a:custGeom>
            <a:avLst/>
            <a:gdLst>
              <a:gd name="T0" fmla="*/ 15 w 15"/>
              <a:gd name="T1" fmla="*/ 8 h 8"/>
              <a:gd name="T2" fmla="*/ 8 w 15"/>
              <a:gd name="T3" fmla="*/ 8 h 8"/>
              <a:gd name="T4" fmla="*/ 5 w 15"/>
              <a:gd name="T5" fmla="*/ 5 h 8"/>
              <a:gd name="T6" fmla="*/ 0 w 15"/>
              <a:gd name="T7" fmla="*/ 5 h 8"/>
              <a:gd name="T8" fmla="*/ 0 w 15"/>
              <a:gd name="T9" fmla="*/ 0 h 8"/>
              <a:gd name="T10" fmla="*/ 8 w 15"/>
              <a:gd name="T11" fmla="*/ 0 h 8"/>
              <a:gd name="T12" fmla="*/ 8 w 15"/>
              <a:gd name="T13" fmla="*/ 5 h 8"/>
              <a:gd name="T14" fmla="*/ 10 w 15"/>
              <a:gd name="T15" fmla="*/ 5 h 8"/>
              <a:gd name="T16" fmla="*/ 15 w 15"/>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8"/>
              <a:gd name="T29" fmla="*/ 15 w 1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8">
                <a:moveTo>
                  <a:pt x="15" y="8"/>
                </a:moveTo>
                <a:lnTo>
                  <a:pt x="8" y="8"/>
                </a:lnTo>
                <a:lnTo>
                  <a:pt x="5" y="5"/>
                </a:lnTo>
                <a:lnTo>
                  <a:pt x="0" y="5"/>
                </a:lnTo>
                <a:lnTo>
                  <a:pt x="0" y="0"/>
                </a:lnTo>
                <a:lnTo>
                  <a:pt x="8" y="0"/>
                </a:lnTo>
                <a:lnTo>
                  <a:pt x="8" y="5"/>
                </a:lnTo>
                <a:lnTo>
                  <a:pt x="10" y="5"/>
                </a:lnTo>
                <a:lnTo>
                  <a:pt x="15" y="8"/>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44" name="Freeform 94"/>
          <p:cNvSpPr>
            <a:spLocks/>
          </p:cNvSpPr>
          <p:nvPr/>
        </p:nvSpPr>
        <p:spPr bwMode="gray">
          <a:xfrm rot="47099">
            <a:off x="1876068" y="1076428"/>
            <a:ext cx="7125" cy="4824"/>
          </a:xfrm>
          <a:custGeom>
            <a:avLst/>
            <a:gdLst>
              <a:gd name="T0" fmla="*/ 8 w 15"/>
              <a:gd name="T1" fmla="*/ 0 h 10"/>
              <a:gd name="T2" fmla="*/ 12 w 15"/>
              <a:gd name="T3" fmla="*/ 3 h 10"/>
              <a:gd name="T4" fmla="*/ 15 w 15"/>
              <a:gd name="T5" fmla="*/ 7 h 10"/>
              <a:gd name="T6" fmla="*/ 15 w 15"/>
              <a:gd name="T7" fmla="*/ 10 h 10"/>
              <a:gd name="T8" fmla="*/ 12 w 15"/>
              <a:gd name="T9" fmla="*/ 10 h 10"/>
              <a:gd name="T10" fmla="*/ 12 w 15"/>
              <a:gd name="T11" fmla="*/ 7 h 10"/>
              <a:gd name="T12" fmla="*/ 8 w 15"/>
              <a:gd name="T13" fmla="*/ 7 h 10"/>
              <a:gd name="T14" fmla="*/ 5 w 15"/>
              <a:gd name="T15" fmla="*/ 3 h 10"/>
              <a:gd name="T16" fmla="*/ 0 w 15"/>
              <a:gd name="T17" fmla="*/ 0 h 10"/>
              <a:gd name="T18" fmla="*/ 8 w 15"/>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0"/>
              <a:gd name="T32" fmla="*/ 15 w 15"/>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0">
                <a:moveTo>
                  <a:pt x="8" y="0"/>
                </a:moveTo>
                <a:lnTo>
                  <a:pt x="12" y="3"/>
                </a:lnTo>
                <a:lnTo>
                  <a:pt x="15" y="7"/>
                </a:lnTo>
                <a:lnTo>
                  <a:pt x="15" y="10"/>
                </a:lnTo>
                <a:lnTo>
                  <a:pt x="12" y="10"/>
                </a:lnTo>
                <a:lnTo>
                  <a:pt x="12" y="7"/>
                </a:lnTo>
                <a:lnTo>
                  <a:pt x="8" y="7"/>
                </a:lnTo>
                <a:lnTo>
                  <a:pt x="5" y="3"/>
                </a:lnTo>
                <a:lnTo>
                  <a:pt x="0" y="0"/>
                </a:lnTo>
                <a:lnTo>
                  <a:pt x="8" y="0"/>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45" name="Freeform 95"/>
          <p:cNvSpPr>
            <a:spLocks/>
          </p:cNvSpPr>
          <p:nvPr/>
        </p:nvSpPr>
        <p:spPr bwMode="gray">
          <a:xfrm rot="47099">
            <a:off x="1911134" y="1117465"/>
            <a:ext cx="11578" cy="4824"/>
          </a:xfrm>
          <a:custGeom>
            <a:avLst/>
            <a:gdLst>
              <a:gd name="T0" fmla="*/ 24 w 24"/>
              <a:gd name="T1" fmla="*/ 7 h 9"/>
              <a:gd name="T2" fmla="*/ 24 w 24"/>
              <a:gd name="T3" fmla="*/ 9 h 9"/>
              <a:gd name="T4" fmla="*/ 19 w 24"/>
              <a:gd name="T5" fmla="*/ 9 h 9"/>
              <a:gd name="T6" fmla="*/ 24 w 24"/>
              <a:gd name="T7" fmla="*/ 7 h 9"/>
              <a:gd name="T8" fmla="*/ 24 w 24"/>
              <a:gd name="T9" fmla="*/ 2 h 9"/>
              <a:gd name="T10" fmla="*/ 19 w 24"/>
              <a:gd name="T11" fmla="*/ 2 h 9"/>
              <a:gd name="T12" fmla="*/ 17 w 24"/>
              <a:gd name="T13" fmla="*/ 7 h 9"/>
              <a:gd name="T14" fmla="*/ 17 w 24"/>
              <a:gd name="T15" fmla="*/ 9 h 9"/>
              <a:gd name="T16" fmla="*/ 15 w 24"/>
              <a:gd name="T17" fmla="*/ 9 h 9"/>
              <a:gd name="T18" fmla="*/ 15 w 24"/>
              <a:gd name="T19" fmla="*/ 7 h 9"/>
              <a:gd name="T20" fmla="*/ 8 w 24"/>
              <a:gd name="T21" fmla="*/ 7 h 9"/>
              <a:gd name="T22" fmla="*/ 3 w 24"/>
              <a:gd name="T23" fmla="*/ 9 h 9"/>
              <a:gd name="T24" fmla="*/ 0 w 24"/>
              <a:gd name="T25" fmla="*/ 9 h 9"/>
              <a:gd name="T26" fmla="*/ 0 w 24"/>
              <a:gd name="T27" fmla="*/ 2 h 9"/>
              <a:gd name="T28" fmla="*/ 8 w 24"/>
              <a:gd name="T29" fmla="*/ 2 h 9"/>
              <a:gd name="T30" fmla="*/ 10 w 24"/>
              <a:gd name="T31" fmla="*/ 0 h 9"/>
              <a:gd name="T32" fmla="*/ 15 w 24"/>
              <a:gd name="T33" fmla="*/ 0 h 9"/>
              <a:gd name="T34" fmla="*/ 17 w 24"/>
              <a:gd name="T35" fmla="*/ 2 h 9"/>
              <a:gd name="T36" fmla="*/ 24 w 24"/>
              <a:gd name="T37" fmla="*/ 2 h 9"/>
              <a:gd name="T38" fmla="*/ 24 w 24"/>
              <a:gd name="T39" fmla="*/ 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9"/>
              <a:gd name="T62" fmla="*/ 24 w 24"/>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9">
                <a:moveTo>
                  <a:pt x="24" y="7"/>
                </a:moveTo>
                <a:lnTo>
                  <a:pt x="24" y="9"/>
                </a:lnTo>
                <a:lnTo>
                  <a:pt x="19" y="9"/>
                </a:lnTo>
                <a:lnTo>
                  <a:pt x="24" y="7"/>
                </a:lnTo>
                <a:lnTo>
                  <a:pt x="24" y="2"/>
                </a:lnTo>
                <a:lnTo>
                  <a:pt x="19" y="2"/>
                </a:lnTo>
                <a:lnTo>
                  <a:pt x="17" y="7"/>
                </a:lnTo>
                <a:lnTo>
                  <a:pt x="17" y="9"/>
                </a:lnTo>
                <a:lnTo>
                  <a:pt x="15" y="9"/>
                </a:lnTo>
                <a:lnTo>
                  <a:pt x="15" y="7"/>
                </a:lnTo>
                <a:lnTo>
                  <a:pt x="8" y="7"/>
                </a:lnTo>
                <a:lnTo>
                  <a:pt x="3" y="9"/>
                </a:lnTo>
                <a:lnTo>
                  <a:pt x="0" y="9"/>
                </a:lnTo>
                <a:lnTo>
                  <a:pt x="0" y="2"/>
                </a:lnTo>
                <a:lnTo>
                  <a:pt x="8" y="2"/>
                </a:lnTo>
                <a:lnTo>
                  <a:pt x="10" y="0"/>
                </a:lnTo>
                <a:lnTo>
                  <a:pt x="15" y="0"/>
                </a:lnTo>
                <a:lnTo>
                  <a:pt x="17" y="2"/>
                </a:lnTo>
                <a:lnTo>
                  <a:pt x="24" y="2"/>
                </a:lnTo>
                <a:lnTo>
                  <a:pt x="24" y="7"/>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46" name="Freeform 96"/>
          <p:cNvSpPr>
            <a:spLocks/>
          </p:cNvSpPr>
          <p:nvPr/>
        </p:nvSpPr>
        <p:spPr bwMode="gray">
          <a:xfrm rot="47099">
            <a:off x="1919979" y="1122387"/>
            <a:ext cx="8015" cy="3860"/>
          </a:xfrm>
          <a:custGeom>
            <a:avLst/>
            <a:gdLst>
              <a:gd name="T0" fmla="*/ 17 w 17"/>
              <a:gd name="T1" fmla="*/ 7 h 9"/>
              <a:gd name="T2" fmla="*/ 15 w 17"/>
              <a:gd name="T3" fmla="*/ 7 h 9"/>
              <a:gd name="T4" fmla="*/ 15 w 17"/>
              <a:gd name="T5" fmla="*/ 9 h 9"/>
              <a:gd name="T6" fmla="*/ 5 w 17"/>
              <a:gd name="T7" fmla="*/ 9 h 9"/>
              <a:gd name="T8" fmla="*/ 5 w 17"/>
              <a:gd name="T9" fmla="*/ 7 h 9"/>
              <a:gd name="T10" fmla="*/ 0 w 17"/>
              <a:gd name="T11" fmla="*/ 2 h 9"/>
              <a:gd name="T12" fmla="*/ 5 w 17"/>
              <a:gd name="T13" fmla="*/ 2 h 9"/>
              <a:gd name="T14" fmla="*/ 7 w 17"/>
              <a:gd name="T15" fmla="*/ 0 h 9"/>
              <a:gd name="T16" fmla="*/ 12 w 17"/>
              <a:gd name="T17" fmla="*/ 0 h 9"/>
              <a:gd name="T18" fmla="*/ 17 w 17"/>
              <a:gd name="T19" fmla="*/ 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9"/>
              <a:gd name="T32" fmla="*/ 17 w 17"/>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9">
                <a:moveTo>
                  <a:pt x="17" y="7"/>
                </a:moveTo>
                <a:lnTo>
                  <a:pt x="15" y="7"/>
                </a:lnTo>
                <a:lnTo>
                  <a:pt x="15" y="9"/>
                </a:lnTo>
                <a:lnTo>
                  <a:pt x="5" y="9"/>
                </a:lnTo>
                <a:lnTo>
                  <a:pt x="5" y="7"/>
                </a:lnTo>
                <a:lnTo>
                  <a:pt x="0" y="2"/>
                </a:lnTo>
                <a:lnTo>
                  <a:pt x="5" y="2"/>
                </a:lnTo>
                <a:lnTo>
                  <a:pt x="7" y="0"/>
                </a:lnTo>
                <a:lnTo>
                  <a:pt x="12" y="0"/>
                </a:lnTo>
                <a:lnTo>
                  <a:pt x="17" y="7"/>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56" name="Freeform 106"/>
          <p:cNvSpPr>
            <a:spLocks/>
          </p:cNvSpPr>
          <p:nvPr/>
        </p:nvSpPr>
        <p:spPr bwMode="gray">
          <a:xfrm rot="47099">
            <a:off x="1929053" y="1956700"/>
            <a:ext cx="4453" cy="9649"/>
          </a:xfrm>
          <a:custGeom>
            <a:avLst/>
            <a:gdLst>
              <a:gd name="T0" fmla="*/ 8 w 10"/>
              <a:gd name="T1" fmla="*/ 7 h 21"/>
              <a:gd name="T2" fmla="*/ 10 w 10"/>
              <a:gd name="T3" fmla="*/ 14 h 21"/>
              <a:gd name="T4" fmla="*/ 8 w 10"/>
              <a:gd name="T5" fmla="*/ 14 h 21"/>
              <a:gd name="T6" fmla="*/ 8 w 10"/>
              <a:gd name="T7" fmla="*/ 21 h 21"/>
              <a:gd name="T8" fmla="*/ 3 w 10"/>
              <a:gd name="T9" fmla="*/ 21 h 21"/>
              <a:gd name="T10" fmla="*/ 3 w 10"/>
              <a:gd name="T11" fmla="*/ 17 h 21"/>
              <a:gd name="T12" fmla="*/ 0 w 10"/>
              <a:gd name="T13" fmla="*/ 12 h 21"/>
              <a:gd name="T14" fmla="*/ 3 w 10"/>
              <a:gd name="T15" fmla="*/ 5 h 21"/>
              <a:gd name="T16" fmla="*/ 3 w 10"/>
              <a:gd name="T17" fmla="*/ 0 h 21"/>
              <a:gd name="T18" fmla="*/ 8 w 10"/>
              <a:gd name="T19" fmla="*/ 5 h 21"/>
              <a:gd name="T20" fmla="*/ 8 w 10"/>
              <a:gd name="T21" fmla="*/ 7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1"/>
              <a:gd name="T35" fmla="*/ 10 w 10"/>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1">
                <a:moveTo>
                  <a:pt x="8" y="7"/>
                </a:moveTo>
                <a:lnTo>
                  <a:pt x="10" y="14"/>
                </a:lnTo>
                <a:lnTo>
                  <a:pt x="8" y="14"/>
                </a:lnTo>
                <a:lnTo>
                  <a:pt x="8" y="21"/>
                </a:lnTo>
                <a:lnTo>
                  <a:pt x="3" y="21"/>
                </a:lnTo>
                <a:lnTo>
                  <a:pt x="3" y="17"/>
                </a:lnTo>
                <a:lnTo>
                  <a:pt x="0" y="12"/>
                </a:lnTo>
                <a:lnTo>
                  <a:pt x="3" y="5"/>
                </a:lnTo>
                <a:lnTo>
                  <a:pt x="3" y="0"/>
                </a:lnTo>
                <a:lnTo>
                  <a:pt x="8" y="5"/>
                </a:lnTo>
                <a:lnTo>
                  <a:pt x="8" y="7"/>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57" name="Freeform 107"/>
          <p:cNvSpPr>
            <a:spLocks/>
          </p:cNvSpPr>
          <p:nvPr/>
        </p:nvSpPr>
        <p:spPr bwMode="gray">
          <a:xfrm rot="47099">
            <a:off x="1885255" y="1955521"/>
            <a:ext cx="60562" cy="34734"/>
          </a:xfrm>
          <a:custGeom>
            <a:avLst/>
            <a:gdLst>
              <a:gd name="T0" fmla="*/ 71 w 130"/>
              <a:gd name="T1" fmla="*/ 14 h 75"/>
              <a:gd name="T2" fmla="*/ 78 w 130"/>
              <a:gd name="T3" fmla="*/ 0 h 75"/>
              <a:gd name="T4" fmla="*/ 85 w 130"/>
              <a:gd name="T5" fmla="*/ 16 h 75"/>
              <a:gd name="T6" fmla="*/ 90 w 130"/>
              <a:gd name="T7" fmla="*/ 26 h 75"/>
              <a:gd name="T8" fmla="*/ 102 w 130"/>
              <a:gd name="T9" fmla="*/ 23 h 75"/>
              <a:gd name="T10" fmla="*/ 109 w 130"/>
              <a:gd name="T11" fmla="*/ 16 h 75"/>
              <a:gd name="T12" fmla="*/ 111 w 130"/>
              <a:gd name="T13" fmla="*/ 16 h 75"/>
              <a:gd name="T14" fmla="*/ 118 w 130"/>
              <a:gd name="T15" fmla="*/ 30 h 75"/>
              <a:gd name="T16" fmla="*/ 104 w 130"/>
              <a:gd name="T17" fmla="*/ 35 h 75"/>
              <a:gd name="T18" fmla="*/ 111 w 130"/>
              <a:gd name="T19" fmla="*/ 35 h 75"/>
              <a:gd name="T20" fmla="*/ 128 w 130"/>
              <a:gd name="T21" fmla="*/ 33 h 75"/>
              <a:gd name="T22" fmla="*/ 130 w 130"/>
              <a:gd name="T23" fmla="*/ 49 h 75"/>
              <a:gd name="T24" fmla="*/ 111 w 130"/>
              <a:gd name="T25" fmla="*/ 64 h 75"/>
              <a:gd name="T26" fmla="*/ 120 w 130"/>
              <a:gd name="T27" fmla="*/ 71 h 75"/>
              <a:gd name="T28" fmla="*/ 97 w 130"/>
              <a:gd name="T29" fmla="*/ 73 h 75"/>
              <a:gd name="T30" fmla="*/ 90 w 130"/>
              <a:gd name="T31" fmla="*/ 54 h 75"/>
              <a:gd name="T32" fmla="*/ 85 w 130"/>
              <a:gd name="T33" fmla="*/ 56 h 75"/>
              <a:gd name="T34" fmla="*/ 94 w 130"/>
              <a:gd name="T35" fmla="*/ 71 h 75"/>
              <a:gd name="T36" fmla="*/ 80 w 130"/>
              <a:gd name="T37" fmla="*/ 75 h 75"/>
              <a:gd name="T38" fmla="*/ 71 w 130"/>
              <a:gd name="T39" fmla="*/ 56 h 75"/>
              <a:gd name="T40" fmla="*/ 71 w 130"/>
              <a:gd name="T41" fmla="*/ 66 h 75"/>
              <a:gd name="T42" fmla="*/ 64 w 130"/>
              <a:gd name="T43" fmla="*/ 71 h 75"/>
              <a:gd name="T44" fmla="*/ 47 w 130"/>
              <a:gd name="T45" fmla="*/ 64 h 75"/>
              <a:gd name="T46" fmla="*/ 33 w 130"/>
              <a:gd name="T47" fmla="*/ 59 h 75"/>
              <a:gd name="T48" fmla="*/ 38 w 130"/>
              <a:gd name="T49" fmla="*/ 64 h 75"/>
              <a:gd name="T50" fmla="*/ 31 w 130"/>
              <a:gd name="T51" fmla="*/ 71 h 75"/>
              <a:gd name="T52" fmla="*/ 0 w 130"/>
              <a:gd name="T53" fmla="*/ 66 h 75"/>
              <a:gd name="T54" fmla="*/ 28 w 130"/>
              <a:gd name="T55" fmla="*/ 64 h 75"/>
              <a:gd name="T56" fmla="*/ 21 w 130"/>
              <a:gd name="T57" fmla="*/ 56 h 75"/>
              <a:gd name="T58" fmla="*/ 38 w 130"/>
              <a:gd name="T59" fmla="*/ 49 h 75"/>
              <a:gd name="T60" fmla="*/ 16 w 130"/>
              <a:gd name="T61" fmla="*/ 49 h 75"/>
              <a:gd name="T62" fmla="*/ 28 w 130"/>
              <a:gd name="T63" fmla="*/ 47 h 75"/>
              <a:gd name="T64" fmla="*/ 21 w 130"/>
              <a:gd name="T65" fmla="*/ 35 h 75"/>
              <a:gd name="T66" fmla="*/ 14 w 130"/>
              <a:gd name="T67" fmla="*/ 30 h 75"/>
              <a:gd name="T68" fmla="*/ 21 w 130"/>
              <a:gd name="T69" fmla="*/ 40 h 75"/>
              <a:gd name="T70" fmla="*/ 14 w 130"/>
              <a:gd name="T71" fmla="*/ 54 h 75"/>
              <a:gd name="T72" fmla="*/ 5 w 130"/>
              <a:gd name="T73" fmla="*/ 54 h 75"/>
              <a:gd name="T74" fmla="*/ 14 w 130"/>
              <a:gd name="T75" fmla="*/ 26 h 75"/>
              <a:gd name="T76" fmla="*/ 14 w 130"/>
              <a:gd name="T77" fmla="*/ 14 h 75"/>
              <a:gd name="T78" fmla="*/ 33 w 130"/>
              <a:gd name="T79" fmla="*/ 0 h 75"/>
              <a:gd name="T80" fmla="*/ 57 w 130"/>
              <a:gd name="T81" fmla="*/ 2 h 75"/>
              <a:gd name="T82" fmla="*/ 54 w 130"/>
              <a:gd name="T83" fmla="*/ 23 h 75"/>
              <a:gd name="T84" fmla="*/ 50 w 130"/>
              <a:gd name="T85" fmla="*/ 40 h 75"/>
              <a:gd name="T86" fmla="*/ 50 w 130"/>
              <a:gd name="T87" fmla="*/ 47 h 75"/>
              <a:gd name="T88" fmla="*/ 61 w 130"/>
              <a:gd name="T89" fmla="*/ 23 h 75"/>
              <a:gd name="T90" fmla="*/ 73 w 130"/>
              <a:gd name="T91" fmla="*/ 26 h 7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0"/>
              <a:gd name="T139" fmla="*/ 0 h 75"/>
              <a:gd name="T140" fmla="*/ 130 w 130"/>
              <a:gd name="T141" fmla="*/ 75 h 7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0" h="75">
                <a:moveTo>
                  <a:pt x="73" y="26"/>
                </a:moveTo>
                <a:lnTo>
                  <a:pt x="73" y="14"/>
                </a:lnTo>
                <a:lnTo>
                  <a:pt x="71" y="14"/>
                </a:lnTo>
                <a:lnTo>
                  <a:pt x="71" y="7"/>
                </a:lnTo>
                <a:lnTo>
                  <a:pt x="73" y="2"/>
                </a:lnTo>
                <a:lnTo>
                  <a:pt x="78" y="0"/>
                </a:lnTo>
                <a:lnTo>
                  <a:pt x="87" y="2"/>
                </a:lnTo>
                <a:lnTo>
                  <a:pt x="87" y="14"/>
                </a:lnTo>
                <a:lnTo>
                  <a:pt x="85" y="16"/>
                </a:lnTo>
                <a:lnTo>
                  <a:pt x="80" y="23"/>
                </a:lnTo>
                <a:lnTo>
                  <a:pt x="78" y="26"/>
                </a:lnTo>
                <a:lnTo>
                  <a:pt x="90" y="26"/>
                </a:lnTo>
                <a:lnTo>
                  <a:pt x="90" y="14"/>
                </a:lnTo>
                <a:lnTo>
                  <a:pt x="97" y="26"/>
                </a:lnTo>
                <a:lnTo>
                  <a:pt x="102" y="23"/>
                </a:lnTo>
                <a:lnTo>
                  <a:pt x="104" y="23"/>
                </a:lnTo>
                <a:lnTo>
                  <a:pt x="104" y="26"/>
                </a:lnTo>
                <a:lnTo>
                  <a:pt x="109" y="16"/>
                </a:lnTo>
                <a:lnTo>
                  <a:pt x="109" y="9"/>
                </a:lnTo>
                <a:lnTo>
                  <a:pt x="111" y="9"/>
                </a:lnTo>
                <a:lnTo>
                  <a:pt x="111" y="16"/>
                </a:lnTo>
                <a:lnTo>
                  <a:pt x="113" y="23"/>
                </a:lnTo>
                <a:lnTo>
                  <a:pt x="118" y="23"/>
                </a:lnTo>
                <a:lnTo>
                  <a:pt x="118" y="30"/>
                </a:lnTo>
                <a:lnTo>
                  <a:pt x="113" y="30"/>
                </a:lnTo>
                <a:lnTo>
                  <a:pt x="111" y="33"/>
                </a:lnTo>
                <a:lnTo>
                  <a:pt x="104" y="35"/>
                </a:lnTo>
                <a:lnTo>
                  <a:pt x="104" y="40"/>
                </a:lnTo>
                <a:lnTo>
                  <a:pt x="109" y="40"/>
                </a:lnTo>
                <a:lnTo>
                  <a:pt x="111" y="35"/>
                </a:lnTo>
                <a:lnTo>
                  <a:pt x="113" y="33"/>
                </a:lnTo>
                <a:lnTo>
                  <a:pt x="120" y="35"/>
                </a:lnTo>
                <a:lnTo>
                  <a:pt x="128" y="33"/>
                </a:lnTo>
                <a:lnTo>
                  <a:pt x="128" y="40"/>
                </a:lnTo>
                <a:lnTo>
                  <a:pt x="130" y="40"/>
                </a:lnTo>
                <a:lnTo>
                  <a:pt x="130" y="49"/>
                </a:lnTo>
                <a:lnTo>
                  <a:pt x="120" y="49"/>
                </a:lnTo>
                <a:lnTo>
                  <a:pt x="113" y="54"/>
                </a:lnTo>
                <a:lnTo>
                  <a:pt x="111" y="64"/>
                </a:lnTo>
                <a:lnTo>
                  <a:pt x="118" y="64"/>
                </a:lnTo>
                <a:lnTo>
                  <a:pt x="125" y="71"/>
                </a:lnTo>
                <a:lnTo>
                  <a:pt x="120" y="71"/>
                </a:lnTo>
                <a:lnTo>
                  <a:pt x="118" y="73"/>
                </a:lnTo>
                <a:lnTo>
                  <a:pt x="104" y="75"/>
                </a:lnTo>
                <a:lnTo>
                  <a:pt x="97" y="73"/>
                </a:lnTo>
                <a:lnTo>
                  <a:pt x="97" y="66"/>
                </a:lnTo>
                <a:lnTo>
                  <a:pt x="94" y="59"/>
                </a:lnTo>
                <a:lnTo>
                  <a:pt x="90" y="54"/>
                </a:lnTo>
                <a:lnTo>
                  <a:pt x="85" y="54"/>
                </a:lnTo>
                <a:lnTo>
                  <a:pt x="80" y="56"/>
                </a:lnTo>
                <a:lnTo>
                  <a:pt x="85" y="56"/>
                </a:lnTo>
                <a:lnTo>
                  <a:pt x="90" y="59"/>
                </a:lnTo>
                <a:lnTo>
                  <a:pt x="90" y="64"/>
                </a:lnTo>
                <a:lnTo>
                  <a:pt x="94" y="71"/>
                </a:lnTo>
                <a:lnTo>
                  <a:pt x="90" y="73"/>
                </a:lnTo>
                <a:lnTo>
                  <a:pt x="87" y="75"/>
                </a:lnTo>
                <a:lnTo>
                  <a:pt x="80" y="75"/>
                </a:lnTo>
                <a:lnTo>
                  <a:pt x="78" y="73"/>
                </a:lnTo>
                <a:lnTo>
                  <a:pt x="78" y="66"/>
                </a:lnTo>
                <a:lnTo>
                  <a:pt x="71" y="56"/>
                </a:lnTo>
                <a:lnTo>
                  <a:pt x="68" y="59"/>
                </a:lnTo>
                <a:lnTo>
                  <a:pt x="71" y="64"/>
                </a:lnTo>
                <a:lnTo>
                  <a:pt x="71" y="66"/>
                </a:lnTo>
                <a:lnTo>
                  <a:pt x="73" y="66"/>
                </a:lnTo>
                <a:lnTo>
                  <a:pt x="73" y="71"/>
                </a:lnTo>
                <a:lnTo>
                  <a:pt x="64" y="71"/>
                </a:lnTo>
                <a:lnTo>
                  <a:pt x="64" y="66"/>
                </a:lnTo>
                <a:lnTo>
                  <a:pt x="61" y="64"/>
                </a:lnTo>
                <a:lnTo>
                  <a:pt x="47" y="64"/>
                </a:lnTo>
                <a:lnTo>
                  <a:pt x="40" y="66"/>
                </a:lnTo>
                <a:lnTo>
                  <a:pt x="40" y="64"/>
                </a:lnTo>
                <a:lnTo>
                  <a:pt x="33" y="59"/>
                </a:lnTo>
                <a:lnTo>
                  <a:pt x="31" y="59"/>
                </a:lnTo>
                <a:lnTo>
                  <a:pt x="33" y="59"/>
                </a:lnTo>
                <a:lnTo>
                  <a:pt x="38" y="64"/>
                </a:lnTo>
                <a:lnTo>
                  <a:pt x="33" y="71"/>
                </a:lnTo>
                <a:lnTo>
                  <a:pt x="31" y="73"/>
                </a:lnTo>
                <a:lnTo>
                  <a:pt x="31" y="71"/>
                </a:lnTo>
                <a:lnTo>
                  <a:pt x="24" y="73"/>
                </a:lnTo>
                <a:lnTo>
                  <a:pt x="5" y="73"/>
                </a:lnTo>
                <a:lnTo>
                  <a:pt x="0" y="66"/>
                </a:lnTo>
                <a:lnTo>
                  <a:pt x="5" y="66"/>
                </a:lnTo>
                <a:lnTo>
                  <a:pt x="7" y="64"/>
                </a:lnTo>
                <a:lnTo>
                  <a:pt x="28" y="64"/>
                </a:lnTo>
                <a:lnTo>
                  <a:pt x="28" y="59"/>
                </a:lnTo>
                <a:lnTo>
                  <a:pt x="21" y="59"/>
                </a:lnTo>
                <a:lnTo>
                  <a:pt x="21" y="56"/>
                </a:lnTo>
                <a:lnTo>
                  <a:pt x="28" y="54"/>
                </a:lnTo>
                <a:lnTo>
                  <a:pt x="38" y="54"/>
                </a:lnTo>
                <a:lnTo>
                  <a:pt x="38" y="49"/>
                </a:lnTo>
                <a:lnTo>
                  <a:pt x="28" y="54"/>
                </a:lnTo>
                <a:lnTo>
                  <a:pt x="14" y="54"/>
                </a:lnTo>
                <a:lnTo>
                  <a:pt x="16" y="49"/>
                </a:lnTo>
                <a:lnTo>
                  <a:pt x="21" y="49"/>
                </a:lnTo>
                <a:lnTo>
                  <a:pt x="24" y="47"/>
                </a:lnTo>
                <a:lnTo>
                  <a:pt x="28" y="47"/>
                </a:lnTo>
                <a:lnTo>
                  <a:pt x="28" y="40"/>
                </a:lnTo>
                <a:lnTo>
                  <a:pt x="24" y="40"/>
                </a:lnTo>
                <a:lnTo>
                  <a:pt x="21" y="35"/>
                </a:lnTo>
                <a:lnTo>
                  <a:pt x="21" y="33"/>
                </a:lnTo>
                <a:lnTo>
                  <a:pt x="16" y="33"/>
                </a:lnTo>
                <a:lnTo>
                  <a:pt x="14" y="30"/>
                </a:lnTo>
                <a:lnTo>
                  <a:pt x="9" y="33"/>
                </a:lnTo>
                <a:lnTo>
                  <a:pt x="9" y="40"/>
                </a:lnTo>
                <a:lnTo>
                  <a:pt x="21" y="40"/>
                </a:lnTo>
                <a:lnTo>
                  <a:pt x="24" y="42"/>
                </a:lnTo>
                <a:lnTo>
                  <a:pt x="24" y="47"/>
                </a:lnTo>
                <a:lnTo>
                  <a:pt x="14" y="54"/>
                </a:lnTo>
                <a:lnTo>
                  <a:pt x="5" y="56"/>
                </a:lnTo>
                <a:lnTo>
                  <a:pt x="0" y="56"/>
                </a:lnTo>
                <a:lnTo>
                  <a:pt x="5" y="54"/>
                </a:lnTo>
                <a:lnTo>
                  <a:pt x="5" y="35"/>
                </a:lnTo>
                <a:lnTo>
                  <a:pt x="7" y="33"/>
                </a:lnTo>
                <a:lnTo>
                  <a:pt x="14" y="26"/>
                </a:lnTo>
                <a:lnTo>
                  <a:pt x="16" y="16"/>
                </a:lnTo>
                <a:lnTo>
                  <a:pt x="16" y="14"/>
                </a:lnTo>
                <a:lnTo>
                  <a:pt x="14" y="14"/>
                </a:lnTo>
                <a:lnTo>
                  <a:pt x="14" y="9"/>
                </a:lnTo>
                <a:lnTo>
                  <a:pt x="24" y="2"/>
                </a:lnTo>
                <a:lnTo>
                  <a:pt x="33" y="0"/>
                </a:lnTo>
                <a:lnTo>
                  <a:pt x="50" y="0"/>
                </a:lnTo>
                <a:lnTo>
                  <a:pt x="54" y="2"/>
                </a:lnTo>
                <a:lnTo>
                  <a:pt x="57" y="2"/>
                </a:lnTo>
                <a:lnTo>
                  <a:pt x="61" y="9"/>
                </a:lnTo>
                <a:lnTo>
                  <a:pt x="57" y="19"/>
                </a:lnTo>
                <a:lnTo>
                  <a:pt x="54" y="23"/>
                </a:lnTo>
                <a:lnTo>
                  <a:pt x="54" y="26"/>
                </a:lnTo>
                <a:lnTo>
                  <a:pt x="50" y="30"/>
                </a:lnTo>
                <a:lnTo>
                  <a:pt x="50" y="40"/>
                </a:lnTo>
                <a:lnTo>
                  <a:pt x="47" y="40"/>
                </a:lnTo>
                <a:lnTo>
                  <a:pt x="50" y="42"/>
                </a:lnTo>
                <a:lnTo>
                  <a:pt x="50" y="47"/>
                </a:lnTo>
                <a:lnTo>
                  <a:pt x="50" y="40"/>
                </a:lnTo>
                <a:lnTo>
                  <a:pt x="54" y="33"/>
                </a:lnTo>
                <a:lnTo>
                  <a:pt x="61" y="23"/>
                </a:lnTo>
                <a:lnTo>
                  <a:pt x="68" y="16"/>
                </a:lnTo>
                <a:lnTo>
                  <a:pt x="73" y="23"/>
                </a:lnTo>
                <a:lnTo>
                  <a:pt x="73" y="26"/>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59" name="Freeform 109"/>
          <p:cNvSpPr>
            <a:spLocks/>
          </p:cNvSpPr>
          <p:nvPr/>
        </p:nvSpPr>
        <p:spPr bwMode="gray">
          <a:xfrm rot="47099">
            <a:off x="1936183" y="1955839"/>
            <a:ext cx="5343" cy="10613"/>
          </a:xfrm>
          <a:custGeom>
            <a:avLst/>
            <a:gdLst>
              <a:gd name="T0" fmla="*/ 9 w 11"/>
              <a:gd name="T1" fmla="*/ 0 h 23"/>
              <a:gd name="T2" fmla="*/ 9 w 11"/>
              <a:gd name="T3" fmla="*/ 14 h 23"/>
              <a:gd name="T4" fmla="*/ 11 w 11"/>
              <a:gd name="T5" fmla="*/ 16 h 23"/>
              <a:gd name="T6" fmla="*/ 11 w 11"/>
              <a:gd name="T7" fmla="*/ 23 h 23"/>
              <a:gd name="T8" fmla="*/ 9 w 11"/>
              <a:gd name="T9" fmla="*/ 19 h 23"/>
              <a:gd name="T10" fmla="*/ 9 w 11"/>
              <a:gd name="T11" fmla="*/ 16 h 23"/>
              <a:gd name="T12" fmla="*/ 4 w 11"/>
              <a:gd name="T13" fmla="*/ 16 h 23"/>
              <a:gd name="T14" fmla="*/ 4 w 11"/>
              <a:gd name="T15" fmla="*/ 9 h 23"/>
              <a:gd name="T16" fmla="*/ 2 w 11"/>
              <a:gd name="T17" fmla="*/ 2 h 23"/>
              <a:gd name="T18" fmla="*/ 0 w 11"/>
              <a:gd name="T19" fmla="*/ 2 h 23"/>
              <a:gd name="T20" fmla="*/ 0 w 11"/>
              <a:gd name="T21" fmla="*/ 0 h 23"/>
              <a:gd name="T22" fmla="*/ 9 w 11"/>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23"/>
              <a:gd name="T38" fmla="*/ 11 w 11"/>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23">
                <a:moveTo>
                  <a:pt x="9" y="0"/>
                </a:moveTo>
                <a:lnTo>
                  <a:pt x="9" y="14"/>
                </a:lnTo>
                <a:lnTo>
                  <a:pt x="11" y="16"/>
                </a:lnTo>
                <a:lnTo>
                  <a:pt x="11" y="23"/>
                </a:lnTo>
                <a:lnTo>
                  <a:pt x="9" y="19"/>
                </a:lnTo>
                <a:lnTo>
                  <a:pt x="9" y="16"/>
                </a:lnTo>
                <a:lnTo>
                  <a:pt x="4" y="16"/>
                </a:lnTo>
                <a:lnTo>
                  <a:pt x="4" y="9"/>
                </a:lnTo>
                <a:lnTo>
                  <a:pt x="2" y="2"/>
                </a:lnTo>
                <a:lnTo>
                  <a:pt x="0" y="2"/>
                </a:lnTo>
                <a:lnTo>
                  <a:pt x="0" y="0"/>
                </a:lnTo>
                <a:lnTo>
                  <a:pt x="9" y="0"/>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63" name="Freeform 113"/>
          <p:cNvSpPr>
            <a:spLocks/>
          </p:cNvSpPr>
          <p:nvPr/>
        </p:nvSpPr>
        <p:spPr bwMode="gray">
          <a:xfrm rot="47099">
            <a:off x="1941512" y="1953151"/>
            <a:ext cx="24938" cy="18332"/>
          </a:xfrm>
          <a:custGeom>
            <a:avLst/>
            <a:gdLst>
              <a:gd name="T0" fmla="*/ 8 w 55"/>
              <a:gd name="T1" fmla="*/ 28 h 40"/>
              <a:gd name="T2" fmla="*/ 5 w 55"/>
              <a:gd name="T3" fmla="*/ 31 h 40"/>
              <a:gd name="T4" fmla="*/ 0 w 55"/>
              <a:gd name="T5" fmla="*/ 28 h 40"/>
              <a:gd name="T6" fmla="*/ 0 w 55"/>
              <a:gd name="T7" fmla="*/ 5 h 40"/>
              <a:gd name="T8" fmla="*/ 5 w 55"/>
              <a:gd name="T9" fmla="*/ 0 h 40"/>
              <a:gd name="T10" fmla="*/ 8 w 55"/>
              <a:gd name="T11" fmla="*/ 0 h 40"/>
              <a:gd name="T12" fmla="*/ 8 w 55"/>
              <a:gd name="T13" fmla="*/ 12 h 40"/>
              <a:gd name="T14" fmla="*/ 10 w 55"/>
              <a:gd name="T15" fmla="*/ 14 h 40"/>
              <a:gd name="T16" fmla="*/ 10 w 55"/>
              <a:gd name="T17" fmla="*/ 0 h 40"/>
              <a:gd name="T18" fmla="*/ 17 w 55"/>
              <a:gd name="T19" fmla="*/ 0 h 40"/>
              <a:gd name="T20" fmla="*/ 24 w 55"/>
              <a:gd name="T21" fmla="*/ 7 h 40"/>
              <a:gd name="T22" fmla="*/ 26 w 55"/>
              <a:gd name="T23" fmla="*/ 5 h 40"/>
              <a:gd name="T24" fmla="*/ 31 w 55"/>
              <a:gd name="T25" fmla="*/ 0 h 40"/>
              <a:gd name="T26" fmla="*/ 41 w 55"/>
              <a:gd name="T27" fmla="*/ 0 h 40"/>
              <a:gd name="T28" fmla="*/ 41 w 55"/>
              <a:gd name="T29" fmla="*/ 14 h 40"/>
              <a:gd name="T30" fmla="*/ 48 w 55"/>
              <a:gd name="T31" fmla="*/ 14 h 40"/>
              <a:gd name="T32" fmla="*/ 55 w 55"/>
              <a:gd name="T33" fmla="*/ 31 h 40"/>
              <a:gd name="T34" fmla="*/ 50 w 55"/>
              <a:gd name="T35" fmla="*/ 35 h 40"/>
              <a:gd name="T36" fmla="*/ 48 w 55"/>
              <a:gd name="T37" fmla="*/ 38 h 40"/>
              <a:gd name="T38" fmla="*/ 45 w 55"/>
              <a:gd name="T39" fmla="*/ 38 h 40"/>
              <a:gd name="T40" fmla="*/ 41 w 55"/>
              <a:gd name="T41" fmla="*/ 40 h 40"/>
              <a:gd name="T42" fmla="*/ 38 w 55"/>
              <a:gd name="T43" fmla="*/ 40 h 40"/>
              <a:gd name="T44" fmla="*/ 38 w 55"/>
              <a:gd name="T45" fmla="*/ 38 h 40"/>
              <a:gd name="T46" fmla="*/ 34 w 55"/>
              <a:gd name="T47" fmla="*/ 35 h 40"/>
              <a:gd name="T48" fmla="*/ 38 w 55"/>
              <a:gd name="T49" fmla="*/ 31 h 40"/>
              <a:gd name="T50" fmla="*/ 41 w 55"/>
              <a:gd name="T51" fmla="*/ 28 h 40"/>
              <a:gd name="T52" fmla="*/ 31 w 55"/>
              <a:gd name="T53" fmla="*/ 28 h 40"/>
              <a:gd name="T54" fmla="*/ 31 w 55"/>
              <a:gd name="T55" fmla="*/ 35 h 40"/>
              <a:gd name="T56" fmla="*/ 24 w 55"/>
              <a:gd name="T57" fmla="*/ 31 h 40"/>
              <a:gd name="T58" fmla="*/ 22 w 55"/>
              <a:gd name="T59" fmla="*/ 24 h 40"/>
              <a:gd name="T60" fmla="*/ 17 w 55"/>
              <a:gd name="T61" fmla="*/ 28 h 40"/>
              <a:gd name="T62" fmla="*/ 8 w 55"/>
              <a:gd name="T63" fmla="*/ 28 h 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
              <a:gd name="T97" fmla="*/ 0 h 40"/>
              <a:gd name="T98" fmla="*/ 55 w 55"/>
              <a:gd name="T99" fmla="*/ 40 h 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 h="40">
                <a:moveTo>
                  <a:pt x="8" y="28"/>
                </a:moveTo>
                <a:lnTo>
                  <a:pt x="5" y="31"/>
                </a:lnTo>
                <a:lnTo>
                  <a:pt x="0" y="28"/>
                </a:lnTo>
                <a:lnTo>
                  <a:pt x="0" y="5"/>
                </a:lnTo>
                <a:lnTo>
                  <a:pt x="5" y="0"/>
                </a:lnTo>
                <a:lnTo>
                  <a:pt x="8" y="0"/>
                </a:lnTo>
                <a:lnTo>
                  <a:pt x="8" y="12"/>
                </a:lnTo>
                <a:lnTo>
                  <a:pt x="10" y="14"/>
                </a:lnTo>
                <a:lnTo>
                  <a:pt x="10" y="0"/>
                </a:lnTo>
                <a:lnTo>
                  <a:pt x="17" y="0"/>
                </a:lnTo>
                <a:lnTo>
                  <a:pt x="24" y="7"/>
                </a:lnTo>
                <a:lnTo>
                  <a:pt x="26" y="5"/>
                </a:lnTo>
                <a:lnTo>
                  <a:pt x="31" y="0"/>
                </a:lnTo>
                <a:lnTo>
                  <a:pt x="41" y="0"/>
                </a:lnTo>
                <a:lnTo>
                  <a:pt x="41" y="14"/>
                </a:lnTo>
                <a:lnTo>
                  <a:pt x="48" y="14"/>
                </a:lnTo>
                <a:lnTo>
                  <a:pt x="55" y="31"/>
                </a:lnTo>
                <a:lnTo>
                  <a:pt x="50" y="35"/>
                </a:lnTo>
                <a:lnTo>
                  <a:pt x="48" y="38"/>
                </a:lnTo>
                <a:lnTo>
                  <a:pt x="45" y="38"/>
                </a:lnTo>
                <a:lnTo>
                  <a:pt x="41" y="40"/>
                </a:lnTo>
                <a:lnTo>
                  <a:pt x="38" y="40"/>
                </a:lnTo>
                <a:lnTo>
                  <a:pt x="38" y="38"/>
                </a:lnTo>
                <a:lnTo>
                  <a:pt x="34" y="35"/>
                </a:lnTo>
                <a:lnTo>
                  <a:pt x="38" y="31"/>
                </a:lnTo>
                <a:lnTo>
                  <a:pt x="41" y="28"/>
                </a:lnTo>
                <a:lnTo>
                  <a:pt x="31" y="28"/>
                </a:lnTo>
                <a:lnTo>
                  <a:pt x="31" y="35"/>
                </a:lnTo>
                <a:lnTo>
                  <a:pt x="24" y="31"/>
                </a:lnTo>
                <a:lnTo>
                  <a:pt x="22" y="24"/>
                </a:lnTo>
                <a:lnTo>
                  <a:pt x="17" y="28"/>
                </a:lnTo>
                <a:lnTo>
                  <a:pt x="8" y="28"/>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83" name="Freeform 133"/>
          <p:cNvSpPr>
            <a:spLocks/>
          </p:cNvSpPr>
          <p:nvPr/>
        </p:nvSpPr>
        <p:spPr bwMode="gray">
          <a:xfrm rot="47099">
            <a:off x="1911503" y="1523341"/>
            <a:ext cx="23156" cy="57890"/>
          </a:xfrm>
          <a:custGeom>
            <a:avLst/>
            <a:gdLst>
              <a:gd name="T0" fmla="*/ 16 w 49"/>
              <a:gd name="T1" fmla="*/ 74 h 126"/>
              <a:gd name="T2" fmla="*/ 19 w 49"/>
              <a:gd name="T3" fmla="*/ 64 h 126"/>
              <a:gd name="T4" fmla="*/ 16 w 49"/>
              <a:gd name="T5" fmla="*/ 43 h 126"/>
              <a:gd name="T6" fmla="*/ 9 w 49"/>
              <a:gd name="T7" fmla="*/ 36 h 126"/>
              <a:gd name="T8" fmla="*/ 5 w 49"/>
              <a:gd name="T9" fmla="*/ 36 h 126"/>
              <a:gd name="T10" fmla="*/ 0 w 49"/>
              <a:gd name="T11" fmla="*/ 33 h 126"/>
              <a:gd name="T12" fmla="*/ 2 w 49"/>
              <a:gd name="T13" fmla="*/ 17 h 126"/>
              <a:gd name="T14" fmla="*/ 9 w 49"/>
              <a:gd name="T15" fmla="*/ 10 h 126"/>
              <a:gd name="T16" fmla="*/ 23 w 49"/>
              <a:gd name="T17" fmla="*/ 7 h 126"/>
              <a:gd name="T18" fmla="*/ 33 w 49"/>
              <a:gd name="T19" fmla="*/ 0 h 126"/>
              <a:gd name="T20" fmla="*/ 33 w 49"/>
              <a:gd name="T21" fmla="*/ 7 h 126"/>
              <a:gd name="T22" fmla="*/ 23 w 49"/>
              <a:gd name="T23" fmla="*/ 17 h 126"/>
              <a:gd name="T24" fmla="*/ 26 w 49"/>
              <a:gd name="T25" fmla="*/ 24 h 126"/>
              <a:gd name="T26" fmla="*/ 28 w 49"/>
              <a:gd name="T27" fmla="*/ 19 h 126"/>
              <a:gd name="T28" fmla="*/ 35 w 49"/>
              <a:gd name="T29" fmla="*/ 41 h 126"/>
              <a:gd name="T30" fmla="*/ 49 w 49"/>
              <a:gd name="T31" fmla="*/ 48 h 126"/>
              <a:gd name="T32" fmla="*/ 45 w 49"/>
              <a:gd name="T33" fmla="*/ 64 h 126"/>
              <a:gd name="T34" fmla="*/ 42 w 49"/>
              <a:gd name="T35" fmla="*/ 69 h 126"/>
              <a:gd name="T36" fmla="*/ 40 w 49"/>
              <a:gd name="T37" fmla="*/ 83 h 126"/>
              <a:gd name="T38" fmla="*/ 40 w 49"/>
              <a:gd name="T39" fmla="*/ 90 h 126"/>
              <a:gd name="T40" fmla="*/ 35 w 49"/>
              <a:gd name="T41" fmla="*/ 93 h 126"/>
              <a:gd name="T42" fmla="*/ 40 w 49"/>
              <a:gd name="T43" fmla="*/ 97 h 126"/>
              <a:gd name="T44" fmla="*/ 42 w 49"/>
              <a:gd name="T45" fmla="*/ 109 h 126"/>
              <a:gd name="T46" fmla="*/ 42 w 49"/>
              <a:gd name="T47" fmla="*/ 107 h 126"/>
              <a:gd name="T48" fmla="*/ 45 w 49"/>
              <a:gd name="T49" fmla="*/ 116 h 126"/>
              <a:gd name="T50" fmla="*/ 45 w 49"/>
              <a:gd name="T51" fmla="*/ 123 h 126"/>
              <a:gd name="T52" fmla="*/ 33 w 49"/>
              <a:gd name="T53" fmla="*/ 126 h 126"/>
              <a:gd name="T54" fmla="*/ 28 w 49"/>
              <a:gd name="T55" fmla="*/ 114 h 126"/>
              <a:gd name="T56" fmla="*/ 26 w 49"/>
              <a:gd name="T57" fmla="*/ 109 h 126"/>
              <a:gd name="T58" fmla="*/ 9 w 49"/>
              <a:gd name="T59" fmla="*/ 107 h 126"/>
              <a:gd name="T60" fmla="*/ 2 w 49"/>
              <a:gd name="T61" fmla="*/ 109 h 126"/>
              <a:gd name="T62" fmla="*/ 5 w 49"/>
              <a:gd name="T63" fmla="*/ 104 h 126"/>
              <a:gd name="T64" fmla="*/ 12 w 49"/>
              <a:gd name="T65" fmla="*/ 97 h 126"/>
              <a:gd name="T66" fmla="*/ 12 w 49"/>
              <a:gd name="T67" fmla="*/ 93 h 126"/>
              <a:gd name="T68" fmla="*/ 16 w 49"/>
              <a:gd name="T69" fmla="*/ 76 h 126"/>
              <a:gd name="T70" fmla="*/ 23 w 49"/>
              <a:gd name="T71" fmla="*/ 59 h 126"/>
              <a:gd name="T72" fmla="*/ 19 w 49"/>
              <a:gd name="T73" fmla="*/ 57 h 126"/>
              <a:gd name="T74" fmla="*/ 23 w 49"/>
              <a:gd name="T75" fmla="*/ 48 h 126"/>
              <a:gd name="T76" fmla="*/ 16 w 49"/>
              <a:gd name="T77" fmla="*/ 41 h 126"/>
              <a:gd name="T78" fmla="*/ 19 w 49"/>
              <a:gd name="T79" fmla="*/ 48 h 126"/>
              <a:gd name="T80" fmla="*/ 16 w 49"/>
              <a:gd name="T81" fmla="*/ 67 h 126"/>
              <a:gd name="T82" fmla="*/ 12 w 49"/>
              <a:gd name="T83" fmla="*/ 74 h 1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
              <a:gd name="T127" fmla="*/ 0 h 126"/>
              <a:gd name="T128" fmla="*/ 49 w 49"/>
              <a:gd name="T129" fmla="*/ 126 h 1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 h="126">
                <a:moveTo>
                  <a:pt x="12" y="74"/>
                </a:moveTo>
                <a:lnTo>
                  <a:pt x="16" y="74"/>
                </a:lnTo>
                <a:lnTo>
                  <a:pt x="16" y="67"/>
                </a:lnTo>
                <a:lnTo>
                  <a:pt x="19" y="64"/>
                </a:lnTo>
                <a:lnTo>
                  <a:pt x="19" y="48"/>
                </a:lnTo>
                <a:lnTo>
                  <a:pt x="16" y="43"/>
                </a:lnTo>
                <a:lnTo>
                  <a:pt x="16" y="36"/>
                </a:lnTo>
                <a:lnTo>
                  <a:pt x="9" y="36"/>
                </a:lnTo>
                <a:lnTo>
                  <a:pt x="9" y="33"/>
                </a:lnTo>
                <a:lnTo>
                  <a:pt x="5" y="36"/>
                </a:lnTo>
                <a:lnTo>
                  <a:pt x="2" y="36"/>
                </a:lnTo>
                <a:lnTo>
                  <a:pt x="0" y="33"/>
                </a:lnTo>
                <a:lnTo>
                  <a:pt x="0" y="19"/>
                </a:lnTo>
                <a:lnTo>
                  <a:pt x="2" y="17"/>
                </a:lnTo>
                <a:lnTo>
                  <a:pt x="2" y="12"/>
                </a:lnTo>
                <a:lnTo>
                  <a:pt x="9" y="10"/>
                </a:lnTo>
                <a:lnTo>
                  <a:pt x="16" y="7"/>
                </a:lnTo>
                <a:lnTo>
                  <a:pt x="23" y="7"/>
                </a:lnTo>
                <a:lnTo>
                  <a:pt x="33" y="3"/>
                </a:lnTo>
                <a:lnTo>
                  <a:pt x="33" y="0"/>
                </a:lnTo>
                <a:lnTo>
                  <a:pt x="35" y="3"/>
                </a:lnTo>
                <a:lnTo>
                  <a:pt x="33" y="7"/>
                </a:lnTo>
                <a:lnTo>
                  <a:pt x="28" y="7"/>
                </a:lnTo>
                <a:lnTo>
                  <a:pt x="23" y="17"/>
                </a:lnTo>
                <a:lnTo>
                  <a:pt x="26" y="19"/>
                </a:lnTo>
                <a:lnTo>
                  <a:pt x="26" y="24"/>
                </a:lnTo>
                <a:lnTo>
                  <a:pt x="26" y="19"/>
                </a:lnTo>
                <a:lnTo>
                  <a:pt x="28" y="19"/>
                </a:lnTo>
                <a:lnTo>
                  <a:pt x="28" y="36"/>
                </a:lnTo>
                <a:lnTo>
                  <a:pt x="35" y="41"/>
                </a:lnTo>
                <a:lnTo>
                  <a:pt x="40" y="41"/>
                </a:lnTo>
                <a:lnTo>
                  <a:pt x="49" y="48"/>
                </a:lnTo>
                <a:lnTo>
                  <a:pt x="49" y="64"/>
                </a:lnTo>
                <a:lnTo>
                  <a:pt x="45" y="64"/>
                </a:lnTo>
                <a:lnTo>
                  <a:pt x="45" y="67"/>
                </a:lnTo>
                <a:lnTo>
                  <a:pt x="42" y="69"/>
                </a:lnTo>
                <a:lnTo>
                  <a:pt x="40" y="74"/>
                </a:lnTo>
                <a:lnTo>
                  <a:pt x="40" y="83"/>
                </a:lnTo>
                <a:lnTo>
                  <a:pt x="42" y="88"/>
                </a:lnTo>
                <a:lnTo>
                  <a:pt x="40" y="90"/>
                </a:lnTo>
                <a:lnTo>
                  <a:pt x="40" y="93"/>
                </a:lnTo>
                <a:lnTo>
                  <a:pt x="35" y="93"/>
                </a:lnTo>
                <a:lnTo>
                  <a:pt x="35" y="97"/>
                </a:lnTo>
                <a:lnTo>
                  <a:pt x="40" y="97"/>
                </a:lnTo>
                <a:lnTo>
                  <a:pt x="40" y="109"/>
                </a:lnTo>
                <a:lnTo>
                  <a:pt x="42" y="109"/>
                </a:lnTo>
                <a:lnTo>
                  <a:pt x="42" y="104"/>
                </a:lnTo>
                <a:lnTo>
                  <a:pt x="42" y="107"/>
                </a:lnTo>
                <a:lnTo>
                  <a:pt x="45" y="109"/>
                </a:lnTo>
                <a:lnTo>
                  <a:pt x="45" y="116"/>
                </a:lnTo>
                <a:lnTo>
                  <a:pt x="49" y="123"/>
                </a:lnTo>
                <a:lnTo>
                  <a:pt x="45" y="123"/>
                </a:lnTo>
                <a:lnTo>
                  <a:pt x="42" y="126"/>
                </a:lnTo>
                <a:lnTo>
                  <a:pt x="33" y="126"/>
                </a:lnTo>
                <a:lnTo>
                  <a:pt x="33" y="114"/>
                </a:lnTo>
                <a:lnTo>
                  <a:pt x="28" y="114"/>
                </a:lnTo>
                <a:lnTo>
                  <a:pt x="28" y="109"/>
                </a:lnTo>
                <a:lnTo>
                  <a:pt x="26" y="109"/>
                </a:lnTo>
                <a:lnTo>
                  <a:pt x="16" y="107"/>
                </a:lnTo>
                <a:lnTo>
                  <a:pt x="9" y="107"/>
                </a:lnTo>
                <a:lnTo>
                  <a:pt x="9" y="109"/>
                </a:lnTo>
                <a:lnTo>
                  <a:pt x="2" y="109"/>
                </a:lnTo>
                <a:lnTo>
                  <a:pt x="2" y="107"/>
                </a:lnTo>
                <a:lnTo>
                  <a:pt x="5" y="104"/>
                </a:lnTo>
                <a:lnTo>
                  <a:pt x="9" y="104"/>
                </a:lnTo>
                <a:lnTo>
                  <a:pt x="12" y="97"/>
                </a:lnTo>
                <a:lnTo>
                  <a:pt x="12" y="90"/>
                </a:lnTo>
                <a:lnTo>
                  <a:pt x="12" y="93"/>
                </a:lnTo>
                <a:lnTo>
                  <a:pt x="12" y="76"/>
                </a:lnTo>
                <a:lnTo>
                  <a:pt x="16" y="76"/>
                </a:lnTo>
                <a:lnTo>
                  <a:pt x="19" y="74"/>
                </a:lnTo>
                <a:lnTo>
                  <a:pt x="23" y="59"/>
                </a:lnTo>
                <a:lnTo>
                  <a:pt x="23" y="57"/>
                </a:lnTo>
                <a:lnTo>
                  <a:pt x="19" y="57"/>
                </a:lnTo>
                <a:lnTo>
                  <a:pt x="19" y="48"/>
                </a:lnTo>
                <a:lnTo>
                  <a:pt x="23" y="48"/>
                </a:lnTo>
                <a:lnTo>
                  <a:pt x="23" y="43"/>
                </a:lnTo>
                <a:lnTo>
                  <a:pt x="16" y="41"/>
                </a:lnTo>
                <a:lnTo>
                  <a:pt x="16" y="43"/>
                </a:lnTo>
                <a:lnTo>
                  <a:pt x="19" y="48"/>
                </a:lnTo>
                <a:lnTo>
                  <a:pt x="19" y="64"/>
                </a:lnTo>
                <a:lnTo>
                  <a:pt x="16" y="67"/>
                </a:lnTo>
                <a:lnTo>
                  <a:pt x="16" y="74"/>
                </a:lnTo>
                <a:lnTo>
                  <a:pt x="12" y="74"/>
                </a:lnTo>
              </a:path>
            </a:pathLst>
          </a:custGeom>
          <a:solidFill>
            <a:srgbClr val="ADE2E5"/>
          </a:solidFill>
          <a:ln w="3175" cap="flat" cmpd="sng">
            <a:solidFill>
              <a:schemeClr val="tx1">
                <a:lumMod val="60000"/>
                <a:lumOff val="40000"/>
              </a:schemeClr>
            </a:solidFill>
            <a:prstDash val="solid"/>
            <a:miter lim="800000"/>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667" name="Title 3">
            <a:extLst>
              <a:ext uri="{FF2B5EF4-FFF2-40B4-BE49-F238E27FC236}">
                <a16:creationId xmlns:a16="http://schemas.microsoft.com/office/drawing/2014/main" id="{C26F46C7-04DE-4352-AF10-9B883818919B}"/>
              </a:ext>
            </a:extLst>
          </p:cNvPr>
          <p:cNvSpPr txBox="1">
            <a:spLocks/>
          </p:cNvSpPr>
          <p:nvPr/>
        </p:nvSpPr>
        <p:spPr>
          <a:xfrm>
            <a:off x="552193" y="449979"/>
            <a:ext cx="10978515" cy="31202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400" i="0" u="none" strike="noStrike" kern="1200" cap="none" spc="0" normalizeH="0" baseline="0" noProof="0" dirty="0">
                <a:ln>
                  <a:noFill/>
                </a:ln>
                <a:solidFill>
                  <a:schemeClr val="bg1">
                    <a:lumMod val="75000"/>
                  </a:schemeClr>
                </a:solidFill>
                <a:effectLst/>
                <a:uLnTx/>
                <a:uFillTx/>
                <a:latin typeface="EYInterstate" panose="02000503020000020004" pitchFamily="2" charset="0"/>
              </a:rPr>
              <a:t>FY20 Global Areas</a:t>
            </a:r>
            <a:br>
              <a:rPr kumimoji="0" lang="en-US" sz="2400" i="0" u="none" strike="noStrike" kern="1200" cap="none" spc="0" normalizeH="0" baseline="0" noProof="0" dirty="0">
                <a:ln>
                  <a:noFill/>
                </a:ln>
                <a:solidFill>
                  <a:schemeClr val="bg1">
                    <a:lumMod val="75000"/>
                  </a:schemeClr>
                </a:solidFill>
                <a:effectLst/>
                <a:uLnTx/>
                <a:uFillTx/>
                <a:latin typeface="EYInterstate" panose="02000503020000020004" pitchFamily="2" charset="0"/>
              </a:rPr>
            </a:br>
            <a:endParaRPr kumimoji="0" lang="en-US" sz="2400" i="0" u="none" strike="noStrike" kern="1200" cap="none" spc="0" normalizeH="0" baseline="0" noProof="0" dirty="0">
              <a:ln>
                <a:noFill/>
              </a:ln>
              <a:solidFill>
                <a:schemeClr val="bg1">
                  <a:lumMod val="75000"/>
                </a:schemeClr>
              </a:solidFill>
              <a:effectLst/>
              <a:uLnTx/>
              <a:uFillTx/>
              <a:latin typeface="EYInterstate" panose="02000503020000020004" pitchFamily="2" charset="0"/>
            </a:endParaRPr>
          </a:p>
        </p:txBody>
      </p:sp>
      <p:sp>
        <p:nvSpPr>
          <p:cNvPr id="2" name="TextBox 1">
            <a:extLst>
              <a:ext uri="{FF2B5EF4-FFF2-40B4-BE49-F238E27FC236}">
                <a16:creationId xmlns:a16="http://schemas.microsoft.com/office/drawing/2014/main" id="{4EB50082-2956-4BF2-B3E3-9AF8A4F407E8}"/>
              </a:ext>
            </a:extLst>
          </p:cNvPr>
          <p:cNvSpPr txBox="1"/>
          <p:nvPr/>
        </p:nvSpPr>
        <p:spPr>
          <a:xfrm>
            <a:off x="749030" y="6339001"/>
            <a:ext cx="10671241" cy="42780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a:ea typeface="+mn-ea"/>
                <a:cs typeface="+mn-cs"/>
              </a:rPr>
              <a:t>East, West and Central are expected to be presented as </a:t>
            </a:r>
            <a:r>
              <a:rPr kumimoji="0" lang="en-IN" sz="1200" b="0" i="0" u="none" strike="noStrike" kern="1200" cap="none" spc="0" normalizeH="0" baseline="0" noProof="0" dirty="0" err="1">
                <a:ln>
                  <a:noFill/>
                </a:ln>
                <a:solidFill>
                  <a:schemeClr val="bg1"/>
                </a:solidFill>
                <a:effectLst/>
                <a:uLnTx/>
                <a:uFillTx/>
                <a:latin typeface="Arial"/>
                <a:ea typeface="+mn-ea"/>
                <a:cs typeface="+mn-cs"/>
              </a:rPr>
              <a:t>OneEY</a:t>
            </a:r>
            <a:r>
              <a:rPr kumimoji="0" lang="en-IN" sz="1200" b="0" i="0" u="none" strike="noStrike" kern="1200" cap="none" spc="0" normalizeH="0" baseline="0" noProof="0" dirty="0">
                <a:ln>
                  <a:noFill/>
                </a:ln>
                <a:solidFill>
                  <a:schemeClr val="bg1"/>
                </a:solidFill>
                <a:effectLst/>
                <a:uLnTx/>
                <a:uFillTx/>
                <a:latin typeface="Arial"/>
                <a:ea typeface="+mn-ea"/>
                <a:cs typeface="+mn-cs"/>
              </a:rPr>
              <a:t> (Americas)</a:t>
            </a:r>
          </a:p>
          <a:p>
            <a:pPr marL="356616" marR="0" lvl="0" indent="-356616"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IN" sz="1200" b="0" i="0" u="none" strike="noStrike" kern="1200" cap="none" spc="0" normalizeH="0" baseline="0" noProof="0" dirty="0">
                <a:ln>
                  <a:noFill/>
                </a:ln>
                <a:solidFill>
                  <a:schemeClr val="bg1"/>
                </a:solidFill>
                <a:effectLst/>
                <a:uLnTx/>
                <a:uFillTx/>
                <a:latin typeface="Arial"/>
                <a:ea typeface="+mn-ea"/>
                <a:cs typeface="+mn-cs"/>
              </a:rPr>
              <a:t>Reporting changes also includes CGP (Connected Growth Platform) and EGP (European Growth Platform- Tech Consulting competency &amp; Cyber)</a:t>
            </a:r>
          </a:p>
        </p:txBody>
      </p:sp>
      <p:grpSp>
        <p:nvGrpSpPr>
          <p:cNvPr id="4894" name="Group 4893">
            <a:extLst>
              <a:ext uri="{FF2B5EF4-FFF2-40B4-BE49-F238E27FC236}">
                <a16:creationId xmlns:a16="http://schemas.microsoft.com/office/drawing/2014/main" id="{18CC7C5E-8D56-4A04-8B03-D75B340F2B2C}"/>
              </a:ext>
            </a:extLst>
          </p:cNvPr>
          <p:cNvGrpSpPr/>
          <p:nvPr/>
        </p:nvGrpSpPr>
        <p:grpSpPr>
          <a:xfrm>
            <a:off x="1941893" y="1365786"/>
            <a:ext cx="2976858" cy="4927518"/>
            <a:chOff x="100393" y="1603911"/>
            <a:chExt cx="2976858" cy="4927518"/>
          </a:xfrm>
          <a:solidFill>
            <a:srgbClr val="ADE2E5"/>
          </a:solidFill>
        </p:grpSpPr>
        <p:grpSp>
          <p:nvGrpSpPr>
            <p:cNvPr id="4895" name="Group 4894">
              <a:extLst>
                <a:ext uri="{FF2B5EF4-FFF2-40B4-BE49-F238E27FC236}">
                  <a16:creationId xmlns:a16="http://schemas.microsoft.com/office/drawing/2014/main" id="{922B4A75-32AC-477B-BE64-7EC6AEF70E14}"/>
                </a:ext>
              </a:extLst>
            </p:cNvPr>
            <p:cNvGrpSpPr/>
            <p:nvPr/>
          </p:nvGrpSpPr>
          <p:grpSpPr>
            <a:xfrm>
              <a:off x="1849412" y="4180123"/>
              <a:ext cx="1227839" cy="2351306"/>
              <a:chOff x="2473795" y="3883564"/>
              <a:chExt cx="1097574" cy="2101850"/>
            </a:xfrm>
            <a:grpFill/>
          </p:grpSpPr>
          <p:sp>
            <p:nvSpPr>
              <p:cNvPr id="5478" name="Freeform 11">
                <a:extLst>
                  <a:ext uri="{FF2B5EF4-FFF2-40B4-BE49-F238E27FC236}">
                    <a16:creationId xmlns:a16="http://schemas.microsoft.com/office/drawing/2014/main" id="{0EB969AF-C1B9-4647-A0CD-78F459FD6B2F}"/>
                  </a:ext>
                </a:extLst>
              </p:cNvPr>
              <p:cNvSpPr>
                <a:spLocks/>
              </p:cNvSpPr>
              <p:nvPr/>
            </p:nvSpPr>
            <p:spPr bwMode="gray">
              <a:xfrm>
                <a:off x="2655503" y="3893089"/>
                <a:ext cx="317988" cy="339725"/>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2"/>
                  <a:gd name="T190" fmla="*/ 0 h 194"/>
                  <a:gd name="T191" fmla="*/ 182 w 182"/>
                  <a:gd name="T192" fmla="*/ 194 h 19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2" h="194">
                    <a:moveTo>
                      <a:pt x="28" y="4"/>
                    </a:moveTo>
                    <a:lnTo>
                      <a:pt x="28" y="4"/>
                    </a:lnTo>
                    <a:lnTo>
                      <a:pt x="20" y="6"/>
                    </a:lnTo>
                    <a:lnTo>
                      <a:pt x="14" y="16"/>
                    </a:lnTo>
                    <a:lnTo>
                      <a:pt x="8" y="30"/>
                    </a:lnTo>
                    <a:lnTo>
                      <a:pt x="2" y="32"/>
                    </a:lnTo>
                    <a:lnTo>
                      <a:pt x="4" y="34"/>
                    </a:lnTo>
                    <a:lnTo>
                      <a:pt x="2" y="40"/>
                    </a:lnTo>
                    <a:lnTo>
                      <a:pt x="2" y="46"/>
                    </a:lnTo>
                    <a:lnTo>
                      <a:pt x="2" y="48"/>
                    </a:lnTo>
                    <a:lnTo>
                      <a:pt x="0" y="52"/>
                    </a:lnTo>
                    <a:lnTo>
                      <a:pt x="0" y="56"/>
                    </a:lnTo>
                    <a:lnTo>
                      <a:pt x="0" y="58"/>
                    </a:lnTo>
                    <a:lnTo>
                      <a:pt x="2" y="58"/>
                    </a:lnTo>
                    <a:lnTo>
                      <a:pt x="8" y="56"/>
                    </a:lnTo>
                    <a:lnTo>
                      <a:pt x="14" y="68"/>
                    </a:lnTo>
                    <a:lnTo>
                      <a:pt x="12" y="70"/>
                    </a:lnTo>
                    <a:lnTo>
                      <a:pt x="10" y="70"/>
                    </a:lnTo>
                    <a:lnTo>
                      <a:pt x="10" y="72"/>
                    </a:lnTo>
                    <a:lnTo>
                      <a:pt x="12" y="76"/>
                    </a:lnTo>
                    <a:lnTo>
                      <a:pt x="16" y="82"/>
                    </a:lnTo>
                    <a:lnTo>
                      <a:pt x="18" y="88"/>
                    </a:lnTo>
                    <a:lnTo>
                      <a:pt x="18" y="90"/>
                    </a:lnTo>
                    <a:lnTo>
                      <a:pt x="28" y="92"/>
                    </a:lnTo>
                    <a:lnTo>
                      <a:pt x="32" y="92"/>
                    </a:lnTo>
                    <a:lnTo>
                      <a:pt x="38" y="92"/>
                    </a:lnTo>
                    <a:lnTo>
                      <a:pt x="44" y="92"/>
                    </a:lnTo>
                    <a:lnTo>
                      <a:pt x="48" y="94"/>
                    </a:lnTo>
                    <a:lnTo>
                      <a:pt x="54" y="106"/>
                    </a:lnTo>
                    <a:lnTo>
                      <a:pt x="64" y="104"/>
                    </a:lnTo>
                    <a:lnTo>
                      <a:pt x="72" y="106"/>
                    </a:lnTo>
                    <a:lnTo>
                      <a:pt x="72" y="114"/>
                    </a:lnTo>
                    <a:lnTo>
                      <a:pt x="70" y="116"/>
                    </a:lnTo>
                    <a:lnTo>
                      <a:pt x="68" y="118"/>
                    </a:lnTo>
                    <a:lnTo>
                      <a:pt x="70" y="122"/>
                    </a:lnTo>
                    <a:lnTo>
                      <a:pt x="70" y="126"/>
                    </a:lnTo>
                    <a:lnTo>
                      <a:pt x="72" y="128"/>
                    </a:lnTo>
                    <a:lnTo>
                      <a:pt x="76" y="132"/>
                    </a:lnTo>
                    <a:lnTo>
                      <a:pt x="80" y="136"/>
                    </a:lnTo>
                    <a:lnTo>
                      <a:pt x="84" y="140"/>
                    </a:lnTo>
                    <a:lnTo>
                      <a:pt x="90" y="146"/>
                    </a:lnTo>
                    <a:lnTo>
                      <a:pt x="96" y="148"/>
                    </a:lnTo>
                    <a:lnTo>
                      <a:pt x="94" y="158"/>
                    </a:lnTo>
                    <a:lnTo>
                      <a:pt x="90" y="164"/>
                    </a:lnTo>
                    <a:lnTo>
                      <a:pt x="88" y="166"/>
                    </a:lnTo>
                    <a:lnTo>
                      <a:pt x="86" y="170"/>
                    </a:lnTo>
                    <a:lnTo>
                      <a:pt x="88" y="172"/>
                    </a:lnTo>
                    <a:lnTo>
                      <a:pt x="90" y="172"/>
                    </a:lnTo>
                    <a:lnTo>
                      <a:pt x="92" y="170"/>
                    </a:lnTo>
                    <a:lnTo>
                      <a:pt x="92" y="176"/>
                    </a:lnTo>
                    <a:lnTo>
                      <a:pt x="96" y="180"/>
                    </a:lnTo>
                    <a:lnTo>
                      <a:pt x="94" y="188"/>
                    </a:lnTo>
                    <a:lnTo>
                      <a:pt x="102" y="194"/>
                    </a:lnTo>
                    <a:lnTo>
                      <a:pt x="104" y="192"/>
                    </a:lnTo>
                    <a:lnTo>
                      <a:pt x="110" y="190"/>
                    </a:lnTo>
                    <a:lnTo>
                      <a:pt x="112" y="188"/>
                    </a:lnTo>
                    <a:lnTo>
                      <a:pt x="114" y="186"/>
                    </a:lnTo>
                    <a:lnTo>
                      <a:pt x="116" y="184"/>
                    </a:lnTo>
                    <a:lnTo>
                      <a:pt x="118" y="184"/>
                    </a:lnTo>
                    <a:lnTo>
                      <a:pt x="122" y="182"/>
                    </a:lnTo>
                    <a:lnTo>
                      <a:pt x="124" y="180"/>
                    </a:lnTo>
                    <a:lnTo>
                      <a:pt x="126" y="178"/>
                    </a:lnTo>
                    <a:lnTo>
                      <a:pt x="128" y="176"/>
                    </a:lnTo>
                    <a:lnTo>
                      <a:pt x="130" y="172"/>
                    </a:lnTo>
                    <a:lnTo>
                      <a:pt x="132" y="172"/>
                    </a:lnTo>
                    <a:lnTo>
                      <a:pt x="136" y="170"/>
                    </a:lnTo>
                    <a:lnTo>
                      <a:pt x="138" y="170"/>
                    </a:lnTo>
                    <a:lnTo>
                      <a:pt x="136" y="166"/>
                    </a:lnTo>
                    <a:lnTo>
                      <a:pt x="134" y="166"/>
                    </a:lnTo>
                    <a:lnTo>
                      <a:pt x="132" y="164"/>
                    </a:lnTo>
                    <a:lnTo>
                      <a:pt x="126" y="166"/>
                    </a:lnTo>
                    <a:lnTo>
                      <a:pt x="122" y="166"/>
                    </a:lnTo>
                    <a:lnTo>
                      <a:pt x="120" y="164"/>
                    </a:lnTo>
                    <a:lnTo>
                      <a:pt x="118" y="162"/>
                    </a:lnTo>
                    <a:lnTo>
                      <a:pt x="118" y="156"/>
                    </a:lnTo>
                    <a:lnTo>
                      <a:pt x="118" y="150"/>
                    </a:lnTo>
                    <a:lnTo>
                      <a:pt x="116" y="142"/>
                    </a:lnTo>
                    <a:lnTo>
                      <a:pt x="114" y="138"/>
                    </a:lnTo>
                    <a:lnTo>
                      <a:pt x="114" y="136"/>
                    </a:lnTo>
                    <a:lnTo>
                      <a:pt x="112" y="136"/>
                    </a:lnTo>
                    <a:lnTo>
                      <a:pt x="110" y="134"/>
                    </a:lnTo>
                    <a:lnTo>
                      <a:pt x="114" y="134"/>
                    </a:lnTo>
                    <a:lnTo>
                      <a:pt x="120" y="136"/>
                    </a:lnTo>
                    <a:lnTo>
                      <a:pt x="124" y="136"/>
                    </a:lnTo>
                    <a:lnTo>
                      <a:pt x="128" y="136"/>
                    </a:lnTo>
                    <a:lnTo>
                      <a:pt x="132" y="138"/>
                    </a:lnTo>
                    <a:lnTo>
                      <a:pt x="138" y="140"/>
                    </a:lnTo>
                    <a:lnTo>
                      <a:pt x="140" y="140"/>
                    </a:lnTo>
                    <a:lnTo>
                      <a:pt x="138" y="138"/>
                    </a:lnTo>
                    <a:lnTo>
                      <a:pt x="140" y="136"/>
                    </a:lnTo>
                    <a:lnTo>
                      <a:pt x="142" y="134"/>
                    </a:lnTo>
                    <a:lnTo>
                      <a:pt x="144" y="134"/>
                    </a:lnTo>
                    <a:lnTo>
                      <a:pt x="152" y="136"/>
                    </a:lnTo>
                    <a:lnTo>
                      <a:pt x="154" y="136"/>
                    </a:lnTo>
                    <a:lnTo>
                      <a:pt x="154" y="134"/>
                    </a:lnTo>
                    <a:lnTo>
                      <a:pt x="158" y="132"/>
                    </a:lnTo>
                    <a:lnTo>
                      <a:pt x="158" y="130"/>
                    </a:lnTo>
                    <a:lnTo>
                      <a:pt x="160" y="128"/>
                    </a:lnTo>
                    <a:lnTo>
                      <a:pt x="162" y="128"/>
                    </a:lnTo>
                    <a:lnTo>
                      <a:pt x="162" y="126"/>
                    </a:lnTo>
                    <a:lnTo>
                      <a:pt x="170" y="126"/>
                    </a:lnTo>
                    <a:lnTo>
                      <a:pt x="170" y="120"/>
                    </a:lnTo>
                    <a:lnTo>
                      <a:pt x="170" y="116"/>
                    </a:lnTo>
                    <a:lnTo>
                      <a:pt x="158" y="98"/>
                    </a:lnTo>
                    <a:lnTo>
                      <a:pt x="164" y="96"/>
                    </a:lnTo>
                    <a:lnTo>
                      <a:pt x="164" y="92"/>
                    </a:lnTo>
                    <a:lnTo>
                      <a:pt x="164" y="90"/>
                    </a:lnTo>
                    <a:lnTo>
                      <a:pt x="172" y="88"/>
                    </a:lnTo>
                    <a:lnTo>
                      <a:pt x="174" y="88"/>
                    </a:lnTo>
                    <a:lnTo>
                      <a:pt x="176" y="86"/>
                    </a:lnTo>
                    <a:lnTo>
                      <a:pt x="176" y="84"/>
                    </a:lnTo>
                    <a:lnTo>
                      <a:pt x="174" y="82"/>
                    </a:lnTo>
                    <a:lnTo>
                      <a:pt x="172" y="82"/>
                    </a:lnTo>
                    <a:lnTo>
                      <a:pt x="170" y="78"/>
                    </a:lnTo>
                    <a:lnTo>
                      <a:pt x="168" y="76"/>
                    </a:lnTo>
                    <a:lnTo>
                      <a:pt x="166" y="72"/>
                    </a:lnTo>
                    <a:lnTo>
                      <a:pt x="166" y="70"/>
                    </a:lnTo>
                    <a:lnTo>
                      <a:pt x="168" y="70"/>
                    </a:lnTo>
                    <a:lnTo>
                      <a:pt x="172" y="70"/>
                    </a:lnTo>
                    <a:lnTo>
                      <a:pt x="178" y="66"/>
                    </a:lnTo>
                    <a:lnTo>
                      <a:pt x="180" y="64"/>
                    </a:lnTo>
                    <a:lnTo>
                      <a:pt x="182" y="56"/>
                    </a:lnTo>
                    <a:lnTo>
                      <a:pt x="180" y="54"/>
                    </a:lnTo>
                    <a:lnTo>
                      <a:pt x="174" y="56"/>
                    </a:lnTo>
                    <a:lnTo>
                      <a:pt x="172" y="56"/>
                    </a:lnTo>
                    <a:lnTo>
                      <a:pt x="170" y="56"/>
                    </a:lnTo>
                    <a:lnTo>
                      <a:pt x="166" y="56"/>
                    </a:lnTo>
                    <a:lnTo>
                      <a:pt x="164" y="58"/>
                    </a:lnTo>
                    <a:lnTo>
                      <a:pt x="150" y="60"/>
                    </a:lnTo>
                    <a:lnTo>
                      <a:pt x="152" y="56"/>
                    </a:lnTo>
                    <a:lnTo>
                      <a:pt x="168" y="52"/>
                    </a:lnTo>
                    <a:lnTo>
                      <a:pt x="168" y="46"/>
                    </a:lnTo>
                    <a:lnTo>
                      <a:pt x="170" y="42"/>
                    </a:lnTo>
                    <a:lnTo>
                      <a:pt x="170" y="40"/>
                    </a:lnTo>
                    <a:lnTo>
                      <a:pt x="170" y="38"/>
                    </a:lnTo>
                    <a:lnTo>
                      <a:pt x="162" y="38"/>
                    </a:lnTo>
                    <a:lnTo>
                      <a:pt x="164" y="40"/>
                    </a:lnTo>
                    <a:lnTo>
                      <a:pt x="162" y="38"/>
                    </a:lnTo>
                    <a:lnTo>
                      <a:pt x="160" y="38"/>
                    </a:lnTo>
                    <a:lnTo>
                      <a:pt x="156" y="34"/>
                    </a:lnTo>
                    <a:lnTo>
                      <a:pt x="154" y="38"/>
                    </a:lnTo>
                    <a:lnTo>
                      <a:pt x="152" y="38"/>
                    </a:lnTo>
                    <a:lnTo>
                      <a:pt x="148" y="32"/>
                    </a:lnTo>
                    <a:lnTo>
                      <a:pt x="146" y="26"/>
                    </a:lnTo>
                    <a:lnTo>
                      <a:pt x="150" y="26"/>
                    </a:lnTo>
                    <a:lnTo>
                      <a:pt x="154" y="26"/>
                    </a:lnTo>
                    <a:lnTo>
                      <a:pt x="154" y="24"/>
                    </a:lnTo>
                    <a:lnTo>
                      <a:pt x="154" y="22"/>
                    </a:lnTo>
                    <a:lnTo>
                      <a:pt x="134" y="22"/>
                    </a:lnTo>
                    <a:lnTo>
                      <a:pt x="136" y="26"/>
                    </a:lnTo>
                    <a:lnTo>
                      <a:pt x="130" y="24"/>
                    </a:lnTo>
                    <a:lnTo>
                      <a:pt x="130" y="26"/>
                    </a:lnTo>
                    <a:lnTo>
                      <a:pt x="124" y="28"/>
                    </a:lnTo>
                    <a:lnTo>
                      <a:pt x="124" y="30"/>
                    </a:lnTo>
                    <a:lnTo>
                      <a:pt x="116" y="32"/>
                    </a:lnTo>
                    <a:lnTo>
                      <a:pt x="108" y="30"/>
                    </a:lnTo>
                    <a:lnTo>
                      <a:pt x="102" y="28"/>
                    </a:lnTo>
                    <a:lnTo>
                      <a:pt x="102" y="26"/>
                    </a:lnTo>
                    <a:lnTo>
                      <a:pt x="100" y="24"/>
                    </a:lnTo>
                    <a:lnTo>
                      <a:pt x="96" y="22"/>
                    </a:lnTo>
                    <a:lnTo>
                      <a:pt x="88" y="22"/>
                    </a:lnTo>
                    <a:lnTo>
                      <a:pt x="80" y="24"/>
                    </a:lnTo>
                    <a:lnTo>
                      <a:pt x="78" y="26"/>
                    </a:lnTo>
                    <a:lnTo>
                      <a:pt x="76" y="26"/>
                    </a:lnTo>
                    <a:lnTo>
                      <a:pt x="72" y="24"/>
                    </a:lnTo>
                    <a:lnTo>
                      <a:pt x="76" y="20"/>
                    </a:lnTo>
                    <a:lnTo>
                      <a:pt x="70" y="12"/>
                    </a:lnTo>
                    <a:lnTo>
                      <a:pt x="68" y="12"/>
                    </a:lnTo>
                    <a:lnTo>
                      <a:pt x="66" y="10"/>
                    </a:lnTo>
                    <a:lnTo>
                      <a:pt x="60" y="10"/>
                    </a:lnTo>
                    <a:lnTo>
                      <a:pt x="54" y="8"/>
                    </a:lnTo>
                    <a:lnTo>
                      <a:pt x="52" y="4"/>
                    </a:lnTo>
                    <a:lnTo>
                      <a:pt x="50" y="0"/>
                    </a:lnTo>
                    <a:lnTo>
                      <a:pt x="48" y="0"/>
                    </a:lnTo>
                    <a:lnTo>
                      <a:pt x="46" y="0"/>
                    </a:lnTo>
                    <a:lnTo>
                      <a:pt x="46" y="6"/>
                    </a:lnTo>
                    <a:lnTo>
                      <a:pt x="52" y="8"/>
                    </a:lnTo>
                    <a:lnTo>
                      <a:pt x="54" y="12"/>
                    </a:lnTo>
                    <a:lnTo>
                      <a:pt x="42" y="14"/>
                    </a:lnTo>
                    <a:lnTo>
                      <a:pt x="32" y="16"/>
                    </a:lnTo>
                    <a:lnTo>
                      <a:pt x="32" y="28"/>
                    </a:lnTo>
                    <a:lnTo>
                      <a:pt x="34" y="30"/>
                    </a:lnTo>
                    <a:lnTo>
                      <a:pt x="38" y="34"/>
                    </a:lnTo>
                    <a:lnTo>
                      <a:pt x="36" y="36"/>
                    </a:lnTo>
                    <a:lnTo>
                      <a:pt x="38" y="40"/>
                    </a:lnTo>
                    <a:lnTo>
                      <a:pt x="40" y="46"/>
                    </a:lnTo>
                    <a:lnTo>
                      <a:pt x="34" y="48"/>
                    </a:lnTo>
                    <a:lnTo>
                      <a:pt x="28" y="50"/>
                    </a:lnTo>
                    <a:lnTo>
                      <a:pt x="28" y="46"/>
                    </a:lnTo>
                    <a:lnTo>
                      <a:pt x="26" y="46"/>
                    </a:lnTo>
                    <a:lnTo>
                      <a:pt x="24" y="40"/>
                    </a:lnTo>
                    <a:lnTo>
                      <a:pt x="22" y="36"/>
                    </a:lnTo>
                    <a:lnTo>
                      <a:pt x="22" y="32"/>
                    </a:lnTo>
                    <a:lnTo>
                      <a:pt x="26" y="28"/>
                    </a:lnTo>
                    <a:lnTo>
                      <a:pt x="30" y="26"/>
                    </a:lnTo>
                    <a:lnTo>
                      <a:pt x="30" y="22"/>
                    </a:lnTo>
                    <a:lnTo>
                      <a:pt x="28" y="20"/>
                    </a:lnTo>
                    <a:lnTo>
                      <a:pt x="26" y="20"/>
                    </a:lnTo>
                    <a:lnTo>
                      <a:pt x="26" y="18"/>
                    </a:lnTo>
                    <a:lnTo>
                      <a:pt x="28" y="16"/>
                    </a:lnTo>
                    <a:lnTo>
                      <a:pt x="26" y="14"/>
                    </a:lnTo>
                    <a:lnTo>
                      <a:pt x="22" y="14"/>
                    </a:lnTo>
                    <a:lnTo>
                      <a:pt x="22" y="12"/>
                    </a:lnTo>
                    <a:lnTo>
                      <a:pt x="24" y="8"/>
                    </a:lnTo>
                    <a:lnTo>
                      <a:pt x="28" y="8"/>
                    </a:lnTo>
                    <a:lnTo>
                      <a:pt x="28" y="4"/>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9" name="Freeform 19">
                <a:extLst>
                  <a:ext uri="{FF2B5EF4-FFF2-40B4-BE49-F238E27FC236}">
                    <a16:creationId xmlns:a16="http://schemas.microsoft.com/office/drawing/2014/main" id="{0CB47FC8-C63E-40F5-92C0-58814BF8448E}"/>
                  </a:ext>
                </a:extLst>
              </p:cNvPr>
              <p:cNvSpPr>
                <a:spLocks/>
              </p:cNvSpPr>
              <p:nvPr/>
            </p:nvSpPr>
            <p:spPr bwMode="gray">
              <a:xfrm>
                <a:off x="3013057" y="5139277"/>
                <a:ext cx="126023" cy="147637"/>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84"/>
                  <a:gd name="T116" fmla="*/ 72 w 72"/>
                  <a:gd name="T117" fmla="*/ 84 h 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84">
                    <a:moveTo>
                      <a:pt x="66" y="58"/>
                    </a:moveTo>
                    <a:lnTo>
                      <a:pt x="66" y="56"/>
                    </a:lnTo>
                    <a:lnTo>
                      <a:pt x="72" y="46"/>
                    </a:lnTo>
                    <a:lnTo>
                      <a:pt x="70" y="46"/>
                    </a:lnTo>
                    <a:lnTo>
                      <a:pt x="66" y="42"/>
                    </a:lnTo>
                    <a:lnTo>
                      <a:pt x="62" y="38"/>
                    </a:lnTo>
                    <a:lnTo>
                      <a:pt x="60" y="34"/>
                    </a:lnTo>
                    <a:lnTo>
                      <a:pt x="58" y="32"/>
                    </a:lnTo>
                    <a:lnTo>
                      <a:pt x="56" y="30"/>
                    </a:lnTo>
                    <a:lnTo>
                      <a:pt x="50" y="28"/>
                    </a:lnTo>
                    <a:lnTo>
                      <a:pt x="46" y="24"/>
                    </a:lnTo>
                    <a:lnTo>
                      <a:pt x="42" y="20"/>
                    </a:lnTo>
                    <a:lnTo>
                      <a:pt x="40" y="18"/>
                    </a:lnTo>
                    <a:lnTo>
                      <a:pt x="38" y="18"/>
                    </a:lnTo>
                    <a:lnTo>
                      <a:pt x="36" y="18"/>
                    </a:lnTo>
                    <a:lnTo>
                      <a:pt x="34" y="16"/>
                    </a:lnTo>
                    <a:lnTo>
                      <a:pt x="30" y="8"/>
                    </a:lnTo>
                    <a:lnTo>
                      <a:pt x="20" y="0"/>
                    </a:lnTo>
                    <a:lnTo>
                      <a:pt x="10" y="4"/>
                    </a:lnTo>
                    <a:lnTo>
                      <a:pt x="8" y="6"/>
                    </a:lnTo>
                    <a:lnTo>
                      <a:pt x="6" y="10"/>
                    </a:lnTo>
                    <a:lnTo>
                      <a:pt x="6" y="14"/>
                    </a:lnTo>
                    <a:lnTo>
                      <a:pt x="6" y="18"/>
                    </a:lnTo>
                    <a:lnTo>
                      <a:pt x="4" y="20"/>
                    </a:lnTo>
                    <a:lnTo>
                      <a:pt x="4" y="22"/>
                    </a:lnTo>
                    <a:lnTo>
                      <a:pt x="2" y="24"/>
                    </a:lnTo>
                    <a:lnTo>
                      <a:pt x="2" y="28"/>
                    </a:lnTo>
                    <a:lnTo>
                      <a:pt x="2" y="32"/>
                    </a:lnTo>
                    <a:lnTo>
                      <a:pt x="0" y="34"/>
                    </a:lnTo>
                    <a:lnTo>
                      <a:pt x="0" y="36"/>
                    </a:lnTo>
                    <a:lnTo>
                      <a:pt x="0" y="44"/>
                    </a:lnTo>
                    <a:lnTo>
                      <a:pt x="0" y="48"/>
                    </a:lnTo>
                    <a:lnTo>
                      <a:pt x="0" y="60"/>
                    </a:lnTo>
                    <a:lnTo>
                      <a:pt x="0" y="66"/>
                    </a:lnTo>
                    <a:lnTo>
                      <a:pt x="2" y="72"/>
                    </a:lnTo>
                    <a:lnTo>
                      <a:pt x="4" y="72"/>
                    </a:lnTo>
                    <a:lnTo>
                      <a:pt x="8" y="74"/>
                    </a:lnTo>
                    <a:lnTo>
                      <a:pt x="12" y="74"/>
                    </a:lnTo>
                    <a:lnTo>
                      <a:pt x="16" y="80"/>
                    </a:lnTo>
                    <a:lnTo>
                      <a:pt x="18" y="80"/>
                    </a:lnTo>
                    <a:lnTo>
                      <a:pt x="24" y="82"/>
                    </a:lnTo>
                    <a:lnTo>
                      <a:pt x="24" y="84"/>
                    </a:lnTo>
                    <a:lnTo>
                      <a:pt x="30" y="82"/>
                    </a:lnTo>
                    <a:lnTo>
                      <a:pt x="32" y="82"/>
                    </a:lnTo>
                    <a:lnTo>
                      <a:pt x="38" y="82"/>
                    </a:lnTo>
                    <a:lnTo>
                      <a:pt x="40" y="84"/>
                    </a:lnTo>
                    <a:lnTo>
                      <a:pt x="50" y="82"/>
                    </a:lnTo>
                    <a:lnTo>
                      <a:pt x="58" y="78"/>
                    </a:lnTo>
                    <a:lnTo>
                      <a:pt x="58" y="76"/>
                    </a:lnTo>
                    <a:lnTo>
                      <a:pt x="62" y="70"/>
                    </a:lnTo>
                    <a:lnTo>
                      <a:pt x="64" y="64"/>
                    </a:lnTo>
                    <a:lnTo>
                      <a:pt x="68" y="60"/>
                    </a:lnTo>
                    <a:lnTo>
                      <a:pt x="66" y="58"/>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0" name="Freeform 36">
                <a:extLst>
                  <a:ext uri="{FF2B5EF4-FFF2-40B4-BE49-F238E27FC236}">
                    <a16:creationId xmlns:a16="http://schemas.microsoft.com/office/drawing/2014/main" id="{0AF4911D-7D01-44E0-8C97-83BD8378648E}"/>
                  </a:ext>
                </a:extLst>
              </p:cNvPr>
              <p:cNvSpPr>
                <a:spLocks/>
              </p:cNvSpPr>
              <p:nvPr/>
            </p:nvSpPr>
            <p:spPr bwMode="gray">
              <a:xfrm>
                <a:off x="3018918" y="4055014"/>
                <a:ext cx="95250" cy="150812"/>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
                  <a:gd name="T103" fmla="*/ 0 h 86"/>
                  <a:gd name="T104" fmla="*/ 54 w 54"/>
                  <a:gd name="T105" fmla="*/ 86 h 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 h="86">
                    <a:moveTo>
                      <a:pt x="52" y="2"/>
                    </a:moveTo>
                    <a:lnTo>
                      <a:pt x="52" y="2"/>
                    </a:lnTo>
                    <a:lnTo>
                      <a:pt x="50" y="2"/>
                    </a:lnTo>
                    <a:lnTo>
                      <a:pt x="48" y="2"/>
                    </a:lnTo>
                    <a:lnTo>
                      <a:pt x="46" y="0"/>
                    </a:lnTo>
                    <a:lnTo>
                      <a:pt x="40" y="0"/>
                    </a:lnTo>
                    <a:lnTo>
                      <a:pt x="40" y="2"/>
                    </a:lnTo>
                    <a:lnTo>
                      <a:pt x="34" y="4"/>
                    </a:lnTo>
                    <a:lnTo>
                      <a:pt x="28" y="4"/>
                    </a:lnTo>
                    <a:lnTo>
                      <a:pt x="22" y="2"/>
                    </a:lnTo>
                    <a:lnTo>
                      <a:pt x="20" y="2"/>
                    </a:lnTo>
                    <a:lnTo>
                      <a:pt x="16" y="8"/>
                    </a:lnTo>
                    <a:lnTo>
                      <a:pt x="16" y="6"/>
                    </a:lnTo>
                    <a:lnTo>
                      <a:pt x="8" y="18"/>
                    </a:lnTo>
                    <a:lnTo>
                      <a:pt x="8" y="26"/>
                    </a:lnTo>
                    <a:lnTo>
                      <a:pt x="4" y="30"/>
                    </a:lnTo>
                    <a:lnTo>
                      <a:pt x="0" y="32"/>
                    </a:lnTo>
                    <a:lnTo>
                      <a:pt x="0" y="34"/>
                    </a:lnTo>
                    <a:lnTo>
                      <a:pt x="0" y="36"/>
                    </a:lnTo>
                    <a:lnTo>
                      <a:pt x="2" y="42"/>
                    </a:lnTo>
                    <a:lnTo>
                      <a:pt x="2" y="52"/>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50" y="62"/>
                    </a:lnTo>
                    <a:lnTo>
                      <a:pt x="54" y="56"/>
                    </a:lnTo>
                    <a:lnTo>
                      <a:pt x="54" y="52"/>
                    </a:lnTo>
                    <a:lnTo>
                      <a:pt x="50" y="48"/>
                    </a:lnTo>
                    <a:lnTo>
                      <a:pt x="48" y="44"/>
                    </a:lnTo>
                    <a:lnTo>
                      <a:pt x="46" y="40"/>
                    </a:lnTo>
                    <a:lnTo>
                      <a:pt x="46" y="22"/>
                    </a:lnTo>
                    <a:lnTo>
                      <a:pt x="52" y="12"/>
                    </a:lnTo>
                    <a:lnTo>
                      <a:pt x="52" y="6"/>
                    </a:lnTo>
                    <a:lnTo>
                      <a:pt x="52" y="8"/>
                    </a:lnTo>
                    <a:lnTo>
                      <a:pt x="52" y="6"/>
                    </a:lnTo>
                    <a:lnTo>
                      <a:pt x="52" y="4"/>
                    </a:lnTo>
                    <a:lnTo>
                      <a:pt x="52" y="2"/>
                    </a:lnTo>
                    <a:close/>
                  </a:path>
                </a:pathLst>
              </a:custGeom>
              <a:solidFill>
                <a:srgbClr val="999999"/>
              </a:solid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1" name="Freeform 109">
                <a:extLst>
                  <a:ext uri="{FF2B5EF4-FFF2-40B4-BE49-F238E27FC236}">
                    <a16:creationId xmlns:a16="http://schemas.microsoft.com/office/drawing/2014/main" id="{12D2CCDA-AD0A-423E-83AF-6B61D22566CB}"/>
                  </a:ext>
                </a:extLst>
              </p:cNvPr>
              <p:cNvSpPr>
                <a:spLocks/>
              </p:cNvSpPr>
              <p:nvPr/>
            </p:nvSpPr>
            <p:spPr bwMode="gray">
              <a:xfrm>
                <a:off x="2473795" y="4250277"/>
                <a:ext cx="287215" cy="522287"/>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298"/>
                  <a:gd name="T167" fmla="*/ 164 w 164"/>
                  <a:gd name="T168" fmla="*/ 298 h 2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298">
                    <a:moveTo>
                      <a:pt x="160" y="258"/>
                    </a:moveTo>
                    <a:lnTo>
                      <a:pt x="160" y="258"/>
                    </a:lnTo>
                    <a:lnTo>
                      <a:pt x="160" y="256"/>
                    </a:lnTo>
                    <a:lnTo>
                      <a:pt x="158" y="252"/>
                    </a:lnTo>
                    <a:lnTo>
                      <a:pt x="158" y="248"/>
                    </a:lnTo>
                    <a:lnTo>
                      <a:pt x="160" y="246"/>
                    </a:lnTo>
                    <a:lnTo>
                      <a:pt x="156" y="238"/>
                    </a:lnTo>
                    <a:lnTo>
                      <a:pt x="156" y="232"/>
                    </a:lnTo>
                    <a:lnTo>
                      <a:pt x="156" y="226"/>
                    </a:lnTo>
                    <a:lnTo>
                      <a:pt x="160" y="216"/>
                    </a:lnTo>
                    <a:lnTo>
                      <a:pt x="152" y="200"/>
                    </a:lnTo>
                    <a:lnTo>
                      <a:pt x="138" y="194"/>
                    </a:lnTo>
                    <a:lnTo>
                      <a:pt x="140" y="154"/>
                    </a:lnTo>
                    <a:lnTo>
                      <a:pt x="140" y="152"/>
                    </a:lnTo>
                    <a:lnTo>
                      <a:pt x="140" y="150"/>
                    </a:lnTo>
                    <a:lnTo>
                      <a:pt x="138" y="152"/>
                    </a:lnTo>
                    <a:lnTo>
                      <a:pt x="128" y="158"/>
                    </a:lnTo>
                    <a:lnTo>
                      <a:pt x="116" y="158"/>
                    </a:lnTo>
                    <a:lnTo>
                      <a:pt x="114" y="156"/>
                    </a:lnTo>
                    <a:lnTo>
                      <a:pt x="112" y="152"/>
                    </a:lnTo>
                    <a:lnTo>
                      <a:pt x="112" y="150"/>
                    </a:lnTo>
                    <a:lnTo>
                      <a:pt x="108" y="148"/>
                    </a:lnTo>
                    <a:lnTo>
                      <a:pt x="106" y="146"/>
                    </a:lnTo>
                    <a:lnTo>
                      <a:pt x="104" y="142"/>
                    </a:lnTo>
                    <a:lnTo>
                      <a:pt x="102" y="140"/>
                    </a:lnTo>
                    <a:lnTo>
                      <a:pt x="98" y="138"/>
                    </a:lnTo>
                    <a:lnTo>
                      <a:pt x="96" y="136"/>
                    </a:lnTo>
                    <a:lnTo>
                      <a:pt x="98" y="130"/>
                    </a:lnTo>
                    <a:lnTo>
                      <a:pt x="98" y="126"/>
                    </a:lnTo>
                    <a:lnTo>
                      <a:pt x="96" y="124"/>
                    </a:lnTo>
                    <a:lnTo>
                      <a:pt x="96" y="122"/>
                    </a:lnTo>
                    <a:lnTo>
                      <a:pt x="94" y="122"/>
                    </a:lnTo>
                    <a:lnTo>
                      <a:pt x="94" y="118"/>
                    </a:lnTo>
                    <a:lnTo>
                      <a:pt x="92" y="114"/>
                    </a:lnTo>
                    <a:lnTo>
                      <a:pt x="94" y="112"/>
                    </a:lnTo>
                    <a:lnTo>
                      <a:pt x="96" y="112"/>
                    </a:lnTo>
                    <a:lnTo>
                      <a:pt x="98" y="114"/>
                    </a:lnTo>
                    <a:lnTo>
                      <a:pt x="98" y="106"/>
                    </a:lnTo>
                    <a:lnTo>
                      <a:pt x="100" y="102"/>
                    </a:lnTo>
                    <a:lnTo>
                      <a:pt x="102" y="98"/>
                    </a:lnTo>
                    <a:lnTo>
                      <a:pt x="104" y="92"/>
                    </a:lnTo>
                    <a:lnTo>
                      <a:pt x="106" y="86"/>
                    </a:lnTo>
                    <a:lnTo>
                      <a:pt x="110" y="82"/>
                    </a:lnTo>
                    <a:lnTo>
                      <a:pt x="118" y="76"/>
                    </a:lnTo>
                    <a:lnTo>
                      <a:pt x="124" y="74"/>
                    </a:lnTo>
                    <a:lnTo>
                      <a:pt x="130" y="72"/>
                    </a:lnTo>
                    <a:lnTo>
                      <a:pt x="140" y="70"/>
                    </a:lnTo>
                    <a:lnTo>
                      <a:pt x="142" y="70"/>
                    </a:lnTo>
                    <a:lnTo>
                      <a:pt x="144" y="68"/>
                    </a:lnTo>
                    <a:lnTo>
                      <a:pt x="144" y="66"/>
                    </a:lnTo>
                    <a:lnTo>
                      <a:pt x="140" y="64"/>
                    </a:lnTo>
                    <a:lnTo>
                      <a:pt x="134" y="64"/>
                    </a:lnTo>
                    <a:lnTo>
                      <a:pt x="146" y="38"/>
                    </a:lnTo>
                    <a:lnTo>
                      <a:pt x="144" y="36"/>
                    </a:lnTo>
                    <a:lnTo>
                      <a:pt x="140" y="34"/>
                    </a:lnTo>
                    <a:lnTo>
                      <a:pt x="134" y="32"/>
                    </a:lnTo>
                    <a:lnTo>
                      <a:pt x="130" y="30"/>
                    </a:lnTo>
                    <a:lnTo>
                      <a:pt x="128" y="28"/>
                    </a:lnTo>
                    <a:lnTo>
                      <a:pt x="124" y="28"/>
                    </a:lnTo>
                    <a:lnTo>
                      <a:pt x="120" y="28"/>
                    </a:lnTo>
                    <a:lnTo>
                      <a:pt x="120" y="32"/>
                    </a:lnTo>
                    <a:lnTo>
                      <a:pt x="112" y="30"/>
                    </a:lnTo>
                    <a:lnTo>
                      <a:pt x="110" y="30"/>
                    </a:lnTo>
                    <a:lnTo>
                      <a:pt x="108" y="28"/>
                    </a:lnTo>
                    <a:lnTo>
                      <a:pt x="108" y="26"/>
                    </a:lnTo>
                    <a:lnTo>
                      <a:pt x="108" y="20"/>
                    </a:lnTo>
                    <a:lnTo>
                      <a:pt x="100" y="20"/>
                    </a:lnTo>
                    <a:lnTo>
                      <a:pt x="96" y="18"/>
                    </a:lnTo>
                    <a:lnTo>
                      <a:pt x="94" y="16"/>
                    </a:lnTo>
                    <a:lnTo>
                      <a:pt x="94" y="14"/>
                    </a:lnTo>
                    <a:lnTo>
                      <a:pt x="92" y="10"/>
                    </a:lnTo>
                    <a:lnTo>
                      <a:pt x="88" y="6"/>
                    </a:lnTo>
                    <a:lnTo>
                      <a:pt x="86" y="6"/>
                    </a:lnTo>
                    <a:lnTo>
                      <a:pt x="84" y="4"/>
                    </a:lnTo>
                    <a:lnTo>
                      <a:pt x="84" y="0"/>
                    </a:lnTo>
                    <a:lnTo>
                      <a:pt x="76" y="0"/>
                    </a:lnTo>
                    <a:lnTo>
                      <a:pt x="72" y="4"/>
                    </a:lnTo>
                    <a:lnTo>
                      <a:pt x="76" y="6"/>
                    </a:lnTo>
                    <a:lnTo>
                      <a:pt x="76" y="16"/>
                    </a:lnTo>
                    <a:lnTo>
                      <a:pt x="78" y="22"/>
                    </a:lnTo>
                    <a:lnTo>
                      <a:pt x="78" y="24"/>
                    </a:lnTo>
                    <a:lnTo>
                      <a:pt x="74" y="24"/>
                    </a:lnTo>
                    <a:lnTo>
                      <a:pt x="74" y="30"/>
                    </a:lnTo>
                    <a:lnTo>
                      <a:pt x="72" y="36"/>
                    </a:lnTo>
                    <a:lnTo>
                      <a:pt x="66" y="42"/>
                    </a:lnTo>
                    <a:lnTo>
                      <a:pt x="54" y="48"/>
                    </a:lnTo>
                    <a:lnTo>
                      <a:pt x="48" y="52"/>
                    </a:lnTo>
                    <a:lnTo>
                      <a:pt x="42" y="60"/>
                    </a:lnTo>
                    <a:lnTo>
                      <a:pt x="38" y="66"/>
                    </a:lnTo>
                    <a:lnTo>
                      <a:pt x="34" y="76"/>
                    </a:lnTo>
                    <a:lnTo>
                      <a:pt x="32" y="78"/>
                    </a:lnTo>
                    <a:lnTo>
                      <a:pt x="30" y="80"/>
                    </a:lnTo>
                    <a:lnTo>
                      <a:pt x="26" y="82"/>
                    </a:lnTo>
                    <a:lnTo>
                      <a:pt x="24" y="82"/>
                    </a:lnTo>
                    <a:lnTo>
                      <a:pt x="22" y="80"/>
                    </a:lnTo>
                    <a:lnTo>
                      <a:pt x="20" y="74"/>
                    </a:lnTo>
                    <a:lnTo>
                      <a:pt x="18" y="72"/>
                    </a:lnTo>
                    <a:lnTo>
                      <a:pt x="18" y="74"/>
                    </a:lnTo>
                    <a:lnTo>
                      <a:pt x="14" y="76"/>
                    </a:lnTo>
                    <a:lnTo>
                      <a:pt x="10" y="72"/>
                    </a:lnTo>
                    <a:lnTo>
                      <a:pt x="8" y="70"/>
                    </a:lnTo>
                    <a:lnTo>
                      <a:pt x="14" y="66"/>
                    </a:lnTo>
                    <a:lnTo>
                      <a:pt x="12" y="64"/>
                    </a:lnTo>
                    <a:lnTo>
                      <a:pt x="10" y="58"/>
                    </a:lnTo>
                    <a:lnTo>
                      <a:pt x="4" y="64"/>
                    </a:lnTo>
                    <a:lnTo>
                      <a:pt x="0" y="72"/>
                    </a:lnTo>
                    <a:lnTo>
                      <a:pt x="0" y="74"/>
                    </a:lnTo>
                    <a:lnTo>
                      <a:pt x="0" y="76"/>
                    </a:lnTo>
                    <a:lnTo>
                      <a:pt x="2" y="80"/>
                    </a:lnTo>
                    <a:lnTo>
                      <a:pt x="4" y="80"/>
                    </a:lnTo>
                    <a:lnTo>
                      <a:pt x="4" y="82"/>
                    </a:lnTo>
                    <a:lnTo>
                      <a:pt x="2" y="86"/>
                    </a:lnTo>
                    <a:lnTo>
                      <a:pt x="6" y="90"/>
                    </a:lnTo>
                    <a:lnTo>
                      <a:pt x="6" y="94"/>
                    </a:lnTo>
                    <a:lnTo>
                      <a:pt x="4" y="98"/>
                    </a:lnTo>
                    <a:lnTo>
                      <a:pt x="12" y="104"/>
                    </a:lnTo>
                    <a:lnTo>
                      <a:pt x="20" y="112"/>
                    </a:lnTo>
                    <a:lnTo>
                      <a:pt x="22" y="114"/>
                    </a:lnTo>
                    <a:lnTo>
                      <a:pt x="22" y="118"/>
                    </a:lnTo>
                    <a:lnTo>
                      <a:pt x="26" y="120"/>
                    </a:lnTo>
                    <a:lnTo>
                      <a:pt x="30" y="122"/>
                    </a:lnTo>
                    <a:lnTo>
                      <a:pt x="30" y="126"/>
                    </a:lnTo>
                    <a:lnTo>
                      <a:pt x="38" y="134"/>
                    </a:lnTo>
                    <a:lnTo>
                      <a:pt x="44" y="144"/>
                    </a:lnTo>
                    <a:lnTo>
                      <a:pt x="46" y="144"/>
                    </a:lnTo>
                    <a:lnTo>
                      <a:pt x="46" y="148"/>
                    </a:lnTo>
                    <a:lnTo>
                      <a:pt x="48" y="150"/>
                    </a:lnTo>
                    <a:lnTo>
                      <a:pt x="50" y="152"/>
                    </a:lnTo>
                    <a:lnTo>
                      <a:pt x="50" y="160"/>
                    </a:lnTo>
                    <a:lnTo>
                      <a:pt x="54" y="164"/>
                    </a:lnTo>
                    <a:lnTo>
                      <a:pt x="54" y="172"/>
                    </a:lnTo>
                    <a:lnTo>
                      <a:pt x="56" y="178"/>
                    </a:lnTo>
                    <a:lnTo>
                      <a:pt x="56" y="182"/>
                    </a:lnTo>
                    <a:lnTo>
                      <a:pt x="56" y="184"/>
                    </a:lnTo>
                    <a:lnTo>
                      <a:pt x="60" y="190"/>
                    </a:lnTo>
                    <a:lnTo>
                      <a:pt x="62" y="192"/>
                    </a:lnTo>
                    <a:lnTo>
                      <a:pt x="62" y="196"/>
                    </a:lnTo>
                    <a:lnTo>
                      <a:pt x="62" y="198"/>
                    </a:lnTo>
                    <a:lnTo>
                      <a:pt x="66" y="200"/>
                    </a:lnTo>
                    <a:lnTo>
                      <a:pt x="68" y="206"/>
                    </a:lnTo>
                    <a:lnTo>
                      <a:pt x="70" y="212"/>
                    </a:lnTo>
                    <a:lnTo>
                      <a:pt x="72" y="214"/>
                    </a:lnTo>
                    <a:lnTo>
                      <a:pt x="74" y="224"/>
                    </a:lnTo>
                    <a:lnTo>
                      <a:pt x="72" y="232"/>
                    </a:lnTo>
                    <a:lnTo>
                      <a:pt x="78" y="238"/>
                    </a:lnTo>
                    <a:lnTo>
                      <a:pt x="82" y="246"/>
                    </a:lnTo>
                    <a:lnTo>
                      <a:pt x="82" y="248"/>
                    </a:lnTo>
                    <a:lnTo>
                      <a:pt x="84" y="250"/>
                    </a:lnTo>
                    <a:lnTo>
                      <a:pt x="88" y="254"/>
                    </a:lnTo>
                    <a:lnTo>
                      <a:pt x="94" y="258"/>
                    </a:lnTo>
                    <a:lnTo>
                      <a:pt x="102" y="264"/>
                    </a:lnTo>
                    <a:lnTo>
                      <a:pt x="102" y="266"/>
                    </a:lnTo>
                    <a:lnTo>
                      <a:pt x="106" y="266"/>
                    </a:lnTo>
                    <a:lnTo>
                      <a:pt x="110" y="270"/>
                    </a:lnTo>
                    <a:lnTo>
                      <a:pt x="116" y="270"/>
                    </a:lnTo>
                    <a:lnTo>
                      <a:pt x="116" y="274"/>
                    </a:lnTo>
                    <a:lnTo>
                      <a:pt x="128" y="280"/>
                    </a:lnTo>
                    <a:lnTo>
                      <a:pt x="130" y="280"/>
                    </a:lnTo>
                    <a:lnTo>
                      <a:pt x="136" y="284"/>
                    </a:lnTo>
                    <a:lnTo>
                      <a:pt x="138" y="284"/>
                    </a:lnTo>
                    <a:lnTo>
                      <a:pt x="142" y="288"/>
                    </a:lnTo>
                    <a:lnTo>
                      <a:pt x="144" y="292"/>
                    </a:lnTo>
                    <a:lnTo>
                      <a:pt x="148" y="298"/>
                    </a:lnTo>
                    <a:lnTo>
                      <a:pt x="150" y="298"/>
                    </a:lnTo>
                    <a:lnTo>
                      <a:pt x="154" y="294"/>
                    </a:lnTo>
                    <a:lnTo>
                      <a:pt x="156" y="290"/>
                    </a:lnTo>
                    <a:lnTo>
                      <a:pt x="158" y="290"/>
                    </a:lnTo>
                    <a:lnTo>
                      <a:pt x="154" y="282"/>
                    </a:lnTo>
                    <a:lnTo>
                      <a:pt x="162" y="270"/>
                    </a:lnTo>
                    <a:lnTo>
                      <a:pt x="164" y="268"/>
                    </a:lnTo>
                    <a:lnTo>
                      <a:pt x="162" y="266"/>
                    </a:lnTo>
                    <a:lnTo>
                      <a:pt x="162" y="262"/>
                    </a:lnTo>
                    <a:lnTo>
                      <a:pt x="156" y="256"/>
                    </a:lnTo>
                    <a:lnTo>
                      <a:pt x="152" y="258"/>
                    </a:lnTo>
                    <a:lnTo>
                      <a:pt x="152" y="250"/>
                    </a:lnTo>
                    <a:lnTo>
                      <a:pt x="154" y="248"/>
                    </a:lnTo>
                    <a:lnTo>
                      <a:pt x="158" y="254"/>
                    </a:lnTo>
                    <a:lnTo>
                      <a:pt x="158" y="256"/>
                    </a:lnTo>
                    <a:lnTo>
                      <a:pt x="160" y="258"/>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2" name="Freeform 110">
                <a:extLst>
                  <a:ext uri="{FF2B5EF4-FFF2-40B4-BE49-F238E27FC236}">
                    <a16:creationId xmlns:a16="http://schemas.microsoft.com/office/drawing/2014/main" id="{062CC8A2-6A7A-44AC-A359-62273C8679B7}"/>
                  </a:ext>
                </a:extLst>
              </p:cNvPr>
              <p:cNvSpPr>
                <a:spLocks/>
              </p:cNvSpPr>
              <p:nvPr/>
            </p:nvSpPr>
            <p:spPr bwMode="gray">
              <a:xfrm>
                <a:off x="2914876" y="4802727"/>
                <a:ext cx="189035" cy="249237"/>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8"/>
                  <a:gd name="T175" fmla="*/ 0 h 142"/>
                  <a:gd name="T176" fmla="*/ 108 w 108"/>
                  <a:gd name="T177" fmla="*/ 142 h 14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8" h="142">
                    <a:moveTo>
                      <a:pt x="56" y="8"/>
                    </a:moveTo>
                    <a:lnTo>
                      <a:pt x="50" y="2"/>
                    </a:lnTo>
                    <a:lnTo>
                      <a:pt x="38" y="0"/>
                    </a:lnTo>
                    <a:lnTo>
                      <a:pt x="22" y="0"/>
                    </a:lnTo>
                    <a:lnTo>
                      <a:pt x="18" y="6"/>
                    </a:lnTo>
                    <a:lnTo>
                      <a:pt x="14" y="12"/>
                    </a:lnTo>
                    <a:lnTo>
                      <a:pt x="12" y="18"/>
                    </a:lnTo>
                    <a:lnTo>
                      <a:pt x="10" y="22"/>
                    </a:lnTo>
                    <a:lnTo>
                      <a:pt x="10" y="28"/>
                    </a:lnTo>
                    <a:lnTo>
                      <a:pt x="0" y="46"/>
                    </a:lnTo>
                    <a:lnTo>
                      <a:pt x="8" y="52"/>
                    </a:lnTo>
                    <a:lnTo>
                      <a:pt x="12" y="58"/>
                    </a:lnTo>
                    <a:lnTo>
                      <a:pt x="14" y="62"/>
                    </a:lnTo>
                    <a:lnTo>
                      <a:pt x="18" y="64"/>
                    </a:lnTo>
                    <a:lnTo>
                      <a:pt x="20" y="66"/>
                    </a:lnTo>
                    <a:lnTo>
                      <a:pt x="22" y="70"/>
                    </a:lnTo>
                    <a:lnTo>
                      <a:pt x="26" y="76"/>
                    </a:lnTo>
                    <a:lnTo>
                      <a:pt x="26" y="78"/>
                    </a:lnTo>
                    <a:lnTo>
                      <a:pt x="28" y="80"/>
                    </a:lnTo>
                    <a:lnTo>
                      <a:pt x="34" y="80"/>
                    </a:lnTo>
                    <a:lnTo>
                      <a:pt x="36" y="86"/>
                    </a:lnTo>
                    <a:lnTo>
                      <a:pt x="40" y="88"/>
                    </a:lnTo>
                    <a:lnTo>
                      <a:pt x="42" y="88"/>
                    </a:lnTo>
                    <a:lnTo>
                      <a:pt x="44" y="88"/>
                    </a:lnTo>
                    <a:lnTo>
                      <a:pt x="46" y="90"/>
                    </a:lnTo>
                    <a:lnTo>
                      <a:pt x="52" y="94"/>
                    </a:lnTo>
                    <a:lnTo>
                      <a:pt x="54" y="98"/>
                    </a:lnTo>
                    <a:lnTo>
                      <a:pt x="60" y="104"/>
                    </a:lnTo>
                    <a:lnTo>
                      <a:pt x="62" y="106"/>
                    </a:lnTo>
                    <a:lnTo>
                      <a:pt x="62" y="108"/>
                    </a:lnTo>
                    <a:lnTo>
                      <a:pt x="60" y="114"/>
                    </a:lnTo>
                    <a:lnTo>
                      <a:pt x="58" y="122"/>
                    </a:lnTo>
                    <a:lnTo>
                      <a:pt x="54" y="128"/>
                    </a:lnTo>
                    <a:lnTo>
                      <a:pt x="50" y="134"/>
                    </a:lnTo>
                    <a:lnTo>
                      <a:pt x="50" y="138"/>
                    </a:lnTo>
                    <a:lnTo>
                      <a:pt x="54" y="138"/>
                    </a:lnTo>
                    <a:lnTo>
                      <a:pt x="58" y="138"/>
                    </a:lnTo>
                    <a:lnTo>
                      <a:pt x="64" y="140"/>
                    </a:lnTo>
                    <a:lnTo>
                      <a:pt x="68" y="142"/>
                    </a:lnTo>
                    <a:lnTo>
                      <a:pt x="72" y="140"/>
                    </a:lnTo>
                    <a:lnTo>
                      <a:pt x="78" y="140"/>
                    </a:lnTo>
                    <a:lnTo>
                      <a:pt x="84" y="142"/>
                    </a:lnTo>
                    <a:lnTo>
                      <a:pt x="90" y="142"/>
                    </a:lnTo>
                    <a:lnTo>
                      <a:pt x="92" y="140"/>
                    </a:lnTo>
                    <a:lnTo>
                      <a:pt x="94" y="138"/>
                    </a:lnTo>
                    <a:lnTo>
                      <a:pt x="96" y="134"/>
                    </a:lnTo>
                    <a:lnTo>
                      <a:pt x="100" y="130"/>
                    </a:lnTo>
                    <a:lnTo>
                      <a:pt x="102" y="128"/>
                    </a:lnTo>
                    <a:lnTo>
                      <a:pt x="102" y="124"/>
                    </a:lnTo>
                    <a:lnTo>
                      <a:pt x="102" y="116"/>
                    </a:lnTo>
                    <a:lnTo>
                      <a:pt x="100" y="114"/>
                    </a:lnTo>
                    <a:lnTo>
                      <a:pt x="102" y="112"/>
                    </a:lnTo>
                    <a:lnTo>
                      <a:pt x="104" y="110"/>
                    </a:lnTo>
                    <a:lnTo>
                      <a:pt x="104" y="102"/>
                    </a:lnTo>
                    <a:lnTo>
                      <a:pt x="106" y="94"/>
                    </a:lnTo>
                    <a:lnTo>
                      <a:pt x="106" y="86"/>
                    </a:lnTo>
                    <a:lnTo>
                      <a:pt x="108" y="80"/>
                    </a:lnTo>
                    <a:lnTo>
                      <a:pt x="106" y="80"/>
                    </a:lnTo>
                    <a:lnTo>
                      <a:pt x="104" y="80"/>
                    </a:lnTo>
                    <a:lnTo>
                      <a:pt x="100" y="82"/>
                    </a:lnTo>
                    <a:lnTo>
                      <a:pt x="98" y="82"/>
                    </a:lnTo>
                    <a:lnTo>
                      <a:pt x="98" y="80"/>
                    </a:lnTo>
                    <a:lnTo>
                      <a:pt x="96" y="74"/>
                    </a:lnTo>
                    <a:lnTo>
                      <a:pt x="96" y="60"/>
                    </a:lnTo>
                    <a:lnTo>
                      <a:pt x="96" y="56"/>
                    </a:lnTo>
                    <a:lnTo>
                      <a:pt x="94" y="54"/>
                    </a:lnTo>
                    <a:lnTo>
                      <a:pt x="90" y="52"/>
                    </a:lnTo>
                    <a:lnTo>
                      <a:pt x="88" y="52"/>
                    </a:lnTo>
                    <a:lnTo>
                      <a:pt x="86" y="50"/>
                    </a:lnTo>
                    <a:lnTo>
                      <a:pt x="86" y="48"/>
                    </a:lnTo>
                    <a:lnTo>
                      <a:pt x="84" y="44"/>
                    </a:lnTo>
                    <a:lnTo>
                      <a:pt x="80" y="46"/>
                    </a:lnTo>
                    <a:lnTo>
                      <a:pt x="72" y="46"/>
                    </a:lnTo>
                    <a:lnTo>
                      <a:pt x="66" y="44"/>
                    </a:lnTo>
                    <a:lnTo>
                      <a:pt x="64" y="42"/>
                    </a:lnTo>
                    <a:lnTo>
                      <a:pt x="64" y="38"/>
                    </a:lnTo>
                    <a:lnTo>
                      <a:pt x="62" y="34"/>
                    </a:lnTo>
                    <a:lnTo>
                      <a:pt x="62" y="32"/>
                    </a:lnTo>
                    <a:lnTo>
                      <a:pt x="64" y="24"/>
                    </a:lnTo>
                    <a:lnTo>
                      <a:pt x="62" y="18"/>
                    </a:lnTo>
                    <a:lnTo>
                      <a:pt x="58" y="12"/>
                    </a:lnTo>
                    <a:lnTo>
                      <a:pt x="56" y="8"/>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3" name="Freeform 175">
                <a:extLst>
                  <a:ext uri="{FF2B5EF4-FFF2-40B4-BE49-F238E27FC236}">
                    <a16:creationId xmlns:a16="http://schemas.microsoft.com/office/drawing/2014/main" id="{0B3561FF-A34B-488E-AE1D-C83194D21215}"/>
                  </a:ext>
                </a:extLst>
              </p:cNvPr>
              <p:cNvSpPr>
                <a:spLocks/>
              </p:cNvSpPr>
              <p:nvPr/>
            </p:nvSpPr>
            <p:spPr bwMode="gray">
              <a:xfrm>
                <a:off x="2932461" y="3991514"/>
                <a:ext cx="115765" cy="227012"/>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6"/>
                  <a:gd name="T139" fmla="*/ 0 h 130"/>
                  <a:gd name="T140" fmla="*/ 66 w 66"/>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6" h="130">
                    <a:moveTo>
                      <a:pt x="24" y="0"/>
                    </a:moveTo>
                    <a:lnTo>
                      <a:pt x="22" y="8"/>
                    </a:lnTo>
                    <a:lnTo>
                      <a:pt x="20" y="10"/>
                    </a:lnTo>
                    <a:lnTo>
                      <a:pt x="14" y="14"/>
                    </a:lnTo>
                    <a:lnTo>
                      <a:pt x="10" y="14"/>
                    </a:lnTo>
                    <a:lnTo>
                      <a:pt x="8" y="14"/>
                    </a:lnTo>
                    <a:lnTo>
                      <a:pt x="8" y="16"/>
                    </a:lnTo>
                    <a:lnTo>
                      <a:pt x="10" y="20"/>
                    </a:lnTo>
                    <a:lnTo>
                      <a:pt x="12" y="22"/>
                    </a:lnTo>
                    <a:lnTo>
                      <a:pt x="14" y="26"/>
                    </a:lnTo>
                    <a:lnTo>
                      <a:pt x="16" y="26"/>
                    </a:lnTo>
                    <a:lnTo>
                      <a:pt x="18" y="28"/>
                    </a:lnTo>
                    <a:lnTo>
                      <a:pt x="18" y="30"/>
                    </a:lnTo>
                    <a:lnTo>
                      <a:pt x="16" y="32"/>
                    </a:lnTo>
                    <a:lnTo>
                      <a:pt x="14" y="32"/>
                    </a:lnTo>
                    <a:lnTo>
                      <a:pt x="6" y="34"/>
                    </a:lnTo>
                    <a:lnTo>
                      <a:pt x="6" y="36"/>
                    </a:lnTo>
                    <a:lnTo>
                      <a:pt x="6" y="40"/>
                    </a:lnTo>
                    <a:lnTo>
                      <a:pt x="0" y="42"/>
                    </a:lnTo>
                    <a:lnTo>
                      <a:pt x="12" y="60"/>
                    </a:lnTo>
                    <a:lnTo>
                      <a:pt x="16" y="62"/>
                    </a:lnTo>
                    <a:lnTo>
                      <a:pt x="22" y="62"/>
                    </a:lnTo>
                    <a:lnTo>
                      <a:pt x="24" y="62"/>
                    </a:lnTo>
                    <a:lnTo>
                      <a:pt x="26" y="64"/>
                    </a:lnTo>
                    <a:lnTo>
                      <a:pt x="26" y="66"/>
                    </a:lnTo>
                    <a:lnTo>
                      <a:pt x="22" y="70"/>
                    </a:lnTo>
                    <a:lnTo>
                      <a:pt x="28" y="74"/>
                    </a:lnTo>
                    <a:lnTo>
                      <a:pt x="30" y="74"/>
                    </a:lnTo>
                    <a:lnTo>
                      <a:pt x="28" y="76"/>
                    </a:lnTo>
                    <a:lnTo>
                      <a:pt x="28" y="78"/>
                    </a:lnTo>
                    <a:lnTo>
                      <a:pt x="28" y="80"/>
                    </a:lnTo>
                    <a:lnTo>
                      <a:pt x="30" y="82"/>
                    </a:lnTo>
                    <a:lnTo>
                      <a:pt x="28" y="86"/>
                    </a:lnTo>
                    <a:lnTo>
                      <a:pt x="22" y="92"/>
                    </a:lnTo>
                    <a:lnTo>
                      <a:pt x="22" y="100"/>
                    </a:lnTo>
                    <a:lnTo>
                      <a:pt x="20" y="112"/>
                    </a:lnTo>
                    <a:lnTo>
                      <a:pt x="20" y="114"/>
                    </a:lnTo>
                    <a:lnTo>
                      <a:pt x="22" y="118"/>
                    </a:lnTo>
                    <a:lnTo>
                      <a:pt x="24" y="120"/>
                    </a:lnTo>
                    <a:lnTo>
                      <a:pt x="28" y="124"/>
                    </a:lnTo>
                    <a:lnTo>
                      <a:pt x="30" y="124"/>
                    </a:lnTo>
                    <a:lnTo>
                      <a:pt x="30" y="126"/>
                    </a:lnTo>
                    <a:lnTo>
                      <a:pt x="32" y="130"/>
                    </a:lnTo>
                    <a:lnTo>
                      <a:pt x="36" y="130"/>
                    </a:lnTo>
                    <a:lnTo>
                      <a:pt x="38" y="128"/>
                    </a:lnTo>
                    <a:lnTo>
                      <a:pt x="40" y="126"/>
                    </a:lnTo>
                    <a:lnTo>
                      <a:pt x="42" y="126"/>
                    </a:lnTo>
                    <a:lnTo>
                      <a:pt x="44" y="126"/>
                    </a:lnTo>
                    <a:lnTo>
                      <a:pt x="44" y="124"/>
                    </a:lnTo>
                    <a:lnTo>
                      <a:pt x="44" y="122"/>
                    </a:lnTo>
                    <a:lnTo>
                      <a:pt x="46" y="122"/>
                    </a:lnTo>
                    <a:lnTo>
                      <a:pt x="48" y="120"/>
                    </a:lnTo>
                    <a:lnTo>
                      <a:pt x="50" y="118"/>
                    </a:lnTo>
                    <a:lnTo>
                      <a:pt x="52" y="118"/>
                    </a:lnTo>
                    <a:lnTo>
                      <a:pt x="56" y="120"/>
                    </a:lnTo>
                    <a:lnTo>
                      <a:pt x="58" y="120"/>
                    </a:lnTo>
                    <a:lnTo>
                      <a:pt x="56" y="112"/>
                    </a:lnTo>
                    <a:lnTo>
                      <a:pt x="54" y="100"/>
                    </a:lnTo>
                    <a:lnTo>
                      <a:pt x="56" y="96"/>
                    </a:lnTo>
                    <a:lnTo>
                      <a:pt x="56" y="94"/>
                    </a:lnTo>
                    <a:lnTo>
                      <a:pt x="54" y="92"/>
                    </a:lnTo>
                    <a:lnTo>
                      <a:pt x="52" y="88"/>
                    </a:lnTo>
                    <a:lnTo>
                      <a:pt x="52" y="78"/>
                    </a:lnTo>
                    <a:lnTo>
                      <a:pt x="50" y="72"/>
                    </a:lnTo>
                    <a:lnTo>
                      <a:pt x="50" y="70"/>
                    </a:lnTo>
                    <a:lnTo>
                      <a:pt x="50" y="68"/>
                    </a:lnTo>
                    <a:lnTo>
                      <a:pt x="54" y="66"/>
                    </a:lnTo>
                    <a:lnTo>
                      <a:pt x="58" y="62"/>
                    </a:lnTo>
                    <a:lnTo>
                      <a:pt x="58" y="54"/>
                    </a:lnTo>
                    <a:lnTo>
                      <a:pt x="66" y="42"/>
                    </a:lnTo>
                    <a:lnTo>
                      <a:pt x="64" y="36"/>
                    </a:lnTo>
                    <a:lnTo>
                      <a:pt x="62" y="32"/>
                    </a:lnTo>
                    <a:lnTo>
                      <a:pt x="56" y="30"/>
                    </a:lnTo>
                    <a:lnTo>
                      <a:pt x="54" y="28"/>
                    </a:lnTo>
                    <a:lnTo>
                      <a:pt x="52" y="26"/>
                    </a:lnTo>
                    <a:lnTo>
                      <a:pt x="50" y="28"/>
                    </a:lnTo>
                    <a:lnTo>
                      <a:pt x="48" y="28"/>
                    </a:lnTo>
                    <a:lnTo>
                      <a:pt x="48" y="26"/>
                    </a:lnTo>
                    <a:lnTo>
                      <a:pt x="46" y="26"/>
                    </a:lnTo>
                    <a:lnTo>
                      <a:pt x="44" y="30"/>
                    </a:lnTo>
                    <a:lnTo>
                      <a:pt x="44" y="38"/>
                    </a:lnTo>
                    <a:lnTo>
                      <a:pt x="40" y="36"/>
                    </a:lnTo>
                    <a:lnTo>
                      <a:pt x="38" y="36"/>
                    </a:lnTo>
                    <a:lnTo>
                      <a:pt x="38" y="34"/>
                    </a:lnTo>
                    <a:lnTo>
                      <a:pt x="38" y="32"/>
                    </a:lnTo>
                    <a:lnTo>
                      <a:pt x="38" y="30"/>
                    </a:lnTo>
                    <a:lnTo>
                      <a:pt x="42" y="28"/>
                    </a:lnTo>
                    <a:lnTo>
                      <a:pt x="44" y="22"/>
                    </a:lnTo>
                    <a:lnTo>
                      <a:pt x="44" y="16"/>
                    </a:lnTo>
                    <a:lnTo>
                      <a:pt x="36" y="8"/>
                    </a:lnTo>
                    <a:lnTo>
                      <a:pt x="28" y="0"/>
                    </a:lnTo>
                    <a:lnTo>
                      <a:pt x="24" y="2"/>
                    </a:lnTo>
                    <a:lnTo>
                      <a:pt x="24" y="0"/>
                    </a:lnTo>
                    <a:close/>
                  </a:path>
                </a:pathLst>
              </a:custGeom>
              <a:solidFill>
                <a:srgbClr val="999999"/>
              </a:solid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4" name="Freeform 185">
                <a:extLst>
                  <a:ext uri="{FF2B5EF4-FFF2-40B4-BE49-F238E27FC236}">
                    <a16:creationId xmlns:a16="http://schemas.microsoft.com/office/drawing/2014/main" id="{0C05F9A5-8F32-4293-B088-446F8F417441}"/>
                  </a:ext>
                </a:extLst>
              </p:cNvPr>
              <p:cNvSpPr>
                <a:spLocks/>
              </p:cNvSpPr>
              <p:nvPr/>
            </p:nvSpPr>
            <p:spPr bwMode="gray">
              <a:xfrm>
                <a:off x="3099515" y="4058189"/>
                <a:ext cx="74735" cy="136525"/>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2"/>
                  <a:gd name="T163" fmla="*/ 0 h 78"/>
                  <a:gd name="T164" fmla="*/ 42 w 42"/>
                  <a:gd name="T165" fmla="*/ 78 h 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2" h="78">
                    <a:moveTo>
                      <a:pt x="6" y="2"/>
                    </a:moveTo>
                    <a:lnTo>
                      <a:pt x="6" y="2"/>
                    </a:lnTo>
                    <a:lnTo>
                      <a:pt x="6" y="4"/>
                    </a:lnTo>
                    <a:lnTo>
                      <a:pt x="6" y="10"/>
                    </a:lnTo>
                    <a:lnTo>
                      <a:pt x="0" y="20"/>
                    </a:lnTo>
                    <a:lnTo>
                      <a:pt x="0" y="38"/>
                    </a:lnTo>
                    <a:lnTo>
                      <a:pt x="2" y="42"/>
                    </a:lnTo>
                    <a:lnTo>
                      <a:pt x="4" y="46"/>
                    </a:lnTo>
                    <a:lnTo>
                      <a:pt x="8" y="50"/>
                    </a:lnTo>
                    <a:lnTo>
                      <a:pt x="8" y="54"/>
                    </a:lnTo>
                    <a:lnTo>
                      <a:pt x="4" y="60"/>
                    </a:lnTo>
                    <a:lnTo>
                      <a:pt x="0" y="70"/>
                    </a:lnTo>
                    <a:lnTo>
                      <a:pt x="0" y="74"/>
                    </a:lnTo>
                    <a:lnTo>
                      <a:pt x="4" y="78"/>
                    </a:lnTo>
                    <a:lnTo>
                      <a:pt x="6" y="78"/>
                    </a:lnTo>
                    <a:lnTo>
                      <a:pt x="8" y="78"/>
                    </a:lnTo>
                    <a:lnTo>
                      <a:pt x="12" y="76"/>
                    </a:lnTo>
                    <a:lnTo>
                      <a:pt x="18" y="74"/>
                    </a:lnTo>
                    <a:lnTo>
                      <a:pt x="24" y="78"/>
                    </a:lnTo>
                    <a:lnTo>
                      <a:pt x="28" y="74"/>
                    </a:lnTo>
                    <a:lnTo>
                      <a:pt x="32" y="66"/>
                    </a:lnTo>
                    <a:lnTo>
                      <a:pt x="34" y="52"/>
                    </a:lnTo>
                    <a:lnTo>
                      <a:pt x="38" y="44"/>
                    </a:lnTo>
                    <a:lnTo>
                      <a:pt x="42" y="32"/>
                    </a:lnTo>
                    <a:lnTo>
                      <a:pt x="42" y="28"/>
                    </a:lnTo>
                    <a:lnTo>
                      <a:pt x="40" y="26"/>
                    </a:lnTo>
                    <a:lnTo>
                      <a:pt x="38" y="26"/>
                    </a:lnTo>
                    <a:lnTo>
                      <a:pt x="34" y="20"/>
                    </a:lnTo>
                    <a:lnTo>
                      <a:pt x="32" y="20"/>
                    </a:lnTo>
                    <a:lnTo>
                      <a:pt x="30" y="16"/>
                    </a:lnTo>
                    <a:lnTo>
                      <a:pt x="28" y="10"/>
                    </a:lnTo>
                    <a:lnTo>
                      <a:pt x="16" y="4"/>
                    </a:lnTo>
                    <a:lnTo>
                      <a:pt x="12" y="6"/>
                    </a:lnTo>
                    <a:lnTo>
                      <a:pt x="8" y="6"/>
                    </a:lnTo>
                    <a:lnTo>
                      <a:pt x="8" y="4"/>
                    </a:lnTo>
                    <a:lnTo>
                      <a:pt x="6" y="0"/>
                    </a:lnTo>
                    <a:lnTo>
                      <a:pt x="6" y="2"/>
                    </a:lnTo>
                    <a:close/>
                  </a:path>
                </a:pathLst>
              </a:custGeom>
              <a:solidFill>
                <a:srgbClr val="999999"/>
              </a:solid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5" name="Freeform 190">
                <a:extLst>
                  <a:ext uri="{FF2B5EF4-FFF2-40B4-BE49-F238E27FC236}">
                    <a16:creationId xmlns:a16="http://schemas.microsoft.com/office/drawing/2014/main" id="{4D13AB0B-1C46-43C6-AEAF-E74563F306E4}"/>
                  </a:ext>
                </a:extLst>
              </p:cNvPr>
              <p:cNvSpPr>
                <a:spLocks noEditPoints="1"/>
              </p:cNvSpPr>
              <p:nvPr/>
            </p:nvSpPr>
            <p:spPr bwMode="gray">
              <a:xfrm>
                <a:off x="2942718" y="5839364"/>
                <a:ext cx="83527" cy="38100"/>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8"/>
                  <a:gd name="T136" fmla="*/ 0 h 22"/>
                  <a:gd name="T137" fmla="*/ 48 w 48"/>
                  <a:gd name="T138" fmla="*/ 22 h 2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8" h="22">
                    <a:moveTo>
                      <a:pt x="48" y="8"/>
                    </a:moveTo>
                    <a:lnTo>
                      <a:pt x="46" y="10"/>
                    </a:lnTo>
                    <a:lnTo>
                      <a:pt x="42" y="10"/>
                    </a:lnTo>
                    <a:lnTo>
                      <a:pt x="40" y="8"/>
                    </a:lnTo>
                    <a:lnTo>
                      <a:pt x="40" y="10"/>
                    </a:lnTo>
                    <a:lnTo>
                      <a:pt x="34" y="14"/>
                    </a:lnTo>
                    <a:lnTo>
                      <a:pt x="30" y="12"/>
                    </a:lnTo>
                    <a:lnTo>
                      <a:pt x="32" y="18"/>
                    </a:lnTo>
                    <a:lnTo>
                      <a:pt x="28" y="18"/>
                    </a:lnTo>
                    <a:lnTo>
                      <a:pt x="24" y="18"/>
                    </a:lnTo>
                    <a:lnTo>
                      <a:pt x="22" y="18"/>
                    </a:lnTo>
                    <a:lnTo>
                      <a:pt x="22" y="20"/>
                    </a:lnTo>
                    <a:lnTo>
                      <a:pt x="22" y="22"/>
                    </a:lnTo>
                    <a:lnTo>
                      <a:pt x="18" y="20"/>
                    </a:lnTo>
                    <a:lnTo>
                      <a:pt x="16" y="18"/>
                    </a:lnTo>
                    <a:lnTo>
                      <a:pt x="18" y="18"/>
                    </a:lnTo>
                    <a:lnTo>
                      <a:pt x="18" y="16"/>
                    </a:lnTo>
                    <a:lnTo>
                      <a:pt x="20" y="12"/>
                    </a:lnTo>
                    <a:lnTo>
                      <a:pt x="24" y="8"/>
                    </a:lnTo>
                    <a:lnTo>
                      <a:pt x="26" y="8"/>
                    </a:lnTo>
                    <a:lnTo>
                      <a:pt x="26" y="6"/>
                    </a:lnTo>
                    <a:lnTo>
                      <a:pt x="26" y="4"/>
                    </a:lnTo>
                    <a:lnTo>
                      <a:pt x="32" y="0"/>
                    </a:lnTo>
                    <a:lnTo>
                      <a:pt x="36" y="0"/>
                    </a:lnTo>
                    <a:lnTo>
                      <a:pt x="36" y="2"/>
                    </a:lnTo>
                    <a:lnTo>
                      <a:pt x="34" y="4"/>
                    </a:lnTo>
                    <a:lnTo>
                      <a:pt x="36" y="6"/>
                    </a:lnTo>
                    <a:lnTo>
                      <a:pt x="40" y="4"/>
                    </a:lnTo>
                    <a:lnTo>
                      <a:pt x="40" y="2"/>
                    </a:lnTo>
                    <a:lnTo>
                      <a:pt x="42" y="2"/>
                    </a:lnTo>
                    <a:lnTo>
                      <a:pt x="42" y="6"/>
                    </a:lnTo>
                    <a:lnTo>
                      <a:pt x="48" y="8"/>
                    </a:lnTo>
                    <a:close/>
                    <a:moveTo>
                      <a:pt x="20" y="6"/>
                    </a:moveTo>
                    <a:lnTo>
                      <a:pt x="24" y="2"/>
                    </a:lnTo>
                    <a:lnTo>
                      <a:pt x="14" y="2"/>
                    </a:lnTo>
                    <a:lnTo>
                      <a:pt x="6" y="0"/>
                    </a:lnTo>
                    <a:lnTo>
                      <a:pt x="6" y="4"/>
                    </a:lnTo>
                    <a:lnTo>
                      <a:pt x="6" y="6"/>
                    </a:lnTo>
                    <a:lnTo>
                      <a:pt x="4" y="6"/>
                    </a:lnTo>
                    <a:lnTo>
                      <a:pt x="8" y="6"/>
                    </a:lnTo>
                    <a:lnTo>
                      <a:pt x="8" y="10"/>
                    </a:lnTo>
                    <a:lnTo>
                      <a:pt x="2" y="14"/>
                    </a:lnTo>
                    <a:lnTo>
                      <a:pt x="0" y="16"/>
                    </a:lnTo>
                    <a:lnTo>
                      <a:pt x="2" y="20"/>
                    </a:lnTo>
                    <a:lnTo>
                      <a:pt x="6" y="18"/>
                    </a:lnTo>
                    <a:lnTo>
                      <a:pt x="6" y="16"/>
                    </a:lnTo>
                    <a:lnTo>
                      <a:pt x="6" y="14"/>
                    </a:lnTo>
                    <a:lnTo>
                      <a:pt x="10" y="14"/>
                    </a:lnTo>
                    <a:lnTo>
                      <a:pt x="14" y="14"/>
                    </a:lnTo>
                    <a:lnTo>
                      <a:pt x="18" y="6"/>
                    </a:lnTo>
                    <a:lnTo>
                      <a:pt x="20" y="6"/>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6" name="Freeform 198">
                <a:extLst>
                  <a:ext uri="{FF2B5EF4-FFF2-40B4-BE49-F238E27FC236}">
                    <a16:creationId xmlns:a16="http://schemas.microsoft.com/office/drawing/2014/main" id="{497B709B-F2FB-4007-A03A-F49AE343C708}"/>
                  </a:ext>
                </a:extLst>
              </p:cNvPr>
              <p:cNvSpPr>
                <a:spLocks/>
              </p:cNvSpPr>
              <p:nvPr/>
            </p:nvSpPr>
            <p:spPr bwMode="gray">
              <a:xfrm>
                <a:off x="2481122" y="4201064"/>
                <a:ext cx="128954" cy="193675"/>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
                  <a:gd name="T181" fmla="*/ 0 h 110"/>
                  <a:gd name="T182" fmla="*/ 74 w 74"/>
                  <a:gd name="T183" fmla="*/ 110 h 1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 h="110">
                    <a:moveTo>
                      <a:pt x="26" y="0"/>
                    </a:moveTo>
                    <a:lnTo>
                      <a:pt x="26" y="0"/>
                    </a:lnTo>
                    <a:lnTo>
                      <a:pt x="14" y="8"/>
                    </a:lnTo>
                    <a:lnTo>
                      <a:pt x="14" y="10"/>
                    </a:lnTo>
                    <a:lnTo>
                      <a:pt x="14" y="12"/>
                    </a:lnTo>
                    <a:lnTo>
                      <a:pt x="16" y="20"/>
                    </a:lnTo>
                    <a:lnTo>
                      <a:pt x="12" y="24"/>
                    </a:lnTo>
                    <a:lnTo>
                      <a:pt x="10" y="28"/>
                    </a:lnTo>
                    <a:lnTo>
                      <a:pt x="10" y="34"/>
                    </a:lnTo>
                    <a:lnTo>
                      <a:pt x="12" y="40"/>
                    </a:lnTo>
                    <a:lnTo>
                      <a:pt x="8" y="40"/>
                    </a:lnTo>
                    <a:lnTo>
                      <a:pt x="8" y="42"/>
                    </a:lnTo>
                    <a:lnTo>
                      <a:pt x="6" y="44"/>
                    </a:lnTo>
                    <a:lnTo>
                      <a:pt x="4" y="44"/>
                    </a:lnTo>
                    <a:lnTo>
                      <a:pt x="4" y="48"/>
                    </a:lnTo>
                    <a:lnTo>
                      <a:pt x="6" y="50"/>
                    </a:lnTo>
                    <a:lnTo>
                      <a:pt x="6" y="52"/>
                    </a:lnTo>
                    <a:lnTo>
                      <a:pt x="6" y="54"/>
                    </a:lnTo>
                    <a:lnTo>
                      <a:pt x="6" y="52"/>
                    </a:lnTo>
                    <a:lnTo>
                      <a:pt x="2" y="56"/>
                    </a:lnTo>
                    <a:lnTo>
                      <a:pt x="4" y="62"/>
                    </a:lnTo>
                    <a:lnTo>
                      <a:pt x="6" y="62"/>
                    </a:lnTo>
                    <a:lnTo>
                      <a:pt x="6" y="66"/>
                    </a:lnTo>
                    <a:lnTo>
                      <a:pt x="4" y="66"/>
                    </a:lnTo>
                    <a:lnTo>
                      <a:pt x="0" y="70"/>
                    </a:lnTo>
                    <a:lnTo>
                      <a:pt x="8" y="72"/>
                    </a:lnTo>
                    <a:lnTo>
                      <a:pt x="10" y="74"/>
                    </a:lnTo>
                    <a:lnTo>
                      <a:pt x="14" y="72"/>
                    </a:lnTo>
                    <a:lnTo>
                      <a:pt x="16" y="72"/>
                    </a:lnTo>
                    <a:lnTo>
                      <a:pt x="16" y="70"/>
                    </a:lnTo>
                    <a:lnTo>
                      <a:pt x="18" y="70"/>
                    </a:lnTo>
                    <a:lnTo>
                      <a:pt x="18" y="74"/>
                    </a:lnTo>
                    <a:lnTo>
                      <a:pt x="14" y="74"/>
                    </a:lnTo>
                    <a:lnTo>
                      <a:pt x="12" y="76"/>
                    </a:lnTo>
                    <a:lnTo>
                      <a:pt x="12" y="78"/>
                    </a:lnTo>
                    <a:lnTo>
                      <a:pt x="14" y="78"/>
                    </a:lnTo>
                    <a:lnTo>
                      <a:pt x="14" y="80"/>
                    </a:lnTo>
                    <a:lnTo>
                      <a:pt x="6" y="88"/>
                    </a:lnTo>
                    <a:lnTo>
                      <a:pt x="8" y="92"/>
                    </a:lnTo>
                    <a:lnTo>
                      <a:pt x="10" y="94"/>
                    </a:lnTo>
                    <a:lnTo>
                      <a:pt x="4" y="98"/>
                    </a:lnTo>
                    <a:lnTo>
                      <a:pt x="6" y="100"/>
                    </a:lnTo>
                    <a:lnTo>
                      <a:pt x="10" y="104"/>
                    </a:lnTo>
                    <a:lnTo>
                      <a:pt x="14" y="102"/>
                    </a:lnTo>
                    <a:lnTo>
                      <a:pt x="14" y="100"/>
                    </a:lnTo>
                    <a:lnTo>
                      <a:pt x="16" y="102"/>
                    </a:lnTo>
                    <a:lnTo>
                      <a:pt x="18" y="108"/>
                    </a:lnTo>
                    <a:lnTo>
                      <a:pt x="20" y="110"/>
                    </a:lnTo>
                    <a:lnTo>
                      <a:pt x="22" y="110"/>
                    </a:lnTo>
                    <a:lnTo>
                      <a:pt x="26" y="108"/>
                    </a:lnTo>
                    <a:lnTo>
                      <a:pt x="28" y="106"/>
                    </a:lnTo>
                    <a:lnTo>
                      <a:pt x="30" y="104"/>
                    </a:lnTo>
                    <a:lnTo>
                      <a:pt x="34" y="94"/>
                    </a:lnTo>
                    <a:lnTo>
                      <a:pt x="38" y="88"/>
                    </a:lnTo>
                    <a:lnTo>
                      <a:pt x="44" y="80"/>
                    </a:lnTo>
                    <a:lnTo>
                      <a:pt x="50" y="76"/>
                    </a:lnTo>
                    <a:lnTo>
                      <a:pt x="62" y="70"/>
                    </a:lnTo>
                    <a:lnTo>
                      <a:pt x="68" y="64"/>
                    </a:lnTo>
                    <a:lnTo>
                      <a:pt x="70" y="58"/>
                    </a:lnTo>
                    <a:lnTo>
                      <a:pt x="70" y="52"/>
                    </a:lnTo>
                    <a:lnTo>
                      <a:pt x="74" y="52"/>
                    </a:lnTo>
                    <a:lnTo>
                      <a:pt x="74" y="50"/>
                    </a:lnTo>
                    <a:lnTo>
                      <a:pt x="72" y="44"/>
                    </a:lnTo>
                    <a:lnTo>
                      <a:pt x="72" y="34"/>
                    </a:lnTo>
                    <a:lnTo>
                      <a:pt x="68" y="32"/>
                    </a:lnTo>
                    <a:lnTo>
                      <a:pt x="72" y="28"/>
                    </a:lnTo>
                    <a:lnTo>
                      <a:pt x="68" y="26"/>
                    </a:lnTo>
                    <a:lnTo>
                      <a:pt x="62" y="22"/>
                    </a:lnTo>
                    <a:lnTo>
                      <a:pt x="62" y="20"/>
                    </a:lnTo>
                    <a:lnTo>
                      <a:pt x="60" y="22"/>
                    </a:lnTo>
                    <a:lnTo>
                      <a:pt x="60" y="24"/>
                    </a:lnTo>
                    <a:lnTo>
                      <a:pt x="46" y="20"/>
                    </a:lnTo>
                    <a:lnTo>
                      <a:pt x="44" y="20"/>
                    </a:lnTo>
                    <a:lnTo>
                      <a:pt x="42" y="16"/>
                    </a:lnTo>
                    <a:lnTo>
                      <a:pt x="42" y="12"/>
                    </a:lnTo>
                    <a:lnTo>
                      <a:pt x="40" y="10"/>
                    </a:lnTo>
                    <a:lnTo>
                      <a:pt x="32" y="6"/>
                    </a:lnTo>
                    <a:lnTo>
                      <a:pt x="28" y="2"/>
                    </a:lnTo>
                    <a:lnTo>
                      <a:pt x="28" y="0"/>
                    </a:lnTo>
                    <a:lnTo>
                      <a:pt x="26"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7" name="Freeform 208">
                <a:extLst>
                  <a:ext uri="{FF2B5EF4-FFF2-40B4-BE49-F238E27FC236}">
                    <a16:creationId xmlns:a16="http://schemas.microsoft.com/office/drawing/2014/main" id="{5DE3B9EE-414B-4DD9-B483-7CD74CA1D5CE}"/>
                  </a:ext>
                </a:extLst>
              </p:cNvPr>
              <p:cNvSpPr>
                <a:spLocks/>
              </p:cNvSpPr>
              <p:nvPr/>
            </p:nvSpPr>
            <p:spPr bwMode="gray">
              <a:xfrm>
                <a:off x="2525084" y="3883564"/>
                <a:ext cx="298938" cy="482600"/>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0"/>
                  <a:gd name="T166" fmla="*/ 0 h 276"/>
                  <a:gd name="T167" fmla="*/ 170 w 170"/>
                  <a:gd name="T168" fmla="*/ 276 h 27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0" h="276">
                    <a:moveTo>
                      <a:pt x="102" y="10"/>
                    </a:moveTo>
                    <a:lnTo>
                      <a:pt x="102" y="10"/>
                    </a:lnTo>
                    <a:lnTo>
                      <a:pt x="106" y="10"/>
                    </a:lnTo>
                    <a:lnTo>
                      <a:pt x="108" y="8"/>
                    </a:lnTo>
                    <a:lnTo>
                      <a:pt x="108" y="6"/>
                    </a:lnTo>
                    <a:lnTo>
                      <a:pt x="104" y="4"/>
                    </a:lnTo>
                    <a:lnTo>
                      <a:pt x="102" y="0"/>
                    </a:lnTo>
                    <a:lnTo>
                      <a:pt x="100" y="2"/>
                    </a:lnTo>
                    <a:lnTo>
                      <a:pt x="98" y="2"/>
                    </a:lnTo>
                    <a:lnTo>
                      <a:pt x="94" y="4"/>
                    </a:lnTo>
                    <a:lnTo>
                      <a:pt x="94" y="8"/>
                    </a:lnTo>
                    <a:lnTo>
                      <a:pt x="90" y="12"/>
                    </a:lnTo>
                    <a:lnTo>
                      <a:pt x="86" y="14"/>
                    </a:lnTo>
                    <a:lnTo>
                      <a:pt x="84" y="14"/>
                    </a:lnTo>
                    <a:lnTo>
                      <a:pt x="82" y="16"/>
                    </a:lnTo>
                    <a:lnTo>
                      <a:pt x="78" y="20"/>
                    </a:lnTo>
                    <a:lnTo>
                      <a:pt x="72" y="22"/>
                    </a:lnTo>
                    <a:lnTo>
                      <a:pt x="68" y="22"/>
                    </a:lnTo>
                    <a:lnTo>
                      <a:pt x="64" y="22"/>
                    </a:lnTo>
                    <a:lnTo>
                      <a:pt x="64" y="24"/>
                    </a:lnTo>
                    <a:lnTo>
                      <a:pt x="62" y="26"/>
                    </a:lnTo>
                    <a:lnTo>
                      <a:pt x="62" y="30"/>
                    </a:lnTo>
                    <a:lnTo>
                      <a:pt x="62" y="28"/>
                    </a:lnTo>
                    <a:lnTo>
                      <a:pt x="60" y="28"/>
                    </a:lnTo>
                    <a:lnTo>
                      <a:pt x="56" y="26"/>
                    </a:lnTo>
                    <a:lnTo>
                      <a:pt x="54" y="28"/>
                    </a:lnTo>
                    <a:lnTo>
                      <a:pt x="54" y="30"/>
                    </a:lnTo>
                    <a:lnTo>
                      <a:pt x="52" y="32"/>
                    </a:lnTo>
                    <a:lnTo>
                      <a:pt x="50" y="38"/>
                    </a:lnTo>
                    <a:lnTo>
                      <a:pt x="52" y="44"/>
                    </a:lnTo>
                    <a:lnTo>
                      <a:pt x="48" y="44"/>
                    </a:lnTo>
                    <a:lnTo>
                      <a:pt x="46" y="46"/>
                    </a:lnTo>
                    <a:lnTo>
                      <a:pt x="48" y="52"/>
                    </a:lnTo>
                    <a:lnTo>
                      <a:pt x="42" y="52"/>
                    </a:lnTo>
                    <a:lnTo>
                      <a:pt x="38" y="64"/>
                    </a:lnTo>
                    <a:lnTo>
                      <a:pt x="36" y="76"/>
                    </a:lnTo>
                    <a:lnTo>
                      <a:pt x="32" y="76"/>
                    </a:lnTo>
                    <a:lnTo>
                      <a:pt x="32" y="74"/>
                    </a:lnTo>
                    <a:lnTo>
                      <a:pt x="30" y="72"/>
                    </a:lnTo>
                    <a:lnTo>
                      <a:pt x="28" y="66"/>
                    </a:lnTo>
                    <a:lnTo>
                      <a:pt x="26" y="66"/>
                    </a:lnTo>
                    <a:lnTo>
                      <a:pt x="24" y="70"/>
                    </a:lnTo>
                    <a:lnTo>
                      <a:pt x="26" y="72"/>
                    </a:lnTo>
                    <a:lnTo>
                      <a:pt x="28" y="76"/>
                    </a:lnTo>
                    <a:lnTo>
                      <a:pt x="26" y="82"/>
                    </a:lnTo>
                    <a:lnTo>
                      <a:pt x="24" y="84"/>
                    </a:lnTo>
                    <a:lnTo>
                      <a:pt x="22" y="88"/>
                    </a:lnTo>
                    <a:lnTo>
                      <a:pt x="24" y="88"/>
                    </a:lnTo>
                    <a:lnTo>
                      <a:pt x="24" y="100"/>
                    </a:lnTo>
                    <a:lnTo>
                      <a:pt x="24" y="106"/>
                    </a:lnTo>
                    <a:lnTo>
                      <a:pt x="26" y="112"/>
                    </a:lnTo>
                    <a:lnTo>
                      <a:pt x="20" y="114"/>
                    </a:lnTo>
                    <a:lnTo>
                      <a:pt x="24" y="116"/>
                    </a:lnTo>
                    <a:lnTo>
                      <a:pt x="22" y="124"/>
                    </a:lnTo>
                    <a:lnTo>
                      <a:pt x="22" y="130"/>
                    </a:lnTo>
                    <a:lnTo>
                      <a:pt x="18" y="136"/>
                    </a:lnTo>
                    <a:lnTo>
                      <a:pt x="18" y="138"/>
                    </a:lnTo>
                    <a:lnTo>
                      <a:pt x="18" y="140"/>
                    </a:lnTo>
                    <a:lnTo>
                      <a:pt x="22" y="144"/>
                    </a:lnTo>
                    <a:lnTo>
                      <a:pt x="24" y="144"/>
                    </a:lnTo>
                    <a:lnTo>
                      <a:pt x="26" y="144"/>
                    </a:lnTo>
                    <a:lnTo>
                      <a:pt x="26" y="146"/>
                    </a:lnTo>
                    <a:lnTo>
                      <a:pt x="22" y="148"/>
                    </a:lnTo>
                    <a:lnTo>
                      <a:pt x="20" y="150"/>
                    </a:lnTo>
                    <a:lnTo>
                      <a:pt x="18" y="154"/>
                    </a:lnTo>
                    <a:lnTo>
                      <a:pt x="18" y="158"/>
                    </a:lnTo>
                    <a:lnTo>
                      <a:pt x="14" y="158"/>
                    </a:lnTo>
                    <a:lnTo>
                      <a:pt x="8" y="160"/>
                    </a:lnTo>
                    <a:lnTo>
                      <a:pt x="6" y="164"/>
                    </a:lnTo>
                    <a:lnTo>
                      <a:pt x="4" y="164"/>
                    </a:lnTo>
                    <a:lnTo>
                      <a:pt x="4" y="168"/>
                    </a:lnTo>
                    <a:lnTo>
                      <a:pt x="4" y="170"/>
                    </a:lnTo>
                    <a:lnTo>
                      <a:pt x="6" y="172"/>
                    </a:lnTo>
                    <a:lnTo>
                      <a:pt x="6" y="176"/>
                    </a:lnTo>
                    <a:lnTo>
                      <a:pt x="4" y="174"/>
                    </a:lnTo>
                    <a:lnTo>
                      <a:pt x="0" y="176"/>
                    </a:lnTo>
                    <a:lnTo>
                      <a:pt x="0" y="182"/>
                    </a:lnTo>
                    <a:lnTo>
                      <a:pt x="2" y="182"/>
                    </a:lnTo>
                    <a:lnTo>
                      <a:pt x="2" y="184"/>
                    </a:lnTo>
                    <a:lnTo>
                      <a:pt x="6" y="188"/>
                    </a:lnTo>
                    <a:lnTo>
                      <a:pt x="14" y="192"/>
                    </a:lnTo>
                    <a:lnTo>
                      <a:pt x="16" y="194"/>
                    </a:lnTo>
                    <a:lnTo>
                      <a:pt x="16" y="198"/>
                    </a:lnTo>
                    <a:lnTo>
                      <a:pt x="18" y="202"/>
                    </a:lnTo>
                    <a:lnTo>
                      <a:pt x="20" y="202"/>
                    </a:lnTo>
                    <a:lnTo>
                      <a:pt x="34" y="206"/>
                    </a:lnTo>
                    <a:lnTo>
                      <a:pt x="34" y="204"/>
                    </a:lnTo>
                    <a:lnTo>
                      <a:pt x="36" y="202"/>
                    </a:lnTo>
                    <a:lnTo>
                      <a:pt x="36" y="204"/>
                    </a:lnTo>
                    <a:lnTo>
                      <a:pt x="40" y="206"/>
                    </a:lnTo>
                    <a:lnTo>
                      <a:pt x="42" y="208"/>
                    </a:lnTo>
                    <a:lnTo>
                      <a:pt x="48" y="210"/>
                    </a:lnTo>
                    <a:lnTo>
                      <a:pt x="54" y="210"/>
                    </a:lnTo>
                    <a:lnTo>
                      <a:pt x="54" y="214"/>
                    </a:lnTo>
                    <a:lnTo>
                      <a:pt x="56" y="216"/>
                    </a:lnTo>
                    <a:lnTo>
                      <a:pt x="58" y="216"/>
                    </a:lnTo>
                    <a:lnTo>
                      <a:pt x="62" y="220"/>
                    </a:lnTo>
                    <a:lnTo>
                      <a:pt x="64" y="224"/>
                    </a:lnTo>
                    <a:lnTo>
                      <a:pt x="64" y="226"/>
                    </a:lnTo>
                    <a:lnTo>
                      <a:pt x="66" y="228"/>
                    </a:lnTo>
                    <a:lnTo>
                      <a:pt x="70" y="230"/>
                    </a:lnTo>
                    <a:lnTo>
                      <a:pt x="78" y="230"/>
                    </a:lnTo>
                    <a:lnTo>
                      <a:pt x="78" y="236"/>
                    </a:lnTo>
                    <a:lnTo>
                      <a:pt x="78" y="238"/>
                    </a:lnTo>
                    <a:lnTo>
                      <a:pt x="80" y="240"/>
                    </a:lnTo>
                    <a:lnTo>
                      <a:pt x="82" y="240"/>
                    </a:lnTo>
                    <a:lnTo>
                      <a:pt x="90" y="242"/>
                    </a:lnTo>
                    <a:lnTo>
                      <a:pt x="90" y="238"/>
                    </a:lnTo>
                    <a:lnTo>
                      <a:pt x="94" y="238"/>
                    </a:lnTo>
                    <a:lnTo>
                      <a:pt x="98" y="238"/>
                    </a:lnTo>
                    <a:lnTo>
                      <a:pt x="100" y="240"/>
                    </a:lnTo>
                    <a:lnTo>
                      <a:pt x="104" y="242"/>
                    </a:lnTo>
                    <a:lnTo>
                      <a:pt x="110" y="244"/>
                    </a:lnTo>
                    <a:lnTo>
                      <a:pt x="114" y="246"/>
                    </a:lnTo>
                    <a:lnTo>
                      <a:pt x="116" y="248"/>
                    </a:lnTo>
                    <a:lnTo>
                      <a:pt x="104" y="274"/>
                    </a:lnTo>
                    <a:lnTo>
                      <a:pt x="110" y="274"/>
                    </a:lnTo>
                    <a:lnTo>
                      <a:pt x="114" y="276"/>
                    </a:lnTo>
                    <a:lnTo>
                      <a:pt x="128" y="238"/>
                    </a:lnTo>
                    <a:lnTo>
                      <a:pt x="130" y="232"/>
                    </a:lnTo>
                    <a:lnTo>
                      <a:pt x="132" y="228"/>
                    </a:lnTo>
                    <a:lnTo>
                      <a:pt x="132" y="226"/>
                    </a:lnTo>
                    <a:lnTo>
                      <a:pt x="126" y="212"/>
                    </a:lnTo>
                    <a:lnTo>
                      <a:pt x="122" y="210"/>
                    </a:lnTo>
                    <a:lnTo>
                      <a:pt x="122" y="204"/>
                    </a:lnTo>
                    <a:lnTo>
                      <a:pt x="130" y="204"/>
                    </a:lnTo>
                    <a:lnTo>
                      <a:pt x="132" y="202"/>
                    </a:lnTo>
                    <a:lnTo>
                      <a:pt x="124" y="200"/>
                    </a:lnTo>
                    <a:lnTo>
                      <a:pt x="126" y="194"/>
                    </a:lnTo>
                    <a:lnTo>
                      <a:pt x="128"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66" y="182"/>
                    </a:lnTo>
                    <a:lnTo>
                      <a:pt x="166" y="176"/>
                    </a:lnTo>
                    <a:lnTo>
                      <a:pt x="164" y="178"/>
                    </a:lnTo>
                    <a:lnTo>
                      <a:pt x="162" y="178"/>
                    </a:lnTo>
                    <a:lnTo>
                      <a:pt x="160" y="176"/>
                    </a:lnTo>
                    <a:lnTo>
                      <a:pt x="162" y="172"/>
                    </a:lnTo>
                    <a:lnTo>
                      <a:pt x="164" y="170"/>
                    </a:lnTo>
                    <a:lnTo>
                      <a:pt x="168" y="164"/>
                    </a:lnTo>
                    <a:lnTo>
                      <a:pt x="170" y="154"/>
                    </a:lnTo>
                    <a:lnTo>
                      <a:pt x="164" y="152"/>
                    </a:lnTo>
                    <a:lnTo>
                      <a:pt x="158" y="146"/>
                    </a:lnTo>
                    <a:lnTo>
                      <a:pt x="154" y="142"/>
                    </a:lnTo>
                    <a:lnTo>
                      <a:pt x="150" y="138"/>
                    </a:lnTo>
                    <a:lnTo>
                      <a:pt x="146" y="134"/>
                    </a:lnTo>
                    <a:lnTo>
                      <a:pt x="144" y="132"/>
                    </a:lnTo>
                    <a:lnTo>
                      <a:pt x="144" y="128"/>
                    </a:lnTo>
                    <a:lnTo>
                      <a:pt x="142" y="124"/>
                    </a:lnTo>
                    <a:lnTo>
                      <a:pt x="144" y="122"/>
                    </a:lnTo>
                    <a:lnTo>
                      <a:pt x="146" y="120"/>
                    </a:lnTo>
                    <a:lnTo>
                      <a:pt x="146" y="112"/>
                    </a:lnTo>
                    <a:lnTo>
                      <a:pt x="138" y="110"/>
                    </a:lnTo>
                    <a:lnTo>
                      <a:pt x="128" y="112"/>
                    </a:lnTo>
                    <a:lnTo>
                      <a:pt x="122" y="100"/>
                    </a:lnTo>
                    <a:lnTo>
                      <a:pt x="118" y="98"/>
                    </a:lnTo>
                    <a:lnTo>
                      <a:pt x="112" y="98"/>
                    </a:lnTo>
                    <a:lnTo>
                      <a:pt x="106" y="98"/>
                    </a:lnTo>
                    <a:lnTo>
                      <a:pt x="102" y="98"/>
                    </a:lnTo>
                    <a:lnTo>
                      <a:pt x="92" y="96"/>
                    </a:lnTo>
                    <a:lnTo>
                      <a:pt x="92" y="94"/>
                    </a:lnTo>
                    <a:lnTo>
                      <a:pt x="90" y="88"/>
                    </a:lnTo>
                    <a:lnTo>
                      <a:pt x="86" y="82"/>
                    </a:lnTo>
                    <a:lnTo>
                      <a:pt x="84" y="78"/>
                    </a:lnTo>
                    <a:lnTo>
                      <a:pt x="84" y="76"/>
                    </a:lnTo>
                    <a:lnTo>
                      <a:pt x="86" y="76"/>
                    </a:lnTo>
                    <a:lnTo>
                      <a:pt x="88" y="74"/>
                    </a:lnTo>
                    <a:lnTo>
                      <a:pt x="82" y="62"/>
                    </a:lnTo>
                    <a:lnTo>
                      <a:pt x="76" y="64"/>
                    </a:lnTo>
                    <a:lnTo>
                      <a:pt x="74" y="64"/>
                    </a:lnTo>
                    <a:lnTo>
                      <a:pt x="74" y="62"/>
                    </a:lnTo>
                    <a:lnTo>
                      <a:pt x="74" y="58"/>
                    </a:lnTo>
                    <a:lnTo>
                      <a:pt x="76" y="54"/>
                    </a:lnTo>
                    <a:lnTo>
                      <a:pt x="76" y="52"/>
                    </a:lnTo>
                    <a:lnTo>
                      <a:pt x="76" y="46"/>
                    </a:lnTo>
                    <a:lnTo>
                      <a:pt x="78" y="40"/>
                    </a:lnTo>
                    <a:lnTo>
                      <a:pt x="76" y="38"/>
                    </a:lnTo>
                    <a:lnTo>
                      <a:pt x="82" y="36"/>
                    </a:lnTo>
                    <a:lnTo>
                      <a:pt x="88" y="22"/>
                    </a:lnTo>
                    <a:lnTo>
                      <a:pt x="94" y="12"/>
                    </a:lnTo>
                    <a:lnTo>
                      <a:pt x="102" y="1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8" name="Freeform 213">
                <a:extLst>
                  <a:ext uri="{FF2B5EF4-FFF2-40B4-BE49-F238E27FC236}">
                    <a16:creationId xmlns:a16="http://schemas.microsoft.com/office/drawing/2014/main" id="{D91298EF-079E-4074-A8FE-706F7ED20907}"/>
                  </a:ext>
                </a:extLst>
              </p:cNvPr>
              <p:cNvSpPr>
                <a:spLocks noEditPoints="1"/>
              </p:cNvSpPr>
              <p:nvPr/>
            </p:nvSpPr>
            <p:spPr bwMode="gray">
              <a:xfrm>
                <a:off x="2613007" y="4758277"/>
                <a:ext cx="199292" cy="1227137"/>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4"/>
                  <a:gd name="T178" fmla="*/ 0 h 702"/>
                  <a:gd name="T179" fmla="*/ 114 w 114"/>
                  <a:gd name="T180" fmla="*/ 702 h 7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4" h="702">
                    <a:moveTo>
                      <a:pt x="106" y="690"/>
                    </a:moveTo>
                    <a:lnTo>
                      <a:pt x="108" y="690"/>
                    </a:lnTo>
                    <a:lnTo>
                      <a:pt x="104" y="696"/>
                    </a:lnTo>
                    <a:lnTo>
                      <a:pt x="100" y="702"/>
                    </a:lnTo>
                    <a:lnTo>
                      <a:pt x="100" y="696"/>
                    </a:lnTo>
                    <a:lnTo>
                      <a:pt x="94" y="694"/>
                    </a:lnTo>
                    <a:lnTo>
                      <a:pt x="94" y="692"/>
                    </a:lnTo>
                    <a:lnTo>
                      <a:pt x="92" y="688"/>
                    </a:lnTo>
                    <a:lnTo>
                      <a:pt x="80" y="692"/>
                    </a:lnTo>
                    <a:lnTo>
                      <a:pt x="78" y="694"/>
                    </a:lnTo>
                    <a:lnTo>
                      <a:pt x="74" y="694"/>
                    </a:lnTo>
                    <a:lnTo>
                      <a:pt x="68" y="694"/>
                    </a:lnTo>
                    <a:lnTo>
                      <a:pt x="68" y="692"/>
                    </a:lnTo>
                    <a:lnTo>
                      <a:pt x="70" y="692"/>
                    </a:lnTo>
                    <a:lnTo>
                      <a:pt x="70" y="690"/>
                    </a:lnTo>
                    <a:lnTo>
                      <a:pt x="66" y="688"/>
                    </a:lnTo>
                    <a:lnTo>
                      <a:pt x="62" y="690"/>
                    </a:lnTo>
                    <a:lnTo>
                      <a:pt x="58" y="690"/>
                    </a:lnTo>
                    <a:lnTo>
                      <a:pt x="58" y="686"/>
                    </a:lnTo>
                    <a:lnTo>
                      <a:pt x="50" y="686"/>
                    </a:lnTo>
                    <a:lnTo>
                      <a:pt x="50" y="684"/>
                    </a:lnTo>
                    <a:lnTo>
                      <a:pt x="46" y="684"/>
                    </a:lnTo>
                    <a:lnTo>
                      <a:pt x="46" y="686"/>
                    </a:lnTo>
                    <a:lnTo>
                      <a:pt x="46" y="688"/>
                    </a:lnTo>
                    <a:lnTo>
                      <a:pt x="42" y="686"/>
                    </a:lnTo>
                    <a:lnTo>
                      <a:pt x="42" y="684"/>
                    </a:lnTo>
                    <a:lnTo>
                      <a:pt x="44" y="684"/>
                    </a:lnTo>
                    <a:lnTo>
                      <a:pt x="44" y="682"/>
                    </a:lnTo>
                    <a:lnTo>
                      <a:pt x="56" y="680"/>
                    </a:lnTo>
                    <a:lnTo>
                      <a:pt x="56" y="678"/>
                    </a:lnTo>
                    <a:lnTo>
                      <a:pt x="56" y="676"/>
                    </a:lnTo>
                    <a:lnTo>
                      <a:pt x="52" y="678"/>
                    </a:lnTo>
                    <a:lnTo>
                      <a:pt x="48" y="678"/>
                    </a:lnTo>
                    <a:lnTo>
                      <a:pt x="46" y="676"/>
                    </a:lnTo>
                    <a:lnTo>
                      <a:pt x="44" y="670"/>
                    </a:lnTo>
                    <a:lnTo>
                      <a:pt x="50" y="670"/>
                    </a:lnTo>
                    <a:lnTo>
                      <a:pt x="50" y="674"/>
                    </a:lnTo>
                    <a:lnTo>
                      <a:pt x="54" y="672"/>
                    </a:lnTo>
                    <a:lnTo>
                      <a:pt x="54" y="674"/>
                    </a:lnTo>
                    <a:lnTo>
                      <a:pt x="56" y="668"/>
                    </a:lnTo>
                    <a:lnTo>
                      <a:pt x="60" y="668"/>
                    </a:lnTo>
                    <a:lnTo>
                      <a:pt x="60" y="676"/>
                    </a:lnTo>
                    <a:lnTo>
                      <a:pt x="64" y="678"/>
                    </a:lnTo>
                    <a:lnTo>
                      <a:pt x="62" y="682"/>
                    </a:lnTo>
                    <a:lnTo>
                      <a:pt x="66" y="682"/>
                    </a:lnTo>
                    <a:lnTo>
                      <a:pt x="66" y="678"/>
                    </a:lnTo>
                    <a:lnTo>
                      <a:pt x="72" y="678"/>
                    </a:lnTo>
                    <a:lnTo>
                      <a:pt x="74" y="680"/>
                    </a:lnTo>
                    <a:lnTo>
                      <a:pt x="78" y="680"/>
                    </a:lnTo>
                    <a:lnTo>
                      <a:pt x="72" y="674"/>
                    </a:lnTo>
                    <a:lnTo>
                      <a:pt x="66" y="674"/>
                    </a:lnTo>
                    <a:lnTo>
                      <a:pt x="64" y="670"/>
                    </a:lnTo>
                    <a:lnTo>
                      <a:pt x="64" y="666"/>
                    </a:lnTo>
                    <a:lnTo>
                      <a:pt x="74" y="660"/>
                    </a:lnTo>
                    <a:lnTo>
                      <a:pt x="64" y="660"/>
                    </a:lnTo>
                    <a:lnTo>
                      <a:pt x="62" y="660"/>
                    </a:lnTo>
                    <a:lnTo>
                      <a:pt x="62" y="658"/>
                    </a:lnTo>
                    <a:lnTo>
                      <a:pt x="62" y="654"/>
                    </a:lnTo>
                    <a:lnTo>
                      <a:pt x="62" y="646"/>
                    </a:lnTo>
                    <a:lnTo>
                      <a:pt x="64" y="646"/>
                    </a:lnTo>
                    <a:lnTo>
                      <a:pt x="68" y="646"/>
                    </a:lnTo>
                    <a:lnTo>
                      <a:pt x="72" y="648"/>
                    </a:lnTo>
                    <a:lnTo>
                      <a:pt x="78" y="642"/>
                    </a:lnTo>
                    <a:lnTo>
                      <a:pt x="82" y="646"/>
                    </a:lnTo>
                    <a:lnTo>
                      <a:pt x="86" y="644"/>
                    </a:lnTo>
                    <a:lnTo>
                      <a:pt x="90" y="690"/>
                    </a:lnTo>
                    <a:lnTo>
                      <a:pt x="94" y="688"/>
                    </a:lnTo>
                    <a:lnTo>
                      <a:pt x="100" y="688"/>
                    </a:lnTo>
                    <a:lnTo>
                      <a:pt x="96" y="688"/>
                    </a:lnTo>
                    <a:lnTo>
                      <a:pt x="98" y="688"/>
                    </a:lnTo>
                    <a:lnTo>
                      <a:pt x="106" y="690"/>
                    </a:lnTo>
                    <a:close/>
                    <a:moveTo>
                      <a:pt x="112" y="102"/>
                    </a:moveTo>
                    <a:lnTo>
                      <a:pt x="112" y="102"/>
                    </a:lnTo>
                    <a:lnTo>
                      <a:pt x="112" y="106"/>
                    </a:lnTo>
                    <a:lnTo>
                      <a:pt x="108" y="106"/>
                    </a:lnTo>
                    <a:lnTo>
                      <a:pt x="106" y="108"/>
                    </a:lnTo>
                    <a:lnTo>
                      <a:pt x="104" y="110"/>
                    </a:lnTo>
                    <a:lnTo>
                      <a:pt x="102" y="114"/>
                    </a:lnTo>
                    <a:lnTo>
                      <a:pt x="98" y="116"/>
                    </a:lnTo>
                    <a:lnTo>
                      <a:pt x="96" y="116"/>
                    </a:lnTo>
                    <a:lnTo>
                      <a:pt x="94" y="118"/>
                    </a:lnTo>
                    <a:lnTo>
                      <a:pt x="94" y="134"/>
                    </a:lnTo>
                    <a:lnTo>
                      <a:pt x="98" y="142"/>
                    </a:lnTo>
                    <a:lnTo>
                      <a:pt x="98" y="144"/>
                    </a:lnTo>
                    <a:lnTo>
                      <a:pt x="96" y="146"/>
                    </a:lnTo>
                    <a:lnTo>
                      <a:pt x="94" y="148"/>
                    </a:lnTo>
                    <a:lnTo>
                      <a:pt x="94" y="150"/>
                    </a:lnTo>
                    <a:lnTo>
                      <a:pt x="96" y="154"/>
                    </a:lnTo>
                    <a:lnTo>
                      <a:pt x="96" y="160"/>
                    </a:lnTo>
                    <a:lnTo>
                      <a:pt x="94" y="166"/>
                    </a:lnTo>
                    <a:lnTo>
                      <a:pt x="90" y="172"/>
                    </a:lnTo>
                    <a:lnTo>
                      <a:pt x="88" y="178"/>
                    </a:lnTo>
                    <a:lnTo>
                      <a:pt x="86" y="182"/>
                    </a:lnTo>
                    <a:lnTo>
                      <a:pt x="84" y="184"/>
                    </a:lnTo>
                    <a:lnTo>
                      <a:pt x="82" y="186"/>
                    </a:lnTo>
                    <a:lnTo>
                      <a:pt x="80" y="192"/>
                    </a:lnTo>
                    <a:lnTo>
                      <a:pt x="78" y="210"/>
                    </a:lnTo>
                    <a:lnTo>
                      <a:pt x="78" y="218"/>
                    </a:lnTo>
                    <a:lnTo>
                      <a:pt x="78" y="224"/>
                    </a:lnTo>
                    <a:lnTo>
                      <a:pt x="76" y="228"/>
                    </a:lnTo>
                    <a:lnTo>
                      <a:pt x="74" y="236"/>
                    </a:lnTo>
                    <a:lnTo>
                      <a:pt x="74" y="244"/>
                    </a:lnTo>
                    <a:lnTo>
                      <a:pt x="74" y="250"/>
                    </a:lnTo>
                    <a:lnTo>
                      <a:pt x="74" y="258"/>
                    </a:lnTo>
                    <a:lnTo>
                      <a:pt x="74" y="262"/>
                    </a:lnTo>
                    <a:lnTo>
                      <a:pt x="70" y="268"/>
                    </a:lnTo>
                    <a:lnTo>
                      <a:pt x="72" y="274"/>
                    </a:lnTo>
                    <a:lnTo>
                      <a:pt x="72" y="280"/>
                    </a:lnTo>
                    <a:lnTo>
                      <a:pt x="72" y="286"/>
                    </a:lnTo>
                    <a:lnTo>
                      <a:pt x="70" y="296"/>
                    </a:lnTo>
                    <a:lnTo>
                      <a:pt x="66" y="306"/>
                    </a:lnTo>
                    <a:lnTo>
                      <a:pt x="64" y="312"/>
                    </a:lnTo>
                    <a:lnTo>
                      <a:pt x="66" y="316"/>
                    </a:lnTo>
                    <a:lnTo>
                      <a:pt x="66" y="322"/>
                    </a:lnTo>
                    <a:lnTo>
                      <a:pt x="66" y="326"/>
                    </a:lnTo>
                    <a:lnTo>
                      <a:pt x="64" y="328"/>
                    </a:lnTo>
                    <a:lnTo>
                      <a:pt x="62" y="328"/>
                    </a:lnTo>
                    <a:lnTo>
                      <a:pt x="60" y="328"/>
                    </a:lnTo>
                    <a:lnTo>
                      <a:pt x="58" y="332"/>
                    </a:lnTo>
                    <a:lnTo>
                      <a:pt x="56" y="334"/>
                    </a:lnTo>
                    <a:lnTo>
                      <a:pt x="54" y="338"/>
                    </a:lnTo>
                    <a:lnTo>
                      <a:pt x="54" y="344"/>
                    </a:lnTo>
                    <a:lnTo>
                      <a:pt x="54" y="352"/>
                    </a:lnTo>
                    <a:lnTo>
                      <a:pt x="54" y="354"/>
                    </a:lnTo>
                    <a:lnTo>
                      <a:pt x="56" y="356"/>
                    </a:lnTo>
                    <a:lnTo>
                      <a:pt x="58" y="362"/>
                    </a:lnTo>
                    <a:lnTo>
                      <a:pt x="56" y="364"/>
                    </a:lnTo>
                    <a:lnTo>
                      <a:pt x="54" y="366"/>
                    </a:lnTo>
                    <a:lnTo>
                      <a:pt x="50" y="376"/>
                    </a:lnTo>
                    <a:lnTo>
                      <a:pt x="48" y="386"/>
                    </a:lnTo>
                    <a:lnTo>
                      <a:pt x="48" y="392"/>
                    </a:lnTo>
                    <a:lnTo>
                      <a:pt x="44" y="396"/>
                    </a:lnTo>
                    <a:lnTo>
                      <a:pt x="42" y="400"/>
                    </a:lnTo>
                    <a:lnTo>
                      <a:pt x="44" y="402"/>
                    </a:lnTo>
                    <a:lnTo>
                      <a:pt x="44" y="406"/>
                    </a:lnTo>
                    <a:lnTo>
                      <a:pt x="46" y="410"/>
                    </a:lnTo>
                    <a:lnTo>
                      <a:pt x="44" y="416"/>
                    </a:lnTo>
                    <a:lnTo>
                      <a:pt x="44" y="420"/>
                    </a:lnTo>
                    <a:lnTo>
                      <a:pt x="46" y="422"/>
                    </a:lnTo>
                    <a:lnTo>
                      <a:pt x="50" y="422"/>
                    </a:lnTo>
                    <a:lnTo>
                      <a:pt x="50" y="426"/>
                    </a:lnTo>
                    <a:lnTo>
                      <a:pt x="50" y="438"/>
                    </a:lnTo>
                    <a:lnTo>
                      <a:pt x="46" y="446"/>
                    </a:lnTo>
                    <a:lnTo>
                      <a:pt x="46" y="450"/>
                    </a:lnTo>
                    <a:lnTo>
                      <a:pt x="46" y="452"/>
                    </a:lnTo>
                    <a:lnTo>
                      <a:pt x="48" y="458"/>
                    </a:lnTo>
                    <a:lnTo>
                      <a:pt x="50" y="460"/>
                    </a:lnTo>
                    <a:lnTo>
                      <a:pt x="50" y="462"/>
                    </a:lnTo>
                    <a:lnTo>
                      <a:pt x="50" y="466"/>
                    </a:lnTo>
                    <a:lnTo>
                      <a:pt x="50" y="472"/>
                    </a:lnTo>
                    <a:lnTo>
                      <a:pt x="52" y="478"/>
                    </a:lnTo>
                    <a:lnTo>
                      <a:pt x="52" y="480"/>
                    </a:lnTo>
                    <a:lnTo>
                      <a:pt x="52" y="482"/>
                    </a:lnTo>
                    <a:lnTo>
                      <a:pt x="50" y="486"/>
                    </a:lnTo>
                    <a:lnTo>
                      <a:pt x="50" y="490"/>
                    </a:lnTo>
                    <a:lnTo>
                      <a:pt x="52" y="494"/>
                    </a:lnTo>
                    <a:lnTo>
                      <a:pt x="50" y="496"/>
                    </a:lnTo>
                    <a:lnTo>
                      <a:pt x="48" y="496"/>
                    </a:lnTo>
                    <a:lnTo>
                      <a:pt x="48" y="498"/>
                    </a:lnTo>
                    <a:lnTo>
                      <a:pt x="46" y="502"/>
                    </a:lnTo>
                    <a:lnTo>
                      <a:pt x="46" y="504"/>
                    </a:lnTo>
                    <a:lnTo>
                      <a:pt x="48" y="510"/>
                    </a:lnTo>
                    <a:lnTo>
                      <a:pt x="48" y="514"/>
                    </a:lnTo>
                    <a:lnTo>
                      <a:pt x="48" y="520"/>
                    </a:lnTo>
                    <a:lnTo>
                      <a:pt x="46" y="526"/>
                    </a:lnTo>
                    <a:lnTo>
                      <a:pt x="46" y="532"/>
                    </a:lnTo>
                    <a:lnTo>
                      <a:pt x="46" y="536"/>
                    </a:lnTo>
                    <a:lnTo>
                      <a:pt x="46" y="538"/>
                    </a:lnTo>
                    <a:lnTo>
                      <a:pt x="42" y="542"/>
                    </a:lnTo>
                    <a:lnTo>
                      <a:pt x="40" y="548"/>
                    </a:lnTo>
                    <a:lnTo>
                      <a:pt x="40" y="552"/>
                    </a:lnTo>
                    <a:lnTo>
                      <a:pt x="42" y="558"/>
                    </a:lnTo>
                    <a:lnTo>
                      <a:pt x="38" y="562"/>
                    </a:lnTo>
                    <a:lnTo>
                      <a:pt x="32" y="566"/>
                    </a:lnTo>
                    <a:lnTo>
                      <a:pt x="30" y="568"/>
                    </a:lnTo>
                    <a:lnTo>
                      <a:pt x="30" y="570"/>
                    </a:lnTo>
                    <a:lnTo>
                      <a:pt x="32" y="578"/>
                    </a:lnTo>
                    <a:lnTo>
                      <a:pt x="30" y="582"/>
                    </a:lnTo>
                    <a:lnTo>
                      <a:pt x="28" y="588"/>
                    </a:lnTo>
                    <a:lnTo>
                      <a:pt x="28" y="594"/>
                    </a:lnTo>
                    <a:lnTo>
                      <a:pt x="28" y="600"/>
                    </a:lnTo>
                    <a:lnTo>
                      <a:pt x="28" y="602"/>
                    </a:lnTo>
                    <a:lnTo>
                      <a:pt x="30" y="602"/>
                    </a:lnTo>
                    <a:lnTo>
                      <a:pt x="32" y="602"/>
                    </a:lnTo>
                    <a:lnTo>
                      <a:pt x="34" y="600"/>
                    </a:lnTo>
                    <a:lnTo>
                      <a:pt x="36" y="600"/>
                    </a:lnTo>
                    <a:lnTo>
                      <a:pt x="38" y="600"/>
                    </a:lnTo>
                    <a:lnTo>
                      <a:pt x="40" y="606"/>
                    </a:lnTo>
                    <a:lnTo>
                      <a:pt x="38" y="610"/>
                    </a:lnTo>
                    <a:lnTo>
                      <a:pt x="36" y="612"/>
                    </a:lnTo>
                    <a:lnTo>
                      <a:pt x="36" y="614"/>
                    </a:lnTo>
                    <a:lnTo>
                      <a:pt x="38" y="620"/>
                    </a:lnTo>
                    <a:lnTo>
                      <a:pt x="46" y="628"/>
                    </a:lnTo>
                    <a:lnTo>
                      <a:pt x="50" y="634"/>
                    </a:lnTo>
                    <a:lnTo>
                      <a:pt x="68" y="632"/>
                    </a:lnTo>
                    <a:lnTo>
                      <a:pt x="92" y="634"/>
                    </a:lnTo>
                    <a:lnTo>
                      <a:pt x="92" y="636"/>
                    </a:lnTo>
                    <a:lnTo>
                      <a:pt x="82" y="636"/>
                    </a:lnTo>
                    <a:lnTo>
                      <a:pt x="78" y="638"/>
                    </a:lnTo>
                    <a:lnTo>
                      <a:pt x="76" y="644"/>
                    </a:lnTo>
                    <a:lnTo>
                      <a:pt x="58" y="644"/>
                    </a:lnTo>
                    <a:lnTo>
                      <a:pt x="60" y="648"/>
                    </a:lnTo>
                    <a:lnTo>
                      <a:pt x="56" y="654"/>
                    </a:lnTo>
                    <a:lnTo>
                      <a:pt x="58" y="660"/>
                    </a:lnTo>
                    <a:lnTo>
                      <a:pt x="56" y="666"/>
                    </a:lnTo>
                    <a:lnTo>
                      <a:pt x="54" y="668"/>
                    </a:lnTo>
                    <a:lnTo>
                      <a:pt x="48" y="666"/>
                    </a:lnTo>
                    <a:lnTo>
                      <a:pt x="44" y="664"/>
                    </a:lnTo>
                    <a:lnTo>
                      <a:pt x="44" y="662"/>
                    </a:lnTo>
                    <a:lnTo>
                      <a:pt x="44" y="656"/>
                    </a:lnTo>
                    <a:lnTo>
                      <a:pt x="40" y="658"/>
                    </a:lnTo>
                    <a:lnTo>
                      <a:pt x="40" y="662"/>
                    </a:lnTo>
                    <a:lnTo>
                      <a:pt x="34" y="658"/>
                    </a:lnTo>
                    <a:lnTo>
                      <a:pt x="32" y="658"/>
                    </a:lnTo>
                    <a:lnTo>
                      <a:pt x="36" y="662"/>
                    </a:lnTo>
                    <a:lnTo>
                      <a:pt x="42" y="666"/>
                    </a:lnTo>
                    <a:lnTo>
                      <a:pt x="40" y="670"/>
                    </a:lnTo>
                    <a:lnTo>
                      <a:pt x="42" y="674"/>
                    </a:lnTo>
                    <a:lnTo>
                      <a:pt x="38" y="676"/>
                    </a:lnTo>
                    <a:lnTo>
                      <a:pt x="38" y="674"/>
                    </a:lnTo>
                    <a:lnTo>
                      <a:pt x="36" y="674"/>
                    </a:lnTo>
                    <a:lnTo>
                      <a:pt x="34" y="674"/>
                    </a:lnTo>
                    <a:lnTo>
                      <a:pt x="32" y="672"/>
                    </a:lnTo>
                    <a:lnTo>
                      <a:pt x="32" y="670"/>
                    </a:lnTo>
                    <a:lnTo>
                      <a:pt x="32" y="668"/>
                    </a:lnTo>
                    <a:lnTo>
                      <a:pt x="30" y="668"/>
                    </a:lnTo>
                    <a:lnTo>
                      <a:pt x="28" y="670"/>
                    </a:lnTo>
                    <a:lnTo>
                      <a:pt x="28" y="668"/>
                    </a:lnTo>
                    <a:lnTo>
                      <a:pt x="26" y="668"/>
                    </a:lnTo>
                    <a:lnTo>
                      <a:pt x="26" y="666"/>
                    </a:lnTo>
                    <a:lnTo>
                      <a:pt x="24" y="666"/>
                    </a:lnTo>
                    <a:lnTo>
                      <a:pt x="24" y="662"/>
                    </a:lnTo>
                    <a:lnTo>
                      <a:pt x="26" y="654"/>
                    </a:lnTo>
                    <a:lnTo>
                      <a:pt x="30" y="654"/>
                    </a:lnTo>
                    <a:lnTo>
                      <a:pt x="30" y="656"/>
                    </a:lnTo>
                    <a:lnTo>
                      <a:pt x="32" y="656"/>
                    </a:lnTo>
                    <a:lnTo>
                      <a:pt x="32" y="654"/>
                    </a:lnTo>
                    <a:lnTo>
                      <a:pt x="30" y="652"/>
                    </a:lnTo>
                    <a:lnTo>
                      <a:pt x="26" y="652"/>
                    </a:lnTo>
                    <a:lnTo>
                      <a:pt x="24" y="644"/>
                    </a:lnTo>
                    <a:lnTo>
                      <a:pt x="22" y="636"/>
                    </a:lnTo>
                    <a:lnTo>
                      <a:pt x="26" y="636"/>
                    </a:lnTo>
                    <a:lnTo>
                      <a:pt x="30" y="636"/>
                    </a:lnTo>
                    <a:lnTo>
                      <a:pt x="30" y="638"/>
                    </a:lnTo>
                    <a:lnTo>
                      <a:pt x="32" y="638"/>
                    </a:lnTo>
                    <a:lnTo>
                      <a:pt x="34" y="632"/>
                    </a:lnTo>
                    <a:lnTo>
                      <a:pt x="36" y="632"/>
                    </a:lnTo>
                    <a:lnTo>
                      <a:pt x="40" y="628"/>
                    </a:lnTo>
                    <a:lnTo>
                      <a:pt x="40" y="626"/>
                    </a:lnTo>
                    <a:lnTo>
                      <a:pt x="38" y="628"/>
                    </a:lnTo>
                    <a:lnTo>
                      <a:pt x="36" y="628"/>
                    </a:lnTo>
                    <a:lnTo>
                      <a:pt x="34" y="624"/>
                    </a:lnTo>
                    <a:lnTo>
                      <a:pt x="30" y="630"/>
                    </a:lnTo>
                    <a:lnTo>
                      <a:pt x="26" y="634"/>
                    </a:lnTo>
                    <a:lnTo>
                      <a:pt x="24" y="634"/>
                    </a:lnTo>
                    <a:lnTo>
                      <a:pt x="24" y="628"/>
                    </a:lnTo>
                    <a:lnTo>
                      <a:pt x="18" y="632"/>
                    </a:lnTo>
                    <a:lnTo>
                      <a:pt x="16" y="632"/>
                    </a:lnTo>
                    <a:lnTo>
                      <a:pt x="20" y="638"/>
                    </a:lnTo>
                    <a:lnTo>
                      <a:pt x="20" y="648"/>
                    </a:lnTo>
                    <a:lnTo>
                      <a:pt x="12" y="646"/>
                    </a:lnTo>
                    <a:lnTo>
                      <a:pt x="14" y="648"/>
                    </a:lnTo>
                    <a:lnTo>
                      <a:pt x="16" y="648"/>
                    </a:lnTo>
                    <a:lnTo>
                      <a:pt x="24" y="654"/>
                    </a:lnTo>
                    <a:lnTo>
                      <a:pt x="24" y="656"/>
                    </a:lnTo>
                    <a:lnTo>
                      <a:pt x="22" y="656"/>
                    </a:lnTo>
                    <a:lnTo>
                      <a:pt x="18" y="656"/>
                    </a:lnTo>
                    <a:lnTo>
                      <a:pt x="16" y="656"/>
                    </a:lnTo>
                    <a:lnTo>
                      <a:pt x="8" y="648"/>
                    </a:lnTo>
                    <a:lnTo>
                      <a:pt x="10" y="644"/>
                    </a:lnTo>
                    <a:lnTo>
                      <a:pt x="6" y="640"/>
                    </a:lnTo>
                    <a:lnTo>
                      <a:pt x="4" y="638"/>
                    </a:lnTo>
                    <a:lnTo>
                      <a:pt x="2" y="632"/>
                    </a:lnTo>
                    <a:lnTo>
                      <a:pt x="2" y="630"/>
                    </a:lnTo>
                    <a:lnTo>
                      <a:pt x="4" y="628"/>
                    </a:lnTo>
                    <a:lnTo>
                      <a:pt x="8" y="626"/>
                    </a:lnTo>
                    <a:lnTo>
                      <a:pt x="12" y="630"/>
                    </a:lnTo>
                    <a:lnTo>
                      <a:pt x="14" y="630"/>
                    </a:lnTo>
                    <a:lnTo>
                      <a:pt x="14" y="628"/>
                    </a:lnTo>
                    <a:lnTo>
                      <a:pt x="16" y="628"/>
                    </a:lnTo>
                    <a:lnTo>
                      <a:pt x="20" y="628"/>
                    </a:lnTo>
                    <a:lnTo>
                      <a:pt x="20" y="624"/>
                    </a:lnTo>
                    <a:lnTo>
                      <a:pt x="24" y="624"/>
                    </a:lnTo>
                    <a:lnTo>
                      <a:pt x="22" y="620"/>
                    </a:lnTo>
                    <a:lnTo>
                      <a:pt x="20" y="618"/>
                    </a:lnTo>
                    <a:lnTo>
                      <a:pt x="18" y="616"/>
                    </a:lnTo>
                    <a:lnTo>
                      <a:pt x="18" y="614"/>
                    </a:lnTo>
                    <a:lnTo>
                      <a:pt x="18" y="612"/>
                    </a:lnTo>
                    <a:lnTo>
                      <a:pt x="24" y="608"/>
                    </a:lnTo>
                    <a:lnTo>
                      <a:pt x="22" y="608"/>
                    </a:lnTo>
                    <a:lnTo>
                      <a:pt x="18" y="606"/>
                    </a:lnTo>
                    <a:lnTo>
                      <a:pt x="18" y="602"/>
                    </a:lnTo>
                    <a:lnTo>
                      <a:pt x="20" y="602"/>
                    </a:lnTo>
                    <a:lnTo>
                      <a:pt x="22" y="602"/>
                    </a:lnTo>
                    <a:lnTo>
                      <a:pt x="20" y="602"/>
                    </a:lnTo>
                    <a:lnTo>
                      <a:pt x="16" y="600"/>
                    </a:lnTo>
                    <a:lnTo>
                      <a:pt x="12" y="600"/>
                    </a:lnTo>
                    <a:lnTo>
                      <a:pt x="12" y="594"/>
                    </a:lnTo>
                    <a:lnTo>
                      <a:pt x="16" y="590"/>
                    </a:lnTo>
                    <a:lnTo>
                      <a:pt x="16" y="586"/>
                    </a:lnTo>
                    <a:lnTo>
                      <a:pt x="18" y="584"/>
                    </a:lnTo>
                    <a:lnTo>
                      <a:pt x="20" y="584"/>
                    </a:lnTo>
                    <a:lnTo>
                      <a:pt x="20" y="582"/>
                    </a:lnTo>
                    <a:lnTo>
                      <a:pt x="22" y="576"/>
                    </a:lnTo>
                    <a:lnTo>
                      <a:pt x="18" y="578"/>
                    </a:lnTo>
                    <a:lnTo>
                      <a:pt x="18" y="580"/>
                    </a:lnTo>
                    <a:lnTo>
                      <a:pt x="16" y="580"/>
                    </a:lnTo>
                    <a:lnTo>
                      <a:pt x="16" y="568"/>
                    </a:lnTo>
                    <a:lnTo>
                      <a:pt x="18" y="568"/>
                    </a:lnTo>
                    <a:lnTo>
                      <a:pt x="16" y="564"/>
                    </a:lnTo>
                    <a:lnTo>
                      <a:pt x="16" y="556"/>
                    </a:lnTo>
                    <a:lnTo>
                      <a:pt x="16" y="548"/>
                    </a:lnTo>
                    <a:lnTo>
                      <a:pt x="20" y="550"/>
                    </a:lnTo>
                    <a:lnTo>
                      <a:pt x="20" y="548"/>
                    </a:lnTo>
                    <a:lnTo>
                      <a:pt x="22" y="546"/>
                    </a:lnTo>
                    <a:lnTo>
                      <a:pt x="18" y="546"/>
                    </a:lnTo>
                    <a:lnTo>
                      <a:pt x="20" y="542"/>
                    </a:lnTo>
                    <a:lnTo>
                      <a:pt x="20" y="538"/>
                    </a:lnTo>
                    <a:lnTo>
                      <a:pt x="18" y="530"/>
                    </a:lnTo>
                    <a:lnTo>
                      <a:pt x="12" y="530"/>
                    </a:lnTo>
                    <a:lnTo>
                      <a:pt x="12" y="534"/>
                    </a:lnTo>
                    <a:lnTo>
                      <a:pt x="6" y="532"/>
                    </a:lnTo>
                    <a:lnTo>
                      <a:pt x="6" y="530"/>
                    </a:lnTo>
                    <a:lnTo>
                      <a:pt x="6" y="528"/>
                    </a:lnTo>
                    <a:lnTo>
                      <a:pt x="8" y="528"/>
                    </a:lnTo>
                    <a:lnTo>
                      <a:pt x="8" y="526"/>
                    </a:lnTo>
                    <a:lnTo>
                      <a:pt x="6" y="526"/>
                    </a:lnTo>
                    <a:lnTo>
                      <a:pt x="6" y="528"/>
                    </a:lnTo>
                    <a:lnTo>
                      <a:pt x="2" y="528"/>
                    </a:lnTo>
                    <a:lnTo>
                      <a:pt x="2" y="532"/>
                    </a:lnTo>
                    <a:lnTo>
                      <a:pt x="0" y="532"/>
                    </a:lnTo>
                    <a:lnTo>
                      <a:pt x="0" y="526"/>
                    </a:lnTo>
                    <a:lnTo>
                      <a:pt x="6" y="522"/>
                    </a:lnTo>
                    <a:lnTo>
                      <a:pt x="2" y="518"/>
                    </a:lnTo>
                    <a:lnTo>
                      <a:pt x="6" y="516"/>
                    </a:lnTo>
                    <a:lnTo>
                      <a:pt x="8" y="514"/>
                    </a:lnTo>
                    <a:lnTo>
                      <a:pt x="12" y="514"/>
                    </a:lnTo>
                    <a:lnTo>
                      <a:pt x="12" y="520"/>
                    </a:lnTo>
                    <a:lnTo>
                      <a:pt x="16" y="516"/>
                    </a:lnTo>
                    <a:lnTo>
                      <a:pt x="16" y="520"/>
                    </a:lnTo>
                    <a:lnTo>
                      <a:pt x="14" y="520"/>
                    </a:lnTo>
                    <a:lnTo>
                      <a:pt x="16" y="520"/>
                    </a:lnTo>
                    <a:lnTo>
                      <a:pt x="18" y="520"/>
                    </a:lnTo>
                    <a:lnTo>
                      <a:pt x="18" y="518"/>
                    </a:lnTo>
                    <a:lnTo>
                      <a:pt x="22" y="518"/>
                    </a:lnTo>
                    <a:lnTo>
                      <a:pt x="22" y="520"/>
                    </a:lnTo>
                    <a:lnTo>
                      <a:pt x="22" y="522"/>
                    </a:lnTo>
                    <a:lnTo>
                      <a:pt x="24" y="520"/>
                    </a:lnTo>
                    <a:lnTo>
                      <a:pt x="26" y="520"/>
                    </a:lnTo>
                    <a:lnTo>
                      <a:pt x="26" y="514"/>
                    </a:lnTo>
                    <a:lnTo>
                      <a:pt x="26" y="506"/>
                    </a:lnTo>
                    <a:lnTo>
                      <a:pt x="30" y="504"/>
                    </a:lnTo>
                    <a:lnTo>
                      <a:pt x="28" y="502"/>
                    </a:lnTo>
                    <a:lnTo>
                      <a:pt x="26" y="502"/>
                    </a:lnTo>
                    <a:lnTo>
                      <a:pt x="28" y="494"/>
                    </a:lnTo>
                    <a:lnTo>
                      <a:pt x="26" y="486"/>
                    </a:lnTo>
                    <a:lnTo>
                      <a:pt x="30" y="484"/>
                    </a:lnTo>
                    <a:lnTo>
                      <a:pt x="26" y="480"/>
                    </a:lnTo>
                    <a:lnTo>
                      <a:pt x="34" y="480"/>
                    </a:lnTo>
                    <a:lnTo>
                      <a:pt x="32" y="478"/>
                    </a:lnTo>
                    <a:lnTo>
                      <a:pt x="30" y="478"/>
                    </a:lnTo>
                    <a:lnTo>
                      <a:pt x="30" y="474"/>
                    </a:lnTo>
                    <a:lnTo>
                      <a:pt x="38" y="470"/>
                    </a:lnTo>
                    <a:lnTo>
                      <a:pt x="34" y="466"/>
                    </a:lnTo>
                    <a:lnTo>
                      <a:pt x="34" y="462"/>
                    </a:lnTo>
                    <a:lnTo>
                      <a:pt x="32" y="462"/>
                    </a:lnTo>
                    <a:lnTo>
                      <a:pt x="32" y="458"/>
                    </a:lnTo>
                    <a:lnTo>
                      <a:pt x="34" y="456"/>
                    </a:lnTo>
                    <a:lnTo>
                      <a:pt x="36" y="454"/>
                    </a:lnTo>
                    <a:lnTo>
                      <a:pt x="36" y="456"/>
                    </a:lnTo>
                    <a:lnTo>
                      <a:pt x="38" y="454"/>
                    </a:lnTo>
                    <a:lnTo>
                      <a:pt x="36" y="434"/>
                    </a:lnTo>
                    <a:lnTo>
                      <a:pt x="40" y="432"/>
                    </a:lnTo>
                    <a:lnTo>
                      <a:pt x="40" y="430"/>
                    </a:lnTo>
                    <a:lnTo>
                      <a:pt x="38" y="430"/>
                    </a:lnTo>
                    <a:lnTo>
                      <a:pt x="36" y="424"/>
                    </a:lnTo>
                    <a:lnTo>
                      <a:pt x="32" y="428"/>
                    </a:lnTo>
                    <a:lnTo>
                      <a:pt x="32" y="432"/>
                    </a:lnTo>
                    <a:lnTo>
                      <a:pt x="26" y="432"/>
                    </a:lnTo>
                    <a:lnTo>
                      <a:pt x="26" y="424"/>
                    </a:lnTo>
                    <a:lnTo>
                      <a:pt x="24" y="418"/>
                    </a:lnTo>
                    <a:lnTo>
                      <a:pt x="26" y="408"/>
                    </a:lnTo>
                    <a:lnTo>
                      <a:pt x="30" y="396"/>
                    </a:lnTo>
                    <a:lnTo>
                      <a:pt x="32" y="396"/>
                    </a:lnTo>
                    <a:lnTo>
                      <a:pt x="32" y="384"/>
                    </a:lnTo>
                    <a:lnTo>
                      <a:pt x="30" y="376"/>
                    </a:lnTo>
                    <a:lnTo>
                      <a:pt x="30" y="374"/>
                    </a:lnTo>
                    <a:lnTo>
                      <a:pt x="32" y="374"/>
                    </a:lnTo>
                    <a:lnTo>
                      <a:pt x="30" y="372"/>
                    </a:lnTo>
                    <a:lnTo>
                      <a:pt x="30" y="368"/>
                    </a:lnTo>
                    <a:lnTo>
                      <a:pt x="30" y="366"/>
                    </a:lnTo>
                    <a:lnTo>
                      <a:pt x="32" y="362"/>
                    </a:lnTo>
                    <a:lnTo>
                      <a:pt x="28" y="360"/>
                    </a:lnTo>
                    <a:lnTo>
                      <a:pt x="28" y="356"/>
                    </a:lnTo>
                    <a:lnTo>
                      <a:pt x="30" y="354"/>
                    </a:lnTo>
                    <a:lnTo>
                      <a:pt x="26" y="350"/>
                    </a:lnTo>
                    <a:lnTo>
                      <a:pt x="30" y="348"/>
                    </a:lnTo>
                    <a:lnTo>
                      <a:pt x="34" y="348"/>
                    </a:lnTo>
                    <a:lnTo>
                      <a:pt x="32" y="342"/>
                    </a:lnTo>
                    <a:lnTo>
                      <a:pt x="34" y="340"/>
                    </a:lnTo>
                    <a:lnTo>
                      <a:pt x="36" y="338"/>
                    </a:lnTo>
                    <a:lnTo>
                      <a:pt x="38" y="336"/>
                    </a:lnTo>
                    <a:lnTo>
                      <a:pt x="38" y="330"/>
                    </a:lnTo>
                    <a:lnTo>
                      <a:pt x="42" y="326"/>
                    </a:lnTo>
                    <a:lnTo>
                      <a:pt x="42" y="320"/>
                    </a:lnTo>
                    <a:lnTo>
                      <a:pt x="42" y="314"/>
                    </a:lnTo>
                    <a:lnTo>
                      <a:pt x="42" y="312"/>
                    </a:lnTo>
                    <a:lnTo>
                      <a:pt x="40" y="308"/>
                    </a:lnTo>
                    <a:lnTo>
                      <a:pt x="44" y="302"/>
                    </a:lnTo>
                    <a:lnTo>
                      <a:pt x="48" y="296"/>
                    </a:lnTo>
                    <a:lnTo>
                      <a:pt x="48" y="286"/>
                    </a:lnTo>
                    <a:lnTo>
                      <a:pt x="52" y="280"/>
                    </a:lnTo>
                    <a:lnTo>
                      <a:pt x="52" y="278"/>
                    </a:lnTo>
                    <a:lnTo>
                      <a:pt x="52" y="276"/>
                    </a:lnTo>
                    <a:lnTo>
                      <a:pt x="52" y="270"/>
                    </a:lnTo>
                    <a:lnTo>
                      <a:pt x="56" y="266"/>
                    </a:lnTo>
                    <a:lnTo>
                      <a:pt x="58" y="244"/>
                    </a:lnTo>
                    <a:lnTo>
                      <a:pt x="56" y="238"/>
                    </a:lnTo>
                    <a:lnTo>
                      <a:pt x="54" y="234"/>
                    </a:lnTo>
                    <a:lnTo>
                      <a:pt x="54" y="228"/>
                    </a:lnTo>
                    <a:lnTo>
                      <a:pt x="56" y="224"/>
                    </a:lnTo>
                    <a:lnTo>
                      <a:pt x="58" y="224"/>
                    </a:lnTo>
                    <a:lnTo>
                      <a:pt x="58" y="210"/>
                    </a:lnTo>
                    <a:lnTo>
                      <a:pt x="56" y="204"/>
                    </a:lnTo>
                    <a:lnTo>
                      <a:pt x="54" y="200"/>
                    </a:lnTo>
                    <a:lnTo>
                      <a:pt x="54" y="196"/>
                    </a:lnTo>
                    <a:lnTo>
                      <a:pt x="58" y="188"/>
                    </a:lnTo>
                    <a:lnTo>
                      <a:pt x="58" y="182"/>
                    </a:lnTo>
                    <a:lnTo>
                      <a:pt x="58" y="178"/>
                    </a:lnTo>
                    <a:lnTo>
                      <a:pt x="60" y="178"/>
                    </a:lnTo>
                    <a:lnTo>
                      <a:pt x="60" y="172"/>
                    </a:lnTo>
                    <a:lnTo>
                      <a:pt x="60" y="168"/>
                    </a:lnTo>
                    <a:lnTo>
                      <a:pt x="64" y="166"/>
                    </a:lnTo>
                    <a:lnTo>
                      <a:pt x="64" y="162"/>
                    </a:lnTo>
                    <a:lnTo>
                      <a:pt x="64" y="158"/>
                    </a:lnTo>
                    <a:lnTo>
                      <a:pt x="64" y="150"/>
                    </a:lnTo>
                    <a:lnTo>
                      <a:pt x="66" y="150"/>
                    </a:lnTo>
                    <a:lnTo>
                      <a:pt x="64" y="148"/>
                    </a:lnTo>
                    <a:lnTo>
                      <a:pt x="68" y="138"/>
                    </a:lnTo>
                    <a:lnTo>
                      <a:pt x="66" y="134"/>
                    </a:lnTo>
                    <a:lnTo>
                      <a:pt x="66" y="132"/>
                    </a:lnTo>
                    <a:lnTo>
                      <a:pt x="64" y="124"/>
                    </a:lnTo>
                    <a:lnTo>
                      <a:pt x="66" y="118"/>
                    </a:lnTo>
                    <a:lnTo>
                      <a:pt x="68" y="108"/>
                    </a:lnTo>
                    <a:lnTo>
                      <a:pt x="68" y="106"/>
                    </a:lnTo>
                    <a:lnTo>
                      <a:pt x="70" y="106"/>
                    </a:lnTo>
                    <a:lnTo>
                      <a:pt x="70" y="102"/>
                    </a:lnTo>
                    <a:lnTo>
                      <a:pt x="66" y="100"/>
                    </a:lnTo>
                    <a:lnTo>
                      <a:pt x="66" y="98"/>
                    </a:lnTo>
                    <a:lnTo>
                      <a:pt x="66" y="94"/>
                    </a:lnTo>
                    <a:lnTo>
                      <a:pt x="70" y="94"/>
                    </a:lnTo>
                    <a:lnTo>
                      <a:pt x="70" y="82"/>
                    </a:lnTo>
                    <a:lnTo>
                      <a:pt x="70" y="70"/>
                    </a:lnTo>
                    <a:lnTo>
                      <a:pt x="72" y="70"/>
                    </a:lnTo>
                    <a:lnTo>
                      <a:pt x="72" y="64"/>
                    </a:lnTo>
                    <a:lnTo>
                      <a:pt x="74" y="64"/>
                    </a:lnTo>
                    <a:lnTo>
                      <a:pt x="74" y="60"/>
                    </a:lnTo>
                    <a:lnTo>
                      <a:pt x="72" y="58"/>
                    </a:lnTo>
                    <a:lnTo>
                      <a:pt x="74" y="50"/>
                    </a:lnTo>
                    <a:lnTo>
                      <a:pt x="74" y="44"/>
                    </a:lnTo>
                    <a:lnTo>
                      <a:pt x="74" y="30"/>
                    </a:lnTo>
                    <a:lnTo>
                      <a:pt x="72" y="18"/>
                    </a:lnTo>
                    <a:lnTo>
                      <a:pt x="72" y="10"/>
                    </a:lnTo>
                    <a:lnTo>
                      <a:pt x="70" y="8"/>
                    </a:lnTo>
                    <a:lnTo>
                      <a:pt x="72" y="8"/>
                    </a:lnTo>
                    <a:lnTo>
                      <a:pt x="74" y="4"/>
                    </a:lnTo>
                    <a:lnTo>
                      <a:pt x="76" y="0"/>
                    </a:lnTo>
                    <a:lnTo>
                      <a:pt x="78" y="0"/>
                    </a:lnTo>
                    <a:lnTo>
                      <a:pt x="80" y="6"/>
                    </a:lnTo>
                    <a:lnTo>
                      <a:pt x="82" y="12"/>
                    </a:lnTo>
                    <a:lnTo>
                      <a:pt x="84" y="14"/>
                    </a:lnTo>
                    <a:lnTo>
                      <a:pt x="88" y="20"/>
                    </a:lnTo>
                    <a:lnTo>
                      <a:pt x="90" y="22"/>
                    </a:lnTo>
                    <a:lnTo>
                      <a:pt x="94" y="36"/>
                    </a:lnTo>
                    <a:lnTo>
                      <a:pt x="94" y="42"/>
                    </a:lnTo>
                    <a:lnTo>
                      <a:pt x="98" y="48"/>
                    </a:lnTo>
                    <a:lnTo>
                      <a:pt x="98" y="52"/>
                    </a:lnTo>
                    <a:lnTo>
                      <a:pt x="98" y="56"/>
                    </a:lnTo>
                    <a:lnTo>
                      <a:pt x="98" y="62"/>
                    </a:lnTo>
                    <a:lnTo>
                      <a:pt x="100" y="74"/>
                    </a:lnTo>
                    <a:lnTo>
                      <a:pt x="108" y="78"/>
                    </a:lnTo>
                    <a:lnTo>
                      <a:pt x="108" y="82"/>
                    </a:lnTo>
                    <a:lnTo>
                      <a:pt x="108" y="86"/>
                    </a:lnTo>
                    <a:lnTo>
                      <a:pt x="110" y="88"/>
                    </a:lnTo>
                    <a:lnTo>
                      <a:pt x="114" y="92"/>
                    </a:lnTo>
                    <a:lnTo>
                      <a:pt x="114" y="94"/>
                    </a:lnTo>
                    <a:lnTo>
                      <a:pt x="112" y="102"/>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89" name="Freeform 243">
                <a:extLst>
                  <a:ext uri="{FF2B5EF4-FFF2-40B4-BE49-F238E27FC236}">
                    <a16:creationId xmlns:a16="http://schemas.microsoft.com/office/drawing/2014/main" id="{11E28BBD-F720-481A-BE31-B7D15F3C19B9}"/>
                  </a:ext>
                </a:extLst>
              </p:cNvPr>
              <p:cNvSpPr>
                <a:spLocks/>
              </p:cNvSpPr>
              <p:nvPr/>
            </p:nvSpPr>
            <p:spPr bwMode="gray">
              <a:xfrm>
                <a:off x="3117099" y="4285202"/>
                <a:ext cx="13188" cy="14287"/>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8"/>
                  <a:gd name="T47" fmla="*/ 8 w 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8">
                    <a:moveTo>
                      <a:pt x="6" y="0"/>
                    </a:moveTo>
                    <a:lnTo>
                      <a:pt x="6" y="0"/>
                    </a:lnTo>
                    <a:lnTo>
                      <a:pt x="8" y="0"/>
                    </a:lnTo>
                    <a:lnTo>
                      <a:pt x="8" y="2"/>
                    </a:lnTo>
                    <a:lnTo>
                      <a:pt x="2" y="4"/>
                    </a:lnTo>
                    <a:lnTo>
                      <a:pt x="2" y="6"/>
                    </a:lnTo>
                    <a:lnTo>
                      <a:pt x="0" y="8"/>
                    </a:lnTo>
                    <a:lnTo>
                      <a:pt x="0" y="6"/>
                    </a:lnTo>
                    <a:lnTo>
                      <a:pt x="2" y="4"/>
                    </a:lnTo>
                    <a:lnTo>
                      <a:pt x="6"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90" name="Freeform 244">
                <a:extLst>
                  <a:ext uri="{FF2B5EF4-FFF2-40B4-BE49-F238E27FC236}">
                    <a16:creationId xmlns:a16="http://schemas.microsoft.com/office/drawing/2014/main" id="{B05CCA31-034D-4DD3-BBA9-E37A1922A5C4}"/>
                  </a:ext>
                </a:extLst>
              </p:cNvPr>
              <p:cNvSpPr>
                <a:spLocks/>
              </p:cNvSpPr>
              <p:nvPr/>
            </p:nvSpPr>
            <p:spPr bwMode="gray">
              <a:xfrm>
                <a:off x="3193299" y="4282027"/>
                <a:ext cx="1465" cy="3175"/>
              </a:xfrm>
              <a:custGeom>
                <a:avLst/>
                <a:gdLst>
                  <a:gd name="T0" fmla="*/ 0 w 1"/>
                  <a:gd name="T1" fmla="*/ 0 h 2"/>
                  <a:gd name="T2" fmla="*/ 0 w 1"/>
                  <a:gd name="T3" fmla="*/ 0 h 2"/>
                  <a:gd name="T4" fmla="*/ 0 w 1"/>
                  <a:gd name="T5" fmla="*/ 2 h 2"/>
                  <a:gd name="T6" fmla="*/ 0 w 1"/>
                  <a:gd name="T7" fmla="*/ 2 h 2"/>
                  <a:gd name="T8" fmla="*/ 0 w 1"/>
                  <a:gd name="T9" fmla="*/ 2 h 2"/>
                  <a:gd name="T10" fmla="*/ 0 w 1"/>
                  <a:gd name="T11" fmla="*/ 2 h 2"/>
                  <a:gd name="T12" fmla="*/ 0 w 1"/>
                  <a:gd name="T13" fmla="*/ 0 h 2"/>
                  <a:gd name="T14" fmla="*/ 0 w 1"/>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0"/>
                    </a:moveTo>
                    <a:lnTo>
                      <a:pt x="0" y="0"/>
                    </a:lnTo>
                    <a:lnTo>
                      <a:pt x="0" y="2"/>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91" name="Freeform 245">
                <a:extLst>
                  <a:ext uri="{FF2B5EF4-FFF2-40B4-BE49-F238E27FC236}">
                    <a16:creationId xmlns:a16="http://schemas.microsoft.com/office/drawing/2014/main" id="{07B26203-8A41-44D5-9374-5E5101DA4BF3}"/>
                  </a:ext>
                </a:extLst>
              </p:cNvPr>
              <p:cNvSpPr>
                <a:spLocks/>
              </p:cNvSpPr>
              <p:nvPr/>
            </p:nvSpPr>
            <p:spPr bwMode="gray">
              <a:xfrm>
                <a:off x="3070207" y="4302664"/>
                <a:ext cx="42496" cy="7937"/>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4"/>
                  <a:gd name="T41" fmla="*/ 24 w 2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4">
                    <a:moveTo>
                      <a:pt x="24" y="0"/>
                    </a:moveTo>
                    <a:lnTo>
                      <a:pt x="24" y="4"/>
                    </a:lnTo>
                    <a:lnTo>
                      <a:pt x="12" y="2"/>
                    </a:lnTo>
                    <a:lnTo>
                      <a:pt x="0" y="4"/>
                    </a:lnTo>
                    <a:lnTo>
                      <a:pt x="2" y="0"/>
                    </a:lnTo>
                    <a:lnTo>
                      <a:pt x="12" y="2"/>
                    </a:lnTo>
                    <a:lnTo>
                      <a:pt x="18" y="2"/>
                    </a:lnTo>
                    <a:lnTo>
                      <a:pt x="22" y="2"/>
                    </a:lnTo>
                    <a:lnTo>
                      <a:pt x="24"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92" name="Freeform 246">
                <a:extLst>
                  <a:ext uri="{FF2B5EF4-FFF2-40B4-BE49-F238E27FC236}">
                    <a16:creationId xmlns:a16="http://schemas.microsoft.com/office/drawing/2014/main" id="{40D4B6CB-4738-42D1-BF2B-BE0FA4478596}"/>
                  </a:ext>
                </a:extLst>
              </p:cNvPr>
              <p:cNvSpPr>
                <a:spLocks/>
              </p:cNvSpPr>
              <p:nvPr/>
            </p:nvSpPr>
            <p:spPr bwMode="gray">
              <a:xfrm>
                <a:off x="2634988" y="4096289"/>
                <a:ext cx="936381" cy="1147762"/>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6"/>
                  <a:gd name="T181" fmla="*/ 0 h 656"/>
                  <a:gd name="T182" fmla="*/ 536 w 536"/>
                  <a:gd name="T183" fmla="*/ 656 h 6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6" h="656">
                    <a:moveTo>
                      <a:pt x="342" y="516"/>
                    </a:moveTo>
                    <a:lnTo>
                      <a:pt x="342" y="516"/>
                    </a:lnTo>
                    <a:lnTo>
                      <a:pt x="350" y="512"/>
                    </a:lnTo>
                    <a:lnTo>
                      <a:pt x="356" y="508"/>
                    </a:lnTo>
                    <a:lnTo>
                      <a:pt x="360" y="504"/>
                    </a:lnTo>
                    <a:lnTo>
                      <a:pt x="366" y="502"/>
                    </a:lnTo>
                    <a:lnTo>
                      <a:pt x="372" y="500"/>
                    </a:lnTo>
                    <a:lnTo>
                      <a:pt x="374" y="496"/>
                    </a:lnTo>
                    <a:lnTo>
                      <a:pt x="374" y="492"/>
                    </a:lnTo>
                    <a:lnTo>
                      <a:pt x="380" y="490"/>
                    </a:lnTo>
                    <a:lnTo>
                      <a:pt x="386" y="490"/>
                    </a:lnTo>
                    <a:lnTo>
                      <a:pt x="388" y="488"/>
                    </a:lnTo>
                    <a:lnTo>
                      <a:pt x="392" y="486"/>
                    </a:lnTo>
                    <a:lnTo>
                      <a:pt x="398" y="486"/>
                    </a:lnTo>
                    <a:lnTo>
                      <a:pt x="396" y="480"/>
                    </a:lnTo>
                    <a:lnTo>
                      <a:pt x="398" y="480"/>
                    </a:lnTo>
                    <a:lnTo>
                      <a:pt x="402" y="476"/>
                    </a:lnTo>
                    <a:lnTo>
                      <a:pt x="404" y="478"/>
                    </a:lnTo>
                    <a:lnTo>
                      <a:pt x="406" y="478"/>
                    </a:lnTo>
                    <a:lnTo>
                      <a:pt x="410" y="474"/>
                    </a:lnTo>
                    <a:lnTo>
                      <a:pt x="414" y="474"/>
                    </a:lnTo>
                    <a:lnTo>
                      <a:pt x="420" y="474"/>
                    </a:lnTo>
                    <a:lnTo>
                      <a:pt x="420" y="470"/>
                    </a:lnTo>
                    <a:lnTo>
                      <a:pt x="422" y="470"/>
                    </a:lnTo>
                    <a:lnTo>
                      <a:pt x="422" y="472"/>
                    </a:lnTo>
                    <a:lnTo>
                      <a:pt x="424" y="474"/>
                    </a:lnTo>
                    <a:lnTo>
                      <a:pt x="432" y="474"/>
                    </a:lnTo>
                    <a:lnTo>
                      <a:pt x="436" y="470"/>
                    </a:lnTo>
                    <a:lnTo>
                      <a:pt x="436" y="464"/>
                    </a:lnTo>
                    <a:lnTo>
                      <a:pt x="442" y="460"/>
                    </a:lnTo>
                    <a:lnTo>
                      <a:pt x="442" y="458"/>
                    </a:lnTo>
                    <a:lnTo>
                      <a:pt x="444" y="456"/>
                    </a:lnTo>
                    <a:lnTo>
                      <a:pt x="442" y="456"/>
                    </a:lnTo>
                    <a:lnTo>
                      <a:pt x="442" y="448"/>
                    </a:lnTo>
                    <a:lnTo>
                      <a:pt x="440" y="448"/>
                    </a:lnTo>
                    <a:lnTo>
                      <a:pt x="442" y="448"/>
                    </a:lnTo>
                    <a:lnTo>
                      <a:pt x="442" y="444"/>
                    </a:lnTo>
                    <a:lnTo>
                      <a:pt x="446" y="442"/>
                    </a:lnTo>
                    <a:lnTo>
                      <a:pt x="446" y="438"/>
                    </a:lnTo>
                    <a:lnTo>
                      <a:pt x="446" y="434"/>
                    </a:lnTo>
                    <a:lnTo>
                      <a:pt x="450" y="430"/>
                    </a:lnTo>
                    <a:lnTo>
                      <a:pt x="454" y="426"/>
                    </a:lnTo>
                    <a:lnTo>
                      <a:pt x="454" y="422"/>
                    </a:lnTo>
                    <a:lnTo>
                      <a:pt x="456" y="420"/>
                    </a:lnTo>
                    <a:lnTo>
                      <a:pt x="456" y="418"/>
                    </a:lnTo>
                    <a:lnTo>
                      <a:pt x="460" y="414"/>
                    </a:lnTo>
                    <a:lnTo>
                      <a:pt x="466" y="410"/>
                    </a:lnTo>
                    <a:lnTo>
                      <a:pt x="466" y="402"/>
                    </a:lnTo>
                    <a:lnTo>
                      <a:pt x="466" y="392"/>
                    </a:lnTo>
                    <a:lnTo>
                      <a:pt x="470" y="388"/>
                    </a:lnTo>
                    <a:lnTo>
                      <a:pt x="474" y="384"/>
                    </a:lnTo>
                    <a:lnTo>
                      <a:pt x="472" y="376"/>
                    </a:lnTo>
                    <a:lnTo>
                      <a:pt x="470" y="370"/>
                    </a:lnTo>
                    <a:lnTo>
                      <a:pt x="472" y="366"/>
                    </a:lnTo>
                    <a:lnTo>
                      <a:pt x="476" y="364"/>
                    </a:lnTo>
                    <a:lnTo>
                      <a:pt x="476" y="360"/>
                    </a:lnTo>
                    <a:lnTo>
                      <a:pt x="476" y="354"/>
                    </a:lnTo>
                    <a:lnTo>
                      <a:pt x="476" y="350"/>
                    </a:lnTo>
                    <a:lnTo>
                      <a:pt x="478" y="346"/>
                    </a:lnTo>
                    <a:lnTo>
                      <a:pt x="476" y="340"/>
                    </a:lnTo>
                    <a:lnTo>
                      <a:pt x="474" y="328"/>
                    </a:lnTo>
                    <a:lnTo>
                      <a:pt x="476" y="318"/>
                    </a:lnTo>
                    <a:lnTo>
                      <a:pt x="472" y="316"/>
                    </a:lnTo>
                    <a:lnTo>
                      <a:pt x="476" y="312"/>
                    </a:lnTo>
                    <a:lnTo>
                      <a:pt x="476" y="308"/>
                    </a:lnTo>
                    <a:lnTo>
                      <a:pt x="476" y="304"/>
                    </a:lnTo>
                    <a:lnTo>
                      <a:pt x="478" y="302"/>
                    </a:lnTo>
                    <a:lnTo>
                      <a:pt x="480" y="300"/>
                    </a:lnTo>
                    <a:lnTo>
                      <a:pt x="480" y="292"/>
                    </a:lnTo>
                    <a:lnTo>
                      <a:pt x="486" y="294"/>
                    </a:lnTo>
                    <a:lnTo>
                      <a:pt x="488" y="298"/>
                    </a:lnTo>
                    <a:lnTo>
                      <a:pt x="492" y="292"/>
                    </a:lnTo>
                    <a:lnTo>
                      <a:pt x="492" y="288"/>
                    </a:lnTo>
                    <a:lnTo>
                      <a:pt x="496" y="286"/>
                    </a:lnTo>
                    <a:lnTo>
                      <a:pt x="496" y="282"/>
                    </a:lnTo>
                    <a:lnTo>
                      <a:pt x="498" y="278"/>
                    </a:lnTo>
                    <a:lnTo>
                      <a:pt x="500" y="274"/>
                    </a:lnTo>
                    <a:lnTo>
                      <a:pt x="502" y="270"/>
                    </a:lnTo>
                    <a:lnTo>
                      <a:pt x="504" y="264"/>
                    </a:lnTo>
                    <a:lnTo>
                      <a:pt x="514" y="254"/>
                    </a:lnTo>
                    <a:lnTo>
                      <a:pt x="518" y="254"/>
                    </a:lnTo>
                    <a:lnTo>
                      <a:pt x="520" y="250"/>
                    </a:lnTo>
                    <a:lnTo>
                      <a:pt x="526" y="246"/>
                    </a:lnTo>
                    <a:lnTo>
                      <a:pt x="526" y="242"/>
                    </a:lnTo>
                    <a:lnTo>
                      <a:pt x="528" y="240"/>
                    </a:lnTo>
                    <a:lnTo>
                      <a:pt x="534" y="226"/>
                    </a:lnTo>
                    <a:lnTo>
                      <a:pt x="536" y="224"/>
                    </a:lnTo>
                    <a:lnTo>
                      <a:pt x="536" y="218"/>
                    </a:lnTo>
                    <a:lnTo>
                      <a:pt x="536" y="214"/>
                    </a:lnTo>
                    <a:lnTo>
                      <a:pt x="536" y="210"/>
                    </a:lnTo>
                    <a:lnTo>
                      <a:pt x="536" y="204"/>
                    </a:lnTo>
                    <a:lnTo>
                      <a:pt x="534" y="202"/>
                    </a:lnTo>
                    <a:lnTo>
                      <a:pt x="534" y="198"/>
                    </a:lnTo>
                    <a:lnTo>
                      <a:pt x="534" y="192"/>
                    </a:lnTo>
                    <a:lnTo>
                      <a:pt x="532" y="188"/>
                    </a:lnTo>
                    <a:lnTo>
                      <a:pt x="528" y="186"/>
                    </a:lnTo>
                    <a:lnTo>
                      <a:pt x="528" y="182"/>
                    </a:lnTo>
                    <a:lnTo>
                      <a:pt x="526" y="182"/>
                    </a:lnTo>
                    <a:lnTo>
                      <a:pt x="524" y="172"/>
                    </a:lnTo>
                    <a:lnTo>
                      <a:pt x="522" y="170"/>
                    </a:lnTo>
                    <a:lnTo>
                      <a:pt x="518" y="168"/>
                    </a:lnTo>
                    <a:lnTo>
                      <a:pt x="514" y="168"/>
                    </a:lnTo>
                    <a:lnTo>
                      <a:pt x="512" y="170"/>
                    </a:lnTo>
                    <a:lnTo>
                      <a:pt x="512" y="166"/>
                    </a:lnTo>
                    <a:lnTo>
                      <a:pt x="510" y="164"/>
                    </a:lnTo>
                    <a:lnTo>
                      <a:pt x="506" y="164"/>
                    </a:lnTo>
                    <a:lnTo>
                      <a:pt x="504" y="164"/>
                    </a:lnTo>
                    <a:lnTo>
                      <a:pt x="502" y="168"/>
                    </a:lnTo>
                    <a:lnTo>
                      <a:pt x="502" y="166"/>
                    </a:lnTo>
                    <a:lnTo>
                      <a:pt x="502" y="164"/>
                    </a:lnTo>
                    <a:lnTo>
                      <a:pt x="498" y="162"/>
                    </a:lnTo>
                    <a:lnTo>
                      <a:pt x="498" y="160"/>
                    </a:lnTo>
                    <a:lnTo>
                      <a:pt x="492" y="152"/>
                    </a:lnTo>
                    <a:lnTo>
                      <a:pt x="490" y="152"/>
                    </a:lnTo>
                    <a:lnTo>
                      <a:pt x="482" y="146"/>
                    </a:lnTo>
                    <a:lnTo>
                      <a:pt x="476" y="140"/>
                    </a:lnTo>
                    <a:lnTo>
                      <a:pt x="468" y="138"/>
                    </a:lnTo>
                    <a:lnTo>
                      <a:pt x="464" y="134"/>
                    </a:lnTo>
                    <a:lnTo>
                      <a:pt x="456" y="134"/>
                    </a:lnTo>
                    <a:lnTo>
                      <a:pt x="450" y="134"/>
                    </a:lnTo>
                    <a:lnTo>
                      <a:pt x="440" y="130"/>
                    </a:lnTo>
                    <a:lnTo>
                      <a:pt x="436" y="130"/>
                    </a:lnTo>
                    <a:lnTo>
                      <a:pt x="432" y="132"/>
                    </a:lnTo>
                    <a:lnTo>
                      <a:pt x="430" y="128"/>
                    </a:lnTo>
                    <a:lnTo>
                      <a:pt x="426" y="124"/>
                    </a:lnTo>
                    <a:lnTo>
                      <a:pt x="422" y="124"/>
                    </a:lnTo>
                    <a:lnTo>
                      <a:pt x="420" y="126"/>
                    </a:lnTo>
                    <a:lnTo>
                      <a:pt x="416" y="124"/>
                    </a:lnTo>
                    <a:lnTo>
                      <a:pt x="414" y="130"/>
                    </a:lnTo>
                    <a:lnTo>
                      <a:pt x="412" y="132"/>
                    </a:lnTo>
                    <a:lnTo>
                      <a:pt x="408" y="134"/>
                    </a:lnTo>
                    <a:lnTo>
                      <a:pt x="406" y="132"/>
                    </a:lnTo>
                    <a:lnTo>
                      <a:pt x="406" y="130"/>
                    </a:lnTo>
                    <a:lnTo>
                      <a:pt x="408" y="126"/>
                    </a:lnTo>
                    <a:lnTo>
                      <a:pt x="404" y="124"/>
                    </a:lnTo>
                    <a:lnTo>
                      <a:pt x="406" y="122"/>
                    </a:lnTo>
                    <a:lnTo>
                      <a:pt x="404" y="118"/>
                    </a:lnTo>
                    <a:lnTo>
                      <a:pt x="404" y="116"/>
                    </a:lnTo>
                    <a:lnTo>
                      <a:pt x="402" y="116"/>
                    </a:lnTo>
                    <a:lnTo>
                      <a:pt x="400" y="116"/>
                    </a:lnTo>
                    <a:lnTo>
                      <a:pt x="400" y="114"/>
                    </a:lnTo>
                    <a:lnTo>
                      <a:pt x="402" y="112"/>
                    </a:lnTo>
                    <a:lnTo>
                      <a:pt x="400" y="110"/>
                    </a:lnTo>
                    <a:lnTo>
                      <a:pt x="400" y="108"/>
                    </a:lnTo>
                    <a:lnTo>
                      <a:pt x="394" y="108"/>
                    </a:lnTo>
                    <a:lnTo>
                      <a:pt x="390" y="112"/>
                    </a:lnTo>
                    <a:lnTo>
                      <a:pt x="392" y="106"/>
                    </a:lnTo>
                    <a:lnTo>
                      <a:pt x="384" y="104"/>
                    </a:lnTo>
                    <a:lnTo>
                      <a:pt x="384" y="100"/>
                    </a:lnTo>
                    <a:lnTo>
                      <a:pt x="382" y="100"/>
                    </a:lnTo>
                    <a:lnTo>
                      <a:pt x="380" y="102"/>
                    </a:lnTo>
                    <a:lnTo>
                      <a:pt x="376" y="98"/>
                    </a:lnTo>
                    <a:lnTo>
                      <a:pt x="374" y="96"/>
                    </a:lnTo>
                    <a:lnTo>
                      <a:pt x="370" y="94"/>
                    </a:lnTo>
                    <a:lnTo>
                      <a:pt x="364" y="94"/>
                    </a:lnTo>
                    <a:lnTo>
                      <a:pt x="358" y="96"/>
                    </a:lnTo>
                    <a:lnTo>
                      <a:pt x="350" y="102"/>
                    </a:lnTo>
                    <a:lnTo>
                      <a:pt x="354" y="106"/>
                    </a:lnTo>
                    <a:lnTo>
                      <a:pt x="348" y="106"/>
                    </a:lnTo>
                    <a:lnTo>
                      <a:pt x="344" y="112"/>
                    </a:lnTo>
                    <a:lnTo>
                      <a:pt x="344" y="114"/>
                    </a:lnTo>
                    <a:lnTo>
                      <a:pt x="342" y="114"/>
                    </a:lnTo>
                    <a:lnTo>
                      <a:pt x="340" y="114"/>
                    </a:lnTo>
                    <a:lnTo>
                      <a:pt x="342" y="112"/>
                    </a:lnTo>
                    <a:lnTo>
                      <a:pt x="334" y="114"/>
                    </a:lnTo>
                    <a:lnTo>
                      <a:pt x="324" y="114"/>
                    </a:lnTo>
                    <a:lnTo>
                      <a:pt x="320" y="108"/>
                    </a:lnTo>
                    <a:lnTo>
                      <a:pt x="326" y="112"/>
                    </a:lnTo>
                    <a:lnTo>
                      <a:pt x="332" y="110"/>
                    </a:lnTo>
                    <a:lnTo>
                      <a:pt x="340" y="112"/>
                    </a:lnTo>
                    <a:lnTo>
                      <a:pt x="340" y="110"/>
                    </a:lnTo>
                    <a:lnTo>
                      <a:pt x="344" y="108"/>
                    </a:lnTo>
                    <a:lnTo>
                      <a:pt x="344" y="106"/>
                    </a:lnTo>
                    <a:lnTo>
                      <a:pt x="348" y="106"/>
                    </a:lnTo>
                    <a:lnTo>
                      <a:pt x="348" y="104"/>
                    </a:lnTo>
                    <a:lnTo>
                      <a:pt x="348" y="100"/>
                    </a:lnTo>
                    <a:lnTo>
                      <a:pt x="350" y="100"/>
                    </a:lnTo>
                    <a:lnTo>
                      <a:pt x="350" y="96"/>
                    </a:lnTo>
                    <a:lnTo>
                      <a:pt x="350" y="92"/>
                    </a:lnTo>
                    <a:lnTo>
                      <a:pt x="350" y="90"/>
                    </a:lnTo>
                    <a:lnTo>
                      <a:pt x="350" y="88"/>
                    </a:lnTo>
                    <a:lnTo>
                      <a:pt x="350" y="86"/>
                    </a:lnTo>
                    <a:lnTo>
                      <a:pt x="350" y="84"/>
                    </a:lnTo>
                    <a:lnTo>
                      <a:pt x="340" y="84"/>
                    </a:lnTo>
                    <a:lnTo>
                      <a:pt x="342" y="82"/>
                    </a:lnTo>
                    <a:lnTo>
                      <a:pt x="340" y="80"/>
                    </a:lnTo>
                    <a:lnTo>
                      <a:pt x="340" y="78"/>
                    </a:lnTo>
                    <a:lnTo>
                      <a:pt x="336" y="80"/>
                    </a:lnTo>
                    <a:lnTo>
                      <a:pt x="332" y="82"/>
                    </a:lnTo>
                    <a:lnTo>
                      <a:pt x="330" y="86"/>
                    </a:lnTo>
                    <a:lnTo>
                      <a:pt x="326" y="86"/>
                    </a:lnTo>
                    <a:lnTo>
                      <a:pt x="324" y="88"/>
                    </a:lnTo>
                    <a:lnTo>
                      <a:pt x="322" y="94"/>
                    </a:lnTo>
                    <a:lnTo>
                      <a:pt x="320" y="94"/>
                    </a:lnTo>
                    <a:lnTo>
                      <a:pt x="318" y="96"/>
                    </a:lnTo>
                    <a:lnTo>
                      <a:pt x="318" y="102"/>
                    </a:lnTo>
                    <a:lnTo>
                      <a:pt x="320" y="106"/>
                    </a:lnTo>
                    <a:lnTo>
                      <a:pt x="318" y="104"/>
                    </a:lnTo>
                    <a:lnTo>
                      <a:pt x="316" y="100"/>
                    </a:lnTo>
                    <a:lnTo>
                      <a:pt x="312" y="104"/>
                    </a:lnTo>
                    <a:lnTo>
                      <a:pt x="308" y="104"/>
                    </a:lnTo>
                    <a:lnTo>
                      <a:pt x="308" y="110"/>
                    </a:lnTo>
                    <a:lnTo>
                      <a:pt x="308" y="116"/>
                    </a:lnTo>
                    <a:lnTo>
                      <a:pt x="306" y="122"/>
                    </a:lnTo>
                    <a:lnTo>
                      <a:pt x="306" y="116"/>
                    </a:lnTo>
                    <a:lnTo>
                      <a:pt x="306" y="110"/>
                    </a:lnTo>
                    <a:lnTo>
                      <a:pt x="306" y="106"/>
                    </a:lnTo>
                    <a:lnTo>
                      <a:pt x="306" y="102"/>
                    </a:lnTo>
                    <a:lnTo>
                      <a:pt x="300" y="102"/>
                    </a:lnTo>
                    <a:lnTo>
                      <a:pt x="296" y="106"/>
                    </a:lnTo>
                    <a:lnTo>
                      <a:pt x="292" y="108"/>
                    </a:lnTo>
                    <a:lnTo>
                      <a:pt x="284" y="108"/>
                    </a:lnTo>
                    <a:lnTo>
                      <a:pt x="292" y="104"/>
                    </a:lnTo>
                    <a:lnTo>
                      <a:pt x="300" y="102"/>
                    </a:lnTo>
                    <a:lnTo>
                      <a:pt x="304" y="102"/>
                    </a:lnTo>
                    <a:lnTo>
                      <a:pt x="304" y="98"/>
                    </a:lnTo>
                    <a:lnTo>
                      <a:pt x="306" y="94"/>
                    </a:lnTo>
                    <a:lnTo>
                      <a:pt x="308" y="90"/>
                    </a:lnTo>
                    <a:lnTo>
                      <a:pt x="310" y="86"/>
                    </a:lnTo>
                    <a:lnTo>
                      <a:pt x="310" y="82"/>
                    </a:lnTo>
                    <a:lnTo>
                      <a:pt x="316" y="78"/>
                    </a:lnTo>
                    <a:lnTo>
                      <a:pt x="318" y="76"/>
                    </a:lnTo>
                    <a:lnTo>
                      <a:pt x="320" y="74"/>
                    </a:lnTo>
                    <a:lnTo>
                      <a:pt x="320" y="76"/>
                    </a:lnTo>
                    <a:lnTo>
                      <a:pt x="320" y="82"/>
                    </a:lnTo>
                    <a:lnTo>
                      <a:pt x="326" y="82"/>
                    </a:lnTo>
                    <a:lnTo>
                      <a:pt x="328" y="82"/>
                    </a:lnTo>
                    <a:lnTo>
                      <a:pt x="330" y="80"/>
                    </a:lnTo>
                    <a:lnTo>
                      <a:pt x="328" y="78"/>
                    </a:lnTo>
                    <a:lnTo>
                      <a:pt x="328" y="72"/>
                    </a:lnTo>
                    <a:lnTo>
                      <a:pt x="330" y="74"/>
                    </a:lnTo>
                    <a:lnTo>
                      <a:pt x="332" y="64"/>
                    </a:lnTo>
                    <a:lnTo>
                      <a:pt x="328" y="64"/>
                    </a:lnTo>
                    <a:lnTo>
                      <a:pt x="324" y="68"/>
                    </a:lnTo>
                    <a:lnTo>
                      <a:pt x="326" y="68"/>
                    </a:lnTo>
                    <a:lnTo>
                      <a:pt x="326" y="70"/>
                    </a:lnTo>
                    <a:lnTo>
                      <a:pt x="322" y="70"/>
                    </a:lnTo>
                    <a:lnTo>
                      <a:pt x="326" y="64"/>
                    </a:lnTo>
                    <a:lnTo>
                      <a:pt x="326" y="62"/>
                    </a:lnTo>
                    <a:lnTo>
                      <a:pt x="322" y="60"/>
                    </a:lnTo>
                    <a:lnTo>
                      <a:pt x="328" y="56"/>
                    </a:lnTo>
                    <a:lnTo>
                      <a:pt x="330" y="50"/>
                    </a:lnTo>
                    <a:lnTo>
                      <a:pt x="320" y="50"/>
                    </a:lnTo>
                    <a:lnTo>
                      <a:pt x="322" y="44"/>
                    </a:lnTo>
                    <a:lnTo>
                      <a:pt x="320" y="38"/>
                    </a:lnTo>
                    <a:lnTo>
                      <a:pt x="318" y="36"/>
                    </a:lnTo>
                    <a:lnTo>
                      <a:pt x="318" y="30"/>
                    </a:lnTo>
                    <a:lnTo>
                      <a:pt x="318" y="26"/>
                    </a:lnTo>
                    <a:lnTo>
                      <a:pt x="312" y="16"/>
                    </a:lnTo>
                    <a:lnTo>
                      <a:pt x="312" y="12"/>
                    </a:lnTo>
                    <a:lnTo>
                      <a:pt x="308" y="10"/>
                    </a:lnTo>
                    <a:lnTo>
                      <a:pt x="304" y="22"/>
                    </a:lnTo>
                    <a:lnTo>
                      <a:pt x="300" y="30"/>
                    </a:lnTo>
                    <a:lnTo>
                      <a:pt x="298" y="44"/>
                    </a:lnTo>
                    <a:lnTo>
                      <a:pt x="294" y="52"/>
                    </a:lnTo>
                    <a:lnTo>
                      <a:pt x="290" y="56"/>
                    </a:lnTo>
                    <a:lnTo>
                      <a:pt x="284" y="52"/>
                    </a:lnTo>
                    <a:lnTo>
                      <a:pt x="278" y="54"/>
                    </a:lnTo>
                    <a:lnTo>
                      <a:pt x="274" y="56"/>
                    </a:lnTo>
                    <a:lnTo>
                      <a:pt x="272"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6" y="60"/>
                    </a:lnTo>
                    <a:lnTo>
                      <a:pt x="222" y="58"/>
                    </a:lnTo>
                    <a:lnTo>
                      <a:pt x="220" y="58"/>
                    </a:lnTo>
                    <a:lnTo>
                      <a:pt x="218" y="60"/>
                    </a:lnTo>
                    <a:lnTo>
                      <a:pt x="216" y="62"/>
                    </a:lnTo>
                    <a:lnTo>
                      <a:pt x="214" y="62"/>
                    </a:lnTo>
                    <a:lnTo>
                      <a:pt x="214" y="64"/>
                    </a:lnTo>
                    <a:lnTo>
                      <a:pt x="214" y="66"/>
                    </a:lnTo>
                    <a:lnTo>
                      <a:pt x="212" y="66"/>
                    </a:lnTo>
                    <a:lnTo>
                      <a:pt x="210" y="66"/>
                    </a:lnTo>
                    <a:lnTo>
                      <a:pt x="208" y="68"/>
                    </a:lnTo>
                    <a:lnTo>
                      <a:pt x="206" y="70"/>
                    </a:lnTo>
                    <a:lnTo>
                      <a:pt x="202" y="70"/>
                    </a:lnTo>
                    <a:lnTo>
                      <a:pt x="200" y="66"/>
                    </a:lnTo>
                    <a:lnTo>
                      <a:pt x="200" y="64"/>
                    </a:lnTo>
                    <a:lnTo>
                      <a:pt x="198" y="64"/>
                    </a:lnTo>
                    <a:lnTo>
                      <a:pt x="194" y="60"/>
                    </a:lnTo>
                    <a:lnTo>
                      <a:pt x="192" y="58"/>
                    </a:lnTo>
                    <a:lnTo>
                      <a:pt x="190" y="54"/>
                    </a:lnTo>
                    <a:lnTo>
                      <a:pt x="190" y="52"/>
                    </a:lnTo>
                    <a:lnTo>
                      <a:pt x="192" y="40"/>
                    </a:lnTo>
                    <a:lnTo>
                      <a:pt x="192" y="32"/>
                    </a:lnTo>
                    <a:lnTo>
                      <a:pt x="198" y="26"/>
                    </a:lnTo>
                    <a:lnTo>
                      <a:pt x="200" y="22"/>
                    </a:lnTo>
                    <a:lnTo>
                      <a:pt x="198" y="20"/>
                    </a:lnTo>
                    <a:lnTo>
                      <a:pt x="198" y="18"/>
                    </a:lnTo>
                    <a:lnTo>
                      <a:pt x="198" y="16"/>
                    </a:lnTo>
                    <a:lnTo>
                      <a:pt x="200" y="14"/>
                    </a:lnTo>
                    <a:lnTo>
                      <a:pt x="198" y="14"/>
                    </a:lnTo>
                    <a:lnTo>
                      <a:pt x="192" y="10"/>
                    </a:lnTo>
                    <a:lnTo>
                      <a:pt x="196" y="6"/>
                    </a:lnTo>
                    <a:lnTo>
                      <a:pt x="196" y="4"/>
                    </a:lnTo>
                    <a:lnTo>
                      <a:pt x="194" y="2"/>
                    </a:lnTo>
                    <a:lnTo>
                      <a:pt x="192" y="2"/>
                    </a:lnTo>
                    <a:lnTo>
                      <a:pt x="186" y="2"/>
                    </a:lnTo>
                    <a:lnTo>
                      <a:pt x="182" y="0"/>
                    </a:lnTo>
                    <a:lnTo>
                      <a:pt x="182" y="4"/>
                    </a:lnTo>
                    <a:lnTo>
                      <a:pt x="182" y="10"/>
                    </a:lnTo>
                    <a:lnTo>
                      <a:pt x="174" y="10"/>
                    </a:lnTo>
                    <a:lnTo>
                      <a:pt x="174" y="12"/>
                    </a:lnTo>
                    <a:lnTo>
                      <a:pt x="172" y="12"/>
                    </a:lnTo>
                    <a:lnTo>
                      <a:pt x="170" y="14"/>
                    </a:lnTo>
                    <a:lnTo>
                      <a:pt x="170" y="16"/>
                    </a:lnTo>
                    <a:lnTo>
                      <a:pt x="166" y="18"/>
                    </a:lnTo>
                    <a:lnTo>
                      <a:pt x="166" y="20"/>
                    </a:lnTo>
                    <a:lnTo>
                      <a:pt x="164" y="20"/>
                    </a:lnTo>
                    <a:lnTo>
                      <a:pt x="156" y="18"/>
                    </a:lnTo>
                    <a:lnTo>
                      <a:pt x="154" y="18"/>
                    </a:lnTo>
                    <a:lnTo>
                      <a:pt x="152" y="20"/>
                    </a:lnTo>
                    <a:lnTo>
                      <a:pt x="150" y="22"/>
                    </a:lnTo>
                    <a:lnTo>
                      <a:pt x="152" y="24"/>
                    </a:lnTo>
                    <a:lnTo>
                      <a:pt x="150" y="24"/>
                    </a:lnTo>
                    <a:lnTo>
                      <a:pt x="144" y="22"/>
                    </a:lnTo>
                    <a:lnTo>
                      <a:pt x="140" y="20"/>
                    </a:lnTo>
                    <a:lnTo>
                      <a:pt x="136" y="20"/>
                    </a:lnTo>
                    <a:lnTo>
                      <a:pt x="132" y="20"/>
                    </a:lnTo>
                    <a:lnTo>
                      <a:pt x="126" y="18"/>
                    </a:lnTo>
                    <a:lnTo>
                      <a:pt x="122" y="18"/>
                    </a:lnTo>
                    <a:lnTo>
                      <a:pt x="124" y="20"/>
                    </a:lnTo>
                    <a:lnTo>
                      <a:pt x="126" y="20"/>
                    </a:lnTo>
                    <a:lnTo>
                      <a:pt x="126" y="22"/>
                    </a:lnTo>
                    <a:lnTo>
                      <a:pt x="128" y="26"/>
                    </a:lnTo>
                    <a:lnTo>
                      <a:pt x="130" y="34"/>
                    </a:lnTo>
                    <a:lnTo>
                      <a:pt x="130" y="40"/>
                    </a:lnTo>
                    <a:lnTo>
                      <a:pt x="130" y="46"/>
                    </a:lnTo>
                    <a:lnTo>
                      <a:pt x="132" y="48"/>
                    </a:lnTo>
                    <a:lnTo>
                      <a:pt x="134" y="50"/>
                    </a:lnTo>
                    <a:lnTo>
                      <a:pt x="138" y="50"/>
                    </a:lnTo>
                    <a:lnTo>
                      <a:pt x="144" y="48"/>
                    </a:lnTo>
                    <a:lnTo>
                      <a:pt x="146" y="50"/>
                    </a:lnTo>
                    <a:lnTo>
                      <a:pt x="148" y="50"/>
                    </a:lnTo>
                    <a:lnTo>
                      <a:pt x="150" y="54"/>
                    </a:lnTo>
                    <a:lnTo>
                      <a:pt x="148" y="54"/>
                    </a:lnTo>
                    <a:lnTo>
                      <a:pt x="144" y="56"/>
                    </a:lnTo>
                    <a:lnTo>
                      <a:pt x="142" y="56"/>
                    </a:lnTo>
                    <a:lnTo>
                      <a:pt x="140" y="60"/>
                    </a:lnTo>
                    <a:lnTo>
                      <a:pt x="138" y="62"/>
                    </a:lnTo>
                    <a:lnTo>
                      <a:pt x="136" y="64"/>
                    </a:lnTo>
                    <a:lnTo>
                      <a:pt x="134" y="66"/>
                    </a:lnTo>
                    <a:lnTo>
                      <a:pt x="130" y="68"/>
                    </a:lnTo>
                    <a:lnTo>
                      <a:pt x="128" y="68"/>
                    </a:lnTo>
                    <a:lnTo>
                      <a:pt x="126" y="70"/>
                    </a:lnTo>
                    <a:lnTo>
                      <a:pt x="124" y="72"/>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72" y="74"/>
                    </a:lnTo>
                    <a:lnTo>
                      <a:pt x="66" y="74"/>
                    </a:lnTo>
                    <a:lnTo>
                      <a:pt x="64" y="72"/>
                    </a:lnTo>
                    <a:lnTo>
                      <a:pt x="62" y="78"/>
                    </a:lnTo>
                    <a:lnTo>
                      <a:pt x="70" y="80"/>
                    </a:lnTo>
                    <a:lnTo>
                      <a:pt x="68" y="82"/>
                    </a:lnTo>
                    <a:lnTo>
                      <a:pt x="60" y="82"/>
                    </a:lnTo>
                    <a:lnTo>
                      <a:pt x="60" y="88"/>
                    </a:lnTo>
                    <a:lnTo>
                      <a:pt x="64" y="90"/>
                    </a:lnTo>
                    <a:lnTo>
                      <a:pt x="70" y="104"/>
                    </a:lnTo>
                    <a:lnTo>
                      <a:pt x="70" y="106"/>
                    </a:lnTo>
                    <a:lnTo>
                      <a:pt x="68" y="110"/>
                    </a:lnTo>
                    <a:lnTo>
                      <a:pt x="66" y="116"/>
                    </a:lnTo>
                    <a:lnTo>
                      <a:pt x="52" y="154"/>
                    </a:lnTo>
                    <a:lnTo>
                      <a:pt x="52" y="156"/>
                    </a:lnTo>
                    <a:lnTo>
                      <a:pt x="50" y="158"/>
                    </a:lnTo>
                    <a:lnTo>
                      <a:pt x="48" y="158"/>
                    </a:lnTo>
                    <a:lnTo>
                      <a:pt x="38" y="160"/>
                    </a:lnTo>
                    <a:lnTo>
                      <a:pt x="32" y="162"/>
                    </a:lnTo>
                    <a:lnTo>
                      <a:pt x="26" y="164"/>
                    </a:lnTo>
                    <a:lnTo>
                      <a:pt x="18" y="170"/>
                    </a:lnTo>
                    <a:lnTo>
                      <a:pt x="14" y="174"/>
                    </a:lnTo>
                    <a:lnTo>
                      <a:pt x="12" y="180"/>
                    </a:lnTo>
                    <a:lnTo>
                      <a:pt x="10" y="186"/>
                    </a:lnTo>
                    <a:lnTo>
                      <a:pt x="8" y="190"/>
                    </a:lnTo>
                    <a:lnTo>
                      <a:pt x="6" y="194"/>
                    </a:lnTo>
                    <a:lnTo>
                      <a:pt x="6" y="202"/>
                    </a:lnTo>
                    <a:lnTo>
                      <a:pt x="4" y="200"/>
                    </a:lnTo>
                    <a:lnTo>
                      <a:pt x="2" y="200"/>
                    </a:lnTo>
                    <a:lnTo>
                      <a:pt x="0" y="202"/>
                    </a:lnTo>
                    <a:lnTo>
                      <a:pt x="2" y="206"/>
                    </a:lnTo>
                    <a:lnTo>
                      <a:pt x="2" y="210"/>
                    </a:lnTo>
                    <a:lnTo>
                      <a:pt x="4" y="210"/>
                    </a:lnTo>
                    <a:lnTo>
                      <a:pt x="4" y="212"/>
                    </a:lnTo>
                    <a:lnTo>
                      <a:pt x="6" y="214"/>
                    </a:lnTo>
                    <a:lnTo>
                      <a:pt x="6" y="218"/>
                    </a:lnTo>
                    <a:lnTo>
                      <a:pt x="4" y="224"/>
                    </a:lnTo>
                    <a:lnTo>
                      <a:pt x="6" y="226"/>
                    </a:lnTo>
                    <a:lnTo>
                      <a:pt x="10" y="228"/>
                    </a:lnTo>
                    <a:lnTo>
                      <a:pt x="12" y="230"/>
                    </a:lnTo>
                    <a:lnTo>
                      <a:pt x="14" y="234"/>
                    </a:lnTo>
                    <a:lnTo>
                      <a:pt x="16" y="236"/>
                    </a:lnTo>
                    <a:lnTo>
                      <a:pt x="20" y="238"/>
                    </a:lnTo>
                    <a:lnTo>
                      <a:pt x="20" y="240"/>
                    </a:lnTo>
                    <a:lnTo>
                      <a:pt x="22" y="244"/>
                    </a:lnTo>
                    <a:lnTo>
                      <a:pt x="24" y="246"/>
                    </a:lnTo>
                    <a:lnTo>
                      <a:pt x="36" y="246"/>
                    </a:lnTo>
                    <a:lnTo>
                      <a:pt x="46" y="240"/>
                    </a:lnTo>
                    <a:lnTo>
                      <a:pt x="48" y="238"/>
                    </a:lnTo>
                    <a:lnTo>
                      <a:pt x="48" y="240"/>
                    </a:lnTo>
                    <a:lnTo>
                      <a:pt x="48" y="242"/>
                    </a:lnTo>
                    <a:lnTo>
                      <a:pt x="46" y="282"/>
                    </a:lnTo>
                    <a:lnTo>
                      <a:pt x="60" y="288"/>
                    </a:lnTo>
                    <a:lnTo>
                      <a:pt x="62" y="288"/>
                    </a:lnTo>
                    <a:lnTo>
                      <a:pt x="66" y="288"/>
                    </a:lnTo>
                    <a:lnTo>
                      <a:pt x="70" y="290"/>
                    </a:lnTo>
                    <a:lnTo>
                      <a:pt x="72" y="288"/>
                    </a:lnTo>
                    <a:lnTo>
                      <a:pt x="74" y="288"/>
                    </a:lnTo>
                    <a:lnTo>
                      <a:pt x="74" y="286"/>
                    </a:lnTo>
                    <a:lnTo>
                      <a:pt x="74" y="284"/>
                    </a:lnTo>
                    <a:lnTo>
                      <a:pt x="76" y="282"/>
                    </a:lnTo>
                    <a:lnTo>
                      <a:pt x="82" y="280"/>
                    </a:lnTo>
                    <a:lnTo>
                      <a:pt x="86" y="272"/>
                    </a:lnTo>
                    <a:lnTo>
                      <a:pt x="90" y="268"/>
                    </a:lnTo>
                    <a:lnTo>
                      <a:pt x="96" y="264"/>
                    </a:lnTo>
                    <a:lnTo>
                      <a:pt x="104" y="262"/>
                    </a:lnTo>
                    <a:lnTo>
                      <a:pt x="112" y="260"/>
                    </a:lnTo>
                    <a:lnTo>
                      <a:pt x="118" y="260"/>
                    </a:lnTo>
                    <a:lnTo>
                      <a:pt x="120" y="264"/>
                    </a:lnTo>
                    <a:lnTo>
                      <a:pt x="118" y="270"/>
                    </a:lnTo>
                    <a:lnTo>
                      <a:pt x="116" y="274"/>
                    </a:lnTo>
                    <a:lnTo>
                      <a:pt x="116" y="278"/>
                    </a:lnTo>
                    <a:lnTo>
                      <a:pt x="118" y="282"/>
                    </a:lnTo>
                    <a:lnTo>
                      <a:pt x="122" y="286"/>
                    </a:lnTo>
                    <a:lnTo>
                      <a:pt x="128" y="288"/>
                    </a:lnTo>
                    <a:lnTo>
                      <a:pt x="130" y="288"/>
                    </a:lnTo>
                    <a:lnTo>
                      <a:pt x="132" y="286"/>
                    </a:lnTo>
                    <a:lnTo>
                      <a:pt x="134" y="286"/>
                    </a:lnTo>
                    <a:lnTo>
                      <a:pt x="138" y="288"/>
                    </a:lnTo>
                    <a:lnTo>
                      <a:pt x="142" y="292"/>
                    </a:lnTo>
                    <a:lnTo>
                      <a:pt x="148" y="296"/>
                    </a:lnTo>
                    <a:lnTo>
                      <a:pt x="152" y="300"/>
                    </a:lnTo>
                    <a:lnTo>
                      <a:pt x="154" y="302"/>
                    </a:lnTo>
                    <a:lnTo>
                      <a:pt x="158" y="306"/>
                    </a:lnTo>
                    <a:lnTo>
                      <a:pt x="162" y="308"/>
                    </a:lnTo>
                    <a:lnTo>
                      <a:pt x="164" y="308"/>
                    </a:lnTo>
                    <a:lnTo>
                      <a:pt x="170" y="310"/>
                    </a:lnTo>
                    <a:lnTo>
                      <a:pt x="174" y="310"/>
                    </a:lnTo>
                    <a:lnTo>
                      <a:pt x="180" y="310"/>
                    </a:lnTo>
                    <a:lnTo>
                      <a:pt x="182" y="310"/>
                    </a:lnTo>
                    <a:lnTo>
                      <a:pt x="184" y="310"/>
                    </a:lnTo>
                    <a:lnTo>
                      <a:pt x="186" y="316"/>
                    </a:lnTo>
                    <a:lnTo>
                      <a:pt x="188" y="322"/>
                    </a:lnTo>
                    <a:lnTo>
                      <a:pt x="192" y="332"/>
                    </a:lnTo>
                    <a:lnTo>
                      <a:pt x="186" y="338"/>
                    </a:lnTo>
                    <a:lnTo>
                      <a:pt x="186" y="344"/>
                    </a:lnTo>
                    <a:lnTo>
                      <a:pt x="188" y="348"/>
                    </a:lnTo>
                    <a:lnTo>
                      <a:pt x="190" y="354"/>
                    </a:lnTo>
                    <a:lnTo>
                      <a:pt x="192" y="356"/>
                    </a:lnTo>
                    <a:lnTo>
                      <a:pt x="212" y="356"/>
                    </a:lnTo>
                    <a:lnTo>
                      <a:pt x="210" y="358"/>
                    </a:lnTo>
                    <a:lnTo>
                      <a:pt x="210" y="364"/>
                    </a:lnTo>
                    <a:lnTo>
                      <a:pt x="212" y="370"/>
                    </a:lnTo>
                    <a:lnTo>
                      <a:pt x="216" y="374"/>
                    </a:lnTo>
                    <a:lnTo>
                      <a:pt x="220" y="378"/>
                    </a:lnTo>
                    <a:lnTo>
                      <a:pt x="222" y="382"/>
                    </a:lnTo>
                    <a:lnTo>
                      <a:pt x="222" y="386"/>
                    </a:lnTo>
                    <a:lnTo>
                      <a:pt x="222" y="390"/>
                    </a:lnTo>
                    <a:lnTo>
                      <a:pt x="220" y="400"/>
                    </a:lnTo>
                    <a:lnTo>
                      <a:pt x="218" y="408"/>
                    </a:lnTo>
                    <a:lnTo>
                      <a:pt x="220" y="412"/>
                    </a:lnTo>
                    <a:lnTo>
                      <a:pt x="216" y="414"/>
                    </a:lnTo>
                    <a:lnTo>
                      <a:pt x="218" y="416"/>
                    </a:lnTo>
                    <a:lnTo>
                      <a:pt x="222" y="422"/>
                    </a:lnTo>
                    <a:lnTo>
                      <a:pt x="224" y="428"/>
                    </a:lnTo>
                    <a:lnTo>
                      <a:pt x="222" y="436"/>
                    </a:lnTo>
                    <a:lnTo>
                      <a:pt x="222" y="438"/>
                    </a:lnTo>
                    <a:lnTo>
                      <a:pt x="224" y="442"/>
                    </a:lnTo>
                    <a:lnTo>
                      <a:pt x="224" y="446"/>
                    </a:lnTo>
                    <a:lnTo>
                      <a:pt x="226" y="448"/>
                    </a:lnTo>
                    <a:lnTo>
                      <a:pt x="232" y="450"/>
                    </a:lnTo>
                    <a:lnTo>
                      <a:pt x="240" y="450"/>
                    </a:lnTo>
                    <a:lnTo>
                      <a:pt x="244" y="448"/>
                    </a:lnTo>
                    <a:lnTo>
                      <a:pt x="246" y="452"/>
                    </a:lnTo>
                    <a:lnTo>
                      <a:pt x="246" y="454"/>
                    </a:lnTo>
                    <a:lnTo>
                      <a:pt x="248" y="456"/>
                    </a:lnTo>
                    <a:lnTo>
                      <a:pt x="250" y="456"/>
                    </a:lnTo>
                    <a:lnTo>
                      <a:pt x="254" y="458"/>
                    </a:lnTo>
                    <a:lnTo>
                      <a:pt x="256" y="460"/>
                    </a:lnTo>
                    <a:lnTo>
                      <a:pt x="256" y="464"/>
                    </a:lnTo>
                    <a:lnTo>
                      <a:pt x="256" y="478"/>
                    </a:lnTo>
                    <a:lnTo>
                      <a:pt x="258" y="484"/>
                    </a:lnTo>
                    <a:lnTo>
                      <a:pt x="258" y="486"/>
                    </a:lnTo>
                    <a:lnTo>
                      <a:pt x="260" y="486"/>
                    </a:lnTo>
                    <a:lnTo>
                      <a:pt x="264" y="484"/>
                    </a:lnTo>
                    <a:lnTo>
                      <a:pt x="266" y="484"/>
                    </a:lnTo>
                    <a:lnTo>
                      <a:pt x="268" y="484"/>
                    </a:lnTo>
                    <a:lnTo>
                      <a:pt x="266" y="490"/>
                    </a:lnTo>
                    <a:lnTo>
                      <a:pt x="266" y="498"/>
                    </a:lnTo>
                    <a:lnTo>
                      <a:pt x="264" y="506"/>
                    </a:lnTo>
                    <a:lnTo>
                      <a:pt x="264" y="514"/>
                    </a:lnTo>
                    <a:lnTo>
                      <a:pt x="268" y="516"/>
                    </a:lnTo>
                    <a:lnTo>
                      <a:pt x="270" y="516"/>
                    </a:lnTo>
                    <a:lnTo>
                      <a:pt x="270" y="514"/>
                    </a:lnTo>
                    <a:lnTo>
                      <a:pt x="272" y="514"/>
                    </a:lnTo>
                    <a:lnTo>
                      <a:pt x="276" y="514"/>
                    </a:lnTo>
                    <a:lnTo>
                      <a:pt x="276" y="526"/>
                    </a:lnTo>
                    <a:lnTo>
                      <a:pt x="276" y="540"/>
                    </a:lnTo>
                    <a:lnTo>
                      <a:pt x="276" y="542"/>
                    </a:lnTo>
                    <a:lnTo>
                      <a:pt x="272" y="546"/>
                    </a:lnTo>
                    <a:lnTo>
                      <a:pt x="270" y="546"/>
                    </a:lnTo>
                    <a:lnTo>
                      <a:pt x="266" y="548"/>
                    </a:lnTo>
                    <a:lnTo>
                      <a:pt x="262" y="548"/>
                    </a:lnTo>
                    <a:lnTo>
                      <a:pt x="260" y="550"/>
                    </a:lnTo>
                    <a:lnTo>
                      <a:pt x="258" y="556"/>
                    </a:lnTo>
                    <a:lnTo>
                      <a:pt x="254" y="560"/>
                    </a:lnTo>
                    <a:lnTo>
                      <a:pt x="250" y="562"/>
                    </a:lnTo>
                    <a:lnTo>
                      <a:pt x="248" y="566"/>
                    </a:lnTo>
                    <a:lnTo>
                      <a:pt x="246" y="568"/>
                    </a:lnTo>
                    <a:lnTo>
                      <a:pt x="242" y="568"/>
                    </a:lnTo>
                    <a:lnTo>
                      <a:pt x="240" y="570"/>
                    </a:lnTo>
                    <a:lnTo>
                      <a:pt x="238" y="572"/>
                    </a:lnTo>
                    <a:lnTo>
                      <a:pt x="238" y="578"/>
                    </a:lnTo>
                    <a:lnTo>
                      <a:pt x="234" y="584"/>
                    </a:lnTo>
                    <a:lnTo>
                      <a:pt x="230" y="586"/>
                    </a:lnTo>
                    <a:lnTo>
                      <a:pt x="228" y="590"/>
                    </a:lnTo>
                    <a:lnTo>
                      <a:pt x="226" y="600"/>
                    </a:lnTo>
                    <a:lnTo>
                      <a:pt x="236" y="596"/>
                    </a:lnTo>
                    <a:lnTo>
                      <a:pt x="246" y="604"/>
                    </a:lnTo>
                    <a:lnTo>
                      <a:pt x="250" y="612"/>
                    </a:lnTo>
                    <a:lnTo>
                      <a:pt x="252" y="614"/>
                    </a:lnTo>
                    <a:lnTo>
                      <a:pt x="254" y="614"/>
                    </a:lnTo>
                    <a:lnTo>
                      <a:pt x="256" y="614"/>
                    </a:lnTo>
                    <a:lnTo>
                      <a:pt x="258" y="616"/>
                    </a:lnTo>
                    <a:lnTo>
                      <a:pt x="262" y="620"/>
                    </a:lnTo>
                    <a:lnTo>
                      <a:pt x="266" y="624"/>
                    </a:lnTo>
                    <a:lnTo>
                      <a:pt x="272" y="626"/>
                    </a:lnTo>
                    <a:lnTo>
                      <a:pt x="274" y="628"/>
                    </a:lnTo>
                    <a:lnTo>
                      <a:pt x="276" y="630"/>
                    </a:lnTo>
                    <a:lnTo>
                      <a:pt x="278" y="634"/>
                    </a:lnTo>
                    <a:lnTo>
                      <a:pt x="282" y="638"/>
                    </a:lnTo>
                    <a:lnTo>
                      <a:pt x="286" y="642"/>
                    </a:lnTo>
                    <a:lnTo>
                      <a:pt x="288" y="642"/>
                    </a:lnTo>
                    <a:lnTo>
                      <a:pt x="282" y="652"/>
                    </a:lnTo>
                    <a:lnTo>
                      <a:pt x="282" y="656"/>
                    </a:lnTo>
                    <a:lnTo>
                      <a:pt x="288" y="650"/>
                    </a:lnTo>
                    <a:lnTo>
                      <a:pt x="292" y="646"/>
                    </a:lnTo>
                    <a:lnTo>
                      <a:pt x="290" y="640"/>
                    </a:lnTo>
                    <a:lnTo>
                      <a:pt x="288" y="636"/>
                    </a:lnTo>
                    <a:lnTo>
                      <a:pt x="294" y="630"/>
                    </a:lnTo>
                    <a:lnTo>
                      <a:pt x="298" y="624"/>
                    </a:lnTo>
                    <a:lnTo>
                      <a:pt x="298" y="620"/>
                    </a:lnTo>
                    <a:lnTo>
                      <a:pt x="300" y="618"/>
                    </a:lnTo>
                    <a:lnTo>
                      <a:pt x="304" y="618"/>
                    </a:lnTo>
                    <a:lnTo>
                      <a:pt x="304" y="616"/>
                    </a:lnTo>
                    <a:lnTo>
                      <a:pt x="306" y="614"/>
                    </a:lnTo>
                    <a:lnTo>
                      <a:pt x="308" y="610"/>
                    </a:lnTo>
                    <a:lnTo>
                      <a:pt x="308" y="602"/>
                    </a:lnTo>
                    <a:lnTo>
                      <a:pt x="312" y="604"/>
                    </a:lnTo>
                    <a:lnTo>
                      <a:pt x="312" y="606"/>
                    </a:lnTo>
                    <a:lnTo>
                      <a:pt x="316" y="606"/>
                    </a:lnTo>
                    <a:lnTo>
                      <a:pt x="316" y="604"/>
                    </a:lnTo>
                    <a:lnTo>
                      <a:pt x="318" y="604"/>
                    </a:lnTo>
                    <a:lnTo>
                      <a:pt x="318" y="608"/>
                    </a:lnTo>
                    <a:lnTo>
                      <a:pt x="316" y="614"/>
                    </a:lnTo>
                    <a:lnTo>
                      <a:pt x="314" y="620"/>
                    </a:lnTo>
                    <a:lnTo>
                      <a:pt x="312" y="622"/>
                    </a:lnTo>
                    <a:lnTo>
                      <a:pt x="312" y="626"/>
                    </a:lnTo>
                    <a:lnTo>
                      <a:pt x="314" y="624"/>
                    </a:lnTo>
                    <a:lnTo>
                      <a:pt x="318" y="618"/>
                    </a:lnTo>
                    <a:lnTo>
                      <a:pt x="324" y="602"/>
                    </a:lnTo>
                    <a:lnTo>
                      <a:pt x="326" y="594"/>
                    </a:lnTo>
                    <a:lnTo>
                      <a:pt x="330" y="586"/>
                    </a:lnTo>
                    <a:lnTo>
                      <a:pt x="338" y="576"/>
                    </a:lnTo>
                    <a:lnTo>
                      <a:pt x="340" y="576"/>
                    </a:lnTo>
                    <a:lnTo>
                      <a:pt x="342" y="576"/>
                    </a:lnTo>
                    <a:lnTo>
                      <a:pt x="342" y="572"/>
                    </a:lnTo>
                    <a:lnTo>
                      <a:pt x="342" y="570"/>
                    </a:lnTo>
                    <a:lnTo>
                      <a:pt x="344" y="568"/>
                    </a:lnTo>
                    <a:lnTo>
                      <a:pt x="344" y="564"/>
                    </a:lnTo>
                    <a:lnTo>
                      <a:pt x="344" y="560"/>
                    </a:lnTo>
                    <a:lnTo>
                      <a:pt x="344" y="548"/>
                    </a:lnTo>
                    <a:lnTo>
                      <a:pt x="342" y="546"/>
                    </a:lnTo>
                    <a:lnTo>
                      <a:pt x="342" y="544"/>
                    </a:lnTo>
                    <a:lnTo>
                      <a:pt x="342" y="542"/>
                    </a:lnTo>
                    <a:lnTo>
                      <a:pt x="340" y="542"/>
                    </a:lnTo>
                    <a:lnTo>
                      <a:pt x="340" y="538"/>
                    </a:lnTo>
                    <a:lnTo>
                      <a:pt x="342" y="538"/>
                    </a:lnTo>
                    <a:lnTo>
                      <a:pt x="342" y="536"/>
                    </a:lnTo>
                    <a:lnTo>
                      <a:pt x="342" y="528"/>
                    </a:lnTo>
                    <a:lnTo>
                      <a:pt x="340" y="528"/>
                    </a:lnTo>
                    <a:lnTo>
                      <a:pt x="340" y="526"/>
                    </a:lnTo>
                    <a:lnTo>
                      <a:pt x="342" y="522"/>
                    </a:lnTo>
                    <a:lnTo>
                      <a:pt x="342" y="518"/>
                    </a:lnTo>
                    <a:lnTo>
                      <a:pt x="342" y="516"/>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93" name="Freeform 249">
                <a:extLst>
                  <a:ext uri="{FF2B5EF4-FFF2-40B4-BE49-F238E27FC236}">
                    <a16:creationId xmlns:a16="http://schemas.microsoft.com/office/drawing/2014/main" id="{ABB098EB-752E-480E-B01F-D56AD4F55867}"/>
                  </a:ext>
                </a:extLst>
              </p:cNvPr>
              <p:cNvSpPr>
                <a:spLocks/>
              </p:cNvSpPr>
              <p:nvPr/>
            </p:nvSpPr>
            <p:spPr bwMode="gray">
              <a:xfrm>
                <a:off x="2739030" y="4551902"/>
                <a:ext cx="282819" cy="349250"/>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2"/>
                  <a:gd name="T160" fmla="*/ 0 h 200"/>
                  <a:gd name="T161" fmla="*/ 162 w 162"/>
                  <a:gd name="T162" fmla="*/ 200 h 2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2" h="200">
                    <a:moveTo>
                      <a:pt x="10" y="86"/>
                    </a:moveTo>
                    <a:lnTo>
                      <a:pt x="10" y="86"/>
                    </a:lnTo>
                    <a:lnTo>
                      <a:pt x="12" y="86"/>
                    </a:lnTo>
                    <a:lnTo>
                      <a:pt x="14" y="90"/>
                    </a:lnTo>
                    <a:lnTo>
                      <a:pt x="14" y="92"/>
                    </a:lnTo>
                    <a:lnTo>
                      <a:pt x="12" y="92"/>
                    </a:lnTo>
                    <a:lnTo>
                      <a:pt x="10" y="90"/>
                    </a:lnTo>
                    <a:lnTo>
                      <a:pt x="10" y="94"/>
                    </a:lnTo>
                    <a:lnTo>
                      <a:pt x="12" y="96"/>
                    </a:lnTo>
                    <a:lnTo>
                      <a:pt x="10" y="98"/>
                    </a:lnTo>
                    <a:lnTo>
                      <a:pt x="2" y="110"/>
                    </a:lnTo>
                    <a:lnTo>
                      <a:pt x="4" y="118"/>
                    </a:lnTo>
                    <a:lnTo>
                      <a:pt x="8" y="124"/>
                    </a:lnTo>
                    <a:lnTo>
                      <a:pt x="10" y="130"/>
                    </a:lnTo>
                    <a:lnTo>
                      <a:pt x="12" y="132"/>
                    </a:lnTo>
                    <a:lnTo>
                      <a:pt x="16" y="138"/>
                    </a:lnTo>
                    <a:lnTo>
                      <a:pt x="18" y="140"/>
                    </a:lnTo>
                    <a:lnTo>
                      <a:pt x="22" y="154"/>
                    </a:lnTo>
                    <a:lnTo>
                      <a:pt x="22" y="160"/>
                    </a:lnTo>
                    <a:lnTo>
                      <a:pt x="26" y="166"/>
                    </a:lnTo>
                    <a:lnTo>
                      <a:pt x="26" y="170"/>
                    </a:lnTo>
                    <a:lnTo>
                      <a:pt x="26" y="174"/>
                    </a:lnTo>
                    <a:lnTo>
                      <a:pt x="26" y="180"/>
                    </a:lnTo>
                    <a:lnTo>
                      <a:pt x="28" y="192"/>
                    </a:lnTo>
                    <a:lnTo>
                      <a:pt x="36" y="196"/>
                    </a:lnTo>
                    <a:lnTo>
                      <a:pt x="46" y="188"/>
                    </a:lnTo>
                    <a:lnTo>
                      <a:pt x="50" y="190"/>
                    </a:lnTo>
                    <a:lnTo>
                      <a:pt x="58" y="190"/>
                    </a:lnTo>
                    <a:lnTo>
                      <a:pt x="66" y="190"/>
                    </a:lnTo>
                    <a:lnTo>
                      <a:pt x="72" y="198"/>
                    </a:lnTo>
                    <a:lnTo>
                      <a:pt x="72" y="200"/>
                    </a:lnTo>
                    <a:lnTo>
                      <a:pt x="76" y="192"/>
                    </a:lnTo>
                    <a:lnTo>
                      <a:pt x="78" y="190"/>
                    </a:lnTo>
                    <a:lnTo>
                      <a:pt x="80" y="188"/>
                    </a:lnTo>
                    <a:lnTo>
                      <a:pt x="82" y="190"/>
                    </a:lnTo>
                    <a:lnTo>
                      <a:pt x="100" y="190"/>
                    </a:lnTo>
                    <a:lnTo>
                      <a:pt x="110" y="172"/>
                    </a:lnTo>
                    <a:lnTo>
                      <a:pt x="110" y="166"/>
                    </a:lnTo>
                    <a:lnTo>
                      <a:pt x="112" y="162"/>
                    </a:lnTo>
                    <a:lnTo>
                      <a:pt x="114" y="156"/>
                    </a:lnTo>
                    <a:lnTo>
                      <a:pt x="118" y="150"/>
                    </a:lnTo>
                    <a:lnTo>
                      <a:pt x="122" y="144"/>
                    </a:lnTo>
                    <a:lnTo>
                      <a:pt x="138" y="144"/>
                    </a:lnTo>
                    <a:lnTo>
                      <a:pt x="150" y="146"/>
                    </a:lnTo>
                    <a:lnTo>
                      <a:pt x="156" y="154"/>
                    </a:lnTo>
                    <a:lnTo>
                      <a:pt x="160" y="152"/>
                    </a:lnTo>
                    <a:lnTo>
                      <a:pt x="158" y="148"/>
                    </a:lnTo>
                    <a:lnTo>
                      <a:pt x="160" y="140"/>
                    </a:lnTo>
                    <a:lnTo>
                      <a:pt x="162" y="130"/>
                    </a:lnTo>
                    <a:lnTo>
                      <a:pt x="162" y="126"/>
                    </a:lnTo>
                    <a:lnTo>
                      <a:pt x="162" y="122"/>
                    </a:lnTo>
                    <a:lnTo>
                      <a:pt x="160" y="118"/>
                    </a:lnTo>
                    <a:lnTo>
                      <a:pt x="156" y="114"/>
                    </a:lnTo>
                    <a:lnTo>
                      <a:pt x="152" y="110"/>
                    </a:lnTo>
                    <a:lnTo>
                      <a:pt x="150" y="104"/>
                    </a:lnTo>
                    <a:lnTo>
                      <a:pt x="150" y="98"/>
                    </a:lnTo>
                    <a:lnTo>
                      <a:pt x="152" y="96"/>
                    </a:lnTo>
                    <a:lnTo>
                      <a:pt x="132" y="96"/>
                    </a:lnTo>
                    <a:lnTo>
                      <a:pt x="130" y="94"/>
                    </a:lnTo>
                    <a:lnTo>
                      <a:pt x="128" y="88"/>
                    </a:lnTo>
                    <a:lnTo>
                      <a:pt x="126" y="84"/>
                    </a:lnTo>
                    <a:lnTo>
                      <a:pt x="126" y="78"/>
                    </a:lnTo>
                    <a:lnTo>
                      <a:pt x="132" y="72"/>
                    </a:lnTo>
                    <a:lnTo>
                      <a:pt x="128" y="62"/>
                    </a:lnTo>
                    <a:lnTo>
                      <a:pt x="126" y="56"/>
                    </a:lnTo>
                    <a:lnTo>
                      <a:pt x="124" y="50"/>
                    </a:lnTo>
                    <a:lnTo>
                      <a:pt x="122" y="50"/>
                    </a:lnTo>
                    <a:lnTo>
                      <a:pt x="120" y="50"/>
                    </a:lnTo>
                    <a:lnTo>
                      <a:pt x="114" y="50"/>
                    </a:lnTo>
                    <a:lnTo>
                      <a:pt x="110" y="50"/>
                    </a:lnTo>
                    <a:lnTo>
                      <a:pt x="104" y="48"/>
                    </a:lnTo>
                    <a:lnTo>
                      <a:pt x="102" y="48"/>
                    </a:lnTo>
                    <a:lnTo>
                      <a:pt x="98" y="46"/>
                    </a:lnTo>
                    <a:lnTo>
                      <a:pt x="94" y="42"/>
                    </a:lnTo>
                    <a:lnTo>
                      <a:pt x="92" y="40"/>
                    </a:lnTo>
                    <a:lnTo>
                      <a:pt x="88" y="36"/>
                    </a:lnTo>
                    <a:lnTo>
                      <a:pt x="82" y="32"/>
                    </a:lnTo>
                    <a:lnTo>
                      <a:pt x="78" y="28"/>
                    </a:lnTo>
                    <a:lnTo>
                      <a:pt x="74" y="26"/>
                    </a:lnTo>
                    <a:lnTo>
                      <a:pt x="72" y="26"/>
                    </a:lnTo>
                    <a:lnTo>
                      <a:pt x="70" y="28"/>
                    </a:lnTo>
                    <a:lnTo>
                      <a:pt x="68" y="28"/>
                    </a:lnTo>
                    <a:lnTo>
                      <a:pt x="62" y="26"/>
                    </a:lnTo>
                    <a:lnTo>
                      <a:pt x="58" y="22"/>
                    </a:lnTo>
                    <a:lnTo>
                      <a:pt x="56" y="18"/>
                    </a:lnTo>
                    <a:lnTo>
                      <a:pt x="56" y="14"/>
                    </a:lnTo>
                    <a:lnTo>
                      <a:pt x="58" y="10"/>
                    </a:lnTo>
                    <a:lnTo>
                      <a:pt x="60" y="4"/>
                    </a:lnTo>
                    <a:lnTo>
                      <a:pt x="58" y="0"/>
                    </a:lnTo>
                    <a:lnTo>
                      <a:pt x="52" y="0"/>
                    </a:lnTo>
                    <a:lnTo>
                      <a:pt x="44" y="2"/>
                    </a:lnTo>
                    <a:lnTo>
                      <a:pt x="36" y="4"/>
                    </a:lnTo>
                    <a:lnTo>
                      <a:pt x="30" y="8"/>
                    </a:lnTo>
                    <a:lnTo>
                      <a:pt x="26" y="12"/>
                    </a:lnTo>
                    <a:lnTo>
                      <a:pt x="22" y="20"/>
                    </a:lnTo>
                    <a:lnTo>
                      <a:pt x="16" y="22"/>
                    </a:lnTo>
                    <a:lnTo>
                      <a:pt x="14" y="24"/>
                    </a:lnTo>
                    <a:lnTo>
                      <a:pt x="14" y="26"/>
                    </a:lnTo>
                    <a:lnTo>
                      <a:pt x="14" y="28"/>
                    </a:lnTo>
                    <a:lnTo>
                      <a:pt x="12" y="28"/>
                    </a:lnTo>
                    <a:lnTo>
                      <a:pt x="10" y="30"/>
                    </a:lnTo>
                    <a:lnTo>
                      <a:pt x="6" y="28"/>
                    </a:lnTo>
                    <a:lnTo>
                      <a:pt x="2" y="28"/>
                    </a:lnTo>
                    <a:lnTo>
                      <a:pt x="0" y="28"/>
                    </a:lnTo>
                    <a:lnTo>
                      <a:pt x="8" y="44"/>
                    </a:lnTo>
                    <a:lnTo>
                      <a:pt x="4" y="54"/>
                    </a:lnTo>
                    <a:lnTo>
                      <a:pt x="4" y="60"/>
                    </a:lnTo>
                    <a:lnTo>
                      <a:pt x="4" y="66"/>
                    </a:lnTo>
                    <a:lnTo>
                      <a:pt x="8" y="74"/>
                    </a:lnTo>
                    <a:lnTo>
                      <a:pt x="6" y="76"/>
                    </a:lnTo>
                    <a:lnTo>
                      <a:pt x="6" y="80"/>
                    </a:lnTo>
                    <a:lnTo>
                      <a:pt x="8" y="84"/>
                    </a:lnTo>
                    <a:lnTo>
                      <a:pt x="8" y="86"/>
                    </a:lnTo>
                    <a:lnTo>
                      <a:pt x="10" y="86"/>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94" name="Freeform 260">
                <a:extLst>
                  <a:ext uri="{FF2B5EF4-FFF2-40B4-BE49-F238E27FC236}">
                    <a16:creationId xmlns:a16="http://schemas.microsoft.com/office/drawing/2014/main" id="{D183F010-16D0-4A0E-A749-9691AB3C168A}"/>
                  </a:ext>
                </a:extLst>
              </p:cNvPr>
              <p:cNvSpPr>
                <a:spLocks noEditPoints="1"/>
              </p:cNvSpPr>
              <p:nvPr/>
            </p:nvSpPr>
            <p:spPr bwMode="gray">
              <a:xfrm>
                <a:off x="2661365" y="4880514"/>
                <a:ext cx="455735" cy="1087437"/>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0"/>
                  <a:gd name="T184" fmla="*/ 0 h 622"/>
                  <a:gd name="T185" fmla="*/ 260 w 260"/>
                  <a:gd name="T186" fmla="*/ 622 h 6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0" h="622">
                    <a:moveTo>
                      <a:pt x="144" y="2"/>
                    </a:moveTo>
                    <a:lnTo>
                      <a:pt x="126" y="2"/>
                    </a:lnTo>
                    <a:lnTo>
                      <a:pt x="124" y="0"/>
                    </a:lnTo>
                    <a:lnTo>
                      <a:pt x="122" y="2"/>
                    </a:lnTo>
                    <a:lnTo>
                      <a:pt x="120" y="4"/>
                    </a:lnTo>
                    <a:lnTo>
                      <a:pt x="116" y="12"/>
                    </a:lnTo>
                    <a:lnTo>
                      <a:pt x="116" y="10"/>
                    </a:lnTo>
                    <a:lnTo>
                      <a:pt x="110" y="2"/>
                    </a:lnTo>
                    <a:lnTo>
                      <a:pt x="102" y="2"/>
                    </a:lnTo>
                    <a:lnTo>
                      <a:pt x="94" y="2"/>
                    </a:lnTo>
                    <a:lnTo>
                      <a:pt x="90" y="0"/>
                    </a:lnTo>
                    <a:lnTo>
                      <a:pt x="80" y="8"/>
                    </a:lnTo>
                    <a:lnTo>
                      <a:pt x="80" y="12"/>
                    </a:lnTo>
                    <a:lnTo>
                      <a:pt x="80" y="16"/>
                    </a:lnTo>
                    <a:lnTo>
                      <a:pt x="82" y="18"/>
                    </a:lnTo>
                    <a:lnTo>
                      <a:pt x="86" y="22"/>
                    </a:lnTo>
                    <a:lnTo>
                      <a:pt x="86" y="24"/>
                    </a:lnTo>
                    <a:lnTo>
                      <a:pt x="84" y="32"/>
                    </a:lnTo>
                    <a:lnTo>
                      <a:pt x="84" y="36"/>
                    </a:lnTo>
                    <a:lnTo>
                      <a:pt x="80" y="36"/>
                    </a:lnTo>
                    <a:lnTo>
                      <a:pt x="78" y="38"/>
                    </a:lnTo>
                    <a:lnTo>
                      <a:pt x="76" y="40"/>
                    </a:lnTo>
                    <a:lnTo>
                      <a:pt x="74" y="44"/>
                    </a:lnTo>
                    <a:lnTo>
                      <a:pt x="70" y="46"/>
                    </a:lnTo>
                    <a:lnTo>
                      <a:pt x="68" y="46"/>
                    </a:lnTo>
                    <a:lnTo>
                      <a:pt x="66" y="48"/>
                    </a:lnTo>
                    <a:lnTo>
                      <a:pt x="66" y="64"/>
                    </a:lnTo>
                    <a:lnTo>
                      <a:pt x="70" y="72"/>
                    </a:lnTo>
                    <a:lnTo>
                      <a:pt x="70" y="74"/>
                    </a:lnTo>
                    <a:lnTo>
                      <a:pt x="68" y="76"/>
                    </a:lnTo>
                    <a:lnTo>
                      <a:pt x="66" y="78"/>
                    </a:lnTo>
                    <a:lnTo>
                      <a:pt x="66" y="80"/>
                    </a:lnTo>
                    <a:lnTo>
                      <a:pt x="68" y="84"/>
                    </a:lnTo>
                    <a:lnTo>
                      <a:pt x="68" y="90"/>
                    </a:lnTo>
                    <a:lnTo>
                      <a:pt x="66" y="96"/>
                    </a:lnTo>
                    <a:lnTo>
                      <a:pt x="62" y="102"/>
                    </a:lnTo>
                    <a:lnTo>
                      <a:pt x="60" y="108"/>
                    </a:lnTo>
                    <a:lnTo>
                      <a:pt x="58" y="112"/>
                    </a:lnTo>
                    <a:lnTo>
                      <a:pt x="56" y="114"/>
                    </a:lnTo>
                    <a:lnTo>
                      <a:pt x="54" y="116"/>
                    </a:lnTo>
                    <a:lnTo>
                      <a:pt x="52" y="122"/>
                    </a:lnTo>
                    <a:lnTo>
                      <a:pt x="50" y="140"/>
                    </a:lnTo>
                    <a:lnTo>
                      <a:pt x="50" y="148"/>
                    </a:lnTo>
                    <a:lnTo>
                      <a:pt x="50" y="154"/>
                    </a:lnTo>
                    <a:lnTo>
                      <a:pt x="48" y="158"/>
                    </a:lnTo>
                    <a:lnTo>
                      <a:pt x="46" y="166"/>
                    </a:lnTo>
                    <a:lnTo>
                      <a:pt x="46" y="174"/>
                    </a:lnTo>
                    <a:lnTo>
                      <a:pt x="46" y="180"/>
                    </a:lnTo>
                    <a:lnTo>
                      <a:pt x="46" y="188"/>
                    </a:lnTo>
                    <a:lnTo>
                      <a:pt x="46" y="192"/>
                    </a:lnTo>
                    <a:lnTo>
                      <a:pt x="42" y="198"/>
                    </a:lnTo>
                    <a:lnTo>
                      <a:pt x="44" y="204"/>
                    </a:lnTo>
                    <a:lnTo>
                      <a:pt x="44" y="210"/>
                    </a:lnTo>
                    <a:lnTo>
                      <a:pt x="44" y="216"/>
                    </a:lnTo>
                    <a:lnTo>
                      <a:pt x="42" y="226"/>
                    </a:lnTo>
                    <a:lnTo>
                      <a:pt x="38" y="236"/>
                    </a:lnTo>
                    <a:lnTo>
                      <a:pt x="36" y="242"/>
                    </a:lnTo>
                    <a:lnTo>
                      <a:pt x="38" y="246"/>
                    </a:lnTo>
                    <a:lnTo>
                      <a:pt x="38" y="252"/>
                    </a:lnTo>
                    <a:lnTo>
                      <a:pt x="38" y="256"/>
                    </a:lnTo>
                    <a:lnTo>
                      <a:pt x="36" y="258"/>
                    </a:lnTo>
                    <a:lnTo>
                      <a:pt x="34" y="258"/>
                    </a:lnTo>
                    <a:lnTo>
                      <a:pt x="32" y="258"/>
                    </a:lnTo>
                    <a:lnTo>
                      <a:pt x="30" y="262"/>
                    </a:lnTo>
                    <a:lnTo>
                      <a:pt x="28" y="264"/>
                    </a:lnTo>
                    <a:lnTo>
                      <a:pt x="26" y="268"/>
                    </a:lnTo>
                    <a:lnTo>
                      <a:pt x="26" y="274"/>
                    </a:lnTo>
                    <a:lnTo>
                      <a:pt x="26" y="282"/>
                    </a:lnTo>
                    <a:lnTo>
                      <a:pt x="26" y="284"/>
                    </a:lnTo>
                    <a:lnTo>
                      <a:pt x="28" y="286"/>
                    </a:lnTo>
                    <a:lnTo>
                      <a:pt x="30" y="292"/>
                    </a:lnTo>
                    <a:lnTo>
                      <a:pt x="28" y="294"/>
                    </a:lnTo>
                    <a:lnTo>
                      <a:pt x="26" y="296"/>
                    </a:lnTo>
                    <a:lnTo>
                      <a:pt x="22" y="306"/>
                    </a:lnTo>
                    <a:lnTo>
                      <a:pt x="20" y="316"/>
                    </a:lnTo>
                    <a:lnTo>
                      <a:pt x="20" y="322"/>
                    </a:lnTo>
                    <a:lnTo>
                      <a:pt x="16" y="326"/>
                    </a:lnTo>
                    <a:lnTo>
                      <a:pt x="14" y="330"/>
                    </a:lnTo>
                    <a:lnTo>
                      <a:pt x="16" y="332"/>
                    </a:lnTo>
                    <a:lnTo>
                      <a:pt x="16" y="336"/>
                    </a:lnTo>
                    <a:lnTo>
                      <a:pt x="18" y="340"/>
                    </a:lnTo>
                    <a:lnTo>
                      <a:pt x="16" y="346"/>
                    </a:lnTo>
                    <a:lnTo>
                      <a:pt x="16" y="350"/>
                    </a:lnTo>
                    <a:lnTo>
                      <a:pt x="18" y="352"/>
                    </a:lnTo>
                    <a:lnTo>
                      <a:pt x="22" y="352"/>
                    </a:lnTo>
                    <a:lnTo>
                      <a:pt x="22" y="356"/>
                    </a:lnTo>
                    <a:lnTo>
                      <a:pt x="22" y="368"/>
                    </a:lnTo>
                    <a:lnTo>
                      <a:pt x="18" y="376"/>
                    </a:lnTo>
                    <a:lnTo>
                      <a:pt x="18" y="380"/>
                    </a:lnTo>
                    <a:lnTo>
                      <a:pt x="18" y="382"/>
                    </a:lnTo>
                    <a:lnTo>
                      <a:pt x="20" y="388"/>
                    </a:lnTo>
                    <a:lnTo>
                      <a:pt x="22" y="390"/>
                    </a:lnTo>
                    <a:lnTo>
                      <a:pt x="22" y="392"/>
                    </a:lnTo>
                    <a:lnTo>
                      <a:pt x="22" y="396"/>
                    </a:lnTo>
                    <a:lnTo>
                      <a:pt x="22" y="402"/>
                    </a:lnTo>
                    <a:lnTo>
                      <a:pt x="24" y="408"/>
                    </a:lnTo>
                    <a:lnTo>
                      <a:pt x="24" y="410"/>
                    </a:lnTo>
                    <a:lnTo>
                      <a:pt x="24" y="412"/>
                    </a:lnTo>
                    <a:lnTo>
                      <a:pt x="22" y="416"/>
                    </a:lnTo>
                    <a:lnTo>
                      <a:pt x="22" y="420"/>
                    </a:lnTo>
                    <a:lnTo>
                      <a:pt x="24" y="424"/>
                    </a:lnTo>
                    <a:lnTo>
                      <a:pt x="22" y="426"/>
                    </a:lnTo>
                    <a:lnTo>
                      <a:pt x="20" y="426"/>
                    </a:lnTo>
                    <a:lnTo>
                      <a:pt x="20" y="428"/>
                    </a:lnTo>
                    <a:lnTo>
                      <a:pt x="18" y="432"/>
                    </a:lnTo>
                    <a:lnTo>
                      <a:pt x="18" y="434"/>
                    </a:lnTo>
                    <a:lnTo>
                      <a:pt x="20" y="440"/>
                    </a:lnTo>
                    <a:lnTo>
                      <a:pt x="20" y="444"/>
                    </a:lnTo>
                    <a:lnTo>
                      <a:pt x="20" y="450"/>
                    </a:lnTo>
                    <a:lnTo>
                      <a:pt x="18" y="456"/>
                    </a:lnTo>
                    <a:lnTo>
                      <a:pt x="18" y="462"/>
                    </a:lnTo>
                    <a:lnTo>
                      <a:pt x="18" y="466"/>
                    </a:lnTo>
                    <a:lnTo>
                      <a:pt x="18" y="468"/>
                    </a:lnTo>
                    <a:lnTo>
                      <a:pt x="14" y="472"/>
                    </a:lnTo>
                    <a:lnTo>
                      <a:pt x="12" y="478"/>
                    </a:lnTo>
                    <a:lnTo>
                      <a:pt x="12" y="482"/>
                    </a:lnTo>
                    <a:lnTo>
                      <a:pt x="14" y="488"/>
                    </a:lnTo>
                    <a:lnTo>
                      <a:pt x="10" y="492"/>
                    </a:lnTo>
                    <a:lnTo>
                      <a:pt x="4" y="496"/>
                    </a:lnTo>
                    <a:lnTo>
                      <a:pt x="2" y="498"/>
                    </a:lnTo>
                    <a:lnTo>
                      <a:pt x="2" y="500"/>
                    </a:lnTo>
                    <a:lnTo>
                      <a:pt x="4" y="508"/>
                    </a:lnTo>
                    <a:lnTo>
                      <a:pt x="2" y="512"/>
                    </a:lnTo>
                    <a:lnTo>
                      <a:pt x="0" y="518"/>
                    </a:lnTo>
                    <a:lnTo>
                      <a:pt x="0" y="524"/>
                    </a:lnTo>
                    <a:lnTo>
                      <a:pt x="0" y="530"/>
                    </a:lnTo>
                    <a:lnTo>
                      <a:pt x="0" y="532"/>
                    </a:lnTo>
                    <a:lnTo>
                      <a:pt x="2" y="532"/>
                    </a:lnTo>
                    <a:lnTo>
                      <a:pt x="4" y="532"/>
                    </a:lnTo>
                    <a:lnTo>
                      <a:pt x="6" y="530"/>
                    </a:lnTo>
                    <a:lnTo>
                      <a:pt x="8" y="530"/>
                    </a:lnTo>
                    <a:lnTo>
                      <a:pt x="10" y="530"/>
                    </a:lnTo>
                    <a:lnTo>
                      <a:pt x="12" y="536"/>
                    </a:lnTo>
                    <a:lnTo>
                      <a:pt x="10" y="540"/>
                    </a:lnTo>
                    <a:lnTo>
                      <a:pt x="8" y="542"/>
                    </a:lnTo>
                    <a:lnTo>
                      <a:pt x="8" y="544"/>
                    </a:lnTo>
                    <a:lnTo>
                      <a:pt x="10" y="550"/>
                    </a:lnTo>
                    <a:lnTo>
                      <a:pt x="18" y="558"/>
                    </a:lnTo>
                    <a:lnTo>
                      <a:pt x="22" y="564"/>
                    </a:lnTo>
                    <a:lnTo>
                      <a:pt x="40" y="562"/>
                    </a:lnTo>
                    <a:lnTo>
                      <a:pt x="64" y="564"/>
                    </a:lnTo>
                    <a:lnTo>
                      <a:pt x="60" y="556"/>
                    </a:lnTo>
                    <a:lnTo>
                      <a:pt x="52" y="556"/>
                    </a:lnTo>
                    <a:lnTo>
                      <a:pt x="56" y="554"/>
                    </a:lnTo>
                    <a:lnTo>
                      <a:pt x="56" y="552"/>
                    </a:lnTo>
                    <a:lnTo>
                      <a:pt x="54" y="544"/>
                    </a:lnTo>
                    <a:lnTo>
                      <a:pt x="52" y="546"/>
                    </a:lnTo>
                    <a:lnTo>
                      <a:pt x="52" y="544"/>
                    </a:lnTo>
                    <a:lnTo>
                      <a:pt x="56" y="542"/>
                    </a:lnTo>
                    <a:lnTo>
                      <a:pt x="56" y="536"/>
                    </a:lnTo>
                    <a:lnTo>
                      <a:pt x="58" y="534"/>
                    </a:lnTo>
                    <a:lnTo>
                      <a:pt x="60" y="534"/>
                    </a:lnTo>
                    <a:lnTo>
                      <a:pt x="60" y="532"/>
                    </a:lnTo>
                    <a:lnTo>
                      <a:pt x="64" y="532"/>
                    </a:lnTo>
                    <a:lnTo>
                      <a:pt x="64" y="528"/>
                    </a:lnTo>
                    <a:lnTo>
                      <a:pt x="58" y="524"/>
                    </a:lnTo>
                    <a:lnTo>
                      <a:pt x="58" y="520"/>
                    </a:lnTo>
                    <a:lnTo>
                      <a:pt x="60" y="518"/>
                    </a:lnTo>
                    <a:lnTo>
                      <a:pt x="64" y="520"/>
                    </a:lnTo>
                    <a:lnTo>
                      <a:pt x="66" y="526"/>
                    </a:lnTo>
                    <a:lnTo>
                      <a:pt x="72" y="524"/>
                    </a:lnTo>
                    <a:lnTo>
                      <a:pt x="76" y="520"/>
                    </a:lnTo>
                    <a:lnTo>
                      <a:pt x="76" y="516"/>
                    </a:lnTo>
                    <a:lnTo>
                      <a:pt x="76" y="514"/>
                    </a:lnTo>
                    <a:lnTo>
                      <a:pt x="76" y="512"/>
                    </a:lnTo>
                    <a:lnTo>
                      <a:pt x="74" y="512"/>
                    </a:lnTo>
                    <a:lnTo>
                      <a:pt x="72" y="512"/>
                    </a:lnTo>
                    <a:lnTo>
                      <a:pt x="72" y="510"/>
                    </a:lnTo>
                    <a:lnTo>
                      <a:pt x="76" y="506"/>
                    </a:lnTo>
                    <a:lnTo>
                      <a:pt x="82" y="500"/>
                    </a:lnTo>
                    <a:lnTo>
                      <a:pt x="82" y="496"/>
                    </a:lnTo>
                    <a:lnTo>
                      <a:pt x="86" y="496"/>
                    </a:lnTo>
                    <a:lnTo>
                      <a:pt x="90" y="490"/>
                    </a:lnTo>
                    <a:lnTo>
                      <a:pt x="92" y="490"/>
                    </a:lnTo>
                    <a:lnTo>
                      <a:pt x="102" y="482"/>
                    </a:lnTo>
                    <a:lnTo>
                      <a:pt x="96" y="478"/>
                    </a:lnTo>
                    <a:lnTo>
                      <a:pt x="98" y="476"/>
                    </a:lnTo>
                    <a:lnTo>
                      <a:pt x="98" y="472"/>
                    </a:lnTo>
                    <a:lnTo>
                      <a:pt x="98" y="466"/>
                    </a:lnTo>
                    <a:lnTo>
                      <a:pt x="96" y="464"/>
                    </a:lnTo>
                    <a:lnTo>
                      <a:pt x="92" y="464"/>
                    </a:lnTo>
                    <a:lnTo>
                      <a:pt x="86" y="464"/>
                    </a:lnTo>
                    <a:lnTo>
                      <a:pt x="84" y="458"/>
                    </a:lnTo>
                    <a:lnTo>
                      <a:pt x="80" y="456"/>
                    </a:lnTo>
                    <a:lnTo>
                      <a:pt x="78" y="454"/>
                    </a:lnTo>
                    <a:lnTo>
                      <a:pt x="76" y="450"/>
                    </a:lnTo>
                    <a:lnTo>
                      <a:pt x="74" y="444"/>
                    </a:lnTo>
                    <a:lnTo>
                      <a:pt x="78" y="440"/>
                    </a:lnTo>
                    <a:lnTo>
                      <a:pt x="80" y="440"/>
                    </a:lnTo>
                    <a:lnTo>
                      <a:pt x="80" y="436"/>
                    </a:lnTo>
                    <a:lnTo>
                      <a:pt x="86" y="432"/>
                    </a:lnTo>
                    <a:lnTo>
                      <a:pt x="92" y="424"/>
                    </a:lnTo>
                    <a:lnTo>
                      <a:pt x="96" y="424"/>
                    </a:lnTo>
                    <a:lnTo>
                      <a:pt x="104" y="424"/>
                    </a:lnTo>
                    <a:lnTo>
                      <a:pt x="104" y="418"/>
                    </a:lnTo>
                    <a:lnTo>
                      <a:pt x="102" y="418"/>
                    </a:lnTo>
                    <a:lnTo>
                      <a:pt x="102" y="414"/>
                    </a:lnTo>
                    <a:lnTo>
                      <a:pt x="108" y="410"/>
                    </a:lnTo>
                    <a:lnTo>
                      <a:pt x="108" y="404"/>
                    </a:lnTo>
                    <a:lnTo>
                      <a:pt x="108" y="402"/>
                    </a:lnTo>
                    <a:lnTo>
                      <a:pt x="110" y="392"/>
                    </a:lnTo>
                    <a:lnTo>
                      <a:pt x="112" y="386"/>
                    </a:lnTo>
                    <a:lnTo>
                      <a:pt x="114" y="384"/>
                    </a:lnTo>
                    <a:lnTo>
                      <a:pt x="120" y="382"/>
                    </a:lnTo>
                    <a:lnTo>
                      <a:pt x="120" y="378"/>
                    </a:lnTo>
                    <a:lnTo>
                      <a:pt x="112" y="378"/>
                    </a:lnTo>
                    <a:lnTo>
                      <a:pt x="116" y="376"/>
                    </a:lnTo>
                    <a:lnTo>
                      <a:pt x="122" y="376"/>
                    </a:lnTo>
                    <a:lnTo>
                      <a:pt x="124" y="378"/>
                    </a:lnTo>
                    <a:lnTo>
                      <a:pt x="124" y="382"/>
                    </a:lnTo>
                    <a:lnTo>
                      <a:pt x="128" y="380"/>
                    </a:lnTo>
                    <a:lnTo>
                      <a:pt x="130" y="378"/>
                    </a:lnTo>
                    <a:lnTo>
                      <a:pt x="132" y="376"/>
                    </a:lnTo>
                    <a:lnTo>
                      <a:pt x="132" y="372"/>
                    </a:lnTo>
                    <a:lnTo>
                      <a:pt x="130" y="370"/>
                    </a:lnTo>
                    <a:lnTo>
                      <a:pt x="130" y="368"/>
                    </a:lnTo>
                    <a:lnTo>
                      <a:pt x="124" y="368"/>
                    </a:lnTo>
                    <a:lnTo>
                      <a:pt x="124" y="372"/>
                    </a:lnTo>
                    <a:lnTo>
                      <a:pt x="122" y="372"/>
                    </a:lnTo>
                    <a:lnTo>
                      <a:pt x="116" y="368"/>
                    </a:lnTo>
                    <a:lnTo>
                      <a:pt x="114" y="368"/>
                    </a:lnTo>
                    <a:lnTo>
                      <a:pt x="114" y="358"/>
                    </a:lnTo>
                    <a:lnTo>
                      <a:pt x="108" y="358"/>
                    </a:lnTo>
                    <a:lnTo>
                      <a:pt x="108" y="356"/>
                    </a:lnTo>
                    <a:lnTo>
                      <a:pt x="108" y="354"/>
                    </a:lnTo>
                    <a:lnTo>
                      <a:pt x="110" y="352"/>
                    </a:lnTo>
                    <a:lnTo>
                      <a:pt x="110" y="350"/>
                    </a:lnTo>
                    <a:lnTo>
                      <a:pt x="112" y="344"/>
                    </a:lnTo>
                    <a:lnTo>
                      <a:pt x="114" y="342"/>
                    </a:lnTo>
                    <a:lnTo>
                      <a:pt x="116" y="342"/>
                    </a:lnTo>
                    <a:lnTo>
                      <a:pt x="116" y="344"/>
                    </a:lnTo>
                    <a:lnTo>
                      <a:pt x="120" y="344"/>
                    </a:lnTo>
                    <a:lnTo>
                      <a:pt x="124" y="350"/>
                    </a:lnTo>
                    <a:lnTo>
                      <a:pt x="126" y="352"/>
                    </a:lnTo>
                    <a:lnTo>
                      <a:pt x="132" y="352"/>
                    </a:lnTo>
                    <a:lnTo>
                      <a:pt x="136" y="350"/>
                    </a:lnTo>
                    <a:lnTo>
                      <a:pt x="140" y="348"/>
                    </a:lnTo>
                    <a:lnTo>
                      <a:pt x="140" y="346"/>
                    </a:lnTo>
                    <a:lnTo>
                      <a:pt x="144" y="344"/>
                    </a:lnTo>
                    <a:lnTo>
                      <a:pt x="146" y="342"/>
                    </a:lnTo>
                    <a:lnTo>
                      <a:pt x="148" y="336"/>
                    </a:lnTo>
                    <a:lnTo>
                      <a:pt x="146" y="332"/>
                    </a:lnTo>
                    <a:lnTo>
                      <a:pt x="146" y="326"/>
                    </a:lnTo>
                    <a:lnTo>
                      <a:pt x="146" y="322"/>
                    </a:lnTo>
                    <a:lnTo>
                      <a:pt x="148" y="322"/>
                    </a:lnTo>
                    <a:lnTo>
                      <a:pt x="150" y="314"/>
                    </a:lnTo>
                    <a:lnTo>
                      <a:pt x="146" y="314"/>
                    </a:lnTo>
                    <a:lnTo>
                      <a:pt x="144" y="310"/>
                    </a:lnTo>
                    <a:lnTo>
                      <a:pt x="144" y="306"/>
                    </a:lnTo>
                    <a:lnTo>
                      <a:pt x="144" y="304"/>
                    </a:lnTo>
                    <a:lnTo>
                      <a:pt x="146" y="304"/>
                    </a:lnTo>
                    <a:lnTo>
                      <a:pt x="148" y="304"/>
                    </a:lnTo>
                    <a:lnTo>
                      <a:pt x="152" y="310"/>
                    </a:lnTo>
                    <a:lnTo>
                      <a:pt x="154" y="308"/>
                    </a:lnTo>
                    <a:lnTo>
                      <a:pt x="152" y="306"/>
                    </a:lnTo>
                    <a:lnTo>
                      <a:pt x="156" y="306"/>
                    </a:lnTo>
                    <a:lnTo>
                      <a:pt x="166" y="304"/>
                    </a:lnTo>
                    <a:lnTo>
                      <a:pt x="178" y="304"/>
                    </a:lnTo>
                    <a:lnTo>
                      <a:pt x="188" y="302"/>
                    </a:lnTo>
                    <a:lnTo>
                      <a:pt x="188" y="300"/>
                    </a:lnTo>
                    <a:lnTo>
                      <a:pt x="196" y="298"/>
                    </a:lnTo>
                    <a:lnTo>
                      <a:pt x="202" y="296"/>
                    </a:lnTo>
                    <a:lnTo>
                      <a:pt x="208" y="290"/>
                    </a:lnTo>
                    <a:lnTo>
                      <a:pt x="214" y="280"/>
                    </a:lnTo>
                    <a:lnTo>
                      <a:pt x="220" y="270"/>
                    </a:lnTo>
                    <a:lnTo>
                      <a:pt x="222" y="260"/>
                    </a:lnTo>
                    <a:lnTo>
                      <a:pt x="222" y="258"/>
                    </a:lnTo>
                    <a:lnTo>
                      <a:pt x="218" y="258"/>
                    </a:lnTo>
                    <a:lnTo>
                      <a:pt x="214" y="256"/>
                    </a:lnTo>
                    <a:lnTo>
                      <a:pt x="214" y="254"/>
                    </a:lnTo>
                    <a:lnTo>
                      <a:pt x="212" y="254"/>
                    </a:lnTo>
                    <a:lnTo>
                      <a:pt x="210" y="250"/>
                    </a:lnTo>
                    <a:lnTo>
                      <a:pt x="210" y="246"/>
                    </a:lnTo>
                    <a:lnTo>
                      <a:pt x="214" y="244"/>
                    </a:lnTo>
                    <a:lnTo>
                      <a:pt x="214" y="242"/>
                    </a:lnTo>
                    <a:lnTo>
                      <a:pt x="208" y="234"/>
                    </a:lnTo>
                    <a:lnTo>
                      <a:pt x="204" y="232"/>
                    </a:lnTo>
                    <a:lnTo>
                      <a:pt x="200" y="230"/>
                    </a:lnTo>
                    <a:lnTo>
                      <a:pt x="200" y="226"/>
                    </a:lnTo>
                    <a:lnTo>
                      <a:pt x="198" y="224"/>
                    </a:lnTo>
                    <a:lnTo>
                      <a:pt x="196" y="222"/>
                    </a:lnTo>
                    <a:lnTo>
                      <a:pt x="196" y="220"/>
                    </a:lnTo>
                    <a:lnTo>
                      <a:pt x="196" y="218"/>
                    </a:lnTo>
                    <a:lnTo>
                      <a:pt x="196" y="216"/>
                    </a:lnTo>
                    <a:lnTo>
                      <a:pt x="194" y="212"/>
                    </a:lnTo>
                    <a:lnTo>
                      <a:pt x="198" y="212"/>
                    </a:lnTo>
                    <a:lnTo>
                      <a:pt x="198" y="196"/>
                    </a:lnTo>
                    <a:lnTo>
                      <a:pt x="200" y="196"/>
                    </a:lnTo>
                    <a:lnTo>
                      <a:pt x="200" y="192"/>
                    </a:lnTo>
                    <a:lnTo>
                      <a:pt x="200" y="184"/>
                    </a:lnTo>
                    <a:lnTo>
                      <a:pt x="200" y="182"/>
                    </a:lnTo>
                    <a:lnTo>
                      <a:pt x="202" y="180"/>
                    </a:lnTo>
                    <a:lnTo>
                      <a:pt x="202" y="176"/>
                    </a:lnTo>
                    <a:lnTo>
                      <a:pt x="202" y="172"/>
                    </a:lnTo>
                    <a:lnTo>
                      <a:pt x="204" y="170"/>
                    </a:lnTo>
                    <a:lnTo>
                      <a:pt x="204" y="168"/>
                    </a:lnTo>
                    <a:lnTo>
                      <a:pt x="206" y="166"/>
                    </a:lnTo>
                    <a:lnTo>
                      <a:pt x="206" y="162"/>
                    </a:lnTo>
                    <a:lnTo>
                      <a:pt x="206" y="158"/>
                    </a:lnTo>
                    <a:lnTo>
                      <a:pt x="208" y="154"/>
                    </a:lnTo>
                    <a:lnTo>
                      <a:pt x="210" y="152"/>
                    </a:lnTo>
                    <a:lnTo>
                      <a:pt x="212" y="142"/>
                    </a:lnTo>
                    <a:lnTo>
                      <a:pt x="214" y="138"/>
                    </a:lnTo>
                    <a:lnTo>
                      <a:pt x="218" y="136"/>
                    </a:lnTo>
                    <a:lnTo>
                      <a:pt x="222" y="130"/>
                    </a:lnTo>
                    <a:lnTo>
                      <a:pt x="222" y="124"/>
                    </a:lnTo>
                    <a:lnTo>
                      <a:pt x="224" y="122"/>
                    </a:lnTo>
                    <a:lnTo>
                      <a:pt x="226" y="120"/>
                    </a:lnTo>
                    <a:lnTo>
                      <a:pt x="230" y="120"/>
                    </a:lnTo>
                    <a:lnTo>
                      <a:pt x="232" y="118"/>
                    </a:lnTo>
                    <a:lnTo>
                      <a:pt x="234" y="114"/>
                    </a:lnTo>
                    <a:lnTo>
                      <a:pt x="238" y="112"/>
                    </a:lnTo>
                    <a:lnTo>
                      <a:pt x="242" y="108"/>
                    </a:lnTo>
                    <a:lnTo>
                      <a:pt x="244" y="102"/>
                    </a:lnTo>
                    <a:lnTo>
                      <a:pt x="246" y="100"/>
                    </a:lnTo>
                    <a:lnTo>
                      <a:pt x="250" y="100"/>
                    </a:lnTo>
                    <a:lnTo>
                      <a:pt x="254" y="98"/>
                    </a:lnTo>
                    <a:lnTo>
                      <a:pt x="256" y="98"/>
                    </a:lnTo>
                    <a:lnTo>
                      <a:pt x="260" y="94"/>
                    </a:lnTo>
                    <a:lnTo>
                      <a:pt x="260" y="92"/>
                    </a:lnTo>
                    <a:lnTo>
                      <a:pt x="260" y="78"/>
                    </a:lnTo>
                    <a:lnTo>
                      <a:pt x="260" y="66"/>
                    </a:lnTo>
                    <a:lnTo>
                      <a:pt x="256" y="66"/>
                    </a:lnTo>
                    <a:lnTo>
                      <a:pt x="254" y="66"/>
                    </a:lnTo>
                    <a:lnTo>
                      <a:pt x="254" y="68"/>
                    </a:lnTo>
                    <a:lnTo>
                      <a:pt x="252" y="68"/>
                    </a:lnTo>
                    <a:lnTo>
                      <a:pt x="248" y="66"/>
                    </a:lnTo>
                    <a:lnTo>
                      <a:pt x="246" y="68"/>
                    </a:lnTo>
                    <a:lnTo>
                      <a:pt x="244" y="70"/>
                    </a:lnTo>
                    <a:lnTo>
                      <a:pt x="246" y="72"/>
                    </a:lnTo>
                    <a:lnTo>
                      <a:pt x="246" y="80"/>
                    </a:lnTo>
                    <a:lnTo>
                      <a:pt x="246" y="84"/>
                    </a:lnTo>
                    <a:lnTo>
                      <a:pt x="244" y="86"/>
                    </a:lnTo>
                    <a:lnTo>
                      <a:pt x="240" y="90"/>
                    </a:lnTo>
                    <a:lnTo>
                      <a:pt x="238" y="94"/>
                    </a:lnTo>
                    <a:lnTo>
                      <a:pt x="236" y="96"/>
                    </a:lnTo>
                    <a:lnTo>
                      <a:pt x="234" y="98"/>
                    </a:lnTo>
                    <a:lnTo>
                      <a:pt x="228" y="98"/>
                    </a:lnTo>
                    <a:lnTo>
                      <a:pt x="222" y="96"/>
                    </a:lnTo>
                    <a:lnTo>
                      <a:pt x="216" y="96"/>
                    </a:lnTo>
                    <a:lnTo>
                      <a:pt x="212" y="98"/>
                    </a:lnTo>
                    <a:lnTo>
                      <a:pt x="208" y="96"/>
                    </a:lnTo>
                    <a:lnTo>
                      <a:pt x="202" y="94"/>
                    </a:lnTo>
                    <a:lnTo>
                      <a:pt x="198" y="94"/>
                    </a:lnTo>
                    <a:lnTo>
                      <a:pt x="194" y="94"/>
                    </a:lnTo>
                    <a:lnTo>
                      <a:pt x="194" y="90"/>
                    </a:lnTo>
                    <a:lnTo>
                      <a:pt x="198" y="84"/>
                    </a:lnTo>
                    <a:lnTo>
                      <a:pt x="202" y="78"/>
                    </a:lnTo>
                    <a:lnTo>
                      <a:pt x="204" y="70"/>
                    </a:lnTo>
                    <a:lnTo>
                      <a:pt x="206" y="64"/>
                    </a:lnTo>
                    <a:lnTo>
                      <a:pt x="206" y="62"/>
                    </a:lnTo>
                    <a:lnTo>
                      <a:pt x="204" y="60"/>
                    </a:lnTo>
                    <a:lnTo>
                      <a:pt x="198" y="54"/>
                    </a:lnTo>
                    <a:lnTo>
                      <a:pt x="196" y="50"/>
                    </a:lnTo>
                    <a:lnTo>
                      <a:pt x="190" y="46"/>
                    </a:lnTo>
                    <a:lnTo>
                      <a:pt x="188" y="44"/>
                    </a:lnTo>
                    <a:lnTo>
                      <a:pt x="186" y="44"/>
                    </a:lnTo>
                    <a:lnTo>
                      <a:pt x="184" y="44"/>
                    </a:lnTo>
                    <a:lnTo>
                      <a:pt x="180" y="42"/>
                    </a:lnTo>
                    <a:lnTo>
                      <a:pt x="178" y="36"/>
                    </a:lnTo>
                    <a:lnTo>
                      <a:pt x="172" y="36"/>
                    </a:lnTo>
                    <a:lnTo>
                      <a:pt x="170" y="34"/>
                    </a:lnTo>
                    <a:lnTo>
                      <a:pt x="170" y="32"/>
                    </a:lnTo>
                    <a:lnTo>
                      <a:pt x="166" y="26"/>
                    </a:lnTo>
                    <a:lnTo>
                      <a:pt x="164" y="22"/>
                    </a:lnTo>
                    <a:lnTo>
                      <a:pt x="162" y="20"/>
                    </a:lnTo>
                    <a:lnTo>
                      <a:pt x="158" y="18"/>
                    </a:lnTo>
                    <a:lnTo>
                      <a:pt x="156" y="14"/>
                    </a:lnTo>
                    <a:lnTo>
                      <a:pt x="152" y="8"/>
                    </a:lnTo>
                    <a:lnTo>
                      <a:pt x="144" y="2"/>
                    </a:lnTo>
                    <a:close/>
                    <a:moveTo>
                      <a:pt x="72" y="618"/>
                    </a:moveTo>
                    <a:lnTo>
                      <a:pt x="74" y="618"/>
                    </a:lnTo>
                    <a:lnTo>
                      <a:pt x="78" y="618"/>
                    </a:lnTo>
                    <a:lnTo>
                      <a:pt x="80" y="620"/>
                    </a:lnTo>
                    <a:lnTo>
                      <a:pt x="80" y="618"/>
                    </a:lnTo>
                    <a:lnTo>
                      <a:pt x="84" y="622"/>
                    </a:lnTo>
                    <a:lnTo>
                      <a:pt x="92" y="620"/>
                    </a:lnTo>
                    <a:lnTo>
                      <a:pt x="92" y="618"/>
                    </a:lnTo>
                    <a:lnTo>
                      <a:pt x="102" y="618"/>
                    </a:lnTo>
                    <a:lnTo>
                      <a:pt x="102" y="620"/>
                    </a:lnTo>
                    <a:lnTo>
                      <a:pt x="106" y="616"/>
                    </a:lnTo>
                    <a:lnTo>
                      <a:pt x="92" y="612"/>
                    </a:lnTo>
                    <a:lnTo>
                      <a:pt x="86" y="612"/>
                    </a:lnTo>
                    <a:lnTo>
                      <a:pt x="82" y="608"/>
                    </a:lnTo>
                    <a:lnTo>
                      <a:pt x="80" y="606"/>
                    </a:lnTo>
                    <a:lnTo>
                      <a:pt x="76" y="604"/>
                    </a:lnTo>
                    <a:lnTo>
                      <a:pt x="74" y="600"/>
                    </a:lnTo>
                    <a:lnTo>
                      <a:pt x="74" y="598"/>
                    </a:lnTo>
                    <a:lnTo>
                      <a:pt x="70" y="596"/>
                    </a:lnTo>
                    <a:lnTo>
                      <a:pt x="66" y="592"/>
                    </a:lnTo>
                    <a:lnTo>
                      <a:pt x="62" y="586"/>
                    </a:lnTo>
                    <a:lnTo>
                      <a:pt x="62" y="584"/>
                    </a:lnTo>
                    <a:lnTo>
                      <a:pt x="64" y="582"/>
                    </a:lnTo>
                    <a:lnTo>
                      <a:pt x="60" y="574"/>
                    </a:lnTo>
                    <a:lnTo>
                      <a:pt x="58" y="574"/>
                    </a:lnTo>
                    <a:lnTo>
                      <a:pt x="62" y="620"/>
                    </a:lnTo>
                    <a:lnTo>
                      <a:pt x="66" y="618"/>
                    </a:lnTo>
                    <a:lnTo>
                      <a:pt x="72" y="618"/>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sp>
          <p:nvSpPr>
            <p:cNvPr id="4896" name="Freeform 13">
              <a:extLst>
                <a:ext uri="{FF2B5EF4-FFF2-40B4-BE49-F238E27FC236}">
                  <a16:creationId xmlns:a16="http://schemas.microsoft.com/office/drawing/2014/main" id="{3388F29A-E6A0-428C-8D6B-412389A6735F}"/>
                </a:ext>
              </a:extLst>
            </p:cNvPr>
            <p:cNvSpPr>
              <a:spLocks/>
            </p:cNvSpPr>
            <p:nvPr/>
          </p:nvSpPr>
          <p:spPr bwMode="gray">
            <a:xfrm rot="648302">
              <a:off x="2059276" y="3265315"/>
              <a:ext cx="5937" cy="14470"/>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2" y="0"/>
                  </a:moveTo>
                  <a:lnTo>
                    <a:pt x="2" y="0"/>
                  </a:lnTo>
                  <a:lnTo>
                    <a:pt x="4" y="0"/>
                  </a:lnTo>
                  <a:lnTo>
                    <a:pt x="4" y="2"/>
                  </a:lnTo>
                  <a:lnTo>
                    <a:pt x="0" y="8"/>
                  </a:lnTo>
                  <a:lnTo>
                    <a:pt x="0" y="6"/>
                  </a:lnTo>
                  <a:lnTo>
                    <a:pt x="0" y="4"/>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897" name="Freeform 14">
              <a:extLst>
                <a:ext uri="{FF2B5EF4-FFF2-40B4-BE49-F238E27FC236}">
                  <a16:creationId xmlns:a16="http://schemas.microsoft.com/office/drawing/2014/main" id="{3D93E403-F172-47B0-952F-3A5527B0BF9B}"/>
                </a:ext>
              </a:extLst>
            </p:cNvPr>
            <p:cNvSpPr>
              <a:spLocks/>
            </p:cNvSpPr>
            <p:nvPr/>
          </p:nvSpPr>
          <p:spPr bwMode="gray">
            <a:xfrm rot="648302">
              <a:off x="1170140" y="2890226"/>
              <a:ext cx="13356" cy="28940"/>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
                <a:gd name="T76" fmla="*/ 0 h 16"/>
                <a:gd name="T77" fmla="*/ 8 w 8"/>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 h="16">
                  <a:moveTo>
                    <a:pt x="6" y="0"/>
                  </a:moveTo>
                  <a:lnTo>
                    <a:pt x="6" y="0"/>
                  </a:lnTo>
                  <a:lnTo>
                    <a:pt x="6" y="2"/>
                  </a:lnTo>
                  <a:lnTo>
                    <a:pt x="8" y="4"/>
                  </a:lnTo>
                  <a:lnTo>
                    <a:pt x="4" y="8"/>
                  </a:lnTo>
                  <a:lnTo>
                    <a:pt x="4" y="16"/>
                  </a:lnTo>
                  <a:lnTo>
                    <a:pt x="2" y="14"/>
                  </a:lnTo>
                  <a:lnTo>
                    <a:pt x="2" y="12"/>
                  </a:lnTo>
                  <a:lnTo>
                    <a:pt x="0" y="8"/>
                  </a:lnTo>
                  <a:lnTo>
                    <a:pt x="0" y="6"/>
                  </a:lnTo>
                  <a:lnTo>
                    <a:pt x="2" y="4"/>
                  </a:lnTo>
                  <a:lnTo>
                    <a:pt x="2" y="6"/>
                  </a:lnTo>
                  <a:lnTo>
                    <a:pt x="4" y="4"/>
                  </a:lnTo>
                  <a:lnTo>
                    <a:pt x="2" y="2"/>
                  </a:lnTo>
                  <a:lnTo>
                    <a:pt x="4" y="2"/>
                  </a:lnTo>
                  <a:lnTo>
                    <a:pt x="6"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898" name="Freeform 15">
              <a:extLst>
                <a:ext uri="{FF2B5EF4-FFF2-40B4-BE49-F238E27FC236}">
                  <a16:creationId xmlns:a16="http://schemas.microsoft.com/office/drawing/2014/main" id="{2DFF128C-C4CD-402E-9F43-C98B4EB05F4C}"/>
                </a:ext>
              </a:extLst>
            </p:cNvPr>
            <p:cNvSpPr>
              <a:spLocks/>
            </p:cNvSpPr>
            <p:nvPr/>
          </p:nvSpPr>
          <p:spPr bwMode="gray">
            <a:xfrm rot="648302">
              <a:off x="1157603" y="2923429"/>
              <a:ext cx="10389" cy="14470"/>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8"/>
                <a:gd name="T41" fmla="*/ 6 w 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8">
                  <a:moveTo>
                    <a:pt x="6" y="0"/>
                  </a:moveTo>
                  <a:lnTo>
                    <a:pt x="6" y="0"/>
                  </a:lnTo>
                  <a:lnTo>
                    <a:pt x="6" y="2"/>
                  </a:lnTo>
                  <a:lnTo>
                    <a:pt x="2" y="4"/>
                  </a:lnTo>
                  <a:lnTo>
                    <a:pt x="2" y="8"/>
                  </a:lnTo>
                  <a:lnTo>
                    <a:pt x="0" y="6"/>
                  </a:lnTo>
                  <a:lnTo>
                    <a:pt x="0" y="4"/>
                  </a:lnTo>
                  <a:lnTo>
                    <a:pt x="6"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899" name="Freeform 16">
              <a:extLst>
                <a:ext uri="{FF2B5EF4-FFF2-40B4-BE49-F238E27FC236}">
                  <a16:creationId xmlns:a16="http://schemas.microsoft.com/office/drawing/2014/main" id="{83227B1A-91E4-4A1D-ACF6-1A206091FDF3}"/>
                </a:ext>
              </a:extLst>
            </p:cNvPr>
            <p:cNvSpPr>
              <a:spLocks/>
            </p:cNvSpPr>
            <p:nvPr/>
          </p:nvSpPr>
          <p:spPr bwMode="gray">
            <a:xfrm rot="648302">
              <a:off x="2298219" y="3238645"/>
              <a:ext cx="2968" cy="17685"/>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2" y="0"/>
                  </a:moveTo>
                  <a:lnTo>
                    <a:pt x="2" y="0"/>
                  </a:lnTo>
                  <a:lnTo>
                    <a:pt x="2" y="10"/>
                  </a:lnTo>
                  <a:lnTo>
                    <a:pt x="0" y="10"/>
                  </a:lnTo>
                  <a:lnTo>
                    <a:pt x="0" y="4"/>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0" name="Freeform 17">
              <a:extLst>
                <a:ext uri="{FF2B5EF4-FFF2-40B4-BE49-F238E27FC236}">
                  <a16:creationId xmlns:a16="http://schemas.microsoft.com/office/drawing/2014/main" id="{78F23311-23D2-4569-845B-EAFE6A6B7E7C}"/>
                </a:ext>
              </a:extLst>
            </p:cNvPr>
            <p:cNvSpPr>
              <a:spLocks/>
            </p:cNvSpPr>
            <p:nvPr/>
          </p:nvSpPr>
          <p:spPr bwMode="gray">
            <a:xfrm rot="648302">
              <a:off x="1780101" y="3629244"/>
              <a:ext cx="4452" cy="11254"/>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6"/>
                <a:gd name="T32" fmla="*/ 2 w 2"/>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6">
                  <a:moveTo>
                    <a:pt x="0" y="0"/>
                  </a:moveTo>
                  <a:lnTo>
                    <a:pt x="0" y="0"/>
                  </a:lnTo>
                  <a:lnTo>
                    <a:pt x="2" y="4"/>
                  </a:lnTo>
                  <a:lnTo>
                    <a:pt x="0" y="4"/>
                  </a:lnTo>
                  <a:lnTo>
                    <a:pt x="0" y="6"/>
                  </a:lnTo>
                  <a:lnTo>
                    <a:pt x="0" y="2"/>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1" name="Freeform 18">
              <a:extLst>
                <a:ext uri="{FF2B5EF4-FFF2-40B4-BE49-F238E27FC236}">
                  <a16:creationId xmlns:a16="http://schemas.microsoft.com/office/drawing/2014/main" id="{190F6261-DCB9-4CEC-83CB-671AF51EAE13}"/>
                </a:ext>
              </a:extLst>
            </p:cNvPr>
            <p:cNvSpPr>
              <a:spLocks/>
            </p:cNvSpPr>
            <p:nvPr/>
          </p:nvSpPr>
          <p:spPr bwMode="gray">
            <a:xfrm rot="648302">
              <a:off x="1782378" y="3644210"/>
              <a:ext cx="2968" cy="4823"/>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2"/>
                  </a:lnTo>
                  <a:lnTo>
                    <a:pt x="0" y="2"/>
                  </a:lnTo>
                  <a:lnTo>
                    <a:pt x="0" y="0"/>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2" name="Freeform 112">
              <a:extLst>
                <a:ext uri="{FF2B5EF4-FFF2-40B4-BE49-F238E27FC236}">
                  <a16:creationId xmlns:a16="http://schemas.microsoft.com/office/drawing/2014/main" id="{C5D5FEA5-DB30-4C99-AF4A-13CD43744CD4}"/>
                </a:ext>
              </a:extLst>
            </p:cNvPr>
            <p:cNvSpPr>
              <a:spLocks/>
            </p:cNvSpPr>
            <p:nvPr/>
          </p:nvSpPr>
          <p:spPr bwMode="gray">
            <a:xfrm rot="648302">
              <a:off x="1850959" y="4291478"/>
              <a:ext cx="140989" cy="78780"/>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0"/>
                <a:gd name="T160" fmla="*/ 0 h 44"/>
                <a:gd name="T161" fmla="*/ 80 w 80"/>
                <a:gd name="T162" fmla="*/ 44 h 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0" h="44">
                  <a:moveTo>
                    <a:pt x="78" y="20"/>
                  </a:moveTo>
                  <a:lnTo>
                    <a:pt x="78" y="20"/>
                  </a:lnTo>
                  <a:lnTo>
                    <a:pt x="72" y="18"/>
                  </a:lnTo>
                  <a:lnTo>
                    <a:pt x="72" y="14"/>
                  </a:lnTo>
                  <a:lnTo>
                    <a:pt x="64" y="10"/>
                  </a:lnTo>
                  <a:lnTo>
                    <a:pt x="66" y="4"/>
                  </a:lnTo>
                  <a:lnTo>
                    <a:pt x="64" y="6"/>
                  </a:lnTo>
                  <a:lnTo>
                    <a:pt x="64" y="2"/>
                  </a:lnTo>
                  <a:lnTo>
                    <a:pt x="56" y="0"/>
                  </a:lnTo>
                  <a:lnTo>
                    <a:pt x="48" y="0"/>
                  </a:lnTo>
                  <a:lnTo>
                    <a:pt x="46" y="4"/>
                  </a:lnTo>
                  <a:lnTo>
                    <a:pt x="40" y="6"/>
                  </a:lnTo>
                  <a:lnTo>
                    <a:pt x="34" y="8"/>
                  </a:lnTo>
                  <a:lnTo>
                    <a:pt x="30" y="10"/>
                  </a:lnTo>
                  <a:lnTo>
                    <a:pt x="26" y="12"/>
                  </a:lnTo>
                  <a:lnTo>
                    <a:pt x="24" y="12"/>
                  </a:lnTo>
                  <a:lnTo>
                    <a:pt x="22" y="10"/>
                  </a:lnTo>
                  <a:lnTo>
                    <a:pt x="18" y="8"/>
                  </a:lnTo>
                  <a:lnTo>
                    <a:pt x="12" y="10"/>
                  </a:lnTo>
                  <a:lnTo>
                    <a:pt x="10" y="6"/>
                  </a:lnTo>
                  <a:lnTo>
                    <a:pt x="10" y="4"/>
                  </a:lnTo>
                  <a:lnTo>
                    <a:pt x="10" y="0"/>
                  </a:lnTo>
                  <a:lnTo>
                    <a:pt x="4" y="0"/>
                  </a:lnTo>
                  <a:lnTo>
                    <a:pt x="2" y="0"/>
                  </a:lnTo>
                  <a:lnTo>
                    <a:pt x="2" y="2"/>
                  </a:lnTo>
                  <a:lnTo>
                    <a:pt x="2" y="6"/>
                  </a:lnTo>
                  <a:lnTo>
                    <a:pt x="0" y="10"/>
                  </a:lnTo>
                  <a:lnTo>
                    <a:pt x="2" y="12"/>
                  </a:lnTo>
                  <a:lnTo>
                    <a:pt x="4" y="14"/>
                  </a:lnTo>
                  <a:lnTo>
                    <a:pt x="4" y="16"/>
                  </a:lnTo>
                  <a:lnTo>
                    <a:pt x="2" y="22"/>
                  </a:lnTo>
                  <a:lnTo>
                    <a:pt x="6" y="20"/>
                  </a:lnTo>
                  <a:lnTo>
                    <a:pt x="10" y="20"/>
                  </a:lnTo>
                  <a:lnTo>
                    <a:pt x="10" y="22"/>
                  </a:lnTo>
                  <a:lnTo>
                    <a:pt x="16" y="22"/>
                  </a:lnTo>
                  <a:lnTo>
                    <a:pt x="18" y="22"/>
                  </a:lnTo>
                  <a:lnTo>
                    <a:pt x="22" y="30"/>
                  </a:lnTo>
                  <a:lnTo>
                    <a:pt x="28" y="30"/>
                  </a:lnTo>
                  <a:lnTo>
                    <a:pt x="32" y="38"/>
                  </a:lnTo>
                  <a:lnTo>
                    <a:pt x="36" y="36"/>
                  </a:lnTo>
                  <a:lnTo>
                    <a:pt x="38" y="32"/>
                  </a:lnTo>
                  <a:lnTo>
                    <a:pt x="42" y="32"/>
                  </a:lnTo>
                  <a:lnTo>
                    <a:pt x="42" y="28"/>
                  </a:lnTo>
                  <a:lnTo>
                    <a:pt x="38" y="24"/>
                  </a:lnTo>
                  <a:lnTo>
                    <a:pt x="36" y="24"/>
                  </a:lnTo>
                  <a:lnTo>
                    <a:pt x="34" y="22"/>
                  </a:lnTo>
                  <a:lnTo>
                    <a:pt x="42" y="20"/>
                  </a:lnTo>
                  <a:lnTo>
                    <a:pt x="46" y="16"/>
                  </a:lnTo>
                  <a:lnTo>
                    <a:pt x="50" y="10"/>
                  </a:lnTo>
                  <a:lnTo>
                    <a:pt x="54" y="12"/>
                  </a:lnTo>
                  <a:lnTo>
                    <a:pt x="58" y="18"/>
                  </a:lnTo>
                  <a:lnTo>
                    <a:pt x="60" y="24"/>
                  </a:lnTo>
                  <a:lnTo>
                    <a:pt x="68" y="22"/>
                  </a:lnTo>
                  <a:lnTo>
                    <a:pt x="68" y="26"/>
                  </a:lnTo>
                  <a:lnTo>
                    <a:pt x="66" y="28"/>
                  </a:lnTo>
                  <a:lnTo>
                    <a:pt x="64" y="30"/>
                  </a:lnTo>
                  <a:lnTo>
                    <a:pt x="62" y="36"/>
                  </a:lnTo>
                  <a:lnTo>
                    <a:pt x="64" y="40"/>
                  </a:lnTo>
                  <a:lnTo>
                    <a:pt x="68" y="42"/>
                  </a:lnTo>
                  <a:lnTo>
                    <a:pt x="74" y="44"/>
                  </a:lnTo>
                  <a:lnTo>
                    <a:pt x="76" y="40"/>
                  </a:lnTo>
                  <a:lnTo>
                    <a:pt x="78" y="38"/>
                  </a:lnTo>
                  <a:lnTo>
                    <a:pt x="80" y="32"/>
                  </a:lnTo>
                  <a:lnTo>
                    <a:pt x="78" y="28"/>
                  </a:lnTo>
                  <a:lnTo>
                    <a:pt x="76" y="26"/>
                  </a:lnTo>
                  <a:lnTo>
                    <a:pt x="78" y="2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3" name="Freeform 206">
              <a:extLst>
                <a:ext uri="{FF2B5EF4-FFF2-40B4-BE49-F238E27FC236}">
                  <a16:creationId xmlns:a16="http://schemas.microsoft.com/office/drawing/2014/main" id="{F3C6C49A-A5A8-4649-8FF5-B7D7F8A86FBB}"/>
                </a:ext>
              </a:extLst>
            </p:cNvPr>
            <p:cNvSpPr>
              <a:spLocks/>
            </p:cNvSpPr>
            <p:nvPr/>
          </p:nvSpPr>
          <p:spPr bwMode="gray">
            <a:xfrm rot="648302">
              <a:off x="1793443" y="4217978"/>
              <a:ext cx="84593" cy="94858"/>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
                <a:gd name="T118" fmla="*/ 0 h 54"/>
                <a:gd name="T119" fmla="*/ 48 w 48"/>
                <a:gd name="T120" fmla="*/ 54 h 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 h="54">
                  <a:moveTo>
                    <a:pt x="16" y="6"/>
                  </a:moveTo>
                  <a:lnTo>
                    <a:pt x="16" y="6"/>
                  </a:lnTo>
                  <a:lnTo>
                    <a:pt x="20" y="6"/>
                  </a:lnTo>
                  <a:lnTo>
                    <a:pt x="22" y="6"/>
                  </a:lnTo>
                  <a:lnTo>
                    <a:pt x="24" y="6"/>
                  </a:lnTo>
                  <a:lnTo>
                    <a:pt x="26" y="8"/>
                  </a:lnTo>
                  <a:lnTo>
                    <a:pt x="32" y="8"/>
                  </a:lnTo>
                  <a:lnTo>
                    <a:pt x="32" y="14"/>
                  </a:lnTo>
                  <a:lnTo>
                    <a:pt x="34" y="18"/>
                  </a:lnTo>
                  <a:lnTo>
                    <a:pt x="40" y="24"/>
                  </a:lnTo>
                  <a:lnTo>
                    <a:pt x="48" y="30"/>
                  </a:lnTo>
                  <a:lnTo>
                    <a:pt x="42" y="32"/>
                  </a:lnTo>
                  <a:lnTo>
                    <a:pt x="40" y="32"/>
                  </a:lnTo>
                  <a:lnTo>
                    <a:pt x="40" y="34"/>
                  </a:lnTo>
                  <a:lnTo>
                    <a:pt x="40" y="38"/>
                  </a:lnTo>
                  <a:lnTo>
                    <a:pt x="38" y="42"/>
                  </a:lnTo>
                  <a:lnTo>
                    <a:pt x="40" y="44"/>
                  </a:lnTo>
                  <a:lnTo>
                    <a:pt x="42" y="46"/>
                  </a:lnTo>
                  <a:lnTo>
                    <a:pt x="42" y="48"/>
                  </a:lnTo>
                  <a:lnTo>
                    <a:pt x="40" y="54"/>
                  </a:lnTo>
                  <a:lnTo>
                    <a:pt x="38" y="46"/>
                  </a:lnTo>
                  <a:lnTo>
                    <a:pt x="34" y="46"/>
                  </a:lnTo>
                  <a:lnTo>
                    <a:pt x="34" y="52"/>
                  </a:lnTo>
                  <a:lnTo>
                    <a:pt x="30" y="46"/>
                  </a:lnTo>
                  <a:lnTo>
                    <a:pt x="32" y="38"/>
                  </a:lnTo>
                  <a:lnTo>
                    <a:pt x="24" y="34"/>
                  </a:lnTo>
                  <a:lnTo>
                    <a:pt x="20" y="34"/>
                  </a:lnTo>
                  <a:lnTo>
                    <a:pt x="20" y="30"/>
                  </a:lnTo>
                  <a:lnTo>
                    <a:pt x="18" y="26"/>
                  </a:lnTo>
                  <a:lnTo>
                    <a:pt x="14" y="24"/>
                  </a:lnTo>
                  <a:lnTo>
                    <a:pt x="12" y="24"/>
                  </a:lnTo>
                  <a:lnTo>
                    <a:pt x="14" y="28"/>
                  </a:lnTo>
                  <a:lnTo>
                    <a:pt x="12" y="30"/>
                  </a:lnTo>
                  <a:lnTo>
                    <a:pt x="12" y="32"/>
                  </a:lnTo>
                  <a:lnTo>
                    <a:pt x="8" y="32"/>
                  </a:lnTo>
                  <a:lnTo>
                    <a:pt x="6" y="28"/>
                  </a:lnTo>
                  <a:lnTo>
                    <a:pt x="2" y="26"/>
                  </a:lnTo>
                  <a:lnTo>
                    <a:pt x="2" y="18"/>
                  </a:lnTo>
                  <a:lnTo>
                    <a:pt x="6" y="16"/>
                  </a:lnTo>
                  <a:lnTo>
                    <a:pt x="4" y="14"/>
                  </a:lnTo>
                  <a:lnTo>
                    <a:pt x="4" y="10"/>
                  </a:lnTo>
                  <a:lnTo>
                    <a:pt x="2" y="4"/>
                  </a:lnTo>
                  <a:lnTo>
                    <a:pt x="0" y="2"/>
                  </a:lnTo>
                  <a:lnTo>
                    <a:pt x="2" y="0"/>
                  </a:lnTo>
                  <a:lnTo>
                    <a:pt x="6" y="2"/>
                  </a:lnTo>
                  <a:lnTo>
                    <a:pt x="8" y="4"/>
                  </a:lnTo>
                  <a:lnTo>
                    <a:pt x="16" y="6"/>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4" name="Freeform 216">
              <a:extLst>
                <a:ext uri="{FF2B5EF4-FFF2-40B4-BE49-F238E27FC236}">
                  <a16:creationId xmlns:a16="http://schemas.microsoft.com/office/drawing/2014/main" id="{E881D635-DA70-49D7-8CD5-620D39D6E7A8}"/>
                </a:ext>
              </a:extLst>
            </p:cNvPr>
            <p:cNvSpPr>
              <a:spLocks/>
            </p:cNvSpPr>
            <p:nvPr/>
          </p:nvSpPr>
          <p:spPr bwMode="gray">
            <a:xfrm rot="648302">
              <a:off x="2314053" y="2259763"/>
              <a:ext cx="5937" cy="4823"/>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2"/>
                  </a:lnTo>
                  <a:lnTo>
                    <a:pt x="2" y="0"/>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5" name="Freeform 217">
              <a:extLst>
                <a:ext uri="{FF2B5EF4-FFF2-40B4-BE49-F238E27FC236}">
                  <a16:creationId xmlns:a16="http://schemas.microsoft.com/office/drawing/2014/main" id="{121D7ACA-38A1-4E39-993E-2F78C386FDC0}"/>
                </a:ext>
              </a:extLst>
            </p:cNvPr>
            <p:cNvSpPr>
              <a:spLocks/>
            </p:cNvSpPr>
            <p:nvPr/>
          </p:nvSpPr>
          <p:spPr bwMode="gray">
            <a:xfrm rot="648302">
              <a:off x="2374689" y="2156463"/>
              <a:ext cx="2968" cy="3216"/>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0"/>
                  </a:moveTo>
                  <a:lnTo>
                    <a:pt x="2" y="0"/>
                  </a:lnTo>
                  <a:lnTo>
                    <a:pt x="2" y="2"/>
                  </a:lnTo>
                  <a:lnTo>
                    <a:pt x="0" y="2"/>
                  </a:lnTo>
                  <a:lnTo>
                    <a:pt x="0" y="0"/>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6" name="Freeform 218">
              <a:extLst>
                <a:ext uri="{FF2B5EF4-FFF2-40B4-BE49-F238E27FC236}">
                  <a16:creationId xmlns:a16="http://schemas.microsoft.com/office/drawing/2014/main" id="{F03BE7D4-5F06-427A-BA3E-788B2E4D5D95}"/>
                </a:ext>
              </a:extLst>
            </p:cNvPr>
            <p:cNvSpPr>
              <a:spLocks/>
            </p:cNvSpPr>
            <p:nvPr/>
          </p:nvSpPr>
          <p:spPr bwMode="gray">
            <a:xfrm rot="648302">
              <a:off x="2376399" y="2163336"/>
              <a:ext cx="2968" cy="3216"/>
            </a:xfrm>
            <a:custGeom>
              <a:avLst/>
              <a:gdLst>
                <a:gd name="T0" fmla="*/ 0 w 2"/>
                <a:gd name="T1" fmla="*/ 2 h 2"/>
                <a:gd name="T2" fmla="*/ 0 w 2"/>
                <a:gd name="T3" fmla="*/ 2 h 2"/>
                <a:gd name="T4" fmla="*/ 0 w 2"/>
                <a:gd name="T5" fmla="*/ 0 h 2"/>
                <a:gd name="T6" fmla="*/ 0 w 2"/>
                <a:gd name="T7" fmla="*/ 0 h 2"/>
                <a:gd name="T8" fmla="*/ 0 w 2"/>
                <a:gd name="T9" fmla="*/ 0 h 2"/>
                <a:gd name="T10" fmla="*/ 0 w 2"/>
                <a:gd name="T11" fmla="*/ 2 h 2"/>
                <a:gd name="T12" fmla="*/ 0 w 2"/>
                <a:gd name="T13" fmla="*/ 2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0" y="2"/>
                  </a:lnTo>
                  <a:lnTo>
                    <a:pt x="0" y="0"/>
                  </a:lnTo>
                  <a:lnTo>
                    <a:pt x="0" y="2"/>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7" name="Freeform 219">
              <a:extLst>
                <a:ext uri="{FF2B5EF4-FFF2-40B4-BE49-F238E27FC236}">
                  <a16:creationId xmlns:a16="http://schemas.microsoft.com/office/drawing/2014/main" id="{FDBAC78E-CF0B-4A9F-A90F-1CD0834E9BBE}"/>
                </a:ext>
              </a:extLst>
            </p:cNvPr>
            <p:cNvSpPr>
              <a:spLocks/>
            </p:cNvSpPr>
            <p:nvPr/>
          </p:nvSpPr>
          <p:spPr bwMode="gray">
            <a:xfrm rot="648302">
              <a:off x="2564004" y="2295803"/>
              <a:ext cx="20777" cy="6431"/>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4"/>
                <a:gd name="T29" fmla="*/ 12 w 1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4">
                  <a:moveTo>
                    <a:pt x="2" y="0"/>
                  </a:moveTo>
                  <a:lnTo>
                    <a:pt x="2" y="0"/>
                  </a:lnTo>
                  <a:lnTo>
                    <a:pt x="10" y="2"/>
                  </a:lnTo>
                  <a:lnTo>
                    <a:pt x="12" y="4"/>
                  </a:lnTo>
                  <a:lnTo>
                    <a:pt x="4" y="2"/>
                  </a:lnTo>
                  <a:lnTo>
                    <a:pt x="0" y="2"/>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8" name="Freeform 220">
              <a:extLst>
                <a:ext uri="{FF2B5EF4-FFF2-40B4-BE49-F238E27FC236}">
                  <a16:creationId xmlns:a16="http://schemas.microsoft.com/office/drawing/2014/main" id="{9BFBBC10-5CD6-4CBF-8C74-6EA09686B8B1}"/>
                </a:ext>
              </a:extLst>
            </p:cNvPr>
            <p:cNvSpPr>
              <a:spLocks/>
            </p:cNvSpPr>
            <p:nvPr/>
          </p:nvSpPr>
          <p:spPr bwMode="gray">
            <a:xfrm rot="648302">
              <a:off x="2549441" y="2259042"/>
              <a:ext cx="7420" cy="9647"/>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6"/>
                <a:gd name="T38" fmla="*/ 4 w 4"/>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6">
                  <a:moveTo>
                    <a:pt x="2" y="0"/>
                  </a:moveTo>
                  <a:lnTo>
                    <a:pt x="2" y="0"/>
                  </a:lnTo>
                  <a:lnTo>
                    <a:pt x="4" y="0"/>
                  </a:lnTo>
                  <a:lnTo>
                    <a:pt x="4" y="2"/>
                  </a:lnTo>
                  <a:lnTo>
                    <a:pt x="4" y="6"/>
                  </a:lnTo>
                  <a:lnTo>
                    <a:pt x="0" y="6"/>
                  </a:lnTo>
                  <a:lnTo>
                    <a:pt x="0" y="2"/>
                  </a:lnTo>
                  <a:lnTo>
                    <a:pt x="0" y="0"/>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09" name="Freeform 221">
              <a:extLst>
                <a:ext uri="{FF2B5EF4-FFF2-40B4-BE49-F238E27FC236}">
                  <a16:creationId xmlns:a16="http://schemas.microsoft.com/office/drawing/2014/main" id="{CE9C9D73-042E-4DD2-BB52-5CDF259A8FFF}"/>
                </a:ext>
              </a:extLst>
            </p:cNvPr>
            <p:cNvSpPr>
              <a:spLocks/>
            </p:cNvSpPr>
            <p:nvPr/>
          </p:nvSpPr>
          <p:spPr bwMode="gray">
            <a:xfrm rot="648302">
              <a:off x="2613104" y="2552266"/>
              <a:ext cx="2968" cy="6431"/>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4"/>
                <a:gd name="T32" fmla="*/ 2 w 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4">
                  <a:moveTo>
                    <a:pt x="0" y="0"/>
                  </a:moveTo>
                  <a:lnTo>
                    <a:pt x="0" y="0"/>
                  </a:lnTo>
                  <a:lnTo>
                    <a:pt x="2" y="2"/>
                  </a:lnTo>
                  <a:lnTo>
                    <a:pt x="2" y="4"/>
                  </a:lnTo>
                  <a:lnTo>
                    <a:pt x="2" y="2"/>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0" name="Freeform 222">
              <a:extLst>
                <a:ext uri="{FF2B5EF4-FFF2-40B4-BE49-F238E27FC236}">
                  <a16:creationId xmlns:a16="http://schemas.microsoft.com/office/drawing/2014/main" id="{5A5E954B-C3B1-4DA9-A6CF-7EAA709B3E56}"/>
                </a:ext>
              </a:extLst>
            </p:cNvPr>
            <p:cNvSpPr>
              <a:spLocks/>
            </p:cNvSpPr>
            <p:nvPr/>
          </p:nvSpPr>
          <p:spPr bwMode="gray">
            <a:xfrm rot="648302">
              <a:off x="1983279" y="3004752"/>
              <a:ext cx="1484" cy="1607"/>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1" name="Freeform 223">
              <a:extLst>
                <a:ext uri="{FF2B5EF4-FFF2-40B4-BE49-F238E27FC236}">
                  <a16:creationId xmlns:a16="http://schemas.microsoft.com/office/drawing/2014/main" id="{B1217F2D-EA1D-4F59-A57A-B94482431E5C}"/>
                </a:ext>
              </a:extLst>
            </p:cNvPr>
            <p:cNvSpPr>
              <a:spLocks/>
            </p:cNvSpPr>
            <p:nvPr/>
          </p:nvSpPr>
          <p:spPr bwMode="gray">
            <a:xfrm rot="648302">
              <a:off x="1948107" y="3045945"/>
              <a:ext cx="5937" cy="3216"/>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0"/>
                  </a:moveTo>
                  <a:lnTo>
                    <a:pt x="0" y="0"/>
                  </a:lnTo>
                  <a:lnTo>
                    <a:pt x="0" y="2"/>
                  </a:lnTo>
                  <a:lnTo>
                    <a:pt x="2" y="2"/>
                  </a:lnTo>
                  <a:lnTo>
                    <a:pt x="2" y="0"/>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2" name="Freeform 224">
              <a:extLst>
                <a:ext uri="{FF2B5EF4-FFF2-40B4-BE49-F238E27FC236}">
                  <a16:creationId xmlns:a16="http://schemas.microsoft.com/office/drawing/2014/main" id="{B6E8822A-BE0D-45BE-BB4C-E3CB55926CD2}"/>
                </a:ext>
              </a:extLst>
            </p:cNvPr>
            <p:cNvSpPr>
              <a:spLocks/>
            </p:cNvSpPr>
            <p:nvPr/>
          </p:nvSpPr>
          <p:spPr bwMode="gray">
            <a:xfrm rot="648302">
              <a:off x="1980579" y="3034138"/>
              <a:ext cx="5937" cy="3216"/>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0"/>
                  </a:moveTo>
                  <a:lnTo>
                    <a:pt x="2" y="0"/>
                  </a:lnTo>
                  <a:lnTo>
                    <a:pt x="0" y="2"/>
                  </a:lnTo>
                  <a:lnTo>
                    <a:pt x="4" y="0"/>
                  </a:lnTo>
                  <a:lnTo>
                    <a:pt x="2"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3" name="Freeform 225">
              <a:extLst>
                <a:ext uri="{FF2B5EF4-FFF2-40B4-BE49-F238E27FC236}">
                  <a16:creationId xmlns:a16="http://schemas.microsoft.com/office/drawing/2014/main" id="{48FCCCBE-E95C-4E8D-BECB-0C0E13EC83A9}"/>
                </a:ext>
              </a:extLst>
            </p:cNvPr>
            <p:cNvSpPr>
              <a:spLocks/>
            </p:cNvSpPr>
            <p:nvPr/>
          </p:nvSpPr>
          <p:spPr bwMode="gray">
            <a:xfrm rot="648302">
              <a:off x="2051526" y="3278070"/>
              <a:ext cx="1484" cy="6431"/>
            </a:xfrm>
            <a:custGeom>
              <a:avLst/>
              <a:gdLst>
                <a:gd name="T0" fmla="*/ 0 w 1"/>
                <a:gd name="T1" fmla="*/ 4 h 4"/>
                <a:gd name="T2" fmla="*/ 0 w 1"/>
                <a:gd name="T3" fmla="*/ 2 h 4"/>
                <a:gd name="T4" fmla="*/ 0 w 1"/>
                <a:gd name="T5" fmla="*/ 2 h 4"/>
                <a:gd name="T6" fmla="*/ 0 w 1"/>
                <a:gd name="T7" fmla="*/ 0 h 4"/>
                <a:gd name="T8" fmla="*/ 0 w 1"/>
                <a:gd name="T9" fmla="*/ 0 h 4"/>
                <a:gd name="T10" fmla="*/ 0 w 1"/>
                <a:gd name="T11" fmla="*/ 4 h 4"/>
                <a:gd name="T12" fmla="*/ 0 w 1"/>
                <a:gd name="T13" fmla="*/ 4 h 4"/>
                <a:gd name="T14" fmla="*/ 0 60000 65536"/>
                <a:gd name="T15" fmla="*/ 0 60000 65536"/>
                <a:gd name="T16" fmla="*/ 0 60000 65536"/>
                <a:gd name="T17" fmla="*/ 0 60000 65536"/>
                <a:gd name="T18" fmla="*/ 0 60000 65536"/>
                <a:gd name="T19" fmla="*/ 0 60000 65536"/>
                <a:gd name="T20" fmla="*/ 0 60000 65536"/>
                <a:gd name="T21" fmla="*/ 0 w 1"/>
                <a:gd name="T22" fmla="*/ 0 h 4"/>
                <a:gd name="T23" fmla="*/ 1 w 1"/>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4">
                  <a:moveTo>
                    <a:pt x="0" y="4"/>
                  </a:moveTo>
                  <a:lnTo>
                    <a:pt x="0" y="2"/>
                  </a:lnTo>
                  <a:lnTo>
                    <a:pt x="0" y="0"/>
                  </a:lnTo>
                  <a:lnTo>
                    <a:pt x="0" y="4"/>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4" name="Freeform 226">
              <a:extLst>
                <a:ext uri="{FF2B5EF4-FFF2-40B4-BE49-F238E27FC236}">
                  <a16:creationId xmlns:a16="http://schemas.microsoft.com/office/drawing/2014/main" id="{9907BA7E-E795-482E-BE75-569A60225F61}"/>
                </a:ext>
              </a:extLst>
            </p:cNvPr>
            <p:cNvSpPr>
              <a:spLocks/>
            </p:cNvSpPr>
            <p:nvPr/>
          </p:nvSpPr>
          <p:spPr bwMode="gray">
            <a:xfrm rot="648302">
              <a:off x="1137163" y="2046170"/>
              <a:ext cx="1484" cy="3216"/>
            </a:xfrm>
            <a:custGeom>
              <a:avLst/>
              <a:gdLst>
                <a:gd name="T0" fmla="*/ 0 w 1"/>
                <a:gd name="T1" fmla="*/ 2 h 2"/>
                <a:gd name="T2" fmla="*/ 0 w 1"/>
                <a:gd name="T3" fmla="*/ 2 h 2"/>
                <a:gd name="T4" fmla="*/ 0 w 1"/>
                <a:gd name="T5" fmla="*/ 0 h 2"/>
                <a:gd name="T6" fmla="*/ 0 w 1"/>
                <a:gd name="T7" fmla="*/ 0 h 2"/>
                <a:gd name="T8" fmla="*/ 0 w 1"/>
                <a:gd name="T9" fmla="*/ 0 h 2"/>
                <a:gd name="T10" fmla="*/ 0 w 1"/>
                <a:gd name="T11" fmla="*/ 2 h 2"/>
                <a:gd name="T12" fmla="*/ 0 w 1"/>
                <a:gd name="T13" fmla="*/ 2 h 2"/>
                <a:gd name="T14" fmla="*/ 0 w 1"/>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2"/>
                  </a:moveTo>
                  <a:lnTo>
                    <a:pt x="0" y="2"/>
                  </a:lnTo>
                  <a:lnTo>
                    <a:pt x="0" y="0"/>
                  </a:lnTo>
                  <a:lnTo>
                    <a:pt x="0" y="2"/>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5" name="Freeform 227">
              <a:extLst>
                <a:ext uri="{FF2B5EF4-FFF2-40B4-BE49-F238E27FC236}">
                  <a16:creationId xmlns:a16="http://schemas.microsoft.com/office/drawing/2014/main" id="{D4A8FE36-5ADB-4FC3-90AF-C6C11E090EC8}"/>
                </a:ext>
              </a:extLst>
            </p:cNvPr>
            <p:cNvSpPr>
              <a:spLocks/>
            </p:cNvSpPr>
            <p:nvPr/>
          </p:nvSpPr>
          <p:spPr bwMode="gray">
            <a:xfrm rot="648302">
              <a:off x="1063450" y="2677009"/>
              <a:ext cx="1484" cy="4823"/>
            </a:xfrm>
            <a:custGeom>
              <a:avLst/>
              <a:gdLst>
                <a:gd name="T0" fmla="*/ 0 w 1"/>
                <a:gd name="T1" fmla="*/ 2 h 2"/>
                <a:gd name="T2" fmla="*/ 0 w 1"/>
                <a:gd name="T3" fmla="*/ 2 h 2"/>
                <a:gd name="T4" fmla="*/ 0 w 1"/>
                <a:gd name="T5" fmla="*/ 2 h 2"/>
                <a:gd name="T6" fmla="*/ 0 w 1"/>
                <a:gd name="T7" fmla="*/ 0 h 2"/>
                <a:gd name="T8" fmla="*/ 0 w 1"/>
                <a:gd name="T9" fmla="*/ 0 h 2"/>
                <a:gd name="T10" fmla="*/ 0 w 1"/>
                <a:gd name="T11" fmla="*/ 2 h 2"/>
                <a:gd name="T12" fmla="*/ 0 w 1"/>
                <a:gd name="T13" fmla="*/ 2 h 2"/>
                <a:gd name="T14" fmla="*/ 0 w 1"/>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2"/>
                  </a:moveTo>
                  <a:lnTo>
                    <a:pt x="0" y="2"/>
                  </a:lnTo>
                  <a:lnTo>
                    <a:pt x="0" y="0"/>
                  </a:lnTo>
                  <a:lnTo>
                    <a:pt x="0" y="2"/>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6" name="Freeform 228">
              <a:extLst>
                <a:ext uri="{FF2B5EF4-FFF2-40B4-BE49-F238E27FC236}">
                  <a16:creationId xmlns:a16="http://schemas.microsoft.com/office/drawing/2014/main" id="{13D4E8FA-DCD2-4021-844E-78EE9D88D376}"/>
                </a:ext>
              </a:extLst>
            </p:cNvPr>
            <p:cNvSpPr>
              <a:spLocks/>
            </p:cNvSpPr>
            <p:nvPr/>
          </p:nvSpPr>
          <p:spPr bwMode="gray">
            <a:xfrm rot="648302">
              <a:off x="1911706" y="2262737"/>
              <a:ext cx="1484" cy="3216"/>
            </a:xfrm>
            <a:custGeom>
              <a:avLst/>
              <a:gdLst>
                <a:gd name="T0" fmla="*/ 0 w 1"/>
                <a:gd name="T1" fmla="*/ 0 h 2"/>
                <a:gd name="T2" fmla="*/ 0 w 1"/>
                <a:gd name="T3" fmla="*/ 2 h 2"/>
                <a:gd name="T4" fmla="*/ 0 w 1"/>
                <a:gd name="T5" fmla="*/ 2 h 2"/>
                <a:gd name="T6" fmla="*/ 0 w 1"/>
                <a:gd name="T7" fmla="*/ 2 h 2"/>
                <a:gd name="T8" fmla="*/ 0 w 1"/>
                <a:gd name="T9" fmla="*/ 0 h 2"/>
                <a:gd name="T10" fmla="*/ 0 w 1"/>
                <a:gd name="T11" fmla="*/ 0 h 2"/>
                <a:gd name="T12" fmla="*/ 0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0"/>
                  </a:moveTo>
                  <a:lnTo>
                    <a:pt x="0" y="2"/>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7" name="Freeform 229">
              <a:extLst>
                <a:ext uri="{FF2B5EF4-FFF2-40B4-BE49-F238E27FC236}">
                  <a16:creationId xmlns:a16="http://schemas.microsoft.com/office/drawing/2014/main" id="{89D6B6FD-FCD4-41F9-ACEC-529EF0287FDC}"/>
                </a:ext>
              </a:extLst>
            </p:cNvPr>
            <p:cNvSpPr>
              <a:spLocks/>
            </p:cNvSpPr>
            <p:nvPr/>
          </p:nvSpPr>
          <p:spPr bwMode="gray">
            <a:xfrm rot="648302">
              <a:off x="2364520" y="3172029"/>
              <a:ext cx="13356" cy="11254"/>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2" y="4"/>
                  </a:moveTo>
                  <a:lnTo>
                    <a:pt x="2" y="4"/>
                  </a:lnTo>
                  <a:lnTo>
                    <a:pt x="0" y="6"/>
                  </a:lnTo>
                  <a:lnTo>
                    <a:pt x="0" y="4"/>
                  </a:lnTo>
                  <a:lnTo>
                    <a:pt x="6" y="0"/>
                  </a:lnTo>
                  <a:lnTo>
                    <a:pt x="8" y="0"/>
                  </a:lnTo>
                  <a:lnTo>
                    <a:pt x="6" y="2"/>
                  </a:lnTo>
                  <a:lnTo>
                    <a:pt x="2" y="4"/>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8" name="Freeform 230">
              <a:extLst>
                <a:ext uri="{FF2B5EF4-FFF2-40B4-BE49-F238E27FC236}">
                  <a16:creationId xmlns:a16="http://schemas.microsoft.com/office/drawing/2014/main" id="{9C21CCF9-5D78-4DBD-88CB-05AF5A982A4C}"/>
                </a:ext>
              </a:extLst>
            </p:cNvPr>
            <p:cNvSpPr>
              <a:spLocks/>
            </p:cNvSpPr>
            <p:nvPr/>
          </p:nvSpPr>
          <p:spPr bwMode="gray">
            <a:xfrm rot="648302">
              <a:off x="2430871" y="3222926"/>
              <a:ext cx="2968" cy="4823"/>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0" y="2"/>
                  </a:lnTo>
                  <a:lnTo>
                    <a:pt x="0" y="0"/>
                  </a:lnTo>
                  <a:lnTo>
                    <a:pt x="2" y="0"/>
                  </a:lnTo>
                  <a:lnTo>
                    <a:pt x="0" y="2"/>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19" name="Freeform 231">
              <a:extLst>
                <a:ext uri="{FF2B5EF4-FFF2-40B4-BE49-F238E27FC236}">
                  <a16:creationId xmlns:a16="http://schemas.microsoft.com/office/drawing/2014/main" id="{D9FB20E5-B744-4CF8-9F2C-CD4464B1366B}"/>
                </a:ext>
              </a:extLst>
            </p:cNvPr>
            <p:cNvSpPr>
              <a:spLocks/>
            </p:cNvSpPr>
            <p:nvPr/>
          </p:nvSpPr>
          <p:spPr bwMode="gray">
            <a:xfrm rot="648302">
              <a:off x="2190577" y="2384988"/>
              <a:ext cx="4452" cy="3216"/>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2" y="0"/>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0" name="Freeform 232">
              <a:extLst>
                <a:ext uri="{FF2B5EF4-FFF2-40B4-BE49-F238E27FC236}">
                  <a16:creationId xmlns:a16="http://schemas.microsoft.com/office/drawing/2014/main" id="{A96F7A1C-DDCA-4E1C-AC0C-7A83CED9332A}"/>
                </a:ext>
              </a:extLst>
            </p:cNvPr>
            <p:cNvSpPr>
              <a:spLocks/>
            </p:cNvSpPr>
            <p:nvPr/>
          </p:nvSpPr>
          <p:spPr bwMode="gray">
            <a:xfrm rot="648302">
              <a:off x="1048915" y="2620193"/>
              <a:ext cx="1484" cy="1607"/>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1" name="Rectangle 233">
              <a:extLst>
                <a:ext uri="{FF2B5EF4-FFF2-40B4-BE49-F238E27FC236}">
                  <a16:creationId xmlns:a16="http://schemas.microsoft.com/office/drawing/2014/main" id="{DC16D5BE-0A00-4F17-86F8-78EFBBB01406}"/>
                </a:ext>
              </a:extLst>
            </p:cNvPr>
            <p:cNvSpPr>
              <a:spLocks noChangeArrowheads="1"/>
            </p:cNvSpPr>
            <p:nvPr/>
          </p:nvSpPr>
          <p:spPr bwMode="gray">
            <a:xfrm rot="648302">
              <a:off x="1048614" y="2620164"/>
              <a:ext cx="1484" cy="4823"/>
            </a:xfrm>
            <a:prstGeom prst="rect">
              <a:avLst/>
            </a:prstGeom>
            <a:grpFill/>
            <a:ln w="317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2" name="Freeform 234">
              <a:extLst>
                <a:ext uri="{FF2B5EF4-FFF2-40B4-BE49-F238E27FC236}">
                  <a16:creationId xmlns:a16="http://schemas.microsoft.com/office/drawing/2014/main" id="{F2E89DDD-6542-4615-96B5-C08B5B9C49C6}"/>
                </a:ext>
              </a:extLst>
            </p:cNvPr>
            <p:cNvSpPr>
              <a:spLocks/>
            </p:cNvSpPr>
            <p:nvPr/>
          </p:nvSpPr>
          <p:spPr bwMode="gray">
            <a:xfrm rot="648302">
              <a:off x="2146298" y="1936101"/>
              <a:ext cx="2968" cy="3216"/>
            </a:xfrm>
            <a:custGeom>
              <a:avLst/>
              <a:gdLst>
                <a:gd name="T0" fmla="*/ 0 w 2"/>
                <a:gd name="T1" fmla="*/ 0 h 2"/>
                <a:gd name="T2" fmla="*/ 0 w 2"/>
                <a:gd name="T3" fmla="*/ 0 h 2"/>
                <a:gd name="T4" fmla="*/ 0 w 2"/>
                <a:gd name="T5" fmla="*/ 0 h 2"/>
                <a:gd name="T6" fmla="*/ 0 w 2"/>
                <a:gd name="T7" fmla="*/ 2 h 2"/>
                <a:gd name="T8" fmla="*/ 0 w 2"/>
                <a:gd name="T9" fmla="*/ 2 h 2"/>
                <a:gd name="T10" fmla="*/ 0 w 2"/>
                <a:gd name="T11" fmla="*/ 0 h 2"/>
                <a:gd name="T12" fmla="*/ 0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0"/>
                  </a:lnTo>
                  <a:lnTo>
                    <a:pt x="0" y="2"/>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3" name="Freeform 4">
              <a:extLst>
                <a:ext uri="{FF2B5EF4-FFF2-40B4-BE49-F238E27FC236}">
                  <a16:creationId xmlns:a16="http://schemas.microsoft.com/office/drawing/2014/main" id="{6B03C8FD-6E54-4E3B-BC16-9A605FC34124}"/>
                </a:ext>
              </a:extLst>
            </p:cNvPr>
            <p:cNvSpPr>
              <a:spLocks/>
            </p:cNvSpPr>
            <p:nvPr/>
          </p:nvSpPr>
          <p:spPr bwMode="gray">
            <a:xfrm rot="47099">
              <a:off x="964704" y="1960956"/>
              <a:ext cx="3563" cy="5789"/>
            </a:xfrm>
            <a:custGeom>
              <a:avLst/>
              <a:gdLst>
                <a:gd name="T0" fmla="*/ 5 w 7"/>
                <a:gd name="T1" fmla="*/ 10 h 12"/>
                <a:gd name="T2" fmla="*/ 5 w 7"/>
                <a:gd name="T3" fmla="*/ 5 h 12"/>
                <a:gd name="T4" fmla="*/ 0 w 7"/>
                <a:gd name="T5" fmla="*/ 3 h 12"/>
                <a:gd name="T6" fmla="*/ 0 w 7"/>
                <a:gd name="T7" fmla="*/ 0 h 12"/>
                <a:gd name="T8" fmla="*/ 5 w 7"/>
                <a:gd name="T9" fmla="*/ 0 h 12"/>
                <a:gd name="T10" fmla="*/ 7 w 7"/>
                <a:gd name="T11" fmla="*/ 3 h 12"/>
                <a:gd name="T12" fmla="*/ 7 w 7"/>
                <a:gd name="T13" fmla="*/ 10 h 12"/>
                <a:gd name="T14" fmla="*/ 5 w 7"/>
                <a:gd name="T15" fmla="*/ 10 h 12"/>
                <a:gd name="T16" fmla="*/ 5 w 7"/>
                <a:gd name="T17" fmla="*/ 12 h 12"/>
                <a:gd name="T18" fmla="*/ 5 w 7"/>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12"/>
                <a:gd name="T32" fmla="*/ 7 w 7"/>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12">
                  <a:moveTo>
                    <a:pt x="5" y="10"/>
                  </a:moveTo>
                  <a:lnTo>
                    <a:pt x="5" y="5"/>
                  </a:lnTo>
                  <a:lnTo>
                    <a:pt x="0" y="3"/>
                  </a:lnTo>
                  <a:lnTo>
                    <a:pt x="0" y="0"/>
                  </a:lnTo>
                  <a:lnTo>
                    <a:pt x="5" y="0"/>
                  </a:lnTo>
                  <a:lnTo>
                    <a:pt x="7" y="3"/>
                  </a:lnTo>
                  <a:lnTo>
                    <a:pt x="7" y="10"/>
                  </a:lnTo>
                  <a:lnTo>
                    <a:pt x="5" y="10"/>
                  </a:lnTo>
                  <a:lnTo>
                    <a:pt x="5" y="12"/>
                  </a:lnTo>
                  <a:lnTo>
                    <a:pt x="5"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4" name="Freeform 5">
              <a:extLst>
                <a:ext uri="{FF2B5EF4-FFF2-40B4-BE49-F238E27FC236}">
                  <a16:creationId xmlns:a16="http://schemas.microsoft.com/office/drawing/2014/main" id="{5BBD7871-8910-4032-95D5-24DB16F9CA73}"/>
                </a:ext>
              </a:extLst>
            </p:cNvPr>
            <p:cNvSpPr>
              <a:spLocks/>
            </p:cNvSpPr>
            <p:nvPr/>
          </p:nvSpPr>
          <p:spPr bwMode="gray">
            <a:xfrm rot="47099">
              <a:off x="949384" y="1958128"/>
              <a:ext cx="43640" cy="37628"/>
            </a:xfrm>
            <a:custGeom>
              <a:avLst/>
              <a:gdLst>
                <a:gd name="T0" fmla="*/ 38 w 95"/>
                <a:gd name="T1" fmla="*/ 52 h 81"/>
                <a:gd name="T2" fmla="*/ 40 w 95"/>
                <a:gd name="T3" fmla="*/ 66 h 81"/>
                <a:gd name="T4" fmla="*/ 38 w 95"/>
                <a:gd name="T5" fmla="*/ 74 h 81"/>
                <a:gd name="T6" fmla="*/ 38 w 95"/>
                <a:gd name="T7" fmla="*/ 81 h 81"/>
                <a:gd name="T8" fmla="*/ 33 w 95"/>
                <a:gd name="T9" fmla="*/ 69 h 81"/>
                <a:gd name="T10" fmla="*/ 33 w 95"/>
                <a:gd name="T11" fmla="*/ 57 h 81"/>
                <a:gd name="T12" fmla="*/ 33 w 95"/>
                <a:gd name="T13" fmla="*/ 50 h 81"/>
                <a:gd name="T14" fmla="*/ 29 w 95"/>
                <a:gd name="T15" fmla="*/ 57 h 81"/>
                <a:gd name="T16" fmla="*/ 24 w 95"/>
                <a:gd name="T17" fmla="*/ 52 h 81"/>
                <a:gd name="T18" fmla="*/ 21 w 95"/>
                <a:gd name="T19" fmla="*/ 45 h 81"/>
                <a:gd name="T20" fmla="*/ 17 w 95"/>
                <a:gd name="T21" fmla="*/ 43 h 81"/>
                <a:gd name="T22" fmla="*/ 5 w 95"/>
                <a:gd name="T23" fmla="*/ 40 h 81"/>
                <a:gd name="T24" fmla="*/ 0 w 95"/>
                <a:gd name="T25" fmla="*/ 36 h 81"/>
                <a:gd name="T26" fmla="*/ 7 w 95"/>
                <a:gd name="T27" fmla="*/ 36 h 81"/>
                <a:gd name="T28" fmla="*/ 14 w 95"/>
                <a:gd name="T29" fmla="*/ 33 h 81"/>
                <a:gd name="T30" fmla="*/ 10 w 95"/>
                <a:gd name="T31" fmla="*/ 19 h 81"/>
                <a:gd name="T32" fmla="*/ 17 w 95"/>
                <a:gd name="T33" fmla="*/ 12 h 81"/>
                <a:gd name="T34" fmla="*/ 21 w 95"/>
                <a:gd name="T35" fmla="*/ 29 h 81"/>
                <a:gd name="T36" fmla="*/ 21 w 95"/>
                <a:gd name="T37" fmla="*/ 26 h 81"/>
                <a:gd name="T38" fmla="*/ 24 w 95"/>
                <a:gd name="T39" fmla="*/ 10 h 81"/>
                <a:gd name="T40" fmla="*/ 38 w 95"/>
                <a:gd name="T41" fmla="*/ 17 h 81"/>
                <a:gd name="T42" fmla="*/ 38 w 95"/>
                <a:gd name="T43" fmla="*/ 19 h 81"/>
                <a:gd name="T44" fmla="*/ 40 w 95"/>
                <a:gd name="T45" fmla="*/ 24 h 81"/>
                <a:gd name="T46" fmla="*/ 45 w 95"/>
                <a:gd name="T47" fmla="*/ 10 h 81"/>
                <a:gd name="T48" fmla="*/ 54 w 95"/>
                <a:gd name="T49" fmla="*/ 10 h 81"/>
                <a:gd name="T50" fmla="*/ 64 w 95"/>
                <a:gd name="T51" fmla="*/ 12 h 81"/>
                <a:gd name="T52" fmla="*/ 69 w 95"/>
                <a:gd name="T53" fmla="*/ 19 h 81"/>
                <a:gd name="T54" fmla="*/ 71 w 95"/>
                <a:gd name="T55" fmla="*/ 12 h 81"/>
                <a:gd name="T56" fmla="*/ 80 w 95"/>
                <a:gd name="T57" fmla="*/ 0 h 81"/>
                <a:gd name="T58" fmla="*/ 85 w 95"/>
                <a:gd name="T59" fmla="*/ 10 h 81"/>
                <a:gd name="T60" fmla="*/ 80 w 95"/>
                <a:gd name="T61" fmla="*/ 17 h 81"/>
                <a:gd name="T62" fmla="*/ 85 w 95"/>
                <a:gd name="T63" fmla="*/ 24 h 81"/>
                <a:gd name="T64" fmla="*/ 90 w 95"/>
                <a:gd name="T65" fmla="*/ 19 h 81"/>
                <a:gd name="T66" fmla="*/ 90 w 95"/>
                <a:gd name="T67" fmla="*/ 24 h 81"/>
                <a:gd name="T68" fmla="*/ 85 w 95"/>
                <a:gd name="T69" fmla="*/ 29 h 81"/>
                <a:gd name="T70" fmla="*/ 69 w 95"/>
                <a:gd name="T71" fmla="*/ 36 h 81"/>
                <a:gd name="T72" fmla="*/ 62 w 95"/>
                <a:gd name="T73" fmla="*/ 43 h 81"/>
                <a:gd name="T74" fmla="*/ 50 w 95"/>
                <a:gd name="T75" fmla="*/ 45 h 81"/>
                <a:gd name="T76" fmla="*/ 47 w 95"/>
                <a:gd name="T77" fmla="*/ 43 h 81"/>
                <a:gd name="T78" fmla="*/ 40 w 95"/>
                <a:gd name="T79" fmla="*/ 5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5"/>
                <a:gd name="T121" fmla="*/ 0 h 81"/>
                <a:gd name="T122" fmla="*/ 95 w 95"/>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5" h="81">
                  <a:moveTo>
                    <a:pt x="40" y="52"/>
                  </a:moveTo>
                  <a:lnTo>
                    <a:pt x="38" y="52"/>
                  </a:lnTo>
                  <a:lnTo>
                    <a:pt x="40" y="57"/>
                  </a:lnTo>
                  <a:lnTo>
                    <a:pt x="40" y="66"/>
                  </a:lnTo>
                  <a:lnTo>
                    <a:pt x="38" y="69"/>
                  </a:lnTo>
                  <a:lnTo>
                    <a:pt x="38" y="74"/>
                  </a:lnTo>
                  <a:lnTo>
                    <a:pt x="40" y="76"/>
                  </a:lnTo>
                  <a:lnTo>
                    <a:pt x="38" y="81"/>
                  </a:lnTo>
                  <a:lnTo>
                    <a:pt x="33" y="81"/>
                  </a:lnTo>
                  <a:lnTo>
                    <a:pt x="33" y="69"/>
                  </a:lnTo>
                  <a:lnTo>
                    <a:pt x="38" y="59"/>
                  </a:lnTo>
                  <a:lnTo>
                    <a:pt x="33" y="57"/>
                  </a:lnTo>
                  <a:lnTo>
                    <a:pt x="38" y="52"/>
                  </a:lnTo>
                  <a:lnTo>
                    <a:pt x="33" y="50"/>
                  </a:lnTo>
                  <a:lnTo>
                    <a:pt x="31" y="52"/>
                  </a:lnTo>
                  <a:lnTo>
                    <a:pt x="29" y="57"/>
                  </a:lnTo>
                  <a:lnTo>
                    <a:pt x="29" y="52"/>
                  </a:lnTo>
                  <a:lnTo>
                    <a:pt x="24" y="52"/>
                  </a:lnTo>
                  <a:lnTo>
                    <a:pt x="24" y="50"/>
                  </a:lnTo>
                  <a:lnTo>
                    <a:pt x="21" y="45"/>
                  </a:lnTo>
                  <a:lnTo>
                    <a:pt x="17" y="45"/>
                  </a:lnTo>
                  <a:lnTo>
                    <a:pt x="17" y="43"/>
                  </a:lnTo>
                  <a:lnTo>
                    <a:pt x="5" y="43"/>
                  </a:lnTo>
                  <a:lnTo>
                    <a:pt x="5" y="40"/>
                  </a:lnTo>
                  <a:lnTo>
                    <a:pt x="0" y="40"/>
                  </a:lnTo>
                  <a:lnTo>
                    <a:pt x="0" y="36"/>
                  </a:lnTo>
                  <a:lnTo>
                    <a:pt x="7" y="29"/>
                  </a:lnTo>
                  <a:lnTo>
                    <a:pt x="7" y="36"/>
                  </a:lnTo>
                  <a:lnTo>
                    <a:pt x="17" y="36"/>
                  </a:lnTo>
                  <a:lnTo>
                    <a:pt x="14" y="33"/>
                  </a:lnTo>
                  <a:lnTo>
                    <a:pt x="10" y="26"/>
                  </a:lnTo>
                  <a:lnTo>
                    <a:pt x="10" y="19"/>
                  </a:lnTo>
                  <a:lnTo>
                    <a:pt x="14" y="17"/>
                  </a:lnTo>
                  <a:lnTo>
                    <a:pt x="17" y="12"/>
                  </a:lnTo>
                  <a:lnTo>
                    <a:pt x="21" y="12"/>
                  </a:lnTo>
                  <a:lnTo>
                    <a:pt x="21" y="29"/>
                  </a:lnTo>
                  <a:lnTo>
                    <a:pt x="24" y="29"/>
                  </a:lnTo>
                  <a:lnTo>
                    <a:pt x="21" y="26"/>
                  </a:lnTo>
                  <a:lnTo>
                    <a:pt x="21" y="12"/>
                  </a:lnTo>
                  <a:lnTo>
                    <a:pt x="24" y="10"/>
                  </a:lnTo>
                  <a:lnTo>
                    <a:pt x="33" y="12"/>
                  </a:lnTo>
                  <a:lnTo>
                    <a:pt x="38" y="17"/>
                  </a:lnTo>
                  <a:lnTo>
                    <a:pt x="33" y="17"/>
                  </a:lnTo>
                  <a:lnTo>
                    <a:pt x="38" y="19"/>
                  </a:lnTo>
                  <a:lnTo>
                    <a:pt x="38" y="24"/>
                  </a:lnTo>
                  <a:lnTo>
                    <a:pt x="40" y="24"/>
                  </a:lnTo>
                  <a:lnTo>
                    <a:pt x="40" y="17"/>
                  </a:lnTo>
                  <a:lnTo>
                    <a:pt x="45" y="10"/>
                  </a:lnTo>
                  <a:lnTo>
                    <a:pt x="50" y="7"/>
                  </a:lnTo>
                  <a:lnTo>
                    <a:pt x="54" y="10"/>
                  </a:lnTo>
                  <a:lnTo>
                    <a:pt x="57" y="10"/>
                  </a:lnTo>
                  <a:lnTo>
                    <a:pt x="64" y="12"/>
                  </a:lnTo>
                  <a:lnTo>
                    <a:pt x="64" y="17"/>
                  </a:lnTo>
                  <a:lnTo>
                    <a:pt x="69" y="19"/>
                  </a:lnTo>
                  <a:lnTo>
                    <a:pt x="71" y="19"/>
                  </a:lnTo>
                  <a:lnTo>
                    <a:pt x="71" y="12"/>
                  </a:lnTo>
                  <a:lnTo>
                    <a:pt x="80" y="3"/>
                  </a:lnTo>
                  <a:lnTo>
                    <a:pt x="80" y="0"/>
                  </a:lnTo>
                  <a:lnTo>
                    <a:pt x="85" y="3"/>
                  </a:lnTo>
                  <a:lnTo>
                    <a:pt x="85" y="10"/>
                  </a:lnTo>
                  <a:lnTo>
                    <a:pt x="80" y="12"/>
                  </a:lnTo>
                  <a:lnTo>
                    <a:pt x="80" y="17"/>
                  </a:lnTo>
                  <a:lnTo>
                    <a:pt x="85" y="17"/>
                  </a:lnTo>
                  <a:lnTo>
                    <a:pt x="85" y="24"/>
                  </a:lnTo>
                  <a:lnTo>
                    <a:pt x="88" y="24"/>
                  </a:lnTo>
                  <a:lnTo>
                    <a:pt x="90" y="19"/>
                  </a:lnTo>
                  <a:lnTo>
                    <a:pt x="95" y="19"/>
                  </a:lnTo>
                  <a:lnTo>
                    <a:pt x="90" y="24"/>
                  </a:lnTo>
                  <a:lnTo>
                    <a:pt x="88" y="26"/>
                  </a:lnTo>
                  <a:lnTo>
                    <a:pt x="85" y="29"/>
                  </a:lnTo>
                  <a:lnTo>
                    <a:pt x="80" y="29"/>
                  </a:lnTo>
                  <a:lnTo>
                    <a:pt x="69" y="36"/>
                  </a:lnTo>
                  <a:lnTo>
                    <a:pt x="62" y="40"/>
                  </a:lnTo>
                  <a:lnTo>
                    <a:pt x="62" y="43"/>
                  </a:lnTo>
                  <a:lnTo>
                    <a:pt x="54" y="45"/>
                  </a:lnTo>
                  <a:lnTo>
                    <a:pt x="50" y="45"/>
                  </a:lnTo>
                  <a:lnTo>
                    <a:pt x="50" y="43"/>
                  </a:lnTo>
                  <a:lnTo>
                    <a:pt x="47" y="43"/>
                  </a:lnTo>
                  <a:lnTo>
                    <a:pt x="40" y="50"/>
                  </a:lnTo>
                  <a:lnTo>
                    <a:pt x="40" y="5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5" name="Freeform 6">
              <a:extLst>
                <a:ext uri="{FF2B5EF4-FFF2-40B4-BE49-F238E27FC236}">
                  <a16:creationId xmlns:a16="http://schemas.microsoft.com/office/drawing/2014/main" id="{7225D2D2-4D06-4B40-949E-1F3B5A127FCD}"/>
                </a:ext>
              </a:extLst>
            </p:cNvPr>
            <p:cNvSpPr>
              <a:spLocks/>
            </p:cNvSpPr>
            <p:nvPr/>
          </p:nvSpPr>
          <p:spPr bwMode="gray">
            <a:xfrm rot="47099">
              <a:off x="1293208" y="2037869"/>
              <a:ext cx="9796" cy="5789"/>
            </a:xfrm>
            <a:custGeom>
              <a:avLst/>
              <a:gdLst>
                <a:gd name="T0" fmla="*/ 5 w 21"/>
                <a:gd name="T1" fmla="*/ 0 h 10"/>
                <a:gd name="T2" fmla="*/ 7 w 21"/>
                <a:gd name="T3" fmla="*/ 0 h 10"/>
                <a:gd name="T4" fmla="*/ 7 w 21"/>
                <a:gd name="T5" fmla="*/ 3 h 10"/>
                <a:gd name="T6" fmla="*/ 9 w 21"/>
                <a:gd name="T7" fmla="*/ 3 h 10"/>
                <a:gd name="T8" fmla="*/ 16 w 21"/>
                <a:gd name="T9" fmla="*/ 7 h 10"/>
                <a:gd name="T10" fmla="*/ 21 w 21"/>
                <a:gd name="T11" fmla="*/ 10 h 10"/>
                <a:gd name="T12" fmla="*/ 9 w 21"/>
                <a:gd name="T13" fmla="*/ 10 h 10"/>
                <a:gd name="T14" fmla="*/ 9 w 21"/>
                <a:gd name="T15" fmla="*/ 7 h 10"/>
                <a:gd name="T16" fmla="*/ 5 w 21"/>
                <a:gd name="T17" fmla="*/ 7 h 10"/>
                <a:gd name="T18" fmla="*/ 5 w 21"/>
                <a:gd name="T19" fmla="*/ 3 h 10"/>
                <a:gd name="T20" fmla="*/ 0 w 21"/>
                <a:gd name="T21" fmla="*/ 0 h 10"/>
                <a:gd name="T22" fmla="*/ 5 w 21"/>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0"/>
                <a:gd name="T38" fmla="*/ 21 w 21"/>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0">
                  <a:moveTo>
                    <a:pt x="5" y="0"/>
                  </a:moveTo>
                  <a:lnTo>
                    <a:pt x="7" y="0"/>
                  </a:lnTo>
                  <a:lnTo>
                    <a:pt x="7" y="3"/>
                  </a:lnTo>
                  <a:lnTo>
                    <a:pt x="9" y="3"/>
                  </a:lnTo>
                  <a:lnTo>
                    <a:pt x="16" y="7"/>
                  </a:lnTo>
                  <a:lnTo>
                    <a:pt x="21" y="10"/>
                  </a:lnTo>
                  <a:lnTo>
                    <a:pt x="9" y="10"/>
                  </a:lnTo>
                  <a:lnTo>
                    <a:pt x="9" y="7"/>
                  </a:lnTo>
                  <a:lnTo>
                    <a:pt x="5" y="7"/>
                  </a:lnTo>
                  <a:lnTo>
                    <a:pt x="5" y="3"/>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6" name="Rectangle 7">
              <a:extLst>
                <a:ext uri="{FF2B5EF4-FFF2-40B4-BE49-F238E27FC236}">
                  <a16:creationId xmlns:a16="http://schemas.microsoft.com/office/drawing/2014/main" id="{CB4BA9ED-7BF6-4032-861F-D0434F4B116E}"/>
                </a:ext>
              </a:extLst>
            </p:cNvPr>
            <p:cNvSpPr>
              <a:spLocks noChangeArrowheads="1"/>
            </p:cNvSpPr>
            <p:nvPr/>
          </p:nvSpPr>
          <p:spPr bwMode="gray">
            <a:xfrm rot="47099">
              <a:off x="1236498" y="2018734"/>
              <a:ext cx="6235" cy="965"/>
            </a:xfrm>
            <a:prstGeom prst="rect">
              <a:avLst/>
            </a:prstGeom>
            <a:grpFill/>
            <a:ln w="3175" algn="ctr">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7" name="Freeform 8">
              <a:extLst>
                <a:ext uri="{FF2B5EF4-FFF2-40B4-BE49-F238E27FC236}">
                  <a16:creationId xmlns:a16="http://schemas.microsoft.com/office/drawing/2014/main" id="{3A29E70A-3281-49AD-B68B-A9331EA6D64F}"/>
                </a:ext>
              </a:extLst>
            </p:cNvPr>
            <p:cNvSpPr>
              <a:spLocks/>
            </p:cNvSpPr>
            <p:nvPr/>
          </p:nvSpPr>
          <p:spPr bwMode="gray">
            <a:xfrm rot="47099">
              <a:off x="899762" y="1965626"/>
              <a:ext cx="529914" cy="508466"/>
            </a:xfrm>
            <a:custGeom>
              <a:avLst/>
              <a:gdLst>
                <a:gd name="T0" fmla="*/ 109 w 1141"/>
                <a:gd name="T1" fmla="*/ 47 h 1094"/>
                <a:gd name="T2" fmla="*/ 128 w 1141"/>
                <a:gd name="T3" fmla="*/ 45 h 1094"/>
                <a:gd name="T4" fmla="*/ 153 w 1141"/>
                <a:gd name="T5" fmla="*/ 33 h 1094"/>
                <a:gd name="T6" fmla="*/ 213 w 1141"/>
                <a:gd name="T7" fmla="*/ 17 h 1094"/>
                <a:gd name="T8" fmla="*/ 236 w 1141"/>
                <a:gd name="T9" fmla="*/ 14 h 1094"/>
                <a:gd name="T10" fmla="*/ 276 w 1141"/>
                <a:gd name="T11" fmla="*/ 12 h 1094"/>
                <a:gd name="T12" fmla="*/ 309 w 1141"/>
                <a:gd name="T13" fmla="*/ 5 h 1094"/>
                <a:gd name="T14" fmla="*/ 331 w 1141"/>
                <a:gd name="T15" fmla="*/ 12 h 1094"/>
                <a:gd name="T16" fmla="*/ 293 w 1141"/>
                <a:gd name="T17" fmla="*/ 38 h 1094"/>
                <a:gd name="T18" fmla="*/ 229 w 1141"/>
                <a:gd name="T19" fmla="*/ 47 h 1094"/>
                <a:gd name="T20" fmla="*/ 172 w 1141"/>
                <a:gd name="T21" fmla="*/ 64 h 1094"/>
                <a:gd name="T22" fmla="*/ 172 w 1141"/>
                <a:gd name="T23" fmla="*/ 85 h 1094"/>
                <a:gd name="T24" fmla="*/ 179 w 1141"/>
                <a:gd name="T25" fmla="*/ 73 h 1094"/>
                <a:gd name="T26" fmla="*/ 194 w 1141"/>
                <a:gd name="T27" fmla="*/ 64 h 1094"/>
                <a:gd name="T28" fmla="*/ 241 w 1141"/>
                <a:gd name="T29" fmla="*/ 52 h 1094"/>
                <a:gd name="T30" fmla="*/ 257 w 1141"/>
                <a:gd name="T31" fmla="*/ 54 h 1094"/>
                <a:gd name="T32" fmla="*/ 257 w 1141"/>
                <a:gd name="T33" fmla="*/ 57 h 1094"/>
                <a:gd name="T34" fmla="*/ 257 w 1141"/>
                <a:gd name="T35" fmla="*/ 62 h 1094"/>
                <a:gd name="T36" fmla="*/ 257 w 1141"/>
                <a:gd name="T37" fmla="*/ 69 h 1094"/>
                <a:gd name="T38" fmla="*/ 257 w 1141"/>
                <a:gd name="T39" fmla="*/ 73 h 1094"/>
                <a:gd name="T40" fmla="*/ 291 w 1141"/>
                <a:gd name="T41" fmla="*/ 45 h 1094"/>
                <a:gd name="T42" fmla="*/ 338 w 1141"/>
                <a:gd name="T43" fmla="*/ 47 h 1094"/>
                <a:gd name="T44" fmla="*/ 364 w 1141"/>
                <a:gd name="T45" fmla="*/ 38 h 1094"/>
                <a:gd name="T46" fmla="*/ 390 w 1141"/>
                <a:gd name="T47" fmla="*/ 17 h 1094"/>
                <a:gd name="T48" fmla="*/ 402 w 1141"/>
                <a:gd name="T49" fmla="*/ 21 h 1094"/>
                <a:gd name="T50" fmla="*/ 418 w 1141"/>
                <a:gd name="T51" fmla="*/ 132 h 1094"/>
                <a:gd name="T52" fmla="*/ 428 w 1141"/>
                <a:gd name="T53" fmla="*/ 118 h 1094"/>
                <a:gd name="T54" fmla="*/ 442 w 1141"/>
                <a:gd name="T55" fmla="*/ 102 h 1094"/>
                <a:gd name="T56" fmla="*/ 463 w 1141"/>
                <a:gd name="T57" fmla="*/ 85 h 1094"/>
                <a:gd name="T58" fmla="*/ 470 w 1141"/>
                <a:gd name="T59" fmla="*/ 88 h 1094"/>
                <a:gd name="T60" fmla="*/ 477 w 1141"/>
                <a:gd name="T61" fmla="*/ 88 h 1094"/>
                <a:gd name="T62" fmla="*/ 458 w 1141"/>
                <a:gd name="T63" fmla="*/ 132 h 1094"/>
                <a:gd name="T64" fmla="*/ 498 w 1141"/>
                <a:gd name="T65" fmla="*/ 137 h 1094"/>
                <a:gd name="T66" fmla="*/ 541 w 1141"/>
                <a:gd name="T67" fmla="*/ 132 h 1094"/>
                <a:gd name="T68" fmla="*/ 524 w 1141"/>
                <a:gd name="T69" fmla="*/ 291 h 1094"/>
                <a:gd name="T70" fmla="*/ 947 w 1141"/>
                <a:gd name="T71" fmla="*/ 1084 h 1094"/>
                <a:gd name="T72" fmla="*/ 761 w 1141"/>
                <a:gd name="T73" fmla="*/ 1063 h 1094"/>
                <a:gd name="T74" fmla="*/ 572 w 1141"/>
                <a:gd name="T75" fmla="*/ 1032 h 1094"/>
                <a:gd name="T76" fmla="*/ 430 w 1141"/>
                <a:gd name="T77" fmla="*/ 1004 h 1094"/>
                <a:gd name="T78" fmla="*/ 305 w 1141"/>
                <a:gd name="T79" fmla="*/ 969 h 1094"/>
                <a:gd name="T80" fmla="*/ 168 w 1141"/>
                <a:gd name="T81" fmla="*/ 924 h 1094"/>
                <a:gd name="T82" fmla="*/ 161 w 1141"/>
                <a:gd name="T83" fmla="*/ 867 h 1094"/>
                <a:gd name="T84" fmla="*/ 149 w 1141"/>
                <a:gd name="T85" fmla="*/ 843 h 1094"/>
                <a:gd name="T86" fmla="*/ 104 w 1141"/>
                <a:gd name="T87" fmla="*/ 829 h 1094"/>
                <a:gd name="T88" fmla="*/ 76 w 1141"/>
                <a:gd name="T89" fmla="*/ 827 h 1094"/>
                <a:gd name="T90" fmla="*/ 76 w 1141"/>
                <a:gd name="T91" fmla="*/ 749 h 1094"/>
                <a:gd name="T92" fmla="*/ 52 w 1141"/>
                <a:gd name="T93" fmla="*/ 692 h 1094"/>
                <a:gd name="T94" fmla="*/ 33 w 1141"/>
                <a:gd name="T95" fmla="*/ 645 h 1094"/>
                <a:gd name="T96" fmla="*/ 47 w 1141"/>
                <a:gd name="T97" fmla="*/ 586 h 1094"/>
                <a:gd name="T98" fmla="*/ 50 w 1141"/>
                <a:gd name="T99" fmla="*/ 522 h 1094"/>
                <a:gd name="T100" fmla="*/ 47 w 1141"/>
                <a:gd name="T101" fmla="*/ 475 h 1094"/>
                <a:gd name="T102" fmla="*/ 33 w 1141"/>
                <a:gd name="T103" fmla="*/ 435 h 1094"/>
                <a:gd name="T104" fmla="*/ 31 w 1141"/>
                <a:gd name="T105" fmla="*/ 385 h 1094"/>
                <a:gd name="T106" fmla="*/ 50 w 1141"/>
                <a:gd name="T107" fmla="*/ 354 h 1094"/>
                <a:gd name="T108" fmla="*/ 66 w 1141"/>
                <a:gd name="T109" fmla="*/ 302 h 1094"/>
                <a:gd name="T110" fmla="*/ 35 w 1141"/>
                <a:gd name="T111" fmla="*/ 279 h 1094"/>
                <a:gd name="T112" fmla="*/ 64 w 1141"/>
                <a:gd name="T113" fmla="*/ 225 h 1094"/>
                <a:gd name="T114" fmla="*/ 16 w 1141"/>
                <a:gd name="T115" fmla="*/ 177 h 1094"/>
                <a:gd name="T116" fmla="*/ 26 w 1141"/>
                <a:gd name="T117" fmla="*/ 132 h 10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41"/>
                <a:gd name="T178" fmla="*/ 0 h 1094"/>
                <a:gd name="T179" fmla="*/ 1141 w 1141"/>
                <a:gd name="T180" fmla="*/ 1094 h 10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41" h="1094">
                  <a:moveTo>
                    <a:pt x="87" y="21"/>
                  </a:moveTo>
                  <a:lnTo>
                    <a:pt x="90" y="24"/>
                  </a:lnTo>
                  <a:lnTo>
                    <a:pt x="92" y="24"/>
                  </a:lnTo>
                  <a:lnTo>
                    <a:pt x="92" y="28"/>
                  </a:lnTo>
                  <a:lnTo>
                    <a:pt x="97" y="28"/>
                  </a:lnTo>
                  <a:lnTo>
                    <a:pt x="99" y="33"/>
                  </a:lnTo>
                  <a:lnTo>
                    <a:pt x="104" y="45"/>
                  </a:lnTo>
                  <a:lnTo>
                    <a:pt x="104" y="52"/>
                  </a:lnTo>
                  <a:lnTo>
                    <a:pt x="106" y="54"/>
                  </a:lnTo>
                  <a:lnTo>
                    <a:pt x="109" y="57"/>
                  </a:lnTo>
                  <a:lnTo>
                    <a:pt x="109" y="47"/>
                  </a:lnTo>
                  <a:lnTo>
                    <a:pt x="106" y="40"/>
                  </a:lnTo>
                  <a:lnTo>
                    <a:pt x="109" y="38"/>
                  </a:lnTo>
                  <a:lnTo>
                    <a:pt x="109" y="40"/>
                  </a:lnTo>
                  <a:lnTo>
                    <a:pt x="113" y="40"/>
                  </a:lnTo>
                  <a:lnTo>
                    <a:pt x="113" y="38"/>
                  </a:lnTo>
                  <a:lnTo>
                    <a:pt x="109" y="38"/>
                  </a:lnTo>
                  <a:lnTo>
                    <a:pt x="106" y="33"/>
                  </a:lnTo>
                  <a:lnTo>
                    <a:pt x="116" y="33"/>
                  </a:lnTo>
                  <a:lnTo>
                    <a:pt x="120" y="38"/>
                  </a:lnTo>
                  <a:lnTo>
                    <a:pt x="123" y="40"/>
                  </a:lnTo>
                  <a:lnTo>
                    <a:pt x="128" y="45"/>
                  </a:lnTo>
                  <a:lnTo>
                    <a:pt x="130" y="40"/>
                  </a:lnTo>
                  <a:lnTo>
                    <a:pt x="132" y="45"/>
                  </a:lnTo>
                  <a:lnTo>
                    <a:pt x="132" y="69"/>
                  </a:lnTo>
                  <a:lnTo>
                    <a:pt x="137" y="69"/>
                  </a:lnTo>
                  <a:lnTo>
                    <a:pt x="137" y="71"/>
                  </a:lnTo>
                  <a:lnTo>
                    <a:pt x="137" y="69"/>
                  </a:lnTo>
                  <a:lnTo>
                    <a:pt x="139" y="64"/>
                  </a:lnTo>
                  <a:lnTo>
                    <a:pt x="139" y="40"/>
                  </a:lnTo>
                  <a:lnTo>
                    <a:pt x="144" y="38"/>
                  </a:lnTo>
                  <a:lnTo>
                    <a:pt x="146" y="33"/>
                  </a:lnTo>
                  <a:lnTo>
                    <a:pt x="153" y="33"/>
                  </a:lnTo>
                  <a:lnTo>
                    <a:pt x="161" y="31"/>
                  </a:lnTo>
                  <a:lnTo>
                    <a:pt x="163" y="28"/>
                  </a:lnTo>
                  <a:lnTo>
                    <a:pt x="177" y="28"/>
                  </a:lnTo>
                  <a:lnTo>
                    <a:pt x="177" y="24"/>
                  </a:lnTo>
                  <a:lnTo>
                    <a:pt x="194" y="24"/>
                  </a:lnTo>
                  <a:lnTo>
                    <a:pt x="196" y="28"/>
                  </a:lnTo>
                  <a:lnTo>
                    <a:pt x="201" y="31"/>
                  </a:lnTo>
                  <a:lnTo>
                    <a:pt x="203" y="28"/>
                  </a:lnTo>
                  <a:lnTo>
                    <a:pt x="210" y="24"/>
                  </a:lnTo>
                  <a:lnTo>
                    <a:pt x="213" y="21"/>
                  </a:lnTo>
                  <a:lnTo>
                    <a:pt x="213" y="17"/>
                  </a:lnTo>
                  <a:lnTo>
                    <a:pt x="220" y="14"/>
                  </a:lnTo>
                  <a:lnTo>
                    <a:pt x="224" y="14"/>
                  </a:lnTo>
                  <a:lnTo>
                    <a:pt x="227" y="17"/>
                  </a:lnTo>
                  <a:lnTo>
                    <a:pt x="229" y="21"/>
                  </a:lnTo>
                  <a:lnTo>
                    <a:pt x="236" y="21"/>
                  </a:lnTo>
                  <a:lnTo>
                    <a:pt x="234" y="17"/>
                  </a:lnTo>
                  <a:lnTo>
                    <a:pt x="229" y="17"/>
                  </a:lnTo>
                  <a:lnTo>
                    <a:pt x="229" y="14"/>
                  </a:lnTo>
                  <a:lnTo>
                    <a:pt x="234" y="12"/>
                  </a:lnTo>
                  <a:lnTo>
                    <a:pt x="236" y="12"/>
                  </a:lnTo>
                  <a:lnTo>
                    <a:pt x="236" y="14"/>
                  </a:lnTo>
                  <a:lnTo>
                    <a:pt x="241" y="17"/>
                  </a:lnTo>
                  <a:lnTo>
                    <a:pt x="241" y="21"/>
                  </a:lnTo>
                  <a:lnTo>
                    <a:pt x="246" y="21"/>
                  </a:lnTo>
                  <a:lnTo>
                    <a:pt x="250" y="17"/>
                  </a:lnTo>
                  <a:lnTo>
                    <a:pt x="253" y="21"/>
                  </a:lnTo>
                  <a:lnTo>
                    <a:pt x="257" y="17"/>
                  </a:lnTo>
                  <a:lnTo>
                    <a:pt x="260" y="17"/>
                  </a:lnTo>
                  <a:lnTo>
                    <a:pt x="265" y="14"/>
                  </a:lnTo>
                  <a:lnTo>
                    <a:pt x="269" y="14"/>
                  </a:lnTo>
                  <a:lnTo>
                    <a:pt x="274" y="12"/>
                  </a:lnTo>
                  <a:lnTo>
                    <a:pt x="276" y="12"/>
                  </a:lnTo>
                  <a:lnTo>
                    <a:pt x="276" y="21"/>
                  </a:lnTo>
                  <a:lnTo>
                    <a:pt x="274" y="21"/>
                  </a:lnTo>
                  <a:lnTo>
                    <a:pt x="274" y="24"/>
                  </a:lnTo>
                  <a:lnTo>
                    <a:pt x="281" y="21"/>
                  </a:lnTo>
                  <a:lnTo>
                    <a:pt x="283" y="14"/>
                  </a:lnTo>
                  <a:lnTo>
                    <a:pt x="286" y="14"/>
                  </a:lnTo>
                  <a:lnTo>
                    <a:pt x="286" y="12"/>
                  </a:lnTo>
                  <a:lnTo>
                    <a:pt x="293" y="7"/>
                  </a:lnTo>
                  <a:lnTo>
                    <a:pt x="300" y="7"/>
                  </a:lnTo>
                  <a:lnTo>
                    <a:pt x="307" y="5"/>
                  </a:lnTo>
                  <a:lnTo>
                    <a:pt x="309" y="5"/>
                  </a:lnTo>
                  <a:lnTo>
                    <a:pt x="307" y="5"/>
                  </a:lnTo>
                  <a:lnTo>
                    <a:pt x="305" y="7"/>
                  </a:lnTo>
                  <a:lnTo>
                    <a:pt x="305" y="12"/>
                  </a:lnTo>
                  <a:lnTo>
                    <a:pt x="309" y="12"/>
                  </a:lnTo>
                  <a:lnTo>
                    <a:pt x="309" y="7"/>
                  </a:lnTo>
                  <a:lnTo>
                    <a:pt x="309" y="12"/>
                  </a:lnTo>
                  <a:lnTo>
                    <a:pt x="314" y="17"/>
                  </a:lnTo>
                  <a:lnTo>
                    <a:pt x="321" y="21"/>
                  </a:lnTo>
                  <a:lnTo>
                    <a:pt x="326" y="14"/>
                  </a:lnTo>
                  <a:lnTo>
                    <a:pt x="326" y="12"/>
                  </a:lnTo>
                  <a:lnTo>
                    <a:pt x="331" y="12"/>
                  </a:lnTo>
                  <a:lnTo>
                    <a:pt x="333" y="7"/>
                  </a:lnTo>
                  <a:lnTo>
                    <a:pt x="338" y="12"/>
                  </a:lnTo>
                  <a:lnTo>
                    <a:pt x="333" y="14"/>
                  </a:lnTo>
                  <a:lnTo>
                    <a:pt x="338" y="21"/>
                  </a:lnTo>
                  <a:lnTo>
                    <a:pt x="338" y="24"/>
                  </a:lnTo>
                  <a:lnTo>
                    <a:pt x="333" y="28"/>
                  </a:lnTo>
                  <a:lnTo>
                    <a:pt x="331" y="31"/>
                  </a:lnTo>
                  <a:lnTo>
                    <a:pt x="326" y="31"/>
                  </a:lnTo>
                  <a:lnTo>
                    <a:pt x="314" y="33"/>
                  </a:lnTo>
                  <a:lnTo>
                    <a:pt x="305" y="33"/>
                  </a:lnTo>
                  <a:lnTo>
                    <a:pt x="293" y="38"/>
                  </a:lnTo>
                  <a:lnTo>
                    <a:pt x="286" y="40"/>
                  </a:lnTo>
                  <a:lnTo>
                    <a:pt x="281" y="40"/>
                  </a:lnTo>
                  <a:lnTo>
                    <a:pt x="276" y="45"/>
                  </a:lnTo>
                  <a:lnTo>
                    <a:pt x="274" y="45"/>
                  </a:lnTo>
                  <a:lnTo>
                    <a:pt x="269" y="47"/>
                  </a:lnTo>
                  <a:lnTo>
                    <a:pt x="269" y="40"/>
                  </a:lnTo>
                  <a:lnTo>
                    <a:pt x="257" y="40"/>
                  </a:lnTo>
                  <a:lnTo>
                    <a:pt x="253" y="38"/>
                  </a:lnTo>
                  <a:lnTo>
                    <a:pt x="234" y="38"/>
                  </a:lnTo>
                  <a:lnTo>
                    <a:pt x="229" y="45"/>
                  </a:lnTo>
                  <a:lnTo>
                    <a:pt x="229" y="47"/>
                  </a:lnTo>
                  <a:lnTo>
                    <a:pt x="208" y="47"/>
                  </a:lnTo>
                  <a:lnTo>
                    <a:pt x="196" y="54"/>
                  </a:lnTo>
                  <a:lnTo>
                    <a:pt x="194" y="62"/>
                  </a:lnTo>
                  <a:lnTo>
                    <a:pt x="189" y="62"/>
                  </a:lnTo>
                  <a:lnTo>
                    <a:pt x="187" y="57"/>
                  </a:lnTo>
                  <a:lnTo>
                    <a:pt x="184" y="57"/>
                  </a:lnTo>
                  <a:lnTo>
                    <a:pt x="179" y="62"/>
                  </a:lnTo>
                  <a:lnTo>
                    <a:pt x="177" y="64"/>
                  </a:lnTo>
                  <a:lnTo>
                    <a:pt x="177" y="69"/>
                  </a:lnTo>
                  <a:lnTo>
                    <a:pt x="170" y="69"/>
                  </a:lnTo>
                  <a:lnTo>
                    <a:pt x="172" y="64"/>
                  </a:lnTo>
                  <a:lnTo>
                    <a:pt x="170" y="64"/>
                  </a:lnTo>
                  <a:lnTo>
                    <a:pt x="168" y="69"/>
                  </a:lnTo>
                  <a:lnTo>
                    <a:pt x="168" y="71"/>
                  </a:lnTo>
                  <a:lnTo>
                    <a:pt x="163" y="71"/>
                  </a:lnTo>
                  <a:lnTo>
                    <a:pt x="163" y="73"/>
                  </a:lnTo>
                  <a:lnTo>
                    <a:pt x="168" y="73"/>
                  </a:lnTo>
                  <a:lnTo>
                    <a:pt x="168" y="78"/>
                  </a:lnTo>
                  <a:lnTo>
                    <a:pt x="170" y="85"/>
                  </a:lnTo>
                  <a:lnTo>
                    <a:pt x="172" y="88"/>
                  </a:lnTo>
                  <a:lnTo>
                    <a:pt x="177" y="88"/>
                  </a:lnTo>
                  <a:lnTo>
                    <a:pt x="172" y="85"/>
                  </a:lnTo>
                  <a:lnTo>
                    <a:pt x="170" y="85"/>
                  </a:lnTo>
                  <a:lnTo>
                    <a:pt x="170" y="78"/>
                  </a:lnTo>
                  <a:lnTo>
                    <a:pt x="172" y="80"/>
                  </a:lnTo>
                  <a:lnTo>
                    <a:pt x="170" y="78"/>
                  </a:lnTo>
                  <a:lnTo>
                    <a:pt x="170" y="73"/>
                  </a:lnTo>
                  <a:lnTo>
                    <a:pt x="168" y="73"/>
                  </a:lnTo>
                  <a:lnTo>
                    <a:pt x="170" y="71"/>
                  </a:lnTo>
                  <a:lnTo>
                    <a:pt x="172" y="71"/>
                  </a:lnTo>
                  <a:lnTo>
                    <a:pt x="172" y="78"/>
                  </a:lnTo>
                  <a:lnTo>
                    <a:pt x="179" y="78"/>
                  </a:lnTo>
                  <a:lnTo>
                    <a:pt x="179" y="73"/>
                  </a:lnTo>
                  <a:lnTo>
                    <a:pt x="184" y="73"/>
                  </a:lnTo>
                  <a:lnTo>
                    <a:pt x="184" y="80"/>
                  </a:lnTo>
                  <a:lnTo>
                    <a:pt x="187" y="80"/>
                  </a:lnTo>
                  <a:lnTo>
                    <a:pt x="194" y="88"/>
                  </a:lnTo>
                  <a:lnTo>
                    <a:pt x="196" y="85"/>
                  </a:lnTo>
                  <a:lnTo>
                    <a:pt x="196" y="78"/>
                  </a:lnTo>
                  <a:lnTo>
                    <a:pt x="194" y="78"/>
                  </a:lnTo>
                  <a:lnTo>
                    <a:pt x="189" y="80"/>
                  </a:lnTo>
                  <a:lnTo>
                    <a:pt x="187" y="78"/>
                  </a:lnTo>
                  <a:lnTo>
                    <a:pt x="187" y="71"/>
                  </a:lnTo>
                  <a:lnTo>
                    <a:pt x="194" y="64"/>
                  </a:lnTo>
                  <a:lnTo>
                    <a:pt x="194" y="62"/>
                  </a:lnTo>
                  <a:lnTo>
                    <a:pt x="196" y="57"/>
                  </a:lnTo>
                  <a:lnTo>
                    <a:pt x="196" y="62"/>
                  </a:lnTo>
                  <a:lnTo>
                    <a:pt x="213" y="62"/>
                  </a:lnTo>
                  <a:lnTo>
                    <a:pt x="217" y="54"/>
                  </a:lnTo>
                  <a:lnTo>
                    <a:pt x="220" y="57"/>
                  </a:lnTo>
                  <a:lnTo>
                    <a:pt x="217" y="64"/>
                  </a:lnTo>
                  <a:lnTo>
                    <a:pt x="220" y="57"/>
                  </a:lnTo>
                  <a:lnTo>
                    <a:pt x="234" y="57"/>
                  </a:lnTo>
                  <a:lnTo>
                    <a:pt x="236" y="54"/>
                  </a:lnTo>
                  <a:lnTo>
                    <a:pt x="241" y="52"/>
                  </a:lnTo>
                  <a:lnTo>
                    <a:pt x="236" y="52"/>
                  </a:lnTo>
                  <a:lnTo>
                    <a:pt x="234" y="47"/>
                  </a:lnTo>
                  <a:lnTo>
                    <a:pt x="246" y="45"/>
                  </a:lnTo>
                  <a:lnTo>
                    <a:pt x="250" y="52"/>
                  </a:lnTo>
                  <a:lnTo>
                    <a:pt x="243" y="57"/>
                  </a:lnTo>
                  <a:lnTo>
                    <a:pt x="250" y="57"/>
                  </a:lnTo>
                  <a:lnTo>
                    <a:pt x="250" y="54"/>
                  </a:lnTo>
                  <a:lnTo>
                    <a:pt x="253" y="52"/>
                  </a:lnTo>
                  <a:lnTo>
                    <a:pt x="257" y="47"/>
                  </a:lnTo>
                  <a:lnTo>
                    <a:pt x="260" y="47"/>
                  </a:lnTo>
                  <a:lnTo>
                    <a:pt x="257" y="54"/>
                  </a:lnTo>
                  <a:lnTo>
                    <a:pt x="257" y="57"/>
                  </a:lnTo>
                  <a:lnTo>
                    <a:pt x="250" y="57"/>
                  </a:lnTo>
                  <a:lnTo>
                    <a:pt x="246" y="62"/>
                  </a:lnTo>
                  <a:lnTo>
                    <a:pt x="253" y="62"/>
                  </a:lnTo>
                  <a:lnTo>
                    <a:pt x="257" y="57"/>
                  </a:lnTo>
                  <a:lnTo>
                    <a:pt x="260" y="52"/>
                  </a:lnTo>
                  <a:lnTo>
                    <a:pt x="260" y="45"/>
                  </a:lnTo>
                  <a:lnTo>
                    <a:pt x="265" y="45"/>
                  </a:lnTo>
                  <a:lnTo>
                    <a:pt x="265" y="40"/>
                  </a:lnTo>
                  <a:lnTo>
                    <a:pt x="265" y="52"/>
                  </a:lnTo>
                  <a:lnTo>
                    <a:pt x="257" y="57"/>
                  </a:lnTo>
                  <a:lnTo>
                    <a:pt x="257" y="62"/>
                  </a:lnTo>
                  <a:lnTo>
                    <a:pt x="260" y="57"/>
                  </a:lnTo>
                  <a:lnTo>
                    <a:pt x="260" y="54"/>
                  </a:lnTo>
                  <a:lnTo>
                    <a:pt x="265" y="54"/>
                  </a:lnTo>
                  <a:lnTo>
                    <a:pt x="265" y="45"/>
                  </a:lnTo>
                  <a:lnTo>
                    <a:pt x="267" y="40"/>
                  </a:lnTo>
                  <a:lnTo>
                    <a:pt x="267" y="47"/>
                  </a:lnTo>
                  <a:lnTo>
                    <a:pt x="265" y="52"/>
                  </a:lnTo>
                  <a:lnTo>
                    <a:pt x="265" y="54"/>
                  </a:lnTo>
                  <a:lnTo>
                    <a:pt x="260" y="57"/>
                  </a:lnTo>
                  <a:lnTo>
                    <a:pt x="257" y="62"/>
                  </a:lnTo>
                  <a:lnTo>
                    <a:pt x="257" y="64"/>
                  </a:lnTo>
                  <a:lnTo>
                    <a:pt x="257" y="62"/>
                  </a:lnTo>
                  <a:lnTo>
                    <a:pt x="260" y="62"/>
                  </a:lnTo>
                  <a:lnTo>
                    <a:pt x="265" y="54"/>
                  </a:lnTo>
                  <a:lnTo>
                    <a:pt x="267" y="52"/>
                  </a:lnTo>
                  <a:lnTo>
                    <a:pt x="267" y="47"/>
                  </a:lnTo>
                  <a:lnTo>
                    <a:pt x="269" y="52"/>
                  </a:lnTo>
                  <a:lnTo>
                    <a:pt x="267" y="57"/>
                  </a:lnTo>
                  <a:lnTo>
                    <a:pt x="265" y="57"/>
                  </a:lnTo>
                  <a:lnTo>
                    <a:pt x="257" y="64"/>
                  </a:lnTo>
                  <a:lnTo>
                    <a:pt x="257" y="69"/>
                  </a:lnTo>
                  <a:lnTo>
                    <a:pt x="257" y="64"/>
                  </a:lnTo>
                  <a:lnTo>
                    <a:pt x="260" y="62"/>
                  </a:lnTo>
                  <a:lnTo>
                    <a:pt x="265" y="62"/>
                  </a:lnTo>
                  <a:lnTo>
                    <a:pt x="265" y="64"/>
                  </a:lnTo>
                  <a:lnTo>
                    <a:pt x="260" y="69"/>
                  </a:lnTo>
                  <a:lnTo>
                    <a:pt x="257" y="69"/>
                  </a:lnTo>
                  <a:lnTo>
                    <a:pt x="257" y="71"/>
                  </a:lnTo>
                  <a:lnTo>
                    <a:pt x="253" y="73"/>
                  </a:lnTo>
                  <a:lnTo>
                    <a:pt x="250" y="80"/>
                  </a:lnTo>
                  <a:lnTo>
                    <a:pt x="253" y="80"/>
                  </a:lnTo>
                  <a:lnTo>
                    <a:pt x="257" y="73"/>
                  </a:lnTo>
                  <a:lnTo>
                    <a:pt x="257" y="71"/>
                  </a:lnTo>
                  <a:lnTo>
                    <a:pt x="267" y="64"/>
                  </a:lnTo>
                  <a:lnTo>
                    <a:pt x="267" y="62"/>
                  </a:lnTo>
                  <a:lnTo>
                    <a:pt x="269" y="64"/>
                  </a:lnTo>
                  <a:lnTo>
                    <a:pt x="274" y="62"/>
                  </a:lnTo>
                  <a:lnTo>
                    <a:pt x="269" y="57"/>
                  </a:lnTo>
                  <a:lnTo>
                    <a:pt x="274" y="57"/>
                  </a:lnTo>
                  <a:lnTo>
                    <a:pt x="281" y="54"/>
                  </a:lnTo>
                  <a:lnTo>
                    <a:pt x="283" y="52"/>
                  </a:lnTo>
                  <a:lnTo>
                    <a:pt x="291" y="47"/>
                  </a:lnTo>
                  <a:lnTo>
                    <a:pt x="291" y="45"/>
                  </a:lnTo>
                  <a:lnTo>
                    <a:pt x="305" y="45"/>
                  </a:lnTo>
                  <a:lnTo>
                    <a:pt x="314" y="47"/>
                  </a:lnTo>
                  <a:lnTo>
                    <a:pt x="316" y="45"/>
                  </a:lnTo>
                  <a:lnTo>
                    <a:pt x="326" y="45"/>
                  </a:lnTo>
                  <a:lnTo>
                    <a:pt x="331" y="47"/>
                  </a:lnTo>
                  <a:lnTo>
                    <a:pt x="338" y="47"/>
                  </a:lnTo>
                  <a:lnTo>
                    <a:pt x="340" y="45"/>
                  </a:lnTo>
                  <a:lnTo>
                    <a:pt x="340" y="40"/>
                  </a:lnTo>
                  <a:lnTo>
                    <a:pt x="347" y="40"/>
                  </a:lnTo>
                  <a:lnTo>
                    <a:pt x="338" y="52"/>
                  </a:lnTo>
                  <a:lnTo>
                    <a:pt x="338" y="47"/>
                  </a:lnTo>
                  <a:lnTo>
                    <a:pt x="331" y="47"/>
                  </a:lnTo>
                  <a:lnTo>
                    <a:pt x="326" y="62"/>
                  </a:lnTo>
                  <a:lnTo>
                    <a:pt x="331" y="64"/>
                  </a:lnTo>
                  <a:lnTo>
                    <a:pt x="333" y="64"/>
                  </a:lnTo>
                  <a:lnTo>
                    <a:pt x="340" y="57"/>
                  </a:lnTo>
                  <a:lnTo>
                    <a:pt x="347" y="54"/>
                  </a:lnTo>
                  <a:lnTo>
                    <a:pt x="350" y="52"/>
                  </a:lnTo>
                  <a:lnTo>
                    <a:pt x="357" y="52"/>
                  </a:lnTo>
                  <a:lnTo>
                    <a:pt x="361" y="47"/>
                  </a:lnTo>
                  <a:lnTo>
                    <a:pt x="364" y="45"/>
                  </a:lnTo>
                  <a:lnTo>
                    <a:pt x="364" y="38"/>
                  </a:lnTo>
                  <a:lnTo>
                    <a:pt x="366" y="33"/>
                  </a:lnTo>
                  <a:lnTo>
                    <a:pt x="394" y="33"/>
                  </a:lnTo>
                  <a:lnTo>
                    <a:pt x="394" y="38"/>
                  </a:lnTo>
                  <a:lnTo>
                    <a:pt x="394" y="33"/>
                  </a:lnTo>
                  <a:lnTo>
                    <a:pt x="390" y="33"/>
                  </a:lnTo>
                  <a:lnTo>
                    <a:pt x="390" y="31"/>
                  </a:lnTo>
                  <a:lnTo>
                    <a:pt x="387" y="31"/>
                  </a:lnTo>
                  <a:lnTo>
                    <a:pt x="380" y="24"/>
                  </a:lnTo>
                  <a:lnTo>
                    <a:pt x="383" y="21"/>
                  </a:lnTo>
                  <a:lnTo>
                    <a:pt x="387" y="21"/>
                  </a:lnTo>
                  <a:lnTo>
                    <a:pt x="390" y="17"/>
                  </a:lnTo>
                  <a:lnTo>
                    <a:pt x="383" y="17"/>
                  </a:lnTo>
                  <a:lnTo>
                    <a:pt x="380" y="14"/>
                  </a:lnTo>
                  <a:lnTo>
                    <a:pt x="383" y="12"/>
                  </a:lnTo>
                  <a:lnTo>
                    <a:pt x="387" y="7"/>
                  </a:lnTo>
                  <a:lnTo>
                    <a:pt x="387" y="5"/>
                  </a:lnTo>
                  <a:lnTo>
                    <a:pt x="394" y="0"/>
                  </a:lnTo>
                  <a:lnTo>
                    <a:pt x="394" y="5"/>
                  </a:lnTo>
                  <a:lnTo>
                    <a:pt x="397" y="5"/>
                  </a:lnTo>
                  <a:lnTo>
                    <a:pt x="397" y="7"/>
                  </a:lnTo>
                  <a:lnTo>
                    <a:pt x="402" y="14"/>
                  </a:lnTo>
                  <a:lnTo>
                    <a:pt x="402" y="21"/>
                  </a:lnTo>
                  <a:lnTo>
                    <a:pt x="404" y="24"/>
                  </a:lnTo>
                  <a:lnTo>
                    <a:pt x="404" y="62"/>
                  </a:lnTo>
                  <a:lnTo>
                    <a:pt x="402" y="71"/>
                  </a:lnTo>
                  <a:lnTo>
                    <a:pt x="402" y="95"/>
                  </a:lnTo>
                  <a:lnTo>
                    <a:pt x="404" y="104"/>
                  </a:lnTo>
                  <a:lnTo>
                    <a:pt x="404" y="109"/>
                  </a:lnTo>
                  <a:lnTo>
                    <a:pt x="406" y="113"/>
                  </a:lnTo>
                  <a:lnTo>
                    <a:pt x="406" y="118"/>
                  </a:lnTo>
                  <a:lnTo>
                    <a:pt x="411" y="121"/>
                  </a:lnTo>
                  <a:lnTo>
                    <a:pt x="411" y="125"/>
                  </a:lnTo>
                  <a:lnTo>
                    <a:pt x="418" y="132"/>
                  </a:lnTo>
                  <a:lnTo>
                    <a:pt x="420" y="135"/>
                  </a:lnTo>
                  <a:lnTo>
                    <a:pt x="423" y="132"/>
                  </a:lnTo>
                  <a:lnTo>
                    <a:pt x="423" y="128"/>
                  </a:lnTo>
                  <a:lnTo>
                    <a:pt x="430" y="132"/>
                  </a:lnTo>
                  <a:lnTo>
                    <a:pt x="435" y="128"/>
                  </a:lnTo>
                  <a:lnTo>
                    <a:pt x="435" y="125"/>
                  </a:lnTo>
                  <a:lnTo>
                    <a:pt x="423" y="121"/>
                  </a:lnTo>
                  <a:lnTo>
                    <a:pt x="420" y="125"/>
                  </a:lnTo>
                  <a:lnTo>
                    <a:pt x="418" y="125"/>
                  </a:lnTo>
                  <a:lnTo>
                    <a:pt x="420" y="121"/>
                  </a:lnTo>
                  <a:lnTo>
                    <a:pt x="428" y="118"/>
                  </a:lnTo>
                  <a:lnTo>
                    <a:pt x="430" y="121"/>
                  </a:lnTo>
                  <a:lnTo>
                    <a:pt x="435" y="125"/>
                  </a:lnTo>
                  <a:lnTo>
                    <a:pt x="435" y="109"/>
                  </a:lnTo>
                  <a:lnTo>
                    <a:pt x="437" y="104"/>
                  </a:lnTo>
                  <a:lnTo>
                    <a:pt x="446" y="104"/>
                  </a:lnTo>
                  <a:lnTo>
                    <a:pt x="446" y="111"/>
                  </a:lnTo>
                  <a:lnTo>
                    <a:pt x="451" y="111"/>
                  </a:lnTo>
                  <a:lnTo>
                    <a:pt x="454" y="109"/>
                  </a:lnTo>
                  <a:lnTo>
                    <a:pt x="451" y="104"/>
                  </a:lnTo>
                  <a:lnTo>
                    <a:pt x="446" y="104"/>
                  </a:lnTo>
                  <a:lnTo>
                    <a:pt x="442" y="102"/>
                  </a:lnTo>
                  <a:lnTo>
                    <a:pt x="442" y="97"/>
                  </a:lnTo>
                  <a:lnTo>
                    <a:pt x="444" y="95"/>
                  </a:lnTo>
                  <a:lnTo>
                    <a:pt x="446" y="92"/>
                  </a:lnTo>
                  <a:lnTo>
                    <a:pt x="446" y="95"/>
                  </a:lnTo>
                  <a:lnTo>
                    <a:pt x="444" y="97"/>
                  </a:lnTo>
                  <a:lnTo>
                    <a:pt x="451" y="97"/>
                  </a:lnTo>
                  <a:lnTo>
                    <a:pt x="451" y="95"/>
                  </a:lnTo>
                  <a:lnTo>
                    <a:pt x="458" y="92"/>
                  </a:lnTo>
                  <a:lnTo>
                    <a:pt x="458" y="88"/>
                  </a:lnTo>
                  <a:lnTo>
                    <a:pt x="463" y="88"/>
                  </a:lnTo>
                  <a:lnTo>
                    <a:pt x="463" y="85"/>
                  </a:lnTo>
                  <a:lnTo>
                    <a:pt x="461" y="85"/>
                  </a:lnTo>
                  <a:lnTo>
                    <a:pt x="458" y="80"/>
                  </a:lnTo>
                  <a:lnTo>
                    <a:pt x="458" y="85"/>
                  </a:lnTo>
                  <a:lnTo>
                    <a:pt x="451" y="85"/>
                  </a:lnTo>
                  <a:lnTo>
                    <a:pt x="451" y="80"/>
                  </a:lnTo>
                  <a:lnTo>
                    <a:pt x="461" y="78"/>
                  </a:lnTo>
                  <a:lnTo>
                    <a:pt x="458" y="80"/>
                  </a:lnTo>
                  <a:lnTo>
                    <a:pt x="463" y="80"/>
                  </a:lnTo>
                  <a:lnTo>
                    <a:pt x="461" y="80"/>
                  </a:lnTo>
                  <a:lnTo>
                    <a:pt x="470" y="80"/>
                  </a:lnTo>
                  <a:lnTo>
                    <a:pt x="470" y="88"/>
                  </a:lnTo>
                  <a:lnTo>
                    <a:pt x="475" y="85"/>
                  </a:lnTo>
                  <a:lnTo>
                    <a:pt x="477" y="85"/>
                  </a:lnTo>
                  <a:lnTo>
                    <a:pt x="477" y="80"/>
                  </a:lnTo>
                  <a:lnTo>
                    <a:pt x="475" y="80"/>
                  </a:lnTo>
                  <a:lnTo>
                    <a:pt x="475" y="78"/>
                  </a:lnTo>
                  <a:lnTo>
                    <a:pt x="468" y="78"/>
                  </a:lnTo>
                  <a:lnTo>
                    <a:pt x="470" y="73"/>
                  </a:lnTo>
                  <a:lnTo>
                    <a:pt x="477" y="78"/>
                  </a:lnTo>
                  <a:lnTo>
                    <a:pt x="479" y="78"/>
                  </a:lnTo>
                  <a:lnTo>
                    <a:pt x="477" y="85"/>
                  </a:lnTo>
                  <a:lnTo>
                    <a:pt x="477" y="88"/>
                  </a:lnTo>
                  <a:lnTo>
                    <a:pt x="475" y="92"/>
                  </a:lnTo>
                  <a:lnTo>
                    <a:pt x="470" y="92"/>
                  </a:lnTo>
                  <a:lnTo>
                    <a:pt x="468" y="102"/>
                  </a:lnTo>
                  <a:lnTo>
                    <a:pt x="463" y="104"/>
                  </a:lnTo>
                  <a:lnTo>
                    <a:pt x="463" y="113"/>
                  </a:lnTo>
                  <a:lnTo>
                    <a:pt x="475" y="113"/>
                  </a:lnTo>
                  <a:lnTo>
                    <a:pt x="475" y="121"/>
                  </a:lnTo>
                  <a:lnTo>
                    <a:pt x="468" y="125"/>
                  </a:lnTo>
                  <a:lnTo>
                    <a:pt x="463" y="128"/>
                  </a:lnTo>
                  <a:lnTo>
                    <a:pt x="461" y="128"/>
                  </a:lnTo>
                  <a:lnTo>
                    <a:pt x="458" y="132"/>
                  </a:lnTo>
                  <a:lnTo>
                    <a:pt x="451" y="137"/>
                  </a:lnTo>
                  <a:lnTo>
                    <a:pt x="451" y="142"/>
                  </a:lnTo>
                  <a:lnTo>
                    <a:pt x="454" y="144"/>
                  </a:lnTo>
                  <a:lnTo>
                    <a:pt x="470" y="144"/>
                  </a:lnTo>
                  <a:lnTo>
                    <a:pt x="475" y="149"/>
                  </a:lnTo>
                  <a:lnTo>
                    <a:pt x="484" y="149"/>
                  </a:lnTo>
                  <a:lnTo>
                    <a:pt x="484" y="142"/>
                  </a:lnTo>
                  <a:lnTo>
                    <a:pt x="491" y="142"/>
                  </a:lnTo>
                  <a:lnTo>
                    <a:pt x="494" y="144"/>
                  </a:lnTo>
                  <a:lnTo>
                    <a:pt x="494" y="142"/>
                  </a:lnTo>
                  <a:lnTo>
                    <a:pt x="498" y="137"/>
                  </a:lnTo>
                  <a:lnTo>
                    <a:pt x="501" y="128"/>
                  </a:lnTo>
                  <a:lnTo>
                    <a:pt x="503" y="121"/>
                  </a:lnTo>
                  <a:lnTo>
                    <a:pt x="510" y="118"/>
                  </a:lnTo>
                  <a:lnTo>
                    <a:pt x="515" y="118"/>
                  </a:lnTo>
                  <a:lnTo>
                    <a:pt x="515" y="121"/>
                  </a:lnTo>
                  <a:lnTo>
                    <a:pt x="520" y="121"/>
                  </a:lnTo>
                  <a:lnTo>
                    <a:pt x="520" y="125"/>
                  </a:lnTo>
                  <a:lnTo>
                    <a:pt x="524" y="125"/>
                  </a:lnTo>
                  <a:lnTo>
                    <a:pt x="531" y="128"/>
                  </a:lnTo>
                  <a:lnTo>
                    <a:pt x="539" y="128"/>
                  </a:lnTo>
                  <a:lnTo>
                    <a:pt x="541" y="132"/>
                  </a:lnTo>
                  <a:lnTo>
                    <a:pt x="548" y="132"/>
                  </a:lnTo>
                  <a:lnTo>
                    <a:pt x="555" y="137"/>
                  </a:lnTo>
                  <a:lnTo>
                    <a:pt x="560" y="144"/>
                  </a:lnTo>
                  <a:lnTo>
                    <a:pt x="560" y="149"/>
                  </a:lnTo>
                  <a:lnTo>
                    <a:pt x="565" y="149"/>
                  </a:lnTo>
                  <a:lnTo>
                    <a:pt x="565" y="151"/>
                  </a:lnTo>
                  <a:lnTo>
                    <a:pt x="567" y="151"/>
                  </a:lnTo>
                  <a:lnTo>
                    <a:pt x="567" y="154"/>
                  </a:lnTo>
                  <a:lnTo>
                    <a:pt x="572" y="158"/>
                  </a:lnTo>
                  <a:lnTo>
                    <a:pt x="572" y="161"/>
                  </a:lnTo>
                  <a:lnTo>
                    <a:pt x="524" y="291"/>
                  </a:lnTo>
                  <a:lnTo>
                    <a:pt x="751" y="569"/>
                  </a:lnTo>
                  <a:lnTo>
                    <a:pt x="822" y="581"/>
                  </a:lnTo>
                  <a:lnTo>
                    <a:pt x="862" y="645"/>
                  </a:lnTo>
                  <a:lnTo>
                    <a:pt x="1141" y="718"/>
                  </a:lnTo>
                  <a:lnTo>
                    <a:pt x="1129" y="1094"/>
                  </a:lnTo>
                  <a:lnTo>
                    <a:pt x="1072" y="1094"/>
                  </a:lnTo>
                  <a:lnTo>
                    <a:pt x="1028" y="1089"/>
                  </a:lnTo>
                  <a:lnTo>
                    <a:pt x="1009" y="1089"/>
                  </a:lnTo>
                  <a:lnTo>
                    <a:pt x="994" y="1087"/>
                  </a:lnTo>
                  <a:lnTo>
                    <a:pt x="968" y="1087"/>
                  </a:lnTo>
                  <a:lnTo>
                    <a:pt x="947" y="1084"/>
                  </a:lnTo>
                  <a:lnTo>
                    <a:pt x="938" y="1084"/>
                  </a:lnTo>
                  <a:lnTo>
                    <a:pt x="902" y="1080"/>
                  </a:lnTo>
                  <a:lnTo>
                    <a:pt x="888" y="1080"/>
                  </a:lnTo>
                  <a:lnTo>
                    <a:pt x="848" y="1077"/>
                  </a:lnTo>
                  <a:lnTo>
                    <a:pt x="841" y="1073"/>
                  </a:lnTo>
                  <a:lnTo>
                    <a:pt x="831" y="1073"/>
                  </a:lnTo>
                  <a:lnTo>
                    <a:pt x="810" y="1070"/>
                  </a:lnTo>
                  <a:lnTo>
                    <a:pt x="791" y="1070"/>
                  </a:lnTo>
                  <a:lnTo>
                    <a:pt x="784" y="1066"/>
                  </a:lnTo>
                  <a:lnTo>
                    <a:pt x="772" y="1066"/>
                  </a:lnTo>
                  <a:lnTo>
                    <a:pt x="761" y="1063"/>
                  </a:lnTo>
                  <a:lnTo>
                    <a:pt x="751" y="1063"/>
                  </a:lnTo>
                  <a:lnTo>
                    <a:pt x="709" y="1056"/>
                  </a:lnTo>
                  <a:lnTo>
                    <a:pt x="702" y="1056"/>
                  </a:lnTo>
                  <a:lnTo>
                    <a:pt x="687" y="1054"/>
                  </a:lnTo>
                  <a:lnTo>
                    <a:pt x="671" y="1049"/>
                  </a:lnTo>
                  <a:lnTo>
                    <a:pt x="652" y="1047"/>
                  </a:lnTo>
                  <a:lnTo>
                    <a:pt x="624" y="1044"/>
                  </a:lnTo>
                  <a:lnTo>
                    <a:pt x="598" y="1040"/>
                  </a:lnTo>
                  <a:lnTo>
                    <a:pt x="588" y="1037"/>
                  </a:lnTo>
                  <a:lnTo>
                    <a:pt x="576" y="1032"/>
                  </a:lnTo>
                  <a:lnTo>
                    <a:pt x="572" y="1032"/>
                  </a:lnTo>
                  <a:lnTo>
                    <a:pt x="560" y="1030"/>
                  </a:lnTo>
                  <a:lnTo>
                    <a:pt x="531" y="1028"/>
                  </a:lnTo>
                  <a:lnTo>
                    <a:pt x="520" y="1023"/>
                  </a:lnTo>
                  <a:lnTo>
                    <a:pt x="510" y="1021"/>
                  </a:lnTo>
                  <a:lnTo>
                    <a:pt x="498" y="1021"/>
                  </a:lnTo>
                  <a:lnTo>
                    <a:pt x="494" y="1016"/>
                  </a:lnTo>
                  <a:lnTo>
                    <a:pt x="484" y="1016"/>
                  </a:lnTo>
                  <a:lnTo>
                    <a:pt x="477" y="1014"/>
                  </a:lnTo>
                  <a:lnTo>
                    <a:pt x="461" y="1009"/>
                  </a:lnTo>
                  <a:lnTo>
                    <a:pt x="446" y="1006"/>
                  </a:lnTo>
                  <a:lnTo>
                    <a:pt x="430" y="1004"/>
                  </a:lnTo>
                  <a:lnTo>
                    <a:pt x="404" y="997"/>
                  </a:lnTo>
                  <a:lnTo>
                    <a:pt x="387" y="992"/>
                  </a:lnTo>
                  <a:lnTo>
                    <a:pt x="366" y="988"/>
                  </a:lnTo>
                  <a:lnTo>
                    <a:pt x="354" y="983"/>
                  </a:lnTo>
                  <a:lnTo>
                    <a:pt x="338" y="980"/>
                  </a:lnTo>
                  <a:lnTo>
                    <a:pt x="333" y="976"/>
                  </a:lnTo>
                  <a:lnTo>
                    <a:pt x="333" y="980"/>
                  </a:lnTo>
                  <a:lnTo>
                    <a:pt x="331" y="976"/>
                  </a:lnTo>
                  <a:lnTo>
                    <a:pt x="326" y="976"/>
                  </a:lnTo>
                  <a:lnTo>
                    <a:pt x="316" y="973"/>
                  </a:lnTo>
                  <a:lnTo>
                    <a:pt x="305" y="969"/>
                  </a:lnTo>
                  <a:lnTo>
                    <a:pt x="286" y="966"/>
                  </a:lnTo>
                  <a:lnTo>
                    <a:pt x="267" y="959"/>
                  </a:lnTo>
                  <a:lnTo>
                    <a:pt x="257" y="957"/>
                  </a:lnTo>
                  <a:lnTo>
                    <a:pt x="208" y="940"/>
                  </a:lnTo>
                  <a:lnTo>
                    <a:pt x="203" y="940"/>
                  </a:lnTo>
                  <a:lnTo>
                    <a:pt x="187" y="936"/>
                  </a:lnTo>
                  <a:lnTo>
                    <a:pt x="179" y="933"/>
                  </a:lnTo>
                  <a:lnTo>
                    <a:pt x="172" y="929"/>
                  </a:lnTo>
                  <a:lnTo>
                    <a:pt x="170" y="929"/>
                  </a:lnTo>
                  <a:lnTo>
                    <a:pt x="170" y="926"/>
                  </a:lnTo>
                  <a:lnTo>
                    <a:pt x="168" y="924"/>
                  </a:lnTo>
                  <a:lnTo>
                    <a:pt x="163" y="926"/>
                  </a:lnTo>
                  <a:lnTo>
                    <a:pt x="161" y="924"/>
                  </a:lnTo>
                  <a:lnTo>
                    <a:pt x="168" y="919"/>
                  </a:lnTo>
                  <a:lnTo>
                    <a:pt x="168" y="912"/>
                  </a:lnTo>
                  <a:lnTo>
                    <a:pt x="163" y="910"/>
                  </a:lnTo>
                  <a:lnTo>
                    <a:pt x="163" y="891"/>
                  </a:lnTo>
                  <a:lnTo>
                    <a:pt x="168" y="886"/>
                  </a:lnTo>
                  <a:lnTo>
                    <a:pt x="168" y="884"/>
                  </a:lnTo>
                  <a:lnTo>
                    <a:pt x="163" y="884"/>
                  </a:lnTo>
                  <a:lnTo>
                    <a:pt x="161" y="877"/>
                  </a:lnTo>
                  <a:lnTo>
                    <a:pt x="161" y="867"/>
                  </a:lnTo>
                  <a:lnTo>
                    <a:pt x="156" y="867"/>
                  </a:lnTo>
                  <a:lnTo>
                    <a:pt x="156" y="860"/>
                  </a:lnTo>
                  <a:lnTo>
                    <a:pt x="161" y="855"/>
                  </a:lnTo>
                  <a:lnTo>
                    <a:pt x="163" y="855"/>
                  </a:lnTo>
                  <a:lnTo>
                    <a:pt x="163" y="853"/>
                  </a:lnTo>
                  <a:lnTo>
                    <a:pt x="168" y="853"/>
                  </a:lnTo>
                  <a:lnTo>
                    <a:pt x="168" y="836"/>
                  </a:lnTo>
                  <a:lnTo>
                    <a:pt x="156" y="832"/>
                  </a:lnTo>
                  <a:lnTo>
                    <a:pt x="153" y="836"/>
                  </a:lnTo>
                  <a:lnTo>
                    <a:pt x="153" y="839"/>
                  </a:lnTo>
                  <a:lnTo>
                    <a:pt x="149" y="843"/>
                  </a:lnTo>
                  <a:lnTo>
                    <a:pt x="149" y="839"/>
                  </a:lnTo>
                  <a:lnTo>
                    <a:pt x="128" y="839"/>
                  </a:lnTo>
                  <a:lnTo>
                    <a:pt x="116" y="832"/>
                  </a:lnTo>
                  <a:lnTo>
                    <a:pt x="116" y="827"/>
                  </a:lnTo>
                  <a:lnTo>
                    <a:pt x="113" y="827"/>
                  </a:lnTo>
                  <a:lnTo>
                    <a:pt x="113" y="822"/>
                  </a:lnTo>
                  <a:lnTo>
                    <a:pt x="109" y="822"/>
                  </a:lnTo>
                  <a:lnTo>
                    <a:pt x="109" y="827"/>
                  </a:lnTo>
                  <a:lnTo>
                    <a:pt x="106" y="827"/>
                  </a:lnTo>
                  <a:lnTo>
                    <a:pt x="106" y="829"/>
                  </a:lnTo>
                  <a:lnTo>
                    <a:pt x="104" y="829"/>
                  </a:lnTo>
                  <a:lnTo>
                    <a:pt x="99" y="827"/>
                  </a:lnTo>
                  <a:lnTo>
                    <a:pt x="104" y="822"/>
                  </a:lnTo>
                  <a:lnTo>
                    <a:pt x="97" y="822"/>
                  </a:lnTo>
                  <a:lnTo>
                    <a:pt x="97" y="827"/>
                  </a:lnTo>
                  <a:lnTo>
                    <a:pt x="87" y="827"/>
                  </a:lnTo>
                  <a:lnTo>
                    <a:pt x="87" y="822"/>
                  </a:lnTo>
                  <a:lnTo>
                    <a:pt x="83" y="822"/>
                  </a:lnTo>
                  <a:lnTo>
                    <a:pt x="83" y="820"/>
                  </a:lnTo>
                  <a:lnTo>
                    <a:pt x="80" y="822"/>
                  </a:lnTo>
                  <a:lnTo>
                    <a:pt x="76" y="822"/>
                  </a:lnTo>
                  <a:lnTo>
                    <a:pt x="76" y="827"/>
                  </a:lnTo>
                  <a:lnTo>
                    <a:pt x="71" y="820"/>
                  </a:lnTo>
                  <a:lnTo>
                    <a:pt x="66" y="815"/>
                  </a:lnTo>
                  <a:lnTo>
                    <a:pt x="71" y="810"/>
                  </a:lnTo>
                  <a:lnTo>
                    <a:pt x="71" y="806"/>
                  </a:lnTo>
                  <a:lnTo>
                    <a:pt x="76" y="796"/>
                  </a:lnTo>
                  <a:lnTo>
                    <a:pt x="80" y="773"/>
                  </a:lnTo>
                  <a:lnTo>
                    <a:pt x="80" y="770"/>
                  </a:lnTo>
                  <a:lnTo>
                    <a:pt x="83" y="758"/>
                  </a:lnTo>
                  <a:lnTo>
                    <a:pt x="80" y="756"/>
                  </a:lnTo>
                  <a:lnTo>
                    <a:pt x="80" y="754"/>
                  </a:lnTo>
                  <a:lnTo>
                    <a:pt x="76" y="749"/>
                  </a:lnTo>
                  <a:lnTo>
                    <a:pt x="71" y="749"/>
                  </a:lnTo>
                  <a:lnTo>
                    <a:pt x="66" y="747"/>
                  </a:lnTo>
                  <a:lnTo>
                    <a:pt x="64" y="742"/>
                  </a:lnTo>
                  <a:lnTo>
                    <a:pt x="59" y="735"/>
                  </a:lnTo>
                  <a:lnTo>
                    <a:pt x="57" y="725"/>
                  </a:lnTo>
                  <a:lnTo>
                    <a:pt x="57" y="723"/>
                  </a:lnTo>
                  <a:lnTo>
                    <a:pt x="59" y="718"/>
                  </a:lnTo>
                  <a:lnTo>
                    <a:pt x="59" y="709"/>
                  </a:lnTo>
                  <a:lnTo>
                    <a:pt x="57" y="709"/>
                  </a:lnTo>
                  <a:lnTo>
                    <a:pt x="52" y="706"/>
                  </a:lnTo>
                  <a:lnTo>
                    <a:pt x="52" y="692"/>
                  </a:lnTo>
                  <a:lnTo>
                    <a:pt x="50" y="683"/>
                  </a:lnTo>
                  <a:lnTo>
                    <a:pt x="47" y="678"/>
                  </a:lnTo>
                  <a:lnTo>
                    <a:pt x="42" y="678"/>
                  </a:lnTo>
                  <a:lnTo>
                    <a:pt x="42" y="683"/>
                  </a:lnTo>
                  <a:lnTo>
                    <a:pt x="33" y="673"/>
                  </a:lnTo>
                  <a:lnTo>
                    <a:pt x="26" y="673"/>
                  </a:lnTo>
                  <a:lnTo>
                    <a:pt x="24" y="666"/>
                  </a:lnTo>
                  <a:lnTo>
                    <a:pt x="26" y="666"/>
                  </a:lnTo>
                  <a:lnTo>
                    <a:pt x="31" y="662"/>
                  </a:lnTo>
                  <a:lnTo>
                    <a:pt x="31" y="652"/>
                  </a:lnTo>
                  <a:lnTo>
                    <a:pt x="33" y="645"/>
                  </a:lnTo>
                  <a:lnTo>
                    <a:pt x="35" y="643"/>
                  </a:lnTo>
                  <a:lnTo>
                    <a:pt x="40" y="643"/>
                  </a:lnTo>
                  <a:lnTo>
                    <a:pt x="40" y="636"/>
                  </a:lnTo>
                  <a:lnTo>
                    <a:pt x="35" y="636"/>
                  </a:lnTo>
                  <a:lnTo>
                    <a:pt x="33" y="626"/>
                  </a:lnTo>
                  <a:lnTo>
                    <a:pt x="35" y="621"/>
                  </a:lnTo>
                  <a:lnTo>
                    <a:pt x="33" y="612"/>
                  </a:lnTo>
                  <a:lnTo>
                    <a:pt x="33" y="603"/>
                  </a:lnTo>
                  <a:lnTo>
                    <a:pt x="42" y="593"/>
                  </a:lnTo>
                  <a:lnTo>
                    <a:pt x="47" y="588"/>
                  </a:lnTo>
                  <a:lnTo>
                    <a:pt x="47" y="586"/>
                  </a:lnTo>
                  <a:lnTo>
                    <a:pt x="40" y="586"/>
                  </a:lnTo>
                  <a:lnTo>
                    <a:pt x="40" y="562"/>
                  </a:lnTo>
                  <a:lnTo>
                    <a:pt x="35" y="562"/>
                  </a:lnTo>
                  <a:lnTo>
                    <a:pt x="35" y="560"/>
                  </a:lnTo>
                  <a:lnTo>
                    <a:pt x="47" y="560"/>
                  </a:lnTo>
                  <a:lnTo>
                    <a:pt x="57" y="553"/>
                  </a:lnTo>
                  <a:lnTo>
                    <a:pt x="57" y="539"/>
                  </a:lnTo>
                  <a:lnTo>
                    <a:pt x="52" y="529"/>
                  </a:lnTo>
                  <a:lnTo>
                    <a:pt x="47" y="529"/>
                  </a:lnTo>
                  <a:lnTo>
                    <a:pt x="47" y="525"/>
                  </a:lnTo>
                  <a:lnTo>
                    <a:pt x="50" y="522"/>
                  </a:lnTo>
                  <a:lnTo>
                    <a:pt x="52" y="522"/>
                  </a:lnTo>
                  <a:lnTo>
                    <a:pt x="57" y="520"/>
                  </a:lnTo>
                  <a:lnTo>
                    <a:pt x="52" y="520"/>
                  </a:lnTo>
                  <a:lnTo>
                    <a:pt x="50" y="513"/>
                  </a:lnTo>
                  <a:lnTo>
                    <a:pt x="50" y="501"/>
                  </a:lnTo>
                  <a:lnTo>
                    <a:pt x="47" y="501"/>
                  </a:lnTo>
                  <a:lnTo>
                    <a:pt x="42" y="499"/>
                  </a:lnTo>
                  <a:lnTo>
                    <a:pt x="42" y="484"/>
                  </a:lnTo>
                  <a:lnTo>
                    <a:pt x="40" y="482"/>
                  </a:lnTo>
                  <a:lnTo>
                    <a:pt x="42" y="480"/>
                  </a:lnTo>
                  <a:lnTo>
                    <a:pt x="47" y="475"/>
                  </a:lnTo>
                  <a:lnTo>
                    <a:pt x="47" y="451"/>
                  </a:lnTo>
                  <a:lnTo>
                    <a:pt x="40" y="444"/>
                  </a:lnTo>
                  <a:lnTo>
                    <a:pt x="35" y="449"/>
                  </a:lnTo>
                  <a:lnTo>
                    <a:pt x="33" y="451"/>
                  </a:lnTo>
                  <a:lnTo>
                    <a:pt x="31" y="451"/>
                  </a:lnTo>
                  <a:lnTo>
                    <a:pt x="26" y="449"/>
                  </a:lnTo>
                  <a:lnTo>
                    <a:pt x="24" y="444"/>
                  </a:lnTo>
                  <a:lnTo>
                    <a:pt x="24" y="442"/>
                  </a:lnTo>
                  <a:lnTo>
                    <a:pt x="26" y="442"/>
                  </a:lnTo>
                  <a:lnTo>
                    <a:pt x="31" y="439"/>
                  </a:lnTo>
                  <a:lnTo>
                    <a:pt x="33" y="435"/>
                  </a:lnTo>
                  <a:lnTo>
                    <a:pt x="31" y="432"/>
                  </a:lnTo>
                  <a:lnTo>
                    <a:pt x="26" y="432"/>
                  </a:lnTo>
                  <a:lnTo>
                    <a:pt x="26" y="418"/>
                  </a:lnTo>
                  <a:lnTo>
                    <a:pt x="24" y="411"/>
                  </a:lnTo>
                  <a:lnTo>
                    <a:pt x="24" y="409"/>
                  </a:lnTo>
                  <a:lnTo>
                    <a:pt x="19" y="404"/>
                  </a:lnTo>
                  <a:lnTo>
                    <a:pt x="16" y="402"/>
                  </a:lnTo>
                  <a:lnTo>
                    <a:pt x="12" y="404"/>
                  </a:lnTo>
                  <a:lnTo>
                    <a:pt x="12" y="399"/>
                  </a:lnTo>
                  <a:lnTo>
                    <a:pt x="24" y="388"/>
                  </a:lnTo>
                  <a:lnTo>
                    <a:pt x="31" y="385"/>
                  </a:lnTo>
                  <a:lnTo>
                    <a:pt x="33" y="383"/>
                  </a:lnTo>
                  <a:lnTo>
                    <a:pt x="31" y="383"/>
                  </a:lnTo>
                  <a:lnTo>
                    <a:pt x="31" y="378"/>
                  </a:lnTo>
                  <a:lnTo>
                    <a:pt x="26" y="376"/>
                  </a:lnTo>
                  <a:lnTo>
                    <a:pt x="31" y="371"/>
                  </a:lnTo>
                  <a:lnTo>
                    <a:pt x="24" y="369"/>
                  </a:lnTo>
                  <a:lnTo>
                    <a:pt x="24" y="364"/>
                  </a:lnTo>
                  <a:lnTo>
                    <a:pt x="33" y="362"/>
                  </a:lnTo>
                  <a:lnTo>
                    <a:pt x="35" y="359"/>
                  </a:lnTo>
                  <a:lnTo>
                    <a:pt x="42" y="354"/>
                  </a:lnTo>
                  <a:lnTo>
                    <a:pt x="50" y="354"/>
                  </a:lnTo>
                  <a:lnTo>
                    <a:pt x="52" y="347"/>
                  </a:lnTo>
                  <a:lnTo>
                    <a:pt x="57" y="345"/>
                  </a:lnTo>
                  <a:lnTo>
                    <a:pt x="59" y="345"/>
                  </a:lnTo>
                  <a:lnTo>
                    <a:pt x="64" y="338"/>
                  </a:lnTo>
                  <a:lnTo>
                    <a:pt x="64" y="326"/>
                  </a:lnTo>
                  <a:lnTo>
                    <a:pt x="59" y="321"/>
                  </a:lnTo>
                  <a:lnTo>
                    <a:pt x="59" y="314"/>
                  </a:lnTo>
                  <a:lnTo>
                    <a:pt x="66" y="314"/>
                  </a:lnTo>
                  <a:lnTo>
                    <a:pt x="73" y="312"/>
                  </a:lnTo>
                  <a:lnTo>
                    <a:pt x="73" y="307"/>
                  </a:lnTo>
                  <a:lnTo>
                    <a:pt x="66" y="302"/>
                  </a:lnTo>
                  <a:lnTo>
                    <a:pt x="64" y="302"/>
                  </a:lnTo>
                  <a:lnTo>
                    <a:pt x="57" y="305"/>
                  </a:lnTo>
                  <a:lnTo>
                    <a:pt x="57" y="307"/>
                  </a:lnTo>
                  <a:lnTo>
                    <a:pt x="50" y="307"/>
                  </a:lnTo>
                  <a:lnTo>
                    <a:pt x="50" y="305"/>
                  </a:lnTo>
                  <a:lnTo>
                    <a:pt x="57" y="298"/>
                  </a:lnTo>
                  <a:lnTo>
                    <a:pt x="50" y="295"/>
                  </a:lnTo>
                  <a:lnTo>
                    <a:pt x="35" y="295"/>
                  </a:lnTo>
                  <a:lnTo>
                    <a:pt x="31" y="291"/>
                  </a:lnTo>
                  <a:lnTo>
                    <a:pt x="33" y="281"/>
                  </a:lnTo>
                  <a:lnTo>
                    <a:pt x="35" y="279"/>
                  </a:lnTo>
                  <a:lnTo>
                    <a:pt x="40" y="279"/>
                  </a:lnTo>
                  <a:lnTo>
                    <a:pt x="42" y="274"/>
                  </a:lnTo>
                  <a:lnTo>
                    <a:pt x="47" y="267"/>
                  </a:lnTo>
                  <a:lnTo>
                    <a:pt x="47" y="265"/>
                  </a:lnTo>
                  <a:lnTo>
                    <a:pt x="42" y="265"/>
                  </a:lnTo>
                  <a:lnTo>
                    <a:pt x="40" y="262"/>
                  </a:lnTo>
                  <a:lnTo>
                    <a:pt x="50" y="251"/>
                  </a:lnTo>
                  <a:lnTo>
                    <a:pt x="57" y="246"/>
                  </a:lnTo>
                  <a:lnTo>
                    <a:pt x="57" y="241"/>
                  </a:lnTo>
                  <a:lnTo>
                    <a:pt x="59" y="229"/>
                  </a:lnTo>
                  <a:lnTo>
                    <a:pt x="64" y="225"/>
                  </a:lnTo>
                  <a:lnTo>
                    <a:pt x="64" y="206"/>
                  </a:lnTo>
                  <a:lnTo>
                    <a:pt x="66" y="206"/>
                  </a:lnTo>
                  <a:lnTo>
                    <a:pt x="71" y="208"/>
                  </a:lnTo>
                  <a:lnTo>
                    <a:pt x="66" y="206"/>
                  </a:lnTo>
                  <a:lnTo>
                    <a:pt x="57" y="199"/>
                  </a:lnTo>
                  <a:lnTo>
                    <a:pt x="47" y="191"/>
                  </a:lnTo>
                  <a:lnTo>
                    <a:pt x="40" y="191"/>
                  </a:lnTo>
                  <a:lnTo>
                    <a:pt x="35" y="189"/>
                  </a:lnTo>
                  <a:lnTo>
                    <a:pt x="33" y="189"/>
                  </a:lnTo>
                  <a:lnTo>
                    <a:pt x="24" y="182"/>
                  </a:lnTo>
                  <a:lnTo>
                    <a:pt x="16" y="177"/>
                  </a:lnTo>
                  <a:lnTo>
                    <a:pt x="9" y="175"/>
                  </a:lnTo>
                  <a:lnTo>
                    <a:pt x="0" y="168"/>
                  </a:lnTo>
                  <a:lnTo>
                    <a:pt x="2" y="165"/>
                  </a:lnTo>
                  <a:lnTo>
                    <a:pt x="7" y="154"/>
                  </a:lnTo>
                  <a:lnTo>
                    <a:pt x="9" y="151"/>
                  </a:lnTo>
                  <a:lnTo>
                    <a:pt x="12" y="151"/>
                  </a:lnTo>
                  <a:lnTo>
                    <a:pt x="16" y="149"/>
                  </a:lnTo>
                  <a:lnTo>
                    <a:pt x="19" y="137"/>
                  </a:lnTo>
                  <a:lnTo>
                    <a:pt x="19" y="135"/>
                  </a:lnTo>
                  <a:lnTo>
                    <a:pt x="24" y="135"/>
                  </a:lnTo>
                  <a:lnTo>
                    <a:pt x="26" y="132"/>
                  </a:lnTo>
                  <a:lnTo>
                    <a:pt x="26" y="125"/>
                  </a:lnTo>
                  <a:lnTo>
                    <a:pt x="31" y="121"/>
                  </a:lnTo>
                  <a:lnTo>
                    <a:pt x="31" y="118"/>
                  </a:lnTo>
                  <a:lnTo>
                    <a:pt x="26" y="118"/>
                  </a:lnTo>
                  <a:lnTo>
                    <a:pt x="26" y="111"/>
                  </a:lnTo>
                  <a:lnTo>
                    <a:pt x="42" y="85"/>
                  </a:lnTo>
                  <a:lnTo>
                    <a:pt x="50" y="73"/>
                  </a:lnTo>
                  <a:lnTo>
                    <a:pt x="76" y="31"/>
                  </a:lnTo>
                  <a:lnTo>
                    <a:pt x="83" y="21"/>
                  </a:lnTo>
                  <a:lnTo>
                    <a:pt x="87" y="2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8" name="Freeform 9">
              <a:extLst>
                <a:ext uri="{FF2B5EF4-FFF2-40B4-BE49-F238E27FC236}">
                  <a16:creationId xmlns:a16="http://schemas.microsoft.com/office/drawing/2014/main" id="{82CA7A24-576A-4CCA-8E48-535E55B65148}"/>
                </a:ext>
              </a:extLst>
            </p:cNvPr>
            <p:cNvSpPr>
              <a:spLocks/>
            </p:cNvSpPr>
            <p:nvPr/>
          </p:nvSpPr>
          <p:spPr bwMode="gray">
            <a:xfrm rot="47099">
              <a:off x="1225851" y="2014735"/>
              <a:ext cx="7125" cy="2894"/>
            </a:xfrm>
            <a:custGeom>
              <a:avLst/>
              <a:gdLst>
                <a:gd name="T0" fmla="*/ 5 w 14"/>
                <a:gd name="T1" fmla="*/ 7 h 7"/>
                <a:gd name="T2" fmla="*/ 0 w 14"/>
                <a:gd name="T3" fmla="*/ 2 h 7"/>
                <a:gd name="T4" fmla="*/ 5 w 14"/>
                <a:gd name="T5" fmla="*/ 0 h 7"/>
                <a:gd name="T6" fmla="*/ 7 w 14"/>
                <a:gd name="T7" fmla="*/ 2 h 7"/>
                <a:gd name="T8" fmla="*/ 14 w 14"/>
                <a:gd name="T9" fmla="*/ 7 h 7"/>
                <a:gd name="T10" fmla="*/ 5 w 14"/>
                <a:gd name="T11" fmla="*/ 7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5" y="7"/>
                  </a:moveTo>
                  <a:lnTo>
                    <a:pt x="0" y="2"/>
                  </a:lnTo>
                  <a:lnTo>
                    <a:pt x="5" y="0"/>
                  </a:lnTo>
                  <a:lnTo>
                    <a:pt x="7" y="2"/>
                  </a:lnTo>
                  <a:lnTo>
                    <a:pt x="14" y="7"/>
                  </a:lnTo>
                  <a:lnTo>
                    <a:pt x="5"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29" name="Freeform 10">
              <a:extLst>
                <a:ext uri="{FF2B5EF4-FFF2-40B4-BE49-F238E27FC236}">
                  <a16:creationId xmlns:a16="http://schemas.microsoft.com/office/drawing/2014/main" id="{9B283B4C-39BB-4173-9A2A-8FD3FB78ED00}"/>
                </a:ext>
              </a:extLst>
            </p:cNvPr>
            <p:cNvSpPr>
              <a:spLocks/>
            </p:cNvSpPr>
            <p:nvPr/>
          </p:nvSpPr>
          <p:spPr bwMode="gray">
            <a:xfrm rot="47099">
              <a:off x="1081389" y="1962567"/>
              <a:ext cx="5343" cy="1929"/>
            </a:xfrm>
            <a:custGeom>
              <a:avLst/>
              <a:gdLst>
                <a:gd name="T0" fmla="*/ 7 w 11"/>
                <a:gd name="T1" fmla="*/ 5 h 5"/>
                <a:gd name="T2" fmla="*/ 0 w 11"/>
                <a:gd name="T3" fmla="*/ 5 h 5"/>
                <a:gd name="T4" fmla="*/ 7 w 11"/>
                <a:gd name="T5" fmla="*/ 0 h 5"/>
                <a:gd name="T6" fmla="*/ 11 w 11"/>
                <a:gd name="T7" fmla="*/ 3 h 5"/>
                <a:gd name="T8" fmla="*/ 11 w 11"/>
                <a:gd name="T9" fmla="*/ 5 h 5"/>
                <a:gd name="T10" fmla="*/ 7 w 11"/>
                <a:gd name="T11" fmla="*/ 5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7" y="5"/>
                  </a:moveTo>
                  <a:lnTo>
                    <a:pt x="0" y="5"/>
                  </a:lnTo>
                  <a:lnTo>
                    <a:pt x="7" y="0"/>
                  </a:lnTo>
                  <a:lnTo>
                    <a:pt x="11" y="3"/>
                  </a:lnTo>
                  <a:lnTo>
                    <a:pt x="11" y="5"/>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0" name="Freeform 11">
              <a:extLst>
                <a:ext uri="{FF2B5EF4-FFF2-40B4-BE49-F238E27FC236}">
                  <a16:creationId xmlns:a16="http://schemas.microsoft.com/office/drawing/2014/main" id="{00D4E1E7-B3E8-4E9A-9B01-305892AF437A}"/>
                </a:ext>
              </a:extLst>
            </p:cNvPr>
            <p:cNvSpPr>
              <a:spLocks/>
            </p:cNvSpPr>
            <p:nvPr/>
          </p:nvSpPr>
          <p:spPr bwMode="gray">
            <a:xfrm rot="47099">
              <a:off x="1338884" y="1955469"/>
              <a:ext cx="3563" cy="3860"/>
            </a:xfrm>
            <a:custGeom>
              <a:avLst/>
              <a:gdLst>
                <a:gd name="T0" fmla="*/ 7 w 7"/>
                <a:gd name="T1" fmla="*/ 4 h 9"/>
                <a:gd name="T2" fmla="*/ 0 w 7"/>
                <a:gd name="T3" fmla="*/ 2 h 9"/>
                <a:gd name="T4" fmla="*/ 0 w 7"/>
                <a:gd name="T5" fmla="*/ 0 h 9"/>
                <a:gd name="T6" fmla="*/ 4 w 7"/>
                <a:gd name="T7" fmla="*/ 2 h 9"/>
                <a:gd name="T8" fmla="*/ 7 w 7"/>
                <a:gd name="T9" fmla="*/ 2 h 9"/>
                <a:gd name="T10" fmla="*/ 7 w 7"/>
                <a:gd name="T11" fmla="*/ 9 h 9"/>
                <a:gd name="T12" fmla="*/ 7 w 7"/>
                <a:gd name="T13" fmla="*/ 4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7" y="4"/>
                  </a:moveTo>
                  <a:lnTo>
                    <a:pt x="0" y="2"/>
                  </a:lnTo>
                  <a:lnTo>
                    <a:pt x="0" y="0"/>
                  </a:lnTo>
                  <a:lnTo>
                    <a:pt x="4" y="2"/>
                  </a:lnTo>
                  <a:lnTo>
                    <a:pt x="7" y="2"/>
                  </a:lnTo>
                  <a:lnTo>
                    <a:pt x="7" y="9"/>
                  </a:lnTo>
                  <a:lnTo>
                    <a:pt x="7"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1" name="Freeform 12">
              <a:extLst>
                <a:ext uri="{FF2B5EF4-FFF2-40B4-BE49-F238E27FC236}">
                  <a16:creationId xmlns:a16="http://schemas.microsoft.com/office/drawing/2014/main" id="{7BBDD908-E96D-4F87-90F6-2B2422985A9B}"/>
                </a:ext>
              </a:extLst>
            </p:cNvPr>
            <p:cNvSpPr>
              <a:spLocks/>
            </p:cNvSpPr>
            <p:nvPr/>
          </p:nvSpPr>
          <p:spPr bwMode="gray">
            <a:xfrm rot="47099">
              <a:off x="1338970" y="1948722"/>
              <a:ext cx="4453" cy="4824"/>
            </a:xfrm>
            <a:custGeom>
              <a:avLst/>
              <a:gdLst>
                <a:gd name="T0" fmla="*/ 7 w 9"/>
                <a:gd name="T1" fmla="*/ 9 h 9"/>
                <a:gd name="T2" fmla="*/ 7 w 9"/>
                <a:gd name="T3" fmla="*/ 7 h 9"/>
                <a:gd name="T4" fmla="*/ 0 w 9"/>
                <a:gd name="T5" fmla="*/ 7 h 9"/>
                <a:gd name="T6" fmla="*/ 4 w 9"/>
                <a:gd name="T7" fmla="*/ 0 h 9"/>
                <a:gd name="T8" fmla="*/ 7 w 9"/>
                <a:gd name="T9" fmla="*/ 0 h 9"/>
                <a:gd name="T10" fmla="*/ 9 w 9"/>
                <a:gd name="T11" fmla="*/ 2 h 9"/>
                <a:gd name="T12" fmla="*/ 7 w 9"/>
                <a:gd name="T13" fmla="*/ 9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7" y="9"/>
                  </a:moveTo>
                  <a:lnTo>
                    <a:pt x="7" y="7"/>
                  </a:lnTo>
                  <a:lnTo>
                    <a:pt x="0" y="7"/>
                  </a:lnTo>
                  <a:lnTo>
                    <a:pt x="4" y="0"/>
                  </a:lnTo>
                  <a:lnTo>
                    <a:pt x="7" y="0"/>
                  </a:lnTo>
                  <a:lnTo>
                    <a:pt x="9" y="2"/>
                  </a:lnTo>
                  <a:lnTo>
                    <a:pt x="7"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2" name="Freeform 13">
              <a:extLst>
                <a:ext uri="{FF2B5EF4-FFF2-40B4-BE49-F238E27FC236}">
                  <a16:creationId xmlns:a16="http://schemas.microsoft.com/office/drawing/2014/main" id="{55608BCD-9038-4BCA-A6B5-F93F00386A56}"/>
                </a:ext>
              </a:extLst>
            </p:cNvPr>
            <p:cNvSpPr>
              <a:spLocks/>
            </p:cNvSpPr>
            <p:nvPr/>
          </p:nvSpPr>
          <p:spPr bwMode="gray">
            <a:xfrm rot="47099">
              <a:off x="1336404" y="1938104"/>
              <a:ext cx="8906" cy="10613"/>
            </a:xfrm>
            <a:custGeom>
              <a:avLst/>
              <a:gdLst>
                <a:gd name="T0" fmla="*/ 16 w 21"/>
                <a:gd name="T1" fmla="*/ 14 h 24"/>
                <a:gd name="T2" fmla="*/ 16 w 21"/>
                <a:gd name="T3" fmla="*/ 24 h 24"/>
                <a:gd name="T4" fmla="*/ 14 w 21"/>
                <a:gd name="T5" fmla="*/ 21 h 24"/>
                <a:gd name="T6" fmla="*/ 14 w 21"/>
                <a:gd name="T7" fmla="*/ 16 h 24"/>
                <a:gd name="T8" fmla="*/ 7 w 21"/>
                <a:gd name="T9" fmla="*/ 16 h 24"/>
                <a:gd name="T10" fmla="*/ 4 w 21"/>
                <a:gd name="T11" fmla="*/ 14 h 24"/>
                <a:gd name="T12" fmla="*/ 0 w 21"/>
                <a:gd name="T13" fmla="*/ 2 h 24"/>
                <a:gd name="T14" fmla="*/ 0 w 21"/>
                <a:gd name="T15" fmla="*/ 0 h 24"/>
                <a:gd name="T16" fmla="*/ 16 w 21"/>
                <a:gd name="T17" fmla="*/ 0 h 24"/>
                <a:gd name="T18" fmla="*/ 21 w 21"/>
                <a:gd name="T19" fmla="*/ 2 h 24"/>
                <a:gd name="T20" fmla="*/ 16 w 21"/>
                <a:gd name="T21" fmla="*/ 14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24"/>
                <a:gd name="T35" fmla="*/ 21 w 21"/>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24">
                  <a:moveTo>
                    <a:pt x="16" y="14"/>
                  </a:moveTo>
                  <a:lnTo>
                    <a:pt x="16" y="24"/>
                  </a:lnTo>
                  <a:lnTo>
                    <a:pt x="14" y="21"/>
                  </a:lnTo>
                  <a:lnTo>
                    <a:pt x="14" y="16"/>
                  </a:lnTo>
                  <a:lnTo>
                    <a:pt x="7" y="16"/>
                  </a:lnTo>
                  <a:lnTo>
                    <a:pt x="4" y="14"/>
                  </a:lnTo>
                  <a:lnTo>
                    <a:pt x="0" y="2"/>
                  </a:lnTo>
                  <a:lnTo>
                    <a:pt x="0" y="0"/>
                  </a:lnTo>
                  <a:lnTo>
                    <a:pt x="16" y="0"/>
                  </a:lnTo>
                  <a:lnTo>
                    <a:pt x="21" y="2"/>
                  </a:lnTo>
                  <a:lnTo>
                    <a:pt x="16"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3" name="Freeform 14">
              <a:extLst>
                <a:ext uri="{FF2B5EF4-FFF2-40B4-BE49-F238E27FC236}">
                  <a16:creationId xmlns:a16="http://schemas.microsoft.com/office/drawing/2014/main" id="{CA34760B-82DD-45AB-85A2-8878902A63C9}"/>
                </a:ext>
              </a:extLst>
            </p:cNvPr>
            <p:cNvSpPr>
              <a:spLocks/>
            </p:cNvSpPr>
            <p:nvPr/>
          </p:nvSpPr>
          <p:spPr bwMode="gray">
            <a:xfrm rot="47099">
              <a:off x="1218260" y="1913154"/>
              <a:ext cx="123795" cy="144724"/>
            </a:xfrm>
            <a:custGeom>
              <a:avLst/>
              <a:gdLst>
                <a:gd name="T0" fmla="*/ 54 w 267"/>
                <a:gd name="T1" fmla="*/ 40 h 310"/>
                <a:gd name="T2" fmla="*/ 76 w 267"/>
                <a:gd name="T3" fmla="*/ 24 h 310"/>
                <a:gd name="T4" fmla="*/ 104 w 267"/>
                <a:gd name="T5" fmla="*/ 15 h 310"/>
                <a:gd name="T6" fmla="*/ 139 w 267"/>
                <a:gd name="T7" fmla="*/ 7 h 310"/>
                <a:gd name="T8" fmla="*/ 168 w 267"/>
                <a:gd name="T9" fmla="*/ 3 h 310"/>
                <a:gd name="T10" fmla="*/ 170 w 267"/>
                <a:gd name="T11" fmla="*/ 26 h 310"/>
                <a:gd name="T12" fmla="*/ 168 w 267"/>
                <a:gd name="T13" fmla="*/ 50 h 310"/>
                <a:gd name="T14" fmla="*/ 146 w 267"/>
                <a:gd name="T15" fmla="*/ 64 h 310"/>
                <a:gd name="T16" fmla="*/ 156 w 267"/>
                <a:gd name="T17" fmla="*/ 64 h 310"/>
                <a:gd name="T18" fmla="*/ 172 w 267"/>
                <a:gd name="T19" fmla="*/ 64 h 310"/>
                <a:gd name="T20" fmla="*/ 177 w 267"/>
                <a:gd name="T21" fmla="*/ 66 h 310"/>
                <a:gd name="T22" fmla="*/ 187 w 267"/>
                <a:gd name="T23" fmla="*/ 43 h 310"/>
                <a:gd name="T24" fmla="*/ 201 w 267"/>
                <a:gd name="T25" fmla="*/ 43 h 310"/>
                <a:gd name="T26" fmla="*/ 213 w 267"/>
                <a:gd name="T27" fmla="*/ 50 h 310"/>
                <a:gd name="T28" fmla="*/ 227 w 267"/>
                <a:gd name="T29" fmla="*/ 64 h 310"/>
                <a:gd name="T30" fmla="*/ 227 w 267"/>
                <a:gd name="T31" fmla="*/ 90 h 310"/>
                <a:gd name="T32" fmla="*/ 217 w 267"/>
                <a:gd name="T33" fmla="*/ 107 h 310"/>
                <a:gd name="T34" fmla="*/ 234 w 267"/>
                <a:gd name="T35" fmla="*/ 92 h 310"/>
                <a:gd name="T36" fmla="*/ 241 w 267"/>
                <a:gd name="T37" fmla="*/ 92 h 310"/>
                <a:gd name="T38" fmla="*/ 253 w 267"/>
                <a:gd name="T39" fmla="*/ 90 h 310"/>
                <a:gd name="T40" fmla="*/ 253 w 267"/>
                <a:gd name="T41" fmla="*/ 92 h 310"/>
                <a:gd name="T42" fmla="*/ 267 w 267"/>
                <a:gd name="T43" fmla="*/ 100 h 310"/>
                <a:gd name="T44" fmla="*/ 146 w 267"/>
                <a:gd name="T45" fmla="*/ 307 h 310"/>
                <a:gd name="T46" fmla="*/ 16 w 267"/>
                <a:gd name="T47" fmla="*/ 305 h 310"/>
                <a:gd name="T48" fmla="*/ 2 w 267"/>
                <a:gd name="T49" fmla="*/ 286 h 310"/>
                <a:gd name="T50" fmla="*/ 42 w 267"/>
                <a:gd name="T51" fmla="*/ 260 h 310"/>
                <a:gd name="T52" fmla="*/ 73 w 267"/>
                <a:gd name="T53" fmla="*/ 258 h 310"/>
                <a:gd name="T54" fmla="*/ 116 w 267"/>
                <a:gd name="T55" fmla="*/ 267 h 310"/>
                <a:gd name="T56" fmla="*/ 132 w 267"/>
                <a:gd name="T57" fmla="*/ 270 h 310"/>
                <a:gd name="T58" fmla="*/ 153 w 267"/>
                <a:gd name="T59" fmla="*/ 281 h 310"/>
                <a:gd name="T60" fmla="*/ 168 w 267"/>
                <a:gd name="T61" fmla="*/ 274 h 310"/>
                <a:gd name="T62" fmla="*/ 187 w 267"/>
                <a:gd name="T63" fmla="*/ 281 h 310"/>
                <a:gd name="T64" fmla="*/ 172 w 267"/>
                <a:gd name="T65" fmla="*/ 267 h 310"/>
                <a:gd name="T66" fmla="*/ 161 w 267"/>
                <a:gd name="T67" fmla="*/ 251 h 310"/>
                <a:gd name="T68" fmla="*/ 139 w 267"/>
                <a:gd name="T69" fmla="*/ 237 h 310"/>
                <a:gd name="T70" fmla="*/ 123 w 267"/>
                <a:gd name="T71" fmla="*/ 229 h 310"/>
                <a:gd name="T72" fmla="*/ 99 w 267"/>
                <a:gd name="T73" fmla="*/ 234 h 310"/>
                <a:gd name="T74" fmla="*/ 57 w 267"/>
                <a:gd name="T75" fmla="*/ 225 h 310"/>
                <a:gd name="T76" fmla="*/ 19 w 267"/>
                <a:gd name="T77" fmla="*/ 213 h 310"/>
                <a:gd name="T78" fmla="*/ 14 w 267"/>
                <a:gd name="T79" fmla="*/ 204 h 310"/>
                <a:gd name="T80" fmla="*/ 2 w 267"/>
                <a:gd name="T81" fmla="*/ 189 h 310"/>
                <a:gd name="T82" fmla="*/ 16 w 267"/>
                <a:gd name="T83" fmla="*/ 168 h 310"/>
                <a:gd name="T84" fmla="*/ 76 w 267"/>
                <a:gd name="T85" fmla="*/ 161 h 310"/>
                <a:gd name="T86" fmla="*/ 76 w 267"/>
                <a:gd name="T87" fmla="*/ 154 h 310"/>
                <a:gd name="T88" fmla="*/ 104 w 267"/>
                <a:gd name="T89" fmla="*/ 156 h 310"/>
                <a:gd name="T90" fmla="*/ 94 w 267"/>
                <a:gd name="T91" fmla="*/ 147 h 310"/>
                <a:gd name="T92" fmla="*/ 57 w 267"/>
                <a:gd name="T93" fmla="*/ 149 h 310"/>
                <a:gd name="T94" fmla="*/ 35 w 267"/>
                <a:gd name="T95" fmla="*/ 144 h 310"/>
                <a:gd name="T96" fmla="*/ 26 w 267"/>
                <a:gd name="T97" fmla="*/ 147 h 310"/>
                <a:gd name="T98" fmla="*/ 16 w 267"/>
                <a:gd name="T99" fmla="*/ 133 h 310"/>
                <a:gd name="T100" fmla="*/ 31 w 267"/>
                <a:gd name="T101" fmla="*/ 121 h 310"/>
                <a:gd name="T102" fmla="*/ 16 w 267"/>
                <a:gd name="T103" fmla="*/ 121 h 310"/>
                <a:gd name="T104" fmla="*/ 0 w 267"/>
                <a:gd name="T105" fmla="*/ 116 h 310"/>
                <a:gd name="T106" fmla="*/ 16 w 267"/>
                <a:gd name="T107" fmla="*/ 88 h 310"/>
                <a:gd name="T108" fmla="*/ 31 w 267"/>
                <a:gd name="T109" fmla="*/ 76 h 310"/>
                <a:gd name="T110" fmla="*/ 35 w 267"/>
                <a:gd name="T111" fmla="*/ 64 h 3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7"/>
                <a:gd name="T169" fmla="*/ 0 h 310"/>
                <a:gd name="T170" fmla="*/ 267 w 267"/>
                <a:gd name="T171" fmla="*/ 310 h 3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7" h="310">
                  <a:moveTo>
                    <a:pt x="33" y="52"/>
                  </a:moveTo>
                  <a:lnTo>
                    <a:pt x="33" y="50"/>
                  </a:lnTo>
                  <a:lnTo>
                    <a:pt x="35" y="50"/>
                  </a:lnTo>
                  <a:lnTo>
                    <a:pt x="50" y="40"/>
                  </a:lnTo>
                  <a:lnTo>
                    <a:pt x="54" y="40"/>
                  </a:lnTo>
                  <a:lnTo>
                    <a:pt x="59" y="36"/>
                  </a:lnTo>
                  <a:lnTo>
                    <a:pt x="66" y="31"/>
                  </a:lnTo>
                  <a:lnTo>
                    <a:pt x="71" y="31"/>
                  </a:lnTo>
                  <a:lnTo>
                    <a:pt x="73" y="26"/>
                  </a:lnTo>
                  <a:lnTo>
                    <a:pt x="76" y="24"/>
                  </a:lnTo>
                  <a:lnTo>
                    <a:pt x="80" y="19"/>
                  </a:lnTo>
                  <a:lnTo>
                    <a:pt x="97" y="19"/>
                  </a:lnTo>
                  <a:lnTo>
                    <a:pt x="97" y="17"/>
                  </a:lnTo>
                  <a:lnTo>
                    <a:pt x="99" y="17"/>
                  </a:lnTo>
                  <a:lnTo>
                    <a:pt x="104" y="15"/>
                  </a:lnTo>
                  <a:lnTo>
                    <a:pt x="113" y="15"/>
                  </a:lnTo>
                  <a:lnTo>
                    <a:pt x="113" y="10"/>
                  </a:lnTo>
                  <a:lnTo>
                    <a:pt x="130" y="10"/>
                  </a:lnTo>
                  <a:lnTo>
                    <a:pt x="137" y="7"/>
                  </a:lnTo>
                  <a:lnTo>
                    <a:pt x="139" y="7"/>
                  </a:lnTo>
                  <a:lnTo>
                    <a:pt x="139" y="3"/>
                  </a:lnTo>
                  <a:lnTo>
                    <a:pt x="153" y="3"/>
                  </a:lnTo>
                  <a:lnTo>
                    <a:pt x="153" y="0"/>
                  </a:lnTo>
                  <a:lnTo>
                    <a:pt x="163" y="0"/>
                  </a:lnTo>
                  <a:lnTo>
                    <a:pt x="168" y="3"/>
                  </a:lnTo>
                  <a:lnTo>
                    <a:pt x="170" y="7"/>
                  </a:lnTo>
                  <a:lnTo>
                    <a:pt x="170" y="15"/>
                  </a:lnTo>
                  <a:lnTo>
                    <a:pt x="172" y="17"/>
                  </a:lnTo>
                  <a:lnTo>
                    <a:pt x="172" y="24"/>
                  </a:lnTo>
                  <a:lnTo>
                    <a:pt x="170" y="26"/>
                  </a:lnTo>
                  <a:lnTo>
                    <a:pt x="168" y="33"/>
                  </a:lnTo>
                  <a:lnTo>
                    <a:pt x="168" y="36"/>
                  </a:lnTo>
                  <a:lnTo>
                    <a:pt x="163" y="43"/>
                  </a:lnTo>
                  <a:lnTo>
                    <a:pt x="163" y="48"/>
                  </a:lnTo>
                  <a:lnTo>
                    <a:pt x="168" y="50"/>
                  </a:lnTo>
                  <a:lnTo>
                    <a:pt x="156" y="50"/>
                  </a:lnTo>
                  <a:lnTo>
                    <a:pt x="153" y="52"/>
                  </a:lnTo>
                  <a:lnTo>
                    <a:pt x="153" y="59"/>
                  </a:lnTo>
                  <a:lnTo>
                    <a:pt x="151" y="59"/>
                  </a:lnTo>
                  <a:lnTo>
                    <a:pt x="146" y="64"/>
                  </a:lnTo>
                  <a:lnTo>
                    <a:pt x="144" y="64"/>
                  </a:lnTo>
                  <a:lnTo>
                    <a:pt x="144" y="66"/>
                  </a:lnTo>
                  <a:lnTo>
                    <a:pt x="146" y="71"/>
                  </a:lnTo>
                  <a:lnTo>
                    <a:pt x="151" y="71"/>
                  </a:lnTo>
                  <a:lnTo>
                    <a:pt x="156" y="64"/>
                  </a:lnTo>
                  <a:lnTo>
                    <a:pt x="163" y="64"/>
                  </a:lnTo>
                  <a:lnTo>
                    <a:pt x="163" y="66"/>
                  </a:lnTo>
                  <a:lnTo>
                    <a:pt x="168" y="66"/>
                  </a:lnTo>
                  <a:lnTo>
                    <a:pt x="170" y="64"/>
                  </a:lnTo>
                  <a:lnTo>
                    <a:pt x="172" y="64"/>
                  </a:lnTo>
                  <a:lnTo>
                    <a:pt x="170" y="66"/>
                  </a:lnTo>
                  <a:lnTo>
                    <a:pt x="168" y="66"/>
                  </a:lnTo>
                  <a:lnTo>
                    <a:pt x="168" y="71"/>
                  </a:lnTo>
                  <a:lnTo>
                    <a:pt x="170" y="71"/>
                  </a:lnTo>
                  <a:lnTo>
                    <a:pt x="177" y="66"/>
                  </a:lnTo>
                  <a:lnTo>
                    <a:pt x="177" y="57"/>
                  </a:lnTo>
                  <a:lnTo>
                    <a:pt x="172" y="57"/>
                  </a:lnTo>
                  <a:lnTo>
                    <a:pt x="172" y="52"/>
                  </a:lnTo>
                  <a:lnTo>
                    <a:pt x="184" y="43"/>
                  </a:lnTo>
                  <a:lnTo>
                    <a:pt x="187" y="43"/>
                  </a:lnTo>
                  <a:lnTo>
                    <a:pt x="187" y="40"/>
                  </a:lnTo>
                  <a:lnTo>
                    <a:pt x="191" y="40"/>
                  </a:lnTo>
                  <a:lnTo>
                    <a:pt x="194" y="36"/>
                  </a:lnTo>
                  <a:lnTo>
                    <a:pt x="201" y="40"/>
                  </a:lnTo>
                  <a:lnTo>
                    <a:pt x="201" y="43"/>
                  </a:lnTo>
                  <a:lnTo>
                    <a:pt x="208" y="43"/>
                  </a:lnTo>
                  <a:lnTo>
                    <a:pt x="208" y="48"/>
                  </a:lnTo>
                  <a:lnTo>
                    <a:pt x="210" y="48"/>
                  </a:lnTo>
                  <a:lnTo>
                    <a:pt x="210" y="50"/>
                  </a:lnTo>
                  <a:lnTo>
                    <a:pt x="213" y="50"/>
                  </a:lnTo>
                  <a:lnTo>
                    <a:pt x="217" y="52"/>
                  </a:lnTo>
                  <a:lnTo>
                    <a:pt x="220" y="52"/>
                  </a:lnTo>
                  <a:lnTo>
                    <a:pt x="224" y="59"/>
                  </a:lnTo>
                  <a:lnTo>
                    <a:pt x="227" y="59"/>
                  </a:lnTo>
                  <a:lnTo>
                    <a:pt x="227" y="64"/>
                  </a:lnTo>
                  <a:lnTo>
                    <a:pt x="229" y="64"/>
                  </a:lnTo>
                  <a:lnTo>
                    <a:pt x="236" y="71"/>
                  </a:lnTo>
                  <a:lnTo>
                    <a:pt x="236" y="76"/>
                  </a:lnTo>
                  <a:lnTo>
                    <a:pt x="234" y="83"/>
                  </a:lnTo>
                  <a:lnTo>
                    <a:pt x="227" y="90"/>
                  </a:lnTo>
                  <a:lnTo>
                    <a:pt x="224" y="92"/>
                  </a:lnTo>
                  <a:lnTo>
                    <a:pt x="220" y="97"/>
                  </a:lnTo>
                  <a:lnTo>
                    <a:pt x="213" y="97"/>
                  </a:lnTo>
                  <a:lnTo>
                    <a:pt x="213" y="100"/>
                  </a:lnTo>
                  <a:lnTo>
                    <a:pt x="217" y="107"/>
                  </a:lnTo>
                  <a:lnTo>
                    <a:pt x="224" y="104"/>
                  </a:lnTo>
                  <a:lnTo>
                    <a:pt x="220" y="104"/>
                  </a:lnTo>
                  <a:lnTo>
                    <a:pt x="220" y="100"/>
                  </a:lnTo>
                  <a:lnTo>
                    <a:pt x="227" y="92"/>
                  </a:lnTo>
                  <a:lnTo>
                    <a:pt x="234" y="92"/>
                  </a:lnTo>
                  <a:lnTo>
                    <a:pt x="229" y="97"/>
                  </a:lnTo>
                  <a:lnTo>
                    <a:pt x="229" y="100"/>
                  </a:lnTo>
                  <a:lnTo>
                    <a:pt x="234" y="104"/>
                  </a:lnTo>
                  <a:lnTo>
                    <a:pt x="234" y="100"/>
                  </a:lnTo>
                  <a:lnTo>
                    <a:pt x="241" y="92"/>
                  </a:lnTo>
                  <a:lnTo>
                    <a:pt x="243" y="92"/>
                  </a:lnTo>
                  <a:lnTo>
                    <a:pt x="243" y="90"/>
                  </a:lnTo>
                  <a:lnTo>
                    <a:pt x="248" y="88"/>
                  </a:lnTo>
                  <a:lnTo>
                    <a:pt x="250" y="88"/>
                  </a:lnTo>
                  <a:lnTo>
                    <a:pt x="253" y="90"/>
                  </a:lnTo>
                  <a:lnTo>
                    <a:pt x="250" y="90"/>
                  </a:lnTo>
                  <a:lnTo>
                    <a:pt x="250" y="97"/>
                  </a:lnTo>
                  <a:lnTo>
                    <a:pt x="257" y="100"/>
                  </a:lnTo>
                  <a:lnTo>
                    <a:pt x="253" y="97"/>
                  </a:lnTo>
                  <a:lnTo>
                    <a:pt x="253" y="92"/>
                  </a:lnTo>
                  <a:lnTo>
                    <a:pt x="257" y="90"/>
                  </a:lnTo>
                  <a:lnTo>
                    <a:pt x="260" y="92"/>
                  </a:lnTo>
                  <a:lnTo>
                    <a:pt x="264" y="97"/>
                  </a:lnTo>
                  <a:lnTo>
                    <a:pt x="264" y="100"/>
                  </a:lnTo>
                  <a:lnTo>
                    <a:pt x="267" y="100"/>
                  </a:lnTo>
                  <a:lnTo>
                    <a:pt x="229" y="310"/>
                  </a:lnTo>
                  <a:lnTo>
                    <a:pt x="153" y="298"/>
                  </a:lnTo>
                  <a:lnTo>
                    <a:pt x="151" y="305"/>
                  </a:lnTo>
                  <a:lnTo>
                    <a:pt x="146" y="310"/>
                  </a:lnTo>
                  <a:lnTo>
                    <a:pt x="146" y="307"/>
                  </a:lnTo>
                  <a:lnTo>
                    <a:pt x="137" y="310"/>
                  </a:lnTo>
                  <a:lnTo>
                    <a:pt x="139" y="298"/>
                  </a:lnTo>
                  <a:lnTo>
                    <a:pt x="14" y="270"/>
                  </a:lnTo>
                  <a:lnTo>
                    <a:pt x="9" y="277"/>
                  </a:lnTo>
                  <a:lnTo>
                    <a:pt x="16" y="305"/>
                  </a:lnTo>
                  <a:lnTo>
                    <a:pt x="14" y="300"/>
                  </a:lnTo>
                  <a:lnTo>
                    <a:pt x="9" y="298"/>
                  </a:lnTo>
                  <a:lnTo>
                    <a:pt x="7" y="298"/>
                  </a:lnTo>
                  <a:lnTo>
                    <a:pt x="7" y="293"/>
                  </a:lnTo>
                  <a:lnTo>
                    <a:pt x="2" y="286"/>
                  </a:lnTo>
                  <a:lnTo>
                    <a:pt x="2" y="267"/>
                  </a:lnTo>
                  <a:lnTo>
                    <a:pt x="7" y="265"/>
                  </a:lnTo>
                  <a:lnTo>
                    <a:pt x="9" y="265"/>
                  </a:lnTo>
                  <a:lnTo>
                    <a:pt x="9" y="260"/>
                  </a:lnTo>
                  <a:lnTo>
                    <a:pt x="42" y="260"/>
                  </a:lnTo>
                  <a:lnTo>
                    <a:pt x="47" y="258"/>
                  </a:lnTo>
                  <a:lnTo>
                    <a:pt x="64" y="258"/>
                  </a:lnTo>
                  <a:lnTo>
                    <a:pt x="66" y="260"/>
                  </a:lnTo>
                  <a:lnTo>
                    <a:pt x="71" y="260"/>
                  </a:lnTo>
                  <a:lnTo>
                    <a:pt x="73" y="258"/>
                  </a:lnTo>
                  <a:lnTo>
                    <a:pt x="76" y="258"/>
                  </a:lnTo>
                  <a:lnTo>
                    <a:pt x="80" y="260"/>
                  </a:lnTo>
                  <a:lnTo>
                    <a:pt x="111" y="260"/>
                  </a:lnTo>
                  <a:lnTo>
                    <a:pt x="111" y="265"/>
                  </a:lnTo>
                  <a:lnTo>
                    <a:pt x="116" y="267"/>
                  </a:lnTo>
                  <a:lnTo>
                    <a:pt x="123" y="270"/>
                  </a:lnTo>
                  <a:lnTo>
                    <a:pt x="127" y="267"/>
                  </a:lnTo>
                  <a:lnTo>
                    <a:pt x="130" y="267"/>
                  </a:lnTo>
                  <a:lnTo>
                    <a:pt x="130" y="270"/>
                  </a:lnTo>
                  <a:lnTo>
                    <a:pt x="132" y="270"/>
                  </a:lnTo>
                  <a:lnTo>
                    <a:pt x="137" y="274"/>
                  </a:lnTo>
                  <a:lnTo>
                    <a:pt x="139" y="274"/>
                  </a:lnTo>
                  <a:lnTo>
                    <a:pt x="153" y="281"/>
                  </a:lnTo>
                  <a:lnTo>
                    <a:pt x="156" y="281"/>
                  </a:lnTo>
                  <a:lnTo>
                    <a:pt x="153" y="281"/>
                  </a:lnTo>
                  <a:lnTo>
                    <a:pt x="156" y="277"/>
                  </a:lnTo>
                  <a:lnTo>
                    <a:pt x="170" y="277"/>
                  </a:lnTo>
                  <a:lnTo>
                    <a:pt x="168" y="274"/>
                  </a:lnTo>
                  <a:lnTo>
                    <a:pt x="163" y="274"/>
                  </a:lnTo>
                  <a:lnTo>
                    <a:pt x="168" y="274"/>
                  </a:lnTo>
                  <a:lnTo>
                    <a:pt x="170" y="277"/>
                  </a:lnTo>
                  <a:lnTo>
                    <a:pt x="177" y="281"/>
                  </a:lnTo>
                  <a:lnTo>
                    <a:pt x="177" y="277"/>
                  </a:lnTo>
                  <a:lnTo>
                    <a:pt x="179" y="277"/>
                  </a:lnTo>
                  <a:lnTo>
                    <a:pt x="187" y="281"/>
                  </a:lnTo>
                  <a:lnTo>
                    <a:pt x="191" y="281"/>
                  </a:lnTo>
                  <a:lnTo>
                    <a:pt x="191" y="274"/>
                  </a:lnTo>
                  <a:lnTo>
                    <a:pt x="187" y="270"/>
                  </a:lnTo>
                  <a:lnTo>
                    <a:pt x="177" y="270"/>
                  </a:lnTo>
                  <a:lnTo>
                    <a:pt x="172" y="267"/>
                  </a:lnTo>
                  <a:lnTo>
                    <a:pt x="172" y="258"/>
                  </a:lnTo>
                  <a:lnTo>
                    <a:pt x="170" y="258"/>
                  </a:lnTo>
                  <a:lnTo>
                    <a:pt x="163" y="253"/>
                  </a:lnTo>
                  <a:lnTo>
                    <a:pt x="161" y="253"/>
                  </a:lnTo>
                  <a:lnTo>
                    <a:pt x="161" y="251"/>
                  </a:lnTo>
                  <a:lnTo>
                    <a:pt x="156" y="251"/>
                  </a:lnTo>
                  <a:lnTo>
                    <a:pt x="156" y="248"/>
                  </a:lnTo>
                  <a:lnTo>
                    <a:pt x="151" y="248"/>
                  </a:lnTo>
                  <a:lnTo>
                    <a:pt x="144" y="244"/>
                  </a:lnTo>
                  <a:lnTo>
                    <a:pt x="139" y="237"/>
                  </a:lnTo>
                  <a:lnTo>
                    <a:pt x="137" y="234"/>
                  </a:lnTo>
                  <a:lnTo>
                    <a:pt x="132" y="237"/>
                  </a:lnTo>
                  <a:lnTo>
                    <a:pt x="130" y="237"/>
                  </a:lnTo>
                  <a:lnTo>
                    <a:pt x="130" y="229"/>
                  </a:lnTo>
                  <a:lnTo>
                    <a:pt x="123" y="229"/>
                  </a:lnTo>
                  <a:lnTo>
                    <a:pt x="123" y="227"/>
                  </a:lnTo>
                  <a:lnTo>
                    <a:pt x="120" y="229"/>
                  </a:lnTo>
                  <a:lnTo>
                    <a:pt x="104" y="229"/>
                  </a:lnTo>
                  <a:lnTo>
                    <a:pt x="104" y="234"/>
                  </a:lnTo>
                  <a:lnTo>
                    <a:pt x="99" y="234"/>
                  </a:lnTo>
                  <a:lnTo>
                    <a:pt x="90" y="229"/>
                  </a:lnTo>
                  <a:lnTo>
                    <a:pt x="76" y="229"/>
                  </a:lnTo>
                  <a:lnTo>
                    <a:pt x="64" y="227"/>
                  </a:lnTo>
                  <a:lnTo>
                    <a:pt x="57" y="227"/>
                  </a:lnTo>
                  <a:lnTo>
                    <a:pt x="57" y="225"/>
                  </a:lnTo>
                  <a:lnTo>
                    <a:pt x="54" y="220"/>
                  </a:lnTo>
                  <a:lnTo>
                    <a:pt x="33" y="220"/>
                  </a:lnTo>
                  <a:lnTo>
                    <a:pt x="31" y="218"/>
                  </a:lnTo>
                  <a:lnTo>
                    <a:pt x="26" y="218"/>
                  </a:lnTo>
                  <a:lnTo>
                    <a:pt x="19" y="213"/>
                  </a:lnTo>
                  <a:lnTo>
                    <a:pt x="14" y="213"/>
                  </a:lnTo>
                  <a:lnTo>
                    <a:pt x="9" y="211"/>
                  </a:lnTo>
                  <a:lnTo>
                    <a:pt x="9" y="208"/>
                  </a:lnTo>
                  <a:lnTo>
                    <a:pt x="14" y="208"/>
                  </a:lnTo>
                  <a:lnTo>
                    <a:pt x="14" y="204"/>
                  </a:lnTo>
                  <a:lnTo>
                    <a:pt x="9" y="201"/>
                  </a:lnTo>
                  <a:lnTo>
                    <a:pt x="7" y="196"/>
                  </a:lnTo>
                  <a:lnTo>
                    <a:pt x="7" y="194"/>
                  </a:lnTo>
                  <a:lnTo>
                    <a:pt x="2" y="194"/>
                  </a:lnTo>
                  <a:lnTo>
                    <a:pt x="2" y="189"/>
                  </a:lnTo>
                  <a:lnTo>
                    <a:pt x="0" y="187"/>
                  </a:lnTo>
                  <a:lnTo>
                    <a:pt x="0" y="173"/>
                  </a:lnTo>
                  <a:lnTo>
                    <a:pt x="2" y="173"/>
                  </a:lnTo>
                  <a:lnTo>
                    <a:pt x="7" y="170"/>
                  </a:lnTo>
                  <a:lnTo>
                    <a:pt x="16" y="168"/>
                  </a:lnTo>
                  <a:lnTo>
                    <a:pt x="47" y="168"/>
                  </a:lnTo>
                  <a:lnTo>
                    <a:pt x="54" y="163"/>
                  </a:lnTo>
                  <a:lnTo>
                    <a:pt x="57" y="163"/>
                  </a:lnTo>
                  <a:lnTo>
                    <a:pt x="57" y="161"/>
                  </a:lnTo>
                  <a:lnTo>
                    <a:pt x="76" y="161"/>
                  </a:lnTo>
                  <a:lnTo>
                    <a:pt x="83" y="163"/>
                  </a:lnTo>
                  <a:lnTo>
                    <a:pt x="87" y="161"/>
                  </a:lnTo>
                  <a:lnTo>
                    <a:pt x="80" y="161"/>
                  </a:lnTo>
                  <a:lnTo>
                    <a:pt x="80" y="156"/>
                  </a:lnTo>
                  <a:lnTo>
                    <a:pt x="76" y="154"/>
                  </a:lnTo>
                  <a:lnTo>
                    <a:pt x="87" y="154"/>
                  </a:lnTo>
                  <a:lnTo>
                    <a:pt x="87" y="149"/>
                  </a:lnTo>
                  <a:lnTo>
                    <a:pt x="94" y="154"/>
                  </a:lnTo>
                  <a:lnTo>
                    <a:pt x="97" y="156"/>
                  </a:lnTo>
                  <a:lnTo>
                    <a:pt x="104" y="156"/>
                  </a:lnTo>
                  <a:lnTo>
                    <a:pt x="106" y="154"/>
                  </a:lnTo>
                  <a:lnTo>
                    <a:pt x="97" y="154"/>
                  </a:lnTo>
                  <a:lnTo>
                    <a:pt x="94" y="149"/>
                  </a:lnTo>
                  <a:lnTo>
                    <a:pt x="97" y="149"/>
                  </a:lnTo>
                  <a:lnTo>
                    <a:pt x="94" y="147"/>
                  </a:lnTo>
                  <a:lnTo>
                    <a:pt x="76" y="147"/>
                  </a:lnTo>
                  <a:lnTo>
                    <a:pt x="76" y="149"/>
                  </a:lnTo>
                  <a:lnTo>
                    <a:pt x="73" y="147"/>
                  </a:lnTo>
                  <a:lnTo>
                    <a:pt x="66" y="147"/>
                  </a:lnTo>
                  <a:lnTo>
                    <a:pt x="57" y="149"/>
                  </a:lnTo>
                  <a:lnTo>
                    <a:pt x="40" y="149"/>
                  </a:lnTo>
                  <a:lnTo>
                    <a:pt x="40" y="140"/>
                  </a:lnTo>
                  <a:lnTo>
                    <a:pt x="35" y="140"/>
                  </a:lnTo>
                  <a:lnTo>
                    <a:pt x="33" y="144"/>
                  </a:lnTo>
                  <a:lnTo>
                    <a:pt x="35" y="144"/>
                  </a:lnTo>
                  <a:lnTo>
                    <a:pt x="35" y="149"/>
                  </a:lnTo>
                  <a:lnTo>
                    <a:pt x="33" y="149"/>
                  </a:lnTo>
                  <a:lnTo>
                    <a:pt x="31" y="147"/>
                  </a:lnTo>
                  <a:lnTo>
                    <a:pt x="26" y="149"/>
                  </a:lnTo>
                  <a:lnTo>
                    <a:pt x="26" y="147"/>
                  </a:lnTo>
                  <a:lnTo>
                    <a:pt x="19" y="147"/>
                  </a:lnTo>
                  <a:lnTo>
                    <a:pt x="16" y="144"/>
                  </a:lnTo>
                  <a:lnTo>
                    <a:pt x="14" y="140"/>
                  </a:lnTo>
                  <a:lnTo>
                    <a:pt x="16" y="137"/>
                  </a:lnTo>
                  <a:lnTo>
                    <a:pt x="16" y="133"/>
                  </a:lnTo>
                  <a:lnTo>
                    <a:pt x="35" y="133"/>
                  </a:lnTo>
                  <a:lnTo>
                    <a:pt x="31" y="128"/>
                  </a:lnTo>
                  <a:lnTo>
                    <a:pt x="33" y="128"/>
                  </a:lnTo>
                  <a:lnTo>
                    <a:pt x="35" y="123"/>
                  </a:lnTo>
                  <a:lnTo>
                    <a:pt x="31" y="121"/>
                  </a:lnTo>
                  <a:lnTo>
                    <a:pt x="26" y="123"/>
                  </a:lnTo>
                  <a:lnTo>
                    <a:pt x="24" y="123"/>
                  </a:lnTo>
                  <a:lnTo>
                    <a:pt x="24" y="128"/>
                  </a:lnTo>
                  <a:lnTo>
                    <a:pt x="16" y="128"/>
                  </a:lnTo>
                  <a:lnTo>
                    <a:pt x="16" y="121"/>
                  </a:lnTo>
                  <a:lnTo>
                    <a:pt x="14" y="116"/>
                  </a:lnTo>
                  <a:lnTo>
                    <a:pt x="7" y="116"/>
                  </a:lnTo>
                  <a:lnTo>
                    <a:pt x="2" y="121"/>
                  </a:lnTo>
                  <a:lnTo>
                    <a:pt x="2" y="123"/>
                  </a:lnTo>
                  <a:lnTo>
                    <a:pt x="0" y="116"/>
                  </a:lnTo>
                  <a:lnTo>
                    <a:pt x="0" y="104"/>
                  </a:lnTo>
                  <a:lnTo>
                    <a:pt x="2" y="97"/>
                  </a:lnTo>
                  <a:lnTo>
                    <a:pt x="7" y="92"/>
                  </a:lnTo>
                  <a:lnTo>
                    <a:pt x="14" y="88"/>
                  </a:lnTo>
                  <a:lnTo>
                    <a:pt x="16" y="88"/>
                  </a:lnTo>
                  <a:lnTo>
                    <a:pt x="19" y="83"/>
                  </a:lnTo>
                  <a:lnTo>
                    <a:pt x="19" y="81"/>
                  </a:lnTo>
                  <a:lnTo>
                    <a:pt x="24" y="76"/>
                  </a:lnTo>
                  <a:lnTo>
                    <a:pt x="26" y="74"/>
                  </a:lnTo>
                  <a:lnTo>
                    <a:pt x="31" y="76"/>
                  </a:lnTo>
                  <a:lnTo>
                    <a:pt x="33" y="76"/>
                  </a:lnTo>
                  <a:lnTo>
                    <a:pt x="40" y="74"/>
                  </a:lnTo>
                  <a:lnTo>
                    <a:pt x="42" y="66"/>
                  </a:lnTo>
                  <a:lnTo>
                    <a:pt x="42" y="64"/>
                  </a:lnTo>
                  <a:lnTo>
                    <a:pt x="35" y="64"/>
                  </a:lnTo>
                  <a:lnTo>
                    <a:pt x="33" y="59"/>
                  </a:lnTo>
                  <a:lnTo>
                    <a:pt x="33" y="5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4" name="Freeform 15">
              <a:extLst>
                <a:ext uri="{FF2B5EF4-FFF2-40B4-BE49-F238E27FC236}">
                  <a16:creationId xmlns:a16="http://schemas.microsoft.com/office/drawing/2014/main" id="{C8C147F4-2F1E-41EE-83C9-75F5136FCE63}"/>
                </a:ext>
              </a:extLst>
            </p:cNvPr>
            <p:cNvSpPr>
              <a:spLocks/>
            </p:cNvSpPr>
            <p:nvPr/>
          </p:nvSpPr>
          <p:spPr bwMode="gray">
            <a:xfrm rot="47099">
              <a:off x="1183281" y="1871319"/>
              <a:ext cx="3563" cy="2894"/>
            </a:xfrm>
            <a:custGeom>
              <a:avLst/>
              <a:gdLst>
                <a:gd name="T0" fmla="*/ 5 w 7"/>
                <a:gd name="T1" fmla="*/ 0 h 7"/>
                <a:gd name="T2" fmla="*/ 5 w 7"/>
                <a:gd name="T3" fmla="*/ 2 h 7"/>
                <a:gd name="T4" fmla="*/ 7 w 7"/>
                <a:gd name="T5" fmla="*/ 2 h 7"/>
                <a:gd name="T6" fmla="*/ 7 w 7"/>
                <a:gd name="T7" fmla="*/ 7 h 7"/>
                <a:gd name="T8" fmla="*/ 0 w 7"/>
                <a:gd name="T9" fmla="*/ 7 h 7"/>
                <a:gd name="T10" fmla="*/ 0 w 7"/>
                <a:gd name="T11" fmla="*/ 2 h 7"/>
                <a:gd name="T12" fmla="*/ 5 w 7"/>
                <a:gd name="T13" fmla="*/ 0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5" y="0"/>
                  </a:moveTo>
                  <a:lnTo>
                    <a:pt x="5" y="2"/>
                  </a:lnTo>
                  <a:lnTo>
                    <a:pt x="7" y="2"/>
                  </a:lnTo>
                  <a:lnTo>
                    <a:pt x="7" y="7"/>
                  </a:lnTo>
                  <a:lnTo>
                    <a:pt x="0" y="7"/>
                  </a:lnTo>
                  <a:lnTo>
                    <a:pt x="0" y="2"/>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5" name="Freeform 16">
              <a:extLst>
                <a:ext uri="{FF2B5EF4-FFF2-40B4-BE49-F238E27FC236}">
                  <a16:creationId xmlns:a16="http://schemas.microsoft.com/office/drawing/2014/main" id="{DC8A763B-D448-4ED0-8202-A481FED45A4A}"/>
                </a:ext>
              </a:extLst>
            </p:cNvPr>
            <p:cNvSpPr>
              <a:spLocks/>
            </p:cNvSpPr>
            <p:nvPr/>
          </p:nvSpPr>
          <p:spPr bwMode="gray">
            <a:xfrm rot="47099">
              <a:off x="1136491" y="1842736"/>
              <a:ext cx="149623" cy="130252"/>
            </a:xfrm>
            <a:custGeom>
              <a:avLst/>
              <a:gdLst>
                <a:gd name="T0" fmla="*/ 321 w 321"/>
                <a:gd name="T1" fmla="*/ 130 h 281"/>
                <a:gd name="T2" fmla="*/ 309 w 321"/>
                <a:gd name="T3" fmla="*/ 144 h 281"/>
                <a:gd name="T4" fmla="*/ 281 w 321"/>
                <a:gd name="T5" fmla="*/ 151 h 281"/>
                <a:gd name="T6" fmla="*/ 264 w 321"/>
                <a:gd name="T7" fmla="*/ 161 h 281"/>
                <a:gd name="T8" fmla="*/ 243 w 321"/>
                <a:gd name="T9" fmla="*/ 168 h 281"/>
                <a:gd name="T10" fmla="*/ 231 w 321"/>
                <a:gd name="T11" fmla="*/ 170 h 281"/>
                <a:gd name="T12" fmla="*/ 224 w 321"/>
                <a:gd name="T13" fmla="*/ 177 h 281"/>
                <a:gd name="T14" fmla="*/ 201 w 321"/>
                <a:gd name="T15" fmla="*/ 184 h 281"/>
                <a:gd name="T16" fmla="*/ 186 w 321"/>
                <a:gd name="T17" fmla="*/ 208 h 281"/>
                <a:gd name="T18" fmla="*/ 177 w 321"/>
                <a:gd name="T19" fmla="*/ 210 h 281"/>
                <a:gd name="T20" fmla="*/ 167 w 321"/>
                <a:gd name="T21" fmla="*/ 210 h 281"/>
                <a:gd name="T22" fmla="*/ 160 w 321"/>
                <a:gd name="T23" fmla="*/ 222 h 281"/>
                <a:gd name="T24" fmla="*/ 151 w 321"/>
                <a:gd name="T25" fmla="*/ 227 h 281"/>
                <a:gd name="T26" fmla="*/ 144 w 321"/>
                <a:gd name="T27" fmla="*/ 243 h 281"/>
                <a:gd name="T28" fmla="*/ 137 w 321"/>
                <a:gd name="T29" fmla="*/ 258 h 281"/>
                <a:gd name="T30" fmla="*/ 130 w 321"/>
                <a:gd name="T31" fmla="*/ 267 h 281"/>
                <a:gd name="T32" fmla="*/ 104 w 321"/>
                <a:gd name="T33" fmla="*/ 272 h 281"/>
                <a:gd name="T34" fmla="*/ 99 w 321"/>
                <a:gd name="T35" fmla="*/ 265 h 281"/>
                <a:gd name="T36" fmla="*/ 94 w 321"/>
                <a:gd name="T37" fmla="*/ 265 h 281"/>
                <a:gd name="T38" fmla="*/ 80 w 321"/>
                <a:gd name="T39" fmla="*/ 274 h 281"/>
                <a:gd name="T40" fmla="*/ 59 w 321"/>
                <a:gd name="T41" fmla="*/ 279 h 281"/>
                <a:gd name="T42" fmla="*/ 47 w 321"/>
                <a:gd name="T43" fmla="*/ 274 h 281"/>
                <a:gd name="T44" fmla="*/ 47 w 321"/>
                <a:gd name="T45" fmla="*/ 248 h 281"/>
                <a:gd name="T46" fmla="*/ 42 w 321"/>
                <a:gd name="T47" fmla="*/ 222 h 281"/>
                <a:gd name="T48" fmla="*/ 33 w 321"/>
                <a:gd name="T49" fmla="*/ 210 h 281"/>
                <a:gd name="T50" fmla="*/ 26 w 321"/>
                <a:gd name="T51" fmla="*/ 201 h 281"/>
                <a:gd name="T52" fmla="*/ 19 w 321"/>
                <a:gd name="T53" fmla="*/ 187 h 281"/>
                <a:gd name="T54" fmla="*/ 26 w 321"/>
                <a:gd name="T55" fmla="*/ 187 h 281"/>
                <a:gd name="T56" fmla="*/ 7 w 321"/>
                <a:gd name="T57" fmla="*/ 184 h 281"/>
                <a:gd name="T58" fmla="*/ 7 w 321"/>
                <a:gd name="T59" fmla="*/ 182 h 281"/>
                <a:gd name="T60" fmla="*/ 14 w 321"/>
                <a:gd name="T61" fmla="*/ 170 h 281"/>
                <a:gd name="T62" fmla="*/ 23 w 321"/>
                <a:gd name="T63" fmla="*/ 158 h 281"/>
                <a:gd name="T64" fmla="*/ 38 w 321"/>
                <a:gd name="T65" fmla="*/ 144 h 281"/>
                <a:gd name="T66" fmla="*/ 49 w 321"/>
                <a:gd name="T67" fmla="*/ 137 h 281"/>
                <a:gd name="T68" fmla="*/ 56 w 321"/>
                <a:gd name="T69" fmla="*/ 121 h 281"/>
                <a:gd name="T70" fmla="*/ 75 w 321"/>
                <a:gd name="T71" fmla="*/ 114 h 281"/>
                <a:gd name="T72" fmla="*/ 71 w 321"/>
                <a:gd name="T73" fmla="*/ 102 h 281"/>
                <a:gd name="T74" fmla="*/ 82 w 321"/>
                <a:gd name="T75" fmla="*/ 90 h 281"/>
                <a:gd name="T76" fmla="*/ 97 w 321"/>
                <a:gd name="T77" fmla="*/ 73 h 281"/>
                <a:gd name="T78" fmla="*/ 106 w 321"/>
                <a:gd name="T79" fmla="*/ 64 h 281"/>
                <a:gd name="T80" fmla="*/ 120 w 321"/>
                <a:gd name="T81" fmla="*/ 54 h 281"/>
                <a:gd name="T82" fmla="*/ 113 w 321"/>
                <a:gd name="T83" fmla="*/ 45 h 281"/>
                <a:gd name="T84" fmla="*/ 115 w 321"/>
                <a:gd name="T85" fmla="*/ 21 h 281"/>
                <a:gd name="T86" fmla="*/ 115 w 321"/>
                <a:gd name="T87" fmla="*/ 0 h 281"/>
                <a:gd name="T88" fmla="*/ 160 w 321"/>
                <a:gd name="T89" fmla="*/ 5 h 281"/>
                <a:gd name="T90" fmla="*/ 203 w 321"/>
                <a:gd name="T91" fmla="*/ 10 h 281"/>
                <a:gd name="T92" fmla="*/ 210 w 321"/>
                <a:gd name="T93" fmla="*/ 17 h 281"/>
                <a:gd name="T94" fmla="*/ 217 w 321"/>
                <a:gd name="T95" fmla="*/ 33 h 281"/>
                <a:gd name="T96" fmla="*/ 234 w 321"/>
                <a:gd name="T97" fmla="*/ 47 h 281"/>
                <a:gd name="T98" fmla="*/ 227 w 321"/>
                <a:gd name="T99" fmla="*/ 57 h 281"/>
                <a:gd name="T100" fmla="*/ 227 w 321"/>
                <a:gd name="T101" fmla="*/ 62 h 281"/>
                <a:gd name="T102" fmla="*/ 243 w 321"/>
                <a:gd name="T103" fmla="*/ 50 h 281"/>
                <a:gd name="T104" fmla="*/ 243 w 321"/>
                <a:gd name="T105" fmla="*/ 62 h 281"/>
                <a:gd name="T106" fmla="*/ 236 w 321"/>
                <a:gd name="T107" fmla="*/ 71 h 281"/>
                <a:gd name="T108" fmla="*/ 250 w 321"/>
                <a:gd name="T109" fmla="*/ 57 h 281"/>
                <a:gd name="T110" fmla="*/ 274 w 321"/>
                <a:gd name="T111" fmla="*/ 54 h 281"/>
                <a:gd name="T112" fmla="*/ 288 w 321"/>
                <a:gd name="T113" fmla="*/ 62 h 281"/>
                <a:gd name="T114" fmla="*/ 293 w 321"/>
                <a:gd name="T115" fmla="*/ 69 h 281"/>
                <a:gd name="T116" fmla="*/ 300 w 321"/>
                <a:gd name="T117" fmla="*/ 80 h 281"/>
                <a:gd name="T118" fmla="*/ 304 w 321"/>
                <a:gd name="T119" fmla="*/ 97 h 281"/>
                <a:gd name="T120" fmla="*/ 309 w 321"/>
                <a:gd name="T121" fmla="*/ 111 h 281"/>
                <a:gd name="T122" fmla="*/ 316 w 321"/>
                <a:gd name="T123" fmla="*/ 118 h 2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281"/>
                <a:gd name="T188" fmla="*/ 321 w 321"/>
                <a:gd name="T189" fmla="*/ 281 h 2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281">
                  <a:moveTo>
                    <a:pt x="316" y="118"/>
                  </a:moveTo>
                  <a:lnTo>
                    <a:pt x="316" y="121"/>
                  </a:lnTo>
                  <a:lnTo>
                    <a:pt x="321" y="130"/>
                  </a:lnTo>
                  <a:lnTo>
                    <a:pt x="321" y="137"/>
                  </a:lnTo>
                  <a:lnTo>
                    <a:pt x="316" y="142"/>
                  </a:lnTo>
                  <a:lnTo>
                    <a:pt x="309" y="144"/>
                  </a:lnTo>
                  <a:lnTo>
                    <a:pt x="304" y="147"/>
                  </a:lnTo>
                  <a:lnTo>
                    <a:pt x="293" y="151"/>
                  </a:lnTo>
                  <a:lnTo>
                    <a:pt x="281" y="151"/>
                  </a:lnTo>
                  <a:lnTo>
                    <a:pt x="276" y="154"/>
                  </a:lnTo>
                  <a:lnTo>
                    <a:pt x="271" y="158"/>
                  </a:lnTo>
                  <a:lnTo>
                    <a:pt x="264" y="161"/>
                  </a:lnTo>
                  <a:lnTo>
                    <a:pt x="257" y="161"/>
                  </a:lnTo>
                  <a:lnTo>
                    <a:pt x="248" y="166"/>
                  </a:lnTo>
                  <a:lnTo>
                    <a:pt x="243" y="168"/>
                  </a:lnTo>
                  <a:lnTo>
                    <a:pt x="241" y="168"/>
                  </a:lnTo>
                  <a:lnTo>
                    <a:pt x="241" y="170"/>
                  </a:lnTo>
                  <a:lnTo>
                    <a:pt x="231" y="170"/>
                  </a:lnTo>
                  <a:lnTo>
                    <a:pt x="227" y="175"/>
                  </a:lnTo>
                  <a:lnTo>
                    <a:pt x="224" y="175"/>
                  </a:lnTo>
                  <a:lnTo>
                    <a:pt x="224" y="177"/>
                  </a:lnTo>
                  <a:lnTo>
                    <a:pt x="212" y="177"/>
                  </a:lnTo>
                  <a:lnTo>
                    <a:pt x="203" y="184"/>
                  </a:lnTo>
                  <a:lnTo>
                    <a:pt x="201" y="184"/>
                  </a:lnTo>
                  <a:lnTo>
                    <a:pt x="191" y="201"/>
                  </a:lnTo>
                  <a:lnTo>
                    <a:pt x="191" y="203"/>
                  </a:lnTo>
                  <a:lnTo>
                    <a:pt x="186" y="208"/>
                  </a:lnTo>
                  <a:lnTo>
                    <a:pt x="184" y="208"/>
                  </a:lnTo>
                  <a:lnTo>
                    <a:pt x="179" y="210"/>
                  </a:lnTo>
                  <a:lnTo>
                    <a:pt x="177" y="210"/>
                  </a:lnTo>
                  <a:lnTo>
                    <a:pt x="172" y="215"/>
                  </a:lnTo>
                  <a:lnTo>
                    <a:pt x="170" y="215"/>
                  </a:lnTo>
                  <a:lnTo>
                    <a:pt x="167" y="210"/>
                  </a:lnTo>
                  <a:lnTo>
                    <a:pt x="163" y="208"/>
                  </a:lnTo>
                  <a:lnTo>
                    <a:pt x="160" y="208"/>
                  </a:lnTo>
                  <a:lnTo>
                    <a:pt x="160" y="222"/>
                  </a:lnTo>
                  <a:lnTo>
                    <a:pt x="156" y="222"/>
                  </a:lnTo>
                  <a:lnTo>
                    <a:pt x="153" y="227"/>
                  </a:lnTo>
                  <a:lnTo>
                    <a:pt x="151" y="227"/>
                  </a:lnTo>
                  <a:lnTo>
                    <a:pt x="146" y="232"/>
                  </a:lnTo>
                  <a:lnTo>
                    <a:pt x="146" y="239"/>
                  </a:lnTo>
                  <a:lnTo>
                    <a:pt x="144" y="243"/>
                  </a:lnTo>
                  <a:lnTo>
                    <a:pt x="139" y="248"/>
                  </a:lnTo>
                  <a:lnTo>
                    <a:pt x="139" y="255"/>
                  </a:lnTo>
                  <a:lnTo>
                    <a:pt x="137" y="258"/>
                  </a:lnTo>
                  <a:lnTo>
                    <a:pt x="134" y="262"/>
                  </a:lnTo>
                  <a:lnTo>
                    <a:pt x="134" y="265"/>
                  </a:lnTo>
                  <a:lnTo>
                    <a:pt x="130" y="267"/>
                  </a:lnTo>
                  <a:lnTo>
                    <a:pt x="123" y="267"/>
                  </a:lnTo>
                  <a:lnTo>
                    <a:pt x="120" y="272"/>
                  </a:lnTo>
                  <a:lnTo>
                    <a:pt x="104" y="272"/>
                  </a:lnTo>
                  <a:lnTo>
                    <a:pt x="99" y="267"/>
                  </a:lnTo>
                  <a:lnTo>
                    <a:pt x="104" y="265"/>
                  </a:lnTo>
                  <a:lnTo>
                    <a:pt x="99" y="265"/>
                  </a:lnTo>
                  <a:lnTo>
                    <a:pt x="99" y="262"/>
                  </a:lnTo>
                  <a:lnTo>
                    <a:pt x="97" y="262"/>
                  </a:lnTo>
                  <a:lnTo>
                    <a:pt x="94" y="265"/>
                  </a:lnTo>
                  <a:lnTo>
                    <a:pt x="90" y="267"/>
                  </a:lnTo>
                  <a:lnTo>
                    <a:pt x="87" y="267"/>
                  </a:lnTo>
                  <a:lnTo>
                    <a:pt x="80" y="274"/>
                  </a:lnTo>
                  <a:lnTo>
                    <a:pt x="66" y="274"/>
                  </a:lnTo>
                  <a:lnTo>
                    <a:pt x="64" y="279"/>
                  </a:lnTo>
                  <a:lnTo>
                    <a:pt x="59" y="279"/>
                  </a:lnTo>
                  <a:lnTo>
                    <a:pt x="59" y="281"/>
                  </a:lnTo>
                  <a:lnTo>
                    <a:pt x="47" y="281"/>
                  </a:lnTo>
                  <a:lnTo>
                    <a:pt x="47" y="274"/>
                  </a:lnTo>
                  <a:lnTo>
                    <a:pt x="42" y="274"/>
                  </a:lnTo>
                  <a:lnTo>
                    <a:pt x="42" y="255"/>
                  </a:lnTo>
                  <a:lnTo>
                    <a:pt x="47" y="248"/>
                  </a:lnTo>
                  <a:lnTo>
                    <a:pt x="47" y="241"/>
                  </a:lnTo>
                  <a:lnTo>
                    <a:pt x="42" y="232"/>
                  </a:lnTo>
                  <a:lnTo>
                    <a:pt x="42" y="222"/>
                  </a:lnTo>
                  <a:lnTo>
                    <a:pt x="40" y="217"/>
                  </a:lnTo>
                  <a:lnTo>
                    <a:pt x="38" y="210"/>
                  </a:lnTo>
                  <a:lnTo>
                    <a:pt x="33" y="210"/>
                  </a:lnTo>
                  <a:lnTo>
                    <a:pt x="30" y="208"/>
                  </a:lnTo>
                  <a:lnTo>
                    <a:pt x="30" y="203"/>
                  </a:lnTo>
                  <a:lnTo>
                    <a:pt x="26" y="201"/>
                  </a:lnTo>
                  <a:lnTo>
                    <a:pt x="23" y="194"/>
                  </a:lnTo>
                  <a:lnTo>
                    <a:pt x="19" y="191"/>
                  </a:lnTo>
                  <a:lnTo>
                    <a:pt x="19" y="187"/>
                  </a:lnTo>
                  <a:lnTo>
                    <a:pt x="23" y="191"/>
                  </a:lnTo>
                  <a:lnTo>
                    <a:pt x="26" y="191"/>
                  </a:lnTo>
                  <a:lnTo>
                    <a:pt x="26" y="187"/>
                  </a:lnTo>
                  <a:lnTo>
                    <a:pt x="19" y="187"/>
                  </a:lnTo>
                  <a:lnTo>
                    <a:pt x="16" y="184"/>
                  </a:lnTo>
                  <a:lnTo>
                    <a:pt x="7" y="184"/>
                  </a:lnTo>
                  <a:lnTo>
                    <a:pt x="2" y="182"/>
                  </a:lnTo>
                  <a:lnTo>
                    <a:pt x="0" y="182"/>
                  </a:lnTo>
                  <a:lnTo>
                    <a:pt x="7" y="182"/>
                  </a:lnTo>
                  <a:lnTo>
                    <a:pt x="9" y="177"/>
                  </a:lnTo>
                  <a:lnTo>
                    <a:pt x="9" y="175"/>
                  </a:lnTo>
                  <a:lnTo>
                    <a:pt x="14" y="170"/>
                  </a:lnTo>
                  <a:lnTo>
                    <a:pt x="14" y="168"/>
                  </a:lnTo>
                  <a:lnTo>
                    <a:pt x="23" y="161"/>
                  </a:lnTo>
                  <a:lnTo>
                    <a:pt x="23" y="158"/>
                  </a:lnTo>
                  <a:lnTo>
                    <a:pt x="30" y="154"/>
                  </a:lnTo>
                  <a:lnTo>
                    <a:pt x="30" y="151"/>
                  </a:lnTo>
                  <a:lnTo>
                    <a:pt x="38" y="144"/>
                  </a:lnTo>
                  <a:lnTo>
                    <a:pt x="42" y="144"/>
                  </a:lnTo>
                  <a:lnTo>
                    <a:pt x="47" y="142"/>
                  </a:lnTo>
                  <a:lnTo>
                    <a:pt x="49" y="137"/>
                  </a:lnTo>
                  <a:lnTo>
                    <a:pt x="54" y="130"/>
                  </a:lnTo>
                  <a:lnTo>
                    <a:pt x="56" y="128"/>
                  </a:lnTo>
                  <a:lnTo>
                    <a:pt x="56" y="121"/>
                  </a:lnTo>
                  <a:lnTo>
                    <a:pt x="59" y="118"/>
                  </a:lnTo>
                  <a:lnTo>
                    <a:pt x="73" y="118"/>
                  </a:lnTo>
                  <a:lnTo>
                    <a:pt x="75" y="114"/>
                  </a:lnTo>
                  <a:lnTo>
                    <a:pt x="73" y="111"/>
                  </a:lnTo>
                  <a:lnTo>
                    <a:pt x="71" y="106"/>
                  </a:lnTo>
                  <a:lnTo>
                    <a:pt x="71" y="102"/>
                  </a:lnTo>
                  <a:lnTo>
                    <a:pt x="73" y="97"/>
                  </a:lnTo>
                  <a:lnTo>
                    <a:pt x="75" y="97"/>
                  </a:lnTo>
                  <a:lnTo>
                    <a:pt x="82" y="90"/>
                  </a:lnTo>
                  <a:lnTo>
                    <a:pt x="87" y="85"/>
                  </a:lnTo>
                  <a:lnTo>
                    <a:pt x="94" y="78"/>
                  </a:lnTo>
                  <a:lnTo>
                    <a:pt x="97" y="73"/>
                  </a:lnTo>
                  <a:lnTo>
                    <a:pt x="99" y="73"/>
                  </a:lnTo>
                  <a:lnTo>
                    <a:pt x="106" y="71"/>
                  </a:lnTo>
                  <a:lnTo>
                    <a:pt x="106" y="64"/>
                  </a:lnTo>
                  <a:lnTo>
                    <a:pt x="111" y="62"/>
                  </a:lnTo>
                  <a:lnTo>
                    <a:pt x="115" y="62"/>
                  </a:lnTo>
                  <a:lnTo>
                    <a:pt x="120" y="54"/>
                  </a:lnTo>
                  <a:lnTo>
                    <a:pt x="120" y="47"/>
                  </a:lnTo>
                  <a:lnTo>
                    <a:pt x="115" y="47"/>
                  </a:lnTo>
                  <a:lnTo>
                    <a:pt x="113" y="45"/>
                  </a:lnTo>
                  <a:lnTo>
                    <a:pt x="113" y="40"/>
                  </a:lnTo>
                  <a:lnTo>
                    <a:pt x="115" y="31"/>
                  </a:lnTo>
                  <a:lnTo>
                    <a:pt x="115" y="21"/>
                  </a:lnTo>
                  <a:lnTo>
                    <a:pt x="120" y="7"/>
                  </a:lnTo>
                  <a:lnTo>
                    <a:pt x="115" y="7"/>
                  </a:lnTo>
                  <a:lnTo>
                    <a:pt x="115" y="0"/>
                  </a:lnTo>
                  <a:lnTo>
                    <a:pt x="134" y="0"/>
                  </a:lnTo>
                  <a:lnTo>
                    <a:pt x="139" y="5"/>
                  </a:lnTo>
                  <a:lnTo>
                    <a:pt x="160" y="5"/>
                  </a:lnTo>
                  <a:lnTo>
                    <a:pt x="170" y="7"/>
                  </a:lnTo>
                  <a:lnTo>
                    <a:pt x="201" y="7"/>
                  </a:lnTo>
                  <a:lnTo>
                    <a:pt x="203" y="10"/>
                  </a:lnTo>
                  <a:lnTo>
                    <a:pt x="208" y="14"/>
                  </a:lnTo>
                  <a:lnTo>
                    <a:pt x="208" y="17"/>
                  </a:lnTo>
                  <a:lnTo>
                    <a:pt x="210" y="17"/>
                  </a:lnTo>
                  <a:lnTo>
                    <a:pt x="210" y="24"/>
                  </a:lnTo>
                  <a:lnTo>
                    <a:pt x="212" y="28"/>
                  </a:lnTo>
                  <a:lnTo>
                    <a:pt x="217" y="33"/>
                  </a:lnTo>
                  <a:lnTo>
                    <a:pt x="224" y="40"/>
                  </a:lnTo>
                  <a:lnTo>
                    <a:pt x="231" y="47"/>
                  </a:lnTo>
                  <a:lnTo>
                    <a:pt x="234" y="47"/>
                  </a:lnTo>
                  <a:lnTo>
                    <a:pt x="234" y="50"/>
                  </a:lnTo>
                  <a:lnTo>
                    <a:pt x="231" y="54"/>
                  </a:lnTo>
                  <a:lnTo>
                    <a:pt x="227" y="57"/>
                  </a:lnTo>
                  <a:lnTo>
                    <a:pt x="224" y="62"/>
                  </a:lnTo>
                  <a:lnTo>
                    <a:pt x="227" y="64"/>
                  </a:lnTo>
                  <a:lnTo>
                    <a:pt x="227" y="62"/>
                  </a:lnTo>
                  <a:lnTo>
                    <a:pt x="231" y="57"/>
                  </a:lnTo>
                  <a:lnTo>
                    <a:pt x="236" y="50"/>
                  </a:lnTo>
                  <a:lnTo>
                    <a:pt x="243" y="50"/>
                  </a:lnTo>
                  <a:lnTo>
                    <a:pt x="248" y="54"/>
                  </a:lnTo>
                  <a:lnTo>
                    <a:pt x="248" y="57"/>
                  </a:lnTo>
                  <a:lnTo>
                    <a:pt x="243" y="62"/>
                  </a:lnTo>
                  <a:lnTo>
                    <a:pt x="243" y="64"/>
                  </a:lnTo>
                  <a:lnTo>
                    <a:pt x="241" y="64"/>
                  </a:lnTo>
                  <a:lnTo>
                    <a:pt x="236" y="71"/>
                  </a:lnTo>
                  <a:lnTo>
                    <a:pt x="243" y="71"/>
                  </a:lnTo>
                  <a:lnTo>
                    <a:pt x="250" y="64"/>
                  </a:lnTo>
                  <a:lnTo>
                    <a:pt x="250" y="57"/>
                  </a:lnTo>
                  <a:lnTo>
                    <a:pt x="253" y="57"/>
                  </a:lnTo>
                  <a:lnTo>
                    <a:pt x="257" y="54"/>
                  </a:lnTo>
                  <a:lnTo>
                    <a:pt x="274" y="54"/>
                  </a:lnTo>
                  <a:lnTo>
                    <a:pt x="276" y="57"/>
                  </a:lnTo>
                  <a:lnTo>
                    <a:pt x="283" y="62"/>
                  </a:lnTo>
                  <a:lnTo>
                    <a:pt x="288" y="62"/>
                  </a:lnTo>
                  <a:lnTo>
                    <a:pt x="288" y="64"/>
                  </a:lnTo>
                  <a:lnTo>
                    <a:pt x="290" y="64"/>
                  </a:lnTo>
                  <a:lnTo>
                    <a:pt x="293" y="69"/>
                  </a:lnTo>
                  <a:lnTo>
                    <a:pt x="297" y="78"/>
                  </a:lnTo>
                  <a:lnTo>
                    <a:pt x="297" y="80"/>
                  </a:lnTo>
                  <a:lnTo>
                    <a:pt x="300" y="80"/>
                  </a:lnTo>
                  <a:lnTo>
                    <a:pt x="300" y="88"/>
                  </a:lnTo>
                  <a:lnTo>
                    <a:pt x="304" y="90"/>
                  </a:lnTo>
                  <a:lnTo>
                    <a:pt x="304" y="97"/>
                  </a:lnTo>
                  <a:lnTo>
                    <a:pt x="307" y="102"/>
                  </a:lnTo>
                  <a:lnTo>
                    <a:pt x="309" y="106"/>
                  </a:lnTo>
                  <a:lnTo>
                    <a:pt x="309" y="111"/>
                  </a:lnTo>
                  <a:lnTo>
                    <a:pt x="314" y="114"/>
                  </a:lnTo>
                  <a:lnTo>
                    <a:pt x="314" y="118"/>
                  </a:lnTo>
                  <a:lnTo>
                    <a:pt x="316" y="11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6" name="Freeform 17">
              <a:extLst>
                <a:ext uri="{FF2B5EF4-FFF2-40B4-BE49-F238E27FC236}">
                  <a16:creationId xmlns:a16="http://schemas.microsoft.com/office/drawing/2014/main" id="{57BE715F-9AB7-4F40-AE52-A630F37924BC}"/>
                </a:ext>
              </a:extLst>
            </p:cNvPr>
            <p:cNvSpPr>
              <a:spLocks/>
            </p:cNvSpPr>
            <p:nvPr/>
          </p:nvSpPr>
          <p:spPr bwMode="gray">
            <a:xfrm rot="47099">
              <a:off x="1366541" y="1823642"/>
              <a:ext cx="1782" cy="965"/>
            </a:xfrm>
            <a:custGeom>
              <a:avLst/>
              <a:gdLst>
                <a:gd name="T0" fmla="*/ 0 w 2"/>
                <a:gd name="T1" fmla="*/ 5 h 5"/>
                <a:gd name="T2" fmla="*/ 0 w 2"/>
                <a:gd name="T3" fmla="*/ 0 h 5"/>
                <a:gd name="T4" fmla="*/ 0 w 2"/>
                <a:gd name="T5" fmla="*/ 5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5"/>
                  </a:moveTo>
                  <a:lnTo>
                    <a:pt x="0" y="0"/>
                  </a:lnTo>
                  <a:lnTo>
                    <a:pt x="0"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7" name="Freeform 18">
              <a:extLst>
                <a:ext uri="{FF2B5EF4-FFF2-40B4-BE49-F238E27FC236}">
                  <a16:creationId xmlns:a16="http://schemas.microsoft.com/office/drawing/2014/main" id="{834CD32D-16D9-439C-B110-0952051C7663}"/>
                </a:ext>
              </a:extLst>
            </p:cNvPr>
            <p:cNvSpPr>
              <a:spLocks/>
            </p:cNvSpPr>
            <p:nvPr/>
          </p:nvSpPr>
          <p:spPr bwMode="gray">
            <a:xfrm rot="47099">
              <a:off x="1238714" y="1790071"/>
              <a:ext cx="5343" cy="4824"/>
            </a:xfrm>
            <a:custGeom>
              <a:avLst/>
              <a:gdLst>
                <a:gd name="T0" fmla="*/ 2 w 10"/>
                <a:gd name="T1" fmla="*/ 4 h 9"/>
                <a:gd name="T2" fmla="*/ 10 w 10"/>
                <a:gd name="T3" fmla="*/ 4 h 9"/>
                <a:gd name="T4" fmla="*/ 10 w 10"/>
                <a:gd name="T5" fmla="*/ 7 h 9"/>
                <a:gd name="T6" fmla="*/ 7 w 10"/>
                <a:gd name="T7" fmla="*/ 7 h 9"/>
                <a:gd name="T8" fmla="*/ 7 w 10"/>
                <a:gd name="T9" fmla="*/ 9 h 9"/>
                <a:gd name="T10" fmla="*/ 7 w 10"/>
                <a:gd name="T11" fmla="*/ 7 h 9"/>
                <a:gd name="T12" fmla="*/ 0 w 10"/>
                <a:gd name="T13" fmla="*/ 4 h 9"/>
                <a:gd name="T14" fmla="*/ 2 w 10"/>
                <a:gd name="T15" fmla="*/ 4 h 9"/>
                <a:gd name="T16" fmla="*/ 2 w 10"/>
                <a:gd name="T17" fmla="*/ 0 h 9"/>
                <a:gd name="T18" fmla="*/ 2 w 10"/>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9"/>
                <a:gd name="T32" fmla="*/ 10 w 10"/>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9">
                  <a:moveTo>
                    <a:pt x="2" y="4"/>
                  </a:moveTo>
                  <a:lnTo>
                    <a:pt x="10" y="4"/>
                  </a:lnTo>
                  <a:lnTo>
                    <a:pt x="10" y="7"/>
                  </a:lnTo>
                  <a:lnTo>
                    <a:pt x="7" y="7"/>
                  </a:lnTo>
                  <a:lnTo>
                    <a:pt x="7" y="9"/>
                  </a:lnTo>
                  <a:lnTo>
                    <a:pt x="7" y="7"/>
                  </a:lnTo>
                  <a:lnTo>
                    <a:pt x="0" y="4"/>
                  </a:lnTo>
                  <a:lnTo>
                    <a:pt x="2" y="4"/>
                  </a:lnTo>
                  <a:lnTo>
                    <a:pt x="2" y="0"/>
                  </a:lnTo>
                  <a:lnTo>
                    <a:pt x="2"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8" name="Freeform 19">
              <a:extLst>
                <a:ext uri="{FF2B5EF4-FFF2-40B4-BE49-F238E27FC236}">
                  <a16:creationId xmlns:a16="http://schemas.microsoft.com/office/drawing/2014/main" id="{7B0942E5-8574-4C19-9900-B2E45FE0A1EF}"/>
                </a:ext>
              </a:extLst>
            </p:cNvPr>
            <p:cNvSpPr>
              <a:spLocks/>
            </p:cNvSpPr>
            <p:nvPr/>
          </p:nvSpPr>
          <p:spPr bwMode="gray">
            <a:xfrm rot="47099">
              <a:off x="1251082" y="1797002"/>
              <a:ext cx="6235" cy="5789"/>
            </a:xfrm>
            <a:custGeom>
              <a:avLst/>
              <a:gdLst>
                <a:gd name="T0" fmla="*/ 14 w 14"/>
                <a:gd name="T1" fmla="*/ 0 h 12"/>
                <a:gd name="T2" fmla="*/ 14 w 14"/>
                <a:gd name="T3" fmla="*/ 2 h 12"/>
                <a:gd name="T4" fmla="*/ 10 w 14"/>
                <a:gd name="T5" fmla="*/ 7 h 12"/>
                <a:gd name="T6" fmla="*/ 10 w 14"/>
                <a:gd name="T7" fmla="*/ 9 h 12"/>
                <a:gd name="T8" fmla="*/ 7 w 14"/>
                <a:gd name="T9" fmla="*/ 9 h 12"/>
                <a:gd name="T10" fmla="*/ 7 w 14"/>
                <a:gd name="T11" fmla="*/ 12 h 12"/>
                <a:gd name="T12" fmla="*/ 5 w 14"/>
                <a:gd name="T13" fmla="*/ 12 h 12"/>
                <a:gd name="T14" fmla="*/ 0 w 14"/>
                <a:gd name="T15" fmla="*/ 9 h 12"/>
                <a:gd name="T16" fmla="*/ 5 w 14"/>
                <a:gd name="T17" fmla="*/ 9 h 12"/>
                <a:gd name="T18" fmla="*/ 7 w 14"/>
                <a:gd name="T19" fmla="*/ 7 h 12"/>
                <a:gd name="T20" fmla="*/ 10 w 14"/>
                <a:gd name="T21" fmla="*/ 2 h 12"/>
                <a:gd name="T22" fmla="*/ 10 w 14"/>
                <a:gd name="T23" fmla="*/ 0 h 12"/>
                <a:gd name="T24" fmla="*/ 14 w 1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2"/>
                <a:gd name="T41" fmla="*/ 14 w 1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2">
                  <a:moveTo>
                    <a:pt x="14" y="0"/>
                  </a:moveTo>
                  <a:lnTo>
                    <a:pt x="14" y="2"/>
                  </a:lnTo>
                  <a:lnTo>
                    <a:pt x="10" y="7"/>
                  </a:lnTo>
                  <a:lnTo>
                    <a:pt x="10" y="9"/>
                  </a:lnTo>
                  <a:lnTo>
                    <a:pt x="7" y="9"/>
                  </a:lnTo>
                  <a:lnTo>
                    <a:pt x="7" y="12"/>
                  </a:lnTo>
                  <a:lnTo>
                    <a:pt x="5" y="12"/>
                  </a:lnTo>
                  <a:lnTo>
                    <a:pt x="0" y="9"/>
                  </a:lnTo>
                  <a:lnTo>
                    <a:pt x="5" y="9"/>
                  </a:lnTo>
                  <a:lnTo>
                    <a:pt x="7" y="7"/>
                  </a:lnTo>
                  <a:lnTo>
                    <a:pt x="10" y="2"/>
                  </a:lnTo>
                  <a:lnTo>
                    <a:pt x="10" y="0"/>
                  </a:lnTo>
                  <a:lnTo>
                    <a:pt x="1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39" name="Freeform 20">
              <a:extLst>
                <a:ext uri="{FF2B5EF4-FFF2-40B4-BE49-F238E27FC236}">
                  <a16:creationId xmlns:a16="http://schemas.microsoft.com/office/drawing/2014/main" id="{451616FE-77A4-4950-8BF2-D24BEF8655AB}"/>
                </a:ext>
              </a:extLst>
            </p:cNvPr>
            <p:cNvSpPr>
              <a:spLocks/>
            </p:cNvSpPr>
            <p:nvPr/>
          </p:nvSpPr>
          <p:spPr bwMode="gray">
            <a:xfrm rot="47099">
              <a:off x="1268759" y="1798331"/>
              <a:ext cx="24046" cy="23156"/>
            </a:xfrm>
            <a:custGeom>
              <a:avLst/>
              <a:gdLst>
                <a:gd name="T0" fmla="*/ 52 w 52"/>
                <a:gd name="T1" fmla="*/ 0 h 48"/>
                <a:gd name="T2" fmla="*/ 52 w 52"/>
                <a:gd name="T3" fmla="*/ 7 h 48"/>
                <a:gd name="T4" fmla="*/ 49 w 52"/>
                <a:gd name="T5" fmla="*/ 10 h 48"/>
                <a:gd name="T6" fmla="*/ 47 w 52"/>
                <a:gd name="T7" fmla="*/ 17 h 48"/>
                <a:gd name="T8" fmla="*/ 42 w 52"/>
                <a:gd name="T9" fmla="*/ 17 h 48"/>
                <a:gd name="T10" fmla="*/ 40 w 52"/>
                <a:gd name="T11" fmla="*/ 22 h 48"/>
                <a:gd name="T12" fmla="*/ 35 w 52"/>
                <a:gd name="T13" fmla="*/ 29 h 48"/>
                <a:gd name="T14" fmla="*/ 33 w 52"/>
                <a:gd name="T15" fmla="*/ 31 h 48"/>
                <a:gd name="T16" fmla="*/ 33 w 52"/>
                <a:gd name="T17" fmla="*/ 33 h 48"/>
                <a:gd name="T18" fmla="*/ 28 w 52"/>
                <a:gd name="T19" fmla="*/ 33 h 48"/>
                <a:gd name="T20" fmla="*/ 26 w 52"/>
                <a:gd name="T21" fmla="*/ 38 h 48"/>
                <a:gd name="T22" fmla="*/ 23 w 52"/>
                <a:gd name="T23" fmla="*/ 38 h 48"/>
                <a:gd name="T24" fmla="*/ 23 w 52"/>
                <a:gd name="T25" fmla="*/ 40 h 48"/>
                <a:gd name="T26" fmla="*/ 19 w 52"/>
                <a:gd name="T27" fmla="*/ 45 h 48"/>
                <a:gd name="T28" fmla="*/ 12 w 52"/>
                <a:gd name="T29" fmla="*/ 48 h 48"/>
                <a:gd name="T30" fmla="*/ 9 w 52"/>
                <a:gd name="T31" fmla="*/ 45 h 48"/>
                <a:gd name="T32" fmla="*/ 9 w 52"/>
                <a:gd name="T33" fmla="*/ 40 h 48"/>
                <a:gd name="T34" fmla="*/ 7 w 52"/>
                <a:gd name="T35" fmla="*/ 40 h 48"/>
                <a:gd name="T36" fmla="*/ 7 w 52"/>
                <a:gd name="T37" fmla="*/ 38 h 48"/>
                <a:gd name="T38" fmla="*/ 2 w 52"/>
                <a:gd name="T39" fmla="*/ 38 h 48"/>
                <a:gd name="T40" fmla="*/ 0 w 52"/>
                <a:gd name="T41" fmla="*/ 33 h 48"/>
                <a:gd name="T42" fmla="*/ 0 w 52"/>
                <a:gd name="T43" fmla="*/ 31 h 48"/>
                <a:gd name="T44" fmla="*/ 2 w 52"/>
                <a:gd name="T45" fmla="*/ 29 h 48"/>
                <a:gd name="T46" fmla="*/ 7 w 52"/>
                <a:gd name="T47" fmla="*/ 29 h 48"/>
                <a:gd name="T48" fmla="*/ 9 w 52"/>
                <a:gd name="T49" fmla="*/ 24 h 48"/>
                <a:gd name="T50" fmla="*/ 12 w 52"/>
                <a:gd name="T51" fmla="*/ 22 h 48"/>
                <a:gd name="T52" fmla="*/ 19 w 52"/>
                <a:gd name="T53" fmla="*/ 17 h 48"/>
                <a:gd name="T54" fmla="*/ 19 w 52"/>
                <a:gd name="T55" fmla="*/ 14 h 48"/>
                <a:gd name="T56" fmla="*/ 23 w 52"/>
                <a:gd name="T57" fmla="*/ 14 h 48"/>
                <a:gd name="T58" fmla="*/ 23 w 52"/>
                <a:gd name="T59" fmla="*/ 10 h 48"/>
                <a:gd name="T60" fmla="*/ 35 w 52"/>
                <a:gd name="T61" fmla="*/ 10 h 48"/>
                <a:gd name="T62" fmla="*/ 35 w 52"/>
                <a:gd name="T63" fmla="*/ 7 h 48"/>
                <a:gd name="T64" fmla="*/ 40 w 52"/>
                <a:gd name="T65" fmla="*/ 7 h 48"/>
                <a:gd name="T66" fmla="*/ 40 w 52"/>
                <a:gd name="T67" fmla="*/ 5 h 48"/>
                <a:gd name="T68" fmla="*/ 42 w 52"/>
                <a:gd name="T69" fmla="*/ 5 h 48"/>
                <a:gd name="T70" fmla="*/ 47 w 52"/>
                <a:gd name="T71" fmla="*/ 0 h 48"/>
                <a:gd name="T72" fmla="*/ 52 w 52"/>
                <a:gd name="T73" fmla="*/ 0 h 4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
                <a:gd name="T112" fmla="*/ 0 h 48"/>
                <a:gd name="T113" fmla="*/ 52 w 52"/>
                <a:gd name="T114" fmla="*/ 48 h 4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 h="48">
                  <a:moveTo>
                    <a:pt x="52" y="0"/>
                  </a:moveTo>
                  <a:lnTo>
                    <a:pt x="52" y="7"/>
                  </a:lnTo>
                  <a:lnTo>
                    <a:pt x="49" y="10"/>
                  </a:lnTo>
                  <a:lnTo>
                    <a:pt x="47" y="17"/>
                  </a:lnTo>
                  <a:lnTo>
                    <a:pt x="42" y="17"/>
                  </a:lnTo>
                  <a:lnTo>
                    <a:pt x="40" y="22"/>
                  </a:lnTo>
                  <a:lnTo>
                    <a:pt x="35" y="29"/>
                  </a:lnTo>
                  <a:lnTo>
                    <a:pt x="33" y="31"/>
                  </a:lnTo>
                  <a:lnTo>
                    <a:pt x="33" y="33"/>
                  </a:lnTo>
                  <a:lnTo>
                    <a:pt x="28" y="33"/>
                  </a:lnTo>
                  <a:lnTo>
                    <a:pt x="26" y="38"/>
                  </a:lnTo>
                  <a:lnTo>
                    <a:pt x="23" y="38"/>
                  </a:lnTo>
                  <a:lnTo>
                    <a:pt x="23" y="40"/>
                  </a:lnTo>
                  <a:lnTo>
                    <a:pt x="19" y="45"/>
                  </a:lnTo>
                  <a:lnTo>
                    <a:pt x="12" y="48"/>
                  </a:lnTo>
                  <a:lnTo>
                    <a:pt x="9" y="45"/>
                  </a:lnTo>
                  <a:lnTo>
                    <a:pt x="9" y="40"/>
                  </a:lnTo>
                  <a:lnTo>
                    <a:pt x="7" y="40"/>
                  </a:lnTo>
                  <a:lnTo>
                    <a:pt x="7" y="38"/>
                  </a:lnTo>
                  <a:lnTo>
                    <a:pt x="2" y="38"/>
                  </a:lnTo>
                  <a:lnTo>
                    <a:pt x="0" y="33"/>
                  </a:lnTo>
                  <a:lnTo>
                    <a:pt x="0" y="31"/>
                  </a:lnTo>
                  <a:lnTo>
                    <a:pt x="2" y="29"/>
                  </a:lnTo>
                  <a:lnTo>
                    <a:pt x="7" y="29"/>
                  </a:lnTo>
                  <a:lnTo>
                    <a:pt x="9" y="24"/>
                  </a:lnTo>
                  <a:lnTo>
                    <a:pt x="12" y="22"/>
                  </a:lnTo>
                  <a:lnTo>
                    <a:pt x="19" y="17"/>
                  </a:lnTo>
                  <a:lnTo>
                    <a:pt x="19" y="14"/>
                  </a:lnTo>
                  <a:lnTo>
                    <a:pt x="23" y="14"/>
                  </a:lnTo>
                  <a:lnTo>
                    <a:pt x="23" y="10"/>
                  </a:lnTo>
                  <a:lnTo>
                    <a:pt x="35" y="10"/>
                  </a:lnTo>
                  <a:lnTo>
                    <a:pt x="35" y="7"/>
                  </a:lnTo>
                  <a:lnTo>
                    <a:pt x="40" y="7"/>
                  </a:lnTo>
                  <a:lnTo>
                    <a:pt x="40" y="5"/>
                  </a:lnTo>
                  <a:lnTo>
                    <a:pt x="42" y="5"/>
                  </a:lnTo>
                  <a:lnTo>
                    <a:pt x="47" y="0"/>
                  </a:lnTo>
                  <a:lnTo>
                    <a:pt x="5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0" name="Freeform 21">
              <a:extLst>
                <a:ext uri="{FF2B5EF4-FFF2-40B4-BE49-F238E27FC236}">
                  <a16:creationId xmlns:a16="http://schemas.microsoft.com/office/drawing/2014/main" id="{E66378FC-4616-474C-B344-3B467946F343}"/>
                </a:ext>
              </a:extLst>
            </p:cNvPr>
            <p:cNvSpPr>
              <a:spLocks/>
            </p:cNvSpPr>
            <p:nvPr/>
          </p:nvSpPr>
          <p:spPr bwMode="gray">
            <a:xfrm rot="47099">
              <a:off x="1365901" y="1801476"/>
              <a:ext cx="7125" cy="8683"/>
            </a:xfrm>
            <a:custGeom>
              <a:avLst/>
              <a:gdLst>
                <a:gd name="T0" fmla="*/ 7 w 14"/>
                <a:gd name="T1" fmla="*/ 19 h 19"/>
                <a:gd name="T2" fmla="*/ 7 w 14"/>
                <a:gd name="T3" fmla="*/ 17 h 19"/>
                <a:gd name="T4" fmla="*/ 2 w 14"/>
                <a:gd name="T5" fmla="*/ 12 h 19"/>
                <a:gd name="T6" fmla="*/ 0 w 14"/>
                <a:gd name="T7" fmla="*/ 12 h 19"/>
                <a:gd name="T8" fmla="*/ 2 w 14"/>
                <a:gd name="T9" fmla="*/ 2 h 19"/>
                <a:gd name="T10" fmla="*/ 7 w 14"/>
                <a:gd name="T11" fmla="*/ 0 h 19"/>
                <a:gd name="T12" fmla="*/ 14 w 14"/>
                <a:gd name="T13" fmla="*/ 0 h 19"/>
                <a:gd name="T14" fmla="*/ 7 w 14"/>
                <a:gd name="T15" fmla="*/ 19 h 19"/>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9"/>
                <a:gd name="T26" fmla="*/ 14 w 14"/>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9">
                  <a:moveTo>
                    <a:pt x="7" y="19"/>
                  </a:moveTo>
                  <a:lnTo>
                    <a:pt x="7" y="17"/>
                  </a:lnTo>
                  <a:lnTo>
                    <a:pt x="2" y="12"/>
                  </a:lnTo>
                  <a:lnTo>
                    <a:pt x="0" y="12"/>
                  </a:lnTo>
                  <a:lnTo>
                    <a:pt x="2" y="2"/>
                  </a:lnTo>
                  <a:lnTo>
                    <a:pt x="7" y="0"/>
                  </a:lnTo>
                  <a:lnTo>
                    <a:pt x="14" y="0"/>
                  </a:lnTo>
                  <a:lnTo>
                    <a:pt x="7" y="1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1" name="Freeform 22">
              <a:extLst>
                <a:ext uri="{FF2B5EF4-FFF2-40B4-BE49-F238E27FC236}">
                  <a16:creationId xmlns:a16="http://schemas.microsoft.com/office/drawing/2014/main" id="{3FABC633-0196-4EC6-8E88-15E20E858285}"/>
                </a:ext>
              </a:extLst>
            </p:cNvPr>
            <p:cNvSpPr>
              <a:spLocks/>
            </p:cNvSpPr>
            <p:nvPr/>
          </p:nvSpPr>
          <p:spPr bwMode="gray">
            <a:xfrm rot="47099">
              <a:off x="1280907" y="1790220"/>
              <a:ext cx="82827" cy="86834"/>
            </a:xfrm>
            <a:custGeom>
              <a:avLst/>
              <a:gdLst>
                <a:gd name="T0" fmla="*/ 160 w 179"/>
                <a:gd name="T1" fmla="*/ 163 h 187"/>
                <a:gd name="T2" fmla="*/ 146 w 179"/>
                <a:gd name="T3" fmla="*/ 173 h 187"/>
                <a:gd name="T4" fmla="*/ 130 w 179"/>
                <a:gd name="T5" fmla="*/ 185 h 187"/>
                <a:gd name="T6" fmla="*/ 80 w 179"/>
                <a:gd name="T7" fmla="*/ 185 h 187"/>
                <a:gd name="T8" fmla="*/ 71 w 179"/>
                <a:gd name="T9" fmla="*/ 170 h 187"/>
                <a:gd name="T10" fmla="*/ 71 w 179"/>
                <a:gd name="T11" fmla="*/ 149 h 187"/>
                <a:gd name="T12" fmla="*/ 97 w 179"/>
                <a:gd name="T13" fmla="*/ 144 h 187"/>
                <a:gd name="T14" fmla="*/ 134 w 179"/>
                <a:gd name="T15" fmla="*/ 144 h 187"/>
                <a:gd name="T16" fmla="*/ 158 w 179"/>
                <a:gd name="T17" fmla="*/ 123 h 187"/>
                <a:gd name="T18" fmla="*/ 146 w 179"/>
                <a:gd name="T19" fmla="*/ 126 h 187"/>
                <a:gd name="T20" fmla="*/ 134 w 179"/>
                <a:gd name="T21" fmla="*/ 126 h 187"/>
                <a:gd name="T22" fmla="*/ 118 w 179"/>
                <a:gd name="T23" fmla="*/ 126 h 187"/>
                <a:gd name="T24" fmla="*/ 123 w 179"/>
                <a:gd name="T25" fmla="*/ 121 h 187"/>
                <a:gd name="T26" fmla="*/ 118 w 179"/>
                <a:gd name="T27" fmla="*/ 114 h 187"/>
                <a:gd name="T28" fmla="*/ 99 w 179"/>
                <a:gd name="T29" fmla="*/ 130 h 187"/>
                <a:gd name="T30" fmla="*/ 83 w 179"/>
                <a:gd name="T31" fmla="*/ 126 h 187"/>
                <a:gd name="T32" fmla="*/ 97 w 179"/>
                <a:gd name="T33" fmla="*/ 104 h 187"/>
                <a:gd name="T34" fmla="*/ 90 w 179"/>
                <a:gd name="T35" fmla="*/ 100 h 187"/>
                <a:gd name="T36" fmla="*/ 80 w 179"/>
                <a:gd name="T37" fmla="*/ 109 h 187"/>
                <a:gd name="T38" fmla="*/ 73 w 179"/>
                <a:gd name="T39" fmla="*/ 104 h 187"/>
                <a:gd name="T40" fmla="*/ 78 w 179"/>
                <a:gd name="T41" fmla="*/ 116 h 187"/>
                <a:gd name="T42" fmla="*/ 71 w 179"/>
                <a:gd name="T43" fmla="*/ 126 h 187"/>
                <a:gd name="T44" fmla="*/ 54 w 179"/>
                <a:gd name="T45" fmla="*/ 126 h 187"/>
                <a:gd name="T46" fmla="*/ 54 w 179"/>
                <a:gd name="T47" fmla="*/ 114 h 187"/>
                <a:gd name="T48" fmla="*/ 42 w 179"/>
                <a:gd name="T49" fmla="*/ 114 h 187"/>
                <a:gd name="T50" fmla="*/ 38 w 179"/>
                <a:gd name="T51" fmla="*/ 123 h 187"/>
                <a:gd name="T52" fmla="*/ 23 w 179"/>
                <a:gd name="T53" fmla="*/ 104 h 187"/>
                <a:gd name="T54" fmla="*/ 7 w 179"/>
                <a:gd name="T55" fmla="*/ 100 h 187"/>
                <a:gd name="T56" fmla="*/ 7 w 179"/>
                <a:gd name="T57" fmla="*/ 83 h 187"/>
                <a:gd name="T58" fmla="*/ 40 w 179"/>
                <a:gd name="T59" fmla="*/ 81 h 187"/>
                <a:gd name="T60" fmla="*/ 61 w 179"/>
                <a:gd name="T61" fmla="*/ 74 h 187"/>
                <a:gd name="T62" fmla="*/ 71 w 179"/>
                <a:gd name="T63" fmla="*/ 67 h 187"/>
                <a:gd name="T64" fmla="*/ 38 w 179"/>
                <a:gd name="T65" fmla="*/ 74 h 187"/>
                <a:gd name="T66" fmla="*/ 26 w 179"/>
                <a:gd name="T67" fmla="*/ 57 h 187"/>
                <a:gd name="T68" fmla="*/ 40 w 179"/>
                <a:gd name="T69" fmla="*/ 50 h 187"/>
                <a:gd name="T70" fmla="*/ 61 w 179"/>
                <a:gd name="T71" fmla="*/ 52 h 187"/>
                <a:gd name="T72" fmla="*/ 80 w 179"/>
                <a:gd name="T73" fmla="*/ 50 h 187"/>
                <a:gd name="T74" fmla="*/ 66 w 179"/>
                <a:gd name="T75" fmla="*/ 50 h 187"/>
                <a:gd name="T76" fmla="*/ 40 w 179"/>
                <a:gd name="T77" fmla="*/ 36 h 187"/>
                <a:gd name="T78" fmla="*/ 42 w 179"/>
                <a:gd name="T79" fmla="*/ 29 h 187"/>
                <a:gd name="T80" fmla="*/ 61 w 179"/>
                <a:gd name="T81" fmla="*/ 19 h 187"/>
                <a:gd name="T82" fmla="*/ 80 w 179"/>
                <a:gd name="T83" fmla="*/ 26 h 187"/>
                <a:gd name="T84" fmla="*/ 83 w 179"/>
                <a:gd name="T85" fmla="*/ 26 h 187"/>
                <a:gd name="T86" fmla="*/ 73 w 179"/>
                <a:gd name="T87" fmla="*/ 19 h 187"/>
                <a:gd name="T88" fmla="*/ 73 w 179"/>
                <a:gd name="T89" fmla="*/ 3 h 187"/>
                <a:gd name="T90" fmla="*/ 97 w 179"/>
                <a:gd name="T91" fmla="*/ 3 h 187"/>
                <a:gd name="T92" fmla="*/ 106 w 179"/>
                <a:gd name="T93" fmla="*/ 17 h 187"/>
                <a:gd name="T94" fmla="*/ 111 w 179"/>
                <a:gd name="T95" fmla="*/ 33 h 187"/>
                <a:gd name="T96" fmla="*/ 134 w 179"/>
                <a:gd name="T97" fmla="*/ 36 h 187"/>
                <a:gd name="T98" fmla="*/ 137 w 179"/>
                <a:gd name="T99" fmla="*/ 50 h 187"/>
                <a:gd name="T100" fmla="*/ 146 w 179"/>
                <a:gd name="T101" fmla="*/ 59 h 187"/>
                <a:gd name="T102" fmla="*/ 137 w 179"/>
                <a:gd name="T103" fmla="*/ 67 h 187"/>
                <a:gd name="T104" fmla="*/ 151 w 179"/>
                <a:gd name="T105" fmla="*/ 74 h 187"/>
                <a:gd name="T106" fmla="*/ 151 w 179"/>
                <a:gd name="T107" fmla="*/ 90 h 187"/>
                <a:gd name="T108" fmla="*/ 160 w 179"/>
                <a:gd name="T109" fmla="*/ 97 h 187"/>
                <a:gd name="T110" fmla="*/ 179 w 179"/>
                <a:gd name="T111" fmla="*/ 104 h 18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9"/>
                <a:gd name="T169" fmla="*/ 0 h 187"/>
                <a:gd name="T170" fmla="*/ 179 w 179"/>
                <a:gd name="T171" fmla="*/ 187 h 18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9" h="187">
                  <a:moveTo>
                    <a:pt x="177" y="130"/>
                  </a:moveTo>
                  <a:lnTo>
                    <a:pt x="170" y="161"/>
                  </a:lnTo>
                  <a:lnTo>
                    <a:pt x="160" y="161"/>
                  </a:lnTo>
                  <a:lnTo>
                    <a:pt x="160" y="163"/>
                  </a:lnTo>
                  <a:lnTo>
                    <a:pt x="158" y="163"/>
                  </a:lnTo>
                  <a:lnTo>
                    <a:pt x="153" y="170"/>
                  </a:lnTo>
                  <a:lnTo>
                    <a:pt x="151" y="173"/>
                  </a:lnTo>
                  <a:lnTo>
                    <a:pt x="146" y="173"/>
                  </a:lnTo>
                  <a:lnTo>
                    <a:pt x="144" y="178"/>
                  </a:lnTo>
                  <a:lnTo>
                    <a:pt x="137" y="180"/>
                  </a:lnTo>
                  <a:lnTo>
                    <a:pt x="134" y="180"/>
                  </a:lnTo>
                  <a:lnTo>
                    <a:pt x="130" y="185"/>
                  </a:lnTo>
                  <a:lnTo>
                    <a:pt x="120" y="185"/>
                  </a:lnTo>
                  <a:lnTo>
                    <a:pt x="118" y="187"/>
                  </a:lnTo>
                  <a:lnTo>
                    <a:pt x="87" y="187"/>
                  </a:lnTo>
                  <a:lnTo>
                    <a:pt x="80" y="185"/>
                  </a:lnTo>
                  <a:lnTo>
                    <a:pt x="78" y="180"/>
                  </a:lnTo>
                  <a:lnTo>
                    <a:pt x="73" y="178"/>
                  </a:lnTo>
                  <a:lnTo>
                    <a:pt x="71" y="173"/>
                  </a:lnTo>
                  <a:lnTo>
                    <a:pt x="71" y="170"/>
                  </a:lnTo>
                  <a:lnTo>
                    <a:pt x="66" y="170"/>
                  </a:lnTo>
                  <a:lnTo>
                    <a:pt x="64" y="163"/>
                  </a:lnTo>
                  <a:lnTo>
                    <a:pt x="64" y="154"/>
                  </a:lnTo>
                  <a:lnTo>
                    <a:pt x="71" y="149"/>
                  </a:lnTo>
                  <a:lnTo>
                    <a:pt x="73" y="149"/>
                  </a:lnTo>
                  <a:lnTo>
                    <a:pt x="83" y="147"/>
                  </a:lnTo>
                  <a:lnTo>
                    <a:pt x="94" y="147"/>
                  </a:lnTo>
                  <a:lnTo>
                    <a:pt x="97" y="144"/>
                  </a:lnTo>
                  <a:lnTo>
                    <a:pt x="99" y="140"/>
                  </a:lnTo>
                  <a:lnTo>
                    <a:pt x="130" y="140"/>
                  </a:lnTo>
                  <a:lnTo>
                    <a:pt x="130" y="144"/>
                  </a:lnTo>
                  <a:lnTo>
                    <a:pt x="134" y="144"/>
                  </a:lnTo>
                  <a:lnTo>
                    <a:pt x="137" y="140"/>
                  </a:lnTo>
                  <a:lnTo>
                    <a:pt x="144" y="137"/>
                  </a:lnTo>
                  <a:lnTo>
                    <a:pt x="153" y="130"/>
                  </a:lnTo>
                  <a:lnTo>
                    <a:pt x="158" y="123"/>
                  </a:lnTo>
                  <a:lnTo>
                    <a:pt x="153" y="121"/>
                  </a:lnTo>
                  <a:lnTo>
                    <a:pt x="151" y="121"/>
                  </a:lnTo>
                  <a:lnTo>
                    <a:pt x="146" y="123"/>
                  </a:lnTo>
                  <a:lnTo>
                    <a:pt x="146" y="126"/>
                  </a:lnTo>
                  <a:lnTo>
                    <a:pt x="144" y="126"/>
                  </a:lnTo>
                  <a:lnTo>
                    <a:pt x="139" y="130"/>
                  </a:lnTo>
                  <a:lnTo>
                    <a:pt x="137" y="130"/>
                  </a:lnTo>
                  <a:lnTo>
                    <a:pt x="134" y="126"/>
                  </a:lnTo>
                  <a:lnTo>
                    <a:pt x="130" y="130"/>
                  </a:lnTo>
                  <a:lnTo>
                    <a:pt x="120" y="130"/>
                  </a:lnTo>
                  <a:lnTo>
                    <a:pt x="120" y="126"/>
                  </a:lnTo>
                  <a:lnTo>
                    <a:pt x="118" y="126"/>
                  </a:lnTo>
                  <a:lnTo>
                    <a:pt x="120" y="126"/>
                  </a:lnTo>
                  <a:lnTo>
                    <a:pt x="120" y="123"/>
                  </a:lnTo>
                  <a:lnTo>
                    <a:pt x="123" y="123"/>
                  </a:lnTo>
                  <a:lnTo>
                    <a:pt x="123" y="121"/>
                  </a:lnTo>
                  <a:lnTo>
                    <a:pt x="120" y="121"/>
                  </a:lnTo>
                  <a:lnTo>
                    <a:pt x="120" y="123"/>
                  </a:lnTo>
                  <a:lnTo>
                    <a:pt x="118" y="123"/>
                  </a:lnTo>
                  <a:lnTo>
                    <a:pt x="118" y="114"/>
                  </a:lnTo>
                  <a:lnTo>
                    <a:pt x="113" y="116"/>
                  </a:lnTo>
                  <a:lnTo>
                    <a:pt x="113" y="126"/>
                  </a:lnTo>
                  <a:lnTo>
                    <a:pt x="106" y="126"/>
                  </a:lnTo>
                  <a:lnTo>
                    <a:pt x="99" y="130"/>
                  </a:lnTo>
                  <a:lnTo>
                    <a:pt x="97" y="130"/>
                  </a:lnTo>
                  <a:lnTo>
                    <a:pt x="90" y="126"/>
                  </a:lnTo>
                  <a:lnTo>
                    <a:pt x="87" y="130"/>
                  </a:lnTo>
                  <a:lnTo>
                    <a:pt x="83" y="126"/>
                  </a:lnTo>
                  <a:lnTo>
                    <a:pt x="83" y="116"/>
                  </a:lnTo>
                  <a:lnTo>
                    <a:pt x="90" y="107"/>
                  </a:lnTo>
                  <a:lnTo>
                    <a:pt x="90" y="104"/>
                  </a:lnTo>
                  <a:lnTo>
                    <a:pt x="97" y="104"/>
                  </a:lnTo>
                  <a:lnTo>
                    <a:pt x="104" y="100"/>
                  </a:lnTo>
                  <a:lnTo>
                    <a:pt x="99" y="97"/>
                  </a:lnTo>
                  <a:lnTo>
                    <a:pt x="97" y="100"/>
                  </a:lnTo>
                  <a:lnTo>
                    <a:pt x="90" y="100"/>
                  </a:lnTo>
                  <a:lnTo>
                    <a:pt x="90" y="93"/>
                  </a:lnTo>
                  <a:lnTo>
                    <a:pt x="87" y="93"/>
                  </a:lnTo>
                  <a:lnTo>
                    <a:pt x="87" y="100"/>
                  </a:lnTo>
                  <a:lnTo>
                    <a:pt x="80" y="109"/>
                  </a:lnTo>
                  <a:lnTo>
                    <a:pt x="80" y="114"/>
                  </a:lnTo>
                  <a:lnTo>
                    <a:pt x="78" y="109"/>
                  </a:lnTo>
                  <a:lnTo>
                    <a:pt x="78" y="107"/>
                  </a:lnTo>
                  <a:lnTo>
                    <a:pt x="73" y="104"/>
                  </a:lnTo>
                  <a:lnTo>
                    <a:pt x="71" y="107"/>
                  </a:lnTo>
                  <a:lnTo>
                    <a:pt x="73" y="107"/>
                  </a:lnTo>
                  <a:lnTo>
                    <a:pt x="78" y="109"/>
                  </a:lnTo>
                  <a:lnTo>
                    <a:pt x="78" y="116"/>
                  </a:lnTo>
                  <a:lnTo>
                    <a:pt x="73" y="121"/>
                  </a:lnTo>
                  <a:lnTo>
                    <a:pt x="73" y="123"/>
                  </a:lnTo>
                  <a:lnTo>
                    <a:pt x="71" y="123"/>
                  </a:lnTo>
                  <a:lnTo>
                    <a:pt x="71" y="126"/>
                  </a:lnTo>
                  <a:lnTo>
                    <a:pt x="64" y="126"/>
                  </a:lnTo>
                  <a:lnTo>
                    <a:pt x="61" y="130"/>
                  </a:lnTo>
                  <a:lnTo>
                    <a:pt x="54" y="130"/>
                  </a:lnTo>
                  <a:lnTo>
                    <a:pt x="54" y="126"/>
                  </a:lnTo>
                  <a:lnTo>
                    <a:pt x="49" y="126"/>
                  </a:lnTo>
                  <a:lnTo>
                    <a:pt x="54" y="121"/>
                  </a:lnTo>
                  <a:lnTo>
                    <a:pt x="54" y="109"/>
                  </a:lnTo>
                  <a:lnTo>
                    <a:pt x="54" y="114"/>
                  </a:lnTo>
                  <a:lnTo>
                    <a:pt x="49" y="116"/>
                  </a:lnTo>
                  <a:lnTo>
                    <a:pt x="47" y="116"/>
                  </a:lnTo>
                  <a:lnTo>
                    <a:pt x="47" y="114"/>
                  </a:lnTo>
                  <a:lnTo>
                    <a:pt x="42" y="114"/>
                  </a:lnTo>
                  <a:lnTo>
                    <a:pt x="42" y="123"/>
                  </a:lnTo>
                  <a:lnTo>
                    <a:pt x="40" y="126"/>
                  </a:lnTo>
                  <a:lnTo>
                    <a:pt x="38" y="126"/>
                  </a:lnTo>
                  <a:lnTo>
                    <a:pt x="38" y="123"/>
                  </a:lnTo>
                  <a:lnTo>
                    <a:pt x="31" y="116"/>
                  </a:lnTo>
                  <a:lnTo>
                    <a:pt x="31" y="107"/>
                  </a:lnTo>
                  <a:lnTo>
                    <a:pt x="33" y="104"/>
                  </a:lnTo>
                  <a:lnTo>
                    <a:pt x="23" y="104"/>
                  </a:lnTo>
                  <a:lnTo>
                    <a:pt x="23" y="107"/>
                  </a:lnTo>
                  <a:lnTo>
                    <a:pt x="21" y="107"/>
                  </a:lnTo>
                  <a:lnTo>
                    <a:pt x="9" y="104"/>
                  </a:lnTo>
                  <a:lnTo>
                    <a:pt x="7" y="100"/>
                  </a:lnTo>
                  <a:lnTo>
                    <a:pt x="2" y="97"/>
                  </a:lnTo>
                  <a:lnTo>
                    <a:pt x="0" y="93"/>
                  </a:lnTo>
                  <a:lnTo>
                    <a:pt x="2" y="85"/>
                  </a:lnTo>
                  <a:lnTo>
                    <a:pt x="7" y="83"/>
                  </a:lnTo>
                  <a:lnTo>
                    <a:pt x="9" y="81"/>
                  </a:lnTo>
                  <a:lnTo>
                    <a:pt x="14" y="76"/>
                  </a:lnTo>
                  <a:lnTo>
                    <a:pt x="26" y="76"/>
                  </a:lnTo>
                  <a:lnTo>
                    <a:pt x="40" y="81"/>
                  </a:lnTo>
                  <a:lnTo>
                    <a:pt x="49" y="81"/>
                  </a:lnTo>
                  <a:lnTo>
                    <a:pt x="54" y="76"/>
                  </a:lnTo>
                  <a:lnTo>
                    <a:pt x="61" y="76"/>
                  </a:lnTo>
                  <a:lnTo>
                    <a:pt x="61" y="74"/>
                  </a:lnTo>
                  <a:lnTo>
                    <a:pt x="64" y="74"/>
                  </a:lnTo>
                  <a:lnTo>
                    <a:pt x="66" y="69"/>
                  </a:lnTo>
                  <a:lnTo>
                    <a:pt x="73" y="69"/>
                  </a:lnTo>
                  <a:lnTo>
                    <a:pt x="71" y="67"/>
                  </a:lnTo>
                  <a:lnTo>
                    <a:pt x="66" y="69"/>
                  </a:lnTo>
                  <a:lnTo>
                    <a:pt x="49" y="69"/>
                  </a:lnTo>
                  <a:lnTo>
                    <a:pt x="42" y="74"/>
                  </a:lnTo>
                  <a:lnTo>
                    <a:pt x="38" y="74"/>
                  </a:lnTo>
                  <a:lnTo>
                    <a:pt x="26" y="69"/>
                  </a:lnTo>
                  <a:lnTo>
                    <a:pt x="21" y="67"/>
                  </a:lnTo>
                  <a:lnTo>
                    <a:pt x="21" y="64"/>
                  </a:lnTo>
                  <a:lnTo>
                    <a:pt x="26" y="57"/>
                  </a:lnTo>
                  <a:lnTo>
                    <a:pt x="26" y="52"/>
                  </a:lnTo>
                  <a:lnTo>
                    <a:pt x="31" y="52"/>
                  </a:lnTo>
                  <a:lnTo>
                    <a:pt x="33" y="50"/>
                  </a:lnTo>
                  <a:lnTo>
                    <a:pt x="40" y="50"/>
                  </a:lnTo>
                  <a:lnTo>
                    <a:pt x="40" y="52"/>
                  </a:lnTo>
                  <a:lnTo>
                    <a:pt x="57" y="52"/>
                  </a:lnTo>
                  <a:lnTo>
                    <a:pt x="61" y="50"/>
                  </a:lnTo>
                  <a:lnTo>
                    <a:pt x="61" y="52"/>
                  </a:lnTo>
                  <a:lnTo>
                    <a:pt x="73" y="52"/>
                  </a:lnTo>
                  <a:lnTo>
                    <a:pt x="78" y="57"/>
                  </a:lnTo>
                  <a:lnTo>
                    <a:pt x="80" y="52"/>
                  </a:lnTo>
                  <a:lnTo>
                    <a:pt x="80" y="50"/>
                  </a:lnTo>
                  <a:lnTo>
                    <a:pt x="73" y="50"/>
                  </a:lnTo>
                  <a:lnTo>
                    <a:pt x="73" y="52"/>
                  </a:lnTo>
                  <a:lnTo>
                    <a:pt x="71" y="52"/>
                  </a:lnTo>
                  <a:lnTo>
                    <a:pt x="66" y="50"/>
                  </a:lnTo>
                  <a:lnTo>
                    <a:pt x="49" y="50"/>
                  </a:lnTo>
                  <a:lnTo>
                    <a:pt x="42" y="48"/>
                  </a:lnTo>
                  <a:lnTo>
                    <a:pt x="40" y="43"/>
                  </a:lnTo>
                  <a:lnTo>
                    <a:pt x="40" y="36"/>
                  </a:lnTo>
                  <a:lnTo>
                    <a:pt x="47" y="36"/>
                  </a:lnTo>
                  <a:lnTo>
                    <a:pt x="47" y="33"/>
                  </a:lnTo>
                  <a:lnTo>
                    <a:pt x="42" y="33"/>
                  </a:lnTo>
                  <a:lnTo>
                    <a:pt x="42" y="29"/>
                  </a:lnTo>
                  <a:lnTo>
                    <a:pt x="47" y="26"/>
                  </a:lnTo>
                  <a:lnTo>
                    <a:pt x="49" y="24"/>
                  </a:lnTo>
                  <a:lnTo>
                    <a:pt x="54" y="19"/>
                  </a:lnTo>
                  <a:lnTo>
                    <a:pt x="61" y="19"/>
                  </a:lnTo>
                  <a:lnTo>
                    <a:pt x="64" y="24"/>
                  </a:lnTo>
                  <a:lnTo>
                    <a:pt x="71" y="24"/>
                  </a:lnTo>
                  <a:lnTo>
                    <a:pt x="73" y="26"/>
                  </a:lnTo>
                  <a:lnTo>
                    <a:pt x="80" y="26"/>
                  </a:lnTo>
                  <a:lnTo>
                    <a:pt x="80" y="29"/>
                  </a:lnTo>
                  <a:lnTo>
                    <a:pt x="90" y="29"/>
                  </a:lnTo>
                  <a:lnTo>
                    <a:pt x="83" y="29"/>
                  </a:lnTo>
                  <a:lnTo>
                    <a:pt x="83" y="26"/>
                  </a:lnTo>
                  <a:lnTo>
                    <a:pt x="80" y="26"/>
                  </a:lnTo>
                  <a:lnTo>
                    <a:pt x="80" y="24"/>
                  </a:lnTo>
                  <a:lnTo>
                    <a:pt x="78" y="24"/>
                  </a:lnTo>
                  <a:lnTo>
                    <a:pt x="73" y="19"/>
                  </a:lnTo>
                  <a:lnTo>
                    <a:pt x="66" y="19"/>
                  </a:lnTo>
                  <a:lnTo>
                    <a:pt x="66" y="10"/>
                  </a:lnTo>
                  <a:lnTo>
                    <a:pt x="71" y="10"/>
                  </a:lnTo>
                  <a:lnTo>
                    <a:pt x="73" y="3"/>
                  </a:lnTo>
                  <a:lnTo>
                    <a:pt x="90" y="3"/>
                  </a:lnTo>
                  <a:lnTo>
                    <a:pt x="90" y="0"/>
                  </a:lnTo>
                  <a:lnTo>
                    <a:pt x="97" y="0"/>
                  </a:lnTo>
                  <a:lnTo>
                    <a:pt x="97" y="3"/>
                  </a:lnTo>
                  <a:lnTo>
                    <a:pt x="99" y="3"/>
                  </a:lnTo>
                  <a:lnTo>
                    <a:pt x="104" y="7"/>
                  </a:lnTo>
                  <a:lnTo>
                    <a:pt x="106" y="7"/>
                  </a:lnTo>
                  <a:lnTo>
                    <a:pt x="106" y="17"/>
                  </a:lnTo>
                  <a:lnTo>
                    <a:pt x="104" y="19"/>
                  </a:lnTo>
                  <a:lnTo>
                    <a:pt x="104" y="29"/>
                  </a:lnTo>
                  <a:lnTo>
                    <a:pt x="106" y="33"/>
                  </a:lnTo>
                  <a:lnTo>
                    <a:pt x="111" y="33"/>
                  </a:lnTo>
                  <a:lnTo>
                    <a:pt x="111" y="29"/>
                  </a:lnTo>
                  <a:lnTo>
                    <a:pt x="130" y="29"/>
                  </a:lnTo>
                  <a:lnTo>
                    <a:pt x="130" y="36"/>
                  </a:lnTo>
                  <a:lnTo>
                    <a:pt x="134" y="36"/>
                  </a:lnTo>
                  <a:lnTo>
                    <a:pt x="137" y="41"/>
                  </a:lnTo>
                  <a:lnTo>
                    <a:pt x="137" y="43"/>
                  </a:lnTo>
                  <a:lnTo>
                    <a:pt x="134" y="43"/>
                  </a:lnTo>
                  <a:lnTo>
                    <a:pt x="137" y="50"/>
                  </a:lnTo>
                  <a:lnTo>
                    <a:pt x="137" y="52"/>
                  </a:lnTo>
                  <a:lnTo>
                    <a:pt x="139" y="52"/>
                  </a:lnTo>
                  <a:lnTo>
                    <a:pt x="144" y="57"/>
                  </a:lnTo>
                  <a:lnTo>
                    <a:pt x="146" y="59"/>
                  </a:lnTo>
                  <a:lnTo>
                    <a:pt x="151" y="59"/>
                  </a:lnTo>
                  <a:lnTo>
                    <a:pt x="151" y="64"/>
                  </a:lnTo>
                  <a:lnTo>
                    <a:pt x="146" y="67"/>
                  </a:lnTo>
                  <a:lnTo>
                    <a:pt x="137" y="67"/>
                  </a:lnTo>
                  <a:lnTo>
                    <a:pt x="137" y="69"/>
                  </a:lnTo>
                  <a:lnTo>
                    <a:pt x="144" y="69"/>
                  </a:lnTo>
                  <a:lnTo>
                    <a:pt x="146" y="74"/>
                  </a:lnTo>
                  <a:lnTo>
                    <a:pt x="151" y="74"/>
                  </a:lnTo>
                  <a:lnTo>
                    <a:pt x="151" y="69"/>
                  </a:lnTo>
                  <a:lnTo>
                    <a:pt x="153" y="69"/>
                  </a:lnTo>
                  <a:lnTo>
                    <a:pt x="153" y="85"/>
                  </a:lnTo>
                  <a:lnTo>
                    <a:pt x="151" y="90"/>
                  </a:lnTo>
                  <a:lnTo>
                    <a:pt x="151" y="97"/>
                  </a:lnTo>
                  <a:lnTo>
                    <a:pt x="153" y="100"/>
                  </a:lnTo>
                  <a:lnTo>
                    <a:pt x="160" y="100"/>
                  </a:lnTo>
                  <a:lnTo>
                    <a:pt x="160" y="97"/>
                  </a:lnTo>
                  <a:lnTo>
                    <a:pt x="170" y="97"/>
                  </a:lnTo>
                  <a:lnTo>
                    <a:pt x="175" y="100"/>
                  </a:lnTo>
                  <a:lnTo>
                    <a:pt x="179" y="100"/>
                  </a:lnTo>
                  <a:lnTo>
                    <a:pt x="179" y="104"/>
                  </a:lnTo>
                  <a:lnTo>
                    <a:pt x="177" y="13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2" name="Freeform 23">
              <a:extLst>
                <a:ext uri="{FF2B5EF4-FFF2-40B4-BE49-F238E27FC236}">
                  <a16:creationId xmlns:a16="http://schemas.microsoft.com/office/drawing/2014/main" id="{D0F30FA7-A71D-465F-8FA6-D2D857CE9304}"/>
                </a:ext>
              </a:extLst>
            </p:cNvPr>
            <p:cNvSpPr>
              <a:spLocks/>
            </p:cNvSpPr>
            <p:nvPr/>
          </p:nvSpPr>
          <p:spPr bwMode="gray">
            <a:xfrm rot="47099">
              <a:off x="1327055" y="1776869"/>
              <a:ext cx="14250" cy="7718"/>
            </a:xfrm>
            <a:custGeom>
              <a:avLst/>
              <a:gdLst>
                <a:gd name="T0" fmla="*/ 14 w 31"/>
                <a:gd name="T1" fmla="*/ 14 h 17"/>
                <a:gd name="T2" fmla="*/ 12 w 31"/>
                <a:gd name="T3" fmla="*/ 14 h 17"/>
                <a:gd name="T4" fmla="*/ 7 w 31"/>
                <a:gd name="T5" fmla="*/ 12 h 17"/>
                <a:gd name="T6" fmla="*/ 0 w 31"/>
                <a:gd name="T7" fmla="*/ 12 h 17"/>
                <a:gd name="T8" fmla="*/ 0 w 31"/>
                <a:gd name="T9" fmla="*/ 5 h 17"/>
                <a:gd name="T10" fmla="*/ 5 w 31"/>
                <a:gd name="T11" fmla="*/ 5 h 17"/>
                <a:gd name="T12" fmla="*/ 7 w 31"/>
                <a:gd name="T13" fmla="*/ 0 h 17"/>
                <a:gd name="T14" fmla="*/ 24 w 31"/>
                <a:gd name="T15" fmla="*/ 0 h 17"/>
                <a:gd name="T16" fmla="*/ 28 w 31"/>
                <a:gd name="T17" fmla="*/ 7 h 17"/>
                <a:gd name="T18" fmla="*/ 31 w 31"/>
                <a:gd name="T19" fmla="*/ 7 h 17"/>
                <a:gd name="T20" fmla="*/ 28 w 31"/>
                <a:gd name="T21" fmla="*/ 12 h 17"/>
                <a:gd name="T22" fmla="*/ 28 w 31"/>
                <a:gd name="T23" fmla="*/ 14 h 17"/>
                <a:gd name="T24" fmla="*/ 24 w 31"/>
                <a:gd name="T25" fmla="*/ 17 h 17"/>
                <a:gd name="T26" fmla="*/ 21 w 31"/>
                <a:gd name="T27" fmla="*/ 17 h 17"/>
                <a:gd name="T28" fmla="*/ 21 w 31"/>
                <a:gd name="T29" fmla="*/ 14 h 17"/>
                <a:gd name="T30" fmla="*/ 19 w 31"/>
                <a:gd name="T31" fmla="*/ 14 h 17"/>
                <a:gd name="T32" fmla="*/ 14 w 31"/>
                <a:gd name="T33" fmla="*/ 17 h 17"/>
                <a:gd name="T34" fmla="*/ 14 w 31"/>
                <a:gd name="T35" fmla="*/ 14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7"/>
                <a:gd name="T56" fmla="*/ 31 w 31"/>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7">
                  <a:moveTo>
                    <a:pt x="14" y="14"/>
                  </a:moveTo>
                  <a:lnTo>
                    <a:pt x="12" y="14"/>
                  </a:lnTo>
                  <a:lnTo>
                    <a:pt x="7" y="12"/>
                  </a:lnTo>
                  <a:lnTo>
                    <a:pt x="0" y="12"/>
                  </a:lnTo>
                  <a:lnTo>
                    <a:pt x="0" y="5"/>
                  </a:lnTo>
                  <a:lnTo>
                    <a:pt x="5" y="5"/>
                  </a:lnTo>
                  <a:lnTo>
                    <a:pt x="7" y="0"/>
                  </a:lnTo>
                  <a:lnTo>
                    <a:pt x="24" y="0"/>
                  </a:lnTo>
                  <a:lnTo>
                    <a:pt x="28" y="7"/>
                  </a:lnTo>
                  <a:lnTo>
                    <a:pt x="31" y="7"/>
                  </a:lnTo>
                  <a:lnTo>
                    <a:pt x="28" y="12"/>
                  </a:lnTo>
                  <a:lnTo>
                    <a:pt x="28" y="14"/>
                  </a:lnTo>
                  <a:lnTo>
                    <a:pt x="24" y="17"/>
                  </a:lnTo>
                  <a:lnTo>
                    <a:pt x="21" y="17"/>
                  </a:lnTo>
                  <a:lnTo>
                    <a:pt x="21" y="14"/>
                  </a:lnTo>
                  <a:lnTo>
                    <a:pt x="19" y="14"/>
                  </a:lnTo>
                  <a:lnTo>
                    <a:pt x="14" y="17"/>
                  </a:lnTo>
                  <a:lnTo>
                    <a:pt x="14"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3" name="Freeform 24">
              <a:extLst>
                <a:ext uri="{FF2B5EF4-FFF2-40B4-BE49-F238E27FC236}">
                  <a16:creationId xmlns:a16="http://schemas.microsoft.com/office/drawing/2014/main" id="{3B4DD7E1-8FBC-4A2D-AA0C-1F2BE64136C8}"/>
                </a:ext>
              </a:extLst>
            </p:cNvPr>
            <p:cNvSpPr>
              <a:spLocks/>
            </p:cNvSpPr>
            <p:nvPr/>
          </p:nvSpPr>
          <p:spPr bwMode="gray">
            <a:xfrm rot="47099">
              <a:off x="1340571" y="1768278"/>
              <a:ext cx="890" cy="1929"/>
            </a:xfrm>
            <a:custGeom>
              <a:avLst/>
              <a:gdLst>
                <a:gd name="T0" fmla="*/ 0 w 3"/>
                <a:gd name="T1" fmla="*/ 5 h 5"/>
                <a:gd name="T2" fmla="*/ 0 w 3"/>
                <a:gd name="T3" fmla="*/ 0 h 5"/>
                <a:gd name="T4" fmla="*/ 3 w 3"/>
                <a:gd name="T5" fmla="*/ 2 h 5"/>
                <a:gd name="T6" fmla="*/ 3 w 3"/>
                <a:gd name="T7" fmla="*/ 5 h 5"/>
                <a:gd name="T8" fmla="*/ 0 w 3"/>
                <a:gd name="T9" fmla="*/ 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5"/>
                  </a:moveTo>
                  <a:lnTo>
                    <a:pt x="0" y="0"/>
                  </a:lnTo>
                  <a:lnTo>
                    <a:pt x="3" y="2"/>
                  </a:lnTo>
                  <a:lnTo>
                    <a:pt x="3" y="5"/>
                  </a:lnTo>
                  <a:lnTo>
                    <a:pt x="0"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4" name="Freeform 25">
              <a:extLst>
                <a:ext uri="{FF2B5EF4-FFF2-40B4-BE49-F238E27FC236}">
                  <a16:creationId xmlns:a16="http://schemas.microsoft.com/office/drawing/2014/main" id="{1E2C8EF6-7677-4CC6-B6AF-78FFB24F59B7}"/>
                </a:ext>
              </a:extLst>
            </p:cNvPr>
            <p:cNvSpPr>
              <a:spLocks/>
            </p:cNvSpPr>
            <p:nvPr/>
          </p:nvSpPr>
          <p:spPr bwMode="gray">
            <a:xfrm rot="47099">
              <a:off x="1238968" y="1745294"/>
              <a:ext cx="88170" cy="57890"/>
            </a:xfrm>
            <a:custGeom>
              <a:avLst/>
              <a:gdLst>
                <a:gd name="T0" fmla="*/ 54 w 189"/>
                <a:gd name="T1" fmla="*/ 118 h 123"/>
                <a:gd name="T2" fmla="*/ 47 w 189"/>
                <a:gd name="T3" fmla="*/ 123 h 123"/>
                <a:gd name="T4" fmla="*/ 50 w 189"/>
                <a:gd name="T5" fmla="*/ 111 h 123"/>
                <a:gd name="T6" fmla="*/ 47 w 189"/>
                <a:gd name="T7" fmla="*/ 101 h 123"/>
                <a:gd name="T8" fmla="*/ 47 w 189"/>
                <a:gd name="T9" fmla="*/ 90 h 123"/>
                <a:gd name="T10" fmla="*/ 40 w 189"/>
                <a:gd name="T11" fmla="*/ 106 h 123"/>
                <a:gd name="T12" fmla="*/ 40 w 189"/>
                <a:gd name="T13" fmla="*/ 104 h 123"/>
                <a:gd name="T14" fmla="*/ 31 w 189"/>
                <a:gd name="T15" fmla="*/ 106 h 123"/>
                <a:gd name="T16" fmla="*/ 24 w 189"/>
                <a:gd name="T17" fmla="*/ 94 h 123"/>
                <a:gd name="T18" fmla="*/ 14 w 189"/>
                <a:gd name="T19" fmla="*/ 97 h 123"/>
                <a:gd name="T20" fmla="*/ 2 w 189"/>
                <a:gd name="T21" fmla="*/ 97 h 123"/>
                <a:gd name="T22" fmla="*/ 7 w 189"/>
                <a:gd name="T23" fmla="*/ 90 h 123"/>
                <a:gd name="T24" fmla="*/ 10 w 189"/>
                <a:gd name="T25" fmla="*/ 80 h 123"/>
                <a:gd name="T26" fmla="*/ 10 w 189"/>
                <a:gd name="T27" fmla="*/ 78 h 123"/>
                <a:gd name="T28" fmla="*/ 0 w 189"/>
                <a:gd name="T29" fmla="*/ 83 h 123"/>
                <a:gd name="T30" fmla="*/ 14 w 189"/>
                <a:gd name="T31" fmla="*/ 73 h 123"/>
                <a:gd name="T32" fmla="*/ 17 w 189"/>
                <a:gd name="T33" fmla="*/ 64 h 123"/>
                <a:gd name="T34" fmla="*/ 33 w 189"/>
                <a:gd name="T35" fmla="*/ 61 h 123"/>
                <a:gd name="T36" fmla="*/ 47 w 189"/>
                <a:gd name="T37" fmla="*/ 61 h 123"/>
                <a:gd name="T38" fmla="*/ 57 w 189"/>
                <a:gd name="T39" fmla="*/ 50 h 123"/>
                <a:gd name="T40" fmla="*/ 66 w 189"/>
                <a:gd name="T41" fmla="*/ 45 h 123"/>
                <a:gd name="T42" fmla="*/ 80 w 189"/>
                <a:gd name="T43" fmla="*/ 40 h 123"/>
                <a:gd name="T44" fmla="*/ 97 w 189"/>
                <a:gd name="T45" fmla="*/ 24 h 123"/>
                <a:gd name="T46" fmla="*/ 104 w 189"/>
                <a:gd name="T47" fmla="*/ 16 h 123"/>
                <a:gd name="T48" fmla="*/ 113 w 189"/>
                <a:gd name="T49" fmla="*/ 9 h 123"/>
                <a:gd name="T50" fmla="*/ 147 w 189"/>
                <a:gd name="T51" fmla="*/ 9 h 123"/>
                <a:gd name="T52" fmla="*/ 154 w 189"/>
                <a:gd name="T53" fmla="*/ 16 h 123"/>
                <a:gd name="T54" fmla="*/ 156 w 189"/>
                <a:gd name="T55" fmla="*/ 16 h 123"/>
                <a:gd name="T56" fmla="*/ 161 w 189"/>
                <a:gd name="T57" fmla="*/ 16 h 123"/>
                <a:gd name="T58" fmla="*/ 163 w 189"/>
                <a:gd name="T59" fmla="*/ 9 h 123"/>
                <a:gd name="T60" fmla="*/ 163 w 189"/>
                <a:gd name="T61" fmla="*/ 5 h 123"/>
                <a:gd name="T62" fmla="*/ 173 w 189"/>
                <a:gd name="T63" fmla="*/ 0 h 123"/>
                <a:gd name="T64" fmla="*/ 180 w 189"/>
                <a:gd name="T65" fmla="*/ 7 h 123"/>
                <a:gd name="T66" fmla="*/ 189 w 189"/>
                <a:gd name="T67" fmla="*/ 26 h 123"/>
                <a:gd name="T68" fmla="*/ 177 w 189"/>
                <a:gd name="T69" fmla="*/ 31 h 123"/>
                <a:gd name="T70" fmla="*/ 170 w 189"/>
                <a:gd name="T71" fmla="*/ 31 h 123"/>
                <a:gd name="T72" fmla="*/ 170 w 189"/>
                <a:gd name="T73" fmla="*/ 47 h 123"/>
                <a:gd name="T74" fmla="*/ 177 w 189"/>
                <a:gd name="T75" fmla="*/ 54 h 123"/>
                <a:gd name="T76" fmla="*/ 163 w 189"/>
                <a:gd name="T77" fmla="*/ 54 h 123"/>
                <a:gd name="T78" fmla="*/ 168 w 189"/>
                <a:gd name="T79" fmla="*/ 64 h 123"/>
                <a:gd name="T80" fmla="*/ 137 w 189"/>
                <a:gd name="T81" fmla="*/ 80 h 123"/>
                <a:gd name="T82" fmla="*/ 130 w 189"/>
                <a:gd name="T83" fmla="*/ 104 h 123"/>
                <a:gd name="T84" fmla="*/ 116 w 189"/>
                <a:gd name="T85" fmla="*/ 94 h 123"/>
                <a:gd name="T86" fmla="*/ 113 w 189"/>
                <a:gd name="T87" fmla="*/ 83 h 123"/>
                <a:gd name="T88" fmla="*/ 123 w 189"/>
                <a:gd name="T89" fmla="*/ 66 h 123"/>
                <a:gd name="T90" fmla="*/ 130 w 189"/>
                <a:gd name="T91" fmla="*/ 57 h 123"/>
                <a:gd name="T92" fmla="*/ 128 w 189"/>
                <a:gd name="T93" fmla="*/ 57 h 123"/>
                <a:gd name="T94" fmla="*/ 113 w 189"/>
                <a:gd name="T95" fmla="*/ 73 h 123"/>
                <a:gd name="T96" fmla="*/ 104 w 189"/>
                <a:gd name="T97" fmla="*/ 71 h 123"/>
                <a:gd name="T98" fmla="*/ 97 w 189"/>
                <a:gd name="T99" fmla="*/ 78 h 123"/>
                <a:gd name="T100" fmla="*/ 104 w 189"/>
                <a:gd name="T101" fmla="*/ 87 h 123"/>
                <a:gd name="T102" fmla="*/ 90 w 189"/>
                <a:gd name="T103" fmla="*/ 94 h 123"/>
                <a:gd name="T104" fmla="*/ 83 w 189"/>
                <a:gd name="T105" fmla="*/ 106 h 123"/>
                <a:gd name="T106" fmla="*/ 76 w 189"/>
                <a:gd name="T107" fmla="*/ 87 h 123"/>
                <a:gd name="T108" fmla="*/ 71 w 189"/>
                <a:gd name="T109" fmla="*/ 101 h 123"/>
                <a:gd name="T110" fmla="*/ 73 w 189"/>
                <a:gd name="T111" fmla="*/ 113 h 123"/>
                <a:gd name="T112" fmla="*/ 71 w 189"/>
                <a:gd name="T113" fmla="*/ 113 h 123"/>
                <a:gd name="T114" fmla="*/ 59 w 189"/>
                <a:gd name="T115" fmla="*/ 120 h 123"/>
                <a:gd name="T116" fmla="*/ 57 w 189"/>
                <a:gd name="T117" fmla="*/ 120 h 1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9"/>
                <a:gd name="T178" fmla="*/ 0 h 123"/>
                <a:gd name="T179" fmla="*/ 189 w 189"/>
                <a:gd name="T180" fmla="*/ 123 h 12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9" h="123">
                  <a:moveTo>
                    <a:pt x="57" y="120"/>
                  </a:moveTo>
                  <a:lnTo>
                    <a:pt x="57" y="118"/>
                  </a:lnTo>
                  <a:lnTo>
                    <a:pt x="54" y="118"/>
                  </a:lnTo>
                  <a:lnTo>
                    <a:pt x="54" y="120"/>
                  </a:lnTo>
                  <a:lnTo>
                    <a:pt x="50" y="123"/>
                  </a:lnTo>
                  <a:lnTo>
                    <a:pt x="47" y="123"/>
                  </a:lnTo>
                  <a:lnTo>
                    <a:pt x="47" y="120"/>
                  </a:lnTo>
                  <a:lnTo>
                    <a:pt x="50" y="113"/>
                  </a:lnTo>
                  <a:lnTo>
                    <a:pt x="50" y="111"/>
                  </a:lnTo>
                  <a:lnTo>
                    <a:pt x="54" y="106"/>
                  </a:lnTo>
                  <a:lnTo>
                    <a:pt x="47" y="106"/>
                  </a:lnTo>
                  <a:lnTo>
                    <a:pt x="47" y="101"/>
                  </a:lnTo>
                  <a:lnTo>
                    <a:pt x="50" y="97"/>
                  </a:lnTo>
                  <a:lnTo>
                    <a:pt x="50" y="87"/>
                  </a:lnTo>
                  <a:lnTo>
                    <a:pt x="47" y="90"/>
                  </a:lnTo>
                  <a:lnTo>
                    <a:pt x="43" y="90"/>
                  </a:lnTo>
                  <a:lnTo>
                    <a:pt x="40" y="97"/>
                  </a:lnTo>
                  <a:lnTo>
                    <a:pt x="40" y="106"/>
                  </a:lnTo>
                  <a:lnTo>
                    <a:pt x="36" y="106"/>
                  </a:lnTo>
                  <a:lnTo>
                    <a:pt x="40" y="106"/>
                  </a:lnTo>
                  <a:lnTo>
                    <a:pt x="40" y="104"/>
                  </a:lnTo>
                  <a:lnTo>
                    <a:pt x="33" y="104"/>
                  </a:lnTo>
                  <a:lnTo>
                    <a:pt x="33" y="106"/>
                  </a:lnTo>
                  <a:lnTo>
                    <a:pt x="31" y="106"/>
                  </a:lnTo>
                  <a:lnTo>
                    <a:pt x="31" y="101"/>
                  </a:lnTo>
                  <a:lnTo>
                    <a:pt x="26" y="101"/>
                  </a:lnTo>
                  <a:lnTo>
                    <a:pt x="24" y="94"/>
                  </a:lnTo>
                  <a:lnTo>
                    <a:pt x="17" y="94"/>
                  </a:lnTo>
                  <a:lnTo>
                    <a:pt x="17" y="97"/>
                  </a:lnTo>
                  <a:lnTo>
                    <a:pt x="14" y="97"/>
                  </a:lnTo>
                  <a:lnTo>
                    <a:pt x="10" y="101"/>
                  </a:lnTo>
                  <a:lnTo>
                    <a:pt x="7" y="101"/>
                  </a:lnTo>
                  <a:lnTo>
                    <a:pt x="2" y="97"/>
                  </a:lnTo>
                  <a:lnTo>
                    <a:pt x="2" y="94"/>
                  </a:lnTo>
                  <a:lnTo>
                    <a:pt x="7" y="94"/>
                  </a:lnTo>
                  <a:lnTo>
                    <a:pt x="7" y="90"/>
                  </a:lnTo>
                  <a:lnTo>
                    <a:pt x="14" y="83"/>
                  </a:lnTo>
                  <a:lnTo>
                    <a:pt x="7" y="83"/>
                  </a:lnTo>
                  <a:lnTo>
                    <a:pt x="10" y="80"/>
                  </a:lnTo>
                  <a:lnTo>
                    <a:pt x="14" y="80"/>
                  </a:lnTo>
                  <a:lnTo>
                    <a:pt x="14" y="78"/>
                  </a:lnTo>
                  <a:lnTo>
                    <a:pt x="10" y="78"/>
                  </a:lnTo>
                  <a:lnTo>
                    <a:pt x="7" y="80"/>
                  </a:lnTo>
                  <a:lnTo>
                    <a:pt x="2" y="83"/>
                  </a:lnTo>
                  <a:lnTo>
                    <a:pt x="0" y="83"/>
                  </a:lnTo>
                  <a:lnTo>
                    <a:pt x="2" y="80"/>
                  </a:lnTo>
                  <a:lnTo>
                    <a:pt x="7" y="73"/>
                  </a:lnTo>
                  <a:lnTo>
                    <a:pt x="14" y="73"/>
                  </a:lnTo>
                  <a:lnTo>
                    <a:pt x="14" y="71"/>
                  </a:lnTo>
                  <a:lnTo>
                    <a:pt x="17" y="66"/>
                  </a:lnTo>
                  <a:lnTo>
                    <a:pt x="17" y="64"/>
                  </a:lnTo>
                  <a:lnTo>
                    <a:pt x="19" y="64"/>
                  </a:lnTo>
                  <a:lnTo>
                    <a:pt x="24" y="61"/>
                  </a:lnTo>
                  <a:lnTo>
                    <a:pt x="33" y="61"/>
                  </a:lnTo>
                  <a:lnTo>
                    <a:pt x="36" y="64"/>
                  </a:lnTo>
                  <a:lnTo>
                    <a:pt x="43" y="64"/>
                  </a:lnTo>
                  <a:lnTo>
                    <a:pt x="47" y="61"/>
                  </a:lnTo>
                  <a:lnTo>
                    <a:pt x="50" y="54"/>
                  </a:lnTo>
                  <a:lnTo>
                    <a:pt x="54" y="54"/>
                  </a:lnTo>
                  <a:lnTo>
                    <a:pt x="57" y="50"/>
                  </a:lnTo>
                  <a:lnTo>
                    <a:pt x="59" y="47"/>
                  </a:lnTo>
                  <a:lnTo>
                    <a:pt x="66" y="47"/>
                  </a:lnTo>
                  <a:lnTo>
                    <a:pt x="66" y="45"/>
                  </a:lnTo>
                  <a:lnTo>
                    <a:pt x="73" y="45"/>
                  </a:lnTo>
                  <a:lnTo>
                    <a:pt x="76" y="40"/>
                  </a:lnTo>
                  <a:lnTo>
                    <a:pt x="80" y="40"/>
                  </a:lnTo>
                  <a:lnTo>
                    <a:pt x="90" y="26"/>
                  </a:lnTo>
                  <a:lnTo>
                    <a:pt x="92" y="26"/>
                  </a:lnTo>
                  <a:lnTo>
                    <a:pt x="97" y="24"/>
                  </a:lnTo>
                  <a:lnTo>
                    <a:pt x="97" y="21"/>
                  </a:lnTo>
                  <a:lnTo>
                    <a:pt x="99" y="21"/>
                  </a:lnTo>
                  <a:lnTo>
                    <a:pt x="104" y="16"/>
                  </a:lnTo>
                  <a:lnTo>
                    <a:pt x="111" y="16"/>
                  </a:lnTo>
                  <a:lnTo>
                    <a:pt x="111" y="14"/>
                  </a:lnTo>
                  <a:lnTo>
                    <a:pt x="113" y="9"/>
                  </a:lnTo>
                  <a:lnTo>
                    <a:pt x="113" y="7"/>
                  </a:lnTo>
                  <a:lnTo>
                    <a:pt x="144" y="7"/>
                  </a:lnTo>
                  <a:lnTo>
                    <a:pt x="147" y="9"/>
                  </a:lnTo>
                  <a:lnTo>
                    <a:pt x="147" y="14"/>
                  </a:lnTo>
                  <a:lnTo>
                    <a:pt x="151" y="16"/>
                  </a:lnTo>
                  <a:lnTo>
                    <a:pt x="154" y="16"/>
                  </a:lnTo>
                  <a:lnTo>
                    <a:pt x="156" y="21"/>
                  </a:lnTo>
                  <a:lnTo>
                    <a:pt x="156" y="14"/>
                  </a:lnTo>
                  <a:lnTo>
                    <a:pt x="156" y="16"/>
                  </a:lnTo>
                  <a:lnTo>
                    <a:pt x="156" y="14"/>
                  </a:lnTo>
                  <a:lnTo>
                    <a:pt x="161" y="14"/>
                  </a:lnTo>
                  <a:lnTo>
                    <a:pt x="161" y="16"/>
                  </a:lnTo>
                  <a:lnTo>
                    <a:pt x="163" y="16"/>
                  </a:lnTo>
                  <a:lnTo>
                    <a:pt x="168" y="14"/>
                  </a:lnTo>
                  <a:lnTo>
                    <a:pt x="163" y="9"/>
                  </a:lnTo>
                  <a:lnTo>
                    <a:pt x="161" y="9"/>
                  </a:lnTo>
                  <a:lnTo>
                    <a:pt x="161" y="7"/>
                  </a:lnTo>
                  <a:lnTo>
                    <a:pt x="163" y="5"/>
                  </a:lnTo>
                  <a:lnTo>
                    <a:pt x="170" y="5"/>
                  </a:lnTo>
                  <a:lnTo>
                    <a:pt x="168" y="0"/>
                  </a:lnTo>
                  <a:lnTo>
                    <a:pt x="173" y="0"/>
                  </a:lnTo>
                  <a:lnTo>
                    <a:pt x="177" y="5"/>
                  </a:lnTo>
                  <a:lnTo>
                    <a:pt x="180" y="5"/>
                  </a:lnTo>
                  <a:lnTo>
                    <a:pt x="180" y="7"/>
                  </a:lnTo>
                  <a:lnTo>
                    <a:pt x="184" y="14"/>
                  </a:lnTo>
                  <a:lnTo>
                    <a:pt x="189" y="21"/>
                  </a:lnTo>
                  <a:lnTo>
                    <a:pt x="189" y="26"/>
                  </a:lnTo>
                  <a:lnTo>
                    <a:pt x="187" y="26"/>
                  </a:lnTo>
                  <a:lnTo>
                    <a:pt x="187" y="31"/>
                  </a:lnTo>
                  <a:lnTo>
                    <a:pt x="177" y="31"/>
                  </a:lnTo>
                  <a:lnTo>
                    <a:pt x="173" y="33"/>
                  </a:lnTo>
                  <a:lnTo>
                    <a:pt x="173" y="31"/>
                  </a:lnTo>
                  <a:lnTo>
                    <a:pt x="170" y="31"/>
                  </a:lnTo>
                  <a:lnTo>
                    <a:pt x="168" y="33"/>
                  </a:lnTo>
                  <a:lnTo>
                    <a:pt x="168" y="47"/>
                  </a:lnTo>
                  <a:lnTo>
                    <a:pt x="170" y="47"/>
                  </a:lnTo>
                  <a:lnTo>
                    <a:pt x="170" y="50"/>
                  </a:lnTo>
                  <a:lnTo>
                    <a:pt x="173" y="50"/>
                  </a:lnTo>
                  <a:lnTo>
                    <a:pt x="177" y="54"/>
                  </a:lnTo>
                  <a:lnTo>
                    <a:pt x="173" y="57"/>
                  </a:lnTo>
                  <a:lnTo>
                    <a:pt x="168" y="57"/>
                  </a:lnTo>
                  <a:lnTo>
                    <a:pt x="163" y="54"/>
                  </a:lnTo>
                  <a:lnTo>
                    <a:pt x="161" y="54"/>
                  </a:lnTo>
                  <a:lnTo>
                    <a:pt x="161" y="57"/>
                  </a:lnTo>
                  <a:lnTo>
                    <a:pt x="168" y="64"/>
                  </a:lnTo>
                  <a:lnTo>
                    <a:pt x="168" y="73"/>
                  </a:lnTo>
                  <a:lnTo>
                    <a:pt x="161" y="80"/>
                  </a:lnTo>
                  <a:lnTo>
                    <a:pt x="137" y="80"/>
                  </a:lnTo>
                  <a:lnTo>
                    <a:pt x="137" y="97"/>
                  </a:lnTo>
                  <a:lnTo>
                    <a:pt x="130" y="101"/>
                  </a:lnTo>
                  <a:lnTo>
                    <a:pt x="130" y="104"/>
                  </a:lnTo>
                  <a:lnTo>
                    <a:pt x="121" y="104"/>
                  </a:lnTo>
                  <a:lnTo>
                    <a:pt x="121" y="97"/>
                  </a:lnTo>
                  <a:lnTo>
                    <a:pt x="116" y="94"/>
                  </a:lnTo>
                  <a:lnTo>
                    <a:pt x="116" y="90"/>
                  </a:lnTo>
                  <a:lnTo>
                    <a:pt x="113" y="87"/>
                  </a:lnTo>
                  <a:lnTo>
                    <a:pt x="113" y="83"/>
                  </a:lnTo>
                  <a:lnTo>
                    <a:pt x="116" y="80"/>
                  </a:lnTo>
                  <a:lnTo>
                    <a:pt x="121" y="73"/>
                  </a:lnTo>
                  <a:lnTo>
                    <a:pt x="123" y="66"/>
                  </a:lnTo>
                  <a:lnTo>
                    <a:pt x="123" y="64"/>
                  </a:lnTo>
                  <a:lnTo>
                    <a:pt x="128" y="64"/>
                  </a:lnTo>
                  <a:lnTo>
                    <a:pt x="130" y="57"/>
                  </a:lnTo>
                  <a:lnTo>
                    <a:pt x="130" y="54"/>
                  </a:lnTo>
                  <a:lnTo>
                    <a:pt x="128" y="54"/>
                  </a:lnTo>
                  <a:lnTo>
                    <a:pt x="128" y="57"/>
                  </a:lnTo>
                  <a:lnTo>
                    <a:pt x="116" y="57"/>
                  </a:lnTo>
                  <a:lnTo>
                    <a:pt x="113" y="61"/>
                  </a:lnTo>
                  <a:lnTo>
                    <a:pt x="113" y="73"/>
                  </a:lnTo>
                  <a:lnTo>
                    <a:pt x="106" y="78"/>
                  </a:lnTo>
                  <a:lnTo>
                    <a:pt x="104" y="78"/>
                  </a:lnTo>
                  <a:lnTo>
                    <a:pt x="104" y="71"/>
                  </a:lnTo>
                  <a:lnTo>
                    <a:pt x="99" y="71"/>
                  </a:lnTo>
                  <a:lnTo>
                    <a:pt x="97" y="73"/>
                  </a:lnTo>
                  <a:lnTo>
                    <a:pt x="97" y="78"/>
                  </a:lnTo>
                  <a:lnTo>
                    <a:pt x="99" y="78"/>
                  </a:lnTo>
                  <a:lnTo>
                    <a:pt x="104" y="80"/>
                  </a:lnTo>
                  <a:lnTo>
                    <a:pt x="104" y="87"/>
                  </a:lnTo>
                  <a:lnTo>
                    <a:pt x="99" y="90"/>
                  </a:lnTo>
                  <a:lnTo>
                    <a:pt x="99" y="94"/>
                  </a:lnTo>
                  <a:lnTo>
                    <a:pt x="90" y="94"/>
                  </a:lnTo>
                  <a:lnTo>
                    <a:pt x="90" y="104"/>
                  </a:lnTo>
                  <a:lnTo>
                    <a:pt x="87" y="104"/>
                  </a:lnTo>
                  <a:lnTo>
                    <a:pt x="83" y="106"/>
                  </a:lnTo>
                  <a:lnTo>
                    <a:pt x="80" y="106"/>
                  </a:lnTo>
                  <a:lnTo>
                    <a:pt x="80" y="87"/>
                  </a:lnTo>
                  <a:lnTo>
                    <a:pt x="76" y="87"/>
                  </a:lnTo>
                  <a:lnTo>
                    <a:pt x="76" y="97"/>
                  </a:lnTo>
                  <a:lnTo>
                    <a:pt x="73" y="104"/>
                  </a:lnTo>
                  <a:lnTo>
                    <a:pt x="71" y="101"/>
                  </a:lnTo>
                  <a:lnTo>
                    <a:pt x="71" y="106"/>
                  </a:lnTo>
                  <a:lnTo>
                    <a:pt x="73" y="111"/>
                  </a:lnTo>
                  <a:lnTo>
                    <a:pt x="73" y="113"/>
                  </a:lnTo>
                  <a:lnTo>
                    <a:pt x="71" y="113"/>
                  </a:lnTo>
                  <a:lnTo>
                    <a:pt x="71" y="118"/>
                  </a:lnTo>
                  <a:lnTo>
                    <a:pt x="71" y="113"/>
                  </a:lnTo>
                  <a:lnTo>
                    <a:pt x="66" y="118"/>
                  </a:lnTo>
                  <a:lnTo>
                    <a:pt x="66" y="120"/>
                  </a:lnTo>
                  <a:lnTo>
                    <a:pt x="59" y="120"/>
                  </a:lnTo>
                  <a:lnTo>
                    <a:pt x="59" y="123"/>
                  </a:lnTo>
                  <a:lnTo>
                    <a:pt x="57" y="123"/>
                  </a:lnTo>
                  <a:lnTo>
                    <a:pt x="57" y="12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5" name="Freeform 26">
              <a:extLst>
                <a:ext uri="{FF2B5EF4-FFF2-40B4-BE49-F238E27FC236}">
                  <a16:creationId xmlns:a16="http://schemas.microsoft.com/office/drawing/2014/main" id="{D55B10F0-4272-4104-A5DA-821286B2B63D}"/>
                </a:ext>
              </a:extLst>
            </p:cNvPr>
            <p:cNvSpPr>
              <a:spLocks/>
            </p:cNvSpPr>
            <p:nvPr/>
          </p:nvSpPr>
          <p:spPr bwMode="gray">
            <a:xfrm rot="47099">
              <a:off x="1337431" y="1731648"/>
              <a:ext cx="12468" cy="13507"/>
            </a:xfrm>
            <a:custGeom>
              <a:avLst/>
              <a:gdLst>
                <a:gd name="T0" fmla="*/ 14 w 26"/>
                <a:gd name="T1" fmla="*/ 31 h 31"/>
                <a:gd name="T2" fmla="*/ 10 w 26"/>
                <a:gd name="T3" fmla="*/ 31 h 31"/>
                <a:gd name="T4" fmla="*/ 10 w 26"/>
                <a:gd name="T5" fmla="*/ 26 h 31"/>
                <a:gd name="T6" fmla="*/ 7 w 26"/>
                <a:gd name="T7" fmla="*/ 23 h 31"/>
                <a:gd name="T8" fmla="*/ 7 w 26"/>
                <a:gd name="T9" fmla="*/ 19 h 31"/>
                <a:gd name="T10" fmla="*/ 3 w 26"/>
                <a:gd name="T11" fmla="*/ 19 h 31"/>
                <a:gd name="T12" fmla="*/ 3 w 26"/>
                <a:gd name="T13" fmla="*/ 16 h 31"/>
                <a:gd name="T14" fmla="*/ 0 w 26"/>
                <a:gd name="T15" fmla="*/ 7 h 31"/>
                <a:gd name="T16" fmla="*/ 7 w 26"/>
                <a:gd name="T17" fmla="*/ 7 h 31"/>
                <a:gd name="T18" fmla="*/ 10 w 26"/>
                <a:gd name="T19" fmla="*/ 2 h 31"/>
                <a:gd name="T20" fmla="*/ 14 w 26"/>
                <a:gd name="T21" fmla="*/ 2 h 31"/>
                <a:gd name="T22" fmla="*/ 17 w 26"/>
                <a:gd name="T23" fmla="*/ 0 h 31"/>
                <a:gd name="T24" fmla="*/ 19 w 26"/>
                <a:gd name="T25" fmla="*/ 0 h 31"/>
                <a:gd name="T26" fmla="*/ 19 w 26"/>
                <a:gd name="T27" fmla="*/ 7 h 31"/>
                <a:gd name="T28" fmla="*/ 24 w 26"/>
                <a:gd name="T29" fmla="*/ 14 h 31"/>
                <a:gd name="T30" fmla="*/ 24 w 26"/>
                <a:gd name="T31" fmla="*/ 16 h 31"/>
                <a:gd name="T32" fmla="*/ 26 w 26"/>
                <a:gd name="T33" fmla="*/ 16 h 31"/>
                <a:gd name="T34" fmla="*/ 26 w 26"/>
                <a:gd name="T35" fmla="*/ 26 h 31"/>
                <a:gd name="T36" fmla="*/ 24 w 26"/>
                <a:gd name="T37" fmla="*/ 26 h 31"/>
                <a:gd name="T38" fmla="*/ 19 w 26"/>
                <a:gd name="T39" fmla="*/ 31 h 31"/>
                <a:gd name="T40" fmla="*/ 14 w 26"/>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1"/>
                <a:gd name="T65" fmla="*/ 26 w 26"/>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1">
                  <a:moveTo>
                    <a:pt x="14" y="31"/>
                  </a:moveTo>
                  <a:lnTo>
                    <a:pt x="10" y="31"/>
                  </a:lnTo>
                  <a:lnTo>
                    <a:pt x="10" y="26"/>
                  </a:lnTo>
                  <a:lnTo>
                    <a:pt x="7" y="23"/>
                  </a:lnTo>
                  <a:lnTo>
                    <a:pt x="7" y="19"/>
                  </a:lnTo>
                  <a:lnTo>
                    <a:pt x="3" y="19"/>
                  </a:lnTo>
                  <a:lnTo>
                    <a:pt x="3" y="16"/>
                  </a:lnTo>
                  <a:lnTo>
                    <a:pt x="0" y="7"/>
                  </a:lnTo>
                  <a:lnTo>
                    <a:pt x="7" y="7"/>
                  </a:lnTo>
                  <a:lnTo>
                    <a:pt x="10" y="2"/>
                  </a:lnTo>
                  <a:lnTo>
                    <a:pt x="14" y="2"/>
                  </a:lnTo>
                  <a:lnTo>
                    <a:pt x="17" y="0"/>
                  </a:lnTo>
                  <a:lnTo>
                    <a:pt x="19" y="0"/>
                  </a:lnTo>
                  <a:lnTo>
                    <a:pt x="19" y="7"/>
                  </a:lnTo>
                  <a:lnTo>
                    <a:pt x="24" y="14"/>
                  </a:lnTo>
                  <a:lnTo>
                    <a:pt x="24" y="16"/>
                  </a:lnTo>
                  <a:lnTo>
                    <a:pt x="26" y="16"/>
                  </a:lnTo>
                  <a:lnTo>
                    <a:pt x="26" y="26"/>
                  </a:lnTo>
                  <a:lnTo>
                    <a:pt x="24" y="26"/>
                  </a:lnTo>
                  <a:lnTo>
                    <a:pt x="19" y="31"/>
                  </a:lnTo>
                  <a:lnTo>
                    <a:pt x="14" y="3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6" name="Freeform 27">
              <a:extLst>
                <a:ext uri="{FF2B5EF4-FFF2-40B4-BE49-F238E27FC236}">
                  <a16:creationId xmlns:a16="http://schemas.microsoft.com/office/drawing/2014/main" id="{728A8581-E77A-4008-BE88-0A032AEA026F}"/>
                </a:ext>
              </a:extLst>
            </p:cNvPr>
            <p:cNvSpPr>
              <a:spLocks/>
            </p:cNvSpPr>
            <p:nvPr/>
          </p:nvSpPr>
          <p:spPr bwMode="gray">
            <a:xfrm rot="47099">
              <a:off x="1351521" y="1735842"/>
              <a:ext cx="32952" cy="28945"/>
            </a:xfrm>
            <a:custGeom>
              <a:avLst/>
              <a:gdLst>
                <a:gd name="T0" fmla="*/ 69 w 69"/>
                <a:gd name="T1" fmla="*/ 10 h 62"/>
                <a:gd name="T2" fmla="*/ 66 w 69"/>
                <a:gd name="T3" fmla="*/ 17 h 62"/>
                <a:gd name="T4" fmla="*/ 57 w 69"/>
                <a:gd name="T5" fmla="*/ 17 h 62"/>
                <a:gd name="T6" fmla="*/ 52 w 69"/>
                <a:gd name="T7" fmla="*/ 22 h 62"/>
                <a:gd name="T8" fmla="*/ 50 w 69"/>
                <a:gd name="T9" fmla="*/ 22 h 62"/>
                <a:gd name="T10" fmla="*/ 50 w 69"/>
                <a:gd name="T11" fmla="*/ 29 h 62"/>
                <a:gd name="T12" fmla="*/ 52 w 69"/>
                <a:gd name="T13" fmla="*/ 29 h 62"/>
                <a:gd name="T14" fmla="*/ 52 w 69"/>
                <a:gd name="T15" fmla="*/ 31 h 62"/>
                <a:gd name="T16" fmla="*/ 57 w 69"/>
                <a:gd name="T17" fmla="*/ 29 h 62"/>
                <a:gd name="T18" fmla="*/ 64 w 69"/>
                <a:gd name="T19" fmla="*/ 29 h 62"/>
                <a:gd name="T20" fmla="*/ 64 w 69"/>
                <a:gd name="T21" fmla="*/ 40 h 62"/>
                <a:gd name="T22" fmla="*/ 59 w 69"/>
                <a:gd name="T23" fmla="*/ 48 h 62"/>
                <a:gd name="T24" fmla="*/ 59 w 69"/>
                <a:gd name="T25" fmla="*/ 50 h 62"/>
                <a:gd name="T26" fmla="*/ 57 w 69"/>
                <a:gd name="T27" fmla="*/ 50 h 62"/>
                <a:gd name="T28" fmla="*/ 57 w 69"/>
                <a:gd name="T29" fmla="*/ 55 h 62"/>
                <a:gd name="T30" fmla="*/ 50 w 69"/>
                <a:gd name="T31" fmla="*/ 55 h 62"/>
                <a:gd name="T32" fmla="*/ 43 w 69"/>
                <a:gd name="T33" fmla="*/ 57 h 62"/>
                <a:gd name="T34" fmla="*/ 26 w 69"/>
                <a:gd name="T35" fmla="*/ 57 h 62"/>
                <a:gd name="T36" fmla="*/ 24 w 69"/>
                <a:gd name="T37" fmla="*/ 62 h 62"/>
                <a:gd name="T38" fmla="*/ 12 w 69"/>
                <a:gd name="T39" fmla="*/ 62 h 62"/>
                <a:gd name="T40" fmla="*/ 9 w 69"/>
                <a:gd name="T41" fmla="*/ 57 h 62"/>
                <a:gd name="T42" fmla="*/ 9 w 69"/>
                <a:gd name="T43" fmla="*/ 48 h 62"/>
                <a:gd name="T44" fmla="*/ 2 w 69"/>
                <a:gd name="T45" fmla="*/ 48 h 62"/>
                <a:gd name="T46" fmla="*/ 2 w 69"/>
                <a:gd name="T47" fmla="*/ 40 h 62"/>
                <a:gd name="T48" fmla="*/ 0 w 69"/>
                <a:gd name="T49" fmla="*/ 40 h 62"/>
                <a:gd name="T50" fmla="*/ 0 w 69"/>
                <a:gd name="T51" fmla="*/ 33 h 62"/>
                <a:gd name="T52" fmla="*/ 2 w 69"/>
                <a:gd name="T53" fmla="*/ 22 h 62"/>
                <a:gd name="T54" fmla="*/ 0 w 69"/>
                <a:gd name="T55" fmla="*/ 22 h 62"/>
                <a:gd name="T56" fmla="*/ 0 w 69"/>
                <a:gd name="T57" fmla="*/ 17 h 62"/>
                <a:gd name="T58" fmla="*/ 2 w 69"/>
                <a:gd name="T59" fmla="*/ 17 h 62"/>
                <a:gd name="T60" fmla="*/ 2 w 69"/>
                <a:gd name="T61" fmla="*/ 14 h 62"/>
                <a:gd name="T62" fmla="*/ 7 w 69"/>
                <a:gd name="T63" fmla="*/ 7 h 62"/>
                <a:gd name="T64" fmla="*/ 17 w 69"/>
                <a:gd name="T65" fmla="*/ 7 h 62"/>
                <a:gd name="T66" fmla="*/ 19 w 69"/>
                <a:gd name="T67" fmla="*/ 5 h 62"/>
                <a:gd name="T68" fmla="*/ 35 w 69"/>
                <a:gd name="T69" fmla="*/ 5 h 62"/>
                <a:gd name="T70" fmla="*/ 35 w 69"/>
                <a:gd name="T71" fmla="*/ 0 h 62"/>
                <a:gd name="T72" fmla="*/ 50 w 69"/>
                <a:gd name="T73" fmla="*/ 0 h 62"/>
                <a:gd name="T74" fmla="*/ 52 w 69"/>
                <a:gd name="T75" fmla="*/ 5 h 62"/>
                <a:gd name="T76" fmla="*/ 57 w 69"/>
                <a:gd name="T77" fmla="*/ 0 h 62"/>
                <a:gd name="T78" fmla="*/ 69 w 69"/>
                <a:gd name="T79" fmla="*/ 0 h 62"/>
                <a:gd name="T80" fmla="*/ 69 w 69"/>
                <a:gd name="T81" fmla="*/ 10 h 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9"/>
                <a:gd name="T124" fmla="*/ 0 h 62"/>
                <a:gd name="T125" fmla="*/ 69 w 69"/>
                <a:gd name="T126" fmla="*/ 62 h 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9" h="62">
                  <a:moveTo>
                    <a:pt x="69" y="10"/>
                  </a:moveTo>
                  <a:lnTo>
                    <a:pt x="66" y="17"/>
                  </a:lnTo>
                  <a:lnTo>
                    <a:pt x="57" y="17"/>
                  </a:lnTo>
                  <a:lnTo>
                    <a:pt x="52" y="22"/>
                  </a:lnTo>
                  <a:lnTo>
                    <a:pt x="50" y="22"/>
                  </a:lnTo>
                  <a:lnTo>
                    <a:pt x="50" y="29"/>
                  </a:lnTo>
                  <a:lnTo>
                    <a:pt x="52" y="29"/>
                  </a:lnTo>
                  <a:lnTo>
                    <a:pt x="52" y="31"/>
                  </a:lnTo>
                  <a:lnTo>
                    <a:pt x="57" y="29"/>
                  </a:lnTo>
                  <a:lnTo>
                    <a:pt x="64" y="29"/>
                  </a:lnTo>
                  <a:lnTo>
                    <a:pt x="64" y="40"/>
                  </a:lnTo>
                  <a:lnTo>
                    <a:pt x="59" y="48"/>
                  </a:lnTo>
                  <a:lnTo>
                    <a:pt x="59" y="50"/>
                  </a:lnTo>
                  <a:lnTo>
                    <a:pt x="57" y="50"/>
                  </a:lnTo>
                  <a:lnTo>
                    <a:pt x="57" y="55"/>
                  </a:lnTo>
                  <a:lnTo>
                    <a:pt x="50" y="55"/>
                  </a:lnTo>
                  <a:lnTo>
                    <a:pt x="43" y="57"/>
                  </a:lnTo>
                  <a:lnTo>
                    <a:pt x="26" y="57"/>
                  </a:lnTo>
                  <a:lnTo>
                    <a:pt x="24" y="62"/>
                  </a:lnTo>
                  <a:lnTo>
                    <a:pt x="12" y="62"/>
                  </a:lnTo>
                  <a:lnTo>
                    <a:pt x="9" y="57"/>
                  </a:lnTo>
                  <a:lnTo>
                    <a:pt x="9" y="48"/>
                  </a:lnTo>
                  <a:lnTo>
                    <a:pt x="2" y="48"/>
                  </a:lnTo>
                  <a:lnTo>
                    <a:pt x="2" y="40"/>
                  </a:lnTo>
                  <a:lnTo>
                    <a:pt x="0" y="40"/>
                  </a:lnTo>
                  <a:lnTo>
                    <a:pt x="0" y="33"/>
                  </a:lnTo>
                  <a:lnTo>
                    <a:pt x="2" y="22"/>
                  </a:lnTo>
                  <a:lnTo>
                    <a:pt x="0" y="22"/>
                  </a:lnTo>
                  <a:lnTo>
                    <a:pt x="0" y="17"/>
                  </a:lnTo>
                  <a:lnTo>
                    <a:pt x="2" y="17"/>
                  </a:lnTo>
                  <a:lnTo>
                    <a:pt x="2" y="14"/>
                  </a:lnTo>
                  <a:lnTo>
                    <a:pt x="7" y="7"/>
                  </a:lnTo>
                  <a:lnTo>
                    <a:pt x="17" y="7"/>
                  </a:lnTo>
                  <a:lnTo>
                    <a:pt x="19" y="5"/>
                  </a:lnTo>
                  <a:lnTo>
                    <a:pt x="35" y="5"/>
                  </a:lnTo>
                  <a:lnTo>
                    <a:pt x="35" y="0"/>
                  </a:lnTo>
                  <a:lnTo>
                    <a:pt x="50" y="0"/>
                  </a:lnTo>
                  <a:lnTo>
                    <a:pt x="52" y="5"/>
                  </a:lnTo>
                  <a:lnTo>
                    <a:pt x="57" y="0"/>
                  </a:lnTo>
                  <a:lnTo>
                    <a:pt x="69" y="0"/>
                  </a:lnTo>
                  <a:lnTo>
                    <a:pt x="69"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7" name="Freeform 28">
              <a:extLst>
                <a:ext uri="{FF2B5EF4-FFF2-40B4-BE49-F238E27FC236}">
                  <a16:creationId xmlns:a16="http://schemas.microsoft.com/office/drawing/2014/main" id="{F05C858C-526E-40DF-988C-C719CAFE80F0}"/>
                </a:ext>
              </a:extLst>
            </p:cNvPr>
            <p:cNvSpPr>
              <a:spLocks/>
            </p:cNvSpPr>
            <p:nvPr/>
          </p:nvSpPr>
          <p:spPr bwMode="gray">
            <a:xfrm rot="47099">
              <a:off x="1357273" y="1709868"/>
              <a:ext cx="32952" cy="21227"/>
            </a:xfrm>
            <a:custGeom>
              <a:avLst/>
              <a:gdLst>
                <a:gd name="T0" fmla="*/ 64 w 68"/>
                <a:gd name="T1" fmla="*/ 23 h 44"/>
                <a:gd name="T2" fmla="*/ 61 w 68"/>
                <a:gd name="T3" fmla="*/ 40 h 44"/>
                <a:gd name="T4" fmla="*/ 57 w 68"/>
                <a:gd name="T5" fmla="*/ 40 h 44"/>
                <a:gd name="T6" fmla="*/ 54 w 68"/>
                <a:gd name="T7" fmla="*/ 44 h 44"/>
                <a:gd name="T8" fmla="*/ 52 w 68"/>
                <a:gd name="T9" fmla="*/ 40 h 44"/>
                <a:gd name="T10" fmla="*/ 47 w 68"/>
                <a:gd name="T11" fmla="*/ 40 h 44"/>
                <a:gd name="T12" fmla="*/ 45 w 68"/>
                <a:gd name="T13" fmla="*/ 37 h 44"/>
                <a:gd name="T14" fmla="*/ 45 w 68"/>
                <a:gd name="T15" fmla="*/ 33 h 44"/>
                <a:gd name="T16" fmla="*/ 40 w 68"/>
                <a:gd name="T17" fmla="*/ 30 h 44"/>
                <a:gd name="T18" fmla="*/ 38 w 68"/>
                <a:gd name="T19" fmla="*/ 30 h 44"/>
                <a:gd name="T20" fmla="*/ 38 w 68"/>
                <a:gd name="T21" fmla="*/ 37 h 44"/>
                <a:gd name="T22" fmla="*/ 35 w 68"/>
                <a:gd name="T23" fmla="*/ 40 h 44"/>
                <a:gd name="T24" fmla="*/ 28 w 68"/>
                <a:gd name="T25" fmla="*/ 40 h 44"/>
                <a:gd name="T26" fmla="*/ 28 w 68"/>
                <a:gd name="T27" fmla="*/ 33 h 44"/>
                <a:gd name="T28" fmla="*/ 23 w 68"/>
                <a:gd name="T29" fmla="*/ 33 h 44"/>
                <a:gd name="T30" fmla="*/ 21 w 68"/>
                <a:gd name="T31" fmla="*/ 30 h 44"/>
                <a:gd name="T32" fmla="*/ 12 w 68"/>
                <a:gd name="T33" fmla="*/ 30 h 44"/>
                <a:gd name="T34" fmla="*/ 12 w 68"/>
                <a:gd name="T35" fmla="*/ 33 h 44"/>
                <a:gd name="T36" fmla="*/ 0 w 68"/>
                <a:gd name="T37" fmla="*/ 33 h 44"/>
                <a:gd name="T38" fmla="*/ 0 w 68"/>
                <a:gd name="T39" fmla="*/ 28 h 44"/>
                <a:gd name="T40" fmla="*/ 5 w 68"/>
                <a:gd name="T41" fmla="*/ 23 h 44"/>
                <a:gd name="T42" fmla="*/ 5 w 68"/>
                <a:gd name="T43" fmla="*/ 21 h 44"/>
                <a:gd name="T44" fmla="*/ 7 w 68"/>
                <a:gd name="T45" fmla="*/ 21 h 44"/>
                <a:gd name="T46" fmla="*/ 14 w 68"/>
                <a:gd name="T47" fmla="*/ 16 h 44"/>
                <a:gd name="T48" fmla="*/ 16 w 68"/>
                <a:gd name="T49" fmla="*/ 16 h 44"/>
                <a:gd name="T50" fmla="*/ 21 w 68"/>
                <a:gd name="T51" fmla="*/ 14 h 44"/>
                <a:gd name="T52" fmla="*/ 31 w 68"/>
                <a:gd name="T53" fmla="*/ 14 h 44"/>
                <a:gd name="T54" fmla="*/ 31 w 68"/>
                <a:gd name="T55" fmla="*/ 16 h 44"/>
                <a:gd name="T56" fmla="*/ 35 w 68"/>
                <a:gd name="T57" fmla="*/ 16 h 44"/>
                <a:gd name="T58" fmla="*/ 35 w 68"/>
                <a:gd name="T59" fmla="*/ 14 h 44"/>
                <a:gd name="T60" fmla="*/ 38 w 68"/>
                <a:gd name="T61" fmla="*/ 14 h 44"/>
                <a:gd name="T62" fmla="*/ 40 w 68"/>
                <a:gd name="T63" fmla="*/ 9 h 44"/>
                <a:gd name="T64" fmla="*/ 47 w 68"/>
                <a:gd name="T65" fmla="*/ 4 h 44"/>
                <a:gd name="T66" fmla="*/ 54 w 68"/>
                <a:gd name="T67" fmla="*/ 4 h 44"/>
                <a:gd name="T68" fmla="*/ 57 w 68"/>
                <a:gd name="T69" fmla="*/ 0 h 44"/>
                <a:gd name="T70" fmla="*/ 61 w 68"/>
                <a:gd name="T71" fmla="*/ 0 h 44"/>
                <a:gd name="T72" fmla="*/ 61 w 68"/>
                <a:gd name="T73" fmla="*/ 4 h 44"/>
                <a:gd name="T74" fmla="*/ 64 w 68"/>
                <a:gd name="T75" fmla="*/ 7 h 44"/>
                <a:gd name="T76" fmla="*/ 68 w 68"/>
                <a:gd name="T77" fmla="*/ 9 h 44"/>
                <a:gd name="T78" fmla="*/ 64 w 68"/>
                <a:gd name="T79" fmla="*/ 23 h 4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
                <a:gd name="T121" fmla="*/ 0 h 44"/>
                <a:gd name="T122" fmla="*/ 68 w 68"/>
                <a:gd name="T123" fmla="*/ 44 h 4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 h="44">
                  <a:moveTo>
                    <a:pt x="64" y="23"/>
                  </a:moveTo>
                  <a:lnTo>
                    <a:pt x="61" y="40"/>
                  </a:lnTo>
                  <a:lnTo>
                    <a:pt x="57" y="40"/>
                  </a:lnTo>
                  <a:lnTo>
                    <a:pt x="54" y="44"/>
                  </a:lnTo>
                  <a:lnTo>
                    <a:pt x="52" y="40"/>
                  </a:lnTo>
                  <a:lnTo>
                    <a:pt x="47" y="40"/>
                  </a:lnTo>
                  <a:lnTo>
                    <a:pt x="45" y="37"/>
                  </a:lnTo>
                  <a:lnTo>
                    <a:pt x="45" y="33"/>
                  </a:lnTo>
                  <a:lnTo>
                    <a:pt x="40" y="30"/>
                  </a:lnTo>
                  <a:lnTo>
                    <a:pt x="38" y="30"/>
                  </a:lnTo>
                  <a:lnTo>
                    <a:pt x="38" y="37"/>
                  </a:lnTo>
                  <a:lnTo>
                    <a:pt x="35" y="40"/>
                  </a:lnTo>
                  <a:lnTo>
                    <a:pt x="28" y="40"/>
                  </a:lnTo>
                  <a:lnTo>
                    <a:pt x="28" y="33"/>
                  </a:lnTo>
                  <a:lnTo>
                    <a:pt x="23" y="33"/>
                  </a:lnTo>
                  <a:lnTo>
                    <a:pt x="21" y="30"/>
                  </a:lnTo>
                  <a:lnTo>
                    <a:pt x="12" y="30"/>
                  </a:lnTo>
                  <a:lnTo>
                    <a:pt x="12" y="33"/>
                  </a:lnTo>
                  <a:lnTo>
                    <a:pt x="0" y="33"/>
                  </a:lnTo>
                  <a:lnTo>
                    <a:pt x="0" y="28"/>
                  </a:lnTo>
                  <a:lnTo>
                    <a:pt x="5" y="23"/>
                  </a:lnTo>
                  <a:lnTo>
                    <a:pt x="5" y="21"/>
                  </a:lnTo>
                  <a:lnTo>
                    <a:pt x="7" y="21"/>
                  </a:lnTo>
                  <a:lnTo>
                    <a:pt x="14" y="16"/>
                  </a:lnTo>
                  <a:lnTo>
                    <a:pt x="16" y="16"/>
                  </a:lnTo>
                  <a:lnTo>
                    <a:pt x="21" y="14"/>
                  </a:lnTo>
                  <a:lnTo>
                    <a:pt x="31" y="14"/>
                  </a:lnTo>
                  <a:lnTo>
                    <a:pt x="31" y="16"/>
                  </a:lnTo>
                  <a:lnTo>
                    <a:pt x="35" y="16"/>
                  </a:lnTo>
                  <a:lnTo>
                    <a:pt x="35" y="14"/>
                  </a:lnTo>
                  <a:lnTo>
                    <a:pt x="38" y="14"/>
                  </a:lnTo>
                  <a:lnTo>
                    <a:pt x="40" y="9"/>
                  </a:lnTo>
                  <a:lnTo>
                    <a:pt x="47" y="4"/>
                  </a:lnTo>
                  <a:lnTo>
                    <a:pt x="54" y="4"/>
                  </a:lnTo>
                  <a:lnTo>
                    <a:pt x="57" y="0"/>
                  </a:lnTo>
                  <a:lnTo>
                    <a:pt x="61" y="0"/>
                  </a:lnTo>
                  <a:lnTo>
                    <a:pt x="61" y="4"/>
                  </a:lnTo>
                  <a:lnTo>
                    <a:pt x="64" y="7"/>
                  </a:lnTo>
                  <a:lnTo>
                    <a:pt x="68" y="9"/>
                  </a:lnTo>
                  <a:lnTo>
                    <a:pt x="64" y="2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8" name="Freeform 29">
              <a:extLst>
                <a:ext uri="{FF2B5EF4-FFF2-40B4-BE49-F238E27FC236}">
                  <a16:creationId xmlns:a16="http://schemas.microsoft.com/office/drawing/2014/main" id="{DA2D25E6-1F22-4E12-975F-E9EE8B383D23}"/>
                </a:ext>
              </a:extLst>
            </p:cNvPr>
            <p:cNvSpPr>
              <a:spLocks/>
            </p:cNvSpPr>
            <p:nvPr/>
          </p:nvSpPr>
          <p:spPr bwMode="gray">
            <a:xfrm rot="47099">
              <a:off x="668210" y="1910781"/>
              <a:ext cx="311714" cy="482415"/>
            </a:xfrm>
            <a:custGeom>
              <a:avLst/>
              <a:gdLst>
                <a:gd name="T0" fmla="*/ 74 w 669"/>
                <a:gd name="T1" fmla="*/ 735 h 1038"/>
                <a:gd name="T2" fmla="*/ 22 w 669"/>
                <a:gd name="T3" fmla="*/ 704 h 1038"/>
                <a:gd name="T4" fmla="*/ 5 w 669"/>
                <a:gd name="T5" fmla="*/ 688 h 1038"/>
                <a:gd name="T6" fmla="*/ 187 w 669"/>
                <a:gd name="T7" fmla="*/ 428 h 1038"/>
                <a:gd name="T8" fmla="*/ 289 w 669"/>
                <a:gd name="T9" fmla="*/ 286 h 1038"/>
                <a:gd name="T10" fmla="*/ 374 w 669"/>
                <a:gd name="T11" fmla="*/ 171 h 1038"/>
                <a:gd name="T12" fmla="*/ 442 w 669"/>
                <a:gd name="T13" fmla="*/ 81 h 1038"/>
                <a:gd name="T14" fmla="*/ 508 w 669"/>
                <a:gd name="T15" fmla="*/ 3 h 1038"/>
                <a:gd name="T16" fmla="*/ 525 w 669"/>
                <a:gd name="T17" fmla="*/ 17 h 1038"/>
                <a:gd name="T18" fmla="*/ 546 w 669"/>
                <a:gd name="T19" fmla="*/ 43 h 1038"/>
                <a:gd name="T20" fmla="*/ 549 w 669"/>
                <a:gd name="T21" fmla="*/ 76 h 1038"/>
                <a:gd name="T22" fmla="*/ 570 w 669"/>
                <a:gd name="T23" fmla="*/ 114 h 1038"/>
                <a:gd name="T24" fmla="*/ 582 w 669"/>
                <a:gd name="T25" fmla="*/ 130 h 1038"/>
                <a:gd name="T26" fmla="*/ 530 w 669"/>
                <a:gd name="T27" fmla="*/ 227 h 1038"/>
                <a:gd name="T28" fmla="*/ 518 w 669"/>
                <a:gd name="T29" fmla="*/ 246 h 1038"/>
                <a:gd name="T30" fmla="*/ 499 w 669"/>
                <a:gd name="T31" fmla="*/ 277 h 1038"/>
                <a:gd name="T32" fmla="*/ 539 w 669"/>
                <a:gd name="T33" fmla="*/ 300 h 1038"/>
                <a:gd name="T34" fmla="*/ 563 w 669"/>
                <a:gd name="T35" fmla="*/ 315 h 1038"/>
                <a:gd name="T36" fmla="*/ 539 w 669"/>
                <a:gd name="T37" fmla="*/ 371 h 1038"/>
                <a:gd name="T38" fmla="*/ 534 w 669"/>
                <a:gd name="T39" fmla="*/ 388 h 1038"/>
                <a:gd name="T40" fmla="*/ 549 w 669"/>
                <a:gd name="T41" fmla="*/ 414 h 1038"/>
                <a:gd name="T42" fmla="*/ 572 w 669"/>
                <a:gd name="T43" fmla="*/ 416 h 1038"/>
                <a:gd name="T44" fmla="*/ 563 w 669"/>
                <a:gd name="T45" fmla="*/ 447 h 1038"/>
                <a:gd name="T46" fmla="*/ 534 w 669"/>
                <a:gd name="T47" fmla="*/ 468 h 1038"/>
                <a:gd name="T48" fmla="*/ 530 w 669"/>
                <a:gd name="T49" fmla="*/ 487 h 1038"/>
                <a:gd name="T50" fmla="*/ 511 w 669"/>
                <a:gd name="T51" fmla="*/ 513 h 1038"/>
                <a:gd name="T52" fmla="*/ 525 w 669"/>
                <a:gd name="T53" fmla="*/ 541 h 1038"/>
                <a:gd name="T54" fmla="*/ 523 w 669"/>
                <a:gd name="T55" fmla="*/ 553 h 1038"/>
                <a:gd name="T56" fmla="*/ 546 w 669"/>
                <a:gd name="T57" fmla="*/ 560 h 1038"/>
                <a:gd name="T58" fmla="*/ 546 w 669"/>
                <a:gd name="T59" fmla="*/ 610 h 1038"/>
                <a:gd name="T60" fmla="*/ 549 w 669"/>
                <a:gd name="T61" fmla="*/ 631 h 1038"/>
                <a:gd name="T62" fmla="*/ 546 w 669"/>
                <a:gd name="T63" fmla="*/ 669 h 1038"/>
                <a:gd name="T64" fmla="*/ 546 w 669"/>
                <a:gd name="T65" fmla="*/ 697 h 1038"/>
                <a:gd name="T66" fmla="*/ 534 w 669"/>
                <a:gd name="T67" fmla="*/ 745 h 1038"/>
                <a:gd name="T68" fmla="*/ 530 w 669"/>
                <a:gd name="T69" fmla="*/ 771 h 1038"/>
                <a:gd name="T70" fmla="*/ 541 w 669"/>
                <a:gd name="T71" fmla="*/ 787 h 1038"/>
                <a:gd name="T72" fmla="*/ 558 w 669"/>
                <a:gd name="T73" fmla="*/ 818 h 1038"/>
                <a:gd name="T74" fmla="*/ 565 w 669"/>
                <a:gd name="T75" fmla="*/ 856 h 1038"/>
                <a:gd name="T76" fmla="*/ 579 w 669"/>
                <a:gd name="T77" fmla="*/ 879 h 1038"/>
                <a:gd name="T78" fmla="*/ 570 w 669"/>
                <a:gd name="T79" fmla="*/ 929 h 1038"/>
                <a:gd name="T80" fmla="*/ 586 w 669"/>
                <a:gd name="T81" fmla="*/ 931 h 1038"/>
                <a:gd name="T82" fmla="*/ 603 w 669"/>
                <a:gd name="T83" fmla="*/ 938 h 1038"/>
                <a:gd name="T84" fmla="*/ 612 w 669"/>
                <a:gd name="T85" fmla="*/ 936 h 1038"/>
                <a:gd name="T86" fmla="*/ 652 w 669"/>
                <a:gd name="T87" fmla="*/ 948 h 1038"/>
                <a:gd name="T88" fmla="*/ 662 w 669"/>
                <a:gd name="T89" fmla="*/ 964 h 1038"/>
                <a:gd name="T90" fmla="*/ 662 w 669"/>
                <a:gd name="T91" fmla="*/ 993 h 1038"/>
                <a:gd name="T92" fmla="*/ 667 w 669"/>
                <a:gd name="T93" fmla="*/ 1028 h 1038"/>
                <a:gd name="T94" fmla="*/ 667 w 669"/>
                <a:gd name="T95" fmla="*/ 1035 h 1038"/>
                <a:gd name="T96" fmla="*/ 579 w 669"/>
                <a:gd name="T97" fmla="*/ 1004 h 1038"/>
                <a:gd name="T98" fmla="*/ 459 w 669"/>
                <a:gd name="T99" fmla="*/ 962 h 1038"/>
                <a:gd name="T100" fmla="*/ 393 w 669"/>
                <a:gd name="T101" fmla="*/ 931 h 1038"/>
                <a:gd name="T102" fmla="*/ 324 w 669"/>
                <a:gd name="T103" fmla="*/ 903 h 1038"/>
                <a:gd name="T104" fmla="*/ 227 w 669"/>
                <a:gd name="T105" fmla="*/ 856 h 1038"/>
                <a:gd name="T106" fmla="*/ 147 w 669"/>
                <a:gd name="T107" fmla="*/ 811 h 1038"/>
                <a:gd name="T108" fmla="*/ 81 w 669"/>
                <a:gd name="T109" fmla="*/ 775 h 1038"/>
                <a:gd name="T110" fmla="*/ 57 w 669"/>
                <a:gd name="T111" fmla="*/ 759 h 103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69"/>
                <a:gd name="T169" fmla="*/ 0 h 1038"/>
                <a:gd name="T170" fmla="*/ 669 w 669"/>
                <a:gd name="T171" fmla="*/ 1038 h 103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69" h="1038">
                  <a:moveTo>
                    <a:pt x="57" y="759"/>
                  </a:moveTo>
                  <a:lnTo>
                    <a:pt x="57" y="752"/>
                  </a:lnTo>
                  <a:lnTo>
                    <a:pt x="62" y="745"/>
                  </a:lnTo>
                  <a:lnTo>
                    <a:pt x="64" y="745"/>
                  </a:lnTo>
                  <a:lnTo>
                    <a:pt x="71" y="737"/>
                  </a:lnTo>
                  <a:lnTo>
                    <a:pt x="74" y="735"/>
                  </a:lnTo>
                  <a:lnTo>
                    <a:pt x="57" y="726"/>
                  </a:lnTo>
                  <a:lnTo>
                    <a:pt x="50" y="721"/>
                  </a:lnTo>
                  <a:lnTo>
                    <a:pt x="48" y="721"/>
                  </a:lnTo>
                  <a:lnTo>
                    <a:pt x="41" y="726"/>
                  </a:lnTo>
                  <a:lnTo>
                    <a:pt x="31" y="726"/>
                  </a:lnTo>
                  <a:lnTo>
                    <a:pt x="22" y="704"/>
                  </a:lnTo>
                  <a:lnTo>
                    <a:pt x="22" y="707"/>
                  </a:lnTo>
                  <a:lnTo>
                    <a:pt x="17" y="707"/>
                  </a:lnTo>
                  <a:lnTo>
                    <a:pt x="15" y="712"/>
                  </a:lnTo>
                  <a:lnTo>
                    <a:pt x="5" y="695"/>
                  </a:lnTo>
                  <a:lnTo>
                    <a:pt x="0" y="690"/>
                  </a:lnTo>
                  <a:lnTo>
                    <a:pt x="5" y="688"/>
                  </a:lnTo>
                  <a:lnTo>
                    <a:pt x="8" y="686"/>
                  </a:lnTo>
                  <a:lnTo>
                    <a:pt x="34" y="645"/>
                  </a:lnTo>
                  <a:lnTo>
                    <a:pt x="34" y="641"/>
                  </a:lnTo>
                  <a:lnTo>
                    <a:pt x="128" y="511"/>
                  </a:lnTo>
                  <a:lnTo>
                    <a:pt x="147" y="480"/>
                  </a:lnTo>
                  <a:lnTo>
                    <a:pt x="187" y="428"/>
                  </a:lnTo>
                  <a:lnTo>
                    <a:pt x="194" y="416"/>
                  </a:lnTo>
                  <a:lnTo>
                    <a:pt x="204" y="400"/>
                  </a:lnTo>
                  <a:lnTo>
                    <a:pt x="256" y="331"/>
                  </a:lnTo>
                  <a:lnTo>
                    <a:pt x="258" y="326"/>
                  </a:lnTo>
                  <a:lnTo>
                    <a:pt x="260" y="324"/>
                  </a:lnTo>
                  <a:lnTo>
                    <a:pt x="289" y="286"/>
                  </a:lnTo>
                  <a:lnTo>
                    <a:pt x="308" y="258"/>
                  </a:lnTo>
                  <a:lnTo>
                    <a:pt x="331" y="230"/>
                  </a:lnTo>
                  <a:lnTo>
                    <a:pt x="338" y="218"/>
                  </a:lnTo>
                  <a:lnTo>
                    <a:pt x="352" y="201"/>
                  </a:lnTo>
                  <a:lnTo>
                    <a:pt x="362" y="187"/>
                  </a:lnTo>
                  <a:lnTo>
                    <a:pt x="374" y="171"/>
                  </a:lnTo>
                  <a:lnTo>
                    <a:pt x="386" y="154"/>
                  </a:lnTo>
                  <a:lnTo>
                    <a:pt x="397" y="137"/>
                  </a:lnTo>
                  <a:lnTo>
                    <a:pt x="404" y="130"/>
                  </a:lnTo>
                  <a:lnTo>
                    <a:pt x="414" y="114"/>
                  </a:lnTo>
                  <a:lnTo>
                    <a:pt x="426" y="100"/>
                  </a:lnTo>
                  <a:lnTo>
                    <a:pt x="442" y="81"/>
                  </a:lnTo>
                  <a:lnTo>
                    <a:pt x="466" y="45"/>
                  </a:lnTo>
                  <a:lnTo>
                    <a:pt x="492" y="12"/>
                  </a:lnTo>
                  <a:lnTo>
                    <a:pt x="499" y="8"/>
                  </a:lnTo>
                  <a:lnTo>
                    <a:pt x="501" y="0"/>
                  </a:lnTo>
                  <a:lnTo>
                    <a:pt x="506" y="0"/>
                  </a:lnTo>
                  <a:lnTo>
                    <a:pt x="508" y="3"/>
                  </a:lnTo>
                  <a:lnTo>
                    <a:pt x="508" y="8"/>
                  </a:lnTo>
                  <a:lnTo>
                    <a:pt x="511" y="8"/>
                  </a:lnTo>
                  <a:lnTo>
                    <a:pt x="515" y="10"/>
                  </a:lnTo>
                  <a:lnTo>
                    <a:pt x="515" y="12"/>
                  </a:lnTo>
                  <a:lnTo>
                    <a:pt x="518" y="17"/>
                  </a:lnTo>
                  <a:lnTo>
                    <a:pt x="525" y="17"/>
                  </a:lnTo>
                  <a:lnTo>
                    <a:pt x="534" y="26"/>
                  </a:lnTo>
                  <a:lnTo>
                    <a:pt x="532" y="24"/>
                  </a:lnTo>
                  <a:lnTo>
                    <a:pt x="534" y="29"/>
                  </a:lnTo>
                  <a:lnTo>
                    <a:pt x="539" y="33"/>
                  </a:lnTo>
                  <a:lnTo>
                    <a:pt x="546" y="41"/>
                  </a:lnTo>
                  <a:lnTo>
                    <a:pt x="546" y="43"/>
                  </a:lnTo>
                  <a:lnTo>
                    <a:pt x="541" y="45"/>
                  </a:lnTo>
                  <a:lnTo>
                    <a:pt x="541" y="50"/>
                  </a:lnTo>
                  <a:lnTo>
                    <a:pt x="546" y="52"/>
                  </a:lnTo>
                  <a:lnTo>
                    <a:pt x="546" y="67"/>
                  </a:lnTo>
                  <a:lnTo>
                    <a:pt x="549" y="74"/>
                  </a:lnTo>
                  <a:lnTo>
                    <a:pt x="549" y="76"/>
                  </a:lnTo>
                  <a:lnTo>
                    <a:pt x="551" y="81"/>
                  </a:lnTo>
                  <a:lnTo>
                    <a:pt x="551" y="85"/>
                  </a:lnTo>
                  <a:lnTo>
                    <a:pt x="558" y="97"/>
                  </a:lnTo>
                  <a:lnTo>
                    <a:pt x="558" y="100"/>
                  </a:lnTo>
                  <a:lnTo>
                    <a:pt x="565" y="114"/>
                  </a:lnTo>
                  <a:lnTo>
                    <a:pt x="570" y="114"/>
                  </a:lnTo>
                  <a:lnTo>
                    <a:pt x="572" y="121"/>
                  </a:lnTo>
                  <a:lnTo>
                    <a:pt x="575" y="123"/>
                  </a:lnTo>
                  <a:lnTo>
                    <a:pt x="575" y="126"/>
                  </a:lnTo>
                  <a:lnTo>
                    <a:pt x="586" y="126"/>
                  </a:lnTo>
                  <a:lnTo>
                    <a:pt x="586" y="130"/>
                  </a:lnTo>
                  <a:lnTo>
                    <a:pt x="582" y="130"/>
                  </a:lnTo>
                  <a:lnTo>
                    <a:pt x="575" y="140"/>
                  </a:lnTo>
                  <a:lnTo>
                    <a:pt x="549" y="182"/>
                  </a:lnTo>
                  <a:lnTo>
                    <a:pt x="541" y="194"/>
                  </a:lnTo>
                  <a:lnTo>
                    <a:pt x="525" y="220"/>
                  </a:lnTo>
                  <a:lnTo>
                    <a:pt x="525" y="227"/>
                  </a:lnTo>
                  <a:lnTo>
                    <a:pt x="530" y="227"/>
                  </a:lnTo>
                  <a:lnTo>
                    <a:pt x="530" y="230"/>
                  </a:lnTo>
                  <a:lnTo>
                    <a:pt x="525" y="234"/>
                  </a:lnTo>
                  <a:lnTo>
                    <a:pt x="525" y="241"/>
                  </a:lnTo>
                  <a:lnTo>
                    <a:pt x="523" y="244"/>
                  </a:lnTo>
                  <a:lnTo>
                    <a:pt x="518" y="244"/>
                  </a:lnTo>
                  <a:lnTo>
                    <a:pt x="518" y="246"/>
                  </a:lnTo>
                  <a:lnTo>
                    <a:pt x="515" y="258"/>
                  </a:lnTo>
                  <a:lnTo>
                    <a:pt x="511" y="260"/>
                  </a:lnTo>
                  <a:lnTo>
                    <a:pt x="508" y="260"/>
                  </a:lnTo>
                  <a:lnTo>
                    <a:pt x="506" y="263"/>
                  </a:lnTo>
                  <a:lnTo>
                    <a:pt x="501" y="274"/>
                  </a:lnTo>
                  <a:lnTo>
                    <a:pt x="499" y="277"/>
                  </a:lnTo>
                  <a:lnTo>
                    <a:pt x="508" y="284"/>
                  </a:lnTo>
                  <a:lnTo>
                    <a:pt x="515" y="286"/>
                  </a:lnTo>
                  <a:lnTo>
                    <a:pt x="523" y="291"/>
                  </a:lnTo>
                  <a:lnTo>
                    <a:pt x="532" y="298"/>
                  </a:lnTo>
                  <a:lnTo>
                    <a:pt x="534" y="298"/>
                  </a:lnTo>
                  <a:lnTo>
                    <a:pt x="539" y="300"/>
                  </a:lnTo>
                  <a:lnTo>
                    <a:pt x="546" y="300"/>
                  </a:lnTo>
                  <a:lnTo>
                    <a:pt x="556" y="308"/>
                  </a:lnTo>
                  <a:lnTo>
                    <a:pt x="565" y="315"/>
                  </a:lnTo>
                  <a:lnTo>
                    <a:pt x="570" y="317"/>
                  </a:lnTo>
                  <a:lnTo>
                    <a:pt x="565" y="315"/>
                  </a:lnTo>
                  <a:lnTo>
                    <a:pt x="563" y="315"/>
                  </a:lnTo>
                  <a:lnTo>
                    <a:pt x="563" y="334"/>
                  </a:lnTo>
                  <a:lnTo>
                    <a:pt x="558" y="338"/>
                  </a:lnTo>
                  <a:lnTo>
                    <a:pt x="556" y="350"/>
                  </a:lnTo>
                  <a:lnTo>
                    <a:pt x="556" y="355"/>
                  </a:lnTo>
                  <a:lnTo>
                    <a:pt x="549" y="360"/>
                  </a:lnTo>
                  <a:lnTo>
                    <a:pt x="539" y="371"/>
                  </a:lnTo>
                  <a:lnTo>
                    <a:pt x="541" y="374"/>
                  </a:lnTo>
                  <a:lnTo>
                    <a:pt x="546" y="374"/>
                  </a:lnTo>
                  <a:lnTo>
                    <a:pt x="546" y="376"/>
                  </a:lnTo>
                  <a:lnTo>
                    <a:pt x="541" y="383"/>
                  </a:lnTo>
                  <a:lnTo>
                    <a:pt x="539" y="388"/>
                  </a:lnTo>
                  <a:lnTo>
                    <a:pt x="534" y="388"/>
                  </a:lnTo>
                  <a:lnTo>
                    <a:pt x="532" y="390"/>
                  </a:lnTo>
                  <a:lnTo>
                    <a:pt x="530" y="400"/>
                  </a:lnTo>
                  <a:lnTo>
                    <a:pt x="534" y="404"/>
                  </a:lnTo>
                  <a:lnTo>
                    <a:pt x="549" y="404"/>
                  </a:lnTo>
                  <a:lnTo>
                    <a:pt x="556" y="407"/>
                  </a:lnTo>
                  <a:lnTo>
                    <a:pt x="549" y="414"/>
                  </a:lnTo>
                  <a:lnTo>
                    <a:pt x="549" y="416"/>
                  </a:lnTo>
                  <a:lnTo>
                    <a:pt x="556" y="416"/>
                  </a:lnTo>
                  <a:lnTo>
                    <a:pt x="556" y="414"/>
                  </a:lnTo>
                  <a:lnTo>
                    <a:pt x="563" y="411"/>
                  </a:lnTo>
                  <a:lnTo>
                    <a:pt x="565" y="411"/>
                  </a:lnTo>
                  <a:lnTo>
                    <a:pt x="572" y="416"/>
                  </a:lnTo>
                  <a:lnTo>
                    <a:pt x="572" y="421"/>
                  </a:lnTo>
                  <a:lnTo>
                    <a:pt x="565" y="423"/>
                  </a:lnTo>
                  <a:lnTo>
                    <a:pt x="558" y="423"/>
                  </a:lnTo>
                  <a:lnTo>
                    <a:pt x="558" y="430"/>
                  </a:lnTo>
                  <a:lnTo>
                    <a:pt x="563" y="435"/>
                  </a:lnTo>
                  <a:lnTo>
                    <a:pt x="563" y="447"/>
                  </a:lnTo>
                  <a:lnTo>
                    <a:pt x="558" y="454"/>
                  </a:lnTo>
                  <a:lnTo>
                    <a:pt x="556" y="454"/>
                  </a:lnTo>
                  <a:lnTo>
                    <a:pt x="551" y="456"/>
                  </a:lnTo>
                  <a:lnTo>
                    <a:pt x="549" y="463"/>
                  </a:lnTo>
                  <a:lnTo>
                    <a:pt x="541" y="463"/>
                  </a:lnTo>
                  <a:lnTo>
                    <a:pt x="534" y="468"/>
                  </a:lnTo>
                  <a:lnTo>
                    <a:pt x="532" y="471"/>
                  </a:lnTo>
                  <a:lnTo>
                    <a:pt x="523" y="473"/>
                  </a:lnTo>
                  <a:lnTo>
                    <a:pt x="523" y="478"/>
                  </a:lnTo>
                  <a:lnTo>
                    <a:pt x="530" y="480"/>
                  </a:lnTo>
                  <a:lnTo>
                    <a:pt x="525" y="485"/>
                  </a:lnTo>
                  <a:lnTo>
                    <a:pt x="530" y="487"/>
                  </a:lnTo>
                  <a:lnTo>
                    <a:pt x="530" y="492"/>
                  </a:lnTo>
                  <a:lnTo>
                    <a:pt x="532" y="492"/>
                  </a:lnTo>
                  <a:lnTo>
                    <a:pt x="530" y="494"/>
                  </a:lnTo>
                  <a:lnTo>
                    <a:pt x="523" y="497"/>
                  </a:lnTo>
                  <a:lnTo>
                    <a:pt x="511" y="508"/>
                  </a:lnTo>
                  <a:lnTo>
                    <a:pt x="511" y="513"/>
                  </a:lnTo>
                  <a:lnTo>
                    <a:pt x="515" y="511"/>
                  </a:lnTo>
                  <a:lnTo>
                    <a:pt x="518" y="513"/>
                  </a:lnTo>
                  <a:lnTo>
                    <a:pt x="523" y="518"/>
                  </a:lnTo>
                  <a:lnTo>
                    <a:pt x="523" y="520"/>
                  </a:lnTo>
                  <a:lnTo>
                    <a:pt x="525" y="527"/>
                  </a:lnTo>
                  <a:lnTo>
                    <a:pt x="525" y="541"/>
                  </a:lnTo>
                  <a:lnTo>
                    <a:pt x="530" y="541"/>
                  </a:lnTo>
                  <a:lnTo>
                    <a:pt x="532" y="544"/>
                  </a:lnTo>
                  <a:lnTo>
                    <a:pt x="530" y="548"/>
                  </a:lnTo>
                  <a:lnTo>
                    <a:pt x="525" y="551"/>
                  </a:lnTo>
                  <a:lnTo>
                    <a:pt x="523" y="551"/>
                  </a:lnTo>
                  <a:lnTo>
                    <a:pt x="523" y="553"/>
                  </a:lnTo>
                  <a:lnTo>
                    <a:pt x="525" y="558"/>
                  </a:lnTo>
                  <a:lnTo>
                    <a:pt x="530" y="560"/>
                  </a:lnTo>
                  <a:lnTo>
                    <a:pt x="532" y="560"/>
                  </a:lnTo>
                  <a:lnTo>
                    <a:pt x="534" y="558"/>
                  </a:lnTo>
                  <a:lnTo>
                    <a:pt x="539" y="553"/>
                  </a:lnTo>
                  <a:lnTo>
                    <a:pt x="546" y="560"/>
                  </a:lnTo>
                  <a:lnTo>
                    <a:pt x="546" y="584"/>
                  </a:lnTo>
                  <a:lnTo>
                    <a:pt x="541" y="589"/>
                  </a:lnTo>
                  <a:lnTo>
                    <a:pt x="539" y="591"/>
                  </a:lnTo>
                  <a:lnTo>
                    <a:pt x="541" y="593"/>
                  </a:lnTo>
                  <a:lnTo>
                    <a:pt x="541" y="608"/>
                  </a:lnTo>
                  <a:lnTo>
                    <a:pt x="546" y="610"/>
                  </a:lnTo>
                  <a:lnTo>
                    <a:pt x="549" y="610"/>
                  </a:lnTo>
                  <a:lnTo>
                    <a:pt x="549" y="622"/>
                  </a:lnTo>
                  <a:lnTo>
                    <a:pt x="551" y="629"/>
                  </a:lnTo>
                  <a:lnTo>
                    <a:pt x="556" y="629"/>
                  </a:lnTo>
                  <a:lnTo>
                    <a:pt x="551" y="631"/>
                  </a:lnTo>
                  <a:lnTo>
                    <a:pt x="549" y="631"/>
                  </a:lnTo>
                  <a:lnTo>
                    <a:pt x="546" y="634"/>
                  </a:lnTo>
                  <a:lnTo>
                    <a:pt x="546" y="638"/>
                  </a:lnTo>
                  <a:lnTo>
                    <a:pt x="551" y="638"/>
                  </a:lnTo>
                  <a:lnTo>
                    <a:pt x="556" y="648"/>
                  </a:lnTo>
                  <a:lnTo>
                    <a:pt x="556" y="662"/>
                  </a:lnTo>
                  <a:lnTo>
                    <a:pt x="546" y="669"/>
                  </a:lnTo>
                  <a:lnTo>
                    <a:pt x="534" y="669"/>
                  </a:lnTo>
                  <a:lnTo>
                    <a:pt x="534" y="671"/>
                  </a:lnTo>
                  <a:lnTo>
                    <a:pt x="539" y="671"/>
                  </a:lnTo>
                  <a:lnTo>
                    <a:pt x="539" y="695"/>
                  </a:lnTo>
                  <a:lnTo>
                    <a:pt x="546" y="695"/>
                  </a:lnTo>
                  <a:lnTo>
                    <a:pt x="546" y="697"/>
                  </a:lnTo>
                  <a:lnTo>
                    <a:pt x="541" y="702"/>
                  </a:lnTo>
                  <a:lnTo>
                    <a:pt x="532" y="712"/>
                  </a:lnTo>
                  <a:lnTo>
                    <a:pt x="532" y="721"/>
                  </a:lnTo>
                  <a:lnTo>
                    <a:pt x="534" y="730"/>
                  </a:lnTo>
                  <a:lnTo>
                    <a:pt x="532" y="735"/>
                  </a:lnTo>
                  <a:lnTo>
                    <a:pt x="534" y="745"/>
                  </a:lnTo>
                  <a:lnTo>
                    <a:pt x="539" y="745"/>
                  </a:lnTo>
                  <a:lnTo>
                    <a:pt x="539" y="752"/>
                  </a:lnTo>
                  <a:lnTo>
                    <a:pt x="534" y="752"/>
                  </a:lnTo>
                  <a:lnTo>
                    <a:pt x="532" y="754"/>
                  </a:lnTo>
                  <a:lnTo>
                    <a:pt x="530" y="761"/>
                  </a:lnTo>
                  <a:lnTo>
                    <a:pt x="530" y="771"/>
                  </a:lnTo>
                  <a:lnTo>
                    <a:pt x="525" y="775"/>
                  </a:lnTo>
                  <a:lnTo>
                    <a:pt x="523" y="775"/>
                  </a:lnTo>
                  <a:lnTo>
                    <a:pt x="525" y="782"/>
                  </a:lnTo>
                  <a:lnTo>
                    <a:pt x="532" y="782"/>
                  </a:lnTo>
                  <a:lnTo>
                    <a:pt x="541" y="792"/>
                  </a:lnTo>
                  <a:lnTo>
                    <a:pt x="541" y="787"/>
                  </a:lnTo>
                  <a:lnTo>
                    <a:pt x="546" y="787"/>
                  </a:lnTo>
                  <a:lnTo>
                    <a:pt x="549" y="792"/>
                  </a:lnTo>
                  <a:lnTo>
                    <a:pt x="551" y="801"/>
                  </a:lnTo>
                  <a:lnTo>
                    <a:pt x="551" y="815"/>
                  </a:lnTo>
                  <a:lnTo>
                    <a:pt x="556" y="818"/>
                  </a:lnTo>
                  <a:lnTo>
                    <a:pt x="558" y="818"/>
                  </a:lnTo>
                  <a:lnTo>
                    <a:pt x="558" y="827"/>
                  </a:lnTo>
                  <a:lnTo>
                    <a:pt x="556" y="832"/>
                  </a:lnTo>
                  <a:lnTo>
                    <a:pt x="556" y="834"/>
                  </a:lnTo>
                  <a:lnTo>
                    <a:pt x="558" y="844"/>
                  </a:lnTo>
                  <a:lnTo>
                    <a:pt x="563" y="851"/>
                  </a:lnTo>
                  <a:lnTo>
                    <a:pt x="565" y="856"/>
                  </a:lnTo>
                  <a:lnTo>
                    <a:pt x="570" y="858"/>
                  </a:lnTo>
                  <a:lnTo>
                    <a:pt x="575" y="858"/>
                  </a:lnTo>
                  <a:lnTo>
                    <a:pt x="579" y="863"/>
                  </a:lnTo>
                  <a:lnTo>
                    <a:pt x="579" y="865"/>
                  </a:lnTo>
                  <a:lnTo>
                    <a:pt x="582" y="867"/>
                  </a:lnTo>
                  <a:lnTo>
                    <a:pt x="579" y="879"/>
                  </a:lnTo>
                  <a:lnTo>
                    <a:pt x="579" y="882"/>
                  </a:lnTo>
                  <a:lnTo>
                    <a:pt x="575" y="905"/>
                  </a:lnTo>
                  <a:lnTo>
                    <a:pt x="570" y="915"/>
                  </a:lnTo>
                  <a:lnTo>
                    <a:pt x="570" y="919"/>
                  </a:lnTo>
                  <a:lnTo>
                    <a:pt x="565" y="924"/>
                  </a:lnTo>
                  <a:lnTo>
                    <a:pt x="570" y="929"/>
                  </a:lnTo>
                  <a:lnTo>
                    <a:pt x="575" y="936"/>
                  </a:lnTo>
                  <a:lnTo>
                    <a:pt x="575" y="931"/>
                  </a:lnTo>
                  <a:lnTo>
                    <a:pt x="579" y="931"/>
                  </a:lnTo>
                  <a:lnTo>
                    <a:pt x="582" y="929"/>
                  </a:lnTo>
                  <a:lnTo>
                    <a:pt x="582" y="931"/>
                  </a:lnTo>
                  <a:lnTo>
                    <a:pt x="586" y="931"/>
                  </a:lnTo>
                  <a:lnTo>
                    <a:pt x="586" y="936"/>
                  </a:lnTo>
                  <a:lnTo>
                    <a:pt x="596" y="936"/>
                  </a:lnTo>
                  <a:lnTo>
                    <a:pt x="596" y="931"/>
                  </a:lnTo>
                  <a:lnTo>
                    <a:pt x="603" y="931"/>
                  </a:lnTo>
                  <a:lnTo>
                    <a:pt x="598" y="936"/>
                  </a:lnTo>
                  <a:lnTo>
                    <a:pt x="603" y="938"/>
                  </a:lnTo>
                  <a:lnTo>
                    <a:pt x="605" y="938"/>
                  </a:lnTo>
                  <a:lnTo>
                    <a:pt x="605" y="936"/>
                  </a:lnTo>
                  <a:lnTo>
                    <a:pt x="608" y="936"/>
                  </a:lnTo>
                  <a:lnTo>
                    <a:pt x="608" y="931"/>
                  </a:lnTo>
                  <a:lnTo>
                    <a:pt x="612" y="931"/>
                  </a:lnTo>
                  <a:lnTo>
                    <a:pt x="612" y="936"/>
                  </a:lnTo>
                  <a:lnTo>
                    <a:pt x="615" y="936"/>
                  </a:lnTo>
                  <a:lnTo>
                    <a:pt x="615" y="941"/>
                  </a:lnTo>
                  <a:lnTo>
                    <a:pt x="627" y="948"/>
                  </a:lnTo>
                  <a:lnTo>
                    <a:pt x="648" y="948"/>
                  </a:lnTo>
                  <a:lnTo>
                    <a:pt x="648" y="952"/>
                  </a:lnTo>
                  <a:lnTo>
                    <a:pt x="652" y="948"/>
                  </a:lnTo>
                  <a:lnTo>
                    <a:pt x="652" y="945"/>
                  </a:lnTo>
                  <a:lnTo>
                    <a:pt x="655" y="941"/>
                  </a:lnTo>
                  <a:lnTo>
                    <a:pt x="667" y="945"/>
                  </a:lnTo>
                  <a:lnTo>
                    <a:pt x="667" y="962"/>
                  </a:lnTo>
                  <a:lnTo>
                    <a:pt x="662" y="962"/>
                  </a:lnTo>
                  <a:lnTo>
                    <a:pt x="662" y="964"/>
                  </a:lnTo>
                  <a:lnTo>
                    <a:pt x="660" y="964"/>
                  </a:lnTo>
                  <a:lnTo>
                    <a:pt x="655" y="969"/>
                  </a:lnTo>
                  <a:lnTo>
                    <a:pt x="655" y="976"/>
                  </a:lnTo>
                  <a:lnTo>
                    <a:pt x="660" y="976"/>
                  </a:lnTo>
                  <a:lnTo>
                    <a:pt x="660" y="986"/>
                  </a:lnTo>
                  <a:lnTo>
                    <a:pt x="662" y="993"/>
                  </a:lnTo>
                  <a:lnTo>
                    <a:pt x="667" y="993"/>
                  </a:lnTo>
                  <a:lnTo>
                    <a:pt x="667" y="995"/>
                  </a:lnTo>
                  <a:lnTo>
                    <a:pt x="662" y="1000"/>
                  </a:lnTo>
                  <a:lnTo>
                    <a:pt x="662" y="1019"/>
                  </a:lnTo>
                  <a:lnTo>
                    <a:pt x="667" y="1021"/>
                  </a:lnTo>
                  <a:lnTo>
                    <a:pt x="667" y="1028"/>
                  </a:lnTo>
                  <a:lnTo>
                    <a:pt x="660" y="1033"/>
                  </a:lnTo>
                  <a:lnTo>
                    <a:pt x="662" y="1035"/>
                  </a:lnTo>
                  <a:lnTo>
                    <a:pt x="667" y="1033"/>
                  </a:lnTo>
                  <a:lnTo>
                    <a:pt x="669" y="1035"/>
                  </a:lnTo>
                  <a:lnTo>
                    <a:pt x="669" y="1038"/>
                  </a:lnTo>
                  <a:lnTo>
                    <a:pt x="667" y="1035"/>
                  </a:lnTo>
                  <a:lnTo>
                    <a:pt x="662" y="1035"/>
                  </a:lnTo>
                  <a:lnTo>
                    <a:pt x="638" y="1028"/>
                  </a:lnTo>
                  <a:lnTo>
                    <a:pt x="619" y="1021"/>
                  </a:lnTo>
                  <a:lnTo>
                    <a:pt x="598" y="1012"/>
                  </a:lnTo>
                  <a:lnTo>
                    <a:pt x="591" y="1012"/>
                  </a:lnTo>
                  <a:lnTo>
                    <a:pt x="579" y="1004"/>
                  </a:lnTo>
                  <a:lnTo>
                    <a:pt x="572" y="1004"/>
                  </a:lnTo>
                  <a:lnTo>
                    <a:pt x="549" y="995"/>
                  </a:lnTo>
                  <a:lnTo>
                    <a:pt x="541" y="993"/>
                  </a:lnTo>
                  <a:lnTo>
                    <a:pt x="492" y="976"/>
                  </a:lnTo>
                  <a:lnTo>
                    <a:pt x="466" y="962"/>
                  </a:lnTo>
                  <a:lnTo>
                    <a:pt x="459" y="962"/>
                  </a:lnTo>
                  <a:lnTo>
                    <a:pt x="452" y="960"/>
                  </a:lnTo>
                  <a:lnTo>
                    <a:pt x="438" y="952"/>
                  </a:lnTo>
                  <a:lnTo>
                    <a:pt x="426" y="948"/>
                  </a:lnTo>
                  <a:lnTo>
                    <a:pt x="409" y="938"/>
                  </a:lnTo>
                  <a:lnTo>
                    <a:pt x="397" y="936"/>
                  </a:lnTo>
                  <a:lnTo>
                    <a:pt x="393" y="931"/>
                  </a:lnTo>
                  <a:lnTo>
                    <a:pt x="386" y="929"/>
                  </a:lnTo>
                  <a:lnTo>
                    <a:pt x="371" y="924"/>
                  </a:lnTo>
                  <a:lnTo>
                    <a:pt x="364" y="919"/>
                  </a:lnTo>
                  <a:lnTo>
                    <a:pt x="348" y="912"/>
                  </a:lnTo>
                  <a:lnTo>
                    <a:pt x="336" y="905"/>
                  </a:lnTo>
                  <a:lnTo>
                    <a:pt x="324" y="903"/>
                  </a:lnTo>
                  <a:lnTo>
                    <a:pt x="317" y="898"/>
                  </a:lnTo>
                  <a:lnTo>
                    <a:pt x="298" y="889"/>
                  </a:lnTo>
                  <a:lnTo>
                    <a:pt x="275" y="879"/>
                  </a:lnTo>
                  <a:lnTo>
                    <a:pt x="258" y="867"/>
                  </a:lnTo>
                  <a:lnTo>
                    <a:pt x="244" y="863"/>
                  </a:lnTo>
                  <a:lnTo>
                    <a:pt x="227" y="856"/>
                  </a:lnTo>
                  <a:lnTo>
                    <a:pt x="204" y="841"/>
                  </a:lnTo>
                  <a:lnTo>
                    <a:pt x="192" y="834"/>
                  </a:lnTo>
                  <a:lnTo>
                    <a:pt x="180" y="832"/>
                  </a:lnTo>
                  <a:lnTo>
                    <a:pt x="175" y="827"/>
                  </a:lnTo>
                  <a:lnTo>
                    <a:pt x="161" y="818"/>
                  </a:lnTo>
                  <a:lnTo>
                    <a:pt x="147" y="811"/>
                  </a:lnTo>
                  <a:lnTo>
                    <a:pt x="142" y="808"/>
                  </a:lnTo>
                  <a:lnTo>
                    <a:pt x="135" y="804"/>
                  </a:lnTo>
                  <a:lnTo>
                    <a:pt x="130" y="801"/>
                  </a:lnTo>
                  <a:lnTo>
                    <a:pt x="114" y="794"/>
                  </a:lnTo>
                  <a:lnTo>
                    <a:pt x="88" y="778"/>
                  </a:lnTo>
                  <a:lnTo>
                    <a:pt x="81" y="775"/>
                  </a:lnTo>
                  <a:lnTo>
                    <a:pt x="78" y="771"/>
                  </a:lnTo>
                  <a:lnTo>
                    <a:pt x="71" y="768"/>
                  </a:lnTo>
                  <a:lnTo>
                    <a:pt x="64" y="766"/>
                  </a:lnTo>
                  <a:lnTo>
                    <a:pt x="62" y="761"/>
                  </a:lnTo>
                  <a:lnTo>
                    <a:pt x="57" y="761"/>
                  </a:lnTo>
                  <a:lnTo>
                    <a:pt x="57" y="75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49" name="Freeform 30">
              <a:extLst>
                <a:ext uri="{FF2B5EF4-FFF2-40B4-BE49-F238E27FC236}">
                  <a16:creationId xmlns:a16="http://schemas.microsoft.com/office/drawing/2014/main" id="{1C3FDC01-6307-485B-A7C1-5817A5578D02}"/>
                </a:ext>
              </a:extLst>
            </p:cNvPr>
            <p:cNvSpPr>
              <a:spLocks/>
            </p:cNvSpPr>
            <p:nvPr/>
          </p:nvSpPr>
          <p:spPr bwMode="gray">
            <a:xfrm rot="47099">
              <a:off x="922434" y="1925664"/>
              <a:ext cx="7125" cy="5789"/>
            </a:xfrm>
            <a:custGeom>
              <a:avLst/>
              <a:gdLst>
                <a:gd name="T0" fmla="*/ 5 w 15"/>
                <a:gd name="T1" fmla="*/ 12 h 12"/>
                <a:gd name="T2" fmla="*/ 0 w 15"/>
                <a:gd name="T3" fmla="*/ 4 h 12"/>
                <a:gd name="T4" fmla="*/ 5 w 15"/>
                <a:gd name="T5" fmla="*/ 0 h 12"/>
                <a:gd name="T6" fmla="*/ 10 w 15"/>
                <a:gd name="T7" fmla="*/ 0 h 12"/>
                <a:gd name="T8" fmla="*/ 10 w 15"/>
                <a:gd name="T9" fmla="*/ 4 h 12"/>
                <a:gd name="T10" fmla="*/ 15 w 15"/>
                <a:gd name="T11" fmla="*/ 4 h 12"/>
                <a:gd name="T12" fmla="*/ 15 w 15"/>
                <a:gd name="T13" fmla="*/ 12 h 12"/>
                <a:gd name="T14" fmla="*/ 10 w 15"/>
                <a:gd name="T15" fmla="*/ 12 h 12"/>
                <a:gd name="T16" fmla="*/ 10 w 15"/>
                <a:gd name="T17" fmla="*/ 7 h 12"/>
                <a:gd name="T18" fmla="*/ 8 w 15"/>
                <a:gd name="T19" fmla="*/ 7 h 12"/>
                <a:gd name="T20" fmla="*/ 5 w 15"/>
                <a:gd name="T21" fmla="*/ 1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12"/>
                <a:gd name="T35" fmla="*/ 15 w 15"/>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12">
                  <a:moveTo>
                    <a:pt x="5" y="12"/>
                  </a:moveTo>
                  <a:lnTo>
                    <a:pt x="0" y="4"/>
                  </a:lnTo>
                  <a:lnTo>
                    <a:pt x="5" y="0"/>
                  </a:lnTo>
                  <a:lnTo>
                    <a:pt x="10" y="0"/>
                  </a:lnTo>
                  <a:lnTo>
                    <a:pt x="10" y="4"/>
                  </a:lnTo>
                  <a:lnTo>
                    <a:pt x="15" y="4"/>
                  </a:lnTo>
                  <a:lnTo>
                    <a:pt x="15" y="12"/>
                  </a:lnTo>
                  <a:lnTo>
                    <a:pt x="10" y="12"/>
                  </a:lnTo>
                  <a:lnTo>
                    <a:pt x="10" y="7"/>
                  </a:lnTo>
                  <a:lnTo>
                    <a:pt x="8" y="7"/>
                  </a:lnTo>
                  <a:lnTo>
                    <a:pt x="5"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0" name="Freeform 31">
              <a:extLst>
                <a:ext uri="{FF2B5EF4-FFF2-40B4-BE49-F238E27FC236}">
                  <a16:creationId xmlns:a16="http://schemas.microsoft.com/office/drawing/2014/main" id="{5E93A2C8-E164-4288-A933-7DF4914CDC7C}"/>
                </a:ext>
              </a:extLst>
            </p:cNvPr>
            <p:cNvSpPr>
              <a:spLocks/>
            </p:cNvSpPr>
            <p:nvPr/>
          </p:nvSpPr>
          <p:spPr bwMode="gray">
            <a:xfrm rot="47099">
              <a:off x="2656500" y="2646072"/>
              <a:ext cx="3563" cy="12543"/>
            </a:xfrm>
            <a:custGeom>
              <a:avLst/>
              <a:gdLst>
                <a:gd name="T0" fmla="*/ 3 w 8"/>
                <a:gd name="T1" fmla="*/ 7 h 26"/>
                <a:gd name="T2" fmla="*/ 8 w 8"/>
                <a:gd name="T3" fmla="*/ 9 h 26"/>
                <a:gd name="T4" fmla="*/ 8 w 8"/>
                <a:gd name="T5" fmla="*/ 26 h 26"/>
                <a:gd name="T6" fmla="*/ 3 w 8"/>
                <a:gd name="T7" fmla="*/ 26 h 26"/>
                <a:gd name="T8" fmla="*/ 3 w 8"/>
                <a:gd name="T9" fmla="*/ 14 h 26"/>
                <a:gd name="T10" fmla="*/ 0 w 8"/>
                <a:gd name="T11" fmla="*/ 9 h 26"/>
                <a:gd name="T12" fmla="*/ 0 w 8"/>
                <a:gd name="T13" fmla="*/ 0 h 26"/>
                <a:gd name="T14" fmla="*/ 3 w 8"/>
                <a:gd name="T15" fmla="*/ 7 h 26"/>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6"/>
                <a:gd name="T26" fmla="*/ 8 w 8"/>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6">
                  <a:moveTo>
                    <a:pt x="3" y="7"/>
                  </a:moveTo>
                  <a:lnTo>
                    <a:pt x="8" y="9"/>
                  </a:lnTo>
                  <a:lnTo>
                    <a:pt x="8" y="26"/>
                  </a:lnTo>
                  <a:lnTo>
                    <a:pt x="3" y="26"/>
                  </a:lnTo>
                  <a:lnTo>
                    <a:pt x="3" y="14"/>
                  </a:lnTo>
                  <a:lnTo>
                    <a:pt x="0" y="9"/>
                  </a:lnTo>
                  <a:lnTo>
                    <a:pt x="0" y="0"/>
                  </a:lnTo>
                  <a:lnTo>
                    <a:pt x="3"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1" name="Freeform 32">
              <a:extLst>
                <a:ext uri="{FF2B5EF4-FFF2-40B4-BE49-F238E27FC236}">
                  <a16:creationId xmlns:a16="http://schemas.microsoft.com/office/drawing/2014/main" id="{CF797CA3-41FB-4F6A-9F0A-FE7BAC4D8C0A}"/>
                </a:ext>
              </a:extLst>
            </p:cNvPr>
            <p:cNvSpPr>
              <a:spLocks/>
            </p:cNvSpPr>
            <p:nvPr/>
          </p:nvSpPr>
          <p:spPr bwMode="gray">
            <a:xfrm rot="47099">
              <a:off x="2612567" y="2671541"/>
              <a:ext cx="6235" cy="3860"/>
            </a:xfrm>
            <a:custGeom>
              <a:avLst/>
              <a:gdLst>
                <a:gd name="T0" fmla="*/ 7 w 14"/>
                <a:gd name="T1" fmla="*/ 0 h 10"/>
                <a:gd name="T2" fmla="*/ 7 w 14"/>
                <a:gd name="T3" fmla="*/ 3 h 10"/>
                <a:gd name="T4" fmla="*/ 14 w 14"/>
                <a:gd name="T5" fmla="*/ 3 h 10"/>
                <a:gd name="T6" fmla="*/ 12 w 14"/>
                <a:gd name="T7" fmla="*/ 3 h 10"/>
                <a:gd name="T8" fmla="*/ 12 w 14"/>
                <a:gd name="T9" fmla="*/ 7 h 10"/>
                <a:gd name="T10" fmla="*/ 7 w 14"/>
                <a:gd name="T11" fmla="*/ 7 h 10"/>
                <a:gd name="T12" fmla="*/ 0 w 14"/>
                <a:gd name="T13" fmla="*/ 10 h 10"/>
                <a:gd name="T14" fmla="*/ 0 w 14"/>
                <a:gd name="T15" fmla="*/ 7 h 10"/>
                <a:gd name="T16" fmla="*/ 5 w 14"/>
                <a:gd name="T17" fmla="*/ 3 h 10"/>
                <a:gd name="T18" fmla="*/ 7 w 14"/>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0"/>
                <a:gd name="T32" fmla="*/ 14 w 14"/>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0">
                  <a:moveTo>
                    <a:pt x="7" y="0"/>
                  </a:moveTo>
                  <a:lnTo>
                    <a:pt x="7" y="3"/>
                  </a:lnTo>
                  <a:lnTo>
                    <a:pt x="14" y="3"/>
                  </a:lnTo>
                  <a:lnTo>
                    <a:pt x="12" y="3"/>
                  </a:lnTo>
                  <a:lnTo>
                    <a:pt x="12" y="7"/>
                  </a:lnTo>
                  <a:lnTo>
                    <a:pt x="7" y="7"/>
                  </a:lnTo>
                  <a:lnTo>
                    <a:pt x="0" y="10"/>
                  </a:lnTo>
                  <a:lnTo>
                    <a:pt x="0" y="7"/>
                  </a:lnTo>
                  <a:lnTo>
                    <a:pt x="5" y="3"/>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2" name="Freeform 33">
              <a:extLst>
                <a:ext uri="{FF2B5EF4-FFF2-40B4-BE49-F238E27FC236}">
                  <a16:creationId xmlns:a16="http://schemas.microsoft.com/office/drawing/2014/main" id="{B9926A09-E572-4CFB-8CCA-770456DA19E7}"/>
                </a:ext>
              </a:extLst>
            </p:cNvPr>
            <p:cNvSpPr>
              <a:spLocks/>
            </p:cNvSpPr>
            <p:nvPr/>
          </p:nvSpPr>
          <p:spPr bwMode="gray">
            <a:xfrm rot="47099">
              <a:off x="2648914" y="2616111"/>
              <a:ext cx="11578" cy="9649"/>
            </a:xfrm>
            <a:custGeom>
              <a:avLst/>
              <a:gdLst>
                <a:gd name="T0" fmla="*/ 16 w 24"/>
                <a:gd name="T1" fmla="*/ 2 h 21"/>
                <a:gd name="T2" fmla="*/ 16 w 24"/>
                <a:gd name="T3" fmla="*/ 0 h 21"/>
                <a:gd name="T4" fmla="*/ 19 w 24"/>
                <a:gd name="T5" fmla="*/ 0 h 21"/>
                <a:gd name="T6" fmla="*/ 19 w 24"/>
                <a:gd name="T7" fmla="*/ 2 h 21"/>
                <a:gd name="T8" fmla="*/ 24 w 24"/>
                <a:gd name="T9" fmla="*/ 9 h 21"/>
                <a:gd name="T10" fmla="*/ 19 w 24"/>
                <a:gd name="T11" fmla="*/ 14 h 21"/>
                <a:gd name="T12" fmla="*/ 9 w 24"/>
                <a:gd name="T13" fmla="*/ 21 h 21"/>
                <a:gd name="T14" fmla="*/ 7 w 24"/>
                <a:gd name="T15" fmla="*/ 21 h 21"/>
                <a:gd name="T16" fmla="*/ 0 w 24"/>
                <a:gd name="T17" fmla="*/ 16 h 21"/>
                <a:gd name="T18" fmla="*/ 0 w 24"/>
                <a:gd name="T19" fmla="*/ 14 h 21"/>
                <a:gd name="T20" fmla="*/ 2 w 24"/>
                <a:gd name="T21" fmla="*/ 14 h 21"/>
                <a:gd name="T22" fmla="*/ 14 w 24"/>
                <a:gd name="T23" fmla="*/ 9 h 21"/>
                <a:gd name="T24" fmla="*/ 14 w 24"/>
                <a:gd name="T25" fmla="*/ 7 h 21"/>
                <a:gd name="T26" fmla="*/ 16 w 24"/>
                <a:gd name="T27" fmla="*/ 7 h 21"/>
                <a:gd name="T28" fmla="*/ 16 w 24"/>
                <a:gd name="T29" fmla="*/ 2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21"/>
                <a:gd name="T47" fmla="*/ 24 w 24"/>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21">
                  <a:moveTo>
                    <a:pt x="16" y="2"/>
                  </a:moveTo>
                  <a:lnTo>
                    <a:pt x="16" y="0"/>
                  </a:lnTo>
                  <a:lnTo>
                    <a:pt x="19" y="0"/>
                  </a:lnTo>
                  <a:lnTo>
                    <a:pt x="19" y="2"/>
                  </a:lnTo>
                  <a:lnTo>
                    <a:pt x="24" y="9"/>
                  </a:lnTo>
                  <a:lnTo>
                    <a:pt x="19" y="14"/>
                  </a:lnTo>
                  <a:lnTo>
                    <a:pt x="9" y="21"/>
                  </a:lnTo>
                  <a:lnTo>
                    <a:pt x="7" y="21"/>
                  </a:lnTo>
                  <a:lnTo>
                    <a:pt x="0" y="16"/>
                  </a:lnTo>
                  <a:lnTo>
                    <a:pt x="0" y="14"/>
                  </a:lnTo>
                  <a:lnTo>
                    <a:pt x="2" y="14"/>
                  </a:lnTo>
                  <a:lnTo>
                    <a:pt x="14" y="9"/>
                  </a:lnTo>
                  <a:lnTo>
                    <a:pt x="14" y="7"/>
                  </a:lnTo>
                  <a:lnTo>
                    <a:pt x="16" y="7"/>
                  </a:lnTo>
                  <a:lnTo>
                    <a:pt x="16"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3" name="Freeform 34">
              <a:extLst>
                <a:ext uri="{FF2B5EF4-FFF2-40B4-BE49-F238E27FC236}">
                  <a16:creationId xmlns:a16="http://schemas.microsoft.com/office/drawing/2014/main" id="{46068871-4F57-434F-B245-8DC7B60F6BDE}"/>
                </a:ext>
              </a:extLst>
            </p:cNvPr>
            <p:cNvSpPr>
              <a:spLocks/>
            </p:cNvSpPr>
            <p:nvPr/>
          </p:nvSpPr>
          <p:spPr bwMode="gray">
            <a:xfrm rot="47099">
              <a:off x="2595088" y="2577711"/>
              <a:ext cx="7125" cy="12543"/>
            </a:xfrm>
            <a:custGeom>
              <a:avLst/>
              <a:gdLst>
                <a:gd name="T0" fmla="*/ 14 w 16"/>
                <a:gd name="T1" fmla="*/ 5 h 26"/>
                <a:gd name="T2" fmla="*/ 16 w 16"/>
                <a:gd name="T3" fmla="*/ 5 h 26"/>
                <a:gd name="T4" fmla="*/ 16 w 16"/>
                <a:gd name="T5" fmla="*/ 10 h 26"/>
                <a:gd name="T6" fmla="*/ 12 w 16"/>
                <a:gd name="T7" fmla="*/ 24 h 26"/>
                <a:gd name="T8" fmla="*/ 7 w 16"/>
                <a:gd name="T9" fmla="*/ 24 h 26"/>
                <a:gd name="T10" fmla="*/ 7 w 16"/>
                <a:gd name="T11" fmla="*/ 26 h 26"/>
                <a:gd name="T12" fmla="*/ 0 w 16"/>
                <a:gd name="T13" fmla="*/ 22 h 26"/>
                <a:gd name="T14" fmla="*/ 0 w 16"/>
                <a:gd name="T15" fmla="*/ 17 h 26"/>
                <a:gd name="T16" fmla="*/ 12 w 16"/>
                <a:gd name="T17" fmla="*/ 17 h 26"/>
                <a:gd name="T18" fmla="*/ 14 w 16"/>
                <a:gd name="T19" fmla="*/ 8 h 26"/>
                <a:gd name="T20" fmla="*/ 14 w 16"/>
                <a:gd name="T21" fmla="*/ 0 h 26"/>
                <a:gd name="T22" fmla="*/ 14 w 16"/>
                <a:gd name="T23" fmla="*/ 5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6"/>
                <a:gd name="T38" fmla="*/ 16 w 1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6">
                  <a:moveTo>
                    <a:pt x="14" y="5"/>
                  </a:moveTo>
                  <a:lnTo>
                    <a:pt x="16" y="5"/>
                  </a:lnTo>
                  <a:lnTo>
                    <a:pt x="16" y="10"/>
                  </a:lnTo>
                  <a:lnTo>
                    <a:pt x="12" y="24"/>
                  </a:lnTo>
                  <a:lnTo>
                    <a:pt x="7" y="24"/>
                  </a:lnTo>
                  <a:lnTo>
                    <a:pt x="7" y="26"/>
                  </a:lnTo>
                  <a:lnTo>
                    <a:pt x="0" y="22"/>
                  </a:lnTo>
                  <a:lnTo>
                    <a:pt x="0" y="17"/>
                  </a:lnTo>
                  <a:lnTo>
                    <a:pt x="12" y="17"/>
                  </a:lnTo>
                  <a:lnTo>
                    <a:pt x="14" y="8"/>
                  </a:lnTo>
                  <a:lnTo>
                    <a:pt x="14" y="0"/>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4" name="Freeform 35">
              <a:extLst>
                <a:ext uri="{FF2B5EF4-FFF2-40B4-BE49-F238E27FC236}">
                  <a16:creationId xmlns:a16="http://schemas.microsoft.com/office/drawing/2014/main" id="{CF210C2A-65ED-4580-9E31-CD5EBF82F7A2}"/>
                </a:ext>
              </a:extLst>
            </p:cNvPr>
            <p:cNvSpPr>
              <a:spLocks/>
            </p:cNvSpPr>
            <p:nvPr/>
          </p:nvSpPr>
          <p:spPr bwMode="gray">
            <a:xfrm rot="47099">
              <a:off x="2605920" y="2569174"/>
              <a:ext cx="7125" cy="8683"/>
            </a:xfrm>
            <a:custGeom>
              <a:avLst/>
              <a:gdLst>
                <a:gd name="T0" fmla="*/ 12 w 15"/>
                <a:gd name="T1" fmla="*/ 2 h 18"/>
                <a:gd name="T2" fmla="*/ 15 w 15"/>
                <a:gd name="T3" fmla="*/ 2 h 18"/>
                <a:gd name="T4" fmla="*/ 15 w 15"/>
                <a:gd name="T5" fmla="*/ 4 h 18"/>
                <a:gd name="T6" fmla="*/ 8 w 15"/>
                <a:gd name="T7" fmla="*/ 18 h 18"/>
                <a:gd name="T8" fmla="*/ 5 w 15"/>
                <a:gd name="T9" fmla="*/ 16 h 18"/>
                <a:gd name="T10" fmla="*/ 0 w 15"/>
                <a:gd name="T11" fmla="*/ 11 h 18"/>
                <a:gd name="T12" fmla="*/ 0 w 15"/>
                <a:gd name="T13" fmla="*/ 4 h 18"/>
                <a:gd name="T14" fmla="*/ 5 w 15"/>
                <a:gd name="T15" fmla="*/ 2 h 18"/>
                <a:gd name="T16" fmla="*/ 8 w 15"/>
                <a:gd name="T17" fmla="*/ 0 h 18"/>
                <a:gd name="T18" fmla="*/ 12 w 15"/>
                <a:gd name="T19" fmla="*/ 2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8"/>
                <a:gd name="T32" fmla="*/ 15 w 15"/>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8">
                  <a:moveTo>
                    <a:pt x="12" y="2"/>
                  </a:moveTo>
                  <a:lnTo>
                    <a:pt x="15" y="2"/>
                  </a:lnTo>
                  <a:lnTo>
                    <a:pt x="15" y="4"/>
                  </a:lnTo>
                  <a:lnTo>
                    <a:pt x="8" y="18"/>
                  </a:lnTo>
                  <a:lnTo>
                    <a:pt x="5" y="16"/>
                  </a:lnTo>
                  <a:lnTo>
                    <a:pt x="0" y="11"/>
                  </a:lnTo>
                  <a:lnTo>
                    <a:pt x="0" y="4"/>
                  </a:lnTo>
                  <a:lnTo>
                    <a:pt x="5" y="2"/>
                  </a:lnTo>
                  <a:lnTo>
                    <a:pt x="8" y="0"/>
                  </a:lnTo>
                  <a:lnTo>
                    <a:pt x="1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5" name="Freeform 36">
              <a:extLst>
                <a:ext uri="{FF2B5EF4-FFF2-40B4-BE49-F238E27FC236}">
                  <a16:creationId xmlns:a16="http://schemas.microsoft.com/office/drawing/2014/main" id="{589DB178-84E4-4412-AD14-A68CA9A289B1}"/>
                </a:ext>
              </a:extLst>
            </p:cNvPr>
            <p:cNvSpPr>
              <a:spLocks/>
            </p:cNvSpPr>
            <p:nvPr/>
          </p:nvSpPr>
          <p:spPr bwMode="gray">
            <a:xfrm rot="47099">
              <a:off x="2552759" y="2551054"/>
              <a:ext cx="3563" cy="3860"/>
            </a:xfrm>
            <a:custGeom>
              <a:avLst/>
              <a:gdLst>
                <a:gd name="T0" fmla="*/ 7 w 7"/>
                <a:gd name="T1" fmla="*/ 4 h 9"/>
                <a:gd name="T2" fmla="*/ 7 w 7"/>
                <a:gd name="T3" fmla="*/ 9 h 9"/>
                <a:gd name="T4" fmla="*/ 0 w 7"/>
                <a:gd name="T5" fmla="*/ 9 h 9"/>
                <a:gd name="T6" fmla="*/ 0 w 7"/>
                <a:gd name="T7" fmla="*/ 4 h 9"/>
                <a:gd name="T8" fmla="*/ 7 w 7"/>
                <a:gd name="T9" fmla="*/ 0 h 9"/>
                <a:gd name="T10" fmla="*/ 7 w 7"/>
                <a:gd name="T11" fmla="*/ 4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7" y="4"/>
                  </a:moveTo>
                  <a:lnTo>
                    <a:pt x="7" y="9"/>
                  </a:lnTo>
                  <a:lnTo>
                    <a:pt x="0" y="9"/>
                  </a:lnTo>
                  <a:lnTo>
                    <a:pt x="0" y="4"/>
                  </a:lnTo>
                  <a:lnTo>
                    <a:pt x="7" y="0"/>
                  </a:lnTo>
                  <a:lnTo>
                    <a:pt x="7"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6" name="Freeform 37">
              <a:extLst>
                <a:ext uri="{FF2B5EF4-FFF2-40B4-BE49-F238E27FC236}">
                  <a16:creationId xmlns:a16="http://schemas.microsoft.com/office/drawing/2014/main" id="{821C00F2-1ABD-4E18-A12E-0847D3088C31}"/>
                </a:ext>
              </a:extLst>
            </p:cNvPr>
            <p:cNvSpPr>
              <a:spLocks/>
            </p:cNvSpPr>
            <p:nvPr/>
          </p:nvSpPr>
          <p:spPr bwMode="gray">
            <a:xfrm rot="47099">
              <a:off x="2515274" y="2524794"/>
              <a:ext cx="187919" cy="198755"/>
            </a:xfrm>
            <a:custGeom>
              <a:avLst/>
              <a:gdLst>
                <a:gd name="T0" fmla="*/ 290 w 404"/>
                <a:gd name="T1" fmla="*/ 165 h 427"/>
                <a:gd name="T2" fmla="*/ 314 w 404"/>
                <a:gd name="T3" fmla="*/ 163 h 427"/>
                <a:gd name="T4" fmla="*/ 283 w 404"/>
                <a:gd name="T5" fmla="*/ 210 h 427"/>
                <a:gd name="T6" fmla="*/ 302 w 404"/>
                <a:gd name="T7" fmla="*/ 219 h 427"/>
                <a:gd name="T8" fmla="*/ 314 w 404"/>
                <a:gd name="T9" fmla="*/ 238 h 427"/>
                <a:gd name="T10" fmla="*/ 328 w 404"/>
                <a:gd name="T11" fmla="*/ 226 h 427"/>
                <a:gd name="T12" fmla="*/ 338 w 404"/>
                <a:gd name="T13" fmla="*/ 179 h 427"/>
                <a:gd name="T14" fmla="*/ 347 w 404"/>
                <a:gd name="T15" fmla="*/ 229 h 427"/>
                <a:gd name="T16" fmla="*/ 364 w 404"/>
                <a:gd name="T17" fmla="*/ 212 h 427"/>
                <a:gd name="T18" fmla="*/ 392 w 404"/>
                <a:gd name="T19" fmla="*/ 252 h 427"/>
                <a:gd name="T20" fmla="*/ 387 w 404"/>
                <a:gd name="T21" fmla="*/ 302 h 427"/>
                <a:gd name="T22" fmla="*/ 361 w 404"/>
                <a:gd name="T23" fmla="*/ 283 h 427"/>
                <a:gd name="T24" fmla="*/ 338 w 404"/>
                <a:gd name="T25" fmla="*/ 307 h 427"/>
                <a:gd name="T26" fmla="*/ 321 w 404"/>
                <a:gd name="T27" fmla="*/ 257 h 427"/>
                <a:gd name="T28" fmla="*/ 302 w 404"/>
                <a:gd name="T29" fmla="*/ 286 h 427"/>
                <a:gd name="T30" fmla="*/ 288 w 404"/>
                <a:gd name="T31" fmla="*/ 302 h 427"/>
                <a:gd name="T32" fmla="*/ 283 w 404"/>
                <a:gd name="T33" fmla="*/ 359 h 427"/>
                <a:gd name="T34" fmla="*/ 248 w 404"/>
                <a:gd name="T35" fmla="*/ 371 h 427"/>
                <a:gd name="T36" fmla="*/ 267 w 404"/>
                <a:gd name="T37" fmla="*/ 323 h 427"/>
                <a:gd name="T38" fmla="*/ 267 w 404"/>
                <a:gd name="T39" fmla="*/ 290 h 427"/>
                <a:gd name="T40" fmla="*/ 241 w 404"/>
                <a:gd name="T41" fmla="*/ 302 h 427"/>
                <a:gd name="T42" fmla="*/ 241 w 404"/>
                <a:gd name="T43" fmla="*/ 323 h 427"/>
                <a:gd name="T44" fmla="*/ 224 w 404"/>
                <a:gd name="T45" fmla="*/ 333 h 427"/>
                <a:gd name="T46" fmla="*/ 226 w 404"/>
                <a:gd name="T47" fmla="*/ 314 h 427"/>
                <a:gd name="T48" fmla="*/ 215 w 404"/>
                <a:gd name="T49" fmla="*/ 300 h 427"/>
                <a:gd name="T50" fmla="*/ 208 w 404"/>
                <a:gd name="T51" fmla="*/ 330 h 427"/>
                <a:gd name="T52" fmla="*/ 182 w 404"/>
                <a:gd name="T53" fmla="*/ 356 h 427"/>
                <a:gd name="T54" fmla="*/ 97 w 404"/>
                <a:gd name="T55" fmla="*/ 394 h 427"/>
                <a:gd name="T56" fmla="*/ 54 w 404"/>
                <a:gd name="T57" fmla="*/ 427 h 427"/>
                <a:gd name="T58" fmla="*/ 38 w 404"/>
                <a:gd name="T59" fmla="*/ 389 h 427"/>
                <a:gd name="T60" fmla="*/ 54 w 404"/>
                <a:gd name="T61" fmla="*/ 340 h 427"/>
                <a:gd name="T62" fmla="*/ 33 w 404"/>
                <a:gd name="T63" fmla="*/ 340 h 427"/>
                <a:gd name="T64" fmla="*/ 16 w 404"/>
                <a:gd name="T65" fmla="*/ 342 h 427"/>
                <a:gd name="T66" fmla="*/ 23 w 404"/>
                <a:gd name="T67" fmla="*/ 335 h 427"/>
                <a:gd name="T68" fmla="*/ 30 w 404"/>
                <a:gd name="T69" fmla="*/ 293 h 427"/>
                <a:gd name="T70" fmla="*/ 45 w 404"/>
                <a:gd name="T71" fmla="*/ 276 h 427"/>
                <a:gd name="T72" fmla="*/ 47 w 404"/>
                <a:gd name="T73" fmla="*/ 276 h 427"/>
                <a:gd name="T74" fmla="*/ 40 w 404"/>
                <a:gd name="T75" fmla="*/ 267 h 427"/>
                <a:gd name="T76" fmla="*/ 23 w 404"/>
                <a:gd name="T77" fmla="*/ 252 h 427"/>
                <a:gd name="T78" fmla="*/ 23 w 404"/>
                <a:gd name="T79" fmla="*/ 222 h 427"/>
                <a:gd name="T80" fmla="*/ 12 w 404"/>
                <a:gd name="T81" fmla="*/ 148 h 427"/>
                <a:gd name="T82" fmla="*/ 7 w 404"/>
                <a:gd name="T83" fmla="*/ 120 h 427"/>
                <a:gd name="T84" fmla="*/ 7 w 404"/>
                <a:gd name="T85" fmla="*/ 73 h 427"/>
                <a:gd name="T86" fmla="*/ 21 w 404"/>
                <a:gd name="T87" fmla="*/ 16 h 427"/>
                <a:gd name="T88" fmla="*/ 38 w 404"/>
                <a:gd name="T89" fmla="*/ 11 h 427"/>
                <a:gd name="T90" fmla="*/ 52 w 404"/>
                <a:gd name="T91" fmla="*/ 9 h 427"/>
                <a:gd name="T92" fmla="*/ 40 w 404"/>
                <a:gd name="T93" fmla="*/ 42 h 427"/>
                <a:gd name="T94" fmla="*/ 54 w 404"/>
                <a:gd name="T95" fmla="*/ 82 h 427"/>
                <a:gd name="T96" fmla="*/ 63 w 404"/>
                <a:gd name="T97" fmla="*/ 163 h 427"/>
                <a:gd name="T98" fmla="*/ 80 w 404"/>
                <a:gd name="T99" fmla="*/ 198 h 427"/>
                <a:gd name="T100" fmla="*/ 108 w 404"/>
                <a:gd name="T101" fmla="*/ 132 h 427"/>
                <a:gd name="T102" fmla="*/ 113 w 404"/>
                <a:gd name="T103" fmla="*/ 156 h 427"/>
                <a:gd name="T104" fmla="*/ 120 w 404"/>
                <a:gd name="T105" fmla="*/ 177 h 427"/>
                <a:gd name="T106" fmla="*/ 144 w 404"/>
                <a:gd name="T107" fmla="*/ 177 h 427"/>
                <a:gd name="T108" fmla="*/ 153 w 404"/>
                <a:gd name="T109" fmla="*/ 156 h 427"/>
                <a:gd name="T110" fmla="*/ 158 w 404"/>
                <a:gd name="T111" fmla="*/ 148 h 427"/>
                <a:gd name="T112" fmla="*/ 177 w 404"/>
                <a:gd name="T113" fmla="*/ 193 h 427"/>
                <a:gd name="T114" fmla="*/ 191 w 404"/>
                <a:gd name="T115" fmla="*/ 125 h 427"/>
                <a:gd name="T116" fmla="*/ 205 w 404"/>
                <a:gd name="T117" fmla="*/ 130 h 427"/>
                <a:gd name="T118" fmla="*/ 250 w 404"/>
                <a:gd name="T119" fmla="*/ 141 h 427"/>
                <a:gd name="T120" fmla="*/ 262 w 404"/>
                <a:gd name="T121" fmla="*/ 160 h 427"/>
                <a:gd name="T122" fmla="*/ 278 w 404"/>
                <a:gd name="T123" fmla="*/ 163 h 427"/>
                <a:gd name="T124" fmla="*/ 274 w 404"/>
                <a:gd name="T125" fmla="*/ 177 h 4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04"/>
                <a:gd name="T190" fmla="*/ 0 h 427"/>
                <a:gd name="T191" fmla="*/ 404 w 404"/>
                <a:gd name="T192" fmla="*/ 427 h 4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04" h="427">
                  <a:moveTo>
                    <a:pt x="281" y="179"/>
                  </a:moveTo>
                  <a:lnTo>
                    <a:pt x="281" y="177"/>
                  </a:lnTo>
                  <a:lnTo>
                    <a:pt x="283" y="172"/>
                  </a:lnTo>
                  <a:lnTo>
                    <a:pt x="288" y="172"/>
                  </a:lnTo>
                  <a:lnTo>
                    <a:pt x="288" y="177"/>
                  </a:lnTo>
                  <a:lnTo>
                    <a:pt x="290" y="177"/>
                  </a:lnTo>
                  <a:lnTo>
                    <a:pt x="290" y="182"/>
                  </a:lnTo>
                  <a:lnTo>
                    <a:pt x="290" y="165"/>
                  </a:lnTo>
                  <a:lnTo>
                    <a:pt x="288" y="163"/>
                  </a:lnTo>
                  <a:lnTo>
                    <a:pt x="295" y="160"/>
                  </a:lnTo>
                  <a:lnTo>
                    <a:pt x="302" y="160"/>
                  </a:lnTo>
                  <a:lnTo>
                    <a:pt x="302" y="141"/>
                  </a:lnTo>
                  <a:lnTo>
                    <a:pt x="304" y="146"/>
                  </a:lnTo>
                  <a:lnTo>
                    <a:pt x="312" y="148"/>
                  </a:lnTo>
                  <a:lnTo>
                    <a:pt x="312" y="153"/>
                  </a:lnTo>
                  <a:lnTo>
                    <a:pt x="314" y="163"/>
                  </a:lnTo>
                  <a:lnTo>
                    <a:pt x="314" y="177"/>
                  </a:lnTo>
                  <a:lnTo>
                    <a:pt x="307" y="177"/>
                  </a:lnTo>
                  <a:lnTo>
                    <a:pt x="304" y="179"/>
                  </a:lnTo>
                  <a:lnTo>
                    <a:pt x="307" y="182"/>
                  </a:lnTo>
                  <a:lnTo>
                    <a:pt x="302" y="203"/>
                  </a:lnTo>
                  <a:lnTo>
                    <a:pt x="302" y="205"/>
                  </a:lnTo>
                  <a:lnTo>
                    <a:pt x="288" y="205"/>
                  </a:lnTo>
                  <a:lnTo>
                    <a:pt x="283" y="210"/>
                  </a:lnTo>
                  <a:lnTo>
                    <a:pt x="288" y="212"/>
                  </a:lnTo>
                  <a:lnTo>
                    <a:pt x="295" y="219"/>
                  </a:lnTo>
                  <a:lnTo>
                    <a:pt x="297" y="217"/>
                  </a:lnTo>
                  <a:lnTo>
                    <a:pt x="302" y="217"/>
                  </a:lnTo>
                  <a:lnTo>
                    <a:pt x="302" y="212"/>
                  </a:lnTo>
                  <a:lnTo>
                    <a:pt x="304" y="212"/>
                  </a:lnTo>
                  <a:lnTo>
                    <a:pt x="304" y="219"/>
                  </a:lnTo>
                  <a:lnTo>
                    <a:pt x="302" y="219"/>
                  </a:lnTo>
                  <a:lnTo>
                    <a:pt x="297" y="222"/>
                  </a:lnTo>
                  <a:lnTo>
                    <a:pt x="304" y="219"/>
                  </a:lnTo>
                  <a:lnTo>
                    <a:pt x="307" y="217"/>
                  </a:lnTo>
                  <a:lnTo>
                    <a:pt x="307" y="212"/>
                  </a:lnTo>
                  <a:lnTo>
                    <a:pt x="312" y="210"/>
                  </a:lnTo>
                  <a:lnTo>
                    <a:pt x="312" y="217"/>
                  </a:lnTo>
                  <a:lnTo>
                    <a:pt x="314" y="229"/>
                  </a:lnTo>
                  <a:lnTo>
                    <a:pt x="314" y="238"/>
                  </a:lnTo>
                  <a:lnTo>
                    <a:pt x="312" y="238"/>
                  </a:lnTo>
                  <a:lnTo>
                    <a:pt x="314" y="243"/>
                  </a:lnTo>
                  <a:lnTo>
                    <a:pt x="319" y="245"/>
                  </a:lnTo>
                  <a:lnTo>
                    <a:pt x="323" y="250"/>
                  </a:lnTo>
                  <a:lnTo>
                    <a:pt x="338" y="250"/>
                  </a:lnTo>
                  <a:lnTo>
                    <a:pt x="338" y="245"/>
                  </a:lnTo>
                  <a:lnTo>
                    <a:pt x="330" y="234"/>
                  </a:lnTo>
                  <a:lnTo>
                    <a:pt x="328" y="226"/>
                  </a:lnTo>
                  <a:lnTo>
                    <a:pt x="328" y="203"/>
                  </a:lnTo>
                  <a:lnTo>
                    <a:pt x="330" y="196"/>
                  </a:lnTo>
                  <a:lnTo>
                    <a:pt x="335" y="196"/>
                  </a:lnTo>
                  <a:lnTo>
                    <a:pt x="335" y="193"/>
                  </a:lnTo>
                  <a:lnTo>
                    <a:pt x="338" y="186"/>
                  </a:lnTo>
                  <a:lnTo>
                    <a:pt x="335" y="186"/>
                  </a:lnTo>
                  <a:lnTo>
                    <a:pt x="335" y="179"/>
                  </a:lnTo>
                  <a:lnTo>
                    <a:pt x="338" y="179"/>
                  </a:lnTo>
                  <a:lnTo>
                    <a:pt x="345" y="182"/>
                  </a:lnTo>
                  <a:lnTo>
                    <a:pt x="342" y="182"/>
                  </a:lnTo>
                  <a:lnTo>
                    <a:pt x="342" y="203"/>
                  </a:lnTo>
                  <a:lnTo>
                    <a:pt x="345" y="205"/>
                  </a:lnTo>
                  <a:lnTo>
                    <a:pt x="345" y="210"/>
                  </a:lnTo>
                  <a:lnTo>
                    <a:pt x="352" y="222"/>
                  </a:lnTo>
                  <a:lnTo>
                    <a:pt x="352" y="229"/>
                  </a:lnTo>
                  <a:lnTo>
                    <a:pt x="347" y="229"/>
                  </a:lnTo>
                  <a:lnTo>
                    <a:pt x="347" y="234"/>
                  </a:lnTo>
                  <a:lnTo>
                    <a:pt x="352" y="238"/>
                  </a:lnTo>
                  <a:lnTo>
                    <a:pt x="361" y="243"/>
                  </a:lnTo>
                  <a:lnTo>
                    <a:pt x="364" y="243"/>
                  </a:lnTo>
                  <a:lnTo>
                    <a:pt x="364" y="234"/>
                  </a:lnTo>
                  <a:lnTo>
                    <a:pt x="368" y="229"/>
                  </a:lnTo>
                  <a:lnTo>
                    <a:pt x="368" y="217"/>
                  </a:lnTo>
                  <a:lnTo>
                    <a:pt x="364" y="212"/>
                  </a:lnTo>
                  <a:lnTo>
                    <a:pt x="361" y="203"/>
                  </a:lnTo>
                  <a:lnTo>
                    <a:pt x="368" y="203"/>
                  </a:lnTo>
                  <a:lnTo>
                    <a:pt x="375" y="210"/>
                  </a:lnTo>
                  <a:lnTo>
                    <a:pt x="385" y="219"/>
                  </a:lnTo>
                  <a:lnTo>
                    <a:pt x="385" y="226"/>
                  </a:lnTo>
                  <a:lnTo>
                    <a:pt x="387" y="234"/>
                  </a:lnTo>
                  <a:lnTo>
                    <a:pt x="387" y="245"/>
                  </a:lnTo>
                  <a:lnTo>
                    <a:pt x="392" y="252"/>
                  </a:lnTo>
                  <a:lnTo>
                    <a:pt x="392" y="257"/>
                  </a:lnTo>
                  <a:lnTo>
                    <a:pt x="399" y="260"/>
                  </a:lnTo>
                  <a:lnTo>
                    <a:pt x="399" y="269"/>
                  </a:lnTo>
                  <a:lnTo>
                    <a:pt x="401" y="276"/>
                  </a:lnTo>
                  <a:lnTo>
                    <a:pt x="404" y="278"/>
                  </a:lnTo>
                  <a:lnTo>
                    <a:pt x="404" y="307"/>
                  </a:lnTo>
                  <a:lnTo>
                    <a:pt x="392" y="307"/>
                  </a:lnTo>
                  <a:lnTo>
                    <a:pt x="387" y="302"/>
                  </a:lnTo>
                  <a:lnTo>
                    <a:pt x="387" y="319"/>
                  </a:lnTo>
                  <a:lnTo>
                    <a:pt x="382" y="319"/>
                  </a:lnTo>
                  <a:lnTo>
                    <a:pt x="378" y="316"/>
                  </a:lnTo>
                  <a:lnTo>
                    <a:pt x="371" y="309"/>
                  </a:lnTo>
                  <a:lnTo>
                    <a:pt x="371" y="307"/>
                  </a:lnTo>
                  <a:lnTo>
                    <a:pt x="368" y="297"/>
                  </a:lnTo>
                  <a:lnTo>
                    <a:pt x="361" y="293"/>
                  </a:lnTo>
                  <a:lnTo>
                    <a:pt x="361" y="283"/>
                  </a:lnTo>
                  <a:lnTo>
                    <a:pt x="354" y="278"/>
                  </a:lnTo>
                  <a:lnTo>
                    <a:pt x="354" y="314"/>
                  </a:lnTo>
                  <a:lnTo>
                    <a:pt x="352" y="323"/>
                  </a:lnTo>
                  <a:lnTo>
                    <a:pt x="345" y="326"/>
                  </a:lnTo>
                  <a:lnTo>
                    <a:pt x="342" y="323"/>
                  </a:lnTo>
                  <a:lnTo>
                    <a:pt x="342" y="319"/>
                  </a:lnTo>
                  <a:lnTo>
                    <a:pt x="338" y="314"/>
                  </a:lnTo>
                  <a:lnTo>
                    <a:pt x="338" y="307"/>
                  </a:lnTo>
                  <a:lnTo>
                    <a:pt x="335" y="302"/>
                  </a:lnTo>
                  <a:lnTo>
                    <a:pt x="335" y="297"/>
                  </a:lnTo>
                  <a:lnTo>
                    <a:pt x="330" y="286"/>
                  </a:lnTo>
                  <a:lnTo>
                    <a:pt x="330" y="269"/>
                  </a:lnTo>
                  <a:lnTo>
                    <a:pt x="328" y="269"/>
                  </a:lnTo>
                  <a:lnTo>
                    <a:pt x="323" y="262"/>
                  </a:lnTo>
                  <a:lnTo>
                    <a:pt x="323" y="260"/>
                  </a:lnTo>
                  <a:lnTo>
                    <a:pt x="321" y="257"/>
                  </a:lnTo>
                  <a:lnTo>
                    <a:pt x="319" y="257"/>
                  </a:lnTo>
                  <a:lnTo>
                    <a:pt x="307" y="245"/>
                  </a:lnTo>
                  <a:lnTo>
                    <a:pt x="290" y="245"/>
                  </a:lnTo>
                  <a:lnTo>
                    <a:pt x="295" y="252"/>
                  </a:lnTo>
                  <a:lnTo>
                    <a:pt x="295" y="260"/>
                  </a:lnTo>
                  <a:lnTo>
                    <a:pt x="297" y="269"/>
                  </a:lnTo>
                  <a:lnTo>
                    <a:pt x="297" y="278"/>
                  </a:lnTo>
                  <a:lnTo>
                    <a:pt x="302" y="286"/>
                  </a:lnTo>
                  <a:lnTo>
                    <a:pt x="302" y="293"/>
                  </a:lnTo>
                  <a:lnTo>
                    <a:pt x="297" y="300"/>
                  </a:lnTo>
                  <a:lnTo>
                    <a:pt x="297" y="283"/>
                  </a:lnTo>
                  <a:lnTo>
                    <a:pt x="295" y="274"/>
                  </a:lnTo>
                  <a:lnTo>
                    <a:pt x="295" y="297"/>
                  </a:lnTo>
                  <a:lnTo>
                    <a:pt x="290" y="300"/>
                  </a:lnTo>
                  <a:lnTo>
                    <a:pt x="290" y="302"/>
                  </a:lnTo>
                  <a:lnTo>
                    <a:pt x="288" y="302"/>
                  </a:lnTo>
                  <a:lnTo>
                    <a:pt x="283" y="300"/>
                  </a:lnTo>
                  <a:lnTo>
                    <a:pt x="283" y="302"/>
                  </a:lnTo>
                  <a:lnTo>
                    <a:pt x="281" y="316"/>
                  </a:lnTo>
                  <a:lnTo>
                    <a:pt x="283" y="323"/>
                  </a:lnTo>
                  <a:lnTo>
                    <a:pt x="283" y="330"/>
                  </a:lnTo>
                  <a:lnTo>
                    <a:pt x="288" y="333"/>
                  </a:lnTo>
                  <a:lnTo>
                    <a:pt x="288" y="354"/>
                  </a:lnTo>
                  <a:lnTo>
                    <a:pt x="283" y="359"/>
                  </a:lnTo>
                  <a:lnTo>
                    <a:pt x="283" y="363"/>
                  </a:lnTo>
                  <a:lnTo>
                    <a:pt x="278" y="363"/>
                  </a:lnTo>
                  <a:lnTo>
                    <a:pt x="271" y="371"/>
                  </a:lnTo>
                  <a:lnTo>
                    <a:pt x="267" y="373"/>
                  </a:lnTo>
                  <a:lnTo>
                    <a:pt x="264" y="375"/>
                  </a:lnTo>
                  <a:lnTo>
                    <a:pt x="250" y="375"/>
                  </a:lnTo>
                  <a:lnTo>
                    <a:pt x="248" y="373"/>
                  </a:lnTo>
                  <a:lnTo>
                    <a:pt x="248" y="371"/>
                  </a:lnTo>
                  <a:lnTo>
                    <a:pt x="250" y="363"/>
                  </a:lnTo>
                  <a:lnTo>
                    <a:pt x="255" y="356"/>
                  </a:lnTo>
                  <a:lnTo>
                    <a:pt x="255" y="354"/>
                  </a:lnTo>
                  <a:lnTo>
                    <a:pt x="257" y="354"/>
                  </a:lnTo>
                  <a:lnTo>
                    <a:pt x="262" y="349"/>
                  </a:lnTo>
                  <a:lnTo>
                    <a:pt x="264" y="342"/>
                  </a:lnTo>
                  <a:lnTo>
                    <a:pt x="267" y="330"/>
                  </a:lnTo>
                  <a:lnTo>
                    <a:pt x="267" y="323"/>
                  </a:lnTo>
                  <a:lnTo>
                    <a:pt x="264" y="316"/>
                  </a:lnTo>
                  <a:lnTo>
                    <a:pt x="264" y="309"/>
                  </a:lnTo>
                  <a:lnTo>
                    <a:pt x="267" y="302"/>
                  </a:lnTo>
                  <a:lnTo>
                    <a:pt x="271" y="302"/>
                  </a:lnTo>
                  <a:lnTo>
                    <a:pt x="274" y="297"/>
                  </a:lnTo>
                  <a:lnTo>
                    <a:pt x="274" y="290"/>
                  </a:lnTo>
                  <a:lnTo>
                    <a:pt x="271" y="283"/>
                  </a:lnTo>
                  <a:lnTo>
                    <a:pt x="267" y="290"/>
                  </a:lnTo>
                  <a:lnTo>
                    <a:pt x="264" y="290"/>
                  </a:lnTo>
                  <a:lnTo>
                    <a:pt x="262" y="278"/>
                  </a:lnTo>
                  <a:lnTo>
                    <a:pt x="262" y="276"/>
                  </a:lnTo>
                  <a:lnTo>
                    <a:pt x="262" y="286"/>
                  </a:lnTo>
                  <a:lnTo>
                    <a:pt x="257" y="297"/>
                  </a:lnTo>
                  <a:lnTo>
                    <a:pt x="245" y="297"/>
                  </a:lnTo>
                  <a:lnTo>
                    <a:pt x="241" y="293"/>
                  </a:lnTo>
                  <a:lnTo>
                    <a:pt x="241" y="302"/>
                  </a:lnTo>
                  <a:lnTo>
                    <a:pt x="245" y="307"/>
                  </a:lnTo>
                  <a:lnTo>
                    <a:pt x="245" y="302"/>
                  </a:lnTo>
                  <a:lnTo>
                    <a:pt x="248" y="307"/>
                  </a:lnTo>
                  <a:lnTo>
                    <a:pt x="250" y="314"/>
                  </a:lnTo>
                  <a:lnTo>
                    <a:pt x="250" y="316"/>
                  </a:lnTo>
                  <a:lnTo>
                    <a:pt x="248" y="319"/>
                  </a:lnTo>
                  <a:lnTo>
                    <a:pt x="248" y="326"/>
                  </a:lnTo>
                  <a:lnTo>
                    <a:pt x="241" y="323"/>
                  </a:lnTo>
                  <a:lnTo>
                    <a:pt x="234" y="326"/>
                  </a:lnTo>
                  <a:lnTo>
                    <a:pt x="226" y="333"/>
                  </a:lnTo>
                  <a:lnTo>
                    <a:pt x="231" y="326"/>
                  </a:lnTo>
                  <a:lnTo>
                    <a:pt x="231" y="316"/>
                  </a:lnTo>
                  <a:lnTo>
                    <a:pt x="231" y="319"/>
                  </a:lnTo>
                  <a:lnTo>
                    <a:pt x="226" y="323"/>
                  </a:lnTo>
                  <a:lnTo>
                    <a:pt x="224" y="326"/>
                  </a:lnTo>
                  <a:lnTo>
                    <a:pt x="224" y="333"/>
                  </a:lnTo>
                  <a:lnTo>
                    <a:pt x="217" y="340"/>
                  </a:lnTo>
                  <a:lnTo>
                    <a:pt x="215" y="335"/>
                  </a:lnTo>
                  <a:lnTo>
                    <a:pt x="217" y="330"/>
                  </a:lnTo>
                  <a:lnTo>
                    <a:pt x="222" y="326"/>
                  </a:lnTo>
                  <a:lnTo>
                    <a:pt x="224" y="323"/>
                  </a:lnTo>
                  <a:lnTo>
                    <a:pt x="231" y="307"/>
                  </a:lnTo>
                  <a:lnTo>
                    <a:pt x="226" y="309"/>
                  </a:lnTo>
                  <a:lnTo>
                    <a:pt x="226" y="314"/>
                  </a:lnTo>
                  <a:lnTo>
                    <a:pt x="224" y="316"/>
                  </a:lnTo>
                  <a:lnTo>
                    <a:pt x="224" y="319"/>
                  </a:lnTo>
                  <a:lnTo>
                    <a:pt x="217" y="316"/>
                  </a:lnTo>
                  <a:lnTo>
                    <a:pt x="217" y="302"/>
                  </a:lnTo>
                  <a:lnTo>
                    <a:pt x="215" y="290"/>
                  </a:lnTo>
                  <a:lnTo>
                    <a:pt x="210" y="290"/>
                  </a:lnTo>
                  <a:lnTo>
                    <a:pt x="210" y="297"/>
                  </a:lnTo>
                  <a:lnTo>
                    <a:pt x="215" y="300"/>
                  </a:lnTo>
                  <a:lnTo>
                    <a:pt x="215" y="307"/>
                  </a:lnTo>
                  <a:lnTo>
                    <a:pt x="210" y="319"/>
                  </a:lnTo>
                  <a:lnTo>
                    <a:pt x="208" y="316"/>
                  </a:lnTo>
                  <a:lnTo>
                    <a:pt x="208" y="314"/>
                  </a:lnTo>
                  <a:lnTo>
                    <a:pt x="205" y="316"/>
                  </a:lnTo>
                  <a:lnTo>
                    <a:pt x="205" y="323"/>
                  </a:lnTo>
                  <a:lnTo>
                    <a:pt x="208" y="326"/>
                  </a:lnTo>
                  <a:lnTo>
                    <a:pt x="208" y="330"/>
                  </a:lnTo>
                  <a:lnTo>
                    <a:pt x="201" y="335"/>
                  </a:lnTo>
                  <a:lnTo>
                    <a:pt x="198" y="335"/>
                  </a:lnTo>
                  <a:lnTo>
                    <a:pt x="193" y="340"/>
                  </a:lnTo>
                  <a:lnTo>
                    <a:pt x="191" y="340"/>
                  </a:lnTo>
                  <a:lnTo>
                    <a:pt x="186" y="342"/>
                  </a:lnTo>
                  <a:lnTo>
                    <a:pt x="186" y="347"/>
                  </a:lnTo>
                  <a:lnTo>
                    <a:pt x="184" y="354"/>
                  </a:lnTo>
                  <a:lnTo>
                    <a:pt x="182" y="356"/>
                  </a:lnTo>
                  <a:lnTo>
                    <a:pt x="167" y="356"/>
                  </a:lnTo>
                  <a:lnTo>
                    <a:pt x="165" y="363"/>
                  </a:lnTo>
                  <a:lnTo>
                    <a:pt x="158" y="363"/>
                  </a:lnTo>
                  <a:lnTo>
                    <a:pt x="141" y="371"/>
                  </a:lnTo>
                  <a:lnTo>
                    <a:pt x="137" y="375"/>
                  </a:lnTo>
                  <a:lnTo>
                    <a:pt x="127" y="380"/>
                  </a:lnTo>
                  <a:lnTo>
                    <a:pt x="113" y="380"/>
                  </a:lnTo>
                  <a:lnTo>
                    <a:pt x="97" y="394"/>
                  </a:lnTo>
                  <a:lnTo>
                    <a:pt x="85" y="411"/>
                  </a:lnTo>
                  <a:lnTo>
                    <a:pt x="80" y="413"/>
                  </a:lnTo>
                  <a:lnTo>
                    <a:pt x="78" y="413"/>
                  </a:lnTo>
                  <a:lnTo>
                    <a:pt x="73" y="415"/>
                  </a:lnTo>
                  <a:lnTo>
                    <a:pt x="68" y="423"/>
                  </a:lnTo>
                  <a:lnTo>
                    <a:pt x="63" y="423"/>
                  </a:lnTo>
                  <a:lnTo>
                    <a:pt x="63" y="427"/>
                  </a:lnTo>
                  <a:lnTo>
                    <a:pt x="54" y="427"/>
                  </a:lnTo>
                  <a:lnTo>
                    <a:pt x="52" y="423"/>
                  </a:lnTo>
                  <a:lnTo>
                    <a:pt x="47" y="415"/>
                  </a:lnTo>
                  <a:lnTo>
                    <a:pt x="45" y="411"/>
                  </a:lnTo>
                  <a:lnTo>
                    <a:pt x="40" y="411"/>
                  </a:lnTo>
                  <a:lnTo>
                    <a:pt x="33" y="406"/>
                  </a:lnTo>
                  <a:lnTo>
                    <a:pt x="33" y="404"/>
                  </a:lnTo>
                  <a:lnTo>
                    <a:pt x="38" y="404"/>
                  </a:lnTo>
                  <a:lnTo>
                    <a:pt x="38" y="389"/>
                  </a:lnTo>
                  <a:lnTo>
                    <a:pt x="40" y="380"/>
                  </a:lnTo>
                  <a:lnTo>
                    <a:pt x="45" y="380"/>
                  </a:lnTo>
                  <a:lnTo>
                    <a:pt x="45" y="375"/>
                  </a:lnTo>
                  <a:lnTo>
                    <a:pt x="47" y="373"/>
                  </a:lnTo>
                  <a:lnTo>
                    <a:pt x="52" y="356"/>
                  </a:lnTo>
                  <a:lnTo>
                    <a:pt x="52" y="335"/>
                  </a:lnTo>
                  <a:lnTo>
                    <a:pt x="54" y="335"/>
                  </a:lnTo>
                  <a:lnTo>
                    <a:pt x="54" y="340"/>
                  </a:lnTo>
                  <a:lnTo>
                    <a:pt x="52" y="342"/>
                  </a:lnTo>
                  <a:lnTo>
                    <a:pt x="56" y="335"/>
                  </a:lnTo>
                  <a:lnTo>
                    <a:pt x="56" y="330"/>
                  </a:lnTo>
                  <a:lnTo>
                    <a:pt x="47" y="330"/>
                  </a:lnTo>
                  <a:lnTo>
                    <a:pt x="40" y="333"/>
                  </a:lnTo>
                  <a:lnTo>
                    <a:pt x="38" y="335"/>
                  </a:lnTo>
                  <a:lnTo>
                    <a:pt x="38" y="340"/>
                  </a:lnTo>
                  <a:lnTo>
                    <a:pt x="33" y="340"/>
                  </a:lnTo>
                  <a:lnTo>
                    <a:pt x="30" y="342"/>
                  </a:lnTo>
                  <a:lnTo>
                    <a:pt x="28" y="342"/>
                  </a:lnTo>
                  <a:lnTo>
                    <a:pt x="23" y="349"/>
                  </a:lnTo>
                  <a:lnTo>
                    <a:pt x="21" y="349"/>
                  </a:lnTo>
                  <a:lnTo>
                    <a:pt x="21" y="354"/>
                  </a:lnTo>
                  <a:lnTo>
                    <a:pt x="16" y="356"/>
                  </a:lnTo>
                  <a:lnTo>
                    <a:pt x="14" y="349"/>
                  </a:lnTo>
                  <a:lnTo>
                    <a:pt x="16" y="342"/>
                  </a:lnTo>
                  <a:lnTo>
                    <a:pt x="16" y="340"/>
                  </a:lnTo>
                  <a:lnTo>
                    <a:pt x="21" y="335"/>
                  </a:lnTo>
                  <a:lnTo>
                    <a:pt x="23" y="326"/>
                  </a:lnTo>
                  <a:lnTo>
                    <a:pt x="23" y="319"/>
                  </a:lnTo>
                  <a:lnTo>
                    <a:pt x="28" y="316"/>
                  </a:lnTo>
                  <a:lnTo>
                    <a:pt x="28" y="323"/>
                  </a:lnTo>
                  <a:lnTo>
                    <a:pt x="23" y="323"/>
                  </a:lnTo>
                  <a:lnTo>
                    <a:pt x="23" y="335"/>
                  </a:lnTo>
                  <a:lnTo>
                    <a:pt x="28" y="335"/>
                  </a:lnTo>
                  <a:lnTo>
                    <a:pt x="30" y="340"/>
                  </a:lnTo>
                  <a:lnTo>
                    <a:pt x="38" y="333"/>
                  </a:lnTo>
                  <a:lnTo>
                    <a:pt x="38" y="326"/>
                  </a:lnTo>
                  <a:lnTo>
                    <a:pt x="33" y="323"/>
                  </a:lnTo>
                  <a:lnTo>
                    <a:pt x="33" y="302"/>
                  </a:lnTo>
                  <a:lnTo>
                    <a:pt x="30" y="297"/>
                  </a:lnTo>
                  <a:lnTo>
                    <a:pt x="30" y="293"/>
                  </a:lnTo>
                  <a:lnTo>
                    <a:pt x="28" y="278"/>
                  </a:lnTo>
                  <a:lnTo>
                    <a:pt x="30" y="276"/>
                  </a:lnTo>
                  <a:lnTo>
                    <a:pt x="30" y="278"/>
                  </a:lnTo>
                  <a:lnTo>
                    <a:pt x="33" y="283"/>
                  </a:lnTo>
                  <a:lnTo>
                    <a:pt x="33" y="278"/>
                  </a:lnTo>
                  <a:lnTo>
                    <a:pt x="38" y="278"/>
                  </a:lnTo>
                  <a:lnTo>
                    <a:pt x="40" y="276"/>
                  </a:lnTo>
                  <a:lnTo>
                    <a:pt x="45" y="276"/>
                  </a:lnTo>
                  <a:lnTo>
                    <a:pt x="52" y="278"/>
                  </a:lnTo>
                  <a:lnTo>
                    <a:pt x="56" y="278"/>
                  </a:lnTo>
                  <a:lnTo>
                    <a:pt x="56" y="276"/>
                  </a:lnTo>
                  <a:lnTo>
                    <a:pt x="61" y="276"/>
                  </a:lnTo>
                  <a:lnTo>
                    <a:pt x="56" y="276"/>
                  </a:lnTo>
                  <a:lnTo>
                    <a:pt x="54" y="278"/>
                  </a:lnTo>
                  <a:lnTo>
                    <a:pt x="52" y="278"/>
                  </a:lnTo>
                  <a:lnTo>
                    <a:pt x="47" y="276"/>
                  </a:lnTo>
                  <a:lnTo>
                    <a:pt x="45" y="274"/>
                  </a:lnTo>
                  <a:lnTo>
                    <a:pt x="40" y="269"/>
                  </a:lnTo>
                  <a:lnTo>
                    <a:pt x="45" y="269"/>
                  </a:lnTo>
                  <a:lnTo>
                    <a:pt x="52" y="262"/>
                  </a:lnTo>
                  <a:lnTo>
                    <a:pt x="52" y="260"/>
                  </a:lnTo>
                  <a:lnTo>
                    <a:pt x="52" y="262"/>
                  </a:lnTo>
                  <a:lnTo>
                    <a:pt x="45" y="267"/>
                  </a:lnTo>
                  <a:lnTo>
                    <a:pt x="40" y="267"/>
                  </a:lnTo>
                  <a:lnTo>
                    <a:pt x="40" y="262"/>
                  </a:lnTo>
                  <a:lnTo>
                    <a:pt x="45" y="262"/>
                  </a:lnTo>
                  <a:lnTo>
                    <a:pt x="45" y="257"/>
                  </a:lnTo>
                  <a:lnTo>
                    <a:pt x="40" y="260"/>
                  </a:lnTo>
                  <a:lnTo>
                    <a:pt x="30" y="262"/>
                  </a:lnTo>
                  <a:lnTo>
                    <a:pt x="28" y="262"/>
                  </a:lnTo>
                  <a:lnTo>
                    <a:pt x="28" y="260"/>
                  </a:lnTo>
                  <a:lnTo>
                    <a:pt x="23" y="252"/>
                  </a:lnTo>
                  <a:lnTo>
                    <a:pt x="23" y="243"/>
                  </a:lnTo>
                  <a:lnTo>
                    <a:pt x="28" y="236"/>
                  </a:lnTo>
                  <a:lnTo>
                    <a:pt x="28" y="234"/>
                  </a:lnTo>
                  <a:lnTo>
                    <a:pt x="45" y="234"/>
                  </a:lnTo>
                  <a:lnTo>
                    <a:pt x="45" y="229"/>
                  </a:lnTo>
                  <a:lnTo>
                    <a:pt x="33" y="229"/>
                  </a:lnTo>
                  <a:lnTo>
                    <a:pt x="28" y="226"/>
                  </a:lnTo>
                  <a:lnTo>
                    <a:pt x="23" y="222"/>
                  </a:lnTo>
                  <a:lnTo>
                    <a:pt x="23" y="217"/>
                  </a:lnTo>
                  <a:lnTo>
                    <a:pt x="21" y="212"/>
                  </a:lnTo>
                  <a:lnTo>
                    <a:pt x="21" y="205"/>
                  </a:lnTo>
                  <a:lnTo>
                    <a:pt x="16" y="182"/>
                  </a:lnTo>
                  <a:lnTo>
                    <a:pt x="16" y="177"/>
                  </a:lnTo>
                  <a:lnTo>
                    <a:pt x="14" y="160"/>
                  </a:lnTo>
                  <a:lnTo>
                    <a:pt x="12" y="156"/>
                  </a:lnTo>
                  <a:lnTo>
                    <a:pt x="12" y="148"/>
                  </a:lnTo>
                  <a:lnTo>
                    <a:pt x="7" y="141"/>
                  </a:lnTo>
                  <a:lnTo>
                    <a:pt x="7" y="130"/>
                  </a:lnTo>
                  <a:lnTo>
                    <a:pt x="14" y="130"/>
                  </a:lnTo>
                  <a:lnTo>
                    <a:pt x="14" y="123"/>
                  </a:lnTo>
                  <a:lnTo>
                    <a:pt x="7" y="125"/>
                  </a:lnTo>
                  <a:lnTo>
                    <a:pt x="0" y="125"/>
                  </a:lnTo>
                  <a:lnTo>
                    <a:pt x="4" y="123"/>
                  </a:lnTo>
                  <a:lnTo>
                    <a:pt x="7" y="120"/>
                  </a:lnTo>
                  <a:lnTo>
                    <a:pt x="7" y="113"/>
                  </a:lnTo>
                  <a:lnTo>
                    <a:pt x="12" y="108"/>
                  </a:lnTo>
                  <a:lnTo>
                    <a:pt x="12" y="92"/>
                  </a:lnTo>
                  <a:lnTo>
                    <a:pt x="7" y="85"/>
                  </a:lnTo>
                  <a:lnTo>
                    <a:pt x="4" y="85"/>
                  </a:lnTo>
                  <a:lnTo>
                    <a:pt x="4" y="82"/>
                  </a:lnTo>
                  <a:lnTo>
                    <a:pt x="7" y="82"/>
                  </a:lnTo>
                  <a:lnTo>
                    <a:pt x="7" y="73"/>
                  </a:lnTo>
                  <a:lnTo>
                    <a:pt x="4" y="68"/>
                  </a:lnTo>
                  <a:lnTo>
                    <a:pt x="0" y="66"/>
                  </a:lnTo>
                  <a:lnTo>
                    <a:pt x="0" y="52"/>
                  </a:lnTo>
                  <a:lnTo>
                    <a:pt x="4" y="49"/>
                  </a:lnTo>
                  <a:lnTo>
                    <a:pt x="7" y="42"/>
                  </a:lnTo>
                  <a:lnTo>
                    <a:pt x="14" y="33"/>
                  </a:lnTo>
                  <a:lnTo>
                    <a:pt x="16" y="23"/>
                  </a:lnTo>
                  <a:lnTo>
                    <a:pt x="21" y="16"/>
                  </a:lnTo>
                  <a:lnTo>
                    <a:pt x="21" y="9"/>
                  </a:lnTo>
                  <a:lnTo>
                    <a:pt x="23" y="4"/>
                  </a:lnTo>
                  <a:lnTo>
                    <a:pt x="23" y="9"/>
                  </a:lnTo>
                  <a:lnTo>
                    <a:pt x="28" y="11"/>
                  </a:lnTo>
                  <a:lnTo>
                    <a:pt x="30" y="19"/>
                  </a:lnTo>
                  <a:lnTo>
                    <a:pt x="38" y="11"/>
                  </a:lnTo>
                  <a:lnTo>
                    <a:pt x="40" y="11"/>
                  </a:lnTo>
                  <a:lnTo>
                    <a:pt x="38" y="11"/>
                  </a:lnTo>
                  <a:lnTo>
                    <a:pt x="33" y="9"/>
                  </a:lnTo>
                  <a:lnTo>
                    <a:pt x="30" y="4"/>
                  </a:lnTo>
                  <a:lnTo>
                    <a:pt x="33" y="2"/>
                  </a:lnTo>
                  <a:lnTo>
                    <a:pt x="38" y="4"/>
                  </a:lnTo>
                  <a:lnTo>
                    <a:pt x="40" y="2"/>
                  </a:lnTo>
                  <a:lnTo>
                    <a:pt x="40" y="0"/>
                  </a:lnTo>
                  <a:lnTo>
                    <a:pt x="47" y="0"/>
                  </a:lnTo>
                  <a:lnTo>
                    <a:pt x="52" y="9"/>
                  </a:lnTo>
                  <a:lnTo>
                    <a:pt x="54" y="16"/>
                  </a:lnTo>
                  <a:lnTo>
                    <a:pt x="52" y="26"/>
                  </a:lnTo>
                  <a:lnTo>
                    <a:pt x="40" y="26"/>
                  </a:lnTo>
                  <a:lnTo>
                    <a:pt x="28" y="33"/>
                  </a:lnTo>
                  <a:lnTo>
                    <a:pt x="28" y="40"/>
                  </a:lnTo>
                  <a:lnTo>
                    <a:pt x="38" y="42"/>
                  </a:lnTo>
                  <a:lnTo>
                    <a:pt x="40" y="45"/>
                  </a:lnTo>
                  <a:lnTo>
                    <a:pt x="40" y="42"/>
                  </a:lnTo>
                  <a:lnTo>
                    <a:pt x="45" y="35"/>
                  </a:lnTo>
                  <a:lnTo>
                    <a:pt x="54" y="35"/>
                  </a:lnTo>
                  <a:lnTo>
                    <a:pt x="54" y="42"/>
                  </a:lnTo>
                  <a:lnTo>
                    <a:pt x="56" y="45"/>
                  </a:lnTo>
                  <a:lnTo>
                    <a:pt x="56" y="59"/>
                  </a:lnTo>
                  <a:lnTo>
                    <a:pt x="61" y="75"/>
                  </a:lnTo>
                  <a:lnTo>
                    <a:pt x="61" y="82"/>
                  </a:lnTo>
                  <a:lnTo>
                    <a:pt x="54" y="82"/>
                  </a:lnTo>
                  <a:lnTo>
                    <a:pt x="52" y="73"/>
                  </a:lnTo>
                  <a:lnTo>
                    <a:pt x="47" y="73"/>
                  </a:lnTo>
                  <a:lnTo>
                    <a:pt x="47" y="75"/>
                  </a:lnTo>
                  <a:lnTo>
                    <a:pt x="56" y="89"/>
                  </a:lnTo>
                  <a:lnTo>
                    <a:pt x="61" y="89"/>
                  </a:lnTo>
                  <a:lnTo>
                    <a:pt x="61" y="113"/>
                  </a:lnTo>
                  <a:lnTo>
                    <a:pt x="63" y="123"/>
                  </a:lnTo>
                  <a:lnTo>
                    <a:pt x="63" y="163"/>
                  </a:lnTo>
                  <a:lnTo>
                    <a:pt x="68" y="165"/>
                  </a:lnTo>
                  <a:lnTo>
                    <a:pt x="71" y="165"/>
                  </a:lnTo>
                  <a:lnTo>
                    <a:pt x="71" y="186"/>
                  </a:lnTo>
                  <a:lnTo>
                    <a:pt x="73" y="182"/>
                  </a:lnTo>
                  <a:lnTo>
                    <a:pt x="78" y="182"/>
                  </a:lnTo>
                  <a:lnTo>
                    <a:pt x="78" y="186"/>
                  </a:lnTo>
                  <a:lnTo>
                    <a:pt x="80" y="193"/>
                  </a:lnTo>
                  <a:lnTo>
                    <a:pt x="80" y="198"/>
                  </a:lnTo>
                  <a:lnTo>
                    <a:pt x="80" y="165"/>
                  </a:lnTo>
                  <a:lnTo>
                    <a:pt x="85" y="160"/>
                  </a:lnTo>
                  <a:lnTo>
                    <a:pt x="85" y="130"/>
                  </a:lnTo>
                  <a:lnTo>
                    <a:pt x="87" y="130"/>
                  </a:lnTo>
                  <a:lnTo>
                    <a:pt x="89" y="132"/>
                  </a:lnTo>
                  <a:lnTo>
                    <a:pt x="97" y="137"/>
                  </a:lnTo>
                  <a:lnTo>
                    <a:pt x="101" y="132"/>
                  </a:lnTo>
                  <a:lnTo>
                    <a:pt x="108" y="132"/>
                  </a:lnTo>
                  <a:lnTo>
                    <a:pt x="113" y="137"/>
                  </a:lnTo>
                  <a:lnTo>
                    <a:pt x="120" y="125"/>
                  </a:lnTo>
                  <a:lnTo>
                    <a:pt x="120" y="120"/>
                  </a:lnTo>
                  <a:lnTo>
                    <a:pt x="127" y="123"/>
                  </a:lnTo>
                  <a:lnTo>
                    <a:pt x="127" y="130"/>
                  </a:lnTo>
                  <a:lnTo>
                    <a:pt x="125" y="139"/>
                  </a:lnTo>
                  <a:lnTo>
                    <a:pt x="118" y="148"/>
                  </a:lnTo>
                  <a:lnTo>
                    <a:pt x="113" y="156"/>
                  </a:lnTo>
                  <a:lnTo>
                    <a:pt x="111" y="170"/>
                  </a:lnTo>
                  <a:lnTo>
                    <a:pt x="113" y="172"/>
                  </a:lnTo>
                  <a:lnTo>
                    <a:pt x="113" y="165"/>
                  </a:lnTo>
                  <a:lnTo>
                    <a:pt x="118" y="160"/>
                  </a:lnTo>
                  <a:lnTo>
                    <a:pt x="118" y="156"/>
                  </a:lnTo>
                  <a:lnTo>
                    <a:pt x="125" y="156"/>
                  </a:lnTo>
                  <a:lnTo>
                    <a:pt x="125" y="172"/>
                  </a:lnTo>
                  <a:lnTo>
                    <a:pt x="120" y="177"/>
                  </a:lnTo>
                  <a:lnTo>
                    <a:pt x="120" y="186"/>
                  </a:lnTo>
                  <a:lnTo>
                    <a:pt x="125" y="182"/>
                  </a:lnTo>
                  <a:lnTo>
                    <a:pt x="125" y="177"/>
                  </a:lnTo>
                  <a:lnTo>
                    <a:pt x="127" y="177"/>
                  </a:lnTo>
                  <a:lnTo>
                    <a:pt x="127" y="172"/>
                  </a:lnTo>
                  <a:lnTo>
                    <a:pt x="130" y="170"/>
                  </a:lnTo>
                  <a:lnTo>
                    <a:pt x="137" y="170"/>
                  </a:lnTo>
                  <a:lnTo>
                    <a:pt x="144" y="177"/>
                  </a:lnTo>
                  <a:lnTo>
                    <a:pt x="149" y="172"/>
                  </a:lnTo>
                  <a:lnTo>
                    <a:pt x="144" y="172"/>
                  </a:lnTo>
                  <a:lnTo>
                    <a:pt x="144" y="165"/>
                  </a:lnTo>
                  <a:lnTo>
                    <a:pt x="149" y="163"/>
                  </a:lnTo>
                  <a:lnTo>
                    <a:pt x="149" y="170"/>
                  </a:lnTo>
                  <a:lnTo>
                    <a:pt x="151" y="172"/>
                  </a:lnTo>
                  <a:lnTo>
                    <a:pt x="151" y="160"/>
                  </a:lnTo>
                  <a:lnTo>
                    <a:pt x="153" y="156"/>
                  </a:lnTo>
                  <a:lnTo>
                    <a:pt x="158" y="160"/>
                  </a:lnTo>
                  <a:lnTo>
                    <a:pt x="160" y="163"/>
                  </a:lnTo>
                  <a:lnTo>
                    <a:pt x="160" y="165"/>
                  </a:lnTo>
                  <a:lnTo>
                    <a:pt x="165" y="170"/>
                  </a:lnTo>
                  <a:lnTo>
                    <a:pt x="165" y="160"/>
                  </a:lnTo>
                  <a:lnTo>
                    <a:pt x="158" y="156"/>
                  </a:lnTo>
                  <a:lnTo>
                    <a:pt x="153" y="153"/>
                  </a:lnTo>
                  <a:lnTo>
                    <a:pt x="158" y="148"/>
                  </a:lnTo>
                  <a:lnTo>
                    <a:pt x="160" y="146"/>
                  </a:lnTo>
                  <a:lnTo>
                    <a:pt x="165" y="148"/>
                  </a:lnTo>
                  <a:lnTo>
                    <a:pt x="167" y="153"/>
                  </a:lnTo>
                  <a:lnTo>
                    <a:pt x="170" y="172"/>
                  </a:lnTo>
                  <a:lnTo>
                    <a:pt x="170" y="182"/>
                  </a:lnTo>
                  <a:lnTo>
                    <a:pt x="175" y="182"/>
                  </a:lnTo>
                  <a:lnTo>
                    <a:pt x="177" y="186"/>
                  </a:lnTo>
                  <a:lnTo>
                    <a:pt x="177" y="193"/>
                  </a:lnTo>
                  <a:lnTo>
                    <a:pt x="177" y="182"/>
                  </a:lnTo>
                  <a:lnTo>
                    <a:pt x="175" y="177"/>
                  </a:lnTo>
                  <a:lnTo>
                    <a:pt x="177" y="170"/>
                  </a:lnTo>
                  <a:lnTo>
                    <a:pt x="177" y="163"/>
                  </a:lnTo>
                  <a:lnTo>
                    <a:pt x="175" y="160"/>
                  </a:lnTo>
                  <a:lnTo>
                    <a:pt x="182" y="160"/>
                  </a:lnTo>
                  <a:lnTo>
                    <a:pt x="191" y="156"/>
                  </a:lnTo>
                  <a:lnTo>
                    <a:pt x="191" y="125"/>
                  </a:lnTo>
                  <a:lnTo>
                    <a:pt x="193" y="125"/>
                  </a:lnTo>
                  <a:lnTo>
                    <a:pt x="198" y="130"/>
                  </a:lnTo>
                  <a:lnTo>
                    <a:pt x="201" y="132"/>
                  </a:lnTo>
                  <a:lnTo>
                    <a:pt x="201" y="139"/>
                  </a:lnTo>
                  <a:lnTo>
                    <a:pt x="208" y="146"/>
                  </a:lnTo>
                  <a:lnTo>
                    <a:pt x="208" y="139"/>
                  </a:lnTo>
                  <a:lnTo>
                    <a:pt x="205" y="137"/>
                  </a:lnTo>
                  <a:lnTo>
                    <a:pt x="205" y="130"/>
                  </a:lnTo>
                  <a:lnTo>
                    <a:pt x="215" y="130"/>
                  </a:lnTo>
                  <a:lnTo>
                    <a:pt x="215" y="115"/>
                  </a:lnTo>
                  <a:lnTo>
                    <a:pt x="224" y="113"/>
                  </a:lnTo>
                  <a:lnTo>
                    <a:pt x="250" y="113"/>
                  </a:lnTo>
                  <a:lnTo>
                    <a:pt x="255" y="115"/>
                  </a:lnTo>
                  <a:lnTo>
                    <a:pt x="257" y="137"/>
                  </a:lnTo>
                  <a:lnTo>
                    <a:pt x="255" y="139"/>
                  </a:lnTo>
                  <a:lnTo>
                    <a:pt x="250" y="141"/>
                  </a:lnTo>
                  <a:lnTo>
                    <a:pt x="255" y="141"/>
                  </a:lnTo>
                  <a:lnTo>
                    <a:pt x="250" y="146"/>
                  </a:lnTo>
                  <a:lnTo>
                    <a:pt x="255" y="148"/>
                  </a:lnTo>
                  <a:lnTo>
                    <a:pt x="250" y="163"/>
                  </a:lnTo>
                  <a:lnTo>
                    <a:pt x="250" y="165"/>
                  </a:lnTo>
                  <a:lnTo>
                    <a:pt x="248" y="170"/>
                  </a:lnTo>
                  <a:lnTo>
                    <a:pt x="255" y="160"/>
                  </a:lnTo>
                  <a:lnTo>
                    <a:pt x="262" y="160"/>
                  </a:lnTo>
                  <a:lnTo>
                    <a:pt x="262" y="177"/>
                  </a:lnTo>
                  <a:lnTo>
                    <a:pt x="267" y="177"/>
                  </a:lnTo>
                  <a:lnTo>
                    <a:pt x="267" y="170"/>
                  </a:lnTo>
                  <a:lnTo>
                    <a:pt x="267" y="172"/>
                  </a:lnTo>
                  <a:lnTo>
                    <a:pt x="264" y="172"/>
                  </a:lnTo>
                  <a:lnTo>
                    <a:pt x="264" y="170"/>
                  </a:lnTo>
                  <a:lnTo>
                    <a:pt x="267" y="165"/>
                  </a:lnTo>
                  <a:lnTo>
                    <a:pt x="278" y="163"/>
                  </a:lnTo>
                  <a:lnTo>
                    <a:pt x="278" y="170"/>
                  </a:lnTo>
                  <a:lnTo>
                    <a:pt x="274" y="170"/>
                  </a:lnTo>
                  <a:lnTo>
                    <a:pt x="271" y="172"/>
                  </a:lnTo>
                  <a:lnTo>
                    <a:pt x="267" y="182"/>
                  </a:lnTo>
                  <a:lnTo>
                    <a:pt x="267" y="186"/>
                  </a:lnTo>
                  <a:lnTo>
                    <a:pt x="267" y="182"/>
                  </a:lnTo>
                  <a:lnTo>
                    <a:pt x="271" y="182"/>
                  </a:lnTo>
                  <a:lnTo>
                    <a:pt x="274" y="177"/>
                  </a:lnTo>
                  <a:lnTo>
                    <a:pt x="278" y="177"/>
                  </a:lnTo>
                  <a:lnTo>
                    <a:pt x="278" y="182"/>
                  </a:lnTo>
                  <a:lnTo>
                    <a:pt x="281" y="17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7" name="Freeform 38">
              <a:extLst>
                <a:ext uri="{FF2B5EF4-FFF2-40B4-BE49-F238E27FC236}">
                  <a16:creationId xmlns:a16="http://schemas.microsoft.com/office/drawing/2014/main" id="{3FA4D405-A9D2-4D28-831C-155BFCA8CCB9}"/>
                </a:ext>
              </a:extLst>
            </p:cNvPr>
            <p:cNvSpPr>
              <a:spLocks/>
            </p:cNvSpPr>
            <p:nvPr/>
          </p:nvSpPr>
          <p:spPr bwMode="gray">
            <a:xfrm rot="47099">
              <a:off x="2482765" y="2459404"/>
              <a:ext cx="5343" cy="2894"/>
            </a:xfrm>
            <a:custGeom>
              <a:avLst/>
              <a:gdLst>
                <a:gd name="T0" fmla="*/ 2 w 12"/>
                <a:gd name="T1" fmla="*/ 2 h 9"/>
                <a:gd name="T2" fmla="*/ 7 w 12"/>
                <a:gd name="T3" fmla="*/ 0 h 9"/>
                <a:gd name="T4" fmla="*/ 10 w 12"/>
                <a:gd name="T5" fmla="*/ 0 h 9"/>
                <a:gd name="T6" fmla="*/ 12 w 12"/>
                <a:gd name="T7" fmla="*/ 7 h 9"/>
                <a:gd name="T8" fmla="*/ 2 w 12"/>
                <a:gd name="T9" fmla="*/ 9 h 9"/>
                <a:gd name="T10" fmla="*/ 0 w 12"/>
                <a:gd name="T11" fmla="*/ 7 h 9"/>
                <a:gd name="T12" fmla="*/ 0 w 12"/>
                <a:gd name="T13" fmla="*/ 2 h 9"/>
                <a:gd name="T14" fmla="*/ 2 w 12"/>
                <a:gd name="T15" fmla="*/ 2 h 9"/>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9"/>
                <a:gd name="T26" fmla="*/ 12 w 1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9">
                  <a:moveTo>
                    <a:pt x="2" y="2"/>
                  </a:moveTo>
                  <a:lnTo>
                    <a:pt x="7" y="0"/>
                  </a:lnTo>
                  <a:lnTo>
                    <a:pt x="10" y="0"/>
                  </a:lnTo>
                  <a:lnTo>
                    <a:pt x="12" y="7"/>
                  </a:lnTo>
                  <a:lnTo>
                    <a:pt x="2" y="9"/>
                  </a:lnTo>
                  <a:lnTo>
                    <a:pt x="0" y="7"/>
                  </a:lnTo>
                  <a:lnTo>
                    <a:pt x="0" y="2"/>
                  </a:lnTo>
                  <a:lnTo>
                    <a:pt x="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8" name="Freeform 39">
              <a:extLst>
                <a:ext uri="{FF2B5EF4-FFF2-40B4-BE49-F238E27FC236}">
                  <a16:creationId xmlns:a16="http://schemas.microsoft.com/office/drawing/2014/main" id="{B1E9C99C-80C4-4F21-89F7-00521F730669}"/>
                </a:ext>
              </a:extLst>
            </p:cNvPr>
            <p:cNvSpPr>
              <a:spLocks/>
            </p:cNvSpPr>
            <p:nvPr/>
          </p:nvSpPr>
          <p:spPr bwMode="gray">
            <a:xfrm rot="47099">
              <a:off x="2404689" y="2434242"/>
              <a:ext cx="9796" cy="8683"/>
            </a:xfrm>
            <a:custGeom>
              <a:avLst/>
              <a:gdLst>
                <a:gd name="T0" fmla="*/ 10 w 22"/>
                <a:gd name="T1" fmla="*/ 4 h 19"/>
                <a:gd name="T2" fmla="*/ 10 w 22"/>
                <a:gd name="T3" fmla="*/ 7 h 19"/>
                <a:gd name="T4" fmla="*/ 15 w 22"/>
                <a:gd name="T5" fmla="*/ 7 h 19"/>
                <a:gd name="T6" fmla="*/ 15 w 22"/>
                <a:gd name="T7" fmla="*/ 11 h 19"/>
                <a:gd name="T8" fmla="*/ 17 w 22"/>
                <a:gd name="T9" fmla="*/ 11 h 19"/>
                <a:gd name="T10" fmla="*/ 17 w 22"/>
                <a:gd name="T11" fmla="*/ 4 h 19"/>
                <a:gd name="T12" fmla="*/ 22 w 22"/>
                <a:gd name="T13" fmla="*/ 7 h 19"/>
                <a:gd name="T14" fmla="*/ 22 w 22"/>
                <a:gd name="T15" fmla="*/ 11 h 19"/>
                <a:gd name="T16" fmla="*/ 15 w 22"/>
                <a:gd name="T17" fmla="*/ 19 h 19"/>
                <a:gd name="T18" fmla="*/ 7 w 22"/>
                <a:gd name="T19" fmla="*/ 19 h 19"/>
                <a:gd name="T20" fmla="*/ 3 w 22"/>
                <a:gd name="T21" fmla="*/ 14 h 19"/>
                <a:gd name="T22" fmla="*/ 0 w 22"/>
                <a:gd name="T23" fmla="*/ 14 h 19"/>
                <a:gd name="T24" fmla="*/ 0 w 22"/>
                <a:gd name="T25" fmla="*/ 11 h 19"/>
                <a:gd name="T26" fmla="*/ 7 w 22"/>
                <a:gd name="T27" fmla="*/ 7 h 19"/>
                <a:gd name="T28" fmla="*/ 10 w 22"/>
                <a:gd name="T29" fmla="*/ 0 h 19"/>
                <a:gd name="T30" fmla="*/ 10 w 22"/>
                <a:gd name="T31" fmla="*/ 4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19"/>
                <a:gd name="T50" fmla="*/ 22 w 22"/>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19">
                  <a:moveTo>
                    <a:pt x="10" y="4"/>
                  </a:moveTo>
                  <a:lnTo>
                    <a:pt x="10" y="7"/>
                  </a:lnTo>
                  <a:lnTo>
                    <a:pt x="15" y="7"/>
                  </a:lnTo>
                  <a:lnTo>
                    <a:pt x="15" y="11"/>
                  </a:lnTo>
                  <a:lnTo>
                    <a:pt x="17" y="11"/>
                  </a:lnTo>
                  <a:lnTo>
                    <a:pt x="17" y="4"/>
                  </a:lnTo>
                  <a:lnTo>
                    <a:pt x="22" y="7"/>
                  </a:lnTo>
                  <a:lnTo>
                    <a:pt x="22" y="11"/>
                  </a:lnTo>
                  <a:lnTo>
                    <a:pt x="15" y="19"/>
                  </a:lnTo>
                  <a:lnTo>
                    <a:pt x="7" y="19"/>
                  </a:lnTo>
                  <a:lnTo>
                    <a:pt x="3" y="14"/>
                  </a:lnTo>
                  <a:lnTo>
                    <a:pt x="0" y="14"/>
                  </a:lnTo>
                  <a:lnTo>
                    <a:pt x="0" y="11"/>
                  </a:lnTo>
                  <a:lnTo>
                    <a:pt x="7" y="7"/>
                  </a:lnTo>
                  <a:lnTo>
                    <a:pt x="10" y="0"/>
                  </a:lnTo>
                  <a:lnTo>
                    <a:pt x="10"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59" name="Freeform 40">
              <a:extLst>
                <a:ext uri="{FF2B5EF4-FFF2-40B4-BE49-F238E27FC236}">
                  <a16:creationId xmlns:a16="http://schemas.microsoft.com/office/drawing/2014/main" id="{5BCB1736-8875-48E2-AD2B-F1F358C2BE9D}"/>
                </a:ext>
              </a:extLst>
            </p:cNvPr>
            <p:cNvSpPr>
              <a:spLocks/>
            </p:cNvSpPr>
            <p:nvPr/>
          </p:nvSpPr>
          <p:spPr bwMode="gray">
            <a:xfrm rot="47099">
              <a:off x="2328177" y="2430268"/>
              <a:ext cx="5343" cy="3860"/>
            </a:xfrm>
            <a:custGeom>
              <a:avLst/>
              <a:gdLst>
                <a:gd name="T0" fmla="*/ 7 w 10"/>
                <a:gd name="T1" fmla="*/ 0 h 9"/>
                <a:gd name="T2" fmla="*/ 10 w 10"/>
                <a:gd name="T3" fmla="*/ 0 h 9"/>
                <a:gd name="T4" fmla="*/ 10 w 10"/>
                <a:gd name="T5" fmla="*/ 2 h 9"/>
                <a:gd name="T6" fmla="*/ 7 w 10"/>
                <a:gd name="T7" fmla="*/ 5 h 9"/>
                <a:gd name="T8" fmla="*/ 7 w 10"/>
                <a:gd name="T9" fmla="*/ 9 h 9"/>
                <a:gd name="T10" fmla="*/ 3 w 10"/>
                <a:gd name="T11" fmla="*/ 9 h 9"/>
                <a:gd name="T12" fmla="*/ 0 w 10"/>
                <a:gd name="T13" fmla="*/ 2 h 9"/>
                <a:gd name="T14" fmla="*/ 0 w 10"/>
                <a:gd name="T15" fmla="*/ 0 h 9"/>
                <a:gd name="T16" fmla="*/ 7 w 10"/>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9"/>
                <a:gd name="T29" fmla="*/ 10 w 10"/>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9">
                  <a:moveTo>
                    <a:pt x="7" y="0"/>
                  </a:moveTo>
                  <a:lnTo>
                    <a:pt x="10" y="0"/>
                  </a:lnTo>
                  <a:lnTo>
                    <a:pt x="10" y="2"/>
                  </a:lnTo>
                  <a:lnTo>
                    <a:pt x="7" y="5"/>
                  </a:lnTo>
                  <a:lnTo>
                    <a:pt x="7" y="9"/>
                  </a:lnTo>
                  <a:lnTo>
                    <a:pt x="3" y="9"/>
                  </a:lnTo>
                  <a:lnTo>
                    <a:pt x="0" y="2"/>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0" name="Freeform 41">
              <a:extLst>
                <a:ext uri="{FF2B5EF4-FFF2-40B4-BE49-F238E27FC236}">
                  <a16:creationId xmlns:a16="http://schemas.microsoft.com/office/drawing/2014/main" id="{293264D0-E8C2-4156-BA07-8958262D84D7}"/>
                </a:ext>
              </a:extLst>
            </p:cNvPr>
            <p:cNvSpPr>
              <a:spLocks/>
            </p:cNvSpPr>
            <p:nvPr/>
          </p:nvSpPr>
          <p:spPr bwMode="gray">
            <a:xfrm rot="47099">
              <a:off x="2318441" y="2424357"/>
              <a:ext cx="7125" cy="6754"/>
            </a:xfrm>
            <a:custGeom>
              <a:avLst/>
              <a:gdLst>
                <a:gd name="T0" fmla="*/ 5 w 14"/>
                <a:gd name="T1" fmla="*/ 0 h 14"/>
                <a:gd name="T2" fmla="*/ 12 w 14"/>
                <a:gd name="T3" fmla="*/ 5 h 14"/>
                <a:gd name="T4" fmla="*/ 14 w 14"/>
                <a:gd name="T5" fmla="*/ 12 h 14"/>
                <a:gd name="T6" fmla="*/ 12 w 14"/>
                <a:gd name="T7" fmla="*/ 14 h 14"/>
                <a:gd name="T8" fmla="*/ 0 w 14"/>
                <a:gd name="T9" fmla="*/ 14 h 14"/>
                <a:gd name="T10" fmla="*/ 0 w 14"/>
                <a:gd name="T11" fmla="*/ 0 h 14"/>
                <a:gd name="T12" fmla="*/ 5 w 14"/>
                <a:gd name="T13" fmla="*/ 0 h 14"/>
                <a:gd name="T14" fmla="*/ 0 60000 65536"/>
                <a:gd name="T15" fmla="*/ 0 60000 65536"/>
                <a:gd name="T16" fmla="*/ 0 60000 65536"/>
                <a:gd name="T17" fmla="*/ 0 60000 65536"/>
                <a:gd name="T18" fmla="*/ 0 60000 65536"/>
                <a:gd name="T19" fmla="*/ 0 60000 65536"/>
                <a:gd name="T20" fmla="*/ 0 60000 65536"/>
                <a:gd name="T21" fmla="*/ 0 w 14"/>
                <a:gd name="T22" fmla="*/ 0 h 14"/>
                <a:gd name="T23" fmla="*/ 14 w 14"/>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4">
                  <a:moveTo>
                    <a:pt x="5" y="0"/>
                  </a:moveTo>
                  <a:lnTo>
                    <a:pt x="12" y="5"/>
                  </a:lnTo>
                  <a:lnTo>
                    <a:pt x="14" y="12"/>
                  </a:lnTo>
                  <a:lnTo>
                    <a:pt x="12" y="14"/>
                  </a:lnTo>
                  <a:lnTo>
                    <a:pt x="0" y="14"/>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1" name="Freeform 42">
              <a:extLst>
                <a:ext uri="{FF2B5EF4-FFF2-40B4-BE49-F238E27FC236}">
                  <a16:creationId xmlns:a16="http://schemas.microsoft.com/office/drawing/2014/main" id="{E90693FE-E3E2-4D54-9CB5-064B9BF0830C}"/>
                </a:ext>
              </a:extLst>
            </p:cNvPr>
            <p:cNvSpPr>
              <a:spLocks/>
            </p:cNvSpPr>
            <p:nvPr/>
          </p:nvSpPr>
          <p:spPr bwMode="gray">
            <a:xfrm rot="47099">
              <a:off x="2300703" y="2420267"/>
              <a:ext cx="8906" cy="3860"/>
            </a:xfrm>
            <a:custGeom>
              <a:avLst/>
              <a:gdLst>
                <a:gd name="T0" fmla="*/ 14 w 21"/>
                <a:gd name="T1" fmla="*/ 4 h 9"/>
                <a:gd name="T2" fmla="*/ 14 w 21"/>
                <a:gd name="T3" fmla="*/ 0 h 9"/>
                <a:gd name="T4" fmla="*/ 17 w 21"/>
                <a:gd name="T5" fmla="*/ 4 h 9"/>
                <a:gd name="T6" fmla="*/ 21 w 21"/>
                <a:gd name="T7" fmla="*/ 7 h 9"/>
                <a:gd name="T8" fmla="*/ 17 w 21"/>
                <a:gd name="T9" fmla="*/ 9 h 9"/>
                <a:gd name="T10" fmla="*/ 7 w 21"/>
                <a:gd name="T11" fmla="*/ 9 h 9"/>
                <a:gd name="T12" fmla="*/ 0 w 21"/>
                <a:gd name="T13" fmla="*/ 7 h 9"/>
                <a:gd name="T14" fmla="*/ 7 w 21"/>
                <a:gd name="T15" fmla="*/ 7 h 9"/>
                <a:gd name="T16" fmla="*/ 12 w 21"/>
                <a:gd name="T17" fmla="*/ 4 h 9"/>
                <a:gd name="T18" fmla="*/ 14 w 21"/>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9"/>
                <a:gd name="T32" fmla="*/ 21 w 21"/>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9">
                  <a:moveTo>
                    <a:pt x="14" y="4"/>
                  </a:moveTo>
                  <a:lnTo>
                    <a:pt x="14" y="0"/>
                  </a:lnTo>
                  <a:lnTo>
                    <a:pt x="17" y="4"/>
                  </a:lnTo>
                  <a:lnTo>
                    <a:pt x="21" y="7"/>
                  </a:lnTo>
                  <a:lnTo>
                    <a:pt x="17" y="9"/>
                  </a:lnTo>
                  <a:lnTo>
                    <a:pt x="7" y="9"/>
                  </a:lnTo>
                  <a:lnTo>
                    <a:pt x="0" y="7"/>
                  </a:lnTo>
                  <a:lnTo>
                    <a:pt x="7" y="7"/>
                  </a:lnTo>
                  <a:lnTo>
                    <a:pt x="12" y="4"/>
                  </a:lnTo>
                  <a:lnTo>
                    <a:pt x="14"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2" name="Freeform 43">
              <a:extLst>
                <a:ext uri="{FF2B5EF4-FFF2-40B4-BE49-F238E27FC236}">
                  <a16:creationId xmlns:a16="http://schemas.microsoft.com/office/drawing/2014/main" id="{8A4C34AB-705E-4385-B344-462089EF1C34}"/>
                </a:ext>
              </a:extLst>
            </p:cNvPr>
            <p:cNvSpPr>
              <a:spLocks/>
            </p:cNvSpPr>
            <p:nvPr/>
          </p:nvSpPr>
          <p:spPr bwMode="gray">
            <a:xfrm rot="47099">
              <a:off x="2300776" y="2413538"/>
              <a:ext cx="12468" cy="6754"/>
            </a:xfrm>
            <a:custGeom>
              <a:avLst/>
              <a:gdLst>
                <a:gd name="T0" fmla="*/ 5 w 28"/>
                <a:gd name="T1" fmla="*/ 4 h 14"/>
                <a:gd name="T2" fmla="*/ 12 w 28"/>
                <a:gd name="T3" fmla="*/ 4 h 14"/>
                <a:gd name="T4" fmla="*/ 24 w 28"/>
                <a:gd name="T5" fmla="*/ 0 h 14"/>
                <a:gd name="T6" fmla="*/ 28 w 28"/>
                <a:gd name="T7" fmla="*/ 4 h 14"/>
                <a:gd name="T8" fmla="*/ 24 w 28"/>
                <a:gd name="T9" fmla="*/ 7 h 14"/>
                <a:gd name="T10" fmla="*/ 12 w 28"/>
                <a:gd name="T11" fmla="*/ 14 h 14"/>
                <a:gd name="T12" fmla="*/ 5 w 28"/>
                <a:gd name="T13" fmla="*/ 14 h 14"/>
                <a:gd name="T14" fmla="*/ 7 w 28"/>
                <a:gd name="T15" fmla="*/ 11 h 14"/>
                <a:gd name="T16" fmla="*/ 12 w 28"/>
                <a:gd name="T17" fmla="*/ 11 h 14"/>
                <a:gd name="T18" fmla="*/ 14 w 28"/>
                <a:gd name="T19" fmla="*/ 7 h 14"/>
                <a:gd name="T20" fmla="*/ 7 w 28"/>
                <a:gd name="T21" fmla="*/ 7 h 14"/>
                <a:gd name="T22" fmla="*/ 5 w 28"/>
                <a:gd name="T23" fmla="*/ 11 h 14"/>
                <a:gd name="T24" fmla="*/ 0 w 28"/>
                <a:gd name="T25" fmla="*/ 7 h 14"/>
                <a:gd name="T26" fmla="*/ 5 w 28"/>
                <a:gd name="T27" fmla="*/ 7 h 14"/>
                <a:gd name="T28" fmla="*/ 5 w 28"/>
                <a:gd name="T29" fmla="*/ 4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14"/>
                <a:gd name="T47" fmla="*/ 28 w 28"/>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14">
                  <a:moveTo>
                    <a:pt x="5" y="4"/>
                  </a:moveTo>
                  <a:lnTo>
                    <a:pt x="12" y="4"/>
                  </a:lnTo>
                  <a:lnTo>
                    <a:pt x="24" y="0"/>
                  </a:lnTo>
                  <a:lnTo>
                    <a:pt x="28" y="4"/>
                  </a:lnTo>
                  <a:lnTo>
                    <a:pt x="24" y="7"/>
                  </a:lnTo>
                  <a:lnTo>
                    <a:pt x="12" y="14"/>
                  </a:lnTo>
                  <a:lnTo>
                    <a:pt x="5" y="14"/>
                  </a:lnTo>
                  <a:lnTo>
                    <a:pt x="7" y="11"/>
                  </a:lnTo>
                  <a:lnTo>
                    <a:pt x="12" y="11"/>
                  </a:lnTo>
                  <a:lnTo>
                    <a:pt x="14" y="7"/>
                  </a:lnTo>
                  <a:lnTo>
                    <a:pt x="7" y="7"/>
                  </a:lnTo>
                  <a:lnTo>
                    <a:pt x="5" y="11"/>
                  </a:lnTo>
                  <a:lnTo>
                    <a:pt x="0" y="7"/>
                  </a:lnTo>
                  <a:lnTo>
                    <a:pt x="5" y="7"/>
                  </a:lnTo>
                  <a:lnTo>
                    <a:pt x="5"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3" name="Freeform 44">
              <a:extLst>
                <a:ext uri="{FF2B5EF4-FFF2-40B4-BE49-F238E27FC236}">
                  <a16:creationId xmlns:a16="http://schemas.microsoft.com/office/drawing/2014/main" id="{549BC559-353A-4F5A-8ED7-FD042C1CA82A}"/>
                </a:ext>
              </a:extLst>
            </p:cNvPr>
            <p:cNvSpPr>
              <a:spLocks/>
            </p:cNvSpPr>
            <p:nvPr/>
          </p:nvSpPr>
          <p:spPr bwMode="gray">
            <a:xfrm rot="47099">
              <a:off x="2307128" y="2405838"/>
              <a:ext cx="2672" cy="4824"/>
            </a:xfrm>
            <a:custGeom>
              <a:avLst/>
              <a:gdLst>
                <a:gd name="T0" fmla="*/ 3 w 7"/>
                <a:gd name="T1" fmla="*/ 12 h 12"/>
                <a:gd name="T2" fmla="*/ 0 w 7"/>
                <a:gd name="T3" fmla="*/ 12 h 12"/>
                <a:gd name="T4" fmla="*/ 0 w 7"/>
                <a:gd name="T5" fmla="*/ 0 h 12"/>
                <a:gd name="T6" fmla="*/ 3 w 7"/>
                <a:gd name="T7" fmla="*/ 0 h 12"/>
                <a:gd name="T8" fmla="*/ 7 w 7"/>
                <a:gd name="T9" fmla="*/ 5 h 12"/>
                <a:gd name="T10" fmla="*/ 7 w 7"/>
                <a:gd name="T11" fmla="*/ 7 h 12"/>
                <a:gd name="T12" fmla="*/ 3 w 7"/>
                <a:gd name="T13" fmla="*/ 12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3" y="12"/>
                  </a:moveTo>
                  <a:lnTo>
                    <a:pt x="0" y="12"/>
                  </a:lnTo>
                  <a:lnTo>
                    <a:pt x="0" y="0"/>
                  </a:lnTo>
                  <a:lnTo>
                    <a:pt x="3" y="0"/>
                  </a:lnTo>
                  <a:lnTo>
                    <a:pt x="7" y="5"/>
                  </a:lnTo>
                  <a:lnTo>
                    <a:pt x="7" y="7"/>
                  </a:lnTo>
                  <a:lnTo>
                    <a:pt x="3"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4" name="Freeform 45">
              <a:extLst>
                <a:ext uri="{FF2B5EF4-FFF2-40B4-BE49-F238E27FC236}">
                  <a16:creationId xmlns:a16="http://schemas.microsoft.com/office/drawing/2014/main" id="{4FE9419F-25B2-4D65-8DC2-0029ACB68126}"/>
                </a:ext>
              </a:extLst>
            </p:cNvPr>
            <p:cNvSpPr>
              <a:spLocks/>
            </p:cNvSpPr>
            <p:nvPr/>
          </p:nvSpPr>
          <p:spPr bwMode="gray">
            <a:xfrm rot="47099">
              <a:off x="2294687" y="2399921"/>
              <a:ext cx="8906" cy="12543"/>
            </a:xfrm>
            <a:custGeom>
              <a:avLst/>
              <a:gdLst>
                <a:gd name="T0" fmla="*/ 5 w 19"/>
                <a:gd name="T1" fmla="*/ 3 h 26"/>
                <a:gd name="T2" fmla="*/ 5 w 19"/>
                <a:gd name="T3" fmla="*/ 7 h 26"/>
                <a:gd name="T4" fmla="*/ 10 w 19"/>
                <a:gd name="T5" fmla="*/ 7 h 26"/>
                <a:gd name="T6" fmla="*/ 10 w 19"/>
                <a:gd name="T7" fmla="*/ 10 h 26"/>
                <a:gd name="T8" fmla="*/ 5 w 19"/>
                <a:gd name="T9" fmla="*/ 12 h 26"/>
                <a:gd name="T10" fmla="*/ 5 w 19"/>
                <a:gd name="T11" fmla="*/ 19 h 26"/>
                <a:gd name="T12" fmla="*/ 5 w 19"/>
                <a:gd name="T13" fmla="*/ 17 h 26"/>
                <a:gd name="T14" fmla="*/ 10 w 19"/>
                <a:gd name="T15" fmla="*/ 12 h 26"/>
                <a:gd name="T16" fmla="*/ 12 w 19"/>
                <a:gd name="T17" fmla="*/ 12 h 26"/>
                <a:gd name="T18" fmla="*/ 17 w 19"/>
                <a:gd name="T19" fmla="*/ 17 h 26"/>
                <a:gd name="T20" fmla="*/ 17 w 19"/>
                <a:gd name="T21" fmla="*/ 19 h 26"/>
                <a:gd name="T22" fmla="*/ 19 w 19"/>
                <a:gd name="T23" fmla="*/ 19 h 26"/>
                <a:gd name="T24" fmla="*/ 19 w 19"/>
                <a:gd name="T25" fmla="*/ 26 h 26"/>
                <a:gd name="T26" fmla="*/ 17 w 19"/>
                <a:gd name="T27" fmla="*/ 26 h 26"/>
                <a:gd name="T28" fmla="*/ 12 w 19"/>
                <a:gd name="T29" fmla="*/ 24 h 26"/>
                <a:gd name="T30" fmla="*/ 3 w 19"/>
                <a:gd name="T31" fmla="*/ 24 h 26"/>
                <a:gd name="T32" fmla="*/ 3 w 19"/>
                <a:gd name="T33" fmla="*/ 19 h 26"/>
                <a:gd name="T34" fmla="*/ 0 w 19"/>
                <a:gd name="T35" fmla="*/ 17 h 26"/>
                <a:gd name="T36" fmla="*/ 0 w 19"/>
                <a:gd name="T37" fmla="*/ 0 h 26"/>
                <a:gd name="T38" fmla="*/ 3 w 19"/>
                <a:gd name="T39" fmla="*/ 0 h 26"/>
                <a:gd name="T40" fmla="*/ 3 w 19"/>
                <a:gd name="T41" fmla="*/ 3 h 26"/>
                <a:gd name="T42" fmla="*/ 5 w 19"/>
                <a:gd name="T43" fmla="*/ 0 h 26"/>
                <a:gd name="T44" fmla="*/ 5 w 19"/>
                <a:gd name="T45" fmla="*/ 3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26"/>
                <a:gd name="T71" fmla="*/ 19 w 19"/>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26">
                  <a:moveTo>
                    <a:pt x="5" y="3"/>
                  </a:moveTo>
                  <a:lnTo>
                    <a:pt x="5" y="7"/>
                  </a:lnTo>
                  <a:lnTo>
                    <a:pt x="10" y="7"/>
                  </a:lnTo>
                  <a:lnTo>
                    <a:pt x="10" y="10"/>
                  </a:lnTo>
                  <a:lnTo>
                    <a:pt x="5" y="12"/>
                  </a:lnTo>
                  <a:lnTo>
                    <a:pt x="5" y="19"/>
                  </a:lnTo>
                  <a:lnTo>
                    <a:pt x="5" y="17"/>
                  </a:lnTo>
                  <a:lnTo>
                    <a:pt x="10" y="12"/>
                  </a:lnTo>
                  <a:lnTo>
                    <a:pt x="12" y="12"/>
                  </a:lnTo>
                  <a:lnTo>
                    <a:pt x="17" y="17"/>
                  </a:lnTo>
                  <a:lnTo>
                    <a:pt x="17" y="19"/>
                  </a:lnTo>
                  <a:lnTo>
                    <a:pt x="19" y="19"/>
                  </a:lnTo>
                  <a:lnTo>
                    <a:pt x="19" y="26"/>
                  </a:lnTo>
                  <a:lnTo>
                    <a:pt x="17" y="26"/>
                  </a:lnTo>
                  <a:lnTo>
                    <a:pt x="12" y="24"/>
                  </a:lnTo>
                  <a:lnTo>
                    <a:pt x="3" y="24"/>
                  </a:lnTo>
                  <a:lnTo>
                    <a:pt x="3" y="19"/>
                  </a:lnTo>
                  <a:lnTo>
                    <a:pt x="0" y="17"/>
                  </a:lnTo>
                  <a:lnTo>
                    <a:pt x="0" y="0"/>
                  </a:lnTo>
                  <a:lnTo>
                    <a:pt x="3" y="0"/>
                  </a:lnTo>
                  <a:lnTo>
                    <a:pt x="3" y="3"/>
                  </a:lnTo>
                  <a:lnTo>
                    <a:pt x="5" y="0"/>
                  </a:lnTo>
                  <a:lnTo>
                    <a:pt x="5"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5" name="Freeform 46">
              <a:extLst>
                <a:ext uri="{FF2B5EF4-FFF2-40B4-BE49-F238E27FC236}">
                  <a16:creationId xmlns:a16="http://schemas.microsoft.com/office/drawing/2014/main" id="{7E59AC24-51A6-4432-B4BC-41CF61636EDA}"/>
                </a:ext>
              </a:extLst>
            </p:cNvPr>
            <p:cNvSpPr>
              <a:spLocks/>
            </p:cNvSpPr>
            <p:nvPr/>
          </p:nvSpPr>
          <p:spPr bwMode="gray">
            <a:xfrm rot="47099">
              <a:off x="2280677" y="2387155"/>
              <a:ext cx="4453" cy="2894"/>
            </a:xfrm>
            <a:custGeom>
              <a:avLst/>
              <a:gdLst>
                <a:gd name="T0" fmla="*/ 3 w 10"/>
                <a:gd name="T1" fmla="*/ 0 h 7"/>
                <a:gd name="T2" fmla="*/ 8 w 10"/>
                <a:gd name="T3" fmla="*/ 5 h 7"/>
                <a:gd name="T4" fmla="*/ 8 w 10"/>
                <a:gd name="T5" fmla="*/ 0 h 7"/>
                <a:gd name="T6" fmla="*/ 10 w 10"/>
                <a:gd name="T7" fmla="*/ 0 h 7"/>
                <a:gd name="T8" fmla="*/ 10 w 10"/>
                <a:gd name="T9" fmla="*/ 5 h 7"/>
                <a:gd name="T10" fmla="*/ 8 w 10"/>
                <a:gd name="T11" fmla="*/ 7 h 7"/>
                <a:gd name="T12" fmla="*/ 3 w 10"/>
                <a:gd name="T13" fmla="*/ 7 h 7"/>
                <a:gd name="T14" fmla="*/ 0 w 10"/>
                <a:gd name="T15" fmla="*/ 5 h 7"/>
                <a:gd name="T16" fmla="*/ 0 w 10"/>
                <a:gd name="T17" fmla="*/ 0 h 7"/>
                <a:gd name="T18" fmla="*/ 3 w 10"/>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7"/>
                <a:gd name="T32" fmla="*/ 10 w 10"/>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7">
                  <a:moveTo>
                    <a:pt x="3" y="0"/>
                  </a:moveTo>
                  <a:lnTo>
                    <a:pt x="8" y="5"/>
                  </a:lnTo>
                  <a:lnTo>
                    <a:pt x="8" y="0"/>
                  </a:lnTo>
                  <a:lnTo>
                    <a:pt x="10" y="0"/>
                  </a:lnTo>
                  <a:lnTo>
                    <a:pt x="10" y="5"/>
                  </a:lnTo>
                  <a:lnTo>
                    <a:pt x="8" y="7"/>
                  </a:lnTo>
                  <a:lnTo>
                    <a:pt x="3" y="7"/>
                  </a:lnTo>
                  <a:lnTo>
                    <a:pt x="0" y="5"/>
                  </a:lnTo>
                  <a:lnTo>
                    <a:pt x="0" y="0"/>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6" name="Freeform 47">
              <a:extLst>
                <a:ext uri="{FF2B5EF4-FFF2-40B4-BE49-F238E27FC236}">
                  <a16:creationId xmlns:a16="http://schemas.microsoft.com/office/drawing/2014/main" id="{40EF95C6-D47A-4470-8A10-7ED261BDFD54}"/>
                </a:ext>
              </a:extLst>
            </p:cNvPr>
            <p:cNvSpPr>
              <a:spLocks/>
            </p:cNvSpPr>
            <p:nvPr/>
          </p:nvSpPr>
          <p:spPr bwMode="gray">
            <a:xfrm rot="47099">
              <a:off x="2277174" y="2381323"/>
              <a:ext cx="5343" cy="5789"/>
            </a:xfrm>
            <a:custGeom>
              <a:avLst/>
              <a:gdLst>
                <a:gd name="T0" fmla="*/ 5 w 12"/>
                <a:gd name="T1" fmla="*/ 0 h 12"/>
                <a:gd name="T2" fmla="*/ 9 w 12"/>
                <a:gd name="T3" fmla="*/ 0 h 12"/>
                <a:gd name="T4" fmla="*/ 12 w 12"/>
                <a:gd name="T5" fmla="*/ 9 h 12"/>
                <a:gd name="T6" fmla="*/ 12 w 12"/>
                <a:gd name="T7" fmla="*/ 12 h 12"/>
                <a:gd name="T8" fmla="*/ 0 w 12"/>
                <a:gd name="T9" fmla="*/ 12 h 12"/>
                <a:gd name="T10" fmla="*/ 2 w 12"/>
                <a:gd name="T11" fmla="*/ 9 h 12"/>
                <a:gd name="T12" fmla="*/ 2 w 12"/>
                <a:gd name="T13" fmla="*/ 0 h 12"/>
                <a:gd name="T14" fmla="*/ 5 w 12"/>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2"/>
                <a:gd name="T26" fmla="*/ 12 w 1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2">
                  <a:moveTo>
                    <a:pt x="5" y="0"/>
                  </a:moveTo>
                  <a:lnTo>
                    <a:pt x="9" y="0"/>
                  </a:lnTo>
                  <a:lnTo>
                    <a:pt x="12" y="9"/>
                  </a:lnTo>
                  <a:lnTo>
                    <a:pt x="12" y="12"/>
                  </a:lnTo>
                  <a:lnTo>
                    <a:pt x="0" y="12"/>
                  </a:lnTo>
                  <a:lnTo>
                    <a:pt x="2" y="9"/>
                  </a:lnTo>
                  <a:lnTo>
                    <a:pt x="2"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7" name="Freeform 48">
              <a:extLst>
                <a:ext uri="{FF2B5EF4-FFF2-40B4-BE49-F238E27FC236}">
                  <a16:creationId xmlns:a16="http://schemas.microsoft.com/office/drawing/2014/main" id="{A6B292C3-F69A-4EAC-81E4-AB9F1BDC414E}"/>
                </a:ext>
              </a:extLst>
            </p:cNvPr>
            <p:cNvSpPr>
              <a:spLocks/>
            </p:cNvSpPr>
            <p:nvPr/>
          </p:nvSpPr>
          <p:spPr bwMode="gray">
            <a:xfrm rot="47099">
              <a:off x="2270940" y="2381250"/>
              <a:ext cx="7125" cy="5789"/>
            </a:xfrm>
            <a:custGeom>
              <a:avLst/>
              <a:gdLst>
                <a:gd name="T0" fmla="*/ 12 w 14"/>
                <a:gd name="T1" fmla="*/ 12 h 12"/>
                <a:gd name="T2" fmla="*/ 7 w 14"/>
                <a:gd name="T3" fmla="*/ 12 h 12"/>
                <a:gd name="T4" fmla="*/ 5 w 14"/>
                <a:gd name="T5" fmla="*/ 9 h 12"/>
                <a:gd name="T6" fmla="*/ 0 w 14"/>
                <a:gd name="T7" fmla="*/ 9 h 12"/>
                <a:gd name="T8" fmla="*/ 0 w 14"/>
                <a:gd name="T9" fmla="*/ 2 h 12"/>
                <a:gd name="T10" fmla="*/ 5 w 14"/>
                <a:gd name="T11" fmla="*/ 2 h 12"/>
                <a:gd name="T12" fmla="*/ 7 w 14"/>
                <a:gd name="T13" fmla="*/ 0 h 12"/>
                <a:gd name="T14" fmla="*/ 12 w 14"/>
                <a:gd name="T15" fmla="*/ 0 h 12"/>
                <a:gd name="T16" fmla="*/ 12 w 14"/>
                <a:gd name="T17" fmla="*/ 2 h 12"/>
                <a:gd name="T18" fmla="*/ 14 w 14"/>
                <a:gd name="T19" fmla="*/ 2 h 12"/>
                <a:gd name="T20" fmla="*/ 12 w 14"/>
                <a:gd name="T21" fmla="*/ 9 h 12"/>
                <a:gd name="T22" fmla="*/ 12 w 14"/>
                <a:gd name="T23" fmla="*/ 1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2"/>
                <a:gd name="T38" fmla="*/ 14 w 14"/>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2">
                  <a:moveTo>
                    <a:pt x="12" y="12"/>
                  </a:moveTo>
                  <a:lnTo>
                    <a:pt x="7" y="12"/>
                  </a:lnTo>
                  <a:lnTo>
                    <a:pt x="5" y="9"/>
                  </a:lnTo>
                  <a:lnTo>
                    <a:pt x="0" y="9"/>
                  </a:lnTo>
                  <a:lnTo>
                    <a:pt x="0" y="2"/>
                  </a:lnTo>
                  <a:lnTo>
                    <a:pt x="5" y="2"/>
                  </a:lnTo>
                  <a:lnTo>
                    <a:pt x="7" y="0"/>
                  </a:lnTo>
                  <a:lnTo>
                    <a:pt x="12" y="0"/>
                  </a:lnTo>
                  <a:lnTo>
                    <a:pt x="12" y="2"/>
                  </a:lnTo>
                  <a:lnTo>
                    <a:pt x="14" y="2"/>
                  </a:lnTo>
                  <a:lnTo>
                    <a:pt x="12" y="9"/>
                  </a:lnTo>
                  <a:lnTo>
                    <a:pt x="12"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8" name="Freeform 49">
              <a:extLst>
                <a:ext uri="{FF2B5EF4-FFF2-40B4-BE49-F238E27FC236}">
                  <a16:creationId xmlns:a16="http://schemas.microsoft.com/office/drawing/2014/main" id="{56CAEEFD-4417-4C95-8003-7F9C6EA21503}"/>
                </a:ext>
              </a:extLst>
            </p:cNvPr>
            <p:cNvSpPr>
              <a:spLocks/>
            </p:cNvSpPr>
            <p:nvPr/>
          </p:nvSpPr>
          <p:spPr bwMode="gray">
            <a:xfrm rot="47099">
              <a:off x="2270196" y="2369642"/>
              <a:ext cx="4453" cy="7718"/>
            </a:xfrm>
            <a:custGeom>
              <a:avLst/>
              <a:gdLst>
                <a:gd name="T0" fmla="*/ 9 w 9"/>
                <a:gd name="T1" fmla="*/ 7 h 15"/>
                <a:gd name="T2" fmla="*/ 9 w 9"/>
                <a:gd name="T3" fmla="*/ 10 h 15"/>
                <a:gd name="T4" fmla="*/ 7 w 9"/>
                <a:gd name="T5" fmla="*/ 15 h 15"/>
                <a:gd name="T6" fmla="*/ 0 w 9"/>
                <a:gd name="T7" fmla="*/ 15 h 15"/>
                <a:gd name="T8" fmla="*/ 0 w 9"/>
                <a:gd name="T9" fmla="*/ 3 h 15"/>
                <a:gd name="T10" fmla="*/ 2 w 9"/>
                <a:gd name="T11" fmla="*/ 0 h 15"/>
                <a:gd name="T12" fmla="*/ 9 w 9"/>
                <a:gd name="T13" fmla="*/ 3 h 15"/>
                <a:gd name="T14" fmla="*/ 9 w 9"/>
                <a:gd name="T15" fmla="*/ 7 h 1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5"/>
                <a:gd name="T26" fmla="*/ 9 w 9"/>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5">
                  <a:moveTo>
                    <a:pt x="9" y="7"/>
                  </a:moveTo>
                  <a:lnTo>
                    <a:pt x="9" y="10"/>
                  </a:lnTo>
                  <a:lnTo>
                    <a:pt x="7" y="15"/>
                  </a:lnTo>
                  <a:lnTo>
                    <a:pt x="0" y="15"/>
                  </a:lnTo>
                  <a:lnTo>
                    <a:pt x="0" y="3"/>
                  </a:lnTo>
                  <a:lnTo>
                    <a:pt x="2" y="0"/>
                  </a:lnTo>
                  <a:lnTo>
                    <a:pt x="9" y="3"/>
                  </a:lnTo>
                  <a:lnTo>
                    <a:pt x="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69" name="Freeform 50">
              <a:extLst>
                <a:ext uri="{FF2B5EF4-FFF2-40B4-BE49-F238E27FC236}">
                  <a16:creationId xmlns:a16="http://schemas.microsoft.com/office/drawing/2014/main" id="{B5C02D6C-95D1-4C37-A9AF-DC8CFDF4F295}"/>
                </a:ext>
              </a:extLst>
            </p:cNvPr>
            <p:cNvSpPr>
              <a:spLocks/>
            </p:cNvSpPr>
            <p:nvPr/>
          </p:nvSpPr>
          <p:spPr bwMode="gray">
            <a:xfrm rot="47099">
              <a:off x="2263961" y="2369563"/>
              <a:ext cx="5343" cy="7718"/>
            </a:xfrm>
            <a:custGeom>
              <a:avLst/>
              <a:gdLst>
                <a:gd name="T0" fmla="*/ 11 w 11"/>
                <a:gd name="T1" fmla="*/ 3 h 15"/>
                <a:gd name="T2" fmla="*/ 11 w 11"/>
                <a:gd name="T3" fmla="*/ 10 h 15"/>
                <a:gd name="T4" fmla="*/ 4 w 11"/>
                <a:gd name="T5" fmla="*/ 15 h 15"/>
                <a:gd name="T6" fmla="*/ 0 w 11"/>
                <a:gd name="T7" fmla="*/ 10 h 15"/>
                <a:gd name="T8" fmla="*/ 0 w 11"/>
                <a:gd name="T9" fmla="*/ 3 h 15"/>
                <a:gd name="T10" fmla="*/ 4 w 11"/>
                <a:gd name="T11" fmla="*/ 3 h 15"/>
                <a:gd name="T12" fmla="*/ 4 w 11"/>
                <a:gd name="T13" fmla="*/ 0 h 15"/>
                <a:gd name="T14" fmla="*/ 7 w 11"/>
                <a:gd name="T15" fmla="*/ 3 h 15"/>
                <a:gd name="T16" fmla="*/ 11 w 11"/>
                <a:gd name="T17" fmla="*/ 3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5"/>
                <a:gd name="T29" fmla="*/ 11 w 1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5">
                  <a:moveTo>
                    <a:pt x="11" y="3"/>
                  </a:moveTo>
                  <a:lnTo>
                    <a:pt x="11" y="10"/>
                  </a:lnTo>
                  <a:lnTo>
                    <a:pt x="4" y="15"/>
                  </a:lnTo>
                  <a:lnTo>
                    <a:pt x="0" y="10"/>
                  </a:lnTo>
                  <a:lnTo>
                    <a:pt x="0" y="3"/>
                  </a:lnTo>
                  <a:lnTo>
                    <a:pt x="4" y="3"/>
                  </a:lnTo>
                  <a:lnTo>
                    <a:pt x="4" y="0"/>
                  </a:lnTo>
                  <a:lnTo>
                    <a:pt x="7" y="3"/>
                  </a:lnTo>
                  <a:lnTo>
                    <a:pt x="11"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0" name="Freeform 51">
              <a:extLst>
                <a:ext uri="{FF2B5EF4-FFF2-40B4-BE49-F238E27FC236}">
                  <a16:creationId xmlns:a16="http://schemas.microsoft.com/office/drawing/2014/main" id="{2022F034-CF75-448E-AB1F-EB10E1616487}"/>
                </a:ext>
              </a:extLst>
            </p:cNvPr>
            <p:cNvSpPr>
              <a:spLocks/>
            </p:cNvSpPr>
            <p:nvPr/>
          </p:nvSpPr>
          <p:spPr bwMode="gray">
            <a:xfrm rot="47099">
              <a:off x="2184501" y="2319263"/>
              <a:ext cx="5343" cy="5789"/>
            </a:xfrm>
            <a:custGeom>
              <a:avLst/>
              <a:gdLst>
                <a:gd name="T0" fmla="*/ 3 w 12"/>
                <a:gd name="T1" fmla="*/ 0 h 12"/>
                <a:gd name="T2" fmla="*/ 3 w 12"/>
                <a:gd name="T3" fmla="*/ 2 h 12"/>
                <a:gd name="T4" fmla="*/ 7 w 12"/>
                <a:gd name="T5" fmla="*/ 5 h 12"/>
                <a:gd name="T6" fmla="*/ 12 w 12"/>
                <a:gd name="T7" fmla="*/ 5 h 12"/>
                <a:gd name="T8" fmla="*/ 12 w 12"/>
                <a:gd name="T9" fmla="*/ 10 h 12"/>
                <a:gd name="T10" fmla="*/ 10 w 12"/>
                <a:gd name="T11" fmla="*/ 12 h 12"/>
                <a:gd name="T12" fmla="*/ 3 w 12"/>
                <a:gd name="T13" fmla="*/ 12 h 12"/>
                <a:gd name="T14" fmla="*/ 3 w 12"/>
                <a:gd name="T15" fmla="*/ 10 h 12"/>
                <a:gd name="T16" fmla="*/ 0 w 12"/>
                <a:gd name="T17" fmla="*/ 2 h 12"/>
                <a:gd name="T18" fmla="*/ 3 w 12"/>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3" y="0"/>
                  </a:moveTo>
                  <a:lnTo>
                    <a:pt x="3" y="2"/>
                  </a:lnTo>
                  <a:lnTo>
                    <a:pt x="7" y="5"/>
                  </a:lnTo>
                  <a:lnTo>
                    <a:pt x="12" y="5"/>
                  </a:lnTo>
                  <a:lnTo>
                    <a:pt x="12" y="10"/>
                  </a:lnTo>
                  <a:lnTo>
                    <a:pt x="10" y="12"/>
                  </a:lnTo>
                  <a:lnTo>
                    <a:pt x="3" y="12"/>
                  </a:lnTo>
                  <a:lnTo>
                    <a:pt x="3" y="10"/>
                  </a:lnTo>
                  <a:lnTo>
                    <a:pt x="0" y="2"/>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1" name="Freeform 52">
              <a:extLst>
                <a:ext uri="{FF2B5EF4-FFF2-40B4-BE49-F238E27FC236}">
                  <a16:creationId xmlns:a16="http://schemas.microsoft.com/office/drawing/2014/main" id="{B64060D6-B64B-4D7C-894F-1C33E580DE89}"/>
                </a:ext>
              </a:extLst>
            </p:cNvPr>
            <p:cNvSpPr>
              <a:spLocks/>
            </p:cNvSpPr>
            <p:nvPr/>
          </p:nvSpPr>
          <p:spPr bwMode="gray">
            <a:xfrm rot="47099">
              <a:off x="2211364" y="2511503"/>
              <a:ext cx="123795" cy="121568"/>
            </a:xfrm>
            <a:custGeom>
              <a:avLst/>
              <a:gdLst>
                <a:gd name="T0" fmla="*/ 248 w 265"/>
                <a:gd name="T1" fmla="*/ 243 h 262"/>
                <a:gd name="T2" fmla="*/ 241 w 265"/>
                <a:gd name="T3" fmla="*/ 236 h 262"/>
                <a:gd name="T4" fmla="*/ 218 w 265"/>
                <a:gd name="T5" fmla="*/ 234 h 262"/>
                <a:gd name="T6" fmla="*/ 204 w 265"/>
                <a:gd name="T7" fmla="*/ 236 h 262"/>
                <a:gd name="T8" fmla="*/ 194 w 265"/>
                <a:gd name="T9" fmla="*/ 251 h 262"/>
                <a:gd name="T10" fmla="*/ 192 w 265"/>
                <a:gd name="T11" fmla="*/ 260 h 262"/>
                <a:gd name="T12" fmla="*/ 178 w 265"/>
                <a:gd name="T13" fmla="*/ 251 h 262"/>
                <a:gd name="T14" fmla="*/ 168 w 265"/>
                <a:gd name="T15" fmla="*/ 262 h 262"/>
                <a:gd name="T16" fmla="*/ 154 w 265"/>
                <a:gd name="T17" fmla="*/ 251 h 262"/>
                <a:gd name="T18" fmla="*/ 154 w 265"/>
                <a:gd name="T19" fmla="*/ 243 h 262"/>
                <a:gd name="T20" fmla="*/ 144 w 265"/>
                <a:gd name="T21" fmla="*/ 227 h 262"/>
                <a:gd name="T22" fmla="*/ 137 w 265"/>
                <a:gd name="T23" fmla="*/ 206 h 262"/>
                <a:gd name="T24" fmla="*/ 140 w 265"/>
                <a:gd name="T25" fmla="*/ 199 h 262"/>
                <a:gd name="T26" fmla="*/ 123 w 265"/>
                <a:gd name="T27" fmla="*/ 194 h 262"/>
                <a:gd name="T28" fmla="*/ 123 w 265"/>
                <a:gd name="T29" fmla="*/ 199 h 262"/>
                <a:gd name="T30" fmla="*/ 121 w 265"/>
                <a:gd name="T31" fmla="*/ 206 h 262"/>
                <a:gd name="T32" fmla="*/ 128 w 265"/>
                <a:gd name="T33" fmla="*/ 220 h 262"/>
                <a:gd name="T34" fmla="*/ 114 w 265"/>
                <a:gd name="T35" fmla="*/ 229 h 262"/>
                <a:gd name="T36" fmla="*/ 97 w 265"/>
                <a:gd name="T37" fmla="*/ 210 h 262"/>
                <a:gd name="T38" fmla="*/ 97 w 265"/>
                <a:gd name="T39" fmla="*/ 196 h 262"/>
                <a:gd name="T40" fmla="*/ 90 w 265"/>
                <a:gd name="T41" fmla="*/ 177 h 262"/>
                <a:gd name="T42" fmla="*/ 78 w 265"/>
                <a:gd name="T43" fmla="*/ 170 h 262"/>
                <a:gd name="T44" fmla="*/ 71 w 265"/>
                <a:gd name="T45" fmla="*/ 163 h 262"/>
                <a:gd name="T46" fmla="*/ 55 w 265"/>
                <a:gd name="T47" fmla="*/ 165 h 262"/>
                <a:gd name="T48" fmla="*/ 38 w 265"/>
                <a:gd name="T49" fmla="*/ 142 h 262"/>
                <a:gd name="T50" fmla="*/ 24 w 265"/>
                <a:gd name="T51" fmla="*/ 137 h 262"/>
                <a:gd name="T52" fmla="*/ 24 w 265"/>
                <a:gd name="T53" fmla="*/ 123 h 262"/>
                <a:gd name="T54" fmla="*/ 24 w 265"/>
                <a:gd name="T55" fmla="*/ 109 h 262"/>
                <a:gd name="T56" fmla="*/ 15 w 265"/>
                <a:gd name="T57" fmla="*/ 97 h 262"/>
                <a:gd name="T58" fmla="*/ 15 w 265"/>
                <a:gd name="T59" fmla="*/ 85 h 262"/>
                <a:gd name="T60" fmla="*/ 26 w 265"/>
                <a:gd name="T61" fmla="*/ 90 h 262"/>
                <a:gd name="T62" fmla="*/ 33 w 265"/>
                <a:gd name="T63" fmla="*/ 76 h 262"/>
                <a:gd name="T64" fmla="*/ 17 w 265"/>
                <a:gd name="T65" fmla="*/ 66 h 262"/>
                <a:gd name="T66" fmla="*/ 5 w 265"/>
                <a:gd name="T67" fmla="*/ 52 h 262"/>
                <a:gd name="T68" fmla="*/ 7 w 265"/>
                <a:gd name="T69" fmla="*/ 43 h 262"/>
                <a:gd name="T70" fmla="*/ 24 w 265"/>
                <a:gd name="T71" fmla="*/ 50 h 262"/>
                <a:gd name="T72" fmla="*/ 31 w 265"/>
                <a:gd name="T73" fmla="*/ 57 h 262"/>
                <a:gd name="T74" fmla="*/ 48 w 265"/>
                <a:gd name="T75" fmla="*/ 50 h 262"/>
                <a:gd name="T76" fmla="*/ 26 w 265"/>
                <a:gd name="T77" fmla="*/ 28 h 262"/>
                <a:gd name="T78" fmla="*/ 17 w 265"/>
                <a:gd name="T79" fmla="*/ 12 h 262"/>
                <a:gd name="T80" fmla="*/ 31 w 265"/>
                <a:gd name="T81" fmla="*/ 12 h 262"/>
                <a:gd name="T82" fmla="*/ 45 w 265"/>
                <a:gd name="T83" fmla="*/ 19 h 262"/>
                <a:gd name="T84" fmla="*/ 55 w 265"/>
                <a:gd name="T85" fmla="*/ 26 h 262"/>
                <a:gd name="T86" fmla="*/ 90 w 265"/>
                <a:gd name="T87" fmla="*/ 36 h 262"/>
                <a:gd name="T88" fmla="*/ 102 w 265"/>
                <a:gd name="T89" fmla="*/ 28 h 262"/>
                <a:gd name="T90" fmla="*/ 121 w 265"/>
                <a:gd name="T91" fmla="*/ 21 h 262"/>
                <a:gd name="T92" fmla="*/ 128 w 265"/>
                <a:gd name="T93" fmla="*/ 17 h 262"/>
                <a:gd name="T94" fmla="*/ 140 w 265"/>
                <a:gd name="T95" fmla="*/ 12 h 262"/>
                <a:gd name="T96" fmla="*/ 147 w 265"/>
                <a:gd name="T97" fmla="*/ 2 h 262"/>
                <a:gd name="T98" fmla="*/ 185 w 265"/>
                <a:gd name="T99" fmla="*/ 2 h 2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5"/>
                <a:gd name="T151" fmla="*/ 0 h 262"/>
                <a:gd name="T152" fmla="*/ 265 w 265"/>
                <a:gd name="T153" fmla="*/ 262 h 2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5" h="262">
                  <a:moveTo>
                    <a:pt x="265" y="246"/>
                  </a:moveTo>
                  <a:lnTo>
                    <a:pt x="255" y="246"/>
                  </a:lnTo>
                  <a:lnTo>
                    <a:pt x="248" y="243"/>
                  </a:lnTo>
                  <a:lnTo>
                    <a:pt x="244" y="239"/>
                  </a:lnTo>
                  <a:lnTo>
                    <a:pt x="244" y="236"/>
                  </a:lnTo>
                  <a:lnTo>
                    <a:pt x="241" y="236"/>
                  </a:lnTo>
                  <a:lnTo>
                    <a:pt x="227" y="229"/>
                  </a:lnTo>
                  <a:lnTo>
                    <a:pt x="220" y="229"/>
                  </a:lnTo>
                  <a:lnTo>
                    <a:pt x="218" y="234"/>
                  </a:lnTo>
                  <a:lnTo>
                    <a:pt x="211" y="234"/>
                  </a:lnTo>
                  <a:lnTo>
                    <a:pt x="208" y="236"/>
                  </a:lnTo>
                  <a:lnTo>
                    <a:pt x="204" y="236"/>
                  </a:lnTo>
                  <a:lnTo>
                    <a:pt x="208" y="246"/>
                  </a:lnTo>
                  <a:lnTo>
                    <a:pt x="204" y="251"/>
                  </a:lnTo>
                  <a:lnTo>
                    <a:pt x="194" y="251"/>
                  </a:lnTo>
                  <a:lnTo>
                    <a:pt x="194" y="253"/>
                  </a:lnTo>
                  <a:lnTo>
                    <a:pt x="199" y="255"/>
                  </a:lnTo>
                  <a:lnTo>
                    <a:pt x="192" y="260"/>
                  </a:lnTo>
                  <a:lnTo>
                    <a:pt x="185" y="255"/>
                  </a:lnTo>
                  <a:lnTo>
                    <a:pt x="180" y="255"/>
                  </a:lnTo>
                  <a:lnTo>
                    <a:pt x="178" y="251"/>
                  </a:lnTo>
                  <a:lnTo>
                    <a:pt x="168" y="251"/>
                  </a:lnTo>
                  <a:lnTo>
                    <a:pt x="163" y="253"/>
                  </a:lnTo>
                  <a:lnTo>
                    <a:pt x="168" y="262"/>
                  </a:lnTo>
                  <a:lnTo>
                    <a:pt x="163" y="260"/>
                  </a:lnTo>
                  <a:lnTo>
                    <a:pt x="161" y="260"/>
                  </a:lnTo>
                  <a:lnTo>
                    <a:pt x="154" y="251"/>
                  </a:lnTo>
                  <a:lnTo>
                    <a:pt x="152" y="246"/>
                  </a:lnTo>
                  <a:lnTo>
                    <a:pt x="152" y="243"/>
                  </a:lnTo>
                  <a:lnTo>
                    <a:pt x="154" y="243"/>
                  </a:lnTo>
                  <a:lnTo>
                    <a:pt x="154" y="239"/>
                  </a:lnTo>
                  <a:lnTo>
                    <a:pt x="147" y="229"/>
                  </a:lnTo>
                  <a:lnTo>
                    <a:pt x="144" y="227"/>
                  </a:lnTo>
                  <a:lnTo>
                    <a:pt x="144" y="222"/>
                  </a:lnTo>
                  <a:lnTo>
                    <a:pt x="140" y="215"/>
                  </a:lnTo>
                  <a:lnTo>
                    <a:pt x="137" y="206"/>
                  </a:lnTo>
                  <a:lnTo>
                    <a:pt x="137" y="203"/>
                  </a:lnTo>
                  <a:lnTo>
                    <a:pt x="140" y="203"/>
                  </a:lnTo>
                  <a:lnTo>
                    <a:pt x="140" y="199"/>
                  </a:lnTo>
                  <a:lnTo>
                    <a:pt x="135" y="194"/>
                  </a:lnTo>
                  <a:lnTo>
                    <a:pt x="123" y="189"/>
                  </a:lnTo>
                  <a:lnTo>
                    <a:pt x="123" y="194"/>
                  </a:lnTo>
                  <a:lnTo>
                    <a:pt x="128" y="196"/>
                  </a:lnTo>
                  <a:lnTo>
                    <a:pt x="128" y="199"/>
                  </a:lnTo>
                  <a:lnTo>
                    <a:pt x="123" y="199"/>
                  </a:lnTo>
                  <a:lnTo>
                    <a:pt x="123" y="203"/>
                  </a:lnTo>
                  <a:lnTo>
                    <a:pt x="121" y="203"/>
                  </a:lnTo>
                  <a:lnTo>
                    <a:pt x="121" y="206"/>
                  </a:lnTo>
                  <a:lnTo>
                    <a:pt x="123" y="210"/>
                  </a:lnTo>
                  <a:lnTo>
                    <a:pt x="123" y="213"/>
                  </a:lnTo>
                  <a:lnTo>
                    <a:pt x="128" y="220"/>
                  </a:lnTo>
                  <a:lnTo>
                    <a:pt x="123" y="227"/>
                  </a:lnTo>
                  <a:lnTo>
                    <a:pt x="118" y="227"/>
                  </a:lnTo>
                  <a:lnTo>
                    <a:pt x="114" y="229"/>
                  </a:lnTo>
                  <a:lnTo>
                    <a:pt x="111" y="234"/>
                  </a:lnTo>
                  <a:lnTo>
                    <a:pt x="107" y="229"/>
                  </a:lnTo>
                  <a:lnTo>
                    <a:pt x="97" y="210"/>
                  </a:lnTo>
                  <a:lnTo>
                    <a:pt x="102" y="206"/>
                  </a:lnTo>
                  <a:lnTo>
                    <a:pt x="102" y="203"/>
                  </a:lnTo>
                  <a:lnTo>
                    <a:pt x="97" y="196"/>
                  </a:lnTo>
                  <a:lnTo>
                    <a:pt x="95" y="194"/>
                  </a:lnTo>
                  <a:lnTo>
                    <a:pt x="95" y="180"/>
                  </a:lnTo>
                  <a:lnTo>
                    <a:pt x="90" y="177"/>
                  </a:lnTo>
                  <a:lnTo>
                    <a:pt x="90" y="173"/>
                  </a:lnTo>
                  <a:lnTo>
                    <a:pt x="81" y="173"/>
                  </a:lnTo>
                  <a:lnTo>
                    <a:pt x="78" y="170"/>
                  </a:lnTo>
                  <a:lnTo>
                    <a:pt x="74" y="170"/>
                  </a:lnTo>
                  <a:lnTo>
                    <a:pt x="74" y="165"/>
                  </a:lnTo>
                  <a:lnTo>
                    <a:pt x="71" y="163"/>
                  </a:lnTo>
                  <a:lnTo>
                    <a:pt x="66" y="163"/>
                  </a:lnTo>
                  <a:lnTo>
                    <a:pt x="66" y="165"/>
                  </a:lnTo>
                  <a:lnTo>
                    <a:pt x="55" y="165"/>
                  </a:lnTo>
                  <a:lnTo>
                    <a:pt x="50" y="163"/>
                  </a:lnTo>
                  <a:lnTo>
                    <a:pt x="50" y="149"/>
                  </a:lnTo>
                  <a:lnTo>
                    <a:pt x="38" y="142"/>
                  </a:lnTo>
                  <a:lnTo>
                    <a:pt x="26" y="140"/>
                  </a:lnTo>
                  <a:lnTo>
                    <a:pt x="24" y="140"/>
                  </a:lnTo>
                  <a:lnTo>
                    <a:pt x="24" y="137"/>
                  </a:lnTo>
                  <a:lnTo>
                    <a:pt x="22" y="137"/>
                  </a:lnTo>
                  <a:lnTo>
                    <a:pt x="24" y="130"/>
                  </a:lnTo>
                  <a:lnTo>
                    <a:pt x="24" y="123"/>
                  </a:lnTo>
                  <a:lnTo>
                    <a:pt x="31" y="116"/>
                  </a:lnTo>
                  <a:lnTo>
                    <a:pt x="26" y="109"/>
                  </a:lnTo>
                  <a:lnTo>
                    <a:pt x="24" y="109"/>
                  </a:lnTo>
                  <a:lnTo>
                    <a:pt x="17" y="106"/>
                  </a:lnTo>
                  <a:lnTo>
                    <a:pt x="15" y="99"/>
                  </a:lnTo>
                  <a:lnTo>
                    <a:pt x="15" y="97"/>
                  </a:lnTo>
                  <a:lnTo>
                    <a:pt x="10" y="90"/>
                  </a:lnTo>
                  <a:lnTo>
                    <a:pt x="15" y="90"/>
                  </a:lnTo>
                  <a:lnTo>
                    <a:pt x="15" y="85"/>
                  </a:lnTo>
                  <a:lnTo>
                    <a:pt x="17" y="85"/>
                  </a:lnTo>
                  <a:lnTo>
                    <a:pt x="22" y="90"/>
                  </a:lnTo>
                  <a:lnTo>
                    <a:pt x="26" y="90"/>
                  </a:lnTo>
                  <a:lnTo>
                    <a:pt x="26" y="80"/>
                  </a:lnTo>
                  <a:lnTo>
                    <a:pt x="31" y="76"/>
                  </a:lnTo>
                  <a:lnTo>
                    <a:pt x="33" y="76"/>
                  </a:lnTo>
                  <a:lnTo>
                    <a:pt x="33" y="73"/>
                  </a:lnTo>
                  <a:lnTo>
                    <a:pt x="26" y="73"/>
                  </a:lnTo>
                  <a:lnTo>
                    <a:pt x="17" y="66"/>
                  </a:lnTo>
                  <a:lnTo>
                    <a:pt x="10" y="59"/>
                  </a:lnTo>
                  <a:lnTo>
                    <a:pt x="7" y="57"/>
                  </a:lnTo>
                  <a:lnTo>
                    <a:pt x="5" y="52"/>
                  </a:lnTo>
                  <a:lnTo>
                    <a:pt x="0" y="50"/>
                  </a:lnTo>
                  <a:lnTo>
                    <a:pt x="0" y="43"/>
                  </a:lnTo>
                  <a:lnTo>
                    <a:pt x="7" y="43"/>
                  </a:lnTo>
                  <a:lnTo>
                    <a:pt x="10" y="45"/>
                  </a:lnTo>
                  <a:lnTo>
                    <a:pt x="17" y="50"/>
                  </a:lnTo>
                  <a:lnTo>
                    <a:pt x="24" y="50"/>
                  </a:lnTo>
                  <a:lnTo>
                    <a:pt x="24" y="52"/>
                  </a:lnTo>
                  <a:lnTo>
                    <a:pt x="26" y="57"/>
                  </a:lnTo>
                  <a:lnTo>
                    <a:pt x="31" y="57"/>
                  </a:lnTo>
                  <a:lnTo>
                    <a:pt x="45" y="59"/>
                  </a:lnTo>
                  <a:lnTo>
                    <a:pt x="45" y="57"/>
                  </a:lnTo>
                  <a:lnTo>
                    <a:pt x="48" y="50"/>
                  </a:lnTo>
                  <a:lnTo>
                    <a:pt x="45" y="45"/>
                  </a:lnTo>
                  <a:lnTo>
                    <a:pt x="38" y="40"/>
                  </a:lnTo>
                  <a:lnTo>
                    <a:pt x="26" y="28"/>
                  </a:lnTo>
                  <a:lnTo>
                    <a:pt x="26" y="21"/>
                  </a:lnTo>
                  <a:lnTo>
                    <a:pt x="22" y="17"/>
                  </a:lnTo>
                  <a:lnTo>
                    <a:pt x="17" y="12"/>
                  </a:lnTo>
                  <a:lnTo>
                    <a:pt x="17" y="10"/>
                  </a:lnTo>
                  <a:lnTo>
                    <a:pt x="24" y="10"/>
                  </a:lnTo>
                  <a:lnTo>
                    <a:pt x="31" y="12"/>
                  </a:lnTo>
                  <a:lnTo>
                    <a:pt x="33" y="12"/>
                  </a:lnTo>
                  <a:lnTo>
                    <a:pt x="41" y="19"/>
                  </a:lnTo>
                  <a:lnTo>
                    <a:pt x="45" y="19"/>
                  </a:lnTo>
                  <a:lnTo>
                    <a:pt x="48" y="21"/>
                  </a:lnTo>
                  <a:lnTo>
                    <a:pt x="50" y="21"/>
                  </a:lnTo>
                  <a:lnTo>
                    <a:pt x="55" y="26"/>
                  </a:lnTo>
                  <a:lnTo>
                    <a:pt x="78" y="26"/>
                  </a:lnTo>
                  <a:lnTo>
                    <a:pt x="81" y="28"/>
                  </a:lnTo>
                  <a:lnTo>
                    <a:pt x="90" y="36"/>
                  </a:lnTo>
                  <a:lnTo>
                    <a:pt x="95" y="36"/>
                  </a:lnTo>
                  <a:lnTo>
                    <a:pt x="97" y="33"/>
                  </a:lnTo>
                  <a:lnTo>
                    <a:pt x="102" y="28"/>
                  </a:lnTo>
                  <a:lnTo>
                    <a:pt x="107" y="26"/>
                  </a:lnTo>
                  <a:lnTo>
                    <a:pt x="121" y="26"/>
                  </a:lnTo>
                  <a:lnTo>
                    <a:pt x="121" y="21"/>
                  </a:lnTo>
                  <a:lnTo>
                    <a:pt x="123" y="21"/>
                  </a:lnTo>
                  <a:lnTo>
                    <a:pt x="128" y="19"/>
                  </a:lnTo>
                  <a:lnTo>
                    <a:pt x="128" y="17"/>
                  </a:lnTo>
                  <a:lnTo>
                    <a:pt x="130" y="17"/>
                  </a:lnTo>
                  <a:lnTo>
                    <a:pt x="130" y="12"/>
                  </a:lnTo>
                  <a:lnTo>
                    <a:pt x="140" y="12"/>
                  </a:lnTo>
                  <a:lnTo>
                    <a:pt x="144" y="10"/>
                  </a:lnTo>
                  <a:lnTo>
                    <a:pt x="147" y="10"/>
                  </a:lnTo>
                  <a:lnTo>
                    <a:pt x="147" y="2"/>
                  </a:lnTo>
                  <a:lnTo>
                    <a:pt x="170" y="2"/>
                  </a:lnTo>
                  <a:lnTo>
                    <a:pt x="175" y="5"/>
                  </a:lnTo>
                  <a:lnTo>
                    <a:pt x="185" y="2"/>
                  </a:lnTo>
                  <a:lnTo>
                    <a:pt x="18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2" name="Freeform 53">
              <a:extLst>
                <a:ext uri="{FF2B5EF4-FFF2-40B4-BE49-F238E27FC236}">
                  <a16:creationId xmlns:a16="http://schemas.microsoft.com/office/drawing/2014/main" id="{AA2D02B5-6200-4E25-B92D-4080CBB99FD2}"/>
                </a:ext>
              </a:extLst>
            </p:cNvPr>
            <p:cNvSpPr>
              <a:spLocks/>
            </p:cNvSpPr>
            <p:nvPr/>
          </p:nvSpPr>
          <p:spPr bwMode="gray">
            <a:xfrm rot="47099">
              <a:off x="2160186" y="2308830"/>
              <a:ext cx="359807" cy="328042"/>
            </a:xfrm>
            <a:custGeom>
              <a:avLst/>
              <a:gdLst>
                <a:gd name="T0" fmla="*/ 288 w 775"/>
                <a:gd name="T1" fmla="*/ 361 h 706"/>
                <a:gd name="T2" fmla="*/ 241 w 775"/>
                <a:gd name="T3" fmla="*/ 328 h 706"/>
                <a:gd name="T4" fmla="*/ 210 w 775"/>
                <a:gd name="T5" fmla="*/ 314 h 706"/>
                <a:gd name="T6" fmla="*/ 184 w 775"/>
                <a:gd name="T7" fmla="*/ 245 h 706"/>
                <a:gd name="T8" fmla="*/ 163 w 775"/>
                <a:gd name="T9" fmla="*/ 189 h 706"/>
                <a:gd name="T10" fmla="*/ 118 w 775"/>
                <a:gd name="T11" fmla="*/ 153 h 706"/>
                <a:gd name="T12" fmla="*/ 106 w 775"/>
                <a:gd name="T13" fmla="*/ 118 h 706"/>
                <a:gd name="T14" fmla="*/ 99 w 775"/>
                <a:gd name="T15" fmla="*/ 108 h 706"/>
                <a:gd name="T16" fmla="*/ 78 w 775"/>
                <a:gd name="T17" fmla="*/ 104 h 706"/>
                <a:gd name="T18" fmla="*/ 40 w 775"/>
                <a:gd name="T19" fmla="*/ 73 h 706"/>
                <a:gd name="T20" fmla="*/ 14 w 775"/>
                <a:gd name="T21" fmla="*/ 14 h 706"/>
                <a:gd name="T22" fmla="*/ 21 w 775"/>
                <a:gd name="T23" fmla="*/ 7 h 706"/>
                <a:gd name="T24" fmla="*/ 38 w 775"/>
                <a:gd name="T25" fmla="*/ 30 h 706"/>
                <a:gd name="T26" fmla="*/ 64 w 775"/>
                <a:gd name="T27" fmla="*/ 45 h 706"/>
                <a:gd name="T28" fmla="*/ 106 w 775"/>
                <a:gd name="T29" fmla="*/ 64 h 706"/>
                <a:gd name="T30" fmla="*/ 123 w 775"/>
                <a:gd name="T31" fmla="*/ 71 h 706"/>
                <a:gd name="T32" fmla="*/ 154 w 775"/>
                <a:gd name="T33" fmla="*/ 104 h 706"/>
                <a:gd name="T34" fmla="*/ 170 w 775"/>
                <a:gd name="T35" fmla="*/ 104 h 706"/>
                <a:gd name="T36" fmla="*/ 168 w 775"/>
                <a:gd name="T37" fmla="*/ 149 h 706"/>
                <a:gd name="T38" fmla="*/ 187 w 775"/>
                <a:gd name="T39" fmla="*/ 134 h 706"/>
                <a:gd name="T40" fmla="*/ 196 w 775"/>
                <a:gd name="T41" fmla="*/ 144 h 706"/>
                <a:gd name="T42" fmla="*/ 231 w 775"/>
                <a:gd name="T43" fmla="*/ 170 h 706"/>
                <a:gd name="T44" fmla="*/ 288 w 775"/>
                <a:gd name="T45" fmla="*/ 184 h 706"/>
                <a:gd name="T46" fmla="*/ 291 w 775"/>
                <a:gd name="T47" fmla="*/ 222 h 706"/>
                <a:gd name="T48" fmla="*/ 272 w 775"/>
                <a:gd name="T49" fmla="*/ 222 h 706"/>
                <a:gd name="T50" fmla="*/ 300 w 775"/>
                <a:gd name="T51" fmla="*/ 241 h 706"/>
                <a:gd name="T52" fmla="*/ 312 w 775"/>
                <a:gd name="T53" fmla="*/ 257 h 706"/>
                <a:gd name="T54" fmla="*/ 333 w 775"/>
                <a:gd name="T55" fmla="*/ 271 h 706"/>
                <a:gd name="T56" fmla="*/ 352 w 775"/>
                <a:gd name="T57" fmla="*/ 274 h 706"/>
                <a:gd name="T58" fmla="*/ 385 w 775"/>
                <a:gd name="T59" fmla="*/ 278 h 706"/>
                <a:gd name="T60" fmla="*/ 409 w 775"/>
                <a:gd name="T61" fmla="*/ 295 h 706"/>
                <a:gd name="T62" fmla="*/ 413 w 775"/>
                <a:gd name="T63" fmla="*/ 335 h 706"/>
                <a:gd name="T64" fmla="*/ 430 w 775"/>
                <a:gd name="T65" fmla="*/ 297 h 706"/>
                <a:gd name="T66" fmla="*/ 461 w 775"/>
                <a:gd name="T67" fmla="*/ 304 h 706"/>
                <a:gd name="T68" fmla="*/ 470 w 775"/>
                <a:gd name="T69" fmla="*/ 302 h 706"/>
                <a:gd name="T70" fmla="*/ 515 w 775"/>
                <a:gd name="T71" fmla="*/ 295 h 706"/>
                <a:gd name="T72" fmla="*/ 567 w 775"/>
                <a:gd name="T73" fmla="*/ 274 h 706"/>
                <a:gd name="T74" fmla="*/ 574 w 775"/>
                <a:gd name="T75" fmla="*/ 302 h 706"/>
                <a:gd name="T76" fmla="*/ 541 w 775"/>
                <a:gd name="T77" fmla="*/ 345 h 706"/>
                <a:gd name="T78" fmla="*/ 522 w 775"/>
                <a:gd name="T79" fmla="*/ 375 h 706"/>
                <a:gd name="T80" fmla="*/ 534 w 775"/>
                <a:gd name="T81" fmla="*/ 368 h 706"/>
                <a:gd name="T82" fmla="*/ 498 w 775"/>
                <a:gd name="T83" fmla="*/ 416 h 706"/>
                <a:gd name="T84" fmla="*/ 510 w 775"/>
                <a:gd name="T85" fmla="*/ 444 h 706"/>
                <a:gd name="T86" fmla="*/ 524 w 775"/>
                <a:gd name="T87" fmla="*/ 427 h 706"/>
                <a:gd name="T88" fmla="*/ 541 w 775"/>
                <a:gd name="T89" fmla="*/ 385 h 706"/>
                <a:gd name="T90" fmla="*/ 562 w 775"/>
                <a:gd name="T91" fmla="*/ 338 h 706"/>
                <a:gd name="T92" fmla="*/ 628 w 775"/>
                <a:gd name="T93" fmla="*/ 328 h 706"/>
                <a:gd name="T94" fmla="*/ 635 w 775"/>
                <a:gd name="T95" fmla="*/ 361 h 706"/>
                <a:gd name="T96" fmla="*/ 652 w 775"/>
                <a:gd name="T97" fmla="*/ 328 h 706"/>
                <a:gd name="T98" fmla="*/ 694 w 775"/>
                <a:gd name="T99" fmla="*/ 330 h 706"/>
                <a:gd name="T100" fmla="*/ 725 w 775"/>
                <a:gd name="T101" fmla="*/ 361 h 706"/>
                <a:gd name="T102" fmla="*/ 732 w 775"/>
                <a:gd name="T103" fmla="*/ 387 h 706"/>
                <a:gd name="T104" fmla="*/ 749 w 775"/>
                <a:gd name="T105" fmla="*/ 394 h 706"/>
                <a:gd name="T106" fmla="*/ 768 w 775"/>
                <a:gd name="T107" fmla="*/ 411 h 706"/>
                <a:gd name="T108" fmla="*/ 718 w 775"/>
                <a:gd name="T109" fmla="*/ 472 h 706"/>
                <a:gd name="T110" fmla="*/ 489 w 775"/>
                <a:gd name="T111" fmla="*/ 609 h 706"/>
                <a:gd name="T112" fmla="*/ 385 w 775"/>
                <a:gd name="T113" fmla="*/ 621 h 706"/>
                <a:gd name="T114" fmla="*/ 397 w 775"/>
                <a:gd name="T115" fmla="*/ 588 h 706"/>
                <a:gd name="T116" fmla="*/ 357 w 775"/>
                <a:gd name="T117" fmla="*/ 588 h 706"/>
                <a:gd name="T118" fmla="*/ 387 w 775"/>
                <a:gd name="T119" fmla="*/ 678 h 7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75"/>
                <a:gd name="T181" fmla="*/ 0 h 706"/>
                <a:gd name="T182" fmla="*/ 775 w 775"/>
                <a:gd name="T183" fmla="*/ 706 h 7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75" h="706">
                  <a:moveTo>
                    <a:pt x="300" y="439"/>
                  </a:moveTo>
                  <a:lnTo>
                    <a:pt x="300" y="425"/>
                  </a:lnTo>
                  <a:lnTo>
                    <a:pt x="298" y="416"/>
                  </a:lnTo>
                  <a:lnTo>
                    <a:pt x="298" y="408"/>
                  </a:lnTo>
                  <a:lnTo>
                    <a:pt x="293" y="401"/>
                  </a:lnTo>
                  <a:lnTo>
                    <a:pt x="288" y="401"/>
                  </a:lnTo>
                  <a:lnTo>
                    <a:pt x="288" y="399"/>
                  </a:lnTo>
                  <a:lnTo>
                    <a:pt x="283" y="399"/>
                  </a:lnTo>
                  <a:lnTo>
                    <a:pt x="283" y="382"/>
                  </a:lnTo>
                  <a:lnTo>
                    <a:pt x="288" y="378"/>
                  </a:lnTo>
                  <a:lnTo>
                    <a:pt x="293" y="368"/>
                  </a:lnTo>
                  <a:lnTo>
                    <a:pt x="293" y="364"/>
                  </a:lnTo>
                  <a:lnTo>
                    <a:pt x="291" y="364"/>
                  </a:lnTo>
                  <a:lnTo>
                    <a:pt x="288" y="361"/>
                  </a:lnTo>
                  <a:lnTo>
                    <a:pt x="288" y="359"/>
                  </a:lnTo>
                  <a:lnTo>
                    <a:pt x="283" y="354"/>
                  </a:lnTo>
                  <a:lnTo>
                    <a:pt x="283" y="352"/>
                  </a:lnTo>
                  <a:lnTo>
                    <a:pt x="281" y="352"/>
                  </a:lnTo>
                  <a:lnTo>
                    <a:pt x="281" y="354"/>
                  </a:lnTo>
                  <a:lnTo>
                    <a:pt x="276" y="354"/>
                  </a:lnTo>
                  <a:lnTo>
                    <a:pt x="267" y="352"/>
                  </a:lnTo>
                  <a:lnTo>
                    <a:pt x="265" y="347"/>
                  </a:lnTo>
                  <a:lnTo>
                    <a:pt x="260" y="345"/>
                  </a:lnTo>
                  <a:lnTo>
                    <a:pt x="253" y="342"/>
                  </a:lnTo>
                  <a:lnTo>
                    <a:pt x="248" y="342"/>
                  </a:lnTo>
                  <a:lnTo>
                    <a:pt x="243" y="338"/>
                  </a:lnTo>
                  <a:lnTo>
                    <a:pt x="241" y="335"/>
                  </a:lnTo>
                  <a:lnTo>
                    <a:pt x="241" y="328"/>
                  </a:lnTo>
                  <a:lnTo>
                    <a:pt x="243" y="326"/>
                  </a:lnTo>
                  <a:lnTo>
                    <a:pt x="248" y="321"/>
                  </a:lnTo>
                  <a:lnTo>
                    <a:pt x="248" y="319"/>
                  </a:lnTo>
                  <a:lnTo>
                    <a:pt x="248" y="321"/>
                  </a:lnTo>
                  <a:lnTo>
                    <a:pt x="243" y="321"/>
                  </a:lnTo>
                  <a:lnTo>
                    <a:pt x="234" y="326"/>
                  </a:lnTo>
                  <a:lnTo>
                    <a:pt x="227" y="326"/>
                  </a:lnTo>
                  <a:lnTo>
                    <a:pt x="220" y="328"/>
                  </a:lnTo>
                  <a:lnTo>
                    <a:pt x="220" y="326"/>
                  </a:lnTo>
                  <a:lnTo>
                    <a:pt x="217" y="321"/>
                  </a:lnTo>
                  <a:lnTo>
                    <a:pt x="220" y="319"/>
                  </a:lnTo>
                  <a:lnTo>
                    <a:pt x="220" y="312"/>
                  </a:lnTo>
                  <a:lnTo>
                    <a:pt x="215" y="312"/>
                  </a:lnTo>
                  <a:lnTo>
                    <a:pt x="210" y="314"/>
                  </a:lnTo>
                  <a:lnTo>
                    <a:pt x="208" y="312"/>
                  </a:lnTo>
                  <a:lnTo>
                    <a:pt x="203" y="304"/>
                  </a:lnTo>
                  <a:lnTo>
                    <a:pt x="203" y="302"/>
                  </a:lnTo>
                  <a:lnTo>
                    <a:pt x="208" y="302"/>
                  </a:lnTo>
                  <a:lnTo>
                    <a:pt x="210" y="295"/>
                  </a:lnTo>
                  <a:lnTo>
                    <a:pt x="203" y="288"/>
                  </a:lnTo>
                  <a:lnTo>
                    <a:pt x="196" y="286"/>
                  </a:lnTo>
                  <a:lnTo>
                    <a:pt x="191" y="281"/>
                  </a:lnTo>
                  <a:lnTo>
                    <a:pt x="187" y="278"/>
                  </a:lnTo>
                  <a:lnTo>
                    <a:pt x="187" y="274"/>
                  </a:lnTo>
                  <a:lnTo>
                    <a:pt x="191" y="271"/>
                  </a:lnTo>
                  <a:lnTo>
                    <a:pt x="187" y="267"/>
                  </a:lnTo>
                  <a:lnTo>
                    <a:pt x="187" y="255"/>
                  </a:lnTo>
                  <a:lnTo>
                    <a:pt x="184" y="245"/>
                  </a:lnTo>
                  <a:lnTo>
                    <a:pt x="184" y="241"/>
                  </a:lnTo>
                  <a:lnTo>
                    <a:pt x="179" y="227"/>
                  </a:lnTo>
                  <a:lnTo>
                    <a:pt x="177" y="227"/>
                  </a:lnTo>
                  <a:lnTo>
                    <a:pt x="177" y="231"/>
                  </a:lnTo>
                  <a:lnTo>
                    <a:pt x="179" y="234"/>
                  </a:lnTo>
                  <a:lnTo>
                    <a:pt x="177" y="234"/>
                  </a:lnTo>
                  <a:lnTo>
                    <a:pt x="177" y="231"/>
                  </a:lnTo>
                  <a:lnTo>
                    <a:pt x="175" y="224"/>
                  </a:lnTo>
                  <a:lnTo>
                    <a:pt x="175" y="215"/>
                  </a:lnTo>
                  <a:lnTo>
                    <a:pt x="170" y="215"/>
                  </a:lnTo>
                  <a:lnTo>
                    <a:pt x="170" y="210"/>
                  </a:lnTo>
                  <a:lnTo>
                    <a:pt x="168" y="205"/>
                  </a:lnTo>
                  <a:lnTo>
                    <a:pt x="168" y="191"/>
                  </a:lnTo>
                  <a:lnTo>
                    <a:pt x="163" y="189"/>
                  </a:lnTo>
                  <a:lnTo>
                    <a:pt x="163" y="193"/>
                  </a:lnTo>
                  <a:lnTo>
                    <a:pt x="144" y="193"/>
                  </a:lnTo>
                  <a:lnTo>
                    <a:pt x="139" y="191"/>
                  </a:lnTo>
                  <a:lnTo>
                    <a:pt x="139" y="189"/>
                  </a:lnTo>
                  <a:lnTo>
                    <a:pt x="137" y="189"/>
                  </a:lnTo>
                  <a:lnTo>
                    <a:pt x="130" y="182"/>
                  </a:lnTo>
                  <a:lnTo>
                    <a:pt x="128" y="177"/>
                  </a:lnTo>
                  <a:lnTo>
                    <a:pt x="128" y="175"/>
                  </a:lnTo>
                  <a:lnTo>
                    <a:pt x="123" y="175"/>
                  </a:lnTo>
                  <a:lnTo>
                    <a:pt x="120" y="177"/>
                  </a:lnTo>
                  <a:lnTo>
                    <a:pt x="113" y="177"/>
                  </a:lnTo>
                  <a:lnTo>
                    <a:pt x="113" y="165"/>
                  </a:lnTo>
                  <a:lnTo>
                    <a:pt x="118" y="165"/>
                  </a:lnTo>
                  <a:lnTo>
                    <a:pt x="118" y="153"/>
                  </a:lnTo>
                  <a:lnTo>
                    <a:pt x="113" y="151"/>
                  </a:lnTo>
                  <a:lnTo>
                    <a:pt x="118" y="141"/>
                  </a:lnTo>
                  <a:lnTo>
                    <a:pt x="120" y="137"/>
                  </a:lnTo>
                  <a:lnTo>
                    <a:pt x="123" y="137"/>
                  </a:lnTo>
                  <a:lnTo>
                    <a:pt x="123" y="130"/>
                  </a:lnTo>
                  <a:lnTo>
                    <a:pt x="120" y="130"/>
                  </a:lnTo>
                  <a:lnTo>
                    <a:pt x="118" y="127"/>
                  </a:lnTo>
                  <a:lnTo>
                    <a:pt x="113" y="127"/>
                  </a:lnTo>
                  <a:lnTo>
                    <a:pt x="113" y="130"/>
                  </a:lnTo>
                  <a:lnTo>
                    <a:pt x="111" y="134"/>
                  </a:lnTo>
                  <a:lnTo>
                    <a:pt x="106" y="130"/>
                  </a:lnTo>
                  <a:lnTo>
                    <a:pt x="104" y="127"/>
                  </a:lnTo>
                  <a:lnTo>
                    <a:pt x="104" y="120"/>
                  </a:lnTo>
                  <a:lnTo>
                    <a:pt x="106" y="118"/>
                  </a:lnTo>
                  <a:lnTo>
                    <a:pt x="111" y="118"/>
                  </a:lnTo>
                  <a:lnTo>
                    <a:pt x="111" y="113"/>
                  </a:lnTo>
                  <a:lnTo>
                    <a:pt x="113" y="113"/>
                  </a:lnTo>
                  <a:lnTo>
                    <a:pt x="120" y="111"/>
                  </a:lnTo>
                  <a:lnTo>
                    <a:pt x="120" y="108"/>
                  </a:lnTo>
                  <a:lnTo>
                    <a:pt x="123" y="108"/>
                  </a:lnTo>
                  <a:lnTo>
                    <a:pt x="123" y="101"/>
                  </a:lnTo>
                  <a:lnTo>
                    <a:pt x="120" y="101"/>
                  </a:lnTo>
                  <a:lnTo>
                    <a:pt x="118" y="97"/>
                  </a:lnTo>
                  <a:lnTo>
                    <a:pt x="106" y="97"/>
                  </a:lnTo>
                  <a:lnTo>
                    <a:pt x="106" y="104"/>
                  </a:lnTo>
                  <a:lnTo>
                    <a:pt x="104" y="104"/>
                  </a:lnTo>
                  <a:lnTo>
                    <a:pt x="104" y="108"/>
                  </a:lnTo>
                  <a:lnTo>
                    <a:pt x="99" y="108"/>
                  </a:lnTo>
                  <a:lnTo>
                    <a:pt x="99" y="113"/>
                  </a:lnTo>
                  <a:lnTo>
                    <a:pt x="97" y="118"/>
                  </a:lnTo>
                  <a:lnTo>
                    <a:pt x="90" y="118"/>
                  </a:lnTo>
                  <a:lnTo>
                    <a:pt x="90" y="113"/>
                  </a:lnTo>
                  <a:lnTo>
                    <a:pt x="87" y="111"/>
                  </a:lnTo>
                  <a:lnTo>
                    <a:pt x="83" y="111"/>
                  </a:lnTo>
                  <a:lnTo>
                    <a:pt x="78" y="113"/>
                  </a:lnTo>
                  <a:lnTo>
                    <a:pt x="71" y="113"/>
                  </a:lnTo>
                  <a:lnTo>
                    <a:pt x="64" y="118"/>
                  </a:lnTo>
                  <a:lnTo>
                    <a:pt x="59" y="118"/>
                  </a:lnTo>
                  <a:lnTo>
                    <a:pt x="57" y="113"/>
                  </a:lnTo>
                  <a:lnTo>
                    <a:pt x="57" y="108"/>
                  </a:lnTo>
                  <a:lnTo>
                    <a:pt x="59" y="104"/>
                  </a:lnTo>
                  <a:lnTo>
                    <a:pt x="78" y="104"/>
                  </a:lnTo>
                  <a:lnTo>
                    <a:pt x="80" y="101"/>
                  </a:lnTo>
                  <a:lnTo>
                    <a:pt x="80" y="97"/>
                  </a:lnTo>
                  <a:lnTo>
                    <a:pt x="66" y="97"/>
                  </a:lnTo>
                  <a:lnTo>
                    <a:pt x="59" y="87"/>
                  </a:lnTo>
                  <a:lnTo>
                    <a:pt x="57" y="85"/>
                  </a:lnTo>
                  <a:lnTo>
                    <a:pt x="54" y="73"/>
                  </a:lnTo>
                  <a:lnTo>
                    <a:pt x="54" y="68"/>
                  </a:lnTo>
                  <a:lnTo>
                    <a:pt x="57" y="64"/>
                  </a:lnTo>
                  <a:lnTo>
                    <a:pt x="57" y="61"/>
                  </a:lnTo>
                  <a:lnTo>
                    <a:pt x="50" y="61"/>
                  </a:lnTo>
                  <a:lnTo>
                    <a:pt x="50" y="64"/>
                  </a:lnTo>
                  <a:lnTo>
                    <a:pt x="47" y="68"/>
                  </a:lnTo>
                  <a:lnTo>
                    <a:pt x="42" y="73"/>
                  </a:lnTo>
                  <a:lnTo>
                    <a:pt x="40" y="73"/>
                  </a:lnTo>
                  <a:lnTo>
                    <a:pt x="33" y="68"/>
                  </a:lnTo>
                  <a:lnTo>
                    <a:pt x="31" y="61"/>
                  </a:lnTo>
                  <a:lnTo>
                    <a:pt x="31" y="54"/>
                  </a:lnTo>
                  <a:lnTo>
                    <a:pt x="26" y="52"/>
                  </a:lnTo>
                  <a:lnTo>
                    <a:pt x="24" y="52"/>
                  </a:lnTo>
                  <a:lnTo>
                    <a:pt x="24" y="40"/>
                  </a:lnTo>
                  <a:lnTo>
                    <a:pt x="21" y="33"/>
                  </a:lnTo>
                  <a:lnTo>
                    <a:pt x="14" y="33"/>
                  </a:lnTo>
                  <a:lnTo>
                    <a:pt x="9" y="30"/>
                  </a:lnTo>
                  <a:lnTo>
                    <a:pt x="9" y="28"/>
                  </a:lnTo>
                  <a:lnTo>
                    <a:pt x="14" y="28"/>
                  </a:lnTo>
                  <a:lnTo>
                    <a:pt x="16" y="23"/>
                  </a:lnTo>
                  <a:lnTo>
                    <a:pt x="16" y="16"/>
                  </a:lnTo>
                  <a:lnTo>
                    <a:pt x="14" y="14"/>
                  </a:lnTo>
                  <a:lnTo>
                    <a:pt x="9" y="16"/>
                  </a:lnTo>
                  <a:lnTo>
                    <a:pt x="2" y="14"/>
                  </a:lnTo>
                  <a:lnTo>
                    <a:pt x="0" y="12"/>
                  </a:lnTo>
                  <a:lnTo>
                    <a:pt x="2" y="7"/>
                  </a:lnTo>
                  <a:lnTo>
                    <a:pt x="7" y="7"/>
                  </a:lnTo>
                  <a:lnTo>
                    <a:pt x="9" y="4"/>
                  </a:lnTo>
                  <a:lnTo>
                    <a:pt x="14" y="0"/>
                  </a:lnTo>
                  <a:lnTo>
                    <a:pt x="16" y="4"/>
                  </a:lnTo>
                  <a:lnTo>
                    <a:pt x="9" y="4"/>
                  </a:lnTo>
                  <a:lnTo>
                    <a:pt x="9" y="7"/>
                  </a:lnTo>
                  <a:lnTo>
                    <a:pt x="7" y="12"/>
                  </a:lnTo>
                  <a:lnTo>
                    <a:pt x="9" y="12"/>
                  </a:lnTo>
                  <a:lnTo>
                    <a:pt x="9" y="7"/>
                  </a:lnTo>
                  <a:lnTo>
                    <a:pt x="21" y="7"/>
                  </a:lnTo>
                  <a:lnTo>
                    <a:pt x="24" y="12"/>
                  </a:lnTo>
                  <a:lnTo>
                    <a:pt x="24" y="21"/>
                  </a:lnTo>
                  <a:lnTo>
                    <a:pt x="21" y="23"/>
                  </a:lnTo>
                  <a:lnTo>
                    <a:pt x="14" y="30"/>
                  </a:lnTo>
                  <a:lnTo>
                    <a:pt x="16" y="33"/>
                  </a:lnTo>
                  <a:lnTo>
                    <a:pt x="16" y="30"/>
                  </a:lnTo>
                  <a:lnTo>
                    <a:pt x="24" y="21"/>
                  </a:lnTo>
                  <a:lnTo>
                    <a:pt x="26" y="14"/>
                  </a:lnTo>
                  <a:lnTo>
                    <a:pt x="31" y="21"/>
                  </a:lnTo>
                  <a:lnTo>
                    <a:pt x="33" y="28"/>
                  </a:lnTo>
                  <a:lnTo>
                    <a:pt x="33" y="30"/>
                  </a:lnTo>
                  <a:lnTo>
                    <a:pt x="31" y="33"/>
                  </a:lnTo>
                  <a:lnTo>
                    <a:pt x="33" y="33"/>
                  </a:lnTo>
                  <a:lnTo>
                    <a:pt x="38" y="30"/>
                  </a:lnTo>
                  <a:lnTo>
                    <a:pt x="33" y="21"/>
                  </a:lnTo>
                  <a:lnTo>
                    <a:pt x="33" y="16"/>
                  </a:lnTo>
                  <a:lnTo>
                    <a:pt x="40" y="16"/>
                  </a:lnTo>
                  <a:lnTo>
                    <a:pt x="40" y="21"/>
                  </a:lnTo>
                  <a:lnTo>
                    <a:pt x="47" y="30"/>
                  </a:lnTo>
                  <a:lnTo>
                    <a:pt x="50" y="38"/>
                  </a:lnTo>
                  <a:lnTo>
                    <a:pt x="47" y="38"/>
                  </a:lnTo>
                  <a:lnTo>
                    <a:pt x="47" y="40"/>
                  </a:lnTo>
                  <a:lnTo>
                    <a:pt x="50" y="40"/>
                  </a:lnTo>
                  <a:lnTo>
                    <a:pt x="54" y="45"/>
                  </a:lnTo>
                  <a:lnTo>
                    <a:pt x="57" y="45"/>
                  </a:lnTo>
                  <a:lnTo>
                    <a:pt x="59" y="47"/>
                  </a:lnTo>
                  <a:lnTo>
                    <a:pt x="64" y="56"/>
                  </a:lnTo>
                  <a:lnTo>
                    <a:pt x="64" y="45"/>
                  </a:lnTo>
                  <a:lnTo>
                    <a:pt x="71" y="45"/>
                  </a:lnTo>
                  <a:lnTo>
                    <a:pt x="80" y="47"/>
                  </a:lnTo>
                  <a:lnTo>
                    <a:pt x="80" y="56"/>
                  </a:lnTo>
                  <a:lnTo>
                    <a:pt x="78" y="56"/>
                  </a:lnTo>
                  <a:lnTo>
                    <a:pt x="73" y="61"/>
                  </a:lnTo>
                  <a:lnTo>
                    <a:pt x="71" y="64"/>
                  </a:lnTo>
                  <a:lnTo>
                    <a:pt x="83" y="61"/>
                  </a:lnTo>
                  <a:lnTo>
                    <a:pt x="87" y="64"/>
                  </a:lnTo>
                  <a:lnTo>
                    <a:pt x="87" y="71"/>
                  </a:lnTo>
                  <a:lnTo>
                    <a:pt x="90" y="68"/>
                  </a:lnTo>
                  <a:lnTo>
                    <a:pt x="90" y="56"/>
                  </a:lnTo>
                  <a:lnTo>
                    <a:pt x="94" y="56"/>
                  </a:lnTo>
                  <a:lnTo>
                    <a:pt x="104" y="61"/>
                  </a:lnTo>
                  <a:lnTo>
                    <a:pt x="106" y="64"/>
                  </a:lnTo>
                  <a:lnTo>
                    <a:pt x="111" y="71"/>
                  </a:lnTo>
                  <a:lnTo>
                    <a:pt x="106" y="73"/>
                  </a:lnTo>
                  <a:lnTo>
                    <a:pt x="104" y="80"/>
                  </a:lnTo>
                  <a:lnTo>
                    <a:pt x="99" y="85"/>
                  </a:lnTo>
                  <a:lnTo>
                    <a:pt x="97" y="85"/>
                  </a:lnTo>
                  <a:lnTo>
                    <a:pt x="90" y="87"/>
                  </a:lnTo>
                  <a:lnTo>
                    <a:pt x="90" y="94"/>
                  </a:lnTo>
                  <a:lnTo>
                    <a:pt x="94" y="94"/>
                  </a:lnTo>
                  <a:lnTo>
                    <a:pt x="99" y="92"/>
                  </a:lnTo>
                  <a:lnTo>
                    <a:pt x="99" y="87"/>
                  </a:lnTo>
                  <a:lnTo>
                    <a:pt x="111" y="80"/>
                  </a:lnTo>
                  <a:lnTo>
                    <a:pt x="113" y="73"/>
                  </a:lnTo>
                  <a:lnTo>
                    <a:pt x="113" y="71"/>
                  </a:lnTo>
                  <a:lnTo>
                    <a:pt x="123" y="71"/>
                  </a:lnTo>
                  <a:lnTo>
                    <a:pt x="123" y="73"/>
                  </a:lnTo>
                  <a:lnTo>
                    <a:pt x="120" y="73"/>
                  </a:lnTo>
                  <a:lnTo>
                    <a:pt x="118" y="78"/>
                  </a:lnTo>
                  <a:lnTo>
                    <a:pt x="120" y="80"/>
                  </a:lnTo>
                  <a:lnTo>
                    <a:pt x="123" y="78"/>
                  </a:lnTo>
                  <a:lnTo>
                    <a:pt x="128" y="78"/>
                  </a:lnTo>
                  <a:lnTo>
                    <a:pt x="128" y="92"/>
                  </a:lnTo>
                  <a:lnTo>
                    <a:pt x="130" y="87"/>
                  </a:lnTo>
                  <a:lnTo>
                    <a:pt x="135" y="85"/>
                  </a:lnTo>
                  <a:lnTo>
                    <a:pt x="144" y="85"/>
                  </a:lnTo>
                  <a:lnTo>
                    <a:pt x="144" y="87"/>
                  </a:lnTo>
                  <a:lnTo>
                    <a:pt x="151" y="94"/>
                  </a:lnTo>
                  <a:lnTo>
                    <a:pt x="154" y="97"/>
                  </a:lnTo>
                  <a:lnTo>
                    <a:pt x="154" y="104"/>
                  </a:lnTo>
                  <a:lnTo>
                    <a:pt x="151" y="104"/>
                  </a:lnTo>
                  <a:lnTo>
                    <a:pt x="146" y="113"/>
                  </a:lnTo>
                  <a:lnTo>
                    <a:pt x="144" y="125"/>
                  </a:lnTo>
                  <a:lnTo>
                    <a:pt x="144" y="127"/>
                  </a:lnTo>
                  <a:lnTo>
                    <a:pt x="139" y="134"/>
                  </a:lnTo>
                  <a:lnTo>
                    <a:pt x="139" y="141"/>
                  </a:lnTo>
                  <a:lnTo>
                    <a:pt x="139" y="137"/>
                  </a:lnTo>
                  <a:lnTo>
                    <a:pt x="144" y="130"/>
                  </a:lnTo>
                  <a:lnTo>
                    <a:pt x="144" y="120"/>
                  </a:lnTo>
                  <a:lnTo>
                    <a:pt x="146" y="120"/>
                  </a:lnTo>
                  <a:lnTo>
                    <a:pt x="151" y="118"/>
                  </a:lnTo>
                  <a:lnTo>
                    <a:pt x="154" y="118"/>
                  </a:lnTo>
                  <a:lnTo>
                    <a:pt x="163" y="108"/>
                  </a:lnTo>
                  <a:lnTo>
                    <a:pt x="170" y="104"/>
                  </a:lnTo>
                  <a:lnTo>
                    <a:pt x="175" y="104"/>
                  </a:lnTo>
                  <a:lnTo>
                    <a:pt x="175" y="113"/>
                  </a:lnTo>
                  <a:lnTo>
                    <a:pt x="177" y="120"/>
                  </a:lnTo>
                  <a:lnTo>
                    <a:pt x="177" y="125"/>
                  </a:lnTo>
                  <a:lnTo>
                    <a:pt x="175" y="125"/>
                  </a:lnTo>
                  <a:lnTo>
                    <a:pt x="175" y="127"/>
                  </a:lnTo>
                  <a:lnTo>
                    <a:pt x="179" y="125"/>
                  </a:lnTo>
                  <a:lnTo>
                    <a:pt x="184" y="125"/>
                  </a:lnTo>
                  <a:lnTo>
                    <a:pt x="184" y="130"/>
                  </a:lnTo>
                  <a:lnTo>
                    <a:pt x="179" y="130"/>
                  </a:lnTo>
                  <a:lnTo>
                    <a:pt x="177" y="134"/>
                  </a:lnTo>
                  <a:lnTo>
                    <a:pt x="170" y="137"/>
                  </a:lnTo>
                  <a:lnTo>
                    <a:pt x="170" y="144"/>
                  </a:lnTo>
                  <a:lnTo>
                    <a:pt x="168" y="149"/>
                  </a:lnTo>
                  <a:lnTo>
                    <a:pt x="168" y="151"/>
                  </a:lnTo>
                  <a:lnTo>
                    <a:pt x="170" y="151"/>
                  </a:lnTo>
                  <a:lnTo>
                    <a:pt x="170" y="153"/>
                  </a:lnTo>
                  <a:lnTo>
                    <a:pt x="168" y="158"/>
                  </a:lnTo>
                  <a:lnTo>
                    <a:pt x="163" y="158"/>
                  </a:lnTo>
                  <a:lnTo>
                    <a:pt x="163" y="160"/>
                  </a:lnTo>
                  <a:lnTo>
                    <a:pt x="170" y="153"/>
                  </a:lnTo>
                  <a:lnTo>
                    <a:pt x="175" y="153"/>
                  </a:lnTo>
                  <a:lnTo>
                    <a:pt x="170" y="151"/>
                  </a:lnTo>
                  <a:lnTo>
                    <a:pt x="170" y="149"/>
                  </a:lnTo>
                  <a:lnTo>
                    <a:pt x="175" y="141"/>
                  </a:lnTo>
                  <a:lnTo>
                    <a:pt x="177" y="137"/>
                  </a:lnTo>
                  <a:lnTo>
                    <a:pt x="179" y="137"/>
                  </a:lnTo>
                  <a:lnTo>
                    <a:pt x="187" y="134"/>
                  </a:lnTo>
                  <a:lnTo>
                    <a:pt x="187" y="130"/>
                  </a:lnTo>
                  <a:lnTo>
                    <a:pt x="191" y="127"/>
                  </a:lnTo>
                  <a:lnTo>
                    <a:pt x="191" y="134"/>
                  </a:lnTo>
                  <a:lnTo>
                    <a:pt x="194" y="137"/>
                  </a:lnTo>
                  <a:lnTo>
                    <a:pt x="194" y="130"/>
                  </a:lnTo>
                  <a:lnTo>
                    <a:pt x="196" y="130"/>
                  </a:lnTo>
                  <a:lnTo>
                    <a:pt x="196" y="127"/>
                  </a:lnTo>
                  <a:lnTo>
                    <a:pt x="203" y="134"/>
                  </a:lnTo>
                  <a:lnTo>
                    <a:pt x="201" y="137"/>
                  </a:lnTo>
                  <a:lnTo>
                    <a:pt x="196" y="141"/>
                  </a:lnTo>
                  <a:lnTo>
                    <a:pt x="194" y="149"/>
                  </a:lnTo>
                  <a:lnTo>
                    <a:pt x="194" y="151"/>
                  </a:lnTo>
                  <a:lnTo>
                    <a:pt x="194" y="149"/>
                  </a:lnTo>
                  <a:lnTo>
                    <a:pt x="196" y="144"/>
                  </a:lnTo>
                  <a:lnTo>
                    <a:pt x="201" y="141"/>
                  </a:lnTo>
                  <a:lnTo>
                    <a:pt x="210" y="141"/>
                  </a:lnTo>
                  <a:lnTo>
                    <a:pt x="215" y="137"/>
                  </a:lnTo>
                  <a:lnTo>
                    <a:pt x="215" y="134"/>
                  </a:lnTo>
                  <a:lnTo>
                    <a:pt x="217" y="134"/>
                  </a:lnTo>
                  <a:lnTo>
                    <a:pt x="220" y="137"/>
                  </a:lnTo>
                  <a:lnTo>
                    <a:pt x="220" y="144"/>
                  </a:lnTo>
                  <a:lnTo>
                    <a:pt x="224" y="149"/>
                  </a:lnTo>
                  <a:lnTo>
                    <a:pt x="231" y="149"/>
                  </a:lnTo>
                  <a:lnTo>
                    <a:pt x="236" y="153"/>
                  </a:lnTo>
                  <a:lnTo>
                    <a:pt x="241" y="153"/>
                  </a:lnTo>
                  <a:lnTo>
                    <a:pt x="241" y="158"/>
                  </a:lnTo>
                  <a:lnTo>
                    <a:pt x="234" y="165"/>
                  </a:lnTo>
                  <a:lnTo>
                    <a:pt x="231" y="170"/>
                  </a:lnTo>
                  <a:lnTo>
                    <a:pt x="231" y="177"/>
                  </a:lnTo>
                  <a:lnTo>
                    <a:pt x="224" y="182"/>
                  </a:lnTo>
                  <a:lnTo>
                    <a:pt x="220" y="182"/>
                  </a:lnTo>
                  <a:lnTo>
                    <a:pt x="224" y="184"/>
                  </a:lnTo>
                  <a:lnTo>
                    <a:pt x="231" y="184"/>
                  </a:lnTo>
                  <a:lnTo>
                    <a:pt x="234" y="177"/>
                  </a:lnTo>
                  <a:lnTo>
                    <a:pt x="236" y="175"/>
                  </a:lnTo>
                  <a:lnTo>
                    <a:pt x="257" y="175"/>
                  </a:lnTo>
                  <a:lnTo>
                    <a:pt x="257" y="184"/>
                  </a:lnTo>
                  <a:lnTo>
                    <a:pt x="253" y="189"/>
                  </a:lnTo>
                  <a:lnTo>
                    <a:pt x="265" y="191"/>
                  </a:lnTo>
                  <a:lnTo>
                    <a:pt x="272" y="189"/>
                  </a:lnTo>
                  <a:lnTo>
                    <a:pt x="276" y="184"/>
                  </a:lnTo>
                  <a:lnTo>
                    <a:pt x="288" y="184"/>
                  </a:lnTo>
                  <a:lnTo>
                    <a:pt x="291" y="191"/>
                  </a:lnTo>
                  <a:lnTo>
                    <a:pt x="291" y="193"/>
                  </a:lnTo>
                  <a:lnTo>
                    <a:pt x="288" y="198"/>
                  </a:lnTo>
                  <a:lnTo>
                    <a:pt x="288" y="201"/>
                  </a:lnTo>
                  <a:lnTo>
                    <a:pt x="283" y="208"/>
                  </a:lnTo>
                  <a:lnTo>
                    <a:pt x="288" y="210"/>
                  </a:lnTo>
                  <a:lnTo>
                    <a:pt x="288" y="215"/>
                  </a:lnTo>
                  <a:lnTo>
                    <a:pt x="283" y="217"/>
                  </a:lnTo>
                  <a:lnTo>
                    <a:pt x="281" y="222"/>
                  </a:lnTo>
                  <a:lnTo>
                    <a:pt x="276" y="222"/>
                  </a:lnTo>
                  <a:lnTo>
                    <a:pt x="283" y="227"/>
                  </a:lnTo>
                  <a:lnTo>
                    <a:pt x="283" y="224"/>
                  </a:lnTo>
                  <a:lnTo>
                    <a:pt x="288" y="224"/>
                  </a:lnTo>
                  <a:lnTo>
                    <a:pt x="291" y="222"/>
                  </a:lnTo>
                  <a:lnTo>
                    <a:pt x="291" y="224"/>
                  </a:lnTo>
                  <a:lnTo>
                    <a:pt x="288" y="224"/>
                  </a:lnTo>
                  <a:lnTo>
                    <a:pt x="288" y="227"/>
                  </a:lnTo>
                  <a:lnTo>
                    <a:pt x="298" y="227"/>
                  </a:lnTo>
                  <a:lnTo>
                    <a:pt x="298" y="231"/>
                  </a:lnTo>
                  <a:lnTo>
                    <a:pt x="288" y="234"/>
                  </a:lnTo>
                  <a:lnTo>
                    <a:pt x="265" y="234"/>
                  </a:lnTo>
                  <a:lnTo>
                    <a:pt x="253" y="238"/>
                  </a:lnTo>
                  <a:lnTo>
                    <a:pt x="253" y="234"/>
                  </a:lnTo>
                  <a:lnTo>
                    <a:pt x="260" y="231"/>
                  </a:lnTo>
                  <a:lnTo>
                    <a:pt x="265" y="227"/>
                  </a:lnTo>
                  <a:lnTo>
                    <a:pt x="267" y="227"/>
                  </a:lnTo>
                  <a:lnTo>
                    <a:pt x="267" y="224"/>
                  </a:lnTo>
                  <a:lnTo>
                    <a:pt x="272" y="222"/>
                  </a:lnTo>
                  <a:lnTo>
                    <a:pt x="265" y="227"/>
                  </a:lnTo>
                  <a:lnTo>
                    <a:pt x="257" y="231"/>
                  </a:lnTo>
                  <a:lnTo>
                    <a:pt x="250" y="231"/>
                  </a:lnTo>
                  <a:lnTo>
                    <a:pt x="250" y="238"/>
                  </a:lnTo>
                  <a:lnTo>
                    <a:pt x="283" y="238"/>
                  </a:lnTo>
                  <a:lnTo>
                    <a:pt x="276" y="241"/>
                  </a:lnTo>
                  <a:lnTo>
                    <a:pt x="274" y="241"/>
                  </a:lnTo>
                  <a:lnTo>
                    <a:pt x="274" y="245"/>
                  </a:lnTo>
                  <a:lnTo>
                    <a:pt x="281" y="241"/>
                  </a:lnTo>
                  <a:lnTo>
                    <a:pt x="288" y="238"/>
                  </a:lnTo>
                  <a:lnTo>
                    <a:pt x="298" y="234"/>
                  </a:lnTo>
                  <a:lnTo>
                    <a:pt x="298" y="238"/>
                  </a:lnTo>
                  <a:lnTo>
                    <a:pt x="300" y="238"/>
                  </a:lnTo>
                  <a:lnTo>
                    <a:pt x="300" y="241"/>
                  </a:lnTo>
                  <a:lnTo>
                    <a:pt x="298" y="245"/>
                  </a:lnTo>
                  <a:lnTo>
                    <a:pt x="291" y="245"/>
                  </a:lnTo>
                  <a:lnTo>
                    <a:pt x="288" y="248"/>
                  </a:lnTo>
                  <a:lnTo>
                    <a:pt x="288" y="250"/>
                  </a:lnTo>
                  <a:lnTo>
                    <a:pt x="288" y="248"/>
                  </a:lnTo>
                  <a:lnTo>
                    <a:pt x="291" y="248"/>
                  </a:lnTo>
                  <a:lnTo>
                    <a:pt x="291" y="250"/>
                  </a:lnTo>
                  <a:lnTo>
                    <a:pt x="288" y="250"/>
                  </a:lnTo>
                  <a:lnTo>
                    <a:pt x="283" y="255"/>
                  </a:lnTo>
                  <a:lnTo>
                    <a:pt x="293" y="255"/>
                  </a:lnTo>
                  <a:lnTo>
                    <a:pt x="298" y="250"/>
                  </a:lnTo>
                  <a:lnTo>
                    <a:pt x="300" y="250"/>
                  </a:lnTo>
                  <a:lnTo>
                    <a:pt x="314" y="257"/>
                  </a:lnTo>
                  <a:lnTo>
                    <a:pt x="312" y="257"/>
                  </a:lnTo>
                  <a:lnTo>
                    <a:pt x="307" y="262"/>
                  </a:lnTo>
                  <a:lnTo>
                    <a:pt x="307" y="257"/>
                  </a:lnTo>
                  <a:lnTo>
                    <a:pt x="305" y="262"/>
                  </a:lnTo>
                  <a:lnTo>
                    <a:pt x="298" y="264"/>
                  </a:lnTo>
                  <a:lnTo>
                    <a:pt x="293" y="264"/>
                  </a:lnTo>
                  <a:lnTo>
                    <a:pt x="300" y="267"/>
                  </a:lnTo>
                  <a:lnTo>
                    <a:pt x="305" y="267"/>
                  </a:lnTo>
                  <a:lnTo>
                    <a:pt x="312" y="264"/>
                  </a:lnTo>
                  <a:lnTo>
                    <a:pt x="321" y="262"/>
                  </a:lnTo>
                  <a:lnTo>
                    <a:pt x="324" y="257"/>
                  </a:lnTo>
                  <a:lnTo>
                    <a:pt x="328" y="255"/>
                  </a:lnTo>
                  <a:lnTo>
                    <a:pt x="331" y="257"/>
                  </a:lnTo>
                  <a:lnTo>
                    <a:pt x="331" y="267"/>
                  </a:lnTo>
                  <a:lnTo>
                    <a:pt x="333" y="271"/>
                  </a:lnTo>
                  <a:lnTo>
                    <a:pt x="333" y="267"/>
                  </a:lnTo>
                  <a:lnTo>
                    <a:pt x="338" y="264"/>
                  </a:lnTo>
                  <a:lnTo>
                    <a:pt x="340" y="264"/>
                  </a:lnTo>
                  <a:lnTo>
                    <a:pt x="340" y="267"/>
                  </a:lnTo>
                  <a:lnTo>
                    <a:pt x="338" y="271"/>
                  </a:lnTo>
                  <a:lnTo>
                    <a:pt x="333" y="271"/>
                  </a:lnTo>
                  <a:lnTo>
                    <a:pt x="331" y="274"/>
                  </a:lnTo>
                  <a:lnTo>
                    <a:pt x="340" y="274"/>
                  </a:lnTo>
                  <a:lnTo>
                    <a:pt x="345" y="271"/>
                  </a:lnTo>
                  <a:lnTo>
                    <a:pt x="347" y="267"/>
                  </a:lnTo>
                  <a:lnTo>
                    <a:pt x="352" y="267"/>
                  </a:lnTo>
                  <a:lnTo>
                    <a:pt x="354" y="271"/>
                  </a:lnTo>
                  <a:lnTo>
                    <a:pt x="354" y="274"/>
                  </a:lnTo>
                  <a:lnTo>
                    <a:pt x="352" y="274"/>
                  </a:lnTo>
                  <a:lnTo>
                    <a:pt x="352" y="278"/>
                  </a:lnTo>
                  <a:lnTo>
                    <a:pt x="357" y="278"/>
                  </a:lnTo>
                  <a:lnTo>
                    <a:pt x="357" y="274"/>
                  </a:lnTo>
                  <a:lnTo>
                    <a:pt x="361" y="271"/>
                  </a:lnTo>
                  <a:lnTo>
                    <a:pt x="364" y="271"/>
                  </a:lnTo>
                  <a:lnTo>
                    <a:pt x="371" y="267"/>
                  </a:lnTo>
                  <a:lnTo>
                    <a:pt x="373" y="267"/>
                  </a:lnTo>
                  <a:lnTo>
                    <a:pt x="373" y="278"/>
                  </a:lnTo>
                  <a:lnTo>
                    <a:pt x="371" y="281"/>
                  </a:lnTo>
                  <a:lnTo>
                    <a:pt x="378" y="278"/>
                  </a:lnTo>
                  <a:lnTo>
                    <a:pt x="378" y="267"/>
                  </a:lnTo>
                  <a:lnTo>
                    <a:pt x="380" y="267"/>
                  </a:lnTo>
                  <a:lnTo>
                    <a:pt x="385" y="274"/>
                  </a:lnTo>
                  <a:lnTo>
                    <a:pt x="385" y="278"/>
                  </a:lnTo>
                  <a:lnTo>
                    <a:pt x="387" y="281"/>
                  </a:lnTo>
                  <a:lnTo>
                    <a:pt x="387" y="288"/>
                  </a:lnTo>
                  <a:lnTo>
                    <a:pt x="387" y="281"/>
                  </a:lnTo>
                  <a:lnTo>
                    <a:pt x="385" y="271"/>
                  </a:lnTo>
                  <a:lnTo>
                    <a:pt x="385" y="264"/>
                  </a:lnTo>
                  <a:lnTo>
                    <a:pt x="394" y="264"/>
                  </a:lnTo>
                  <a:lnTo>
                    <a:pt x="394" y="274"/>
                  </a:lnTo>
                  <a:lnTo>
                    <a:pt x="390" y="274"/>
                  </a:lnTo>
                  <a:lnTo>
                    <a:pt x="390" y="278"/>
                  </a:lnTo>
                  <a:lnTo>
                    <a:pt x="394" y="281"/>
                  </a:lnTo>
                  <a:lnTo>
                    <a:pt x="394" y="278"/>
                  </a:lnTo>
                  <a:lnTo>
                    <a:pt x="404" y="278"/>
                  </a:lnTo>
                  <a:lnTo>
                    <a:pt x="404" y="295"/>
                  </a:lnTo>
                  <a:lnTo>
                    <a:pt x="409" y="295"/>
                  </a:lnTo>
                  <a:lnTo>
                    <a:pt x="409" y="302"/>
                  </a:lnTo>
                  <a:lnTo>
                    <a:pt x="409" y="297"/>
                  </a:lnTo>
                  <a:lnTo>
                    <a:pt x="404" y="295"/>
                  </a:lnTo>
                  <a:lnTo>
                    <a:pt x="409" y="288"/>
                  </a:lnTo>
                  <a:lnTo>
                    <a:pt x="409" y="286"/>
                  </a:lnTo>
                  <a:lnTo>
                    <a:pt x="411" y="286"/>
                  </a:lnTo>
                  <a:lnTo>
                    <a:pt x="413" y="288"/>
                  </a:lnTo>
                  <a:lnTo>
                    <a:pt x="411" y="290"/>
                  </a:lnTo>
                  <a:lnTo>
                    <a:pt x="411" y="314"/>
                  </a:lnTo>
                  <a:lnTo>
                    <a:pt x="411" y="307"/>
                  </a:lnTo>
                  <a:lnTo>
                    <a:pt x="418" y="304"/>
                  </a:lnTo>
                  <a:lnTo>
                    <a:pt x="418" y="319"/>
                  </a:lnTo>
                  <a:lnTo>
                    <a:pt x="413" y="326"/>
                  </a:lnTo>
                  <a:lnTo>
                    <a:pt x="413" y="335"/>
                  </a:lnTo>
                  <a:lnTo>
                    <a:pt x="413" y="328"/>
                  </a:lnTo>
                  <a:lnTo>
                    <a:pt x="418" y="319"/>
                  </a:lnTo>
                  <a:lnTo>
                    <a:pt x="420" y="304"/>
                  </a:lnTo>
                  <a:lnTo>
                    <a:pt x="425" y="297"/>
                  </a:lnTo>
                  <a:lnTo>
                    <a:pt x="428" y="297"/>
                  </a:lnTo>
                  <a:lnTo>
                    <a:pt x="430" y="304"/>
                  </a:lnTo>
                  <a:lnTo>
                    <a:pt x="430" y="314"/>
                  </a:lnTo>
                  <a:lnTo>
                    <a:pt x="428" y="319"/>
                  </a:lnTo>
                  <a:lnTo>
                    <a:pt x="430" y="321"/>
                  </a:lnTo>
                  <a:lnTo>
                    <a:pt x="430" y="312"/>
                  </a:lnTo>
                  <a:lnTo>
                    <a:pt x="435" y="312"/>
                  </a:lnTo>
                  <a:lnTo>
                    <a:pt x="435" y="307"/>
                  </a:lnTo>
                  <a:lnTo>
                    <a:pt x="430" y="302"/>
                  </a:lnTo>
                  <a:lnTo>
                    <a:pt x="430" y="297"/>
                  </a:lnTo>
                  <a:lnTo>
                    <a:pt x="435" y="297"/>
                  </a:lnTo>
                  <a:lnTo>
                    <a:pt x="435" y="288"/>
                  </a:lnTo>
                  <a:lnTo>
                    <a:pt x="437" y="286"/>
                  </a:lnTo>
                  <a:lnTo>
                    <a:pt x="444" y="288"/>
                  </a:lnTo>
                  <a:lnTo>
                    <a:pt x="444" y="297"/>
                  </a:lnTo>
                  <a:lnTo>
                    <a:pt x="442" y="302"/>
                  </a:lnTo>
                  <a:lnTo>
                    <a:pt x="437" y="302"/>
                  </a:lnTo>
                  <a:lnTo>
                    <a:pt x="442" y="304"/>
                  </a:lnTo>
                  <a:lnTo>
                    <a:pt x="449" y="302"/>
                  </a:lnTo>
                  <a:lnTo>
                    <a:pt x="454" y="295"/>
                  </a:lnTo>
                  <a:lnTo>
                    <a:pt x="454" y="290"/>
                  </a:lnTo>
                  <a:lnTo>
                    <a:pt x="458" y="288"/>
                  </a:lnTo>
                  <a:lnTo>
                    <a:pt x="461" y="290"/>
                  </a:lnTo>
                  <a:lnTo>
                    <a:pt x="461" y="304"/>
                  </a:lnTo>
                  <a:lnTo>
                    <a:pt x="458" y="312"/>
                  </a:lnTo>
                  <a:lnTo>
                    <a:pt x="458" y="335"/>
                  </a:lnTo>
                  <a:lnTo>
                    <a:pt x="461" y="335"/>
                  </a:lnTo>
                  <a:lnTo>
                    <a:pt x="465" y="328"/>
                  </a:lnTo>
                  <a:lnTo>
                    <a:pt x="461" y="326"/>
                  </a:lnTo>
                  <a:lnTo>
                    <a:pt x="461" y="321"/>
                  </a:lnTo>
                  <a:lnTo>
                    <a:pt x="458" y="319"/>
                  </a:lnTo>
                  <a:lnTo>
                    <a:pt x="461" y="314"/>
                  </a:lnTo>
                  <a:lnTo>
                    <a:pt x="461" y="312"/>
                  </a:lnTo>
                  <a:lnTo>
                    <a:pt x="468" y="297"/>
                  </a:lnTo>
                  <a:lnTo>
                    <a:pt x="465" y="286"/>
                  </a:lnTo>
                  <a:lnTo>
                    <a:pt x="468" y="274"/>
                  </a:lnTo>
                  <a:lnTo>
                    <a:pt x="470" y="278"/>
                  </a:lnTo>
                  <a:lnTo>
                    <a:pt x="470" y="302"/>
                  </a:lnTo>
                  <a:lnTo>
                    <a:pt x="475" y="295"/>
                  </a:lnTo>
                  <a:lnTo>
                    <a:pt x="470" y="290"/>
                  </a:lnTo>
                  <a:lnTo>
                    <a:pt x="475" y="286"/>
                  </a:lnTo>
                  <a:lnTo>
                    <a:pt x="477" y="278"/>
                  </a:lnTo>
                  <a:lnTo>
                    <a:pt x="482" y="278"/>
                  </a:lnTo>
                  <a:lnTo>
                    <a:pt x="484" y="281"/>
                  </a:lnTo>
                  <a:lnTo>
                    <a:pt x="484" y="288"/>
                  </a:lnTo>
                  <a:lnTo>
                    <a:pt x="489" y="290"/>
                  </a:lnTo>
                  <a:lnTo>
                    <a:pt x="494" y="290"/>
                  </a:lnTo>
                  <a:lnTo>
                    <a:pt x="491" y="295"/>
                  </a:lnTo>
                  <a:lnTo>
                    <a:pt x="491" y="297"/>
                  </a:lnTo>
                  <a:lnTo>
                    <a:pt x="501" y="297"/>
                  </a:lnTo>
                  <a:lnTo>
                    <a:pt x="508" y="295"/>
                  </a:lnTo>
                  <a:lnTo>
                    <a:pt x="515" y="295"/>
                  </a:lnTo>
                  <a:lnTo>
                    <a:pt x="522" y="290"/>
                  </a:lnTo>
                  <a:lnTo>
                    <a:pt x="524" y="288"/>
                  </a:lnTo>
                  <a:lnTo>
                    <a:pt x="527" y="286"/>
                  </a:lnTo>
                  <a:lnTo>
                    <a:pt x="531" y="286"/>
                  </a:lnTo>
                  <a:lnTo>
                    <a:pt x="534" y="288"/>
                  </a:lnTo>
                  <a:lnTo>
                    <a:pt x="539" y="288"/>
                  </a:lnTo>
                  <a:lnTo>
                    <a:pt x="541" y="286"/>
                  </a:lnTo>
                  <a:lnTo>
                    <a:pt x="546" y="281"/>
                  </a:lnTo>
                  <a:lnTo>
                    <a:pt x="555" y="281"/>
                  </a:lnTo>
                  <a:lnTo>
                    <a:pt x="557" y="286"/>
                  </a:lnTo>
                  <a:lnTo>
                    <a:pt x="562" y="286"/>
                  </a:lnTo>
                  <a:lnTo>
                    <a:pt x="562" y="281"/>
                  </a:lnTo>
                  <a:lnTo>
                    <a:pt x="565" y="278"/>
                  </a:lnTo>
                  <a:lnTo>
                    <a:pt x="567" y="274"/>
                  </a:lnTo>
                  <a:lnTo>
                    <a:pt x="579" y="278"/>
                  </a:lnTo>
                  <a:lnTo>
                    <a:pt x="579" y="288"/>
                  </a:lnTo>
                  <a:lnTo>
                    <a:pt x="574" y="288"/>
                  </a:lnTo>
                  <a:lnTo>
                    <a:pt x="574" y="290"/>
                  </a:lnTo>
                  <a:lnTo>
                    <a:pt x="572" y="290"/>
                  </a:lnTo>
                  <a:lnTo>
                    <a:pt x="572" y="295"/>
                  </a:lnTo>
                  <a:lnTo>
                    <a:pt x="567" y="295"/>
                  </a:lnTo>
                  <a:lnTo>
                    <a:pt x="567" y="297"/>
                  </a:lnTo>
                  <a:lnTo>
                    <a:pt x="572" y="295"/>
                  </a:lnTo>
                  <a:lnTo>
                    <a:pt x="579" y="290"/>
                  </a:lnTo>
                  <a:lnTo>
                    <a:pt x="579" y="288"/>
                  </a:lnTo>
                  <a:lnTo>
                    <a:pt x="581" y="290"/>
                  </a:lnTo>
                  <a:lnTo>
                    <a:pt x="579" y="295"/>
                  </a:lnTo>
                  <a:lnTo>
                    <a:pt x="574" y="302"/>
                  </a:lnTo>
                  <a:lnTo>
                    <a:pt x="572" y="304"/>
                  </a:lnTo>
                  <a:lnTo>
                    <a:pt x="567" y="304"/>
                  </a:lnTo>
                  <a:lnTo>
                    <a:pt x="565" y="307"/>
                  </a:lnTo>
                  <a:lnTo>
                    <a:pt x="557" y="312"/>
                  </a:lnTo>
                  <a:lnTo>
                    <a:pt x="555" y="319"/>
                  </a:lnTo>
                  <a:lnTo>
                    <a:pt x="550" y="326"/>
                  </a:lnTo>
                  <a:lnTo>
                    <a:pt x="555" y="321"/>
                  </a:lnTo>
                  <a:lnTo>
                    <a:pt x="557" y="319"/>
                  </a:lnTo>
                  <a:lnTo>
                    <a:pt x="555" y="328"/>
                  </a:lnTo>
                  <a:lnTo>
                    <a:pt x="550" y="330"/>
                  </a:lnTo>
                  <a:lnTo>
                    <a:pt x="548" y="335"/>
                  </a:lnTo>
                  <a:lnTo>
                    <a:pt x="546" y="342"/>
                  </a:lnTo>
                  <a:lnTo>
                    <a:pt x="546" y="345"/>
                  </a:lnTo>
                  <a:lnTo>
                    <a:pt x="541" y="345"/>
                  </a:lnTo>
                  <a:lnTo>
                    <a:pt x="541" y="347"/>
                  </a:lnTo>
                  <a:lnTo>
                    <a:pt x="539" y="352"/>
                  </a:lnTo>
                  <a:lnTo>
                    <a:pt x="534" y="352"/>
                  </a:lnTo>
                  <a:lnTo>
                    <a:pt x="531" y="354"/>
                  </a:lnTo>
                  <a:lnTo>
                    <a:pt x="524" y="361"/>
                  </a:lnTo>
                  <a:lnTo>
                    <a:pt x="522" y="364"/>
                  </a:lnTo>
                  <a:lnTo>
                    <a:pt x="522" y="371"/>
                  </a:lnTo>
                  <a:lnTo>
                    <a:pt x="517" y="375"/>
                  </a:lnTo>
                  <a:lnTo>
                    <a:pt x="515" y="375"/>
                  </a:lnTo>
                  <a:lnTo>
                    <a:pt x="510" y="378"/>
                  </a:lnTo>
                  <a:lnTo>
                    <a:pt x="508" y="378"/>
                  </a:lnTo>
                  <a:lnTo>
                    <a:pt x="508" y="382"/>
                  </a:lnTo>
                  <a:lnTo>
                    <a:pt x="515" y="382"/>
                  </a:lnTo>
                  <a:lnTo>
                    <a:pt x="522" y="375"/>
                  </a:lnTo>
                  <a:lnTo>
                    <a:pt x="531" y="364"/>
                  </a:lnTo>
                  <a:lnTo>
                    <a:pt x="534" y="359"/>
                  </a:lnTo>
                  <a:lnTo>
                    <a:pt x="541" y="352"/>
                  </a:lnTo>
                  <a:lnTo>
                    <a:pt x="548" y="335"/>
                  </a:lnTo>
                  <a:lnTo>
                    <a:pt x="550" y="335"/>
                  </a:lnTo>
                  <a:lnTo>
                    <a:pt x="550" y="354"/>
                  </a:lnTo>
                  <a:lnTo>
                    <a:pt x="548" y="354"/>
                  </a:lnTo>
                  <a:lnTo>
                    <a:pt x="548" y="359"/>
                  </a:lnTo>
                  <a:lnTo>
                    <a:pt x="541" y="359"/>
                  </a:lnTo>
                  <a:lnTo>
                    <a:pt x="541" y="361"/>
                  </a:lnTo>
                  <a:lnTo>
                    <a:pt x="534" y="361"/>
                  </a:lnTo>
                  <a:lnTo>
                    <a:pt x="534" y="364"/>
                  </a:lnTo>
                  <a:lnTo>
                    <a:pt x="531" y="368"/>
                  </a:lnTo>
                  <a:lnTo>
                    <a:pt x="534" y="368"/>
                  </a:lnTo>
                  <a:lnTo>
                    <a:pt x="539" y="364"/>
                  </a:lnTo>
                  <a:lnTo>
                    <a:pt x="539" y="371"/>
                  </a:lnTo>
                  <a:lnTo>
                    <a:pt x="534" y="375"/>
                  </a:lnTo>
                  <a:lnTo>
                    <a:pt x="531" y="375"/>
                  </a:lnTo>
                  <a:lnTo>
                    <a:pt x="531" y="378"/>
                  </a:lnTo>
                  <a:lnTo>
                    <a:pt x="524" y="385"/>
                  </a:lnTo>
                  <a:lnTo>
                    <a:pt x="524" y="394"/>
                  </a:lnTo>
                  <a:lnTo>
                    <a:pt x="522" y="394"/>
                  </a:lnTo>
                  <a:lnTo>
                    <a:pt x="517" y="399"/>
                  </a:lnTo>
                  <a:lnTo>
                    <a:pt x="510" y="401"/>
                  </a:lnTo>
                  <a:lnTo>
                    <a:pt x="508" y="401"/>
                  </a:lnTo>
                  <a:lnTo>
                    <a:pt x="505" y="404"/>
                  </a:lnTo>
                  <a:lnTo>
                    <a:pt x="501" y="411"/>
                  </a:lnTo>
                  <a:lnTo>
                    <a:pt x="498" y="416"/>
                  </a:lnTo>
                  <a:lnTo>
                    <a:pt x="505" y="427"/>
                  </a:lnTo>
                  <a:lnTo>
                    <a:pt x="508" y="427"/>
                  </a:lnTo>
                  <a:lnTo>
                    <a:pt x="508" y="434"/>
                  </a:lnTo>
                  <a:lnTo>
                    <a:pt x="494" y="432"/>
                  </a:lnTo>
                  <a:lnTo>
                    <a:pt x="465" y="432"/>
                  </a:lnTo>
                  <a:lnTo>
                    <a:pt x="465" y="439"/>
                  </a:lnTo>
                  <a:lnTo>
                    <a:pt x="468" y="441"/>
                  </a:lnTo>
                  <a:lnTo>
                    <a:pt x="468" y="439"/>
                  </a:lnTo>
                  <a:lnTo>
                    <a:pt x="470" y="439"/>
                  </a:lnTo>
                  <a:lnTo>
                    <a:pt x="477" y="434"/>
                  </a:lnTo>
                  <a:lnTo>
                    <a:pt x="501" y="434"/>
                  </a:lnTo>
                  <a:lnTo>
                    <a:pt x="501" y="439"/>
                  </a:lnTo>
                  <a:lnTo>
                    <a:pt x="510" y="434"/>
                  </a:lnTo>
                  <a:lnTo>
                    <a:pt x="510" y="444"/>
                  </a:lnTo>
                  <a:lnTo>
                    <a:pt x="505" y="456"/>
                  </a:lnTo>
                  <a:lnTo>
                    <a:pt x="505" y="458"/>
                  </a:lnTo>
                  <a:lnTo>
                    <a:pt x="510" y="456"/>
                  </a:lnTo>
                  <a:lnTo>
                    <a:pt x="510" y="451"/>
                  </a:lnTo>
                  <a:lnTo>
                    <a:pt x="515" y="451"/>
                  </a:lnTo>
                  <a:lnTo>
                    <a:pt x="515" y="456"/>
                  </a:lnTo>
                  <a:lnTo>
                    <a:pt x="510" y="458"/>
                  </a:lnTo>
                  <a:lnTo>
                    <a:pt x="510" y="460"/>
                  </a:lnTo>
                  <a:lnTo>
                    <a:pt x="508" y="460"/>
                  </a:lnTo>
                  <a:lnTo>
                    <a:pt x="515" y="460"/>
                  </a:lnTo>
                  <a:lnTo>
                    <a:pt x="522" y="456"/>
                  </a:lnTo>
                  <a:lnTo>
                    <a:pt x="522" y="439"/>
                  </a:lnTo>
                  <a:lnTo>
                    <a:pt x="524" y="432"/>
                  </a:lnTo>
                  <a:lnTo>
                    <a:pt x="524" y="427"/>
                  </a:lnTo>
                  <a:lnTo>
                    <a:pt x="522" y="432"/>
                  </a:lnTo>
                  <a:lnTo>
                    <a:pt x="517" y="427"/>
                  </a:lnTo>
                  <a:lnTo>
                    <a:pt x="522" y="427"/>
                  </a:lnTo>
                  <a:lnTo>
                    <a:pt x="522" y="425"/>
                  </a:lnTo>
                  <a:lnTo>
                    <a:pt x="524" y="425"/>
                  </a:lnTo>
                  <a:lnTo>
                    <a:pt x="531" y="423"/>
                  </a:lnTo>
                  <a:lnTo>
                    <a:pt x="534" y="418"/>
                  </a:lnTo>
                  <a:lnTo>
                    <a:pt x="534" y="416"/>
                  </a:lnTo>
                  <a:lnTo>
                    <a:pt x="539" y="404"/>
                  </a:lnTo>
                  <a:lnTo>
                    <a:pt x="546" y="399"/>
                  </a:lnTo>
                  <a:lnTo>
                    <a:pt x="548" y="394"/>
                  </a:lnTo>
                  <a:lnTo>
                    <a:pt x="548" y="387"/>
                  </a:lnTo>
                  <a:lnTo>
                    <a:pt x="546" y="387"/>
                  </a:lnTo>
                  <a:lnTo>
                    <a:pt x="541" y="385"/>
                  </a:lnTo>
                  <a:lnTo>
                    <a:pt x="546" y="371"/>
                  </a:lnTo>
                  <a:lnTo>
                    <a:pt x="555" y="354"/>
                  </a:lnTo>
                  <a:lnTo>
                    <a:pt x="562" y="345"/>
                  </a:lnTo>
                  <a:lnTo>
                    <a:pt x="565" y="342"/>
                  </a:lnTo>
                  <a:lnTo>
                    <a:pt x="567" y="342"/>
                  </a:lnTo>
                  <a:lnTo>
                    <a:pt x="567" y="338"/>
                  </a:lnTo>
                  <a:lnTo>
                    <a:pt x="574" y="335"/>
                  </a:lnTo>
                  <a:lnTo>
                    <a:pt x="579" y="335"/>
                  </a:lnTo>
                  <a:lnTo>
                    <a:pt x="583" y="328"/>
                  </a:lnTo>
                  <a:lnTo>
                    <a:pt x="579" y="328"/>
                  </a:lnTo>
                  <a:lnTo>
                    <a:pt x="567" y="335"/>
                  </a:lnTo>
                  <a:lnTo>
                    <a:pt x="565" y="335"/>
                  </a:lnTo>
                  <a:lnTo>
                    <a:pt x="565" y="338"/>
                  </a:lnTo>
                  <a:lnTo>
                    <a:pt x="562" y="338"/>
                  </a:lnTo>
                  <a:lnTo>
                    <a:pt x="555" y="342"/>
                  </a:lnTo>
                  <a:lnTo>
                    <a:pt x="550" y="335"/>
                  </a:lnTo>
                  <a:lnTo>
                    <a:pt x="557" y="328"/>
                  </a:lnTo>
                  <a:lnTo>
                    <a:pt x="565" y="326"/>
                  </a:lnTo>
                  <a:lnTo>
                    <a:pt x="567" y="321"/>
                  </a:lnTo>
                  <a:lnTo>
                    <a:pt x="574" y="321"/>
                  </a:lnTo>
                  <a:lnTo>
                    <a:pt x="583" y="314"/>
                  </a:lnTo>
                  <a:lnTo>
                    <a:pt x="591" y="312"/>
                  </a:lnTo>
                  <a:lnTo>
                    <a:pt x="598" y="312"/>
                  </a:lnTo>
                  <a:lnTo>
                    <a:pt x="602" y="314"/>
                  </a:lnTo>
                  <a:lnTo>
                    <a:pt x="605" y="319"/>
                  </a:lnTo>
                  <a:lnTo>
                    <a:pt x="614" y="326"/>
                  </a:lnTo>
                  <a:lnTo>
                    <a:pt x="624" y="328"/>
                  </a:lnTo>
                  <a:lnTo>
                    <a:pt x="628" y="328"/>
                  </a:lnTo>
                  <a:lnTo>
                    <a:pt x="628" y="338"/>
                  </a:lnTo>
                  <a:lnTo>
                    <a:pt x="624" y="345"/>
                  </a:lnTo>
                  <a:lnTo>
                    <a:pt x="624" y="347"/>
                  </a:lnTo>
                  <a:lnTo>
                    <a:pt x="621" y="352"/>
                  </a:lnTo>
                  <a:lnTo>
                    <a:pt x="619" y="354"/>
                  </a:lnTo>
                  <a:lnTo>
                    <a:pt x="619" y="359"/>
                  </a:lnTo>
                  <a:lnTo>
                    <a:pt x="621" y="359"/>
                  </a:lnTo>
                  <a:lnTo>
                    <a:pt x="621" y="354"/>
                  </a:lnTo>
                  <a:lnTo>
                    <a:pt x="628" y="354"/>
                  </a:lnTo>
                  <a:lnTo>
                    <a:pt x="631" y="359"/>
                  </a:lnTo>
                  <a:lnTo>
                    <a:pt x="635" y="361"/>
                  </a:lnTo>
                  <a:lnTo>
                    <a:pt x="635" y="364"/>
                  </a:lnTo>
                  <a:lnTo>
                    <a:pt x="638" y="364"/>
                  </a:lnTo>
                  <a:lnTo>
                    <a:pt x="635" y="361"/>
                  </a:lnTo>
                  <a:lnTo>
                    <a:pt x="635" y="335"/>
                  </a:lnTo>
                  <a:lnTo>
                    <a:pt x="638" y="335"/>
                  </a:lnTo>
                  <a:lnTo>
                    <a:pt x="638" y="330"/>
                  </a:lnTo>
                  <a:lnTo>
                    <a:pt x="643" y="330"/>
                  </a:lnTo>
                  <a:lnTo>
                    <a:pt x="645" y="328"/>
                  </a:lnTo>
                  <a:lnTo>
                    <a:pt x="652" y="326"/>
                  </a:lnTo>
                  <a:lnTo>
                    <a:pt x="652" y="321"/>
                  </a:lnTo>
                  <a:lnTo>
                    <a:pt x="654" y="314"/>
                  </a:lnTo>
                  <a:lnTo>
                    <a:pt x="659" y="314"/>
                  </a:lnTo>
                  <a:lnTo>
                    <a:pt x="661" y="319"/>
                  </a:lnTo>
                  <a:lnTo>
                    <a:pt x="659" y="319"/>
                  </a:lnTo>
                  <a:lnTo>
                    <a:pt x="659" y="321"/>
                  </a:lnTo>
                  <a:lnTo>
                    <a:pt x="654" y="321"/>
                  </a:lnTo>
                  <a:lnTo>
                    <a:pt x="652" y="328"/>
                  </a:lnTo>
                  <a:lnTo>
                    <a:pt x="654" y="328"/>
                  </a:lnTo>
                  <a:lnTo>
                    <a:pt x="671" y="326"/>
                  </a:lnTo>
                  <a:lnTo>
                    <a:pt x="676" y="326"/>
                  </a:lnTo>
                  <a:lnTo>
                    <a:pt x="678" y="321"/>
                  </a:lnTo>
                  <a:lnTo>
                    <a:pt x="683" y="319"/>
                  </a:lnTo>
                  <a:lnTo>
                    <a:pt x="687" y="319"/>
                  </a:lnTo>
                  <a:lnTo>
                    <a:pt x="687" y="321"/>
                  </a:lnTo>
                  <a:lnTo>
                    <a:pt x="685" y="321"/>
                  </a:lnTo>
                  <a:lnTo>
                    <a:pt x="683" y="326"/>
                  </a:lnTo>
                  <a:lnTo>
                    <a:pt x="678" y="326"/>
                  </a:lnTo>
                  <a:lnTo>
                    <a:pt x="676" y="328"/>
                  </a:lnTo>
                  <a:lnTo>
                    <a:pt x="694" y="328"/>
                  </a:lnTo>
                  <a:lnTo>
                    <a:pt x="694" y="335"/>
                  </a:lnTo>
                  <a:lnTo>
                    <a:pt x="694" y="330"/>
                  </a:lnTo>
                  <a:lnTo>
                    <a:pt x="699" y="330"/>
                  </a:lnTo>
                  <a:lnTo>
                    <a:pt x="699" y="328"/>
                  </a:lnTo>
                  <a:lnTo>
                    <a:pt x="704" y="328"/>
                  </a:lnTo>
                  <a:lnTo>
                    <a:pt x="709" y="335"/>
                  </a:lnTo>
                  <a:lnTo>
                    <a:pt x="711" y="335"/>
                  </a:lnTo>
                  <a:lnTo>
                    <a:pt x="718" y="345"/>
                  </a:lnTo>
                  <a:lnTo>
                    <a:pt x="718" y="347"/>
                  </a:lnTo>
                  <a:lnTo>
                    <a:pt x="716" y="352"/>
                  </a:lnTo>
                  <a:lnTo>
                    <a:pt x="718" y="359"/>
                  </a:lnTo>
                  <a:lnTo>
                    <a:pt x="711" y="359"/>
                  </a:lnTo>
                  <a:lnTo>
                    <a:pt x="711" y="361"/>
                  </a:lnTo>
                  <a:lnTo>
                    <a:pt x="704" y="364"/>
                  </a:lnTo>
                  <a:lnTo>
                    <a:pt x="711" y="361"/>
                  </a:lnTo>
                  <a:lnTo>
                    <a:pt x="725" y="361"/>
                  </a:lnTo>
                  <a:lnTo>
                    <a:pt x="728" y="364"/>
                  </a:lnTo>
                  <a:lnTo>
                    <a:pt x="732" y="368"/>
                  </a:lnTo>
                  <a:lnTo>
                    <a:pt x="732" y="371"/>
                  </a:lnTo>
                  <a:lnTo>
                    <a:pt x="728" y="371"/>
                  </a:lnTo>
                  <a:lnTo>
                    <a:pt x="725" y="375"/>
                  </a:lnTo>
                  <a:lnTo>
                    <a:pt x="725" y="382"/>
                  </a:lnTo>
                  <a:lnTo>
                    <a:pt x="732" y="385"/>
                  </a:lnTo>
                  <a:lnTo>
                    <a:pt x="735" y="385"/>
                  </a:lnTo>
                  <a:lnTo>
                    <a:pt x="739" y="382"/>
                  </a:lnTo>
                  <a:lnTo>
                    <a:pt x="742" y="378"/>
                  </a:lnTo>
                  <a:lnTo>
                    <a:pt x="744" y="382"/>
                  </a:lnTo>
                  <a:lnTo>
                    <a:pt x="744" y="385"/>
                  </a:lnTo>
                  <a:lnTo>
                    <a:pt x="739" y="387"/>
                  </a:lnTo>
                  <a:lnTo>
                    <a:pt x="732" y="387"/>
                  </a:lnTo>
                  <a:lnTo>
                    <a:pt x="728" y="392"/>
                  </a:lnTo>
                  <a:lnTo>
                    <a:pt x="735" y="392"/>
                  </a:lnTo>
                  <a:lnTo>
                    <a:pt x="735" y="394"/>
                  </a:lnTo>
                  <a:lnTo>
                    <a:pt x="732" y="401"/>
                  </a:lnTo>
                  <a:lnTo>
                    <a:pt x="728" y="401"/>
                  </a:lnTo>
                  <a:lnTo>
                    <a:pt x="728" y="404"/>
                  </a:lnTo>
                  <a:lnTo>
                    <a:pt x="716" y="404"/>
                  </a:lnTo>
                  <a:lnTo>
                    <a:pt x="716" y="408"/>
                  </a:lnTo>
                  <a:lnTo>
                    <a:pt x="718" y="408"/>
                  </a:lnTo>
                  <a:lnTo>
                    <a:pt x="728" y="404"/>
                  </a:lnTo>
                  <a:lnTo>
                    <a:pt x="732" y="404"/>
                  </a:lnTo>
                  <a:lnTo>
                    <a:pt x="732" y="401"/>
                  </a:lnTo>
                  <a:lnTo>
                    <a:pt x="742" y="399"/>
                  </a:lnTo>
                  <a:lnTo>
                    <a:pt x="749" y="394"/>
                  </a:lnTo>
                  <a:lnTo>
                    <a:pt x="751" y="392"/>
                  </a:lnTo>
                  <a:lnTo>
                    <a:pt x="756" y="394"/>
                  </a:lnTo>
                  <a:lnTo>
                    <a:pt x="756" y="399"/>
                  </a:lnTo>
                  <a:lnTo>
                    <a:pt x="756" y="394"/>
                  </a:lnTo>
                  <a:lnTo>
                    <a:pt x="758" y="394"/>
                  </a:lnTo>
                  <a:lnTo>
                    <a:pt x="765" y="401"/>
                  </a:lnTo>
                  <a:lnTo>
                    <a:pt x="758" y="404"/>
                  </a:lnTo>
                  <a:lnTo>
                    <a:pt x="756" y="408"/>
                  </a:lnTo>
                  <a:lnTo>
                    <a:pt x="742" y="408"/>
                  </a:lnTo>
                  <a:lnTo>
                    <a:pt x="735" y="411"/>
                  </a:lnTo>
                  <a:lnTo>
                    <a:pt x="751" y="411"/>
                  </a:lnTo>
                  <a:lnTo>
                    <a:pt x="756" y="408"/>
                  </a:lnTo>
                  <a:lnTo>
                    <a:pt x="765" y="411"/>
                  </a:lnTo>
                  <a:lnTo>
                    <a:pt x="768" y="411"/>
                  </a:lnTo>
                  <a:lnTo>
                    <a:pt x="775" y="423"/>
                  </a:lnTo>
                  <a:lnTo>
                    <a:pt x="772" y="439"/>
                  </a:lnTo>
                  <a:lnTo>
                    <a:pt x="772" y="444"/>
                  </a:lnTo>
                  <a:lnTo>
                    <a:pt x="768" y="460"/>
                  </a:lnTo>
                  <a:lnTo>
                    <a:pt x="761" y="467"/>
                  </a:lnTo>
                  <a:lnTo>
                    <a:pt x="761" y="475"/>
                  </a:lnTo>
                  <a:lnTo>
                    <a:pt x="756" y="491"/>
                  </a:lnTo>
                  <a:lnTo>
                    <a:pt x="756" y="501"/>
                  </a:lnTo>
                  <a:lnTo>
                    <a:pt x="751" y="512"/>
                  </a:lnTo>
                  <a:lnTo>
                    <a:pt x="749" y="515"/>
                  </a:lnTo>
                  <a:lnTo>
                    <a:pt x="744" y="515"/>
                  </a:lnTo>
                  <a:lnTo>
                    <a:pt x="744" y="512"/>
                  </a:lnTo>
                  <a:lnTo>
                    <a:pt x="735" y="498"/>
                  </a:lnTo>
                  <a:lnTo>
                    <a:pt x="718" y="472"/>
                  </a:lnTo>
                  <a:lnTo>
                    <a:pt x="711" y="475"/>
                  </a:lnTo>
                  <a:lnTo>
                    <a:pt x="694" y="484"/>
                  </a:lnTo>
                  <a:lnTo>
                    <a:pt x="668" y="501"/>
                  </a:lnTo>
                  <a:lnTo>
                    <a:pt x="659" y="508"/>
                  </a:lnTo>
                  <a:lnTo>
                    <a:pt x="643" y="519"/>
                  </a:lnTo>
                  <a:lnTo>
                    <a:pt x="614" y="536"/>
                  </a:lnTo>
                  <a:lnTo>
                    <a:pt x="583" y="553"/>
                  </a:lnTo>
                  <a:lnTo>
                    <a:pt x="567" y="562"/>
                  </a:lnTo>
                  <a:lnTo>
                    <a:pt x="548" y="576"/>
                  </a:lnTo>
                  <a:lnTo>
                    <a:pt x="534" y="581"/>
                  </a:lnTo>
                  <a:lnTo>
                    <a:pt x="517" y="593"/>
                  </a:lnTo>
                  <a:lnTo>
                    <a:pt x="510" y="595"/>
                  </a:lnTo>
                  <a:lnTo>
                    <a:pt x="494" y="604"/>
                  </a:lnTo>
                  <a:lnTo>
                    <a:pt x="489" y="609"/>
                  </a:lnTo>
                  <a:lnTo>
                    <a:pt x="484" y="609"/>
                  </a:lnTo>
                  <a:lnTo>
                    <a:pt x="482" y="612"/>
                  </a:lnTo>
                  <a:lnTo>
                    <a:pt x="477" y="616"/>
                  </a:lnTo>
                  <a:lnTo>
                    <a:pt x="468" y="619"/>
                  </a:lnTo>
                  <a:lnTo>
                    <a:pt x="465" y="621"/>
                  </a:lnTo>
                  <a:lnTo>
                    <a:pt x="451" y="628"/>
                  </a:lnTo>
                  <a:lnTo>
                    <a:pt x="425" y="642"/>
                  </a:lnTo>
                  <a:lnTo>
                    <a:pt x="411" y="649"/>
                  </a:lnTo>
                  <a:lnTo>
                    <a:pt x="404" y="649"/>
                  </a:lnTo>
                  <a:lnTo>
                    <a:pt x="402" y="645"/>
                  </a:lnTo>
                  <a:lnTo>
                    <a:pt x="397" y="638"/>
                  </a:lnTo>
                  <a:lnTo>
                    <a:pt x="397" y="633"/>
                  </a:lnTo>
                  <a:lnTo>
                    <a:pt x="394" y="633"/>
                  </a:lnTo>
                  <a:lnTo>
                    <a:pt x="385" y="621"/>
                  </a:lnTo>
                  <a:lnTo>
                    <a:pt x="380" y="619"/>
                  </a:lnTo>
                  <a:lnTo>
                    <a:pt x="378" y="619"/>
                  </a:lnTo>
                  <a:lnTo>
                    <a:pt x="378" y="621"/>
                  </a:lnTo>
                  <a:lnTo>
                    <a:pt x="373" y="621"/>
                  </a:lnTo>
                  <a:lnTo>
                    <a:pt x="373" y="609"/>
                  </a:lnTo>
                  <a:lnTo>
                    <a:pt x="378" y="604"/>
                  </a:lnTo>
                  <a:lnTo>
                    <a:pt x="378" y="602"/>
                  </a:lnTo>
                  <a:lnTo>
                    <a:pt x="380" y="602"/>
                  </a:lnTo>
                  <a:lnTo>
                    <a:pt x="387" y="595"/>
                  </a:lnTo>
                  <a:lnTo>
                    <a:pt x="390" y="595"/>
                  </a:lnTo>
                  <a:lnTo>
                    <a:pt x="394" y="593"/>
                  </a:lnTo>
                  <a:lnTo>
                    <a:pt x="397" y="588"/>
                  </a:lnTo>
                  <a:lnTo>
                    <a:pt x="402" y="588"/>
                  </a:lnTo>
                  <a:lnTo>
                    <a:pt x="397" y="588"/>
                  </a:lnTo>
                  <a:lnTo>
                    <a:pt x="394" y="586"/>
                  </a:lnTo>
                  <a:lnTo>
                    <a:pt x="385" y="586"/>
                  </a:lnTo>
                  <a:lnTo>
                    <a:pt x="380" y="571"/>
                  </a:lnTo>
                  <a:lnTo>
                    <a:pt x="380" y="569"/>
                  </a:lnTo>
                  <a:lnTo>
                    <a:pt x="378" y="564"/>
                  </a:lnTo>
                  <a:lnTo>
                    <a:pt x="368" y="557"/>
                  </a:lnTo>
                  <a:lnTo>
                    <a:pt x="361" y="557"/>
                  </a:lnTo>
                  <a:lnTo>
                    <a:pt x="361" y="562"/>
                  </a:lnTo>
                  <a:lnTo>
                    <a:pt x="357" y="564"/>
                  </a:lnTo>
                  <a:lnTo>
                    <a:pt x="357" y="571"/>
                  </a:lnTo>
                  <a:lnTo>
                    <a:pt x="361" y="571"/>
                  </a:lnTo>
                  <a:lnTo>
                    <a:pt x="364" y="586"/>
                  </a:lnTo>
                  <a:lnTo>
                    <a:pt x="357" y="586"/>
                  </a:lnTo>
                  <a:lnTo>
                    <a:pt x="357" y="588"/>
                  </a:lnTo>
                  <a:lnTo>
                    <a:pt x="354" y="588"/>
                  </a:lnTo>
                  <a:lnTo>
                    <a:pt x="354" y="595"/>
                  </a:lnTo>
                  <a:lnTo>
                    <a:pt x="364" y="619"/>
                  </a:lnTo>
                  <a:lnTo>
                    <a:pt x="368" y="619"/>
                  </a:lnTo>
                  <a:lnTo>
                    <a:pt x="371" y="621"/>
                  </a:lnTo>
                  <a:lnTo>
                    <a:pt x="378" y="628"/>
                  </a:lnTo>
                  <a:lnTo>
                    <a:pt x="378" y="633"/>
                  </a:lnTo>
                  <a:lnTo>
                    <a:pt x="380" y="638"/>
                  </a:lnTo>
                  <a:lnTo>
                    <a:pt x="385" y="642"/>
                  </a:lnTo>
                  <a:lnTo>
                    <a:pt x="380" y="652"/>
                  </a:lnTo>
                  <a:lnTo>
                    <a:pt x="380" y="659"/>
                  </a:lnTo>
                  <a:lnTo>
                    <a:pt x="385" y="666"/>
                  </a:lnTo>
                  <a:lnTo>
                    <a:pt x="385" y="668"/>
                  </a:lnTo>
                  <a:lnTo>
                    <a:pt x="387" y="678"/>
                  </a:lnTo>
                  <a:lnTo>
                    <a:pt x="390" y="682"/>
                  </a:lnTo>
                  <a:lnTo>
                    <a:pt x="394" y="682"/>
                  </a:lnTo>
                  <a:lnTo>
                    <a:pt x="394" y="690"/>
                  </a:lnTo>
                  <a:lnTo>
                    <a:pt x="390" y="701"/>
                  </a:lnTo>
                  <a:lnTo>
                    <a:pt x="387" y="706"/>
                  </a:lnTo>
                  <a:lnTo>
                    <a:pt x="387" y="701"/>
                  </a:lnTo>
                  <a:lnTo>
                    <a:pt x="385" y="699"/>
                  </a:lnTo>
                  <a:lnTo>
                    <a:pt x="378" y="699"/>
                  </a:lnTo>
                  <a:lnTo>
                    <a:pt x="373" y="692"/>
                  </a:lnTo>
                  <a:lnTo>
                    <a:pt x="378" y="690"/>
                  </a:lnTo>
                  <a:lnTo>
                    <a:pt x="378" y="68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3" name="Freeform 54">
              <a:extLst>
                <a:ext uri="{FF2B5EF4-FFF2-40B4-BE49-F238E27FC236}">
                  <a16:creationId xmlns:a16="http://schemas.microsoft.com/office/drawing/2014/main" id="{2C2421A7-CA67-43B9-A596-DADDAE1B51D0}"/>
                </a:ext>
              </a:extLst>
            </p:cNvPr>
            <p:cNvSpPr>
              <a:spLocks/>
            </p:cNvSpPr>
            <p:nvPr/>
          </p:nvSpPr>
          <p:spPr bwMode="gray">
            <a:xfrm rot="47099">
              <a:off x="2166929" y="2302606"/>
              <a:ext cx="3563" cy="3860"/>
            </a:xfrm>
            <a:custGeom>
              <a:avLst/>
              <a:gdLst>
                <a:gd name="T0" fmla="*/ 0 w 7"/>
                <a:gd name="T1" fmla="*/ 7 h 7"/>
                <a:gd name="T2" fmla="*/ 0 w 7"/>
                <a:gd name="T3" fmla="*/ 0 h 7"/>
                <a:gd name="T4" fmla="*/ 5 w 7"/>
                <a:gd name="T5" fmla="*/ 0 h 7"/>
                <a:gd name="T6" fmla="*/ 5 w 7"/>
                <a:gd name="T7" fmla="*/ 7 h 7"/>
                <a:gd name="T8" fmla="*/ 7 w 7"/>
                <a:gd name="T9" fmla="*/ 7 h 7"/>
                <a:gd name="T10" fmla="*/ 0 w 7"/>
                <a:gd name="T11" fmla="*/ 7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0" y="7"/>
                  </a:moveTo>
                  <a:lnTo>
                    <a:pt x="0" y="0"/>
                  </a:lnTo>
                  <a:lnTo>
                    <a:pt x="5" y="0"/>
                  </a:lnTo>
                  <a:lnTo>
                    <a:pt x="5" y="7"/>
                  </a:lnTo>
                  <a:lnTo>
                    <a:pt x="7" y="7"/>
                  </a:lnTo>
                  <a:lnTo>
                    <a:pt x="0"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4" name="Freeform 58">
              <a:extLst>
                <a:ext uri="{FF2B5EF4-FFF2-40B4-BE49-F238E27FC236}">
                  <a16:creationId xmlns:a16="http://schemas.microsoft.com/office/drawing/2014/main" id="{F7E90803-A3D3-4C8F-94EF-3C9FD86E6CDC}"/>
                </a:ext>
              </a:extLst>
            </p:cNvPr>
            <p:cNvSpPr>
              <a:spLocks/>
            </p:cNvSpPr>
            <p:nvPr/>
          </p:nvSpPr>
          <p:spPr bwMode="gray">
            <a:xfrm rot="47099">
              <a:off x="111758" y="2066037"/>
              <a:ext cx="5343" cy="5789"/>
            </a:xfrm>
            <a:custGeom>
              <a:avLst/>
              <a:gdLst>
                <a:gd name="T0" fmla="*/ 12 w 12"/>
                <a:gd name="T1" fmla="*/ 9 h 12"/>
                <a:gd name="T2" fmla="*/ 12 w 12"/>
                <a:gd name="T3" fmla="*/ 12 h 12"/>
                <a:gd name="T4" fmla="*/ 8 w 12"/>
                <a:gd name="T5" fmla="*/ 12 h 12"/>
                <a:gd name="T6" fmla="*/ 5 w 12"/>
                <a:gd name="T7" fmla="*/ 9 h 12"/>
                <a:gd name="T8" fmla="*/ 0 w 12"/>
                <a:gd name="T9" fmla="*/ 9 h 12"/>
                <a:gd name="T10" fmla="*/ 0 w 12"/>
                <a:gd name="T11" fmla="*/ 0 h 12"/>
                <a:gd name="T12" fmla="*/ 5 w 12"/>
                <a:gd name="T13" fmla="*/ 2 h 12"/>
                <a:gd name="T14" fmla="*/ 8 w 12"/>
                <a:gd name="T15" fmla="*/ 2 h 12"/>
                <a:gd name="T16" fmla="*/ 8 w 12"/>
                <a:gd name="T17" fmla="*/ 5 h 12"/>
                <a:gd name="T18" fmla="*/ 12 w 12"/>
                <a:gd name="T19" fmla="*/ 9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12" y="9"/>
                  </a:moveTo>
                  <a:lnTo>
                    <a:pt x="12" y="12"/>
                  </a:lnTo>
                  <a:lnTo>
                    <a:pt x="8" y="12"/>
                  </a:lnTo>
                  <a:lnTo>
                    <a:pt x="5" y="9"/>
                  </a:lnTo>
                  <a:lnTo>
                    <a:pt x="0" y="9"/>
                  </a:lnTo>
                  <a:lnTo>
                    <a:pt x="0" y="0"/>
                  </a:lnTo>
                  <a:lnTo>
                    <a:pt x="5" y="2"/>
                  </a:lnTo>
                  <a:lnTo>
                    <a:pt x="8" y="2"/>
                  </a:lnTo>
                  <a:lnTo>
                    <a:pt x="8" y="5"/>
                  </a:lnTo>
                  <a:lnTo>
                    <a:pt x="12"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5" name="Freeform 59">
              <a:extLst>
                <a:ext uri="{FF2B5EF4-FFF2-40B4-BE49-F238E27FC236}">
                  <a16:creationId xmlns:a16="http://schemas.microsoft.com/office/drawing/2014/main" id="{95D1AFC4-6B1F-4A70-8510-196D054AACBE}"/>
                </a:ext>
              </a:extLst>
            </p:cNvPr>
            <p:cNvSpPr>
              <a:spLocks/>
            </p:cNvSpPr>
            <p:nvPr/>
          </p:nvSpPr>
          <p:spPr bwMode="gray">
            <a:xfrm rot="47099">
              <a:off x="100393" y="2048525"/>
              <a:ext cx="7125" cy="9649"/>
            </a:xfrm>
            <a:custGeom>
              <a:avLst/>
              <a:gdLst>
                <a:gd name="T0" fmla="*/ 3 w 17"/>
                <a:gd name="T1" fmla="*/ 14 h 21"/>
                <a:gd name="T2" fmla="*/ 3 w 17"/>
                <a:gd name="T3" fmla="*/ 9 h 21"/>
                <a:gd name="T4" fmla="*/ 0 w 17"/>
                <a:gd name="T5" fmla="*/ 9 h 21"/>
                <a:gd name="T6" fmla="*/ 0 w 17"/>
                <a:gd name="T7" fmla="*/ 7 h 21"/>
                <a:gd name="T8" fmla="*/ 3 w 17"/>
                <a:gd name="T9" fmla="*/ 0 h 21"/>
                <a:gd name="T10" fmla="*/ 15 w 17"/>
                <a:gd name="T11" fmla="*/ 0 h 21"/>
                <a:gd name="T12" fmla="*/ 17 w 17"/>
                <a:gd name="T13" fmla="*/ 21 h 21"/>
                <a:gd name="T14" fmla="*/ 10 w 17"/>
                <a:gd name="T15" fmla="*/ 21 h 21"/>
                <a:gd name="T16" fmla="*/ 8 w 17"/>
                <a:gd name="T17" fmla="*/ 17 h 21"/>
                <a:gd name="T18" fmla="*/ 8 w 17"/>
                <a:gd name="T19" fmla="*/ 14 h 21"/>
                <a:gd name="T20" fmla="*/ 3 w 17"/>
                <a:gd name="T21" fmla="*/ 14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21"/>
                <a:gd name="T35" fmla="*/ 17 w 17"/>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21">
                  <a:moveTo>
                    <a:pt x="3" y="14"/>
                  </a:moveTo>
                  <a:lnTo>
                    <a:pt x="3" y="9"/>
                  </a:lnTo>
                  <a:lnTo>
                    <a:pt x="0" y="9"/>
                  </a:lnTo>
                  <a:lnTo>
                    <a:pt x="0" y="7"/>
                  </a:lnTo>
                  <a:lnTo>
                    <a:pt x="3" y="0"/>
                  </a:lnTo>
                  <a:lnTo>
                    <a:pt x="15" y="0"/>
                  </a:lnTo>
                  <a:lnTo>
                    <a:pt x="17" y="21"/>
                  </a:lnTo>
                  <a:lnTo>
                    <a:pt x="10" y="21"/>
                  </a:lnTo>
                  <a:lnTo>
                    <a:pt x="8" y="17"/>
                  </a:lnTo>
                  <a:lnTo>
                    <a:pt x="8" y="14"/>
                  </a:lnTo>
                  <a:lnTo>
                    <a:pt x="3"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6" name="Freeform 60">
              <a:extLst>
                <a:ext uri="{FF2B5EF4-FFF2-40B4-BE49-F238E27FC236}">
                  <a16:creationId xmlns:a16="http://schemas.microsoft.com/office/drawing/2014/main" id="{7E6613B4-28C7-44E6-8EAA-50053EA15E7C}"/>
                </a:ext>
              </a:extLst>
            </p:cNvPr>
            <p:cNvSpPr>
              <a:spLocks/>
            </p:cNvSpPr>
            <p:nvPr/>
          </p:nvSpPr>
          <p:spPr bwMode="gray">
            <a:xfrm rot="47099">
              <a:off x="107477" y="2053453"/>
              <a:ext cx="8015" cy="5789"/>
            </a:xfrm>
            <a:custGeom>
              <a:avLst/>
              <a:gdLst>
                <a:gd name="T0" fmla="*/ 0 w 17"/>
                <a:gd name="T1" fmla="*/ 15 h 15"/>
                <a:gd name="T2" fmla="*/ 0 w 17"/>
                <a:gd name="T3" fmla="*/ 12 h 15"/>
                <a:gd name="T4" fmla="*/ 7 w 17"/>
                <a:gd name="T5" fmla="*/ 0 h 15"/>
                <a:gd name="T6" fmla="*/ 14 w 17"/>
                <a:gd name="T7" fmla="*/ 0 h 15"/>
                <a:gd name="T8" fmla="*/ 17 w 17"/>
                <a:gd name="T9" fmla="*/ 5 h 15"/>
                <a:gd name="T10" fmla="*/ 17 w 17"/>
                <a:gd name="T11" fmla="*/ 8 h 15"/>
                <a:gd name="T12" fmla="*/ 9 w 17"/>
                <a:gd name="T13" fmla="*/ 12 h 15"/>
                <a:gd name="T14" fmla="*/ 7 w 17"/>
                <a:gd name="T15" fmla="*/ 15 h 15"/>
                <a:gd name="T16" fmla="*/ 0 w 17"/>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5"/>
                <a:gd name="T29" fmla="*/ 17 w 1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5">
                  <a:moveTo>
                    <a:pt x="0" y="15"/>
                  </a:moveTo>
                  <a:lnTo>
                    <a:pt x="0" y="12"/>
                  </a:lnTo>
                  <a:lnTo>
                    <a:pt x="7" y="0"/>
                  </a:lnTo>
                  <a:lnTo>
                    <a:pt x="14" y="0"/>
                  </a:lnTo>
                  <a:lnTo>
                    <a:pt x="17" y="5"/>
                  </a:lnTo>
                  <a:lnTo>
                    <a:pt x="17" y="8"/>
                  </a:lnTo>
                  <a:lnTo>
                    <a:pt x="9" y="12"/>
                  </a:lnTo>
                  <a:lnTo>
                    <a:pt x="7" y="15"/>
                  </a:lnTo>
                  <a:lnTo>
                    <a:pt x="0" y="1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7" name="Freeform 61">
              <a:extLst>
                <a:ext uri="{FF2B5EF4-FFF2-40B4-BE49-F238E27FC236}">
                  <a16:creationId xmlns:a16="http://schemas.microsoft.com/office/drawing/2014/main" id="{8074A9D2-6211-43F1-8946-8EF7B6B5928B}"/>
                </a:ext>
              </a:extLst>
            </p:cNvPr>
            <p:cNvSpPr>
              <a:spLocks/>
            </p:cNvSpPr>
            <p:nvPr/>
          </p:nvSpPr>
          <p:spPr bwMode="gray">
            <a:xfrm rot="47099">
              <a:off x="154932" y="2098465"/>
              <a:ext cx="4453" cy="9649"/>
            </a:xfrm>
            <a:custGeom>
              <a:avLst/>
              <a:gdLst>
                <a:gd name="T0" fmla="*/ 9 w 9"/>
                <a:gd name="T1" fmla="*/ 7 h 22"/>
                <a:gd name="T2" fmla="*/ 9 w 9"/>
                <a:gd name="T3" fmla="*/ 17 h 22"/>
                <a:gd name="T4" fmla="*/ 7 w 9"/>
                <a:gd name="T5" fmla="*/ 22 h 22"/>
                <a:gd name="T6" fmla="*/ 2 w 9"/>
                <a:gd name="T7" fmla="*/ 17 h 22"/>
                <a:gd name="T8" fmla="*/ 0 w 9"/>
                <a:gd name="T9" fmla="*/ 12 h 22"/>
                <a:gd name="T10" fmla="*/ 0 w 9"/>
                <a:gd name="T11" fmla="*/ 7 h 22"/>
                <a:gd name="T12" fmla="*/ 2 w 9"/>
                <a:gd name="T13" fmla="*/ 5 h 22"/>
                <a:gd name="T14" fmla="*/ 7 w 9"/>
                <a:gd name="T15" fmla="*/ 0 h 22"/>
                <a:gd name="T16" fmla="*/ 7 w 9"/>
                <a:gd name="T17" fmla="*/ 5 h 22"/>
                <a:gd name="T18" fmla="*/ 9 w 9"/>
                <a:gd name="T19" fmla="*/ 7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22"/>
                <a:gd name="T32" fmla="*/ 9 w 9"/>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22">
                  <a:moveTo>
                    <a:pt x="9" y="7"/>
                  </a:moveTo>
                  <a:lnTo>
                    <a:pt x="9" y="17"/>
                  </a:lnTo>
                  <a:lnTo>
                    <a:pt x="7" y="22"/>
                  </a:lnTo>
                  <a:lnTo>
                    <a:pt x="2" y="17"/>
                  </a:lnTo>
                  <a:lnTo>
                    <a:pt x="0" y="12"/>
                  </a:lnTo>
                  <a:lnTo>
                    <a:pt x="0" y="7"/>
                  </a:lnTo>
                  <a:lnTo>
                    <a:pt x="2" y="5"/>
                  </a:lnTo>
                  <a:lnTo>
                    <a:pt x="7" y="0"/>
                  </a:lnTo>
                  <a:lnTo>
                    <a:pt x="7" y="5"/>
                  </a:lnTo>
                  <a:lnTo>
                    <a:pt x="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8" name="Freeform 62">
              <a:extLst>
                <a:ext uri="{FF2B5EF4-FFF2-40B4-BE49-F238E27FC236}">
                  <a16:creationId xmlns:a16="http://schemas.microsoft.com/office/drawing/2014/main" id="{08886038-655B-4C1A-95FF-DA321B44587A}"/>
                </a:ext>
              </a:extLst>
            </p:cNvPr>
            <p:cNvSpPr>
              <a:spLocks/>
            </p:cNvSpPr>
            <p:nvPr/>
          </p:nvSpPr>
          <p:spPr bwMode="gray">
            <a:xfrm rot="47099">
              <a:off x="705030" y="2515122"/>
              <a:ext cx="3563" cy="7718"/>
            </a:xfrm>
            <a:custGeom>
              <a:avLst/>
              <a:gdLst>
                <a:gd name="T0" fmla="*/ 7 w 7"/>
                <a:gd name="T1" fmla="*/ 7 h 17"/>
                <a:gd name="T2" fmla="*/ 5 w 7"/>
                <a:gd name="T3" fmla="*/ 17 h 17"/>
                <a:gd name="T4" fmla="*/ 0 w 7"/>
                <a:gd name="T5" fmla="*/ 17 h 17"/>
                <a:gd name="T6" fmla="*/ 0 w 7"/>
                <a:gd name="T7" fmla="*/ 0 h 17"/>
                <a:gd name="T8" fmla="*/ 7 w 7"/>
                <a:gd name="T9" fmla="*/ 0 h 17"/>
                <a:gd name="T10" fmla="*/ 7 w 7"/>
                <a:gd name="T11" fmla="*/ 7 h 17"/>
                <a:gd name="T12" fmla="*/ 0 60000 65536"/>
                <a:gd name="T13" fmla="*/ 0 60000 65536"/>
                <a:gd name="T14" fmla="*/ 0 60000 65536"/>
                <a:gd name="T15" fmla="*/ 0 60000 65536"/>
                <a:gd name="T16" fmla="*/ 0 60000 65536"/>
                <a:gd name="T17" fmla="*/ 0 60000 65536"/>
                <a:gd name="T18" fmla="*/ 0 w 7"/>
                <a:gd name="T19" fmla="*/ 0 h 17"/>
                <a:gd name="T20" fmla="*/ 7 w 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7" h="17">
                  <a:moveTo>
                    <a:pt x="7" y="7"/>
                  </a:moveTo>
                  <a:lnTo>
                    <a:pt x="5" y="17"/>
                  </a:lnTo>
                  <a:lnTo>
                    <a:pt x="0" y="17"/>
                  </a:lnTo>
                  <a:lnTo>
                    <a:pt x="0" y="0"/>
                  </a:lnTo>
                  <a:lnTo>
                    <a:pt x="7" y="0"/>
                  </a:lnTo>
                  <a:lnTo>
                    <a:pt x="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79" name="Freeform 63">
              <a:extLst>
                <a:ext uri="{FF2B5EF4-FFF2-40B4-BE49-F238E27FC236}">
                  <a16:creationId xmlns:a16="http://schemas.microsoft.com/office/drawing/2014/main" id="{F4A6C6C6-11FB-4729-BC89-6FBDF74469B4}"/>
                </a:ext>
              </a:extLst>
            </p:cNvPr>
            <p:cNvSpPr>
              <a:spLocks/>
            </p:cNvSpPr>
            <p:nvPr/>
          </p:nvSpPr>
          <p:spPr bwMode="gray">
            <a:xfrm rot="47099">
              <a:off x="174622" y="2093935"/>
              <a:ext cx="8015" cy="4824"/>
            </a:xfrm>
            <a:custGeom>
              <a:avLst/>
              <a:gdLst>
                <a:gd name="T0" fmla="*/ 15 w 15"/>
                <a:gd name="T1" fmla="*/ 2 h 9"/>
                <a:gd name="T2" fmla="*/ 15 w 15"/>
                <a:gd name="T3" fmla="*/ 7 h 9"/>
                <a:gd name="T4" fmla="*/ 12 w 15"/>
                <a:gd name="T5" fmla="*/ 7 h 9"/>
                <a:gd name="T6" fmla="*/ 12 w 15"/>
                <a:gd name="T7" fmla="*/ 9 h 9"/>
                <a:gd name="T8" fmla="*/ 0 w 15"/>
                <a:gd name="T9" fmla="*/ 9 h 9"/>
                <a:gd name="T10" fmla="*/ 0 w 15"/>
                <a:gd name="T11" fmla="*/ 7 h 9"/>
                <a:gd name="T12" fmla="*/ 5 w 15"/>
                <a:gd name="T13" fmla="*/ 2 h 9"/>
                <a:gd name="T14" fmla="*/ 5 w 15"/>
                <a:gd name="T15" fmla="*/ 0 h 9"/>
                <a:gd name="T16" fmla="*/ 15 w 15"/>
                <a:gd name="T17" fmla="*/ 0 h 9"/>
                <a:gd name="T18" fmla="*/ 15 w 15"/>
                <a:gd name="T19" fmla="*/ 2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9"/>
                <a:gd name="T32" fmla="*/ 15 w 15"/>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9">
                  <a:moveTo>
                    <a:pt x="15" y="2"/>
                  </a:moveTo>
                  <a:lnTo>
                    <a:pt x="15" y="7"/>
                  </a:lnTo>
                  <a:lnTo>
                    <a:pt x="12" y="7"/>
                  </a:lnTo>
                  <a:lnTo>
                    <a:pt x="12" y="9"/>
                  </a:lnTo>
                  <a:lnTo>
                    <a:pt x="0" y="9"/>
                  </a:lnTo>
                  <a:lnTo>
                    <a:pt x="0" y="7"/>
                  </a:lnTo>
                  <a:lnTo>
                    <a:pt x="5" y="2"/>
                  </a:lnTo>
                  <a:lnTo>
                    <a:pt x="5" y="0"/>
                  </a:lnTo>
                  <a:lnTo>
                    <a:pt x="15" y="0"/>
                  </a:lnTo>
                  <a:lnTo>
                    <a:pt x="15"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0" name="Freeform 64">
              <a:extLst>
                <a:ext uri="{FF2B5EF4-FFF2-40B4-BE49-F238E27FC236}">
                  <a16:creationId xmlns:a16="http://schemas.microsoft.com/office/drawing/2014/main" id="{52086B61-D9C1-40D5-A7F5-BC455170A987}"/>
                </a:ext>
              </a:extLst>
            </p:cNvPr>
            <p:cNvSpPr>
              <a:spLocks/>
            </p:cNvSpPr>
            <p:nvPr/>
          </p:nvSpPr>
          <p:spPr bwMode="gray">
            <a:xfrm rot="47099">
              <a:off x="734272" y="2528092"/>
              <a:ext cx="7125" cy="3860"/>
            </a:xfrm>
            <a:custGeom>
              <a:avLst/>
              <a:gdLst>
                <a:gd name="T0" fmla="*/ 11 w 16"/>
                <a:gd name="T1" fmla="*/ 0 h 10"/>
                <a:gd name="T2" fmla="*/ 11 w 16"/>
                <a:gd name="T3" fmla="*/ 5 h 10"/>
                <a:gd name="T4" fmla="*/ 9 w 16"/>
                <a:gd name="T5" fmla="*/ 10 h 10"/>
                <a:gd name="T6" fmla="*/ 7 w 16"/>
                <a:gd name="T7" fmla="*/ 10 h 10"/>
                <a:gd name="T8" fmla="*/ 2 w 16"/>
                <a:gd name="T9" fmla="*/ 5 h 10"/>
                <a:gd name="T10" fmla="*/ 0 w 16"/>
                <a:gd name="T11" fmla="*/ 3 h 10"/>
                <a:gd name="T12" fmla="*/ 0 w 16"/>
                <a:gd name="T13" fmla="*/ 0 h 10"/>
                <a:gd name="T14" fmla="*/ 16 w 16"/>
                <a:gd name="T15" fmla="*/ 0 h 10"/>
                <a:gd name="T16" fmla="*/ 11 w 1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0"/>
                <a:gd name="T29" fmla="*/ 16 w 16"/>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0">
                  <a:moveTo>
                    <a:pt x="11" y="0"/>
                  </a:moveTo>
                  <a:lnTo>
                    <a:pt x="11" y="5"/>
                  </a:lnTo>
                  <a:lnTo>
                    <a:pt x="9" y="10"/>
                  </a:lnTo>
                  <a:lnTo>
                    <a:pt x="7" y="10"/>
                  </a:lnTo>
                  <a:lnTo>
                    <a:pt x="2" y="5"/>
                  </a:lnTo>
                  <a:lnTo>
                    <a:pt x="0" y="3"/>
                  </a:lnTo>
                  <a:lnTo>
                    <a:pt x="0" y="0"/>
                  </a:lnTo>
                  <a:lnTo>
                    <a:pt x="16" y="0"/>
                  </a:lnTo>
                  <a:lnTo>
                    <a:pt x="11"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1" name="Freeform 65">
              <a:extLst>
                <a:ext uri="{FF2B5EF4-FFF2-40B4-BE49-F238E27FC236}">
                  <a16:creationId xmlns:a16="http://schemas.microsoft.com/office/drawing/2014/main" id="{99994D28-2408-4D78-9C66-02AE537BAEE8}"/>
                </a:ext>
              </a:extLst>
            </p:cNvPr>
            <p:cNvSpPr>
              <a:spLocks/>
            </p:cNvSpPr>
            <p:nvPr/>
          </p:nvSpPr>
          <p:spPr bwMode="gray">
            <a:xfrm rot="47099">
              <a:off x="128623" y="2056846"/>
              <a:ext cx="38297" cy="32805"/>
            </a:xfrm>
            <a:custGeom>
              <a:avLst/>
              <a:gdLst>
                <a:gd name="T0" fmla="*/ 33 w 83"/>
                <a:gd name="T1" fmla="*/ 33 h 70"/>
                <a:gd name="T2" fmla="*/ 33 w 83"/>
                <a:gd name="T3" fmla="*/ 30 h 70"/>
                <a:gd name="T4" fmla="*/ 21 w 83"/>
                <a:gd name="T5" fmla="*/ 30 h 70"/>
                <a:gd name="T6" fmla="*/ 21 w 83"/>
                <a:gd name="T7" fmla="*/ 33 h 70"/>
                <a:gd name="T8" fmla="*/ 9 w 83"/>
                <a:gd name="T9" fmla="*/ 33 h 70"/>
                <a:gd name="T10" fmla="*/ 2 w 83"/>
                <a:gd name="T11" fmla="*/ 26 h 70"/>
                <a:gd name="T12" fmla="*/ 0 w 83"/>
                <a:gd name="T13" fmla="*/ 21 h 70"/>
                <a:gd name="T14" fmla="*/ 0 w 83"/>
                <a:gd name="T15" fmla="*/ 16 h 70"/>
                <a:gd name="T16" fmla="*/ 5 w 83"/>
                <a:gd name="T17" fmla="*/ 7 h 70"/>
                <a:gd name="T18" fmla="*/ 9 w 83"/>
                <a:gd name="T19" fmla="*/ 4 h 70"/>
                <a:gd name="T20" fmla="*/ 12 w 83"/>
                <a:gd name="T21" fmla="*/ 4 h 70"/>
                <a:gd name="T22" fmla="*/ 16 w 83"/>
                <a:gd name="T23" fmla="*/ 7 h 70"/>
                <a:gd name="T24" fmla="*/ 28 w 83"/>
                <a:gd name="T25" fmla="*/ 7 h 70"/>
                <a:gd name="T26" fmla="*/ 40 w 83"/>
                <a:gd name="T27" fmla="*/ 4 h 70"/>
                <a:gd name="T28" fmla="*/ 42 w 83"/>
                <a:gd name="T29" fmla="*/ 0 h 70"/>
                <a:gd name="T30" fmla="*/ 45 w 83"/>
                <a:gd name="T31" fmla="*/ 0 h 70"/>
                <a:gd name="T32" fmla="*/ 49 w 83"/>
                <a:gd name="T33" fmla="*/ 4 h 70"/>
                <a:gd name="T34" fmla="*/ 49 w 83"/>
                <a:gd name="T35" fmla="*/ 9 h 70"/>
                <a:gd name="T36" fmla="*/ 52 w 83"/>
                <a:gd name="T37" fmla="*/ 14 h 70"/>
                <a:gd name="T38" fmla="*/ 61 w 83"/>
                <a:gd name="T39" fmla="*/ 14 h 70"/>
                <a:gd name="T40" fmla="*/ 66 w 83"/>
                <a:gd name="T41" fmla="*/ 16 h 70"/>
                <a:gd name="T42" fmla="*/ 68 w 83"/>
                <a:gd name="T43" fmla="*/ 16 h 70"/>
                <a:gd name="T44" fmla="*/ 75 w 83"/>
                <a:gd name="T45" fmla="*/ 21 h 70"/>
                <a:gd name="T46" fmla="*/ 83 w 83"/>
                <a:gd name="T47" fmla="*/ 30 h 70"/>
                <a:gd name="T48" fmla="*/ 78 w 83"/>
                <a:gd name="T49" fmla="*/ 40 h 70"/>
                <a:gd name="T50" fmla="*/ 75 w 83"/>
                <a:gd name="T51" fmla="*/ 40 h 70"/>
                <a:gd name="T52" fmla="*/ 75 w 83"/>
                <a:gd name="T53" fmla="*/ 42 h 70"/>
                <a:gd name="T54" fmla="*/ 73 w 83"/>
                <a:gd name="T55" fmla="*/ 47 h 70"/>
                <a:gd name="T56" fmla="*/ 68 w 83"/>
                <a:gd name="T57" fmla="*/ 49 h 70"/>
                <a:gd name="T58" fmla="*/ 68 w 83"/>
                <a:gd name="T59" fmla="*/ 56 h 70"/>
                <a:gd name="T60" fmla="*/ 73 w 83"/>
                <a:gd name="T61" fmla="*/ 61 h 70"/>
                <a:gd name="T62" fmla="*/ 75 w 83"/>
                <a:gd name="T63" fmla="*/ 63 h 70"/>
                <a:gd name="T64" fmla="*/ 68 w 83"/>
                <a:gd name="T65" fmla="*/ 70 h 70"/>
                <a:gd name="T66" fmla="*/ 66 w 83"/>
                <a:gd name="T67" fmla="*/ 66 h 70"/>
                <a:gd name="T68" fmla="*/ 66 w 83"/>
                <a:gd name="T69" fmla="*/ 56 h 70"/>
                <a:gd name="T70" fmla="*/ 52 w 83"/>
                <a:gd name="T71" fmla="*/ 56 h 70"/>
                <a:gd name="T72" fmla="*/ 49 w 83"/>
                <a:gd name="T73" fmla="*/ 54 h 70"/>
                <a:gd name="T74" fmla="*/ 49 w 83"/>
                <a:gd name="T75" fmla="*/ 49 h 70"/>
                <a:gd name="T76" fmla="*/ 45 w 83"/>
                <a:gd name="T77" fmla="*/ 47 h 70"/>
                <a:gd name="T78" fmla="*/ 45 w 83"/>
                <a:gd name="T79" fmla="*/ 42 h 70"/>
                <a:gd name="T80" fmla="*/ 40 w 83"/>
                <a:gd name="T81" fmla="*/ 37 h 70"/>
                <a:gd name="T82" fmla="*/ 35 w 83"/>
                <a:gd name="T83" fmla="*/ 33 h 70"/>
                <a:gd name="T84" fmla="*/ 33 w 83"/>
                <a:gd name="T85" fmla="*/ 33 h 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3"/>
                <a:gd name="T130" fmla="*/ 0 h 70"/>
                <a:gd name="T131" fmla="*/ 83 w 83"/>
                <a:gd name="T132" fmla="*/ 70 h 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3" h="70">
                  <a:moveTo>
                    <a:pt x="33" y="33"/>
                  </a:moveTo>
                  <a:lnTo>
                    <a:pt x="33" y="30"/>
                  </a:lnTo>
                  <a:lnTo>
                    <a:pt x="21" y="30"/>
                  </a:lnTo>
                  <a:lnTo>
                    <a:pt x="21" y="33"/>
                  </a:lnTo>
                  <a:lnTo>
                    <a:pt x="9" y="33"/>
                  </a:lnTo>
                  <a:lnTo>
                    <a:pt x="2" y="26"/>
                  </a:lnTo>
                  <a:lnTo>
                    <a:pt x="0" y="21"/>
                  </a:lnTo>
                  <a:lnTo>
                    <a:pt x="0" y="16"/>
                  </a:lnTo>
                  <a:lnTo>
                    <a:pt x="5" y="7"/>
                  </a:lnTo>
                  <a:lnTo>
                    <a:pt x="9" y="4"/>
                  </a:lnTo>
                  <a:lnTo>
                    <a:pt x="12" y="4"/>
                  </a:lnTo>
                  <a:lnTo>
                    <a:pt x="16" y="7"/>
                  </a:lnTo>
                  <a:lnTo>
                    <a:pt x="28" y="7"/>
                  </a:lnTo>
                  <a:lnTo>
                    <a:pt x="40" y="4"/>
                  </a:lnTo>
                  <a:lnTo>
                    <a:pt x="42" y="0"/>
                  </a:lnTo>
                  <a:lnTo>
                    <a:pt x="45" y="0"/>
                  </a:lnTo>
                  <a:lnTo>
                    <a:pt x="49" y="4"/>
                  </a:lnTo>
                  <a:lnTo>
                    <a:pt x="49" y="9"/>
                  </a:lnTo>
                  <a:lnTo>
                    <a:pt x="52" y="14"/>
                  </a:lnTo>
                  <a:lnTo>
                    <a:pt x="61" y="14"/>
                  </a:lnTo>
                  <a:lnTo>
                    <a:pt x="66" y="16"/>
                  </a:lnTo>
                  <a:lnTo>
                    <a:pt x="68" y="16"/>
                  </a:lnTo>
                  <a:lnTo>
                    <a:pt x="75" y="21"/>
                  </a:lnTo>
                  <a:lnTo>
                    <a:pt x="83" y="30"/>
                  </a:lnTo>
                  <a:lnTo>
                    <a:pt x="78" y="40"/>
                  </a:lnTo>
                  <a:lnTo>
                    <a:pt x="75" y="40"/>
                  </a:lnTo>
                  <a:lnTo>
                    <a:pt x="75" y="42"/>
                  </a:lnTo>
                  <a:lnTo>
                    <a:pt x="73" y="47"/>
                  </a:lnTo>
                  <a:lnTo>
                    <a:pt x="68" y="49"/>
                  </a:lnTo>
                  <a:lnTo>
                    <a:pt x="68" y="56"/>
                  </a:lnTo>
                  <a:lnTo>
                    <a:pt x="73" y="61"/>
                  </a:lnTo>
                  <a:lnTo>
                    <a:pt x="75" y="63"/>
                  </a:lnTo>
                  <a:lnTo>
                    <a:pt x="68" y="70"/>
                  </a:lnTo>
                  <a:lnTo>
                    <a:pt x="66" y="66"/>
                  </a:lnTo>
                  <a:lnTo>
                    <a:pt x="66" y="56"/>
                  </a:lnTo>
                  <a:lnTo>
                    <a:pt x="52" y="56"/>
                  </a:lnTo>
                  <a:lnTo>
                    <a:pt x="49" y="54"/>
                  </a:lnTo>
                  <a:lnTo>
                    <a:pt x="49" y="49"/>
                  </a:lnTo>
                  <a:lnTo>
                    <a:pt x="45" y="47"/>
                  </a:lnTo>
                  <a:lnTo>
                    <a:pt x="45" y="42"/>
                  </a:lnTo>
                  <a:lnTo>
                    <a:pt x="40" y="37"/>
                  </a:lnTo>
                  <a:lnTo>
                    <a:pt x="35" y="33"/>
                  </a:lnTo>
                  <a:lnTo>
                    <a:pt x="33" y="3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2" name="Freeform 66">
              <a:extLst>
                <a:ext uri="{FF2B5EF4-FFF2-40B4-BE49-F238E27FC236}">
                  <a16:creationId xmlns:a16="http://schemas.microsoft.com/office/drawing/2014/main" id="{2385852A-82C3-46E0-91C8-0FFB0C27FCA8}"/>
                </a:ext>
              </a:extLst>
            </p:cNvPr>
            <p:cNvSpPr>
              <a:spLocks/>
            </p:cNvSpPr>
            <p:nvPr/>
          </p:nvSpPr>
          <p:spPr bwMode="gray">
            <a:xfrm rot="47099">
              <a:off x="222050" y="2143765"/>
              <a:ext cx="3563" cy="2894"/>
            </a:xfrm>
            <a:custGeom>
              <a:avLst/>
              <a:gdLst>
                <a:gd name="T0" fmla="*/ 9 w 9"/>
                <a:gd name="T1" fmla="*/ 0 h 7"/>
                <a:gd name="T2" fmla="*/ 9 w 9"/>
                <a:gd name="T3" fmla="*/ 2 h 7"/>
                <a:gd name="T4" fmla="*/ 2 w 9"/>
                <a:gd name="T5" fmla="*/ 7 h 7"/>
                <a:gd name="T6" fmla="*/ 0 w 9"/>
                <a:gd name="T7" fmla="*/ 7 h 7"/>
                <a:gd name="T8" fmla="*/ 2 w 9"/>
                <a:gd name="T9" fmla="*/ 0 h 7"/>
                <a:gd name="T10" fmla="*/ 9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9" y="0"/>
                  </a:moveTo>
                  <a:lnTo>
                    <a:pt x="9" y="2"/>
                  </a:lnTo>
                  <a:lnTo>
                    <a:pt x="2" y="7"/>
                  </a:lnTo>
                  <a:lnTo>
                    <a:pt x="0" y="7"/>
                  </a:lnTo>
                  <a:lnTo>
                    <a:pt x="2"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3" name="Freeform 67">
              <a:extLst>
                <a:ext uri="{FF2B5EF4-FFF2-40B4-BE49-F238E27FC236}">
                  <a16:creationId xmlns:a16="http://schemas.microsoft.com/office/drawing/2014/main" id="{27F5FBF5-201B-47A9-AAC3-ADD1E52EC08A}"/>
                </a:ext>
              </a:extLst>
            </p:cNvPr>
            <p:cNvSpPr>
              <a:spLocks/>
            </p:cNvSpPr>
            <p:nvPr/>
          </p:nvSpPr>
          <p:spPr bwMode="gray">
            <a:xfrm rot="47099">
              <a:off x="192407" y="2095113"/>
              <a:ext cx="3563" cy="6754"/>
            </a:xfrm>
            <a:custGeom>
              <a:avLst/>
              <a:gdLst>
                <a:gd name="T0" fmla="*/ 9 w 9"/>
                <a:gd name="T1" fmla="*/ 12 h 14"/>
                <a:gd name="T2" fmla="*/ 9 w 9"/>
                <a:gd name="T3" fmla="*/ 14 h 14"/>
                <a:gd name="T4" fmla="*/ 0 w 9"/>
                <a:gd name="T5" fmla="*/ 14 h 14"/>
                <a:gd name="T6" fmla="*/ 2 w 9"/>
                <a:gd name="T7" fmla="*/ 5 h 14"/>
                <a:gd name="T8" fmla="*/ 2 w 9"/>
                <a:gd name="T9" fmla="*/ 0 h 14"/>
                <a:gd name="T10" fmla="*/ 9 w 9"/>
                <a:gd name="T11" fmla="*/ 7 h 14"/>
                <a:gd name="T12" fmla="*/ 9 w 9"/>
                <a:gd name="T13" fmla="*/ 12 h 14"/>
                <a:gd name="T14" fmla="*/ 0 60000 65536"/>
                <a:gd name="T15" fmla="*/ 0 60000 65536"/>
                <a:gd name="T16" fmla="*/ 0 60000 65536"/>
                <a:gd name="T17" fmla="*/ 0 60000 65536"/>
                <a:gd name="T18" fmla="*/ 0 60000 65536"/>
                <a:gd name="T19" fmla="*/ 0 60000 65536"/>
                <a:gd name="T20" fmla="*/ 0 60000 65536"/>
                <a:gd name="T21" fmla="*/ 0 w 9"/>
                <a:gd name="T22" fmla="*/ 0 h 14"/>
                <a:gd name="T23" fmla="*/ 9 w 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4">
                  <a:moveTo>
                    <a:pt x="9" y="12"/>
                  </a:moveTo>
                  <a:lnTo>
                    <a:pt x="9" y="14"/>
                  </a:lnTo>
                  <a:lnTo>
                    <a:pt x="0" y="14"/>
                  </a:lnTo>
                  <a:lnTo>
                    <a:pt x="2" y="5"/>
                  </a:lnTo>
                  <a:lnTo>
                    <a:pt x="2" y="0"/>
                  </a:lnTo>
                  <a:lnTo>
                    <a:pt x="9" y="7"/>
                  </a:lnTo>
                  <a:lnTo>
                    <a:pt x="9"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4" name="Freeform 68">
              <a:extLst>
                <a:ext uri="{FF2B5EF4-FFF2-40B4-BE49-F238E27FC236}">
                  <a16:creationId xmlns:a16="http://schemas.microsoft.com/office/drawing/2014/main" id="{E12E0AB0-8405-4711-89C4-2F7BD74C2CD9}"/>
                </a:ext>
              </a:extLst>
            </p:cNvPr>
            <p:cNvSpPr>
              <a:spLocks/>
            </p:cNvSpPr>
            <p:nvPr/>
          </p:nvSpPr>
          <p:spPr bwMode="gray">
            <a:xfrm rot="47099">
              <a:off x="707861" y="2503588"/>
              <a:ext cx="4453" cy="7718"/>
            </a:xfrm>
            <a:custGeom>
              <a:avLst/>
              <a:gdLst>
                <a:gd name="T0" fmla="*/ 7 w 9"/>
                <a:gd name="T1" fmla="*/ 0 h 17"/>
                <a:gd name="T2" fmla="*/ 9 w 9"/>
                <a:gd name="T3" fmla="*/ 8 h 17"/>
                <a:gd name="T4" fmla="*/ 9 w 9"/>
                <a:gd name="T5" fmla="*/ 12 h 17"/>
                <a:gd name="T6" fmla="*/ 7 w 9"/>
                <a:gd name="T7" fmla="*/ 17 h 17"/>
                <a:gd name="T8" fmla="*/ 0 w 9"/>
                <a:gd name="T9" fmla="*/ 17 h 17"/>
                <a:gd name="T10" fmla="*/ 0 w 9"/>
                <a:gd name="T11" fmla="*/ 15 h 17"/>
                <a:gd name="T12" fmla="*/ 2 w 9"/>
                <a:gd name="T13" fmla="*/ 5 h 17"/>
                <a:gd name="T14" fmla="*/ 7 w 9"/>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7"/>
                <a:gd name="T26" fmla="*/ 9 w 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7">
                  <a:moveTo>
                    <a:pt x="7" y="0"/>
                  </a:moveTo>
                  <a:lnTo>
                    <a:pt x="9" y="8"/>
                  </a:lnTo>
                  <a:lnTo>
                    <a:pt x="9" y="12"/>
                  </a:lnTo>
                  <a:lnTo>
                    <a:pt x="7" y="17"/>
                  </a:lnTo>
                  <a:lnTo>
                    <a:pt x="0" y="17"/>
                  </a:lnTo>
                  <a:lnTo>
                    <a:pt x="0" y="15"/>
                  </a:lnTo>
                  <a:lnTo>
                    <a:pt x="2" y="5"/>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5" name="Freeform 69">
              <a:extLst>
                <a:ext uri="{FF2B5EF4-FFF2-40B4-BE49-F238E27FC236}">
                  <a16:creationId xmlns:a16="http://schemas.microsoft.com/office/drawing/2014/main" id="{E5AC8E5C-20D0-43D7-9112-F60B93819D2E}"/>
                </a:ext>
              </a:extLst>
            </p:cNvPr>
            <p:cNvSpPr>
              <a:spLocks/>
            </p:cNvSpPr>
            <p:nvPr/>
          </p:nvSpPr>
          <p:spPr bwMode="gray">
            <a:xfrm rot="47099">
              <a:off x="222149" y="2135113"/>
              <a:ext cx="8015" cy="5789"/>
            </a:xfrm>
            <a:custGeom>
              <a:avLst/>
              <a:gdLst>
                <a:gd name="T0" fmla="*/ 12 w 17"/>
                <a:gd name="T1" fmla="*/ 3 h 12"/>
                <a:gd name="T2" fmla="*/ 12 w 17"/>
                <a:gd name="T3" fmla="*/ 7 h 12"/>
                <a:gd name="T4" fmla="*/ 9 w 17"/>
                <a:gd name="T5" fmla="*/ 7 h 12"/>
                <a:gd name="T6" fmla="*/ 2 w 17"/>
                <a:gd name="T7" fmla="*/ 12 h 12"/>
                <a:gd name="T8" fmla="*/ 0 w 17"/>
                <a:gd name="T9" fmla="*/ 10 h 12"/>
                <a:gd name="T10" fmla="*/ 0 w 17"/>
                <a:gd name="T11" fmla="*/ 7 h 12"/>
                <a:gd name="T12" fmla="*/ 2 w 17"/>
                <a:gd name="T13" fmla="*/ 3 h 12"/>
                <a:gd name="T14" fmla="*/ 17 w 17"/>
                <a:gd name="T15" fmla="*/ 0 h 12"/>
                <a:gd name="T16" fmla="*/ 12 w 17"/>
                <a:gd name="T17" fmla="*/ 3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2" y="3"/>
                  </a:moveTo>
                  <a:lnTo>
                    <a:pt x="12" y="7"/>
                  </a:lnTo>
                  <a:lnTo>
                    <a:pt x="9" y="7"/>
                  </a:lnTo>
                  <a:lnTo>
                    <a:pt x="2" y="12"/>
                  </a:lnTo>
                  <a:lnTo>
                    <a:pt x="0" y="10"/>
                  </a:lnTo>
                  <a:lnTo>
                    <a:pt x="0" y="7"/>
                  </a:lnTo>
                  <a:lnTo>
                    <a:pt x="2" y="3"/>
                  </a:lnTo>
                  <a:lnTo>
                    <a:pt x="17" y="0"/>
                  </a:lnTo>
                  <a:lnTo>
                    <a:pt x="12"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6" name="Freeform 70">
              <a:extLst>
                <a:ext uri="{FF2B5EF4-FFF2-40B4-BE49-F238E27FC236}">
                  <a16:creationId xmlns:a16="http://schemas.microsoft.com/office/drawing/2014/main" id="{39CE3DB9-0347-49E6-84D8-E6549AE5D74E}"/>
                </a:ext>
              </a:extLst>
            </p:cNvPr>
            <p:cNvSpPr>
              <a:spLocks/>
            </p:cNvSpPr>
            <p:nvPr/>
          </p:nvSpPr>
          <p:spPr bwMode="gray">
            <a:xfrm rot="47099">
              <a:off x="699773" y="2499624"/>
              <a:ext cx="5343" cy="26050"/>
            </a:xfrm>
            <a:custGeom>
              <a:avLst/>
              <a:gdLst>
                <a:gd name="T0" fmla="*/ 12 w 12"/>
                <a:gd name="T1" fmla="*/ 2 h 57"/>
                <a:gd name="T2" fmla="*/ 12 w 12"/>
                <a:gd name="T3" fmla="*/ 14 h 57"/>
                <a:gd name="T4" fmla="*/ 10 w 12"/>
                <a:gd name="T5" fmla="*/ 17 h 57"/>
                <a:gd name="T6" fmla="*/ 10 w 12"/>
                <a:gd name="T7" fmla="*/ 33 h 57"/>
                <a:gd name="T8" fmla="*/ 12 w 12"/>
                <a:gd name="T9" fmla="*/ 43 h 57"/>
                <a:gd name="T10" fmla="*/ 12 w 12"/>
                <a:gd name="T11" fmla="*/ 47 h 57"/>
                <a:gd name="T12" fmla="*/ 10 w 12"/>
                <a:gd name="T13" fmla="*/ 54 h 57"/>
                <a:gd name="T14" fmla="*/ 10 w 12"/>
                <a:gd name="T15" fmla="*/ 57 h 57"/>
                <a:gd name="T16" fmla="*/ 3 w 12"/>
                <a:gd name="T17" fmla="*/ 50 h 57"/>
                <a:gd name="T18" fmla="*/ 3 w 12"/>
                <a:gd name="T19" fmla="*/ 38 h 57"/>
                <a:gd name="T20" fmla="*/ 0 w 12"/>
                <a:gd name="T21" fmla="*/ 24 h 57"/>
                <a:gd name="T22" fmla="*/ 0 w 12"/>
                <a:gd name="T23" fmla="*/ 14 h 57"/>
                <a:gd name="T24" fmla="*/ 3 w 12"/>
                <a:gd name="T25" fmla="*/ 9 h 57"/>
                <a:gd name="T26" fmla="*/ 10 w 12"/>
                <a:gd name="T27" fmla="*/ 0 h 57"/>
                <a:gd name="T28" fmla="*/ 12 w 12"/>
                <a:gd name="T29" fmla="*/ 0 h 57"/>
                <a:gd name="T30" fmla="*/ 12 w 12"/>
                <a:gd name="T31" fmla="*/ 2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7"/>
                <a:gd name="T50" fmla="*/ 12 w 12"/>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7">
                  <a:moveTo>
                    <a:pt x="12" y="2"/>
                  </a:moveTo>
                  <a:lnTo>
                    <a:pt x="12" y="14"/>
                  </a:lnTo>
                  <a:lnTo>
                    <a:pt x="10" y="17"/>
                  </a:lnTo>
                  <a:lnTo>
                    <a:pt x="10" y="33"/>
                  </a:lnTo>
                  <a:lnTo>
                    <a:pt x="12" y="43"/>
                  </a:lnTo>
                  <a:lnTo>
                    <a:pt x="12" y="47"/>
                  </a:lnTo>
                  <a:lnTo>
                    <a:pt x="10" y="54"/>
                  </a:lnTo>
                  <a:lnTo>
                    <a:pt x="10" y="57"/>
                  </a:lnTo>
                  <a:lnTo>
                    <a:pt x="3" y="50"/>
                  </a:lnTo>
                  <a:lnTo>
                    <a:pt x="3" y="38"/>
                  </a:lnTo>
                  <a:lnTo>
                    <a:pt x="0" y="24"/>
                  </a:lnTo>
                  <a:lnTo>
                    <a:pt x="0" y="14"/>
                  </a:lnTo>
                  <a:lnTo>
                    <a:pt x="3" y="9"/>
                  </a:lnTo>
                  <a:lnTo>
                    <a:pt x="10" y="0"/>
                  </a:lnTo>
                  <a:lnTo>
                    <a:pt x="12" y="0"/>
                  </a:lnTo>
                  <a:lnTo>
                    <a:pt x="1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7" name="Freeform 71">
              <a:extLst>
                <a:ext uri="{FF2B5EF4-FFF2-40B4-BE49-F238E27FC236}">
                  <a16:creationId xmlns:a16="http://schemas.microsoft.com/office/drawing/2014/main" id="{4C43A0E5-CD46-454B-A183-78B19A39882B}"/>
                </a:ext>
              </a:extLst>
            </p:cNvPr>
            <p:cNvSpPr>
              <a:spLocks/>
            </p:cNvSpPr>
            <p:nvPr/>
          </p:nvSpPr>
          <p:spPr bwMode="gray">
            <a:xfrm rot="47099">
              <a:off x="734404" y="2514585"/>
              <a:ext cx="7125" cy="11578"/>
            </a:xfrm>
            <a:custGeom>
              <a:avLst/>
              <a:gdLst>
                <a:gd name="T0" fmla="*/ 11 w 16"/>
                <a:gd name="T1" fmla="*/ 7 h 26"/>
                <a:gd name="T2" fmla="*/ 16 w 16"/>
                <a:gd name="T3" fmla="*/ 7 h 26"/>
                <a:gd name="T4" fmla="*/ 16 w 16"/>
                <a:gd name="T5" fmla="*/ 9 h 26"/>
                <a:gd name="T6" fmla="*/ 11 w 16"/>
                <a:gd name="T7" fmla="*/ 16 h 26"/>
                <a:gd name="T8" fmla="*/ 11 w 16"/>
                <a:gd name="T9" fmla="*/ 23 h 26"/>
                <a:gd name="T10" fmla="*/ 9 w 16"/>
                <a:gd name="T11" fmla="*/ 23 h 26"/>
                <a:gd name="T12" fmla="*/ 9 w 16"/>
                <a:gd name="T13" fmla="*/ 26 h 26"/>
                <a:gd name="T14" fmla="*/ 0 w 16"/>
                <a:gd name="T15" fmla="*/ 23 h 26"/>
                <a:gd name="T16" fmla="*/ 0 w 16"/>
                <a:gd name="T17" fmla="*/ 19 h 26"/>
                <a:gd name="T18" fmla="*/ 2 w 16"/>
                <a:gd name="T19" fmla="*/ 16 h 26"/>
                <a:gd name="T20" fmla="*/ 7 w 16"/>
                <a:gd name="T21" fmla="*/ 9 h 26"/>
                <a:gd name="T22" fmla="*/ 7 w 16"/>
                <a:gd name="T23" fmla="*/ 2 h 26"/>
                <a:gd name="T24" fmla="*/ 9 w 16"/>
                <a:gd name="T25" fmla="*/ 2 h 26"/>
                <a:gd name="T26" fmla="*/ 9 w 16"/>
                <a:gd name="T27" fmla="*/ 0 h 26"/>
                <a:gd name="T28" fmla="*/ 11 w 16"/>
                <a:gd name="T29" fmla="*/ 2 h 26"/>
                <a:gd name="T30" fmla="*/ 11 w 16"/>
                <a:gd name="T31" fmla="*/ 7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26"/>
                <a:gd name="T50" fmla="*/ 16 w 16"/>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26">
                  <a:moveTo>
                    <a:pt x="11" y="7"/>
                  </a:moveTo>
                  <a:lnTo>
                    <a:pt x="16" y="7"/>
                  </a:lnTo>
                  <a:lnTo>
                    <a:pt x="16" y="9"/>
                  </a:lnTo>
                  <a:lnTo>
                    <a:pt x="11" y="16"/>
                  </a:lnTo>
                  <a:lnTo>
                    <a:pt x="11" y="23"/>
                  </a:lnTo>
                  <a:lnTo>
                    <a:pt x="9" y="23"/>
                  </a:lnTo>
                  <a:lnTo>
                    <a:pt x="9" y="26"/>
                  </a:lnTo>
                  <a:lnTo>
                    <a:pt x="0" y="23"/>
                  </a:lnTo>
                  <a:lnTo>
                    <a:pt x="0" y="19"/>
                  </a:lnTo>
                  <a:lnTo>
                    <a:pt x="2" y="16"/>
                  </a:lnTo>
                  <a:lnTo>
                    <a:pt x="7" y="9"/>
                  </a:lnTo>
                  <a:lnTo>
                    <a:pt x="7" y="2"/>
                  </a:lnTo>
                  <a:lnTo>
                    <a:pt x="9" y="2"/>
                  </a:lnTo>
                  <a:lnTo>
                    <a:pt x="9" y="0"/>
                  </a:lnTo>
                  <a:lnTo>
                    <a:pt x="11" y="2"/>
                  </a:lnTo>
                  <a:lnTo>
                    <a:pt x="11"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8" name="Freeform 72">
              <a:extLst>
                <a:ext uri="{FF2B5EF4-FFF2-40B4-BE49-F238E27FC236}">
                  <a16:creationId xmlns:a16="http://schemas.microsoft.com/office/drawing/2014/main" id="{823C98C8-CEB6-4084-B12A-DBF6E3202B41}"/>
                </a:ext>
              </a:extLst>
            </p:cNvPr>
            <p:cNvSpPr>
              <a:spLocks/>
            </p:cNvSpPr>
            <p:nvPr/>
          </p:nvSpPr>
          <p:spPr bwMode="gray">
            <a:xfrm rot="47099">
              <a:off x="207986" y="2128231"/>
              <a:ext cx="17812" cy="6754"/>
            </a:xfrm>
            <a:custGeom>
              <a:avLst/>
              <a:gdLst>
                <a:gd name="T0" fmla="*/ 38 w 40"/>
                <a:gd name="T1" fmla="*/ 2 h 16"/>
                <a:gd name="T2" fmla="*/ 33 w 40"/>
                <a:gd name="T3" fmla="*/ 9 h 16"/>
                <a:gd name="T4" fmla="*/ 31 w 40"/>
                <a:gd name="T5" fmla="*/ 12 h 16"/>
                <a:gd name="T6" fmla="*/ 3 w 40"/>
                <a:gd name="T7" fmla="*/ 12 h 16"/>
                <a:gd name="T8" fmla="*/ 0 w 40"/>
                <a:gd name="T9" fmla="*/ 16 h 16"/>
                <a:gd name="T10" fmla="*/ 0 w 40"/>
                <a:gd name="T11" fmla="*/ 12 h 16"/>
                <a:gd name="T12" fmla="*/ 3 w 40"/>
                <a:gd name="T13" fmla="*/ 9 h 16"/>
                <a:gd name="T14" fmla="*/ 14 w 40"/>
                <a:gd name="T15" fmla="*/ 9 h 16"/>
                <a:gd name="T16" fmla="*/ 14 w 40"/>
                <a:gd name="T17" fmla="*/ 2 h 16"/>
                <a:gd name="T18" fmla="*/ 17 w 40"/>
                <a:gd name="T19" fmla="*/ 0 h 16"/>
                <a:gd name="T20" fmla="*/ 24 w 40"/>
                <a:gd name="T21" fmla="*/ 0 h 16"/>
                <a:gd name="T22" fmla="*/ 24 w 40"/>
                <a:gd name="T23" fmla="*/ 2 h 16"/>
                <a:gd name="T24" fmla="*/ 22 w 40"/>
                <a:gd name="T25" fmla="*/ 7 h 16"/>
                <a:gd name="T26" fmla="*/ 31 w 40"/>
                <a:gd name="T27" fmla="*/ 7 h 16"/>
                <a:gd name="T28" fmla="*/ 31 w 40"/>
                <a:gd name="T29" fmla="*/ 2 h 16"/>
                <a:gd name="T30" fmla="*/ 33 w 40"/>
                <a:gd name="T31" fmla="*/ 2 h 16"/>
                <a:gd name="T32" fmla="*/ 38 w 40"/>
                <a:gd name="T33" fmla="*/ 0 h 16"/>
                <a:gd name="T34" fmla="*/ 40 w 40"/>
                <a:gd name="T35" fmla="*/ 0 h 16"/>
                <a:gd name="T36" fmla="*/ 40 w 40"/>
                <a:gd name="T37" fmla="*/ 2 h 16"/>
                <a:gd name="T38" fmla="*/ 38 w 40"/>
                <a:gd name="T39" fmla="*/ 2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16"/>
                <a:gd name="T62" fmla="*/ 40 w 40"/>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16">
                  <a:moveTo>
                    <a:pt x="38" y="2"/>
                  </a:moveTo>
                  <a:lnTo>
                    <a:pt x="33" y="9"/>
                  </a:lnTo>
                  <a:lnTo>
                    <a:pt x="31" y="12"/>
                  </a:lnTo>
                  <a:lnTo>
                    <a:pt x="3" y="12"/>
                  </a:lnTo>
                  <a:lnTo>
                    <a:pt x="0" y="16"/>
                  </a:lnTo>
                  <a:lnTo>
                    <a:pt x="0" y="12"/>
                  </a:lnTo>
                  <a:lnTo>
                    <a:pt x="3" y="9"/>
                  </a:lnTo>
                  <a:lnTo>
                    <a:pt x="14" y="9"/>
                  </a:lnTo>
                  <a:lnTo>
                    <a:pt x="14" y="2"/>
                  </a:lnTo>
                  <a:lnTo>
                    <a:pt x="17" y="0"/>
                  </a:lnTo>
                  <a:lnTo>
                    <a:pt x="24" y="0"/>
                  </a:lnTo>
                  <a:lnTo>
                    <a:pt x="24" y="2"/>
                  </a:lnTo>
                  <a:lnTo>
                    <a:pt x="22" y="7"/>
                  </a:lnTo>
                  <a:lnTo>
                    <a:pt x="31" y="7"/>
                  </a:lnTo>
                  <a:lnTo>
                    <a:pt x="31" y="2"/>
                  </a:lnTo>
                  <a:lnTo>
                    <a:pt x="33" y="2"/>
                  </a:lnTo>
                  <a:lnTo>
                    <a:pt x="38" y="0"/>
                  </a:lnTo>
                  <a:lnTo>
                    <a:pt x="40" y="0"/>
                  </a:lnTo>
                  <a:lnTo>
                    <a:pt x="40" y="2"/>
                  </a:lnTo>
                  <a:lnTo>
                    <a:pt x="38"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89" name="Freeform 73">
              <a:extLst>
                <a:ext uri="{FF2B5EF4-FFF2-40B4-BE49-F238E27FC236}">
                  <a16:creationId xmlns:a16="http://schemas.microsoft.com/office/drawing/2014/main" id="{74DBD413-CFE4-46E7-9C34-26765076600C}"/>
                </a:ext>
              </a:extLst>
            </p:cNvPr>
            <p:cNvSpPr>
              <a:spLocks/>
            </p:cNvSpPr>
            <p:nvPr/>
          </p:nvSpPr>
          <p:spPr bwMode="gray">
            <a:xfrm rot="47099">
              <a:off x="698223" y="2491890"/>
              <a:ext cx="6235" cy="7718"/>
            </a:xfrm>
            <a:custGeom>
              <a:avLst/>
              <a:gdLst>
                <a:gd name="T0" fmla="*/ 9 w 14"/>
                <a:gd name="T1" fmla="*/ 7 h 14"/>
                <a:gd name="T2" fmla="*/ 14 w 14"/>
                <a:gd name="T3" fmla="*/ 12 h 14"/>
                <a:gd name="T4" fmla="*/ 9 w 14"/>
                <a:gd name="T5" fmla="*/ 12 h 14"/>
                <a:gd name="T6" fmla="*/ 9 w 14"/>
                <a:gd name="T7" fmla="*/ 14 h 14"/>
                <a:gd name="T8" fmla="*/ 4 w 14"/>
                <a:gd name="T9" fmla="*/ 14 h 14"/>
                <a:gd name="T10" fmla="*/ 0 w 14"/>
                <a:gd name="T11" fmla="*/ 12 h 14"/>
                <a:gd name="T12" fmla="*/ 0 w 14"/>
                <a:gd name="T13" fmla="*/ 7 h 14"/>
                <a:gd name="T14" fmla="*/ 4 w 14"/>
                <a:gd name="T15" fmla="*/ 0 h 14"/>
                <a:gd name="T16" fmla="*/ 9 w 14"/>
                <a:gd name="T17" fmla="*/ 0 h 14"/>
                <a:gd name="T18" fmla="*/ 9 w 14"/>
                <a:gd name="T19" fmla="*/ 7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4"/>
                <a:gd name="T32" fmla="*/ 14 w 14"/>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4">
                  <a:moveTo>
                    <a:pt x="9" y="7"/>
                  </a:moveTo>
                  <a:lnTo>
                    <a:pt x="14" y="12"/>
                  </a:lnTo>
                  <a:lnTo>
                    <a:pt x="9" y="12"/>
                  </a:lnTo>
                  <a:lnTo>
                    <a:pt x="9" y="14"/>
                  </a:lnTo>
                  <a:lnTo>
                    <a:pt x="4" y="14"/>
                  </a:lnTo>
                  <a:lnTo>
                    <a:pt x="0" y="12"/>
                  </a:lnTo>
                  <a:lnTo>
                    <a:pt x="0" y="7"/>
                  </a:lnTo>
                  <a:lnTo>
                    <a:pt x="4" y="0"/>
                  </a:lnTo>
                  <a:lnTo>
                    <a:pt x="9" y="0"/>
                  </a:lnTo>
                  <a:lnTo>
                    <a:pt x="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0" name="Freeform 74">
              <a:extLst>
                <a:ext uri="{FF2B5EF4-FFF2-40B4-BE49-F238E27FC236}">
                  <a16:creationId xmlns:a16="http://schemas.microsoft.com/office/drawing/2014/main" id="{CA5A7F17-64D4-4C83-9940-9364F3508DBC}"/>
                </a:ext>
              </a:extLst>
            </p:cNvPr>
            <p:cNvSpPr>
              <a:spLocks/>
            </p:cNvSpPr>
            <p:nvPr/>
          </p:nvSpPr>
          <p:spPr bwMode="gray">
            <a:xfrm rot="47099">
              <a:off x="217967" y="2114768"/>
              <a:ext cx="4453" cy="6754"/>
            </a:xfrm>
            <a:custGeom>
              <a:avLst/>
              <a:gdLst>
                <a:gd name="T0" fmla="*/ 4 w 9"/>
                <a:gd name="T1" fmla="*/ 12 h 15"/>
                <a:gd name="T2" fmla="*/ 2 w 9"/>
                <a:gd name="T3" fmla="*/ 15 h 15"/>
                <a:gd name="T4" fmla="*/ 0 w 9"/>
                <a:gd name="T5" fmla="*/ 15 h 15"/>
                <a:gd name="T6" fmla="*/ 0 w 9"/>
                <a:gd name="T7" fmla="*/ 5 h 15"/>
                <a:gd name="T8" fmla="*/ 2 w 9"/>
                <a:gd name="T9" fmla="*/ 0 h 15"/>
                <a:gd name="T10" fmla="*/ 9 w 9"/>
                <a:gd name="T11" fmla="*/ 7 h 15"/>
                <a:gd name="T12" fmla="*/ 4 w 9"/>
                <a:gd name="T13" fmla="*/ 12 h 15"/>
                <a:gd name="T14" fmla="*/ 0 60000 65536"/>
                <a:gd name="T15" fmla="*/ 0 60000 65536"/>
                <a:gd name="T16" fmla="*/ 0 60000 65536"/>
                <a:gd name="T17" fmla="*/ 0 60000 65536"/>
                <a:gd name="T18" fmla="*/ 0 60000 65536"/>
                <a:gd name="T19" fmla="*/ 0 60000 65536"/>
                <a:gd name="T20" fmla="*/ 0 60000 65536"/>
                <a:gd name="T21" fmla="*/ 0 w 9"/>
                <a:gd name="T22" fmla="*/ 0 h 15"/>
                <a:gd name="T23" fmla="*/ 9 w 9"/>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5">
                  <a:moveTo>
                    <a:pt x="4" y="12"/>
                  </a:moveTo>
                  <a:lnTo>
                    <a:pt x="2" y="15"/>
                  </a:lnTo>
                  <a:lnTo>
                    <a:pt x="0" y="15"/>
                  </a:lnTo>
                  <a:lnTo>
                    <a:pt x="0" y="5"/>
                  </a:lnTo>
                  <a:lnTo>
                    <a:pt x="2" y="0"/>
                  </a:lnTo>
                  <a:lnTo>
                    <a:pt x="9" y="7"/>
                  </a:lnTo>
                  <a:lnTo>
                    <a:pt x="4"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1" name="Freeform 75">
              <a:extLst>
                <a:ext uri="{FF2B5EF4-FFF2-40B4-BE49-F238E27FC236}">
                  <a16:creationId xmlns:a16="http://schemas.microsoft.com/office/drawing/2014/main" id="{3B749574-BAF3-4C81-A856-ED1702D16F66}"/>
                </a:ext>
              </a:extLst>
            </p:cNvPr>
            <p:cNvSpPr>
              <a:spLocks/>
            </p:cNvSpPr>
            <p:nvPr/>
          </p:nvSpPr>
          <p:spPr bwMode="gray">
            <a:xfrm rot="47099">
              <a:off x="207320" y="2108882"/>
              <a:ext cx="11578" cy="12543"/>
            </a:xfrm>
            <a:custGeom>
              <a:avLst/>
              <a:gdLst>
                <a:gd name="T0" fmla="*/ 24 w 26"/>
                <a:gd name="T1" fmla="*/ 2 h 26"/>
                <a:gd name="T2" fmla="*/ 24 w 26"/>
                <a:gd name="T3" fmla="*/ 7 h 26"/>
                <a:gd name="T4" fmla="*/ 26 w 26"/>
                <a:gd name="T5" fmla="*/ 9 h 26"/>
                <a:gd name="T6" fmla="*/ 26 w 26"/>
                <a:gd name="T7" fmla="*/ 11 h 26"/>
                <a:gd name="T8" fmla="*/ 19 w 26"/>
                <a:gd name="T9" fmla="*/ 11 h 26"/>
                <a:gd name="T10" fmla="*/ 16 w 26"/>
                <a:gd name="T11" fmla="*/ 18 h 26"/>
                <a:gd name="T12" fmla="*/ 16 w 26"/>
                <a:gd name="T13" fmla="*/ 26 h 26"/>
                <a:gd name="T14" fmla="*/ 12 w 26"/>
                <a:gd name="T15" fmla="*/ 26 h 26"/>
                <a:gd name="T16" fmla="*/ 9 w 26"/>
                <a:gd name="T17" fmla="*/ 23 h 26"/>
                <a:gd name="T18" fmla="*/ 9 w 26"/>
                <a:gd name="T19" fmla="*/ 18 h 26"/>
                <a:gd name="T20" fmla="*/ 2 w 26"/>
                <a:gd name="T21" fmla="*/ 16 h 26"/>
                <a:gd name="T22" fmla="*/ 0 w 26"/>
                <a:gd name="T23" fmla="*/ 16 h 26"/>
                <a:gd name="T24" fmla="*/ 2 w 26"/>
                <a:gd name="T25" fmla="*/ 16 h 26"/>
                <a:gd name="T26" fmla="*/ 5 w 26"/>
                <a:gd name="T27" fmla="*/ 9 h 26"/>
                <a:gd name="T28" fmla="*/ 9 w 26"/>
                <a:gd name="T29" fmla="*/ 7 h 26"/>
                <a:gd name="T30" fmla="*/ 16 w 26"/>
                <a:gd name="T31" fmla="*/ 2 h 26"/>
                <a:gd name="T32" fmla="*/ 19 w 26"/>
                <a:gd name="T33" fmla="*/ 0 h 26"/>
                <a:gd name="T34" fmla="*/ 24 w 26"/>
                <a:gd name="T35" fmla="*/ 2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
                <a:gd name="T55" fmla="*/ 0 h 26"/>
                <a:gd name="T56" fmla="*/ 26 w 26"/>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 h="26">
                  <a:moveTo>
                    <a:pt x="24" y="2"/>
                  </a:moveTo>
                  <a:lnTo>
                    <a:pt x="24" y="7"/>
                  </a:lnTo>
                  <a:lnTo>
                    <a:pt x="26" y="9"/>
                  </a:lnTo>
                  <a:lnTo>
                    <a:pt x="26" y="11"/>
                  </a:lnTo>
                  <a:lnTo>
                    <a:pt x="19" y="11"/>
                  </a:lnTo>
                  <a:lnTo>
                    <a:pt x="16" y="18"/>
                  </a:lnTo>
                  <a:lnTo>
                    <a:pt x="16" y="26"/>
                  </a:lnTo>
                  <a:lnTo>
                    <a:pt x="12" y="26"/>
                  </a:lnTo>
                  <a:lnTo>
                    <a:pt x="9" y="23"/>
                  </a:lnTo>
                  <a:lnTo>
                    <a:pt x="9" y="18"/>
                  </a:lnTo>
                  <a:lnTo>
                    <a:pt x="2" y="16"/>
                  </a:lnTo>
                  <a:lnTo>
                    <a:pt x="0" y="16"/>
                  </a:lnTo>
                  <a:lnTo>
                    <a:pt x="2" y="16"/>
                  </a:lnTo>
                  <a:lnTo>
                    <a:pt x="5" y="9"/>
                  </a:lnTo>
                  <a:lnTo>
                    <a:pt x="9" y="7"/>
                  </a:lnTo>
                  <a:lnTo>
                    <a:pt x="16" y="2"/>
                  </a:lnTo>
                  <a:lnTo>
                    <a:pt x="19" y="0"/>
                  </a:lnTo>
                  <a:lnTo>
                    <a:pt x="2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2" name="Freeform 76">
              <a:extLst>
                <a:ext uri="{FF2B5EF4-FFF2-40B4-BE49-F238E27FC236}">
                  <a16:creationId xmlns:a16="http://schemas.microsoft.com/office/drawing/2014/main" id="{813719AB-7C69-4F1C-9851-1B0C75B04642}"/>
                </a:ext>
              </a:extLst>
            </p:cNvPr>
            <p:cNvSpPr>
              <a:spLocks/>
            </p:cNvSpPr>
            <p:nvPr/>
          </p:nvSpPr>
          <p:spPr bwMode="gray">
            <a:xfrm rot="47099">
              <a:off x="731858" y="2505866"/>
              <a:ext cx="7125" cy="10613"/>
            </a:xfrm>
            <a:custGeom>
              <a:avLst/>
              <a:gdLst>
                <a:gd name="T0" fmla="*/ 12 w 14"/>
                <a:gd name="T1" fmla="*/ 3 h 24"/>
                <a:gd name="T2" fmla="*/ 12 w 14"/>
                <a:gd name="T3" fmla="*/ 10 h 24"/>
                <a:gd name="T4" fmla="*/ 14 w 14"/>
                <a:gd name="T5" fmla="*/ 12 h 24"/>
                <a:gd name="T6" fmla="*/ 14 w 14"/>
                <a:gd name="T7" fmla="*/ 17 h 24"/>
                <a:gd name="T8" fmla="*/ 5 w 14"/>
                <a:gd name="T9" fmla="*/ 24 h 24"/>
                <a:gd name="T10" fmla="*/ 0 w 14"/>
                <a:gd name="T11" fmla="*/ 24 h 24"/>
                <a:gd name="T12" fmla="*/ 0 w 14"/>
                <a:gd name="T13" fmla="*/ 10 h 24"/>
                <a:gd name="T14" fmla="*/ 5 w 14"/>
                <a:gd name="T15" fmla="*/ 10 h 24"/>
                <a:gd name="T16" fmla="*/ 5 w 14"/>
                <a:gd name="T17" fmla="*/ 3 h 24"/>
                <a:gd name="T18" fmla="*/ 7 w 14"/>
                <a:gd name="T19" fmla="*/ 0 h 24"/>
                <a:gd name="T20" fmla="*/ 12 w 14"/>
                <a:gd name="T21" fmla="*/ 3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4"/>
                <a:gd name="T35" fmla="*/ 14 w 14"/>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4">
                  <a:moveTo>
                    <a:pt x="12" y="3"/>
                  </a:moveTo>
                  <a:lnTo>
                    <a:pt x="12" y="10"/>
                  </a:lnTo>
                  <a:lnTo>
                    <a:pt x="14" y="12"/>
                  </a:lnTo>
                  <a:lnTo>
                    <a:pt x="14" y="17"/>
                  </a:lnTo>
                  <a:lnTo>
                    <a:pt x="5" y="24"/>
                  </a:lnTo>
                  <a:lnTo>
                    <a:pt x="0" y="24"/>
                  </a:lnTo>
                  <a:lnTo>
                    <a:pt x="0" y="10"/>
                  </a:lnTo>
                  <a:lnTo>
                    <a:pt x="5" y="10"/>
                  </a:lnTo>
                  <a:lnTo>
                    <a:pt x="5" y="3"/>
                  </a:lnTo>
                  <a:lnTo>
                    <a:pt x="7" y="0"/>
                  </a:lnTo>
                  <a:lnTo>
                    <a:pt x="12"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3" name="Freeform 77">
              <a:extLst>
                <a:ext uri="{FF2B5EF4-FFF2-40B4-BE49-F238E27FC236}">
                  <a16:creationId xmlns:a16="http://schemas.microsoft.com/office/drawing/2014/main" id="{DE13AD60-D2D7-4F0C-ADB0-1F4F1DA05911}"/>
                </a:ext>
              </a:extLst>
            </p:cNvPr>
            <p:cNvSpPr>
              <a:spLocks/>
            </p:cNvSpPr>
            <p:nvPr/>
          </p:nvSpPr>
          <p:spPr bwMode="gray">
            <a:xfrm rot="47099">
              <a:off x="694720" y="2487981"/>
              <a:ext cx="6235" cy="6754"/>
            </a:xfrm>
            <a:custGeom>
              <a:avLst/>
              <a:gdLst>
                <a:gd name="T0" fmla="*/ 14 w 14"/>
                <a:gd name="T1" fmla="*/ 5 h 15"/>
                <a:gd name="T2" fmla="*/ 14 w 14"/>
                <a:gd name="T3" fmla="*/ 7 h 15"/>
                <a:gd name="T4" fmla="*/ 7 w 14"/>
                <a:gd name="T5" fmla="*/ 7 h 15"/>
                <a:gd name="T6" fmla="*/ 0 w 14"/>
                <a:gd name="T7" fmla="*/ 15 h 15"/>
                <a:gd name="T8" fmla="*/ 0 w 14"/>
                <a:gd name="T9" fmla="*/ 7 h 15"/>
                <a:gd name="T10" fmla="*/ 4 w 14"/>
                <a:gd name="T11" fmla="*/ 0 h 15"/>
                <a:gd name="T12" fmla="*/ 11 w 14"/>
                <a:gd name="T13" fmla="*/ 0 h 15"/>
                <a:gd name="T14" fmla="*/ 14 w 14"/>
                <a:gd name="T15" fmla="*/ 5 h 15"/>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5"/>
                <a:gd name="T26" fmla="*/ 14 w 1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5">
                  <a:moveTo>
                    <a:pt x="14" y="5"/>
                  </a:moveTo>
                  <a:lnTo>
                    <a:pt x="14" y="7"/>
                  </a:lnTo>
                  <a:lnTo>
                    <a:pt x="7" y="7"/>
                  </a:lnTo>
                  <a:lnTo>
                    <a:pt x="0" y="15"/>
                  </a:lnTo>
                  <a:lnTo>
                    <a:pt x="0" y="7"/>
                  </a:lnTo>
                  <a:lnTo>
                    <a:pt x="4" y="0"/>
                  </a:lnTo>
                  <a:lnTo>
                    <a:pt x="11" y="0"/>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4" name="Freeform 78">
              <a:extLst>
                <a:ext uri="{FF2B5EF4-FFF2-40B4-BE49-F238E27FC236}">
                  <a16:creationId xmlns:a16="http://schemas.microsoft.com/office/drawing/2014/main" id="{43622E44-A129-431C-B74C-E1AA9CA4B708}"/>
                </a:ext>
              </a:extLst>
            </p:cNvPr>
            <p:cNvSpPr>
              <a:spLocks/>
            </p:cNvSpPr>
            <p:nvPr/>
          </p:nvSpPr>
          <p:spPr bwMode="gray">
            <a:xfrm rot="47099">
              <a:off x="223324" y="2114828"/>
              <a:ext cx="2672" cy="4824"/>
            </a:xfrm>
            <a:custGeom>
              <a:avLst/>
              <a:gdLst>
                <a:gd name="T0" fmla="*/ 7 w 7"/>
                <a:gd name="T1" fmla="*/ 12 h 12"/>
                <a:gd name="T2" fmla="*/ 5 w 7"/>
                <a:gd name="T3" fmla="*/ 12 h 12"/>
                <a:gd name="T4" fmla="*/ 0 w 7"/>
                <a:gd name="T5" fmla="*/ 5 h 12"/>
                <a:gd name="T6" fmla="*/ 5 w 7"/>
                <a:gd name="T7" fmla="*/ 0 h 12"/>
                <a:gd name="T8" fmla="*/ 5 w 7"/>
                <a:gd name="T9" fmla="*/ 5 h 12"/>
                <a:gd name="T10" fmla="*/ 7 w 7"/>
                <a:gd name="T11" fmla="*/ 5 h 12"/>
                <a:gd name="T12" fmla="*/ 7 w 7"/>
                <a:gd name="T13" fmla="*/ 12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7" y="12"/>
                  </a:moveTo>
                  <a:lnTo>
                    <a:pt x="5" y="12"/>
                  </a:lnTo>
                  <a:lnTo>
                    <a:pt x="0" y="5"/>
                  </a:lnTo>
                  <a:lnTo>
                    <a:pt x="5" y="0"/>
                  </a:lnTo>
                  <a:lnTo>
                    <a:pt x="5" y="5"/>
                  </a:lnTo>
                  <a:lnTo>
                    <a:pt x="7" y="5"/>
                  </a:lnTo>
                  <a:lnTo>
                    <a:pt x="7"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5" name="Freeform 79">
              <a:extLst>
                <a:ext uri="{FF2B5EF4-FFF2-40B4-BE49-F238E27FC236}">
                  <a16:creationId xmlns:a16="http://schemas.microsoft.com/office/drawing/2014/main" id="{9F6AA96E-4D0C-4BD4-AE05-2120128FE55B}"/>
                </a:ext>
              </a:extLst>
            </p:cNvPr>
            <p:cNvSpPr>
              <a:spLocks/>
            </p:cNvSpPr>
            <p:nvPr/>
          </p:nvSpPr>
          <p:spPr bwMode="gray">
            <a:xfrm rot="47099">
              <a:off x="700130" y="2485149"/>
              <a:ext cx="4453" cy="2894"/>
            </a:xfrm>
            <a:custGeom>
              <a:avLst/>
              <a:gdLst>
                <a:gd name="T0" fmla="*/ 5 w 10"/>
                <a:gd name="T1" fmla="*/ 5 h 7"/>
                <a:gd name="T2" fmla="*/ 10 w 10"/>
                <a:gd name="T3" fmla="*/ 5 h 7"/>
                <a:gd name="T4" fmla="*/ 5 w 10"/>
                <a:gd name="T5" fmla="*/ 7 h 7"/>
                <a:gd name="T6" fmla="*/ 0 w 10"/>
                <a:gd name="T7" fmla="*/ 7 h 7"/>
                <a:gd name="T8" fmla="*/ 0 w 10"/>
                <a:gd name="T9" fmla="*/ 5 h 7"/>
                <a:gd name="T10" fmla="*/ 5 w 10"/>
                <a:gd name="T11" fmla="*/ 0 h 7"/>
                <a:gd name="T12" fmla="*/ 5 w 10"/>
                <a:gd name="T13" fmla="*/ 5 h 7"/>
                <a:gd name="T14" fmla="*/ 0 60000 65536"/>
                <a:gd name="T15" fmla="*/ 0 60000 65536"/>
                <a:gd name="T16" fmla="*/ 0 60000 65536"/>
                <a:gd name="T17" fmla="*/ 0 60000 65536"/>
                <a:gd name="T18" fmla="*/ 0 60000 65536"/>
                <a:gd name="T19" fmla="*/ 0 60000 65536"/>
                <a:gd name="T20" fmla="*/ 0 60000 65536"/>
                <a:gd name="T21" fmla="*/ 0 w 10"/>
                <a:gd name="T22" fmla="*/ 0 h 7"/>
                <a:gd name="T23" fmla="*/ 10 w 10"/>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7">
                  <a:moveTo>
                    <a:pt x="5" y="5"/>
                  </a:moveTo>
                  <a:lnTo>
                    <a:pt x="10" y="5"/>
                  </a:lnTo>
                  <a:lnTo>
                    <a:pt x="5" y="7"/>
                  </a:lnTo>
                  <a:lnTo>
                    <a:pt x="0" y="7"/>
                  </a:lnTo>
                  <a:lnTo>
                    <a:pt x="0" y="5"/>
                  </a:lnTo>
                  <a:lnTo>
                    <a:pt x="5" y="0"/>
                  </a:lnTo>
                  <a:lnTo>
                    <a:pt x="5"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6" name="Freeform 80">
              <a:extLst>
                <a:ext uri="{FF2B5EF4-FFF2-40B4-BE49-F238E27FC236}">
                  <a16:creationId xmlns:a16="http://schemas.microsoft.com/office/drawing/2014/main" id="{7CB4CC6C-E01B-4506-AE24-F8AD0611104D}"/>
                </a:ext>
              </a:extLst>
            </p:cNvPr>
            <p:cNvSpPr>
              <a:spLocks/>
            </p:cNvSpPr>
            <p:nvPr/>
          </p:nvSpPr>
          <p:spPr bwMode="gray">
            <a:xfrm rot="47099">
              <a:off x="696588" y="2483170"/>
              <a:ext cx="4453" cy="3860"/>
            </a:xfrm>
            <a:custGeom>
              <a:avLst/>
              <a:gdLst>
                <a:gd name="T0" fmla="*/ 3 w 10"/>
                <a:gd name="T1" fmla="*/ 9 h 9"/>
                <a:gd name="T2" fmla="*/ 3 w 10"/>
                <a:gd name="T3" fmla="*/ 4 h 9"/>
                <a:gd name="T4" fmla="*/ 0 w 10"/>
                <a:gd name="T5" fmla="*/ 4 h 9"/>
                <a:gd name="T6" fmla="*/ 0 w 10"/>
                <a:gd name="T7" fmla="*/ 2 h 9"/>
                <a:gd name="T8" fmla="*/ 3 w 10"/>
                <a:gd name="T9" fmla="*/ 0 h 9"/>
                <a:gd name="T10" fmla="*/ 7 w 10"/>
                <a:gd name="T11" fmla="*/ 0 h 9"/>
                <a:gd name="T12" fmla="*/ 10 w 10"/>
                <a:gd name="T13" fmla="*/ 2 h 9"/>
                <a:gd name="T14" fmla="*/ 10 w 10"/>
                <a:gd name="T15" fmla="*/ 4 h 9"/>
                <a:gd name="T16" fmla="*/ 3 w 10"/>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9"/>
                <a:gd name="T29" fmla="*/ 10 w 10"/>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9">
                  <a:moveTo>
                    <a:pt x="3" y="9"/>
                  </a:moveTo>
                  <a:lnTo>
                    <a:pt x="3" y="4"/>
                  </a:lnTo>
                  <a:lnTo>
                    <a:pt x="0" y="4"/>
                  </a:lnTo>
                  <a:lnTo>
                    <a:pt x="0" y="2"/>
                  </a:lnTo>
                  <a:lnTo>
                    <a:pt x="3" y="0"/>
                  </a:lnTo>
                  <a:lnTo>
                    <a:pt x="7" y="0"/>
                  </a:lnTo>
                  <a:lnTo>
                    <a:pt x="10" y="2"/>
                  </a:lnTo>
                  <a:lnTo>
                    <a:pt x="10" y="4"/>
                  </a:lnTo>
                  <a:lnTo>
                    <a:pt x="3"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7" name="Freeform 81">
              <a:extLst>
                <a:ext uri="{FF2B5EF4-FFF2-40B4-BE49-F238E27FC236}">
                  <a16:creationId xmlns:a16="http://schemas.microsoft.com/office/drawing/2014/main" id="{DAAEA3D6-7049-4CB3-A038-04E921B4000D}"/>
                </a:ext>
              </a:extLst>
            </p:cNvPr>
            <p:cNvSpPr>
              <a:spLocks/>
            </p:cNvSpPr>
            <p:nvPr/>
          </p:nvSpPr>
          <p:spPr bwMode="gray">
            <a:xfrm rot="47099">
              <a:off x="704569" y="2485204"/>
              <a:ext cx="3563" cy="4824"/>
            </a:xfrm>
            <a:custGeom>
              <a:avLst/>
              <a:gdLst>
                <a:gd name="T0" fmla="*/ 7 w 7"/>
                <a:gd name="T1" fmla="*/ 7 h 12"/>
                <a:gd name="T2" fmla="*/ 2 w 7"/>
                <a:gd name="T3" fmla="*/ 7 h 12"/>
                <a:gd name="T4" fmla="*/ 0 w 7"/>
                <a:gd name="T5" fmla="*/ 12 h 12"/>
                <a:gd name="T6" fmla="*/ 0 w 7"/>
                <a:gd name="T7" fmla="*/ 0 h 12"/>
                <a:gd name="T8" fmla="*/ 7 w 7"/>
                <a:gd name="T9" fmla="*/ 0 h 12"/>
                <a:gd name="T10" fmla="*/ 7 w 7"/>
                <a:gd name="T11" fmla="*/ 7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7" y="7"/>
                  </a:moveTo>
                  <a:lnTo>
                    <a:pt x="2" y="7"/>
                  </a:lnTo>
                  <a:lnTo>
                    <a:pt x="0" y="12"/>
                  </a:lnTo>
                  <a:lnTo>
                    <a:pt x="0" y="0"/>
                  </a:lnTo>
                  <a:lnTo>
                    <a:pt x="7" y="0"/>
                  </a:lnTo>
                  <a:lnTo>
                    <a:pt x="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8" name="Freeform 82">
              <a:extLst>
                <a:ext uri="{FF2B5EF4-FFF2-40B4-BE49-F238E27FC236}">
                  <a16:creationId xmlns:a16="http://schemas.microsoft.com/office/drawing/2014/main" id="{EE70505D-D4B5-4B1B-9669-BB24FEEE4DA0}"/>
                </a:ext>
              </a:extLst>
            </p:cNvPr>
            <p:cNvSpPr>
              <a:spLocks/>
            </p:cNvSpPr>
            <p:nvPr/>
          </p:nvSpPr>
          <p:spPr bwMode="gray">
            <a:xfrm rot="47099">
              <a:off x="704727" y="2472692"/>
              <a:ext cx="8015" cy="6754"/>
            </a:xfrm>
            <a:custGeom>
              <a:avLst/>
              <a:gdLst>
                <a:gd name="T0" fmla="*/ 16 w 16"/>
                <a:gd name="T1" fmla="*/ 7 h 15"/>
                <a:gd name="T2" fmla="*/ 16 w 16"/>
                <a:gd name="T3" fmla="*/ 10 h 15"/>
                <a:gd name="T4" fmla="*/ 14 w 16"/>
                <a:gd name="T5" fmla="*/ 10 h 15"/>
                <a:gd name="T6" fmla="*/ 2 w 16"/>
                <a:gd name="T7" fmla="*/ 15 h 15"/>
                <a:gd name="T8" fmla="*/ 2 w 16"/>
                <a:gd name="T9" fmla="*/ 10 h 15"/>
                <a:gd name="T10" fmla="*/ 0 w 16"/>
                <a:gd name="T11" fmla="*/ 10 h 15"/>
                <a:gd name="T12" fmla="*/ 0 w 16"/>
                <a:gd name="T13" fmla="*/ 0 h 15"/>
                <a:gd name="T14" fmla="*/ 7 w 16"/>
                <a:gd name="T15" fmla="*/ 0 h 15"/>
                <a:gd name="T16" fmla="*/ 16 w 16"/>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5"/>
                <a:gd name="T29" fmla="*/ 16 w 1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5">
                  <a:moveTo>
                    <a:pt x="16" y="7"/>
                  </a:moveTo>
                  <a:lnTo>
                    <a:pt x="16" y="10"/>
                  </a:lnTo>
                  <a:lnTo>
                    <a:pt x="14" y="10"/>
                  </a:lnTo>
                  <a:lnTo>
                    <a:pt x="2" y="15"/>
                  </a:lnTo>
                  <a:lnTo>
                    <a:pt x="2" y="10"/>
                  </a:lnTo>
                  <a:lnTo>
                    <a:pt x="0" y="10"/>
                  </a:lnTo>
                  <a:lnTo>
                    <a:pt x="0" y="0"/>
                  </a:lnTo>
                  <a:lnTo>
                    <a:pt x="7" y="0"/>
                  </a:lnTo>
                  <a:lnTo>
                    <a:pt x="16"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4999" name="Freeform 83">
              <a:extLst>
                <a:ext uri="{FF2B5EF4-FFF2-40B4-BE49-F238E27FC236}">
                  <a16:creationId xmlns:a16="http://schemas.microsoft.com/office/drawing/2014/main" id="{471FE9C3-FABB-402A-9B63-0C56872504E5}"/>
                </a:ext>
              </a:extLst>
            </p:cNvPr>
            <p:cNvSpPr>
              <a:spLocks/>
            </p:cNvSpPr>
            <p:nvPr/>
          </p:nvSpPr>
          <p:spPr bwMode="gray">
            <a:xfrm rot="47099">
              <a:off x="256992" y="2128805"/>
              <a:ext cx="3563" cy="2894"/>
            </a:xfrm>
            <a:custGeom>
              <a:avLst/>
              <a:gdLst>
                <a:gd name="T0" fmla="*/ 7 w 7"/>
                <a:gd name="T1" fmla="*/ 0 h 7"/>
                <a:gd name="T2" fmla="*/ 7 w 7"/>
                <a:gd name="T3" fmla="*/ 7 h 7"/>
                <a:gd name="T4" fmla="*/ 0 w 7"/>
                <a:gd name="T5" fmla="*/ 2 h 7"/>
                <a:gd name="T6" fmla="*/ 0 w 7"/>
                <a:gd name="T7" fmla="*/ 0 h 7"/>
                <a:gd name="T8" fmla="*/ 7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7" y="0"/>
                  </a:moveTo>
                  <a:lnTo>
                    <a:pt x="7" y="7"/>
                  </a:lnTo>
                  <a:lnTo>
                    <a:pt x="0" y="2"/>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0" name="Freeform 84">
              <a:extLst>
                <a:ext uri="{FF2B5EF4-FFF2-40B4-BE49-F238E27FC236}">
                  <a16:creationId xmlns:a16="http://schemas.microsoft.com/office/drawing/2014/main" id="{D11585FA-4D62-4304-A118-134FB8806207}"/>
                </a:ext>
              </a:extLst>
            </p:cNvPr>
            <p:cNvSpPr>
              <a:spLocks/>
            </p:cNvSpPr>
            <p:nvPr/>
          </p:nvSpPr>
          <p:spPr bwMode="gray">
            <a:xfrm rot="47099">
              <a:off x="712756" y="2472772"/>
              <a:ext cx="3563" cy="4824"/>
            </a:xfrm>
            <a:custGeom>
              <a:avLst/>
              <a:gdLst>
                <a:gd name="T0" fmla="*/ 8 w 8"/>
                <a:gd name="T1" fmla="*/ 3 h 10"/>
                <a:gd name="T2" fmla="*/ 8 w 8"/>
                <a:gd name="T3" fmla="*/ 7 h 10"/>
                <a:gd name="T4" fmla="*/ 3 w 8"/>
                <a:gd name="T5" fmla="*/ 10 h 10"/>
                <a:gd name="T6" fmla="*/ 0 w 8"/>
                <a:gd name="T7" fmla="*/ 10 h 10"/>
                <a:gd name="T8" fmla="*/ 0 w 8"/>
                <a:gd name="T9" fmla="*/ 7 h 10"/>
                <a:gd name="T10" fmla="*/ 3 w 8"/>
                <a:gd name="T11" fmla="*/ 0 h 10"/>
                <a:gd name="T12" fmla="*/ 8 w 8"/>
                <a:gd name="T13" fmla="*/ 0 h 10"/>
                <a:gd name="T14" fmla="*/ 8 w 8"/>
                <a:gd name="T15" fmla="*/ 3 h 10"/>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0"/>
                <a:gd name="T26" fmla="*/ 8 w 8"/>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0">
                  <a:moveTo>
                    <a:pt x="8" y="3"/>
                  </a:moveTo>
                  <a:lnTo>
                    <a:pt x="8" y="7"/>
                  </a:lnTo>
                  <a:lnTo>
                    <a:pt x="3" y="10"/>
                  </a:lnTo>
                  <a:lnTo>
                    <a:pt x="0" y="10"/>
                  </a:lnTo>
                  <a:lnTo>
                    <a:pt x="0" y="7"/>
                  </a:lnTo>
                  <a:lnTo>
                    <a:pt x="3" y="0"/>
                  </a:lnTo>
                  <a:lnTo>
                    <a:pt x="8" y="0"/>
                  </a:lnTo>
                  <a:lnTo>
                    <a:pt x="8"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1" name="Freeform 85">
              <a:extLst>
                <a:ext uri="{FF2B5EF4-FFF2-40B4-BE49-F238E27FC236}">
                  <a16:creationId xmlns:a16="http://schemas.microsoft.com/office/drawing/2014/main" id="{3738D24A-CCCB-4688-8B27-B39DE6DB62E2}"/>
                </a:ext>
              </a:extLst>
            </p:cNvPr>
            <p:cNvSpPr>
              <a:spLocks/>
            </p:cNvSpPr>
            <p:nvPr/>
          </p:nvSpPr>
          <p:spPr bwMode="gray">
            <a:xfrm rot="47099">
              <a:off x="303482" y="2179636"/>
              <a:ext cx="6235" cy="5789"/>
            </a:xfrm>
            <a:custGeom>
              <a:avLst/>
              <a:gdLst>
                <a:gd name="T0" fmla="*/ 10 w 12"/>
                <a:gd name="T1" fmla="*/ 5 h 12"/>
                <a:gd name="T2" fmla="*/ 10 w 12"/>
                <a:gd name="T3" fmla="*/ 7 h 12"/>
                <a:gd name="T4" fmla="*/ 7 w 12"/>
                <a:gd name="T5" fmla="*/ 12 h 12"/>
                <a:gd name="T6" fmla="*/ 3 w 12"/>
                <a:gd name="T7" fmla="*/ 12 h 12"/>
                <a:gd name="T8" fmla="*/ 0 w 12"/>
                <a:gd name="T9" fmla="*/ 5 h 12"/>
                <a:gd name="T10" fmla="*/ 3 w 12"/>
                <a:gd name="T11" fmla="*/ 0 h 12"/>
                <a:gd name="T12" fmla="*/ 12 w 12"/>
                <a:gd name="T13" fmla="*/ 0 h 12"/>
                <a:gd name="T14" fmla="*/ 10 w 12"/>
                <a:gd name="T15" fmla="*/ 5 h 12"/>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2"/>
                <a:gd name="T26" fmla="*/ 12 w 1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2">
                  <a:moveTo>
                    <a:pt x="10" y="5"/>
                  </a:moveTo>
                  <a:lnTo>
                    <a:pt x="10" y="7"/>
                  </a:lnTo>
                  <a:lnTo>
                    <a:pt x="7" y="12"/>
                  </a:lnTo>
                  <a:lnTo>
                    <a:pt x="3" y="12"/>
                  </a:lnTo>
                  <a:lnTo>
                    <a:pt x="0" y="5"/>
                  </a:lnTo>
                  <a:lnTo>
                    <a:pt x="3" y="0"/>
                  </a:lnTo>
                  <a:lnTo>
                    <a:pt x="12" y="0"/>
                  </a:lnTo>
                  <a:lnTo>
                    <a:pt x="10"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2" name="Freeform 86">
              <a:extLst>
                <a:ext uri="{FF2B5EF4-FFF2-40B4-BE49-F238E27FC236}">
                  <a16:creationId xmlns:a16="http://schemas.microsoft.com/office/drawing/2014/main" id="{02819EAC-DCDD-4925-BBCF-7482C17FEFC6}"/>
                </a:ext>
              </a:extLst>
            </p:cNvPr>
            <p:cNvSpPr>
              <a:spLocks/>
            </p:cNvSpPr>
            <p:nvPr/>
          </p:nvSpPr>
          <p:spPr bwMode="gray">
            <a:xfrm rot="47099">
              <a:off x="692426" y="2461898"/>
              <a:ext cx="6235" cy="3860"/>
            </a:xfrm>
            <a:custGeom>
              <a:avLst/>
              <a:gdLst>
                <a:gd name="T0" fmla="*/ 9 w 12"/>
                <a:gd name="T1" fmla="*/ 7 h 9"/>
                <a:gd name="T2" fmla="*/ 2 w 12"/>
                <a:gd name="T3" fmla="*/ 7 h 9"/>
                <a:gd name="T4" fmla="*/ 2 w 12"/>
                <a:gd name="T5" fmla="*/ 9 h 9"/>
                <a:gd name="T6" fmla="*/ 0 w 12"/>
                <a:gd name="T7" fmla="*/ 7 h 9"/>
                <a:gd name="T8" fmla="*/ 0 w 12"/>
                <a:gd name="T9" fmla="*/ 4 h 9"/>
                <a:gd name="T10" fmla="*/ 2 w 12"/>
                <a:gd name="T11" fmla="*/ 0 h 9"/>
                <a:gd name="T12" fmla="*/ 12 w 12"/>
                <a:gd name="T13" fmla="*/ 4 h 9"/>
                <a:gd name="T14" fmla="*/ 12 w 12"/>
                <a:gd name="T15" fmla="*/ 7 h 9"/>
                <a:gd name="T16" fmla="*/ 9 w 12"/>
                <a:gd name="T17" fmla="*/ 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9"/>
                <a:gd name="T29" fmla="*/ 12 w 12"/>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9">
                  <a:moveTo>
                    <a:pt x="9" y="7"/>
                  </a:moveTo>
                  <a:lnTo>
                    <a:pt x="2" y="7"/>
                  </a:lnTo>
                  <a:lnTo>
                    <a:pt x="2" y="9"/>
                  </a:lnTo>
                  <a:lnTo>
                    <a:pt x="0" y="7"/>
                  </a:lnTo>
                  <a:lnTo>
                    <a:pt x="0" y="4"/>
                  </a:lnTo>
                  <a:lnTo>
                    <a:pt x="2" y="0"/>
                  </a:lnTo>
                  <a:lnTo>
                    <a:pt x="12" y="4"/>
                  </a:lnTo>
                  <a:lnTo>
                    <a:pt x="12" y="7"/>
                  </a:lnTo>
                  <a:lnTo>
                    <a:pt x="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3" name="Freeform 87">
              <a:extLst>
                <a:ext uri="{FF2B5EF4-FFF2-40B4-BE49-F238E27FC236}">
                  <a16:creationId xmlns:a16="http://schemas.microsoft.com/office/drawing/2014/main" id="{F5B6178C-6100-43ED-B184-3836157FBE85}"/>
                </a:ext>
              </a:extLst>
            </p:cNvPr>
            <p:cNvSpPr>
              <a:spLocks/>
            </p:cNvSpPr>
            <p:nvPr/>
          </p:nvSpPr>
          <p:spPr bwMode="gray">
            <a:xfrm rot="47099">
              <a:off x="738177" y="2490606"/>
              <a:ext cx="20484" cy="28945"/>
            </a:xfrm>
            <a:custGeom>
              <a:avLst/>
              <a:gdLst>
                <a:gd name="T0" fmla="*/ 9 w 45"/>
                <a:gd name="T1" fmla="*/ 57 h 62"/>
                <a:gd name="T2" fmla="*/ 9 w 45"/>
                <a:gd name="T3" fmla="*/ 50 h 62"/>
                <a:gd name="T4" fmla="*/ 16 w 45"/>
                <a:gd name="T5" fmla="*/ 50 h 62"/>
                <a:gd name="T6" fmla="*/ 21 w 45"/>
                <a:gd name="T7" fmla="*/ 43 h 62"/>
                <a:gd name="T8" fmla="*/ 26 w 45"/>
                <a:gd name="T9" fmla="*/ 36 h 62"/>
                <a:gd name="T10" fmla="*/ 28 w 45"/>
                <a:gd name="T11" fmla="*/ 21 h 62"/>
                <a:gd name="T12" fmla="*/ 26 w 45"/>
                <a:gd name="T13" fmla="*/ 26 h 62"/>
                <a:gd name="T14" fmla="*/ 26 w 45"/>
                <a:gd name="T15" fmla="*/ 28 h 62"/>
                <a:gd name="T16" fmla="*/ 21 w 45"/>
                <a:gd name="T17" fmla="*/ 28 h 62"/>
                <a:gd name="T18" fmla="*/ 21 w 45"/>
                <a:gd name="T19" fmla="*/ 40 h 62"/>
                <a:gd name="T20" fmla="*/ 19 w 45"/>
                <a:gd name="T21" fmla="*/ 43 h 62"/>
                <a:gd name="T22" fmla="*/ 12 w 45"/>
                <a:gd name="T23" fmla="*/ 45 h 62"/>
                <a:gd name="T24" fmla="*/ 9 w 45"/>
                <a:gd name="T25" fmla="*/ 45 h 62"/>
                <a:gd name="T26" fmla="*/ 12 w 45"/>
                <a:gd name="T27" fmla="*/ 45 h 62"/>
                <a:gd name="T28" fmla="*/ 16 w 45"/>
                <a:gd name="T29" fmla="*/ 43 h 62"/>
                <a:gd name="T30" fmla="*/ 12 w 45"/>
                <a:gd name="T31" fmla="*/ 40 h 62"/>
                <a:gd name="T32" fmla="*/ 16 w 45"/>
                <a:gd name="T33" fmla="*/ 36 h 62"/>
                <a:gd name="T34" fmla="*/ 19 w 45"/>
                <a:gd name="T35" fmla="*/ 33 h 62"/>
                <a:gd name="T36" fmla="*/ 12 w 45"/>
                <a:gd name="T37" fmla="*/ 33 h 62"/>
                <a:gd name="T38" fmla="*/ 12 w 45"/>
                <a:gd name="T39" fmla="*/ 43 h 62"/>
                <a:gd name="T40" fmla="*/ 4 w 45"/>
                <a:gd name="T41" fmla="*/ 50 h 62"/>
                <a:gd name="T42" fmla="*/ 2 w 45"/>
                <a:gd name="T43" fmla="*/ 43 h 62"/>
                <a:gd name="T44" fmla="*/ 2 w 45"/>
                <a:gd name="T45" fmla="*/ 40 h 62"/>
                <a:gd name="T46" fmla="*/ 0 w 45"/>
                <a:gd name="T47" fmla="*/ 40 h 62"/>
                <a:gd name="T48" fmla="*/ 0 w 45"/>
                <a:gd name="T49" fmla="*/ 28 h 62"/>
                <a:gd name="T50" fmla="*/ 4 w 45"/>
                <a:gd name="T51" fmla="*/ 26 h 62"/>
                <a:gd name="T52" fmla="*/ 9 w 45"/>
                <a:gd name="T53" fmla="*/ 19 h 62"/>
                <a:gd name="T54" fmla="*/ 12 w 45"/>
                <a:gd name="T55" fmla="*/ 12 h 62"/>
                <a:gd name="T56" fmla="*/ 19 w 45"/>
                <a:gd name="T57" fmla="*/ 10 h 62"/>
                <a:gd name="T58" fmla="*/ 19 w 45"/>
                <a:gd name="T59" fmla="*/ 2 h 62"/>
                <a:gd name="T60" fmla="*/ 26 w 45"/>
                <a:gd name="T61" fmla="*/ 2 h 62"/>
                <a:gd name="T62" fmla="*/ 28 w 45"/>
                <a:gd name="T63" fmla="*/ 0 h 62"/>
                <a:gd name="T64" fmla="*/ 45 w 45"/>
                <a:gd name="T65" fmla="*/ 0 h 62"/>
                <a:gd name="T66" fmla="*/ 45 w 45"/>
                <a:gd name="T67" fmla="*/ 33 h 62"/>
                <a:gd name="T68" fmla="*/ 42 w 45"/>
                <a:gd name="T69" fmla="*/ 40 h 62"/>
                <a:gd name="T70" fmla="*/ 35 w 45"/>
                <a:gd name="T71" fmla="*/ 52 h 62"/>
                <a:gd name="T72" fmla="*/ 26 w 45"/>
                <a:gd name="T73" fmla="*/ 59 h 62"/>
                <a:gd name="T74" fmla="*/ 26 w 45"/>
                <a:gd name="T75" fmla="*/ 62 h 62"/>
                <a:gd name="T76" fmla="*/ 16 w 45"/>
                <a:gd name="T77" fmla="*/ 62 h 62"/>
                <a:gd name="T78" fmla="*/ 16 w 45"/>
                <a:gd name="T79" fmla="*/ 57 h 62"/>
                <a:gd name="T80" fmla="*/ 19 w 45"/>
                <a:gd name="T81" fmla="*/ 57 h 62"/>
                <a:gd name="T82" fmla="*/ 19 w 45"/>
                <a:gd name="T83" fmla="*/ 52 h 62"/>
                <a:gd name="T84" fmla="*/ 21 w 45"/>
                <a:gd name="T85" fmla="*/ 50 h 62"/>
                <a:gd name="T86" fmla="*/ 26 w 45"/>
                <a:gd name="T87" fmla="*/ 45 h 62"/>
                <a:gd name="T88" fmla="*/ 21 w 45"/>
                <a:gd name="T89" fmla="*/ 45 h 62"/>
                <a:gd name="T90" fmla="*/ 19 w 45"/>
                <a:gd name="T91" fmla="*/ 50 h 62"/>
                <a:gd name="T92" fmla="*/ 19 w 45"/>
                <a:gd name="T93" fmla="*/ 52 h 62"/>
                <a:gd name="T94" fmla="*/ 16 w 45"/>
                <a:gd name="T95" fmla="*/ 57 h 62"/>
                <a:gd name="T96" fmla="*/ 9 w 45"/>
                <a:gd name="T97" fmla="*/ 57 h 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
                <a:gd name="T148" fmla="*/ 0 h 62"/>
                <a:gd name="T149" fmla="*/ 45 w 45"/>
                <a:gd name="T150" fmla="*/ 62 h 6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 h="62">
                  <a:moveTo>
                    <a:pt x="9" y="57"/>
                  </a:moveTo>
                  <a:lnTo>
                    <a:pt x="9" y="50"/>
                  </a:lnTo>
                  <a:lnTo>
                    <a:pt x="16" y="50"/>
                  </a:lnTo>
                  <a:lnTo>
                    <a:pt x="21" y="43"/>
                  </a:lnTo>
                  <a:lnTo>
                    <a:pt x="26" y="36"/>
                  </a:lnTo>
                  <a:lnTo>
                    <a:pt x="28" y="21"/>
                  </a:lnTo>
                  <a:lnTo>
                    <a:pt x="26" y="26"/>
                  </a:lnTo>
                  <a:lnTo>
                    <a:pt x="26" y="28"/>
                  </a:lnTo>
                  <a:lnTo>
                    <a:pt x="21" y="28"/>
                  </a:lnTo>
                  <a:lnTo>
                    <a:pt x="21" y="40"/>
                  </a:lnTo>
                  <a:lnTo>
                    <a:pt x="19" y="43"/>
                  </a:lnTo>
                  <a:lnTo>
                    <a:pt x="12" y="45"/>
                  </a:lnTo>
                  <a:lnTo>
                    <a:pt x="9" y="45"/>
                  </a:lnTo>
                  <a:lnTo>
                    <a:pt x="12" y="45"/>
                  </a:lnTo>
                  <a:lnTo>
                    <a:pt x="16" y="43"/>
                  </a:lnTo>
                  <a:lnTo>
                    <a:pt x="12" y="40"/>
                  </a:lnTo>
                  <a:lnTo>
                    <a:pt x="16" y="36"/>
                  </a:lnTo>
                  <a:lnTo>
                    <a:pt x="19" y="33"/>
                  </a:lnTo>
                  <a:lnTo>
                    <a:pt x="12" y="33"/>
                  </a:lnTo>
                  <a:lnTo>
                    <a:pt x="12" y="43"/>
                  </a:lnTo>
                  <a:lnTo>
                    <a:pt x="4" y="50"/>
                  </a:lnTo>
                  <a:lnTo>
                    <a:pt x="2" y="43"/>
                  </a:lnTo>
                  <a:lnTo>
                    <a:pt x="2" y="40"/>
                  </a:lnTo>
                  <a:lnTo>
                    <a:pt x="0" y="40"/>
                  </a:lnTo>
                  <a:lnTo>
                    <a:pt x="0" y="28"/>
                  </a:lnTo>
                  <a:lnTo>
                    <a:pt x="4" y="26"/>
                  </a:lnTo>
                  <a:lnTo>
                    <a:pt x="9" y="19"/>
                  </a:lnTo>
                  <a:lnTo>
                    <a:pt x="12" y="12"/>
                  </a:lnTo>
                  <a:lnTo>
                    <a:pt x="19" y="10"/>
                  </a:lnTo>
                  <a:lnTo>
                    <a:pt x="19" y="2"/>
                  </a:lnTo>
                  <a:lnTo>
                    <a:pt x="26" y="2"/>
                  </a:lnTo>
                  <a:lnTo>
                    <a:pt x="28" y="0"/>
                  </a:lnTo>
                  <a:lnTo>
                    <a:pt x="45" y="0"/>
                  </a:lnTo>
                  <a:lnTo>
                    <a:pt x="45" y="33"/>
                  </a:lnTo>
                  <a:lnTo>
                    <a:pt x="42" y="40"/>
                  </a:lnTo>
                  <a:lnTo>
                    <a:pt x="35" y="52"/>
                  </a:lnTo>
                  <a:lnTo>
                    <a:pt x="26" y="59"/>
                  </a:lnTo>
                  <a:lnTo>
                    <a:pt x="26" y="62"/>
                  </a:lnTo>
                  <a:lnTo>
                    <a:pt x="16" y="62"/>
                  </a:lnTo>
                  <a:lnTo>
                    <a:pt x="16" y="57"/>
                  </a:lnTo>
                  <a:lnTo>
                    <a:pt x="19" y="57"/>
                  </a:lnTo>
                  <a:lnTo>
                    <a:pt x="19" y="52"/>
                  </a:lnTo>
                  <a:lnTo>
                    <a:pt x="21" y="50"/>
                  </a:lnTo>
                  <a:lnTo>
                    <a:pt x="26" y="45"/>
                  </a:lnTo>
                  <a:lnTo>
                    <a:pt x="21" y="45"/>
                  </a:lnTo>
                  <a:lnTo>
                    <a:pt x="19" y="50"/>
                  </a:lnTo>
                  <a:lnTo>
                    <a:pt x="19" y="52"/>
                  </a:lnTo>
                  <a:lnTo>
                    <a:pt x="16" y="57"/>
                  </a:lnTo>
                  <a:lnTo>
                    <a:pt x="9" y="5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4" name="Freeform 88">
              <a:extLst>
                <a:ext uri="{FF2B5EF4-FFF2-40B4-BE49-F238E27FC236}">
                  <a16:creationId xmlns:a16="http://schemas.microsoft.com/office/drawing/2014/main" id="{6DE2FAFF-3E5D-4921-ABEF-EE181263073E}"/>
                </a:ext>
              </a:extLst>
            </p:cNvPr>
            <p:cNvSpPr>
              <a:spLocks/>
            </p:cNvSpPr>
            <p:nvPr/>
          </p:nvSpPr>
          <p:spPr bwMode="gray">
            <a:xfrm rot="47099">
              <a:off x="704880" y="2462135"/>
              <a:ext cx="16031" cy="5789"/>
            </a:xfrm>
            <a:custGeom>
              <a:avLst/>
              <a:gdLst>
                <a:gd name="T0" fmla="*/ 31 w 33"/>
                <a:gd name="T1" fmla="*/ 4 h 14"/>
                <a:gd name="T2" fmla="*/ 26 w 33"/>
                <a:gd name="T3" fmla="*/ 7 h 14"/>
                <a:gd name="T4" fmla="*/ 24 w 33"/>
                <a:gd name="T5" fmla="*/ 14 h 14"/>
                <a:gd name="T6" fmla="*/ 19 w 33"/>
                <a:gd name="T7" fmla="*/ 9 h 14"/>
                <a:gd name="T8" fmla="*/ 9 w 33"/>
                <a:gd name="T9" fmla="*/ 9 h 14"/>
                <a:gd name="T10" fmla="*/ 7 w 33"/>
                <a:gd name="T11" fmla="*/ 14 h 14"/>
                <a:gd name="T12" fmla="*/ 2 w 33"/>
                <a:gd name="T13" fmla="*/ 14 h 14"/>
                <a:gd name="T14" fmla="*/ 0 w 33"/>
                <a:gd name="T15" fmla="*/ 9 h 14"/>
                <a:gd name="T16" fmla="*/ 2 w 33"/>
                <a:gd name="T17" fmla="*/ 7 h 14"/>
                <a:gd name="T18" fmla="*/ 9 w 33"/>
                <a:gd name="T19" fmla="*/ 0 h 14"/>
                <a:gd name="T20" fmla="*/ 26 w 33"/>
                <a:gd name="T21" fmla="*/ 0 h 14"/>
                <a:gd name="T22" fmla="*/ 31 w 33"/>
                <a:gd name="T23" fmla="*/ 4 h 14"/>
                <a:gd name="T24" fmla="*/ 33 w 33"/>
                <a:gd name="T25" fmla="*/ 4 h 14"/>
                <a:gd name="T26" fmla="*/ 31 w 33"/>
                <a:gd name="T27" fmla="*/ 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4"/>
                <a:gd name="T44" fmla="*/ 33 w 33"/>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4">
                  <a:moveTo>
                    <a:pt x="31" y="4"/>
                  </a:moveTo>
                  <a:lnTo>
                    <a:pt x="26" y="7"/>
                  </a:lnTo>
                  <a:lnTo>
                    <a:pt x="24" y="14"/>
                  </a:lnTo>
                  <a:lnTo>
                    <a:pt x="19" y="9"/>
                  </a:lnTo>
                  <a:lnTo>
                    <a:pt x="9" y="9"/>
                  </a:lnTo>
                  <a:lnTo>
                    <a:pt x="7" y="14"/>
                  </a:lnTo>
                  <a:lnTo>
                    <a:pt x="2" y="14"/>
                  </a:lnTo>
                  <a:lnTo>
                    <a:pt x="0" y="9"/>
                  </a:lnTo>
                  <a:lnTo>
                    <a:pt x="2" y="7"/>
                  </a:lnTo>
                  <a:lnTo>
                    <a:pt x="9" y="0"/>
                  </a:lnTo>
                  <a:lnTo>
                    <a:pt x="26" y="0"/>
                  </a:lnTo>
                  <a:lnTo>
                    <a:pt x="31" y="4"/>
                  </a:lnTo>
                  <a:lnTo>
                    <a:pt x="33" y="4"/>
                  </a:lnTo>
                  <a:lnTo>
                    <a:pt x="31"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5" name="Freeform 89">
              <a:extLst>
                <a:ext uri="{FF2B5EF4-FFF2-40B4-BE49-F238E27FC236}">
                  <a16:creationId xmlns:a16="http://schemas.microsoft.com/office/drawing/2014/main" id="{3D2F88D0-85C3-4BF1-98AC-3AF7BDEA5B87}"/>
                </a:ext>
              </a:extLst>
            </p:cNvPr>
            <p:cNvSpPr>
              <a:spLocks/>
            </p:cNvSpPr>
            <p:nvPr/>
          </p:nvSpPr>
          <p:spPr bwMode="gray">
            <a:xfrm rot="47099">
              <a:off x="704508" y="2452558"/>
              <a:ext cx="26719" cy="79117"/>
            </a:xfrm>
            <a:custGeom>
              <a:avLst/>
              <a:gdLst>
                <a:gd name="T0" fmla="*/ 14 w 57"/>
                <a:gd name="T1" fmla="*/ 75 h 170"/>
                <a:gd name="T2" fmla="*/ 26 w 57"/>
                <a:gd name="T3" fmla="*/ 73 h 170"/>
                <a:gd name="T4" fmla="*/ 9 w 57"/>
                <a:gd name="T5" fmla="*/ 68 h 170"/>
                <a:gd name="T6" fmla="*/ 9 w 57"/>
                <a:gd name="T7" fmla="*/ 57 h 170"/>
                <a:gd name="T8" fmla="*/ 24 w 57"/>
                <a:gd name="T9" fmla="*/ 52 h 170"/>
                <a:gd name="T10" fmla="*/ 24 w 57"/>
                <a:gd name="T11" fmla="*/ 49 h 170"/>
                <a:gd name="T12" fmla="*/ 33 w 57"/>
                <a:gd name="T13" fmla="*/ 23 h 170"/>
                <a:gd name="T14" fmla="*/ 26 w 57"/>
                <a:gd name="T15" fmla="*/ 19 h 170"/>
                <a:gd name="T16" fmla="*/ 19 w 57"/>
                <a:gd name="T17" fmla="*/ 9 h 170"/>
                <a:gd name="T18" fmla="*/ 26 w 57"/>
                <a:gd name="T19" fmla="*/ 0 h 170"/>
                <a:gd name="T20" fmla="*/ 35 w 57"/>
                <a:gd name="T21" fmla="*/ 5 h 170"/>
                <a:gd name="T22" fmla="*/ 42 w 57"/>
                <a:gd name="T23" fmla="*/ 9 h 170"/>
                <a:gd name="T24" fmla="*/ 42 w 57"/>
                <a:gd name="T25" fmla="*/ 26 h 170"/>
                <a:gd name="T26" fmla="*/ 35 w 57"/>
                <a:gd name="T27" fmla="*/ 28 h 170"/>
                <a:gd name="T28" fmla="*/ 42 w 57"/>
                <a:gd name="T29" fmla="*/ 35 h 170"/>
                <a:gd name="T30" fmla="*/ 47 w 57"/>
                <a:gd name="T31" fmla="*/ 42 h 170"/>
                <a:gd name="T32" fmla="*/ 54 w 57"/>
                <a:gd name="T33" fmla="*/ 68 h 170"/>
                <a:gd name="T34" fmla="*/ 50 w 57"/>
                <a:gd name="T35" fmla="*/ 80 h 170"/>
                <a:gd name="T36" fmla="*/ 57 w 57"/>
                <a:gd name="T37" fmla="*/ 97 h 170"/>
                <a:gd name="T38" fmla="*/ 54 w 57"/>
                <a:gd name="T39" fmla="*/ 101 h 170"/>
                <a:gd name="T40" fmla="*/ 47 w 57"/>
                <a:gd name="T41" fmla="*/ 92 h 170"/>
                <a:gd name="T42" fmla="*/ 42 w 57"/>
                <a:gd name="T43" fmla="*/ 82 h 170"/>
                <a:gd name="T44" fmla="*/ 40 w 57"/>
                <a:gd name="T45" fmla="*/ 85 h 170"/>
                <a:gd name="T46" fmla="*/ 50 w 57"/>
                <a:gd name="T47" fmla="*/ 99 h 170"/>
                <a:gd name="T48" fmla="*/ 42 w 57"/>
                <a:gd name="T49" fmla="*/ 120 h 170"/>
                <a:gd name="T50" fmla="*/ 40 w 57"/>
                <a:gd name="T51" fmla="*/ 120 h 170"/>
                <a:gd name="T52" fmla="*/ 47 w 57"/>
                <a:gd name="T53" fmla="*/ 125 h 170"/>
                <a:gd name="T54" fmla="*/ 54 w 57"/>
                <a:gd name="T55" fmla="*/ 120 h 170"/>
                <a:gd name="T56" fmla="*/ 47 w 57"/>
                <a:gd name="T57" fmla="*/ 137 h 170"/>
                <a:gd name="T58" fmla="*/ 42 w 57"/>
                <a:gd name="T59" fmla="*/ 139 h 170"/>
                <a:gd name="T60" fmla="*/ 35 w 57"/>
                <a:gd name="T61" fmla="*/ 142 h 170"/>
                <a:gd name="T62" fmla="*/ 42 w 57"/>
                <a:gd name="T63" fmla="*/ 139 h 170"/>
                <a:gd name="T64" fmla="*/ 35 w 57"/>
                <a:gd name="T65" fmla="*/ 163 h 170"/>
                <a:gd name="T66" fmla="*/ 26 w 57"/>
                <a:gd name="T67" fmla="*/ 165 h 170"/>
                <a:gd name="T68" fmla="*/ 19 w 57"/>
                <a:gd name="T69" fmla="*/ 156 h 170"/>
                <a:gd name="T70" fmla="*/ 26 w 57"/>
                <a:gd name="T71" fmla="*/ 149 h 170"/>
                <a:gd name="T72" fmla="*/ 19 w 57"/>
                <a:gd name="T73" fmla="*/ 137 h 170"/>
                <a:gd name="T74" fmla="*/ 16 w 57"/>
                <a:gd name="T75" fmla="*/ 132 h 170"/>
                <a:gd name="T76" fmla="*/ 24 w 57"/>
                <a:gd name="T77" fmla="*/ 130 h 170"/>
                <a:gd name="T78" fmla="*/ 24 w 57"/>
                <a:gd name="T79" fmla="*/ 116 h 170"/>
                <a:gd name="T80" fmla="*/ 16 w 57"/>
                <a:gd name="T81" fmla="*/ 116 h 170"/>
                <a:gd name="T82" fmla="*/ 7 w 57"/>
                <a:gd name="T83" fmla="*/ 106 h 170"/>
                <a:gd name="T84" fmla="*/ 14 w 57"/>
                <a:gd name="T85" fmla="*/ 101 h 170"/>
                <a:gd name="T86" fmla="*/ 7 w 57"/>
                <a:gd name="T87" fmla="*/ 99 h 170"/>
                <a:gd name="T88" fmla="*/ 0 w 57"/>
                <a:gd name="T89" fmla="*/ 90 h 170"/>
                <a:gd name="T90" fmla="*/ 7 w 57"/>
                <a:gd name="T91" fmla="*/ 90 h 170"/>
                <a:gd name="T92" fmla="*/ 14 w 57"/>
                <a:gd name="T93" fmla="*/ 92 h 170"/>
                <a:gd name="T94" fmla="*/ 19 w 57"/>
                <a:gd name="T95" fmla="*/ 97 h 170"/>
                <a:gd name="T96" fmla="*/ 16 w 57"/>
                <a:gd name="T97" fmla="*/ 92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
                <a:gd name="T148" fmla="*/ 0 h 170"/>
                <a:gd name="T149" fmla="*/ 57 w 57"/>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 h="170">
                  <a:moveTo>
                    <a:pt x="14" y="92"/>
                  </a:moveTo>
                  <a:lnTo>
                    <a:pt x="14" y="75"/>
                  </a:lnTo>
                  <a:lnTo>
                    <a:pt x="19" y="73"/>
                  </a:lnTo>
                  <a:lnTo>
                    <a:pt x="26" y="73"/>
                  </a:lnTo>
                  <a:lnTo>
                    <a:pt x="26" y="68"/>
                  </a:lnTo>
                  <a:lnTo>
                    <a:pt x="9" y="68"/>
                  </a:lnTo>
                  <a:lnTo>
                    <a:pt x="7" y="64"/>
                  </a:lnTo>
                  <a:lnTo>
                    <a:pt x="9" y="57"/>
                  </a:lnTo>
                  <a:lnTo>
                    <a:pt x="16" y="57"/>
                  </a:lnTo>
                  <a:lnTo>
                    <a:pt x="24" y="52"/>
                  </a:lnTo>
                  <a:lnTo>
                    <a:pt x="26" y="45"/>
                  </a:lnTo>
                  <a:lnTo>
                    <a:pt x="24" y="49"/>
                  </a:lnTo>
                  <a:lnTo>
                    <a:pt x="24" y="40"/>
                  </a:lnTo>
                  <a:lnTo>
                    <a:pt x="33" y="23"/>
                  </a:lnTo>
                  <a:lnTo>
                    <a:pt x="31" y="19"/>
                  </a:lnTo>
                  <a:lnTo>
                    <a:pt x="26" y="19"/>
                  </a:lnTo>
                  <a:lnTo>
                    <a:pt x="19" y="12"/>
                  </a:lnTo>
                  <a:lnTo>
                    <a:pt x="19" y="9"/>
                  </a:lnTo>
                  <a:lnTo>
                    <a:pt x="24" y="5"/>
                  </a:lnTo>
                  <a:lnTo>
                    <a:pt x="26" y="0"/>
                  </a:lnTo>
                  <a:lnTo>
                    <a:pt x="31" y="2"/>
                  </a:lnTo>
                  <a:lnTo>
                    <a:pt x="35" y="5"/>
                  </a:lnTo>
                  <a:lnTo>
                    <a:pt x="40" y="9"/>
                  </a:lnTo>
                  <a:lnTo>
                    <a:pt x="42" y="9"/>
                  </a:lnTo>
                  <a:lnTo>
                    <a:pt x="47" y="19"/>
                  </a:lnTo>
                  <a:lnTo>
                    <a:pt x="42" y="26"/>
                  </a:lnTo>
                  <a:lnTo>
                    <a:pt x="40" y="28"/>
                  </a:lnTo>
                  <a:lnTo>
                    <a:pt x="35" y="28"/>
                  </a:lnTo>
                  <a:lnTo>
                    <a:pt x="35" y="35"/>
                  </a:lnTo>
                  <a:lnTo>
                    <a:pt x="42" y="35"/>
                  </a:lnTo>
                  <a:lnTo>
                    <a:pt x="42" y="40"/>
                  </a:lnTo>
                  <a:lnTo>
                    <a:pt x="47" y="42"/>
                  </a:lnTo>
                  <a:lnTo>
                    <a:pt x="54" y="57"/>
                  </a:lnTo>
                  <a:lnTo>
                    <a:pt x="54" y="68"/>
                  </a:lnTo>
                  <a:lnTo>
                    <a:pt x="50" y="75"/>
                  </a:lnTo>
                  <a:lnTo>
                    <a:pt x="50" y="80"/>
                  </a:lnTo>
                  <a:lnTo>
                    <a:pt x="54" y="92"/>
                  </a:lnTo>
                  <a:lnTo>
                    <a:pt x="57" y="97"/>
                  </a:lnTo>
                  <a:lnTo>
                    <a:pt x="57" y="101"/>
                  </a:lnTo>
                  <a:lnTo>
                    <a:pt x="54" y="101"/>
                  </a:lnTo>
                  <a:lnTo>
                    <a:pt x="54" y="99"/>
                  </a:lnTo>
                  <a:lnTo>
                    <a:pt x="47" y="92"/>
                  </a:lnTo>
                  <a:lnTo>
                    <a:pt x="47" y="85"/>
                  </a:lnTo>
                  <a:lnTo>
                    <a:pt x="42" y="82"/>
                  </a:lnTo>
                  <a:lnTo>
                    <a:pt x="42" y="80"/>
                  </a:lnTo>
                  <a:lnTo>
                    <a:pt x="40" y="85"/>
                  </a:lnTo>
                  <a:lnTo>
                    <a:pt x="40" y="90"/>
                  </a:lnTo>
                  <a:lnTo>
                    <a:pt x="50" y="99"/>
                  </a:lnTo>
                  <a:lnTo>
                    <a:pt x="50" y="120"/>
                  </a:lnTo>
                  <a:lnTo>
                    <a:pt x="42" y="120"/>
                  </a:lnTo>
                  <a:lnTo>
                    <a:pt x="42" y="116"/>
                  </a:lnTo>
                  <a:lnTo>
                    <a:pt x="40" y="120"/>
                  </a:lnTo>
                  <a:lnTo>
                    <a:pt x="40" y="123"/>
                  </a:lnTo>
                  <a:lnTo>
                    <a:pt x="47" y="125"/>
                  </a:lnTo>
                  <a:lnTo>
                    <a:pt x="50" y="123"/>
                  </a:lnTo>
                  <a:lnTo>
                    <a:pt x="54" y="120"/>
                  </a:lnTo>
                  <a:lnTo>
                    <a:pt x="54" y="130"/>
                  </a:lnTo>
                  <a:lnTo>
                    <a:pt x="47" y="137"/>
                  </a:lnTo>
                  <a:lnTo>
                    <a:pt x="42" y="137"/>
                  </a:lnTo>
                  <a:lnTo>
                    <a:pt x="42" y="139"/>
                  </a:lnTo>
                  <a:lnTo>
                    <a:pt x="33" y="139"/>
                  </a:lnTo>
                  <a:lnTo>
                    <a:pt x="35" y="142"/>
                  </a:lnTo>
                  <a:lnTo>
                    <a:pt x="40" y="142"/>
                  </a:lnTo>
                  <a:lnTo>
                    <a:pt x="42" y="139"/>
                  </a:lnTo>
                  <a:lnTo>
                    <a:pt x="47" y="142"/>
                  </a:lnTo>
                  <a:lnTo>
                    <a:pt x="35" y="163"/>
                  </a:lnTo>
                  <a:lnTo>
                    <a:pt x="31" y="170"/>
                  </a:lnTo>
                  <a:lnTo>
                    <a:pt x="26" y="165"/>
                  </a:lnTo>
                  <a:lnTo>
                    <a:pt x="19" y="160"/>
                  </a:lnTo>
                  <a:lnTo>
                    <a:pt x="19" y="156"/>
                  </a:lnTo>
                  <a:lnTo>
                    <a:pt x="26" y="156"/>
                  </a:lnTo>
                  <a:lnTo>
                    <a:pt x="26" y="149"/>
                  </a:lnTo>
                  <a:lnTo>
                    <a:pt x="24" y="146"/>
                  </a:lnTo>
                  <a:lnTo>
                    <a:pt x="19" y="137"/>
                  </a:lnTo>
                  <a:lnTo>
                    <a:pt x="16" y="137"/>
                  </a:lnTo>
                  <a:lnTo>
                    <a:pt x="16" y="132"/>
                  </a:lnTo>
                  <a:lnTo>
                    <a:pt x="19" y="130"/>
                  </a:lnTo>
                  <a:lnTo>
                    <a:pt x="24" y="130"/>
                  </a:lnTo>
                  <a:lnTo>
                    <a:pt x="24" y="108"/>
                  </a:lnTo>
                  <a:lnTo>
                    <a:pt x="24" y="116"/>
                  </a:lnTo>
                  <a:lnTo>
                    <a:pt x="19" y="120"/>
                  </a:lnTo>
                  <a:lnTo>
                    <a:pt x="16" y="116"/>
                  </a:lnTo>
                  <a:lnTo>
                    <a:pt x="16" y="106"/>
                  </a:lnTo>
                  <a:lnTo>
                    <a:pt x="7" y="106"/>
                  </a:lnTo>
                  <a:lnTo>
                    <a:pt x="7" y="101"/>
                  </a:lnTo>
                  <a:lnTo>
                    <a:pt x="14" y="101"/>
                  </a:lnTo>
                  <a:lnTo>
                    <a:pt x="9" y="99"/>
                  </a:lnTo>
                  <a:lnTo>
                    <a:pt x="7" y="99"/>
                  </a:lnTo>
                  <a:lnTo>
                    <a:pt x="0" y="97"/>
                  </a:lnTo>
                  <a:lnTo>
                    <a:pt x="0" y="90"/>
                  </a:lnTo>
                  <a:lnTo>
                    <a:pt x="2" y="85"/>
                  </a:lnTo>
                  <a:lnTo>
                    <a:pt x="7" y="90"/>
                  </a:lnTo>
                  <a:lnTo>
                    <a:pt x="9" y="92"/>
                  </a:lnTo>
                  <a:lnTo>
                    <a:pt x="14" y="92"/>
                  </a:lnTo>
                  <a:lnTo>
                    <a:pt x="16" y="97"/>
                  </a:lnTo>
                  <a:lnTo>
                    <a:pt x="19" y="97"/>
                  </a:lnTo>
                  <a:lnTo>
                    <a:pt x="16" y="97"/>
                  </a:lnTo>
                  <a:lnTo>
                    <a:pt x="16" y="92"/>
                  </a:lnTo>
                  <a:lnTo>
                    <a:pt x="14" y="9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6" name="Freeform 90">
              <a:extLst>
                <a:ext uri="{FF2B5EF4-FFF2-40B4-BE49-F238E27FC236}">
                  <a16:creationId xmlns:a16="http://schemas.microsoft.com/office/drawing/2014/main" id="{A2B20FAA-7FCE-4F4C-B861-46F7320A73E2}"/>
                </a:ext>
              </a:extLst>
            </p:cNvPr>
            <p:cNvSpPr>
              <a:spLocks/>
            </p:cNvSpPr>
            <p:nvPr/>
          </p:nvSpPr>
          <p:spPr bwMode="gray">
            <a:xfrm rot="47099">
              <a:off x="731477" y="2464406"/>
              <a:ext cx="12468" cy="19296"/>
            </a:xfrm>
            <a:custGeom>
              <a:avLst/>
              <a:gdLst>
                <a:gd name="T0" fmla="*/ 7 w 26"/>
                <a:gd name="T1" fmla="*/ 36 h 41"/>
                <a:gd name="T2" fmla="*/ 7 w 26"/>
                <a:gd name="T3" fmla="*/ 29 h 41"/>
                <a:gd name="T4" fmla="*/ 9 w 26"/>
                <a:gd name="T5" fmla="*/ 26 h 41"/>
                <a:gd name="T6" fmla="*/ 9 w 26"/>
                <a:gd name="T7" fmla="*/ 22 h 41"/>
                <a:gd name="T8" fmla="*/ 2 w 26"/>
                <a:gd name="T9" fmla="*/ 19 h 41"/>
                <a:gd name="T10" fmla="*/ 0 w 26"/>
                <a:gd name="T11" fmla="*/ 19 h 41"/>
                <a:gd name="T12" fmla="*/ 0 w 26"/>
                <a:gd name="T13" fmla="*/ 10 h 41"/>
                <a:gd name="T14" fmla="*/ 2 w 26"/>
                <a:gd name="T15" fmla="*/ 5 h 41"/>
                <a:gd name="T16" fmla="*/ 14 w 26"/>
                <a:gd name="T17" fmla="*/ 3 h 41"/>
                <a:gd name="T18" fmla="*/ 16 w 26"/>
                <a:gd name="T19" fmla="*/ 0 h 41"/>
                <a:gd name="T20" fmla="*/ 18 w 26"/>
                <a:gd name="T21" fmla="*/ 0 h 41"/>
                <a:gd name="T22" fmla="*/ 23 w 26"/>
                <a:gd name="T23" fmla="*/ 3 h 41"/>
                <a:gd name="T24" fmla="*/ 23 w 26"/>
                <a:gd name="T25" fmla="*/ 5 h 41"/>
                <a:gd name="T26" fmla="*/ 18 w 26"/>
                <a:gd name="T27" fmla="*/ 10 h 41"/>
                <a:gd name="T28" fmla="*/ 16 w 26"/>
                <a:gd name="T29" fmla="*/ 12 h 41"/>
                <a:gd name="T30" fmla="*/ 23 w 26"/>
                <a:gd name="T31" fmla="*/ 19 h 41"/>
                <a:gd name="T32" fmla="*/ 26 w 26"/>
                <a:gd name="T33" fmla="*/ 26 h 41"/>
                <a:gd name="T34" fmla="*/ 23 w 26"/>
                <a:gd name="T35" fmla="*/ 29 h 41"/>
                <a:gd name="T36" fmla="*/ 18 w 26"/>
                <a:gd name="T37" fmla="*/ 41 h 41"/>
                <a:gd name="T38" fmla="*/ 9 w 26"/>
                <a:gd name="T39" fmla="*/ 41 h 41"/>
                <a:gd name="T40" fmla="*/ 7 w 26"/>
                <a:gd name="T41" fmla="*/ 36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41"/>
                <a:gd name="T65" fmla="*/ 26 w 26"/>
                <a:gd name="T66" fmla="*/ 41 h 4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41">
                  <a:moveTo>
                    <a:pt x="7" y="36"/>
                  </a:moveTo>
                  <a:lnTo>
                    <a:pt x="7" y="29"/>
                  </a:lnTo>
                  <a:lnTo>
                    <a:pt x="9" y="26"/>
                  </a:lnTo>
                  <a:lnTo>
                    <a:pt x="9" y="22"/>
                  </a:lnTo>
                  <a:lnTo>
                    <a:pt x="2" y="19"/>
                  </a:lnTo>
                  <a:lnTo>
                    <a:pt x="0" y="19"/>
                  </a:lnTo>
                  <a:lnTo>
                    <a:pt x="0" y="10"/>
                  </a:lnTo>
                  <a:lnTo>
                    <a:pt x="2" y="5"/>
                  </a:lnTo>
                  <a:lnTo>
                    <a:pt x="14" y="3"/>
                  </a:lnTo>
                  <a:lnTo>
                    <a:pt x="16" y="0"/>
                  </a:lnTo>
                  <a:lnTo>
                    <a:pt x="18" y="0"/>
                  </a:lnTo>
                  <a:lnTo>
                    <a:pt x="23" y="3"/>
                  </a:lnTo>
                  <a:lnTo>
                    <a:pt x="23" y="5"/>
                  </a:lnTo>
                  <a:lnTo>
                    <a:pt x="18" y="10"/>
                  </a:lnTo>
                  <a:lnTo>
                    <a:pt x="16" y="12"/>
                  </a:lnTo>
                  <a:lnTo>
                    <a:pt x="23" y="19"/>
                  </a:lnTo>
                  <a:lnTo>
                    <a:pt x="26" y="26"/>
                  </a:lnTo>
                  <a:lnTo>
                    <a:pt x="23" y="29"/>
                  </a:lnTo>
                  <a:lnTo>
                    <a:pt x="18" y="41"/>
                  </a:lnTo>
                  <a:lnTo>
                    <a:pt x="9" y="41"/>
                  </a:lnTo>
                  <a:lnTo>
                    <a:pt x="7" y="3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7" name="Freeform 91">
              <a:extLst>
                <a:ext uri="{FF2B5EF4-FFF2-40B4-BE49-F238E27FC236}">
                  <a16:creationId xmlns:a16="http://schemas.microsoft.com/office/drawing/2014/main" id="{C34E39C9-4142-44D2-AD4D-3D41FBEA3AC4}"/>
                </a:ext>
              </a:extLst>
            </p:cNvPr>
            <p:cNvSpPr>
              <a:spLocks/>
            </p:cNvSpPr>
            <p:nvPr/>
          </p:nvSpPr>
          <p:spPr bwMode="gray">
            <a:xfrm rot="47099">
              <a:off x="728989" y="2455675"/>
              <a:ext cx="10687" cy="9649"/>
            </a:xfrm>
            <a:custGeom>
              <a:avLst/>
              <a:gdLst>
                <a:gd name="T0" fmla="*/ 4 w 23"/>
                <a:gd name="T1" fmla="*/ 21 h 21"/>
                <a:gd name="T2" fmla="*/ 4 w 23"/>
                <a:gd name="T3" fmla="*/ 14 h 21"/>
                <a:gd name="T4" fmla="*/ 0 w 23"/>
                <a:gd name="T5" fmla="*/ 7 h 21"/>
                <a:gd name="T6" fmla="*/ 0 w 23"/>
                <a:gd name="T7" fmla="*/ 4 h 21"/>
                <a:gd name="T8" fmla="*/ 7 w 23"/>
                <a:gd name="T9" fmla="*/ 0 h 21"/>
                <a:gd name="T10" fmla="*/ 14 w 23"/>
                <a:gd name="T11" fmla="*/ 0 h 21"/>
                <a:gd name="T12" fmla="*/ 21 w 23"/>
                <a:gd name="T13" fmla="*/ 4 h 21"/>
                <a:gd name="T14" fmla="*/ 21 w 23"/>
                <a:gd name="T15" fmla="*/ 7 h 21"/>
                <a:gd name="T16" fmla="*/ 23 w 23"/>
                <a:gd name="T17" fmla="*/ 7 h 21"/>
                <a:gd name="T18" fmla="*/ 21 w 23"/>
                <a:gd name="T19" fmla="*/ 11 h 21"/>
                <a:gd name="T20" fmla="*/ 16 w 23"/>
                <a:gd name="T21" fmla="*/ 18 h 21"/>
                <a:gd name="T22" fmla="*/ 16 w 23"/>
                <a:gd name="T23" fmla="*/ 21 h 21"/>
                <a:gd name="T24" fmla="*/ 4 w 23"/>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1"/>
                <a:gd name="T41" fmla="*/ 23 w 23"/>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1">
                  <a:moveTo>
                    <a:pt x="4" y="21"/>
                  </a:moveTo>
                  <a:lnTo>
                    <a:pt x="4" y="14"/>
                  </a:lnTo>
                  <a:lnTo>
                    <a:pt x="0" y="7"/>
                  </a:lnTo>
                  <a:lnTo>
                    <a:pt x="0" y="4"/>
                  </a:lnTo>
                  <a:lnTo>
                    <a:pt x="7" y="0"/>
                  </a:lnTo>
                  <a:lnTo>
                    <a:pt x="14" y="0"/>
                  </a:lnTo>
                  <a:lnTo>
                    <a:pt x="21" y="4"/>
                  </a:lnTo>
                  <a:lnTo>
                    <a:pt x="21" y="7"/>
                  </a:lnTo>
                  <a:lnTo>
                    <a:pt x="23" y="7"/>
                  </a:lnTo>
                  <a:lnTo>
                    <a:pt x="21" y="11"/>
                  </a:lnTo>
                  <a:lnTo>
                    <a:pt x="16" y="18"/>
                  </a:lnTo>
                  <a:lnTo>
                    <a:pt x="16" y="21"/>
                  </a:lnTo>
                  <a:lnTo>
                    <a:pt x="4" y="2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8" name="Freeform 92">
              <a:extLst>
                <a:ext uri="{FF2B5EF4-FFF2-40B4-BE49-F238E27FC236}">
                  <a16:creationId xmlns:a16="http://schemas.microsoft.com/office/drawing/2014/main" id="{8929BD68-5229-44A4-95E0-3A81425FA0D8}"/>
                </a:ext>
              </a:extLst>
            </p:cNvPr>
            <p:cNvSpPr>
              <a:spLocks/>
            </p:cNvSpPr>
            <p:nvPr/>
          </p:nvSpPr>
          <p:spPr bwMode="gray">
            <a:xfrm rot="47099">
              <a:off x="740461" y="2459686"/>
              <a:ext cx="9796" cy="17367"/>
            </a:xfrm>
            <a:custGeom>
              <a:avLst/>
              <a:gdLst>
                <a:gd name="T0" fmla="*/ 8 w 22"/>
                <a:gd name="T1" fmla="*/ 37 h 37"/>
                <a:gd name="T2" fmla="*/ 8 w 22"/>
                <a:gd name="T3" fmla="*/ 30 h 37"/>
                <a:gd name="T4" fmla="*/ 5 w 22"/>
                <a:gd name="T5" fmla="*/ 30 h 37"/>
                <a:gd name="T6" fmla="*/ 5 w 22"/>
                <a:gd name="T7" fmla="*/ 21 h 37"/>
                <a:gd name="T8" fmla="*/ 0 w 22"/>
                <a:gd name="T9" fmla="*/ 21 h 37"/>
                <a:gd name="T10" fmla="*/ 5 w 22"/>
                <a:gd name="T11" fmla="*/ 16 h 37"/>
                <a:gd name="T12" fmla="*/ 5 w 22"/>
                <a:gd name="T13" fmla="*/ 14 h 37"/>
                <a:gd name="T14" fmla="*/ 8 w 22"/>
                <a:gd name="T15" fmla="*/ 11 h 37"/>
                <a:gd name="T16" fmla="*/ 8 w 22"/>
                <a:gd name="T17" fmla="*/ 4 h 37"/>
                <a:gd name="T18" fmla="*/ 12 w 22"/>
                <a:gd name="T19" fmla="*/ 4 h 37"/>
                <a:gd name="T20" fmla="*/ 12 w 22"/>
                <a:gd name="T21" fmla="*/ 0 h 37"/>
                <a:gd name="T22" fmla="*/ 15 w 22"/>
                <a:gd name="T23" fmla="*/ 7 h 37"/>
                <a:gd name="T24" fmla="*/ 15 w 22"/>
                <a:gd name="T25" fmla="*/ 16 h 37"/>
                <a:gd name="T26" fmla="*/ 17 w 22"/>
                <a:gd name="T27" fmla="*/ 16 h 37"/>
                <a:gd name="T28" fmla="*/ 17 w 22"/>
                <a:gd name="T29" fmla="*/ 21 h 37"/>
                <a:gd name="T30" fmla="*/ 22 w 22"/>
                <a:gd name="T31" fmla="*/ 21 h 37"/>
                <a:gd name="T32" fmla="*/ 22 w 22"/>
                <a:gd name="T33" fmla="*/ 23 h 37"/>
                <a:gd name="T34" fmla="*/ 17 w 22"/>
                <a:gd name="T35" fmla="*/ 30 h 37"/>
                <a:gd name="T36" fmla="*/ 12 w 22"/>
                <a:gd name="T37" fmla="*/ 37 h 37"/>
                <a:gd name="T38" fmla="*/ 8 w 22"/>
                <a:gd name="T39" fmla="*/ 37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7"/>
                <a:gd name="T62" fmla="*/ 22 w 22"/>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7">
                  <a:moveTo>
                    <a:pt x="8" y="37"/>
                  </a:moveTo>
                  <a:lnTo>
                    <a:pt x="8" y="30"/>
                  </a:lnTo>
                  <a:lnTo>
                    <a:pt x="5" y="30"/>
                  </a:lnTo>
                  <a:lnTo>
                    <a:pt x="5" y="21"/>
                  </a:lnTo>
                  <a:lnTo>
                    <a:pt x="0" y="21"/>
                  </a:lnTo>
                  <a:lnTo>
                    <a:pt x="5" y="16"/>
                  </a:lnTo>
                  <a:lnTo>
                    <a:pt x="5" y="14"/>
                  </a:lnTo>
                  <a:lnTo>
                    <a:pt x="8" y="11"/>
                  </a:lnTo>
                  <a:lnTo>
                    <a:pt x="8" y="4"/>
                  </a:lnTo>
                  <a:lnTo>
                    <a:pt x="12" y="4"/>
                  </a:lnTo>
                  <a:lnTo>
                    <a:pt x="12" y="0"/>
                  </a:lnTo>
                  <a:lnTo>
                    <a:pt x="15" y="7"/>
                  </a:lnTo>
                  <a:lnTo>
                    <a:pt x="15" y="16"/>
                  </a:lnTo>
                  <a:lnTo>
                    <a:pt x="17" y="16"/>
                  </a:lnTo>
                  <a:lnTo>
                    <a:pt x="17" y="21"/>
                  </a:lnTo>
                  <a:lnTo>
                    <a:pt x="22" y="21"/>
                  </a:lnTo>
                  <a:lnTo>
                    <a:pt x="22" y="23"/>
                  </a:lnTo>
                  <a:lnTo>
                    <a:pt x="17" y="30"/>
                  </a:lnTo>
                  <a:lnTo>
                    <a:pt x="12" y="37"/>
                  </a:lnTo>
                  <a:lnTo>
                    <a:pt x="8" y="3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09" name="Freeform 93">
              <a:extLst>
                <a:ext uri="{FF2B5EF4-FFF2-40B4-BE49-F238E27FC236}">
                  <a16:creationId xmlns:a16="http://schemas.microsoft.com/office/drawing/2014/main" id="{0C5CD267-78DE-40EB-959E-989DEA07FF02}"/>
                </a:ext>
              </a:extLst>
            </p:cNvPr>
            <p:cNvSpPr>
              <a:spLocks/>
            </p:cNvSpPr>
            <p:nvPr/>
          </p:nvSpPr>
          <p:spPr bwMode="gray">
            <a:xfrm rot="47099">
              <a:off x="349764" y="2183165"/>
              <a:ext cx="6235" cy="3860"/>
            </a:xfrm>
            <a:custGeom>
              <a:avLst/>
              <a:gdLst>
                <a:gd name="T0" fmla="*/ 15 w 15"/>
                <a:gd name="T1" fmla="*/ 8 h 8"/>
                <a:gd name="T2" fmla="*/ 8 w 15"/>
                <a:gd name="T3" fmla="*/ 8 h 8"/>
                <a:gd name="T4" fmla="*/ 5 w 15"/>
                <a:gd name="T5" fmla="*/ 5 h 8"/>
                <a:gd name="T6" fmla="*/ 0 w 15"/>
                <a:gd name="T7" fmla="*/ 5 h 8"/>
                <a:gd name="T8" fmla="*/ 0 w 15"/>
                <a:gd name="T9" fmla="*/ 0 h 8"/>
                <a:gd name="T10" fmla="*/ 8 w 15"/>
                <a:gd name="T11" fmla="*/ 0 h 8"/>
                <a:gd name="T12" fmla="*/ 8 w 15"/>
                <a:gd name="T13" fmla="*/ 5 h 8"/>
                <a:gd name="T14" fmla="*/ 10 w 15"/>
                <a:gd name="T15" fmla="*/ 5 h 8"/>
                <a:gd name="T16" fmla="*/ 15 w 15"/>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8"/>
                <a:gd name="T29" fmla="*/ 15 w 1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8">
                  <a:moveTo>
                    <a:pt x="15" y="8"/>
                  </a:moveTo>
                  <a:lnTo>
                    <a:pt x="8" y="8"/>
                  </a:lnTo>
                  <a:lnTo>
                    <a:pt x="5" y="5"/>
                  </a:lnTo>
                  <a:lnTo>
                    <a:pt x="0" y="5"/>
                  </a:lnTo>
                  <a:lnTo>
                    <a:pt x="0" y="0"/>
                  </a:lnTo>
                  <a:lnTo>
                    <a:pt x="8" y="0"/>
                  </a:lnTo>
                  <a:lnTo>
                    <a:pt x="8" y="5"/>
                  </a:lnTo>
                  <a:lnTo>
                    <a:pt x="10" y="5"/>
                  </a:lnTo>
                  <a:lnTo>
                    <a:pt x="15" y="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0" name="Freeform 94">
              <a:extLst>
                <a:ext uri="{FF2B5EF4-FFF2-40B4-BE49-F238E27FC236}">
                  <a16:creationId xmlns:a16="http://schemas.microsoft.com/office/drawing/2014/main" id="{912E17D9-8E1F-4292-AABD-CEA325AB5575}"/>
                </a:ext>
              </a:extLst>
            </p:cNvPr>
            <p:cNvSpPr>
              <a:spLocks/>
            </p:cNvSpPr>
            <p:nvPr/>
          </p:nvSpPr>
          <p:spPr bwMode="gray">
            <a:xfrm rot="47099">
              <a:off x="302343" y="2133311"/>
              <a:ext cx="7125" cy="4824"/>
            </a:xfrm>
            <a:custGeom>
              <a:avLst/>
              <a:gdLst>
                <a:gd name="T0" fmla="*/ 8 w 15"/>
                <a:gd name="T1" fmla="*/ 0 h 10"/>
                <a:gd name="T2" fmla="*/ 12 w 15"/>
                <a:gd name="T3" fmla="*/ 3 h 10"/>
                <a:gd name="T4" fmla="*/ 15 w 15"/>
                <a:gd name="T5" fmla="*/ 7 h 10"/>
                <a:gd name="T6" fmla="*/ 15 w 15"/>
                <a:gd name="T7" fmla="*/ 10 h 10"/>
                <a:gd name="T8" fmla="*/ 12 w 15"/>
                <a:gd name="T9" fmla="*/ 10 h 10"/>
                <a:gd name="T10" fmla="*/ 12 w 15"/>
                <a:gd name="T11" fmla="*/ 7 h 10"/>
                <a:gd name="T12" fmla="*/ 8 w 15"/>
                <a:gd name="T13" fmla="*/ 7 h 10"/>
                <a:gd name="T14" fmla="*/ 5 w 15"/>
                <a:gd name="T15" fmla="*/ 3 h 10"/>
                <a:gd name="T16" fmla="*/ 0 w 15"/>
                <a:gd name="T17" fmla="*/ 0 h 10"/>
                <a:gd name="T18" fmla="*/ 8 w 15"/>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0"/>
                <a:gd name="T32" fmla="*/ 15 w 15"/>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0">
                  <a:moveTo>
                    <a:pt x="8" y="0"/>
                  </a:moveTo>
                  <a:lnTo>
                    <a:pt x="12" y="3"/>
                  </a:lnTo>
                  <a:lnTo>
                    <a:pt x="15" y="7"/>
                  </a:lnTo>
                  <a:lnTo>
                    <a:pt x="15" y="10"/>
                  </a:lnTo>
                  <a:lnTo>
                    <a:pt x="12" y="10"/>
                  </a:lnTo>
                  <a:lnTo>
                    <a:pt x="12" y="7"/>
                  </a:lnTo>
                  <a:lnTo>
                    <a:pt x="8" y="7"/>
                  </a:lnTo>
                  <a:lnTo>
                    <a:pt x="5" y="3"/>
                  </a:lnTo>
                  <a:lnTo>
                    <a:pt x="0" y="0"/>
                  </a:lnTo>
                  <a:lnTo>
                    <a:pt x="8"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1" name="Freeform 95">
              <a:extLst>
                <a:ext uri="{FF2B5EF4-FFF2-40B4-BE49-F238E27FC236}">
                  <a16:creationId xmlns:a16="http://schemas.microsoft.com/office/drawing/2014/main" id="{4557855C-FAEF-441F-9F8A-2DAC53BD4E64}"/>
                </a:ext>
              </a:extLst>
            </p:cNvPr>
            <p:cNvSpPr>
              <a:spLocks/>
            </p:cNvSpPr>
            <p:nvPr/>
          </p:nvSpPr>
          <p:spPr bwMode="gray">
            <a:xfrm rot="47099">
              <a:off x="337409" y="2174348"/>
              <a:ext cx="11578" cy="4824"/>
            </a:xfrm>
            <a:custGeom>
              <a:avLst/>
              <a:gdLst>
                <a:gd name="T0" fmla="*/ 24 w 24"/>
                <a:gd name="T1" fmla="*/ 7 h 9"/>
                <a:gd name="T2" fmla="*/ 24 w 24"/>
                <a:gd name="T3" fmla="*/ 9 h 9"/>
                <a:gd name="T4" fmla="*/ 19 w 24"/>
                <a:gd name="T5" fmla="*/ 9 h 9"/>
                <a:gd name="T6" fmla="*/ 24 w 24"/>
                <a:gd name="T7" fmla="*/ 7 h 9"/>
                <a:gd name="T8" fmla="*/ 24 w 24"/>
                <a:gd name="T9" fmla="*/ 2 h 9"/>
                <a:gd name="T10" fmla="*/ 19 w 24"/>
                <a:gd name="T11" fmla="*/ 2 h 9"/>
                <a:gd name="T12" fmla="*/ 17 w 24"/>
                <a:gd name="T13" fmla="*/ 7 h 9"/>
                <a:gd name="T14" fmla="*/ 17 w 24"/>
                <a:gd name="T15" fmla="*/ 9 h 9"/>
                <a:gd name="T16" fmla="*/ 15 w 24"/>
                <a:gd name="T17" fmla="*/ 9 h 9"/>
                <a:gd name="T18" fmla="*/ 15 w 24"/>
                <a:gd name="T19" fmla="*/ 7 h 9"/>
                <a:gd name="T20" fmla="*/ 8 w 24"/>
                <a:gd name="T21" fmla="*/ 7 h 9"/>
                <a:gd name="T22" fmla="*/ 3 w 24"/>
                <a:gd name="T23" fmla="*/ 9 h 9"/>
                <a:gd name="T24" fmla="*/ 0 w 24"/>
                <a:gd name="T25" fmla="*/ 9 h 9"/>
                <a:gd name="T26" fmla="*/ 0 w 24"/>
                <a:gd name="T27" fmla="*/ 2 h 9"/>
                <a:gd name="T28" fmla="*/ 8 w 24"/>
                <a:gd name="T29" fmla="*/ 2 h 9"/>
                <a:gd name="T30" fmla="*/ 10 w 24"/>
                <a:gd name="T31" fmla="*/ 0 h 9"/>
                <a:gd name="T32" fmla="*/ 15 w 24"/>
                <a:gd name="T33" fmla="*/ 0 h 9"/>
                <a:gd name="T34" fmla="*/ 17 w 24"/>
                <a:gd name="T35" fmla="*/ 2 h 9"/>
                <a:gd name="T36" fmla="*/ 24 w 24"/>
                <a:gd name="T37" fmla="*/ 2 h 9"/>
                <a:gd name="T38" fmla="*/ 24 w 24"/>
                <a:gd name="T39" fmla="*/ 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9"/>
                <a:gd name="T62" fmla="*/ 24 w 24"/>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9">
                  <a:moveTo>
                    <a:pt x="24" y="7"/>
                  </a:moveTo>
                  <a:lnTo>
                    <a:pt x="24" y="9"/>
                  </a:lnTo>
                  <a:lnTo>
                    <a:pt x="19" y="9"/>
                  </a:lnTo>
                  <a:lnTo>
                    <a:pt x="24" y="7"/>
                  </a:lnTo>
                  <a:lnTo>
                    <a:pt x="24" y="2"/>
                  </a:lnTo>
                  <a:lnTo>
                    <a:pt x="19" y="2"/>
                  </a:lnTo>
                  <a:lnTo>
                    <a:pt x="17" y="7"/>
                  </a:lnTo>
                  <a:lnTo>
                    <a:pt x="17" y="9"/>
                  </a:lnTo>
                  <a:lnTo>
                    <a:pt x="15" y="9"/>
                  </a:lnTo>
                  <a:lnTo>
                    <a:pt x="15" y="7"/>
                  </a:lnTo>
                  <a:lnTo>
                    <a:pt x="8" y="7"/>
                  </a:lnTo>
                  <a:lnTo>
                    <a:pt x="3" y="9"/>
                  </a:lnTo>
                  <a:lnTo>
                    <a:pt x="0" y="9"/>
                  </a:lnTo>
                  <a:lnTo>
                    <a:pt x="0" y="2"/>
                  </a:lnTo>
                  <a:lnTo>
                    <a:pt x="8" y="2"/>
                  </a:lnTo>
                  <a:lnTo>
                    <a:pt x="10" y="0"/>
                  </a:lnTo>
                  <a:lnTo>
                    <a:pt x="15" y="0"/>
                  </a:lnTo>
                  <a:lnTo>
                    <a:pt x="17" y="2"/>
                  </a:lnTo>
                  <a:lnTo>
                    <a:pt x="24" y="2"/>
                  </a:lnTo>
                  <a:lnTo>
                    <a:pt x="2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2" name="Freeform 96">
              <a:extLst>
                <a:ext uri="{FF2B5EF4-FFF2-40B4-BE49-F238E27FC236}">
                  <a16:creationId xmlns:a16="http://schemas.microsoft.com/office/drawing/2014/main" id="{C6ED199B-3500-4D17-A6AB-FD36CD3AB1D8}"/>
                </a:ext>
              </a:extLst>
            </p:cNvPr>
            <p:cNvSpPr>
              <a:spLocks/>
            </p:cNvSpPr>
            <p:nvPr/>
          </p:nvSpPr>
          <p:spPr bwMode="gray">
            <a:xfrm rot="47099">
              <a:off x="346254" y="2179270"/>
              <a:ext cx="8015" cy="3860"/>
            </a:xfrm>
            <a:custGeom>
              <a:avLst/>
              <a:gdLst>
                <a:gd name="T0" fmla="*/ 17 w 17"/>
                <a:gd name="T1" fmla="*/ 7 h 9"/>
                <a:gd name="T2" fmla="*/ 15 w 17"/>
                <a:gd name="T3" fmla="*/ 7 h 9"/>
                <a:gd name="T4" fmla="*/ 15 w 17"/>
                <a:gd name="T5" fmla="*/ 9 h 9"/>
                <a:gd name="T6" fmla="*/ 5 w 17"/>
                <a:gd name="T7" fmla="*/ 9 h 9"/>
                <a:gd name="T8" fmla="*/ 5 w 17"/>
                <a:gd name="T9" fmla="*/ 7 h 9"/>
                <a:gd name="T10" fmla="*/ 0 w 17"/>
                <a:gd name="T11" fmla="*/ 2 h 9"/>
                <a:gd name="T12" fmla="*/ 5 w 17"/>
                <a:gd name="T13" fmla="*/ 2 h 9"/>
                <a:gd name="T14" fmla="*/ 7 w 17"/>
                <a:gd name="T15" fmla="*/ 0 h 9"/>
                <a:gd name="T16" fmla="*/ 12 w 17"/>
                <a:gd name="T17" fmla="*/ 0 h 9"/>
                <a:gd name="T18" fmla="*/ 17 w 17"/>
                <a:gd name="T19" fmla="*/ 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9"/>
                <a:gd name="T32" fmla="*/ 17 w 17"/>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9">
                  <a:moveTo>
                    <a:pt x="17" y="7"/>
                  </a:moveTo>
                  <a:lnTo>
                    <a:pt x="15" y="7"/>
                  </a:lnTo>
                  <a:lnTo>
                    <a:pt x="15" y="9"/>
                  </a:lnTo>
                  <a:lnTo>
                    <a:pt x="5" y="9"/>
                  </a:lnTo>
                  <a:lnTo>
                    <a:pt x="5" y="7"/>
                  </a:lnTo>
                  <a:lnTo>
                    <a:pt x="0" y="2"/>
                  </a:lnTo>
                  <a:lnTo>
                    <a:pt x="5" y="2"/>
                  </a:lnTo>
                  <a:lnTo>
                    <a:pt x="7" y="0"/>
                  </a:lnTo>
                  <a:lnTo>
                    <a:pt x="12" y="0"/>
                  </a:lnTo>
                  <a:lnTo>
                    <a:pt x="1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3" name="Freeform 97">
              <a:extLst>
                <a:ext uri="{FF2B5EF4-FFF2-40B4-BE49-F238E27FC236}">
                  <a16:creationId xmlns:a16="http://schemas.microsoft.com/office/drawing/2014/main" id="{0E91D8B4-339E-4999-8AF2-2D252724B7FF}"/>
                </a:ext>
              </a:extLst>
            </p:cNvPr>
            <p:cNvSpPr>
              <a:spLocks/>
            </p:cNvSpPr>
            <p:nvPr/>
          </p:nvSpPr>
          <p:spPr bwMode="gray">
            <a:xfrm rot="47099">
              <a:off x="145906" y="1913071"/>
              <a:ext cx="3563" cy="7718"/>
            </a:xfrm>
            <a:custGeom>
              <a:avLst/>
              <a:gdLst>
                <a:gd name="T0" fmla="*/ 0 w 9"/>
                <a:gd name="T1" fmla="*/ 15 h 15"/>
                <a:gd name="T2" fmla="*/ 0 w 9"/>
                <a:gd name="T3" fmla="*/ 10 h 15"/>
                <a:gd name="T4" fmla="*/ 2 w 9"/>
                <a:gd name="T5" fmla="*/ 3 h 15"/>
                <a:gd name="T6" fmla="*/ 2 w 9"/>
                <a:gd name="T7" fmla="*/ 0 h 15"/>
                <a:gd name="T8" fmla="*/ 2 w 9"/>
                <a:gd name="T9" fmla="*/ 3 h 15"/>
                <a:gd name="T10" fmla="*/ 7 w 9"/>
                <a:gd name="T11" fmla="*/ 7 h 15"/>
                <a:gd name="T12" fmla="*/ 7 w 9"/>
                <a:gd name="T13" fmla="*/ 10 h 15"/>
                <a:gd name="T14" fmla="*/ 9 w 9"/>
                <a:gd name="T15" fmla="*/ 10 h 15"/>
                <a:gd name="T16" fmla="*/ 9 w 9"/>
                <a:gd name="T17" fmla="*/ 15 h 15"/>
                <a:gd name="T18" fmla="*/ 0 w 9"/>
                <a:gd name="T19" fmla="*/ 15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5"/>
                <a:gd name="T32" fmla="*/ 9 w 9"/>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5">
                  <a:moveTo>
                    <a:pt x="0" y="15"/>
                  </a:moveTo>
                  <a:lnTo>
                    <a:pt x="0" y="10"/>
                  </a:lnTo>
                  <a:lnTo>
                    <a:pt x="2" y="3"/>
                  </a:lnTo>
                  <a:lnTo>
                    <a:pt x="2" y="0"/>
                  </a:lnTo>
                  <a:lnTo>
                    <a:pt x="2" y="3"/>
                  </a:lnTo>
                  <a:lnTo>
                    <a:pt x="7" y="7"/>
                  </a:lnTo>
                  <a:lnTo>
                    <a:pt x="7" y="10"/>
                  </a:lnTo>
                  <a:lnTo>
                    <a:pt x="9" y="10"/>
                  </a:lnTo>
                  <a:lnTo>
                    <a:pt x="9" y="15"/>
                  </a:lnTo>
                  <a:lnTo>
                    <a:pt x="0" y="1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4" name="Freeform 98">
              <a:extLst>
                <a:ext uri="{FF2B5EF4-FFF2-40B4-BE49-F238E27FC236}">
                  <a16:creationId xmlns:a16="http://schemas.microsoft.com/office/drawing/2014/main" id="{19DEB593-78A6-4697-BE37-57588304B73F}"/>
                </a:ext>
              </a:extLst>
            </p:cNvPr>
            <p:cNvSpPr>
              <a:spLocks/>
            </p:cNvSpPr>
            <p:nvPr/>
          </p:nvSpPr>
          <p:spPr bwMode="gray">
            <a:xfrm rot="47099">
              <a:off x="735369" y="2444171"/>
              <a:ext cx="8906" cy="11578"/>
            </a:xfrm>
            <a:custGeom>
              <a:avLst/>
              <a:gdLst>
                <a:gd name="T0" fmla="*/ 16 w 19"/>
                <a:gd name="T1" fmla="*/ 4 h 26"/>
                <a:gd name="T2" fmla="*/ 16 w 19"/>
                <a:gd name="T3" fmla="*/ 16 h 26"/>
                <a:gd name="T4" fmla="*/ 19 w 19"/>
                <a:gd name="T5" fmla="*/ 21 h 26"/>
                <a:gd name="T6" fmla="*/ 19 w 19"/>
                <a:gd name="T7" fmla="*/ 23 h 26"/>
                <a:gd name="T8" fmla="*/ 16 w 19"/>
                <a:gd name="T9" fmla="*/ 23 h 26"/>
                <a:gd name="T10" fmla="*/ 9 w 19"/>
                <a:gd name="T11" fmla="*/ 26 h 26"/>
                <a:gd name="T12" fmla="*/ 2 w 19"/>
                <a:gd name="T13" fmla="*/ 26 h 26"/>
                <a:gd name="T14" fmla="*/ 0 w 19"/>
                <a:gd name="T15" fmla="*/ 23 h 26"/>
                <a:gd name="T16" fmla="*/ 0 w 19"/>
                <a:gd name="T17" fmla="*/ 14 h 26"/>
                <a:gd name="T18" fmla="*/ 7 w 19"/>
                <a:gd name="T19" fmla="*/ 14 h 26"/>
                <a:gd name="T20" fmla="*/ 7 w 19"/>
                <a:gd name="T21" fmla="*/ 7 h 26"/>
                <a:gd name="T22" fmla="*/ 9 w 19"/>
                <a:gd name="T23" fmla="*/ 4 h 26"/>
                <a:gd name="T24" fmla="*/ 11 w 19"/>
                <a:gd name="T25" fmla="*/ 0 h 26"/>
                <a:gd name="T26" fmla="*/ 16 w 19"/>
                <a:gd name="T27" fmla="*/ 0 h 26"/>
                <a:gd name="T28" fmla="*/ 16 w 19"/>
                <a:gd name="T29" fmla="*/ 4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6"/>
                <a:gd name="T47" fmla="*/ 19 w 1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6">
                  <a:moveTo>
                    <a:pt x="16" y="4"/>
                  </a:moveTo>
                  <a:lnTo>
                    <a:pt x="16" y="16"/>
                  </a:lnTo>
                  <a:lnTo>
                    <a:pt x="19" y="21"/>
                  </a:lnTo>
                  <a:lnTo>
                    <a:pt x="19" y="23"/>
                  </a:lnTo>
                  <a:lnTo>
                    <a:pt x="16" y="23"/>
                  </a:lnTo>
                  <a:lnTo>
                    <a:pt x="9" y="26"/>
                  </a:lnTo>
                  <a:lnTo>
                    <a:pt x="2" y="26"/>
                  </a:lnTo>
                  <a:lnTo>
                    <a:pt x="0" y="23"/>
                  </a:lnTo>
                  <a:lnTo>
                    <a:pt x="0" y="14"/>
                  </a:lnTo>
                  <a:lnTo>
                    <a:pt x="7" y="14"/>
                  </a:lnTo>
                  <a:lnTo>
                    <a:pt x="7" y="7"/>
                  </a:lnTo>
                  <a:lnTo>
                    <a:pt x="9" y="4"/>
                  </a:lnTo>
                  <a:lnTo>
                    <a:pt x="11" y="0"/>
                  </a:lnTo>
                  <a:lnTo>
                    <a:pt x="16" y="0"/>
                  </a:lnTo>
                  <a:lnTo>
                    <a:pt x="16"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5" name="Freeform 99">
              <a:extLst>
                <a:ext uri="{FF2B5EF4-FFF2-40B4-BE49-F238E27FC236}">
                  <a16:creationId xmlns:a16="http://schemas.microsoft.com/office/drawing/2014/main" id="{DBBB205E-FC2C-48B8-B502-F8C10DE2E096}"/>
                </a:ext>
              </a:extLst>
            </p:cNvPr>
            <p:cNvSpPr>
              <a:spLocks/>
            </p:cNvSpPr>
            <p:nvPr/>
          </p:nvSpPr>
          <p:spPr bwMode="gray">
            <a:xfrm rot="47099">
              <a:off x="698950" y="2424491"/>
              <a:ext cx="25828" cy="36663"/>
            </a:xfrm>
            <a:custGeom>
              <a:avLst/>
              <a:gdLst>
                <a:gd name="T0" fmla="*/ 23 w 54"/>
                <a:gd name="T1" fmla="*/ 57 h 78"/>
                <a:gd name="T2" fmla="*/ 23 w 54"/>
                <a:gd name="T3" fmla="*/ 57 h 78"/>
                <a:gd name="T4" fmla="*/ 21 w 54"/>
                <a:gd name="T5" fmla="*/ 62 h 78"/>
                <a:gd name="T6" fmla="*/ 23 w 54"/>
                <a:gd name="T7" fmla="*/ 64 h 78"/>
                <a:gd name="T8" fmla="*/ 14 w 54"/>
                <a:gd name="T9" fmla="*/ 74 h 78"/>
                <a:gd name="T10" fmla="*/ 9 w 54"/>
                <a:gd name="T11" fmla="*/ 71 h 78"/>
                <a:gd name="T12" fmla="*/ 16 w 54"/>
                <a:gd name="T13" fmla="*/ 57 h 78"/>
                <a:gd name="T14" fmla="*/ 16 w 54"/>
                <a:gd name="T15" fmla="*/ 55 h 78"/>
                <a:gd name="T16" fmla="*/ 7 w 54"/>
                <a:gd name="T17" fmla="*/ 71 h 78"/>
                <a:gd name="T18" fmla="*/ 0 w 54"/>
                <a:gd name="T19" fmla="*/ 74 h 78"/>
                <a:gd name="T20" fmla="*/ 7 w 54"/>
                <a:gd name="T21" fmla="*/ 55 h 78"/>
                <a:gd name="T22" fmla="*/ 9 w 54"/>
                <a:gd name="T23" fmla="*/ 48 h 78"/>
                <a:gd name="T24" fmla="*/ 21 w 54"/>
                <a:gd name="T25" fmla="*/ 48 h 78"/>
                <a:gd name="T26" fmla="*/ 23 w 54"/>
                <a:gd name="T27" fmla="*/ 50 h 78"/>
                <a:gd name="T28" fmla="*/ 28 w 54"/>
                <a:gd name="T29" fmla="*/ 38 h 78"/>
                <a:gd name="T30" fmla="*/ 23 w 54"/>
                <a:gd name="T31" fmla="*/ 33 h 78"/>
                <a:gd name="T32" fmla="*/ 21 w 54"/>
                <a:gd name="T33" fmla="*/ 15 h 78"/>
                <a:gd name="T34" fmla="*/ 28 w 54"/>
                <a:gd name="T35" fmla="*/ 5 h 78"/>
                <a:gd name="T36" fmla="*/ 33 w 54"/>
                <a:gd name="T37" fmla="*/ 0 h 78"/>
                <a:gd name="T38" fmla="*/ 38 w 54"/>
                <a:gd name="T39" fmla="*/ 5 h 78"/>
                <a:gd name="T40" fmla="*/ 40 w 54"/>
                <a:gd name="T41" fmla="*/ 10 h 78"/>
                <a:gd name="T42" fmla="*/ 38 w 54"/>
                <a:gd name="T43" fmla="*/ 5 h 78"/>
                <a:gd name="T44" fmla="*/ 40 w 54"/>
                <a:gd name="T45" fmla="*/ 0 h 78"/>
                <a:gd name="T46" fmla="*/ 45 w 54"/>
                <a:gd name="T47" fmla="*/ 7 h 78"/>
                <a:gd name="T48" fmla="*/ 40 w 54"/>
                <a:gd name="T49" fmla="*/ 24 h 78"/>
                <a:gd name="T50" fmla="*/ 33 w 54"/>
                <a:gd name="T51" fmla="*/ 29 h 78"/>
                <a:gd name="T52" fmla="*/ 40 w 54"/>
                <a:gd name="T53" fmla="*/ 29 h 78"/>
                <a:gd name="T54" fmla="*/ 45 w 54"/>
                <a:gd name="T55" fmla="*/ 24 h 78"/>
                <a:gd name="T56" fmla="*/ 47 w 54"/>
                <a:gd name="T57" fmla="*/ 22 h 78"/>
                <a:gd name="T58" fmla="*/ 54 w 54"/>
                <a:gd name="T59" fmla="*/ 24 h 78"/>
                <a:gd name="T60" fmla="*/ 47 w 54"/>
                <a:gd name="T61" fmla="*/ 38 h 78"/>
                <a:gd name="T62" fmla="*/ 40 w 54"/>
                <a:gd name="T63" fmla="*/ 41 h 78"/>
                <a:gd name="T64" fmla="*/ 38 w 54"/>
                <a:gd name="T65" fmla="*/ 33 h 78"/>
                <a:gd name="T66" fmla="*/ 30 w 54"/>
                <a:gd name="T67" fmla="*/ 48 h 78"/>
                <a:gd name="T68" fmla="*/ 28 w 54"/>
                <a:gd name="T69" fmla="*/ 62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
                <a:gd name="T106" fmla="*/ 0 h 78"/>
                <a:gd name="T107" fmla="*/ 54 w 54"/>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 h="78">
                  <a:moveTo>
                    <a:pt x="28" y="62"/>
                  </a:moveTo>
                  <a:lnTo>
                    <a:pt x="23" y="57"/>
                  </a:lnTo>
                  <a:lnTo>
                    <a:pt x="23" y="50"/>
                  </a:lnTo>
                  <a:lnTo>
                    <a:pt x="23" y="57"/>
                  </a:lnTo>
                  <a:lnTo>
                    <a:pt x="21" y="57"/>
                  </a:lnTo>
                  <a:lnTo>
                    <a:pt x="21" y="62"/>
                  </a:lnTo>
                  <a:lnTo>
                    <a:pt x="23" y="62"/>
                  </a:lnTo>
                  <a:lnTo>
                    <a:pt x="23" y="64"/>
                  </a:lnTo>
                  <a:lnTo>
                    <a:pt x="16" y="71"/>
                  </a:lnTo>
                  <a:lnTo>
                    <a:pt x="14" y="74"/>
                  </a:lnTo>
                  <a:lnTo>
                    <a:pt x="9" y="74"/>
                  </a:lnTo>
                  <a:lnTo>
                    <a:pt x="9" y="71"/>
                  </a:lnTo>
                  <a:lnTo>
                    <a:pt x="16" y="64"/>
                  </a:lnTo>
                  <a:lnTo>
                    <a:pt x="16" y="57"/>
                  </a:lnTo>
                  <a:lnTo>
                    <a:pt x="21" y="55"/>
                  </a:lnTo>
                  <a:lnTo>
                    <a:pt x="16" y="55"/>
                  </a:lnTo>
                  <a:lnTo>
                    <a:pt x="9" y="67"/>
                  </a:lnTo>
                  <a:lnTo>
                    <a:pt x="7" y="71"/>
                  </a:lnTo>
                  <a:lnTo>
                    <a:pt x="4" y="78"/>
                  </a:lnTo>
                  <a:lnTo>
                    <a:pt x="0" y="74"/>
                  </a:lnTo>
                  <a:lnTo>
                    <a:pt x="0" y="71"/>
                  </a:lnTo>
                  <a:lnTo>
                    <a:pt x="7" y="55"/>
                  </a:lnTo>
                  <a:lnTo>
                    <a:pt x="9" y="55"/>
                  </a:lnTo>
                  <a:lnTo>
                    <a:pt x="9" y="48"/>
                  </a:lnTo>
                  <a:lnTo>
                    <a:pt x="16" y="41"/>
                  </a:lnTo>
                  <a:lnTo>
                    <a:pt x="21" y="48"/>
                  </a:lnTo>
                  <a:lnTo>
                    <a:pt x="21" y="50"/>
                  </a:lnTo>
                  <a:lnTo>
                    <a:pt x="23" y="50"/>
                  </a:lnTo>
                  <a:lnTo>
                    <a:pt x="23" y="48"/>
                  </a:lnTo>
                  <a:lnTo>
                    <a:pt x="28" y="38"/>
                  </a:lnTo>
                  <a:lnTo>
                    <a:pt x="28" y="33"/>
                  </a:lnTo>
                  <a:lnTo>
                    <a:pt x="23" y="33"/>
                  </a:lnTo>
                  <a:lnTo>
                    <a:pt x="16" y="29"/>
                  </a:lnTo>
                  <a:lnTo>
                    <a:pt x="21" y="15"/>
                  </a:lnTo>
                  <a:lnTo>
                    <a:pt x="23" y="5"/>
                  </a:lnTo>
                  <a:lnTo>
                    <a:pt x="28" y="5"/>
                  </a:lnTo>
                  <a:lnTo>
                    <a:pt x="30" y="0"/>
                  </a:lnTo>
                  <a:lnTo>
                    <a:pt x="33" y="0"/>
                  </a:lnTo>
                  <a:lnTo>
                    <a:pt x="33" y="5"/>
                  </a:lnTo>
                  <a:lnTo>
                    <a:pt x="38" y="5"/>
                  </a:lnTo>
                  <a:lnTo>
                    <a:pt x="38" y="10"/>
                  </a:lnTo>
                  <a:lnTo>
                    <a:pt x="40" y="10"/>
                  </a:lnTo>
                  <a:lnTo>
                    <a:pt x="40" y="5"/>
                  </a:lnTo>
                  <a:lnTo>
                    <a:pt x="38" y="5"/>
                  </a:lnTo>
                  <a:lnTo>
                    <a:pt x="38" y="0"/>
                  </a:lnTo>
                  <a:lnTo>
                    <a:pt x="40" y="0"/>
                  </a:lnTo>
                  <a:lnTo>
                    <a:pt x="40" y="5"/>
                  </a:lnTo>
                  <a:lnTo>
                    <a:pt x="45" y="7"/>
                  </a:lnTo>
                  <a:lnTo>
                    <a:pt x="45" y="22"/>
                  </a:lnTo>
                  <a:lnTo>
                    <a:pt x="40" y="24"/>
                  </a:lnTo>
                  <a:lnTo>
                    <a:pt x="38" y="29"/>
                  </a:lnTo>
                  <a:lnTo>
                    <a:pt x="33" y="29"/>
                  </a:lnTo>
                  <a:lnTo>
                    <a:pt x="38" y="31"/>
                  </a:lnTo>
                  <a:lnTo>
                    <a:pt x="40" y="29"/>
                  </a:lnTo>
                  <a:lnTo>
                    <a:pt x="45" y="29"/>
                  </a:lnTo>
                  <a:lnTo>
                    <a:pt x="45" y="24"/>
                  </a:lnTo>
                  <a:lnTo>
                    <a:pt x="47" y="24"/>
                  </a:lnTo>
                  <a:lnTo>
                    <a:pt x="47" y="22"/>
                  </a:lnTo>
                  <a:lnTo>
                    <a:pt x="49" y="24"/>
                  </a:lnTo>
                  <a:lnTo>
                    <a:pt x="54" y="24"/>
                  </a:lnTo>
                  <a:lnTo>
                    <a:pt x="47" y="33"/>
                  </a:lnTo>
                  <a:lnTo>
                    <a:pt x="47" y="38"/>
                  </a:lnTo>
                  <a:lnTo>
                    <a:pt x="45" y="41"/>
                  </a:lnTo>
                  <a:lnTo>
                    <a:pt x="40" y="41"/>
                  </a:lnTo>
                  <a:lnTo>
                    <a:pt x="40" y="33"/>
                  </a:lnTo>
                  <a:lnTo>
                    <a:pt x="38" y="33"/>
                  </a:lnTo>
                  <a:lnTo>
                    <a:pt x="33" y="41"/>
                  </a:lnTo>
                  <a:lnTo>
                    <a:pt x="30" y="48"/>
                  </a:lnTo>
                  <a:lnTo>
                    <a:pt x="30" y="57"/>
                  </a:lnTo>
                  <a:lnTo>
                    <a:pt x="28" y="6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6" name="Freeform 100">
              <a:extLst>
                <a:ext uri="{FF2B5EF4-FFF2-40B4-BE49-F238E27FC236}">
                  <a16:creationId xmlns:a16="http://schemas.microsoft.com/office/drawing/2014/main" id="{BA13ACD2-8C97-46E8-8810-B9859184CDEF}"/>
                </a:ext>
              </a:extLst>
            </p:cNvPr>
            <p:cNvSpPr>
              <a:spLocks/>
            </p:cNvSpPr>
            <p:nvPr/>
          </p:nvSpPr>
          <p:spPr bwMode="gray">
            <a:xfrm rot="47099">
              <a:off x="720402" y="2421853"/>
              <a:ext cx="20484" cy="30874"/>
            </a:xfrm>
            <a:custGeom>
              <a:avLst/>
              <a:gdLst>
                <a:gd name="T0" fmla="*/ 44 w 44"/>
                <a:gd name="T1" fmla="*/ 31 h 69"/>
                <a:gd name="T2" fmla="*/ 44 w 44"/>
                <a:gd name="T3" fmla="*/ 40 h 69"/>
                <a:gd name="T4" fmla="*/ 40 w 44"/>
                <a:gd name="T5" fmla="*/ 52 h 69"/>
                <a:gd name="T6" fmla="*/ 40 w 44"/>
                <a:gd name="T7" fmla="*/ 57 h 69"/>
                <a:gd name="T8" fmla="*/ 35 w 44"/>
                <a:gd name="T9" fmla="*/ 57 h 69"/>
                <a:gd name="T10" fmla="*/ 33 w 44"/>
                <a:gd name="T11" fmla="*/ 62 h 69"/>
                <a:gd name="T12" fmla="*/ 28 w 44"/>
                <a:gd name="T13" fmla="*/ 52 h 69"/>
                <a:gd name="T14" fmla="*/ 28 w 44"/>
                <a:gd name="T15" fmla="*/ 38 h 69"/>
                <a:gd name="T16" fmla="*/ 26 w 44"/>
                <a:gd name="T17" fmla="*/ 36 h 69"/>
                <a:gd name="T18" fmla="*/ 23 w 44"/>
                <a:gd name="T19" fmla="*/ 40 h 69"/>
                <a:gd name="T20" fmla="*/ 23 w 44"/>
                <a:gd name="T21" fmla="*/ 45 h 69"/>
                <a:gd name="T22" fmla="*/ 26 w 44"/>
                <a:gd name="T23" fmla="*/ 55 h 69"/>
                <a:gd name="T24" fmla="*/ 28 w 44"/>
                <a:gd name="T25" fmla="*/ 55 h 69"/>
                <a:gd name="T26" fmla="*/ 28 w 44"/>
                <a:gd name="T27" fmla="*/ 57 h 69"/>
                <a:gd name="T28" fmla="*/ 26 w 44"/>
                <a:gd name="T29" fmla="*/ 62 h 69"/>
                <a:gd name="T30" fmla="*/ 26 w 44"/>
                <a:gd name="T31" fmla="*/ 64 h 69"/>
                <a:gd name="T32" fmla="*/ 23 w 44"/>
                <a:gd name="T33" fmla="*/ 69 h 69"/>
                <a:gd name="T34" fmla="*/ 19 w 44"/>
                <a:gd name="T35" fmla="*/ 69 h 69"/>
                <a:gd name="T36" fmla="*/ 11 w 44"/>
                <a:gd name="T37" fmla="*/ 64 h 69"/>
                <a:gd name="T38" fmla="*/ 9 w 44"/>
                <a:gd name="T39" fmla="*/ 62 h 69"/>
                <a:gd name="T40" fmla="*/ 4 w 44"/>
                <a:gd name="T41" fmla="*/ 62 h 69"/>
                <a:gd name="T42" fmla="*/ 2 w 44"/>
                <a:gd name="T43" fmla="*/ 64 h 69"/>
                <a:gd name="T44" fmla="*/ 0 w 44"/>
                <a:gd name="T45" fmla="*/ 62 h 69"/>
                <a:gd name="T46" fmla="*/ 0 w 44"/>
                <a:gd name="T47" fmla="*/ 52 h 69"/>
                <a:gd name="T48" fmla="*/ 4 w 44"/>
                <a:gd name="T49" fmla="*/ 48 h 69"/>
                <a:gd name="T50" fmla="*/ 4 w 44"/>
                <a:gd name="T51" fmla="*/ 45 h 69"/>
                <a:gd name="T52" fmla="*/ 2 w 44"/>
                <a:gd name="T53" fmla="*/ 40 h 69"/>
                <a:gd name="T54" fmla="*/ 9 w 44"/>
                <a:gd name="T55" fmla="*/ 36 h 69"/>
                <a:gd name="T56" fmla="*/ 9 w 44"/>
                <a:gd name="T57" fmla="*/ 31 h 69"/>
                <a:gd name="T58" fmla="*/ 11 w 44"/>
                <a:gd name="T59" fmla="*/ 29 h 69"/>
                <a:gd name="T60" fmla="*/ 9 w 44"/>
                <a:gd name="T61" fmla="*/ 29 h 69"/>
                <a:gd name="T62" fmla="*/ 4 w 44"/>
                <a:gd name="T63" fmla="*/ 22 h 69"/>
                <a:gd name="T64" fmla="*/ 4 w 44"/>
                <a:gd name="T65" fmla="*/ 17 h 69"/>
                <a:gd name="T66" fmla="*/ 9 w 44"/>
                <a:gd name="T67" fmla="*/ 22 h 69"/>
                <a:gd name="T68" fmla="*/ 11 w 44"/>
                <a:gd name="T69" fmla="*/ 22 h 69"/>
                <a:gd name="T70" fmla="*/ 9 w 44"/>
                <a:gd name="T71" fmla="*/ 14 h 69"/>
                <a:gd name="T72" fmla="*/ 4 w 44"/>
                <a:gd name="T73" fmla="*/ 5 h 69"/>
                <a:gd name="T74" fmla="*/ 4 w 44"/>
                <a:gd name="T75" fmla="*/ 0 h 69"/>
                <a:gd name="T76" fmla="*/ 11 w 44"/>
                <a:gd name="T77" fmla="*/ 0 h 69"/>
                <a:gd name="T78" fmla="*/ 16 w 44"/>
                <a:gd name="T79" fmla="*/ 5 h 69"/>
                <a:gd name="T80" fmla="*/ 19 w 44"/>
                <a:gd name="T81" fmla="*/ 7 h 69"/>
                <a:gd name="T82" fmla="*/ 23 w 44"/>
                <a:gd name="T83" fmla="*/ 12 h 69"/>
                <a:gd name="T84" fmla="*/ 28 w 44"/>
                <a:gd name="T85" fmla="*/ 14 h 69"/>
                <a:gd name="T86" fmla="*/ 28 w 44"/>
                <a:gd name="T87" fmla="*/ 17 h 69"/>
                <a:gd name="T88" fmla="*/ 35 w 44"/>
                <a:gd name="T89" fmla="*/ 22 h 69"/>
                <a:gd name="T90" fmla="*/ 42 w 44"/>
                <a:gd name="T91" fmla="*/ 24 h 69"/>
                <a:gd name="T92" fmla="*/ 44 w 44"/>
                <a:gd name="T93" fmla="*/ 29 h 69"/>
                <a:gd name="T94" fmla="*/ 44 w 44"/>
                <a:gd name="T95" fmla="*/ 31 h 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4"/>
                <a:gd name="T145" fmla="*/ 0 h 69"/>
                <a:gd name="T146" fmla="*/ 44 w 44"/>
                <a:gd name="T147" fmla="*/ 69 h 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4" h="69">
                  <a:moveTo>
                    <a:pt x="44" y="31"/>
                  </a:moveTo>
                  <a:lnTo>
                    <a:pt x="44" y="40"/>
                  </a:lnTo>
                  <a:lnTo>
                    <a:pt x="40" y="52"/>
                  </a:lnTo>
                  <a:lnTo>
                    <a:pt x="40" y="57"/>
                  </a:lnTo>
                  <a:lnTo>
                    <a:pt x="35" y="57"/>
                  </a:lnTo>
                  <a:lnTo>
                    <a:pt x="33" y="62"/>
                  </a:lnTo>
                  <a:lnTo>
                    <a:pt x="28" y="52"/>
                  </a:lnTo>
                  <a:lnTo>
                    <a:pt x="28" y="38"/>
                  </a:lnTo>
                  <a:lnTo>
                    <a:pt x="26" y="36"/>
                  </a:lnTo>
                  <a:lnTo>
                    <a:pt x="23" y="40"/>
                  </a:lnTo>
                  <a:lnTo>
                    <a:pt x="23" y="45"/>
                  </a:lnTo>
                  <a:lnTo>
                    <a:pt x="26" y="55"/>
                  </a:lnTo>
                  <a:lnTo>
                    <a:pt x="28" y="55"/>
                  </a:lnTo>
                  <a:lnTo>
                    <a:pt x="28" y="57"/>
                  </a:lnTo>
                  <a:lnTo>
                    <a:pt x="26" y="62"/>
                  </a:lnTo>
                  <a:lnTo>
                    <a:pt x="26" y="64"/>
                  </a:lnTo>
                  <a:lnTo>
                    <a:pt x="23" y="69"/>
                  </a:lnTo>
                  <a:lnTo>
                    <a:pt x="19" y="69"/>
                  </a:lnTo>
                  <a:lnTo>
                    <a:pt x="11" y="64"/>
                  </a:lnTo>
                  <a:lnTo>
                    <a:pt x="9" y="62"/>
                  </a:lnTo>
                  <a:lnTo>
                    <a:pt x="4" y="62"/>
                  </a:lnTo>
                  <a:lnTo>
                    <a:pt x="2" y="64"/>
                  </a:lnTo>
                  <a:lnTo>
                    <a:pt x="0" y="62"/>
                  </a:lnTo>
                  <a:lnTo>
                    <a:pt x="0" y="52"/>
                  </a:lnTo>
                  <a:lnTo>
                    <a:pt x="4" y="48"/>
                  </a:lnTo>
                  <a:lnTo>
                    <a:pt x="4" y="45"/>
                  </a:lnTo>
                  <a:lnTo>
                    <a:pt x="2" y="40"/>
                  </a:lnTo>
                  <a:lnTo>
                    <a:pt x="9" y="36"/>
                  </a:lnTo>
                  <a:lnTo>
                    <a:pt x="9" y="31"/>
                  </a:lnTo>
                  <a:lnTo>
                    <a:pt x="11" y="29"/>
                  </a:lnTo>
                  <a:lnTo>
                    <a:pt x="9" y="29"/>
                  </a:lnTo>
                  <a:lnTo>
                    <a:pt x="4" y="22"/>
                  </a:lnTo>
                  <a:lnTo>
                    <a:pt x="4" y="17"/>
                  </a:lnTo>
                  <a:lnTo>
                    <a:pt x="9" y="22"/>
                  </a:lnTo>
                  <a:lnTo>
                    <a:pt x="11" y="22"/>
                  </a:lnTo>
                  <a:lnTo>
                    <a:pt x="9" y="14"/>
                  </a:lnTo>
                  <a:lnTo>
                    <a:pt x="4" y="5"/>
                  </a:lnTo>
                  <a:lnTo>
                    <a:pt x="4" y="0"/>
                  </a:lnTo>
                  <a:lnTo>
                    <a:pt x="11" y="0"/>
                  </a:lnTo>
                  <a:lnTo>
                    <a:pt x="16" y="5"/>
                  </a:lnTo>
                  <a:lnTo>
                    <a:pt x="19" y="7"/>
                  </a:lnTo>
                  <a:lnTo>
                    <a:pt x="23" y="12"/>
                  </a:lnTo>
                  <a:lnTo>
                    <a:pt x="28" y="14"/>
                  </a:lnTo>
                  <a:lnTo>
                    <a:pt x="28" y="17"/>
                  </a:lnTo>
                  <a:lnTo>
                    <a:pt x="35" y="22"/>
                  </a:lnTo>
                  <a:lnTo>
                    <a:pt x="42" y="24"/>
                  </a:lnTo>
                  <a:lnTo>
                    <a:pt x="44" y="29"/>
                  </a:lnTo>
                  <a:lnTo>
                    <a:pt x="44" y="3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7" name="Freeform 101">
              <a:extLst>
                <a:ext uri="{FF2B5EF4-FFF2-40B4-BE49-F238E27FC236}">
                  <a16:creationId xmlns:a16="http://schemas.microsoft.com/office/drawing/2014/main" id="{24220269-ED15-4357-A7BE-DF5E142A056B}"/>
                </a:ext>
              </a:extLst>
            </p:cNvPr>
            <p:cNvSpPr>
              <a:spLocks/>
            </p:cNvSpPr>
            <p:nvPr/>
          </p:nvSpPr>
          <p:spPr bwMode="gray">
            <a:xfrm rot="47099">
              <a:off x="378353" y="2174903"/>
              <a:ext cx="10687" cy="7718"/>
            </a:xfrm>
            <a:custGeom>
              <a:avLst/>
              <a:gdLst>
                <a:gd name="T0" fmla="*/ 23 w 23"/>
                <a:gd name="T1" fmla="*/ 16 h 16"/>
                <a:gd name="T2" fmla="*/ 19 w 23"/>
                <a:gd name="T3" fmla="*/ 16 h 16"/>
                <a:gd name="T4" fmla="*/ 12 w 23"/>
                <a:gd name="T5" fmla="*/ 11 h 16"/>
                <a:gd name="T6" fmla="*/ 5 w 23"/>
                <a:gd name="T7" fmla="*/ 11 h 16"/>
                <a:gd name="T8" fmla="*/ 2 w 23"/>
                <a:gd name="T9" fmla="*/ 16 h 16"/>
                <a:gd name="T10" fmla="*/ 0 w 23"/>
                <a:gd name="T11" fmla="*/ 11 h 16"/>
                <a:gd name="T12" fmla="*/ 0 w 23"/>
                <a:gd name="T13" fmla="*/ 7 h 16"/>
                <a:gd name="T14" fmla="*/ 12 w 23"/>
                <a:gd name="T15" fmla="*/ 0 h 16"/>
                <a:gd name="T16" fmla="*/ 16 w 23"/>
                <a:gd name="T17" fmla="*/ 2 h 16"/>
                <a:gd name="T18" fmla="*/ 16 w 23"/>
                <a:gd name="T19" fmla="*/ 7 h 16"/>
                <a:gd name="T20" fmla="*/ 23 w 23"/>
                <a:gd name="T21" fmla="*/ 11 h 16"/>
                <a:gd name="T22" fmla="*/ 23 w 23"/>
                <a:gd name="T23" fmla="*/ 1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
                <a:gd name="T37" fmla="*/ 0 h 16"/>
                <a:gd name="T38" fmla="*/ 23 w 23"/>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 h="16">
                  <a:moveTo>
                    <a:pt x="23" y="16"/>
                  </a:moveTo>
                  <a:lnTo>
                    <a:pt x="19" y="16"/>
                  </a:lnTo>
                  <a:lnTo>
                    <a:pt x="12" y="11"/>
                  </a:lnTo>
                  <a:lnTo>
                    <a:pt x="5" y="11"/>
                  </a:lnTo>
                  <a:lnTo>
                    <a:pt x="2" y="16"/>
                  </a:lnTo>
                  <a:lnTo>
                    <a:pt x="0" y="11"/>
                  </a:lnTo>
                  <a:lnTo>
                    <a:pt x="0" y="7"/>
                  </a:lnTo>
                  <a:lnTo>
                    <a:pt x="12" y="0"/>
                  </a:lnTo>
                  <a:lnTo>
                    <a:pt x="16" y="2"/>
                  </a:lnTo>
                  <a:lnTo>
                    <a:pt x="16" y="7"/>
                  </a:lnTo>
                  <a:lnTo>
                    <a:pt x="23" y="11"/>
                  </a:lnTo>
                  <a:lnTo>
                    <a:pt x="23" y="1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8" name="Freeform 102">
              <a:extLst>
                <a:ext uri="{FF2B5EF4-FFF2-40B4-BE49-F238E27FC236}">
                  <a16:creationId xmlns:a16="http://schemas.microsoft.com/office/drawing/2014/main" id="{F95CAA16-C6FB-4184-B8F7-684AB7770CBE}"/>
                </a:ext>
              </a:extLst>
            </p:cNvPr>
            <p:cNvSpPr>
              <a:spLocks/>
            </p:cNvSpPr>
            <p:nvPr/>
          </p:nvSpPr>
          <p:spPr bwMode="gray">
            <a:xfrm rot="47099">
              <a:off x="158736" y="1887218"/>
              <a:ext cx="7125" cy="6754"/>
            </a:xfrm>
            <a:custGeom>
              <a:avLst/>
              <a:gdLst>
                <a:gd name="T0" fmla="*/ 0 w 14"/>
                <a:gd name="T1" fmla="*/ 9 h 14"/>
                <a:gd name="T2" fmla="*/ 5 w 14"/>
                <a:gd name="T3" fmla="*/ 9 h 14"/>
                <a:gd name="T4" fmla="*/ 5 w 14"/>
                <a:gd name="T5" fmla="*/ 7 h 14"/>
                <a:gd name="T6" fmla="*/ 0 w 14"/>
                <a:gd name="T7" fmla="*/ 7 h 14"/>
                <a:gd name="T8" fmla="*/ 0 w 14"/>
                <a:gd name="T9" fmla="*/ 2 h 14"/>
                <a:gd name="T10" fmla="*/ 5 w 14"/>
                <a:gd name="T11" fmla="*/ 2 h 14"/>
                <a:gd name="T12" fmla="*/ 5 w 14"/>
                <a:gd name="T13" fmla="*/ 0 h 14"/>
                <a:gd name="T14" fmla="*/ 7 w 14"/>
                <a:gd name="T15" fmla="*/ 0 h 14"/>
                <a:gd name="T16" fmla="*/ 7 w 14"/>
                <a:gd name="T17" fmla="*/ 2 h 14"/>
                <a:gd name="T18" fmla="*/ 14 w 14"/>
                <a:gd name="T19" fmla="*/ 9 h 14"/>
                <a:gd name="T20" fmla="*/ 7 w 14"/>
                <a:gd name="T21" fmla="*/ 14 h 14"/>
                <a:gd name="T22" fmla="*/ 5 w 14"/>
                <a:gd name="T23" fmla="*/ 9 h 14"/>
                <a:gd name="T24" fmla="*/ 0 w 14"/>
                <a:gd name="T25" fmla="*/ 9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4"/>
                <a:gd name="T41" fmla="*/ 14 w 14"/>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4">
                  <a:moveTo>
                    <a:pt x="0" y="9"/>
                  </a:moveTo>
                  <a:lnTo>
                    <a:pt x="5" y="9"/>
                  </a:lnTo>
                  <a:lnTo>
                    <a:pt x="5" y="7"/>
                  </a:lnTo>
                  <a:lnTo>
                    <a:pt x="0" y="7"/>
                  </a:lnTo>
                  <a:lnTo>
                    <a:pt x="0" y="2"/>
                  </a:lnTo>
                  <a:lnTo>
                    <a:pt x="5" y="2"/>
                  </a:lnTo>
                  <a:lnTo>
                    <a:pt x="5" y="0"/>
                  </a:lnTo>
                  <a:lnTo>
                    <a:pt x="7" y="0"/>
                  </a:lnTo>
                  <a:lnTo>
                    <a:pt x="7" y="2"/>
                  </a:lnTo>
                  <a:lnTo>
                    <a:pt x="14" y="9"/>
                  </a:lnTo>
                  <a:lnTo>
                    <a:pt x="7" y="14"/>
                  </a:lnTo>
                  <a:lnTo>
                    <a:pt x="5" y="9"/>
                  </a:lnTo>
                  <a:lnTo>
                    <a:pt x="0"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19" name="Freeform 103">
              <a:extLst>
                <a:ext uri="{FF2B5EF4-FFF2-40B4-BE49-F238E27FC236}">
                  <a16:creationId xmlns:a16="http://schemas.microsoft.com/office/drawing/2014/main" id="{F59BFDB9-1AF6-4488-91C1-0D246BD4209C}"/>
                </a:ext>
              </a:extLst>
            </p:cNvPr>
            <p:cNvSpPr>
              <a:spLocks/>
            </p:cNvSpPr>
            <p:nvPr/>
          </p:nvSpPr>
          <p:spPr bwMode="gray">
            <a:xfrm rot="47099">
              <a:off x="685277" y="2393321"/>
              <a:ext cx="10687" cy="14472"/>
            </a:xfrm>
            <a:custGeom>
              <a:avLst/>
              <a:gdLst>
                <a:gd name="T0" fmla="*/ 24 w 24"/>
                <a:gd name="T1" fmla="*/ 7 h 31"/>
                <a:gd name="T2" fmla="*/ 24 w 24"/>
                <a:gd name="T3" fmla="*/ 14 h 31"/>
                <a:gd name="T4" fmla="*/ 21 w 24"/>
                <a:gd name="T5" fmla="*/ 24 h 31"/>
                <a:gd name="T6" fmla="*/ 19 w 24"/>
                <a:gd name="T7" fmla="*/ 26 h 31"/>
                <a:gd name="T8" fmla="*/ 12 w 24"/>
                <a:gd name="T9" fmla="*/ 31 h 31"/>
                <a:gd name="T10" fmla="*/ 7 w 24"/>
                <a:gd name="T11" fmla="*/ 31 h 31"/>
                <a:gd name="T12" fmla="*/ 5 w 24"/>
                <a:gd name="T13" fmla="*/ 26 h 31"/>
                <a:gd name="T14" fmla="*/ 0 w 24"/>
                <a:gd name="T15" fmla="*/ 26 h 31"/>
                <a:gd name="T16" fmla="*/ 7 w 24"/>
                <a:gd name="T17" fmla="*/ 19 h 31"/>
                <a:gd name="T18" fmla="*/ 12 w 24"/>
                <a:gd name="T19" fmla="*/ 19 h 31"/>
                <a:gd name="T20" fmla="*/ 14 w 24"/>
                <a:gd name="T21" fmla="*/ 17 h 31"/>
                <a:gd name="T22" fmla="*/ 14 w 24"/>
                <a:gd name="T23" fmla="*/ 14 h 31"/>
                <a:gd name="T24" fmla="*/ 12 w 24"/>
                <a:gd name="T25" fmla="*/ 14 h 31"/>
                <a:gd name="T26" fmla="*/ 19 w 24"/>
                <a:gd name="T27" fmla="*/ 0 h 31"/>
                <a:gd name="T28" fmla="*/ 21 w 24"/>
                <a:gd name="T29" fmla="*/ 0 h 31"/>
                <a:gd name="T30" fmla="*/ 21 w 24"/>
                <a:gd name="T31" fmla="*/ 3 h 31"/>
                <a:gd name="T32" fmla="*/ 24 w 24"/>
                <a:gd name="T33" fmla="*/ 7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1"/>
                <a:gd name="T53" fmla="*/ 24 w 24"/>
                <a:gd name="T54" fmla="*/ 31 h 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1">
                  <a:moveTo>
                    <a:pt x="24" y="7"/>
                  </a:moveTo>
                  <a:lnTo>
                    <a:pt x="24" y="14"/>
                  </a:lnTo>
                  <a:lnTo>
                    <a:pt x="21" y="24"/>
                  </a:lnTo>
                  <a:lnTo>
                    <a:pt x="19" y="26"/>
                  </a:lnTo>
                  <a:lnTo>
                    <a:pt x="12" y="31"/>
                  </a:lnTo>
                  <a:lnTo>
                    <a:pt x="7" y="31"/>
                  </a:lnTo>
                  <a:lnTo>
                    <a:pt x="5" y="26"/>
                  </a:lnTo>
                  <a:lnTo>
                    <a:pt x="0" y="26"/>
                  </a:lnTo>
                  <a:lnTo>
                    <a:pt x="7" y="19"/>
                  </a:lnTo>
                  <a:lnTo>
                    <a:pt x="12" y="19"/>
                  </a:lnTo>
                  <a:lnTo>
                    <a:pt x="14" y="17"/>
                  </a:lnTo>
                  <a:lnTo>
                    <a:pt x="14" y="14"/>
                  </a:lnTo>
                  <a:lnTo>
                    <a:pt x="12" y="14"/>
                  </a:lnTo>
                  <a:lnTo>
                    <a:pt x="19" y="0"/>
                  </a:lnTo>
                  <a:lnTo>
                    <a:pt x="21" y="0"/>
                  </a:lnTo>
                  <a:lnTo>
                    <a:pt x="21" y="3"/>
                  </a:lnTo>
                  <a:lnTo>
                    <a:pt x="2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0" name="Freeform 104">
              <a:extLst>
                <a:ext uri="{FF2B5EF4-FFF2-40B4-BE49-F238E27FC236}">
                  <a16:creationId xmlns:a16="http://schemas.microsoft.com/office/drawing/2014/main" id="{9E2085D7-D6E9-4151-B205-CE7D5A1E413E}"/>
                </a:ext>
              </a:extLst>
            </p:cNvPr>
            <p:cNvSpPr>
              <a:spLocks/>
            </p:cNvSpPr>
            <p:nvPr/>
          </p:nvSpPr>
          <p:spPr bwMode="gray">
            <a:xfrm rot="47099">
              <a:off x="711973" y="2399427"/>
              <a:ext cx="3563" cy="5789"/>
            </a:xfrm>
            <a:custGeom>
              <a:avLst/>
              <a:gdLst>
                <a:gd name="T0" fmla="*/ 2 w 5"/>
                <a:gd name="T1" fmla="*/ 3 h 10"/>
                <a:gd name="T2" fmla="*/ 2 w 5"/>
                <a:gd name="T3" fmla="*/ 10 h 10"/>
                <a:gd name="T4" fmla="*/ 0 w 5"/>
                <a:gd name="T5" fmla="*/ 10 h 10"/>
                <a:gd name="T6" fmla="*/ 0 w 5"/>
                <a:gd name="T7" fmla="*/ 0 h 10"/>
                <a:gd name="T8" fmla="*/ 2 w 5"/>
                <a:gd name="T9" fmla="*/ 0 h 10"/>
                <a:gd name="T10" fmla="*/ 5 w 5"/>
                <a:gd name="T11" fmla="*/ 3 h 10"/>
                <a:gd name="T12" fmla="*/ 2 w 5"/>
                <a:gd name="T13" fmla="*/ 3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2" y="3"/>
                  </a:moveTo>
                  <a:lnTo>
                    <a:pt x="2" y="10"/>
                  </a:lnTo>
                  <a:lnTo>
                    <a:pt x="0" y="10"/>
                  </a:lnTo>
                  <a:lnTo>
                    <a:pt x="0" y="0"/>
                  </a:lnTo>
                  <a:lnTo>
                    <a:pt x="2" y="0"/>
                  </a:lnTo>
                  <a:lnTo>
                    <a:pt x="5" y="3"/>
                  </a:lnTo>
                  <a:lnTo>
                    <a:pt x="2"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1" name="Freeform 105">
              <a:extLst>
                <a:ext uri="{FF2B5EF4-FFF2-40B4-BE49-F238E27FC236}">
                  <a16:creationId xmlns:a16="http://schemas.microsoft.com/office/drawing/2014/main" id="{46F5A920-5D0C-4453-9686-9D0CF00D460A}"/>
                </a:ext>
              </a:extLst>
            </p:cNvPr>
            <p:cNvSpPr>
              <a:spLocks/>
            </p:cNvSpPr>
            <p:nvPr/>
          </p:nvSpPr>
          <p:spPr bwMode="gray">
            <a:xfrm rot="47099">
              <a:off x="691252" y="2388648"/>
              <a:ext cx="20484" cy="61750"/>
            </a:xfrm>
            <a:custGeom>
              <a:avLst/>
              <a:gdLst>
                <a:gd name="T0" fmla="*/ 5 w 45"/>
                <a:gd name="T1" fmla="*/ 82 h 130"/>
                <a:gd name="T2" fmla="*/ 0 w 45"/>
                <a:gd name="T3" fmla="*/ 82 h 130"/>
                <a:gd name="T4" fmla="*/ 0 w 45"/>
                <a:gd name="T5" fmla="*/ 75 h 130"/>
                <a:gd name="T6" fmla="*/ 5 w 45"/>
                <a:gd name="T7" fmla="*/ 73 h 130"/>
                <a:gd name="T8" fmla="*/ 7 w 45"/>
                <a:gd name="T9" fmla="*/ 73 h 130"/>
                <a:gd name="T10" fmla="*/ 10 w 45"/>
                <a:gd name="T11" fmla="*/ 66 h 130"/>
                <a:gd name="T12" fmla="*/ 5 w 45"/>
                <a:gd name="T13" fmla="*/ 66 h 130"/>
                <a:gd name="T14" fmla="*/ 5 w 45"/>
                <a:gd name="T15" fmla="*/ 64 h 130"/>
                <a:gd name="T16" fmla="*/ 0 w 45"/>
                <a:gd name="T17" fmla="*/ 59 h 130"/>
                <a:gd name="T18" fmla="*/ 7 w 45"/>
                <a:gd name="T19" fmla="*/ 49 h 130"/>
                <a:gd name="T20" fmla="*/ 10 w 45"/>
                <a:gd name="T21" fmla="*/ 40 h 130"/>
                <a:gd name="T22" fmla="*/ 14 w 45"/>
                <a:gd name="T23" fmla="*/ 35 h 130"/>
                <a:gd name="T24" fmla="*/ 14 w 45"/>
                <a:gd name="T25" fmla="*/ 33 h 130"/>
                <a:gd name="T26" fmla="*/ 21 w 45"/>
                <a:gd name="T27" fmla="*/ 26 h 130"/>
                <a:gd name="T28" fmla="*/ 17 w 45"/>
                <a:gd name="T29" fmla="*/ 23 h 130"/>
                <a:gd name="T30" fmla="*/ 10 w 45"/>
                <a:gd name="T31" fmla="*/ 23 h 130"/>
                <a:gd name="T32" fmla="*/ 10 w 45"/>
                <a:gd name="T33" fmla="*/ 12 h 130"/>
                <a:gd name="T34" fmla="*/ 14 w 45"/>
                <a:gd name="T35" fmla="*/ 9 h 130"/>
                <a:gd name="T36" fmla="*/ 14 w 45"/>
                <a:gd name="T37" fmla="*/ 12 h 130"/>
                <a:gd name="T38" fmla="*/ 17 w 45"/>
                <a:gd name="T39" fmla="*/ 16 h 130"/>
                <a:gd name="T40" fmla="*/ 21 w 45"/>
                <a:gd name="T41" fmla="*/ 12 h 130"/>
                <a:gd name="T42" fmla="*/ 21 w 45"/>
                <a:gd name="T43" fmla="*/ 9 h 130"/>
                <a:gd name="T44" fmla="*/ 24 w 45"/>
                <a:gd name="T45" fmla="*/ 2 h 130"/>
                <a:gd name="T46" fmla="*/ 31 w 45"/>
                <a:gd name="T47" fmla="*/ 0 h 130"/>
                <a:gd name="T48" fmla="*/ 33 w 45"/>
                <a:gd name="T49" fmla="*/ 2 h 130"/>
                <a:gd name="T50" fmla="*/ 38 w 45"/>
                <a:gd name="T51" fmla="*/ 12 h 130"/>
                <a:gd name="T52" fmla="*/ 40 w 45"/>
                <a:gd name="T53" fmla="*/ 23 h 130"/>
                <a:gd name="T54" fmla="*/ 45 w 45"/>
                <a:gd name="T55" fmla="*/ 26 h 130"/>
                <a:gd name="T56" fmla="*/ 40 w 45"/>
                <a:gd name="T57" fmla="*/ 35 h 130"/>
                <a:gd name="T58" fmla="*/ 40 w 45"/>
                <a:gd name="T59" fmla="*/ 45 h 130"/>
                <a:gd name="T60" fmla="*/ 38 w 45"/>
                <a:gd name="T61" fmla="*/ 49 h 130"/>
                <a:gd name="T62" fmla="*/ 33 w 45"/>
                <a:gd name="T63" fmla="*/ 59 h 130"/>
                <a:gd name="T64" fmla="*/ 33 w 45"/>
                <a:gd name="T65" fmla="*/ 68 h 130"/>
                <a:gd name="T66" fmla="*/ 31 w 45"/>
                <a:gd name="T67" fmla="*/ 80 h 130"/>
                <a:gd name="T68" fmla="*/ 26 w 45"/>
                <a:gd name="T69" fmla="*/ 82 h 130"/>
                <a:gd name="T70" fmla="*/ 26 w 45"/>
                <a:gd name="T71" fmla="*/ 85 h 130"/>
                <a:gd name="T72" fmla="*/ 24 w 45"/>
                <a:gd name="T73" fmla="*/ 92 h 130"/>
                <a:gd name="T74" fmla="*/ 24 w 45"/>
                <a:gd name="T75" fmla="*/ 97 h 130"/>
                <a:gd name="T76" fmla="*/ 17 w 45"/>
                <a:gd name="T77" fmla="*/ 104 h 130"/>
                <a:gd name="T78" fmla="*/ 14 w 45"/>
                <a:gd name="T79" fmla="*/ 113 h 130"/>
                <a:gd name="T80" fmla="*/ 7 w 45"/>
                <a:gd name="T81" fmla="*/ 123 h 130"/>
                <a:gd name="T82" fmla="*/ 5 w 45"/>
                <a:gd name="T83" fmla="*/ 130 h 130"/>
                <a:gd name="T84" fmla="*/ 0 w 45"/>
                <a:gd name="T85" fmla="*/ 123 h 130"/>
                <a:gd name="T86" fmla="*/ 0 w 45"/>
                <a:gd name="T87" fmla="*/ 90 h 130"/>
                <a:gd name="T88" fmla="*/ 5 w 45"/>
                <a:gd name="T89" fmla="*/ 85 h 130"/>
                <a:gd name="T90" fmla="*/ 10 w 45"/>
                <a:gd name="T91" fmla="*/ 85 h 130"/>
                <a:gd name="T92" fmla="*/ 17 w 45"/>
                <a:gd name="T93" fmla="*/ 82 h 130"/>
                <a:gd name="T94" fmla="*/ 5 w 45"/>
                <a:gd name="T95" fmla="*/ 82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5"/>
                <a:gd name="T145" fmla="*/ 0 h 130"/>
                <a:gd name="T146" fmla="*/ 45 w 45"/>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5" h="130">
                  <a:moveTo>
                    <a:pt x="5" y="82"/>
                  </a:moveTo>
                  <a:lnTo>
                    <a:pt x="0" y="82"/>
                  </a:lnTo>
                  <a:lnTo>
                    <a:pt x="0" y="75"/>
                  </a:lnTo>
                  <a:lnTo>
                    <a:pt x="5" y="73"/>
                  </a:lnTo>
                  <a:lnTo>
                    <a:pt x="7" y="73"/>
                  </a:lnTo>
                  <a:lnTo>
                    <a:pt x="10" y="66"/>
                  </a:lnTo>
                  <a:lnTo>
                    <a:pt x="5" y="66"/>
                  </a:lnTo>
                  <a:lnTo>
                    <a:pt x="5" y="64"/>
                  </a:lnTo>
                  <a:lnTo>
                    <a:pt x="0" y="59"/>
                  </a:lnTo>
                  <a:lnTo>
                    <a:pt x="7" y="49"/>
                  </a:lnTo>
                  <a:lnTo>
                    <a:pt x="10" y="40"/>
                  </a:lnTo>
                  <a:lnTo>
                    <a:pt x="14" y="35"/>
                  </a:lnTo>
                  <a:lnTo>
                    <a:pt x="14" y="33"/>
                  </a:lnTo>
                  <a:lnTo>
                    <a:pt x="21" y="26"/>
                  </a:lnTo>
                  <a:lnTo>
                    <a:pt x="17" y="23"/>
                  </a:lnTo>
                  <a:lnTo>
                    <a:pt x="10" y="23"/>
                  </a:lnTo>
                  <a:lnTo>
                    <a:pt x="10" y="12"/>
                  </a:lnTo>
                  <a:lnTo>
                    <a:pt x="14" y="9"/>
                  </a:lnTo>
                  <a:lnTo>
                    <a:pt x="14" y="12"/>
                  </a:lnTo>
                  <a:lnTo>
                    <a:pt x="17" y="16"/>
                  </a:lnTo>
                  <a:lnTo>
                    <a:pt x="21" y="12"/>
                  </a:lnTo>
                  <a:lnTo>
                    <a:pt x="21" y="9"/>
                  </a:lnTo>
                  <a:lnTo>
                    <a:pt x="24" y="2"/>
                  </a:lnTo>
                  <a:lnTo>
                    <a:pt x="31" y="0"/>
                  </a:lnTo>
                  <a:lnTo>
                    <a:pt x="33" y="2"/>
                  </a:lnTo>
                  <a:lnTo>
                    <a:pt x="38" y="12"/>
                  </a:lnTo>
                  <a:lnTo>
                    <a:pt x="40" y="23"/>
                  </a:lnTo>
                  <a:lnTo>
                    <a:pt x="45" y="26"/>
                  </a:lnTo>
                  <a:lnTo>
                    <a:pt x="40" y="35"/>
                  </a:lnTo>
                  <a:lnTo>
                    <a:pt x="40" y="45"/>
                  </a:lnTo>
                  <a:lnTo>
                    <a:pt x="38" y="49"/>
                  </a:lnTo>
                  <a:lnTo>
                    <a:pt x="33" y="59"/>
                  </a:lnTo>
                  <a:lnTo>
                    <a:pt x="33" y="68"/>
                  </a:lnTo>
                  <a:lnTo>
                    <a:pt x="31" y="80"/>
                  </a:lnTo>
                  <a:lnTo>
                    <a:pt x="26" y="82"/>
                  </a:lnTo>
                  <a:lnTo>
                    <a:pt x="26" y="85"/>
                  </a:lnTo>
                  <a:lnTo>
                    <a:pt x="24" y="92"/>
                  </a:lnTo>
                  <a:lnTo>
                    <a:pt x="24" y="97"/>
                  </a:lnTo>
                  <a:lnTo>
                    <a:pt x="17" y="104"/>
                  </a:lnTo>
                  <a:lnTo>
                    <a:pt x="14" y="113"/>
                  </a:lnTo>
                  <a:lnTo>
                    <a:pt x="7" y="123"/>
                  </a:lnTo>
                  <a:lnTo>
                    <a:pt x="5" y="130"/>
                  </a:lnTo>
                  <a:lnTo>
                    <a:pt x="0" y="123"/>
                  </a:lnTo>
                  <a:lnTo>
                    <a:pt x="0" y="90"/>
                  </a:lnTo>
                  <a:lnTo>
                    <a:pt x="5" y="85"/>
                  </a:lnTo>
                  <a:lnTo>
                    <a:pt x="10" y="85"/>
                  </a:lnTo>
                  <a:lnTo>
                    <a:pt x="17" y="82"/>
                  </a:lnTo>
                  <a:lnTo>
                    <a:pt x="5" y="8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2" name="Freeform 106">
              <a:extLst>
                <a:ext uri="{FF2B5EF4-FFF2-40B4-BE49-F238E27FC236}">
                  <a16:creationId xmlns:a16="http://schemas.microsoft.com/office/drawing/2014/main" id="{A34F8BBA-1A8A-4D49-8074-3006D000A5A7}"/>
                </a:ext>
              </a:extLst>
            </p:cNvPr>
            <p:cNvSpPr>
              <a:spLocks/>
            </p:cNvSpPr>
            <p:nvPr/>
          </p:nvSpPr>
          <p:spPr bwMode="gray">
            <a:xfrm rot="47099">
              <a:off x="401878" y="2147200"/>
              <a:ext cx="4453" cy="9649"/>
            </a:xfrm>
            <a:custGeom>
              <a:avLst/>
              <a:gdLst>
                <a:gd name="T0" fmla="*/ 8 w 10"/>
                <a:gd name="T1" fmla="*/ 7 h 21"/>
                <a:gd name="T2" fmla="*/ 10 w 10"/>
                <a:gd name="T3" fmla="*/ 14 h 21"/>
                <a:gd name="T4" fmla="*/ 8 w 10"/>
                <a:gd name="T5" fmla="*/ 14 h 21"/>
                <a:gd name="T6" fmla="*/ 8 w 10"/>
                <a:gd name="T7" fmla="*/ 21 h 21"/>
                <a:gd name="T8" fmla="*/ 3 w 10"/>
                <a:gd name="T9" fmla="*/ 21 h 21"/>
                <a:gd name="T10" fmla="*/ 3 w 10"/>
                <a:gd name="T11" fmla="*/ 17 h 21"/>
                <a:gd name="T12" fmla="*/ 0 w 10"/>
                <a:gd name="T13" fmla="*/ 12 h 21"/>
                <a:gd name="T14" fmla="*/ 3 w 10"/>
                <a:gd name="T15" fmla="*/ 5 h 21"/>
                <a:gd name="T16" fmla="*/ 3 w 10"/>
                <a:gd name="T17" fmla="*/ 0 h 21"/>
                <a:gd name="T18" fmla="*/ 8 w 10"/>
                <a:gd name="T19" fmla="*/ 5 h 21"/>
                <a:gd name="T20" fmla="*/ 8 w 10"/>
                <a:gd name="T21" fmla="*/ 7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1"/>
                <a:gd name="T35" fmla="*/ 10 w 10"/>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1">
                  <a:moveTo>
                    <a:pt x="8" y="7"/>
                  </a:moveTo>
                  <a:lnTo>
                    <a:pt x="10" y="14"/>
                  </a:lnTo>
                  <a:lnTo>
                    <a:pt x="8" y="14"/>
                  </a:lnTo>
                  <a:lnTo>
                    <a:pt x="8" y="21"/>
                  </a:lnTo>
                  <a:lnTo>
                    <a:pt x="3" y="21"/>
                  </a:lnTo>
                  <a:lnTo>
                    <a:pt x="3" y="17"/>
                  </a:lnTo>
                  <a:lnTo>
                    <a:pt x="0" y="12"/>
                  </a:lnTo>
                  <a:lnTo>
                    <a:pt x="3" y="5"/>
                  </a:lnTo>
                  <a:lnTo>
                    <a:pt x="3" y="0"/>
                  </a:lnTo>
                  <a:lnTo>
                    <a:pt x="8" y="5"/>
                  </a:lnTo>
                  <a:lnTo>
                    <a:pt x="8"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3" name="Freeform 107">
              <a:extLst>
                <a:ext uri="{FF2B5EF4-FFF2-40B4-BE49-F238E27FC236}">
                  <a16:creationId xmlns:a16="http://schemas.microsoft.com/office/drawing/2014/main" id="{E957454A-AF4B-4A53-9074-AE249724C469}"/>
                </a:ext>
              </a:extLst>
            </p:cNvPr>
            <p:cNvSpPr>
              <a:spLocks/>
            </p:cNvSpPr>
            <p:nvPr/>
          </p:nvSpPr>
          <p:spPr bwMode="gray">
            <a:xfrm rot="47099">
              <a:off x="358080" y="2146021"/>
              <a:ext cx="60562" cy="34734"/>
            </a:xfrm>
            <a:custGeom>
              <a:avLst/>
              <a:gdLst>
                <a:gd name="T0" fmla="*/ 71 w 130"/>
                <a:gd name="T1" fmla="*/ 14 h 75"/>
                <a:gd name="T2" fmla="*/ 78 w 130"/>
                <a:gd name="T3" fmla="*/ 0 h 75"/>
                <a:gd name="T4" fmla="*/ 85 w 130"/>
                <a:gd name="T5" fmla="*/ 16 h 75"/>
                <a:gd name="T6" fmla="*/ 90 w 130"/>
                <a:gd name="T7" fmla="*/ 26 h 75"/>
                <a:gd name="T8" fmla="*/ 102 w 130"/>
                <a:gd name="T9" fmla="*/ 23 h 75"/>
                <a:gd name="T10" fmla="*/ 109 w 130"/>
                <a:gd name="T11" fmla="*/ 16 h 75"/>
                <a:gd name="T12" fmla="*/ 111 w 130"/>
                <a:gd name="T13" fmla="*/ 16 h 75"/>
                <a:gd name="T14" fmla="*/ 118 w 130"/>
                <a:gd name="T15" fmla="*/ 30 h 75"/>
                <a:gd name="T16" fmla="*/ 104 w 130"/>
                <a:gd name="T17" fmla="*/ 35 h 75"/>
                <a:gd name="T18" fmla="*/ 111 w 130"/>
                <a:gd name="T19" fmla="*/ 35 h 75"/>
                <a:gd name="T20" fmla="*/ 128 w 130"/>
                <a:gd name="T21" fmla="*/ 33 h 75"/>
                <a:gd name="T22" fmla="*/ 130 w 130"/>
                <a:gd name="T23" fmla="*/ 49 h 75"/>
                <a:gd name="T24" fmla="*/ 111 w 130"/>
                <a:gd name="T25" fmla="*/ 64 h 75"/>
                <a:gd name="T26" fmla="*/ 120 w 130"/>
                <a:gd name="T27" fmla="*/ 71 h 75"/>
                <a:gd name="T28" fmla="*/ 97 w 130"/>
                <a:gd name="T29" fmla="*/ 73 h 75"/>
                <a:gd name="T30" fmla="*/ 90 w 130"/>
                <a:gd name="T31" fmla="*/ 54 h 75"/>
                <a:gd name="T32" fmla="*/ 85 w 130"/>
                <a:gd name="T33" fmla="*/ 56 h 75"/>
                <a:gd name="T34" fmla="*/ 94 w 130"/>
                <a:gd name="T35" fmla="*/ 71 h 75"/>
                <a:gd name="T36" fmla="*/ 80 w 130"/>
                <a:gd name="T37" fmla="*/ 75 h 75"/>
                <a:gd name="T38" fmla="*/ 71 w 130"/>
                <a:gd name="T39" fmla="*/ 56 h 75"/>
                <a:gd name="T40" fmla="*/ 71 w 130"/>
                <a:gd name="T41" fmla="*/ 66 h 75"/>
                <a:gd name="T42" fmla="*/ 64 w 130"/>
                <a:gd name="T43" fmla="*/ 71 h 75"/>
                <a:gd name="T44" fmla="*/ 47 w 130"/>
                <a:gd name="T45" fmla="*/ 64 h 75"/>
                <a:gd name="T46" fmla="*/ 33 w 130"/>
                <a:gd name="T47" fmla="*/ 59 h 75"/>
                <a:gd name="T48" fmla="*/ 38 w 130"/>
                <a:gd name="T49" fmla="*/ 64 h 75"/>
                <a:gd name="T50" fmla="*/ 31 w 130"/>
                <a:gd name="T51" fmla="*/ 71 h 75"/>
                <a:gd name="T52" fmla="*/ 0 w 130"/>
                <a:gd name="T53" fmla="*/ 66 h 75"/>
                <a:gd name="T54" fmla="*/ 28 w 130"/>
                <a:gd name="T55" fmla="*/ 64 h 75"/>
                <a:gd name="T56" fmla="*/ 21 w 130"/>
                <a:gd name="T57" fmla="*/ 56 h 75"/>
                <a:gd name="T58" fmla="*/ 38 w 130"/>
                <a:gd name="T59" fmla="*/ 49 h 75"/>
                <a:gd name="T60" fmla="*/ 16 w 130"/>
                <a:gd name="T61" fmla="*/ 49 h 75"/>
                <a:gd name="T62" fmla="*/ 28 w 130"/>
                <a:gd name="T63" fmla="*/ 47 h 75"/>
                <a:gd name="T64" fmla="*/ 21 w 130"/>
                <a:gd name="T65" fmla="*/ 35 h 75"/>
                <a:gd name="T66" fmla="*/ 14 w 130"/>
                <a:gd name="T67" fmla="*/ 30 h 75"/>
                <a:gd name="T68" fmla="*/ 21 w 130"/>
                <a:gd name="T69" fmla="*/ 40 h 75"/>
                <a:gd name="T70" fmla="*/ 14 w 130"/>
                <a:gd name="T71" fmla="*/ 54 h 75"/>
                <a:gd name="T72" fmla="*/ 5 w 130"/>
                <a:gd name="T73" fmla="*/ 54 h 75"/>
                <a:gd name="T74" fmla="*/ 14 w 130"/>
                <a:gd name="T75" fmla="*/ 26 h 75"/>
                <a:gd name="T76" fmla="*/ 14 w 130"/>
                <a:gd name="T77" fmla="*/ 14 h 75"/>
                <a:gd name="T78" fmla="*/ 33 w 130"/>
                <a:gd name="T79" fmla="*/ 0 h 75"/>
                <a:gd name="T80" fmla="*/ 57 w 130"/>
                <a:gd name="T81" fmla="*/ 2 h 75"/>
                <a:gd name="T82" fmla="*/ 54 w 130"/>
                <a:gd name="T83" fmla="*/ 23 h 75"/>
                <a:gd name="T84" fmla="*/ 50 w 130"/>
                <a:gd name="T85" fmla="*/ 40 h 75"/>
                <a:gd name="T86" fmla="*/ 50 w 130"/>
                <a:gd name="T87" fmla="*/ 47 h 75"/>
                <a:gd name="T88" fmla="*/ 61 w 130"/>
                <a:gd name="T89" fmla="*/ 23 h 75"/>
                <a:gd name="T90" fmla="*/ 73 w 130"/>
                <a:gd name="T91" fmla="*/ 26 h 7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0"/>
                <a:gd name="T139" fmla="*/ 0 h 75"/>
                <a:gd name="T140" fmla="*/ 130 w 130"/>
                <a:gd name="T141" fmla="*/ 75 h 7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0" h="75">
                  <a:moveTo>
                    <a:pt x="73" y="26"/>
                  </a:moveTo>
                  <a:lnTo>
                    <a:pt x="73" y="14"/>
                  </a:lnTo>
                  <a:lnTo>
                    <a:pt x="71" y="14"/>
                  </a:lnTo>
                  <a:lnTo>
                    <a:pt x="71" y="7"/>
                  </a:lnTo>
                  <a:lnTo>
                    <a:pt x="73" y="2"/>
                  </a:lnTo>
                  <a:lnTo>
                    <a:pt x="78" y="0"/>
                  </a:lnTo>
                  <a:lnTo>
                    <a:pt x="87" y="2"/>
                  </a:lnTo>
                  <a:lnTo>
                    <a:pt x="87" y="14"/>
                  </a:lnTo>
                  <a:lnTo>
                    <a:pt x="85" y="16"/>
                  </a:lnTo>
                  <a:lnTo>
                    <a:pt x="80" y="23"/>
                  </a:lnTo>
                  <a:lnTo>
                    <a:pt x="78" y="26"/>
                  </a:lnTo>
                  <a:lnTo>
                    <a:pt x="90" y="26"/>
                  </a:lnTo>
                  <a:lnTo>
                    <a:pt x="90" y="14"/>
                  </a:lnTo>
                  <a:lnTo>
                    <a:pt x="97" y="26"/>
                  </a:lnTo>
                  <a:lnTo>
                    <a:pt x="102" y="23"/>
                  </a:lnTo>
                  <a:lnTo>
                    <a:pt x="104" y="23"/>
                  </a:lnTo>
                  <a:lnTo>
                    <a:pt x="104" y="26"/>
                  </a:lnTo>
                  <a:lnTo>
                    <a:pt x="109" y="16"/>
                  </a:lnTo>
                  <a:lnTo>
                    <a:pt x="109" y="9"/>
                  </a:lnTo>
                  <a:lnTo>
                    <a:pt x="111" y="9"/>
                  </a:lnTo>
                  <a:lnTo>
                    <a:pt x="111" y="16"/>
                  </a:lnTo>
                  <a:lnTo>
                    <a:pt x="113" y="23"/>
                  </a:lnTo>
                  <a:lnTo>
                    <a:pt x="118" y="23"/>
                  </a:lnTo>
                  <a:lnTo>
                    <a:pt x="118" y="30"/>
                  </a:lnTo>
                  <a:lnTo>
                    <a:pt x="113" y="30"/>
                  </a:lnTo>
                  <a:lnTo>
                    <a:pt x="111" y="33"/>
                  </a:lnTo>
                  <a:lnTo>
                    <a:pt x="104" y="35"/>
                  </a:lnTo>
                  <a:lnTo>
                    <a:pt x="104" y="40"/>
                  </a:lnTo>
                  <a:lnTo>
                    <a:pt x="109" y="40"/>
                  </a:lnTo>
                  <a:lnTo>
                    <a:pt x="111" y="35"/>
                  </a:lnTo>
                  <a:lnTo>
                    <a:pt x="113" y="33"/>
                  </a:lnTo>
                  <a:lnTo>
                    <a:pt x="120" y="35"/>
                  </a:lnTo>
                  <a:lnTo>
                    <a:pt x="128" y="33"/>
                  </a:lnTo>
                  <a:lnTo>
                    <a:pt x="128" y="40"/>
                  </a:lnTo>
                  <a:lnTo>
                    <a:pt x="130" y="40"/>
                  </a:lnTo>
                  <a:lnTo>
                    <a:pt x="130" y="49"/>
                  </a:lnTo>
                  <a:lnTo>
                    <a:pt x="120" y="49"/>
                  </a:lnTo>
                  <a:lnTo>
                    <a:pt x="113" y="54"/>
                  </a:lnTo>
                  <a:lnTo>
                    <a:pt x="111" y="64"/>
                  </a:lnTo>
                  <a:lnTo>
                    <a:pt x="118" y="64"/>
                  </a:lnTo>
                  <a:lnTo>
                    <a:pt x="125" y="71"/>
                  </a:lnTo>
                  <a:lnTo>
                    <a:pt x="120" y="71"/>
                  </a:lnTo>
                  <a:lnTo>
                    <a:pt x="118" y="73"/>
                  </a:lnTo>
                  <a:lnTo>
                    <a:pt x="104" y="75"/>
                  </a:lnTo>
                  <a:lnTo>
                    <a:pt x="97" y="73"/>
                  </a:lnTo>
                  <a:lnTo>
                    <a:pt x="97" y="66"/>
                  </a:lnTo>
                  <a:lnTo>
                    <a:pt x="94" y="59"/>
                  </a:lnTo>
                  <a:lnTo>
                    <a:pt x="90" y="54"/>
                  </a:lnTo>
                  <a:lnTo>
                    <a:pt x="85" y="54"/>
                  </a:lnTo>
                  <a:lnTo>
                    <a:pt x="80" y="56"/>
                  </a:lnTo>
                  <a:lnTo>
                    <a:pt x="85" y="56"/>
                  </a:lnTo>
                  <a:lnTo>
                    <a:pt x="90" y="59"/>
                  </a:lnTo>
                  <a:lnTo>
                    <a:pt x="90" y="64"/>
                  </a:lnTo>
                  <a:lnTo>
                    <a:pt x="94" y="71"/>
                  </a:lnTo>
                  <a:lnTo>
                    <a:pt x="90" y="73"/>
                  </a:lnTo>
                  <a:lnTo>
                    <a:pt x="87" y="75"/>
                  </a:lnTo>
                  <a:lnTo>
                    <a:pt x="80" y="75"/>
                  </a:lnTo>
                  <a:lnTo>
                    <a:pt x="78" y="73"/>
                  </a:lnTo>
                  <a:lnTo>
                    <a:pt x="78" y="66"/>
                  </a:lnTo>
                  <a:lnTo>
                    <a:pt x="71" y="56"/>
                  </a:lnTo>
                  <a:lnTo>
                    <a:pt x="68" y="59"/>
                  </a:lnTo>
                  <a:lnTo>
                    <a:pt x="71" y="64"/>
                  </a:lnTo>
                  <a:lnTo>
                    <a:pt x="71" y="66"/>
                  </a:lnTo>
                  <a:lnTo>
                    <a:pt x="73" y="66"/>
                  </a:lnTo>
                  <a:lnTo>
                    <a:pt x="73" y="71"/>
                  </a:lnTo>
                  <a:lnTo>
                    <a:pt x="64" y="71"/>
                  </a:lnTo>
                  <a:lnTo>
                    <a:pt x="64" y="66"/>
                  </a:lnTo>
                  <a:lnTo>
                    <a:pt x="61" y="64"/>
                  </a:lnTo>
                  <a:lnTo>
                    <a:pt x="47" y="64"/>
                  </a:lnTo>
                  <a:lnTo>
                    <a:pt x="40" y="66"/>
                  </a:lnTo>
                  <a:lnTo>
                    <a:pt x="40" y="64"/>
                  </a:lnTo>
                  <a:lnTo>
                    <a:pt x="33" y="59"/>
                  </a:lnTo>
                  <a:lnTo>
                    <a:pt x="31" y="59"/>
                  </a:lnTo>
                  <a:lnTo>
                    <a:pt x="33" y="59"/>
                  </a:lnTo>
                  <a:lnTo>
                    <a:pt x="38" y="64"/>
                  </a:lnTo>
                  <a:lnTo>
                    <a:pt x="33" y="71"/>
                  </a:lnTo>
                  <a:lnTo>
                    <a:pt x="31" y="73"/>
                  </a:lnTo>
                  <a:lnTo>
                    <a:pt x="31" y="71"/>
                  </a:lnTo>
                  <a:lnTo>
                    <a:pt x="24" y="73"/>
                  </a:lnTo>
                  <a:lnTo>
                    <a:pt x="5" y="73"/>
                  </a:lnTo>
                  <a:lnTo>
                    <a:pt x="0" y="66"/>
                  </a:lnTo>
                  <a:lnTo>
                    <a:pt x="5" y="66"/>
                  </a:lnTo>
                  <a:lnTo>
                    <a:pt x="7" y="64"/>
                  </a:lnTo>
                  <a:lnTo>
                    <a:pt x="28" y="64"/>
                  </a:lnTo>
                  <a:lnTo>
                    <a:pt x="28" y="59"/>
                  </a:lnTo>
                  <a:lnTo>
                    <a:pt x="21" y="59"/>
                  </a:lnTo>
                  <a:lnTo>
                    <a:pt x="21" y="56"/>
                  </a:lnTo>
                  <a:lnTo>
                    <a:pt x="28" y="54"/>
                  </a:lnTo>
                  <a:lnTo>
                    <a:pt x="38" y="54"/>
                  </a:lnTo>
                  <a:lnTo>
                    <a:pt x="38" y="49"/>
                  </a:lnTo>
                  <a:lnTo>
                    <a:pt x="28" y="54"/>
                  </a:lnTo>
                  <a:lnTo>
                    <a:pt x="14" y="54"/>
                  </a:lnTo>
                  <a:lnTo>
                    <a:pt x="16" y="49"/>
                  </a:lnTo>
                  <a:lnTo>
                    <a:pt x="21" y="49"/>
                  </a:lnTo>
                  <a:lnTo>
                    <a:pt x="24" y="47"/>
                  </a:lnTo>
                  <a:lnTo>
                    <a:pt x="28" y="47"/>
                  </a:lnTo>
                  <a:lnTo>
                    <a:pt x="28" y="40"/>
                  </a:lnTo>
                  <a:lnTo>
                    <a:pt x="24" y="40"/>
                  </a:lnTo>
                  <a:lnTo>
                    <a:pt x="21" y="35"/>
                  </a:lnTo>
                  <a:lnTo>
                    <a:pt x="21" y="33"/>
                  </a:lnTo>
                  <a:lnTo>
                    <a:pt x="16" y="33"/>
                  </a:lnTo>
                  <a:lnTo>
                    <a:pt x="14" y="30"/>
                  </a:lnTo>
                  <a:lnTo>
                    <a:pt x="9" y="33"/>
                  </a:lnTo>
                  <a:lnTo>
                    <a:pt x="9" y="40"/>
                  </a:lnTo>
                  <a:lnTo>
                    <a:pt x="21" y="40"/>
                  </a:lnTo>
                  <a:lnTo>
                    <a:pt x="24" y="42"/>
                  </a:lnTo>
                  <a:lnTo>
                    <a:pt x="24" y="47"/>
                  </a:lnTo>
                  <a:lnTo>
                    <a:pt x="14" y="54"/>
                  </a:lnTo>
                  <a:lnTo>
                    <a:pt x="5" y="56"/>
                  </a:lnTo>
                  <a:lnTo>
                    <a:pt x="0" y="56"/>
                  </a:lnTo>
                  <a:lnTo>
                    <a:pt x="5" y="54"/>
                  </a:lnTo>
                  <a:lnTo>
                    <a:pt x="5" y="35"/>
                  </a:lnTo>
                  <a:lnTo>
                    <a:pt x="7" y="33"/>
                  </a:lnTo>
                  <a:lnTo>
                    <a:pt x="14" y="26"/>
                  </a:lnTo>
                  <a:lnTo>
                    <a:pt x="16" y="16"/>
                  </a:lnTo>
                  <a:lnTo>
                    <a:pt x="16" y="14"/>
                  </a:lnTo>
                  <a:lnTo>
                    <a:pt x="14" y="14"/>
                  </a:lnTo>
                  <a:lnTo>
                    <a:pt x="14" y="9"/>
                  </a:lnTo>
                  <a:lnTo>
                    <a:pt x="24" y="2"/>
                  </a:lnTo>
                  <a:lnTo>
                    <a:pt x="33" y="0"/>
                  </a:lnTo>
                  <a:lnTo>
                    <a:pt x="50" y="0"/>
                  </a:lnTo>
                  <a:lnTo>
                    <a:pt x="54" y="2"/>
                  </a:lnTo>
                  <a:lnTo>
                    <a:pt x="57" y="2"/>
                  </a:lnTo>
                  <a:lnTo>
                    <a:pt x="61" y="9"/>
                  </a:lnTo>
                  <a:lnTo>
                    <a:pt x="57" y="19"/>
                  </a:lnTo>
                  <a:lnTo>
                    <a:pt x="54" y="23"/>
                  </a:lnTo>
                  <a:lnTo>
                    <a:pt x="54" y="26"/>
                  </a:lnTo>
                  <a:lnTo>
                    <a:pt x="50" y="30"/>
                  </a:lnTo>
                  <a:lnTo>
                    <a:pt x="50" y="40"/>
                  </a:lnTo>
                  <a:lnTo>
                    <a:pt x="47" y="40"/>
                  </a:lnTo>
                  <a:lnTo>
                    <a:pt x="50" y="42"/>
                  </a:lnTo>
                  <a:lnTo>
                    <a:pt x="50" y="47"/>
                  </a:lnTo>
                  <a:lnTo>
                    <a:pt x="50" y="40"/>
                  </a:lnTo>
                  <a:lnTo>
                    <a:pt x="54" y="33"/>
                  </a:lnTo>
                  <a:lnTo>
                    <a:pt x="61" y="23"/>
                  </a:lnTo>
                  <a:lnTo>
                    <a:pt x="68" y="16"/>
                  </a:lnTo>
                  <a:lnTo>
                    <a:pt x="73" y="23"/>
                  </a:lnTo>
                  <a:lnTo>
                    <a:pt x="73" y="2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4" name="Freeform 108">
              <a:extLst>
                <a:ext uri="{FF2B5EF4-FFF2-40B4-BE49-F238E27FC236}">
                  <a16:creationId xmlns:a16="http://schemas.microsoft.com/office/drawing/2014/main" id="{3F10AA23-76C2-476C-9AB7-05007CFF3799}"/>
                </a:ext>
              </a:extLst>
            </p:cNvPr>
            <p:cNvSpPr>
              <a:spLocks/>
            </p:cNvSpPr>
            <p:nvPr/>
          </p:nvSpPr>
          <p:spPr bwMode="gray">
            <a:xfrm rot="47099">
              <a:off x="692026" y="2357681"/>
              <a:ext cx="6235" cy="10613"/>
            </a:xfrm>
            <a:custGeom>
              <a:avLst/>
              <a:gdLst>
                <a:gd name="T0" fmla="*/ 14 w 14"/>
                <a:gd name="T1" fmla="*/ 5 h 24"/>
                <a:gd name="T2" fmla="*/ 14 w 14"/>
                <a:gd name="T3" fmla="*/ 14 h 24"/>
                <a:gd name="T4" fmla="*/ 7 w 14"/>
                <a:gd name="T5" fmla="*/ 14 h 24"/>
                <a:gd name="T6" fmla="*/ 7 w 14"/>
                <a:gd name="T7" fmla="*/ 17 h 24"/>
                <a:gd name="T8" fmla="*/ 5 w 14"/>
                <a:gd name="T9" fmla="*/ 22 h 24"/>
                <a:gd name="T10" fmla="*/ 5 w 14"/>
                <a:gd name="T11" fmla="*/ 24 h 24"/>
                <a:gd name="T12" fmla="*/ 0 w 14"/>
                <a:gd name="T13" fmla="*/ 24 h 24"/>
                <a:gd name="T14" fmla="*/ 0 w 14"/>
                <a:gd name="T15" fmla="*/ 14 h 24"/>
                <a:gd name="T16" fmla="*/ 5 w 14"/>
                <a:gd name="T17" fmla="*/ 12 h 24"/>
                <a:gd name="T18" fmla="*/ 5 w 14"/>
                <a:gd name="T19" fmla="*/ 7 h 24"/>
                <a:gd name="T20" fmla="*/ 7 w 14"/>
                <a:gd name="T21" fmla="*/ 5 h 24"/>
                <a:gd name="T22" fmla="*/ 10 w 14"/>
                <a:gd name="T23" fmla="*/ 0 h 24"/>
                <a:gd name="T24" fmla="*/ 10 w 14"/>
                <a:gd name="T25" fmla="*/ 5 h 24"/>
                <a:gd name="T26" fmla="*/ 14 w 14"/>
                <a:gd name="T27" fmla="*/ 5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4"/>
                <a:gd name="T44" fmla="*/ 14 w 14"/>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4">
                  <a:moveTo>
                    <a:pt x="14" y="5"/>
                  </a:moveTo>
                  <a:lnTo>
                    <a:pt x="14" y="14"/>
                  </a:lnTo>
                  <a:lnTo>
                    <a:pt x="7" y="14"/>
                  </a:lnTo>
                  <a:lnTo>
                    <a:pt x="7" y="17"/>
                  </a:lnTo>
                  <a:lnTo>
                    <a:pt x="5" y="22"/>
                  </a:lnTo>
                  <a:lnTo>
                    <a:pt x="5" y="24"/>
                  </a:lnTo>
                  <a:lnTo>
                    <a:pt x="0" y="24"/>
                  </a:lnTo>
                  <a:lnTo>
                    <a:pt x="0" y="14"/>
                  </a:lnTo>
                  <a:lnTo>
                    <a:pt x="5" y="12"/>
                  </a:lnTo>
                  <a:lnTo>
                    <a:pt x="5" y="7"/>
                  </a:lnTo>
                  <a:lnTo>
                    <a:pt x="7" y="5"/>
                  </a:lnTo>
                  <a:lnTo>
                    <a:pt x="10" y="0"/>
                  </a:lnTo>
                  <a:lnTo>
                    <a:pt x="10" y="5"/>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5" name="Freeform 109">
              <a:extLst>
                <a:ext uri="{FF2B5EF4-FFF2-40B4-BE49-F238E27FC236}">
                  <a16:creationId xmlns:a16="http://schemas.microsoft.com/office/drawing/2014/main" id="{E40FAA9A-2C56-4094-8A8B-9775CF82863B}"/>
                </a:ext>
              </a:extLst>
            </p:cNvPr>
            <p:cNvSpPr>
              <a:spLocks/>
            </p:cNvSpPr>
            <p:nvPr/>
          </p:nvSpPr>
          <p:spPr bwMode="gray">
            <a:xfrm rot="47099">
              <a:off x="409008" y="2146339"/>
              <a:ext cx="5343" cy="10613"/>
            </a:xfrm>
            <a:custGeom>
              <a:avLst/>
              <a:gdLst>
                <a:gd name="T0" fmla="*/ 9 w 11"/>
                <a:gd name="T1" fmla="*/ 0 h 23"/>
                <a:gd name="T2" fmla="*/ 9 w 11"/>
                <a:gd name="T3" fmla="*/ 14 h 23"/>
                <a:gd name="T4" fmla="*/ 11 w 11"/>
                <a:gd name="T5" fmla="*/ 16 h 23"/>
                <a:gd name="T6" fmla="*/ 11 w 11"/>
                <a:gd name="T7" fmla="*/ 23 h 23"/>
                <a:gd name="T8" fmla="*/ 9 w 11"/>
                <a:gd name="T9" fmla="*/ 19 h 23"/>
                <a:gd name="T10" fmla="*/ 9 w 11"/>
                <a:gd name="T11" fmla="*/ 16 h 23"/>
                <a:gd name="T12" fmla="*/ 4 w 11"/>
                <a:gd name="T13" fmla="*/ 16 h 23"/>
                <a:gd name="T14" fmla="*/ 4 w 11"/>
                <a:gd name="T15" fmla="*/ 9 h 23"/>
                <a:gd name="T16" fmla="*/ 2 w 11"/>
                <a:gd name="T17" fmla="*/ 2 h 23"/>
                <a:gd name="T18" fmla="*/ 0 w 11"/>
                <a:gd name="T19" fmla="*/ 2 h 23"/>
                <a:gd name="T20" fmla="*/ 0 w 11"/>
                <a:gd name="T21" fmla="*/ 0 h 23"/>
                <a:gd name="T22" fmla="*/ 9 w 11"/>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23"/>
                <a:gd name="T38" fmla="*/ 11 w 11"/>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23">
                  <a:moveTo>
                    <a:pt x="9" y="0"/>
                  </a:moveTo>
                  <a:lnTo>
                    <a:pt x="9" y="14"/>
                  </a:lnTo>
                  <a:lnTo>
                    <a:pt x="11" y="16"/>
                  </a:lnTo>
                  <a:lnTo>
                    <a:pt x="11" y="23"/>
                  </a:lnTo>
                  <a:lnTo>
                    <a:pt x="9" y="19"/>
                  </a:lnTo>
                  <a:lnTo>
                    <a:pt x="9" y="16"/>
                  </a:lnTo>
                  <a:lnTo>
                    <a:pt x="4" y="16"/>
                  </a:lnTo>
                  <a:lnTo>
                    <a:pt x="4" y="9"/>
                  </a:lnTo>
                  <a:lnTo>
                    <a:pt x="2" y="2"/>
                  </a:lnTo>
                  <a:lnTo>
                    <a:pt x="0" y="2"/>
                  </a:lnTo>
                  <a:lnTo>
                    <a:pt x="0"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6" name="Freeform 110">
              <a:extLst>
                <a:ext uri="{FF2B5EF4-FFF2-40B4-BE49-F238E27FC236}">
                  <a16:creationId xmlns:a16="http://schemas.microsoft.com/office/drawing/2014/main" id="{75753CFE-183D-4BBD-B2ED-51AD2FF0E66D}"/>
                </a:ext>
              </a:extLst>
            </p:cNvPr>
            <p:cNvSpPr>
              <a:spLocks/>
            </p:cNvSpPr>
            <p:nvPr/>
          </p:nvSpPr>
          <p:spPr bwMode="gray">
            <a:xfrm rot="47099">
              <a:off x="691833" y="2355939"/>
              <a:ext cx="33843" cy="42452"/>
            </a:xfrm>
            <a:custGeom>
              <a:avLst/>
              <a:gdLst>
                <a:gd name="T0" fmla="*/ 50 w 71"/>
                <a:gd name="T1" fmla="*/ 59 h 92"/>
                <a:gd name="T2" fmla="*/ 47 w 71"/>
                <a:gd name="T3" fmla="*/ 52 h 92"/>
                <a:gd name="T4" fmla="*/ 33 w 71"/>
                <a:gd name="T5" fmla="*/ 35 h 92"/>
                <a:gd name="T6" fmla="*/ 31 w 71"/>
                <a:gd name="T7" fmla="*/ 28 h 92"/>
                <a:gd name="T8" fmla="*/ 33 w 71"/>
                <a:gd name="T9" fmla="*/ 40 h 92"/>
                <a:gd name="T10" fmla="*/ 38 w 71"/>
                <a:gd name="T11" fmla="*/ 44 h 92"/>
                <a:gd name="T12" fmla="*/ 45 w 71"/>
                <a:gd name="T13" fmla="*/ 61 h 92"/>
                <a:gd name="T14" fmla="*/ 47 w 71"/>
                <a:gd name="T15" fmla="*/ 66 h 92"/>
                <a:gd name="T16" fmla="*/ 62 w 71"/>
                <a:gd name="T17" fmla="*/ 68 h 92"/>
                <a:gd name="T18" fmla="*/ 50 w 71"/>
                <a:gd name="T19" fmla="*/ 92 h 92"/>
                <a:gd name="T20" fmla="*/ 40 w 71"/>
                <a:gd name="T21" fmla="*/ 89 h 92"/>
                <a:gd name="T22" fmla="*/ 38 w 71"/>
                <a:gd name="T23" fmla="*/ 75 h 92"/>
                <a:gd name="T24" fmla="*/ 31 w 71"/>
                <a:gd name="T25" fmla="*/ 61 h 92"/>
                <a:gd name="T26" fmla="*/ 26 w 71"/>
                <a:gd name="T27" fmla="*/ 49 h 92"/>
                <a:gd name="T28" fmla="*/ 24 w 71"/>
                <a:gd name="T29" fmla="*/ 59 h 92"/>
                <a:gd name="T30" fmla="*/ 24 w 71"/>
                <a:gd name="T31" fmla="*/ 73 h 92"/>
                <a:gd name="T32" fmla="*/ 17 w 71"/>
                <a:gd name="T33" fmla="*/ 78 h 92"/>
                <a:gd name="T34" fmla="*/ 7 w 71"/>
                <a:gd name="T35" fmla="*/ 78 h 92"/>
                <a:gd name="T36" fmla="*/ 5 w 71"/>
                <a:gd name="T37" fmla="*/ 61 h 92"/>
                <a:gd name="T38" fmla="*/ 7 w 71"/>
                <a:gd name="T39" fmla="*/ 68 h 92"/>
                <a:gd name="T40" fmla="*/ 10 w 71"/>
                <a:gd name="T41" fmla="*/ 66 h 92"/>
                <a:gd name="T42" fmla="*/ 7 w 71"/>
                <a:gd name="T43" fmla="*/ 56 h 92"/>
                <a:gd name="T44" fmla="*/ 7 w 71"/>
                <a:gd name="T45" fmla="*/ 52 h 92"/>
                <a:gd name="T46" fmla="*/ 5 w 71"/>
                <a:gd name="T47" fmla="*/ 33 h 92"/>
                <a:gd name="T48" fmla="*/ 0 w 71"/>
                <a:gd name="T49" fmla="*/ 28 h 92"/>
                <a:gd name="T50" fmla="*/ 10 w 71"/>
                <a:gd name="T51" fmla="*/ 18 h 92"/>
                <a:gd name="T52" fmla="*/ 14 w 71"/>
                <a:gd name="T53" fmla="*/ 26 h 92"/>
                <a:gd name="T54" fmla="*/ 17 w 71"/>
                <a:gd name="T55" fmla="*/ 26 h 92"/>
                <a:gd name="T56" fmla="*/ 14 w 71"/>
                <a:gd name="T57" fmla="*/ 4 h 92"/>
                <a:gd name="T58" fmla="*/ 24 w 71"/>
                <a:gd name="T59" fmla="*/ 11 h 92"/>
                <a:gd name="T60" fmla="*/ 31 w 71"/>
                <a:gd name="T61" fmla="*/ 4 h 92"/>
                <a:gd name="T62" fmla="*/ 47 w 71"/>
                <a:gd name="T63" fmla="*/ 9 h 92"/>
                <a:gd name="T64" fmla="*/ 55 w 71"/>
                <a:gd name="T65" fmla="*/ 21 h 92"/>
                <a:gd name="T66" fmla="*/ 45 w 71"/>
                <a:gd name="T67" fmla="*/ 28 h 92"/>
                <a:gd name="T68" fmla="*/ 38 w 71"/>
                <a:gd name="T69" fmla="*/ 26 h 92"/>
                <a:gd name="T70" fmla="*/ 40 w 71"/>
                <a:gd name="T71" fmla="*/ 35 h 92"/>
                <a:gd name="T72" fmla="*/ 50 w 71"/>
                <a:gd name="T73" fmla="*/ 33 h 92"/>
                <a:gd name="T74" fmla="*/ 57 w 71"/>
                <a:gd name="T75" fmla="*/ 26 h 92"/>
                <a:gd name="T76" fmla="*/ 71 w 71"/>
                <a:gd name="T77" fmla="*/ 44 h 92"/>
                <a:gd name="T78" fmla="*/ 66 w 71"/>
                <a:gd name="T79" fmla="*/ 56 h 92"/>
                <a:gd name="T80" fmla="*/ 57 w 71"/>
                <a:gd name="T81" fmla="*/ 49 h 92"/>
                <a:gd name="T82" fmla="*/ 62 w 71"/>
                <a:gd name="T83" fmla="*/ 56 h 92"/>
                <a:gd name="T84" fmla="*/ 57 w 71"/>
                <a:gd name="T85" fmla="*/ 66 h 92"/>
                <a:gd name="T86" fmla="*/ 50 w 71"/>
                <a:gd name="T87" fmla="*/ 61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
                <a:gd name="T133" fmla="*/ 0 h 92"/>
                <a:gd name="T134" fmla="*/ 71 w 71"/>
                <a:gd name="T135" fmla="*/ 92 h 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 h="92">
                  <a:moveTo>
                    <a:pt x="50" y="61"/>
                  </a:moveTo>
                  <a:lnTo>
                    <a:pt x="50" y="59"/>
                  </a:lnTo>
                  <a:lnTo>
                    <a:pt x="47" y="59"/>
                  </a:lnTo>
                  <a:lnTo>
                    <a:pt x="47" y="52"/>
                  </a:lnTo>
                  <a:lnTo>
                    <a:pt x="40" y="42"/>
                  </a:lnTo>
                  <a:lnTo>
                    <a:pt x="33" y="35"/>
                  </a:lnTo>
                  <a:lnTo>
                    <a:pt x="33" y="28"/>
                  </a:lnTo>
                  <a:lnTo>
                    <a:pt x="31" y="28"/>
                  </a:lnTo>
                  <a:lnTo>
                    <a:pt x="31" y="35"/>
                  </a:lnTo>
                  <a:lnTo>
                    <a:pt x="33" y="40"/>
                  </a:lnTo>
                  <a:lnTo>
                    <a:pt x="38" y="40"/>
                  </a:lnTo>
                  <a:lnTo>
                    <a:pt x="38" y="44"/>
                  </a:lnTo>
                  <a:lnTo>
                    <a:pt x="45" y="52"/>
                  </a:lnTo>
                  <a:lnTo>
                    <a:pt x="45" y="61"/>
                  </a:lnTo>
                  <a:lnTo>
                    <a:pt x="47" y="61"/>
                  </a:lnTo>
                  <a:lnTo>
                    <a:pt x="47" y="66"/>
                  </a:lnTo>
                  <a:lnTo>
                    <a:pt x="62" y="66"/>
                  </a:lnTo>
                  <a:lnTo>
                    <a:pt x="62" y="68"/>
                  </a:lnTo>
                  <a:lnTo>
                    <a:pt x="57" y="82"/>
                  </a:lnTo>
                  <a:lnTo>
                    <a:pt x="50" y="92"/>
                  </a:lnTo>
                  <a:lnTo>
                    <a:pt x="45" y="92"/>
                  </a:lnTo>
                  <a:lnTo>
                    <a:pt x="40" y="89"/>
                  </a:lnTo>
                  <a:lnTo>
                    <a:pt x="40" y="85"/>
                  </a:lnTo>
                  <a:lnTo>
                    <a:pt x="38" y="75"/>
                  </a:lnTo>
                  <a:lnTo>
                    <a:pt x="33" y="66"/>
                  </a:lnTo>
                  <a:lnTo>
                    <a:pt x="31" y="61"/>
                  </a:lnTo>
                  <a:lnTo>
                    <a:pt x="26" y="56"/>
                  </a:lnTo>
                  <a:lnTo>
                    <a:pt x="26" y="49"/>
                  </a:lnTo>
                  <a:lnTo>
                    <a:pt x="24" y="49"/>
                  </a:lnTo>
                  <a:lnTo>
                    <a:pt x="24" y="59"/>
                  </a:lnTo>
                  <a:lnTo>
                    <a:pt x="26" y="68"/>
                  </a:lnTo>
                  <a:lnTo>
                    <a:pt x="24" y="73"/>
                  </a:lnTo>
                  <a:lnTo>
                    <a:pt x="21" y="78"/>
                  </a:lnTo>
                  <a:lnTo>
                    <a:pt x="17" y="78"/>
                  </a:lnTo>
                  <a:lnTo>
                    <a:pt x="10" y="82"/>
                  </a:lnTo>
                  <a:lnTo>
                    <a:pt x="7" y="78"/>
                  </a:lnTo>
                  <a:lnTo>
                    <a:pt x="5" y="68"/>
                  </a:lnTo>
                  <a:lnTo>
                    <a:pt x="5" y="61"/>
                  </a:lnTo>
                  <a:lnTo>
                    <a:pt x="7" y="66"/>
                  </a:lnTo>
                  <a:lnTo>
                    <a:pt x="7" y="68"/>
                  </a:lnTo>
                  <a:lnTo>
                    <a:pt x="10" y="75"/>
                  </a:lnTo>
                  <a:lnTo>
                    <a:pt x="10" y="66"/>
                  </a:lnTo>
                  <a:lnTo>
                    <a:pt x="7" y="61"/>
                  </a:lnTo>
                  <a:lnTo>
                    <a:pt x="7" y="56"/>
                  </a:lnTo>
                  <a:lnTo>
                    <a:pt x="10" y="56"/>
                  </a:lnTo>
                  <a:lnTo>
                    <a:pt x="7" y="52"/>
                  </a:lnTo>
                  <a:lnTo>
                    <a:pt x="7" y="42"/>
                  </a:lnTo>
                  <a:lnTo>
                    <a:pt x="5" y="33"/>
                  </a:lnTo>
                  <a:lnTo>
                    <a:pt x="5" y="28"/>
                  </a:lnTo>
                  <a:lnTo>
                    <a:pt x="0" y="28"/>
                  </a:lnTo>
                  <a:lnTo>
                    <a:pt x="10" y="21"/>
                  </a:lnTo>
                  <a:lnTo>
                    <a:pt x="10" y="18"/>
                  </a:lnTo>
                  <a:lnTo>
                    <a:pt x="14" y="18"/>
                  </a:lnTo>
                  <a:lnTo>
                    <a:pt x="14" y="26"/>
                  </a:lnTo>
                  <a:lnTo>
                    <a:pt x="17" y="35"/>
                  </a:lnTo>
                  <a:lnTo>
                    <a:pt x="17" y="26"/>
                  </a:lnTo>
                  <a:lnTo>
                    <a:pt x="14" y="11"/>
                  </a:lnTo>
                  <a:lnTo>
                    <a:pt x="14" y="4"/>
                  </a:lnTo>
                  <a:lnTo>
                    <a:pt x="24" y="0"/>
                  </a:lnTo>
                  <a:lnTo>
                    <a:pt x="24" y="11"/>
                  </a:lnTo>
                  <a:lnTo>
                    <a:pt x="26" y="4"/>
                  </a:lnTo>
                  <a:lnTo>
                    <a:pt x="31" y="4"/>
                  </a:lnTo>
                  <a:lnTo>
                    <a:pt x="38" y="9"/>
                  </a:lnTo>
                  <a:lnTo>
                    <a:pt x="47" y="9"/>
                  </a:lnTo>
                  <a:lnTo>
                    <a:pt x="50" y="18"/>
                  </a:lnTo>
                  <a:lnTo>
                    <a:pt x="55" y="21"/>
                  </a:lnTo>
                  <a:lnTo>
                    <a:pt x="50" y="28"/>
                  </a:lnTo>
                  <a:lnTo>
                    <a:pt x="45" y="28"/>
                  </a:lnTo>
                  <a:lnTo>
                    <a:pt x="40" y="26"/>
                  </a:lnTo>
                  <a:lnTo>
                    <a:pt x="38" y="26"/>
                  </a:lnTo>
                  <a:lnTo>
                    <a:pt x="38" y="33"/>
                  </a:lnTo>
                  <a:lnTo>
                    <a:pt x="40" y="35"/>
                  </a:lnTo>
                  <a:lnTo>
                    <a:pt x="47" y="35"/>
                  </a:lnTo>
                  <a:lnTo>
                    <a:pt x="50" y="33"/>
                  </a:lnTo>
                  <a:lnTo>
                    <a:pt x="55" y="28"/>
                  </a:lnTo>
                  <a:lnTo>
                    <a:pt x="57" y="26"/>
                  </a:lnTo>
                  <a:lnTo>
                    <a:pt x="66" y="35"/>
                  </a:lnTo>
                  <a:lnTo>
                    <a:pt x="71" y="44"/>
                  </a:lnTo>
                  <a:lnTo>
                    <a:pt x="71" y="49"/>
                  </a:lnTo>
                  <a:lnTo>
                    <a:pt x="66" y="56"/>
                  </a:lnTo>
                  <a:lnTo>
                    <a:pt x="62" y="56"/>
                  </a:lnTo>
                  <a:lnTo>
                    <a:pt x="57" y="49"/>
                  </a:lnTo>
                  <a:lnTo>
                    <a:pt x="57" y="56"/>
                  </a:lnTo>
                  <a:lnTo>
                    <a:pt x="62" y="56"/>
                  </a:lnTo>
                  <a:lnTo>
                    <a:pt x="62" y="61"/>
                  </a:lnTo>
                  <a:lnTo>
                    <a:pt x="57" y="66"/>
                  </a:lnTo>
                  <a:lnTo>
                    <a:pt x="57" y="61"/>
                  </a:lnTo>
                  <a:lnTo>
                    <a:pt x="50" y="6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7" name="Freeform 111">
              <a:extLst>
                <a:ext uri="{FF2B5EF4-FFF2-40B4-BE49-F238E27FC236}">
                  <a16:creationId xmlns:a16="http://schemas.microsoft.com/office/drawing/2014/main" id="{B7C32C60-7603-466F-AECE-7979B9C69F97}"/>
                </a:ext>
              </a:extLst>
            </p:cNvPr>
            <p:cNvSpPr>
              <a:spLocks/>
            </p:cNvSpPr>
            <p:nvPr/>
          </p:nvSpPr>
          <p:spPr bwMode="gray">
            <a:xfrm rot="47099">
              <a:off x="736434" y="2368897"/>
              <a:ext cx="5343" cy="6754"/>
            </a:xfrm>
            <a:custGeom>
              <a:avLst/>
              <a:gdLst>
                <a:gd name="T0" fmla="*/ 9 w 11"/>
                <a:gd name="T1" fmla="*/ 0 h 16"/>
                <a:gd name="T2" fmla="*/ 9 w 11"/>
                <a:gd name="T3" fmla="*/ 5 h 16"/>
                <a:gd name="T4" fmla="*/ 11 w 11"/>
                <a:gd name="T5" fmla="*/ 16 h 16"/>
                <a:gd name="T6" fmla="*/ 9 w 11"/>
                <a:gd name="T7" fmla="*/ 14 h 16"/>
                <a:gd name="T8" fmla="*/ 7 w 11"/>
                <a:gd name="T9" fmla="*/ 14 h 16"/>
                <a:gd name="T10" fmla="*/ 7 w 11"/>
                <a:gd name="T11" fmla="*/ 12 h 16"/>
                <a:gd name="T12" fmla="*/ 0 w 11"/>
                <a:gd name="T13" fmla="*/ 12 h 16"/>
                <a:gd name="T14" fmla="*/ 0 w 11"/>
                <a:gd name="T15" fmla="*/ 0 h 16"/>
                <a:gd name="T16" fmla="*/ 9 w 11"/>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6"/>
                <a:gd name="T29" fmla="*/ 11 w 11"/>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6">
                  <a:moveTo>
                    <a:pt x="9" y="0"/>
                  </a:moveTo>
                  <a:lnTo>
                    <a:pt x="9" y="5"/>
                  </a:lnTo>
                  <a:lnTo>
                    <a:pt x="11" y="16"/>
                  </a:lnTo>
                  <a:lnTo>
                    <a:pt x="9" y="14"/>
                  </a:lnTo>
                  <a:lnTo>
                    <a:pt x="7" y="14"/>
                  </a:lnTo>
                  <a:lnTo>
                    <a:pt x="7" y="12"/>
                  </a:lnTo>
                  <a:lnTo>
                    <a:pt x="0" y="12"/>
                  </a:lnTo>
                  <a:lnTo>
                    <a:pt x="0"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8" name="Freeform 112">
              <a:extLst>
                <a:ext uri="{FF2B5EF4-FFF2-40B4-BE49-F238E27FC236}">
                  <a16:creationId xmlns:a16="http://schemas.microsoft.com/office/drawing/2014/main" id="{E143C1A2-3D2D-4E78-85E8-B4AA3C523CA3}"/>
                </a:ext>
              </a:extLst>
            </p:cNvPr>
            <p:cNvSpPr>
              <a:spLocks/>
            </p:cNvSpPr>
            <p:nvPr/>
          </p:nvSpPr>
          <p:spPr bwMode="gray">
            <a:xfrm rot="47099">
              <a:off x="712124" y="2362942"/>
              <a:ext cx="29390" cy="56924"/>
            </a:xfrm>
            <a:custGeom>
              <a:avLst/>
              <a:gdLst>
                <a:gd name="T0" fmla="*/ 45 w 61"/>
                <a:gd name="T1" fmla="*/ 97 h 121"/>
                <a:gd name="T2" fmla="*/ 43 w 61"/>
                <a:gd name="T3" fmla="*/ 92 h 121"/>
                <a:gd name="T4" fmla="*/ 40 w 61"/>
                <a:gd name="T5" fmla="*/ 92 h 121"/>
                <a:gd name="T6" fmla="*/ 43 w 61"/>
                <a:gd name="T7" fmla="*/ 97 h 121"/>
                <a:gd name="T8" fmla="*/ 45 w 61"/>
                <a:gd name="T9" fmla="*/ 99 h 121"/>
                <a:gd name="T10" fmla="*/ 43 w 61"/>
                <a:gd name="T11" fmla="*/ 106 h 121"/>
                <a:gd name="T12" fmla="*/ 36 w 61"/>
                <a:gd name="T13" fmla="*/ 109 h 121"/>
                <a:gd name="T14" fmla="*/ 33 w 61"/>
                <a:gd name="T15" fmla="*/ 102 h 121"/>
                <a:gd name="T16" fmla="*/ 36 w 61"/>
                <a:gd name="T17" fmla="*/ 102 h 121"/>
                <a:gd name="T18" fmla="*/ 28 w 61"/>
                <a:gd name="T19" fmla="*/ 97 h 121"/>
                <a:gd name="T20" fmla="*/ 28 w 61"/>
                <a:gd name="T21" fmla="*/ 109 h 121"/>
                <a:gd name="T22" fmla="*/ 21 w 61"/>
                <a:gd name="T23" fmla="*/ 113 h 121"/>
                <a:gd name="T24" fmla="*/ 2 w 61"/>
                <a:gd name="T25" fmla="*/ 121 h 121"/>
                <a:gd name="T26" fmla="*/ 0 w 61"/>
                <a:gd name="T27" fmla="*/ 116 h 121"/>
                <a:gd name="T28" fmla="*/ 0 w 61"/>
                <a:gd name="T29" fmla="*/ 109 h 121"/>
                <a:gd name="T30" fmla="*/ 5 w 61"/>
                <a:gd name="T31" fmla="*/ 99 h 121"/>
                <a:gd name="T32" fmla="*/ 17 w 61"/>
                <a:gd name="T33" fmla="*/ 92 h 121"/>
                <a:gd name="T34" fmla="*/ 21 w 61"/>
                <a:gd name="T35" fmla="*/ 99 h 121"/>
                <a:gd name="T36" fmla="*/ 21 w 61"/>
                <a:gd name="T37" fmla="*/ 92 h 121"/>
                <a:gd name="T38" fmla="*/ 19 w 61"/>
                <a:gd name="T39" fmla="*/ 90 h 121"/>
                <a:gd name="T40" fmla="*/ 19 w 61"/>
                <a:gd name="T41" fmla="*/ 80 h 121"/>
                <a:gd name="T42" fmla="*/ 21 w 61"/>
                <a:gd name="T43" fmla="*/ 83 h 121"/>
                <a:gd name="T44" fmla="*/ 28 w 61"/>
                <a:gd name="T45" fmla="*/ 80 h 121"/>
                <a:gd name="T46" fmla="*/ 19 w 61"/>
                <a:gd name="T47" fmla="*/ 80 h 121"/>
                <a:gd name="T48" fmla="*/ 19 w 61"/>
                <a:gd name="T49" fmla="*/ 69 h 121"/>
                <a:gd name="T50" fmla="*/ 21 w 61"/>
                <a:gd name="T51" fmla="*/ 59 h 121"/>
                <a:gd name="T52" fmla="*/ 21 w 61"/>
                <a:gd name="T53" fmla="*/ 57 h 121"/>
                <a:gd name="T54" fmla="*/ 28 w 61"/>
                <a:gd name="T55" fmla="*/ 50 h 121"/>
                <a:gd name="T56" fmla="*/ 36 w 61"/>
                <a:gd name="T57" fmla="*/ 26 h 121"/>
                <a:gd name="T58" fmla="*/ 36 w 61"/>
                <a:gd name="T59" fmla="*/ 17 h 121"/>
                <a:gd name="T60" fmla="*/ 40 w 61"/>
                <a:gd name="T61" fmla="*/ 5 h 121"/>
                <a:gd name="T62" fmla="*/ 40 w 61"/>
                <a:gd name="T63" fmla="*/ 2 h 121"/>
                <a:gd name="T64" fmla="*/ 43 w 61"/>
                <a:gd name="T65" fmla="*/ 0 h 121"/>
                <a:gd name="T66" fmla="*/ 45 w 61"/>
                <a:gd name="T67" fmla="*/ 10 h 121"/>
                <a:gd name="T68" fmla="*/ 45 w 61"/>
                <a:gd name="T69" fmla="*/ 19 h 121"/>
                <a:gd name="T70" fmla="*/ 43 w 61"/>
                <a:gd name="T71" fmla="*/ 24 h 121"/>
                <a:gd name="T72" fmla="*/ 43 w 61"/>
                <a:gd name="T73" fmla="*/ 26 h 121"/>
                <a:gd name="T74" fmla="*/ 52 w 61"/>
                <a:gd name="T75" fmla="*/ 26 h 121"/>
                <a:gd name="T76" fmla="*/ 57 w 61"/>
                <a:gd name="T77" fmla="*/ 28 h 121"/>
                <a:gd name="T78" fmla="*/ 57 w 61"/>
                <a:gd name="T79" fmla="*/ 33 h 121"/>
                <a:gd name="T80" fmla="*/ 61 w 61"/>
                <a:gd name="T81" fmla="*/ 33 h 121"/>
                <a:gd name="T82" fmla="*/ 61 w 61"/>
                <a:gd name="T83" fmla="*/ 40 h 121"/>
                <a:gd name="T84" fmla="*/ 59 w 61"/>
                <a:gd name="T85" fmla="*/ 43 h 121"/>
                <a:gd name="T86" fmla="*/ 61 w 61"/>
                <a:gd name="T87" fmla="*/ 50 h 121"/>
                <a:gd name="T88" fmla="*/ 61 w 61"/>
                <a:gd name="T89" fmla="*/ 57 h 121"/>
                <a:gd name="T90" fmla="*/ 59 w 61"/>
                <a:gd name="T91" fmla="*/ 69 h 121"/>
                <a:gd name="T92" fmla="*/ 59 w 61"/>
                <a:gd name="T93" fmla="*/ 73 h 121"/>
                <a:gd name="T94" fmla="*/ 57 w 61"/>
                <a:gd name="T95" fmla="*/ 80 h 121"/>
                <a:gd name="T96" fmla="*/ 52 w 61"/>
                <a:gd name="T97" fmla="*/ 83 h 121"/>
                <a:gd name="T98" fmla="*/ 52 w 61"/>
                <a:gd name="T99" fmla="*/ 73 h 121"/>
                <a:gd name="T100" fmla="*/ 57 w 61"/>
                <a:gd name="T101" fmla="*/ 69 h 121"/>
                <a:gd name="T102" fmla="*/ 57 w 61"/>
                <a:gd name="T103" fmla="*/ 62 h 121"/>
                <a:gd name="T104" fmla="*/ 52 w 61"/>
                <a:gd name="T105" fmla="*/ 62 h 121"/>
                <a:gd name="T106" fmla="*/ 57 w 61"/>
                <a:gd name="T107" fmla="*/ 59 h 121"/>
                <a:gd name="T108" fmla="*/ 57 w 61"/>
                <a:gd name="T109" fmla="*/ 40 h 121"/>
                <a:gd name="T110" fmla="*/ 52 w 61"/>
                <a:gd name="T111" fmla="*/ 43 h 121"/>
                <a:gd name="T112" fmla="*/ 50 w 61"/>
                <a:gd name="T113" fmla="*/ 57 h 121"/>
                <a:gd name="T114" fmla="*/ 50 w 61"/>
                <a:gd name="T115" fmla="*/ 97 h 121"/>
                <a:gd name="T116" fmla="*/ 45 w 61"/>
                <a:gd name="T117" fmla="*/ 97 h 12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
                <a:gd name="T178" fmla="*/ 0 h 121"/>
                <a:gd name="T179" fmla="*/ 61 w 61"/>
                <a:gd name="T180" fmla="*/ 121 h 12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 h="121">
                  <a:moveTo>
                    <a:pt x="45" y="97"/>
                  </a:moveTo>
                  <a:lnTo>
                    <a:pt x="43" y="92"/>
                  </a:lnTo>
                  <a:lnTo>
                    <a:pt x="40" y="92"/>
                  </a:lnTo>
                  <a:lnTo>
                    <a:pt x="43" y="97"/>
                  </a:lnTo>
                  <a:lnTo>
                    <a:pt x="45" y="99"/>
                  </a:lnTo>
                  <a:lnTo>
                    <a:pt x="43" y="106"/>
                  </a:lnTo>
                  <a:lnTo>
                    <a:pt x="36" y="109"/>
                  </a:lnTo>
                  <a:lnTo>
                    <a:pt x="33" y="102"/>
                  </a:lnTo>
                  <a:lnTo>
                    <a:pt x="36" y="102"/>
                  </a:lnTo>
                  <a:lnTo>
                    <a:pt x="28" y="97"/>
                  </a:lnTo>
                  <a:lnTo>
                    <a:pt x="28" y="109"/>
                  </a:lnTo>
                  <a:lnTo>
                    <a:pt x="21" y="113"/>
                  </a:lnTo>
                  <a:lnTo>
                    <a:pt x="2" y="121"/>
                  </a:lnTo>
                  <a:lnTo>
                    <a:pt x="0" y="116"/>
                  </a:lnTo>
                  <a:lnTo>
                    <a:pt x="0" y="109"/>
                  </a:lnTo>
                  <a:lnTo>
                    <a:pt x="5" y="99"/>
                  </a:lnTo>
                  <a:lnTo>
                    <a:pt x="17" y="92"/>
                  </a:lnTo>
                  <a:lnTo>
                    <a:pt x="21" y="99"/>
                  </a:lnTo>
                  <a:lnTo>
                    <a:pt x="21" y="92"/>
                  </a:lnTo>
                  <a:lnTo>
                    <a:pt x="19" y="90"/>
                  </a:lnTo>
                  <a:lnTo>
                    <a:pt x="19" y="80"/>
                  </a:lnTo>
                  <a:lnTo>
                    <a:pt x="21" y="83"/>
                  </a:lnTo>
                  <a:lnTo>
                    <a:pt x="28" y="80"/>
                  </a:lnTo>
                  <a:lnTo>
                    <a:pt x="19" y="80"/>
                  </a:lnTo>
                  <a:lnTo>
                    <a:pt x="19" y="69"/>
                  </a:lnTo>
                  <a:lnTo>
                    <a:pt x="21" y="59"/>
                  </a:lnTo>
                  <a:lnTo>
                    <a:pt x="21" y="57"/>
                  </a:lnTo>
                  <a:lnTo>
                    <a:pt x="28" y="50"/>
                  </a:lnTo>
                  <a:lnTo>
                    <a:pt x="36" y="26"/>
                  </a:lnTo>
                  <a:lnTo>
                    <a:pt x="36" y="17"/>
                  </a:lnTo>
                  <a:lnTo>
                    <a:pt x="40" y="5"/>
                  </a:lnTo>
                  <a:lnTo>
                    <a:pt x="40" y="2"/>
                  </a:lnTo>
                  <a:lnTo>
                    <a:pt x="43" y="0"/>
                  </a:lnTo>
                  <a:lnTo>
                    <a:pt x="45" y="10"/>
                  </a:lnTo>
                  <a:lnTo>
                    <a:pt x="45" y="19"/>
                  </a:lnTo>
                  <a:lnTo>
                    <a:pt x="43" y="24"/>
                  </a:lnTo>
                  <a:lnTo>
                    <a:pt x="43" y="26"/>
                  </a:lnTo>
                  <a:lnTo>
                    <a:pt x="52" y="26"/>
                  </a:lnTo>
                  <a:lnTo>
                    <a:pt x="57" y="28"/>
                  </a:lnTo>
                  <a:lnTo>
                    <a:pt x="57" y="33"/>
                  </a:lnTo>
                  <a:lnTo>
                    <a:pt x="61" y="33"/>
                  </a:lnTo>
                  <a:lnTo>
                    <a:pt x="61" y="40"/>
                  </a:lnTo>
                  <a:lnTo>
                    <a:pt x="59" y="43"/>
                  </a:lnTo>
                  <a:lnTo>
                    <a:pt x="61" y="50"/>
                  </a:lnTo>
                  <a:lnTo>
                    <a:pt x="61" y="57"/>
                  </a:lnTo>
                  <a:lnTo>
                    <a:pt x="59" y="69"/>
                  </a:lnTo>
                  <a:lnTo>
                    <a:pt x="59" y="73"/>
                  </a:lnTo>
                  <a:lnTo>
                    <a:pt x="57" y="80"/>
                  </a:lnTo>
                  <a:lnTo>
                    <a:pt x="52" y="83"/>
                  </a:lnTo>
                  <a:lnTo>
                    <a:pt x="52" y="73"/>
                  </a:lnTo>
                  <a:lnTo>
                    <a:pt x="57" y="69"/>
                  </a:lnTo>
                  <a:lnTo>
                    <a:pt x="57" y="62"/>
                  </a:lnTo>
                  <a:lnTo>
                    <a:pt x="52" y="62"/>
                  </a:lnTo>
                  <a:lnTo>
                    <a:pt x="57" y="59"/>
                  </a:lnTo>
                  <a:lnTo>
                    <a:pt x="57" y="40"/>
                  </a:lnTo>
                  <a:lnTo>
                    <a:pt x="52" y="43"/>
                  </a:lnTo>
                  <a:lnTo>
                    <a:pt x="50" y="57"/>
                  </a:lnTo>
                  <a:lnTo>
                    <a:pt x="50" y="97"/>
                  </a:lnTo>
                  <a:lnTo>
                    <a:pt x="45" y="9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29" name="Freeform 113">
              <a:extLst>
                <a:ext uri="{FF2B5EF4-FFF2-40B4-BE49-F238E27FC236}">
                  <a16:creationId xmlns:a16="http://schemas.microsoft.com/office/drawing/2014/main" id="{9229D460-6BBF-4B1B-8CA8-1C77DF6A3DC2}"/>
                </a:ext>
              </a:extLst>
            </p:cNvPr>
            <p:cNvSpPr>
              <a:spLocks/>
            </p:cNvSpPr>
            <p:nvPr/>
          </p:nvSpPr>
          <p:spPr bwMode="gray">
            <a:xfrm rot="47099">
              <a:off x="414337" y="2143651"/>
              <a:ext cx="24938" cy="18332"/>
            </a:xfrm>
            <a:custGeom>
              <a:avLst/>
              <a:gdLst>
                <a:gd name="T0" fmla="*/ 8 w 55"/>
                <a:gd name="T1" fmla="*/ 28 h 40"/>
                <a:gd name="T2" fmla="*/ 5 w 55"/>
                <a:gd name="T3" fmla="*/ 31 h 40"/>
                <a:gd name="T4" fmla="*/ 0 w 55"/>
                <a:gd name="T5" fmla="*/ 28 h 40"/>
                <a:gd name="T6" fmla="*/ 0 w 55"/>
                <a:gd name="T7" fmla="*/ 5 h 40"/>
                <a:gd name="T8" fmla="*/ 5 w 55"/>
                <a:gd name="T9" fmla="*/ 0 h 40"/>
                <a:gd name="T10" fmla="*/ 8 w 55"/>
                <a:gd name="T11" fmla="*/ 0 h 40"/>
                <a:gd name="T12" fmla="*/ 8 w 55"/>
                <a:gd name="T13" fmla="*/ 12 h 40"/>
                <a:gd name="T14" fmla="*/ 10 w 55"/>
                <a:gd name="T15" fmla="*/ 14 h 40"/>
                <a:gd name="T16" fmla="*/ 10 w 55"/>
                <a:gd name="T17" fmla="*/ 0 h 40"/>
                <a:gd name="T18" fmla="*/ 17 w 55"/>
                <a:gd name="T19" fmla="*/ 0 h 40"/>
                <a:gd name="T20" fmla="*/ 24 w 55"/>
                <a:gd name="T21" fmla="*/ 7 h 40"/>
                <a:gd name="T22" fmla="*/ 26 w 55"/>
                <a:gd name="T23" fmla="*/ 5 h 40"/>
                <a:gd name="T24" fmla="*/ 31 w 55"/>
                <a:gd name="T25" fmla="*/ 0 h 40"/>
                <a:gd name="T26" fmla="*/ 41 w 55"/>
                <a:gd name="T27" fmla="*/ 0 h 40"/>
                <a:gd name="T28" fmla="*/ 41 w 55"/>
                <a:gd name="T29" fmla="*/ 14 h 40"/>
                <a:gd name="T30" fmla="*/ 48 w 55"/>
                <a:gd name="T31" fmla="*/ 14 h 40"/>
                <a:gd name="T32" fmla="*/ 55 w 55"/>
                <a:gd name="T33" fmla="*/ 31 h 40"/>
                <a:gd name="T34" fmla="*/ 50 w 55"/>
                <a:gd name="T35" fmla="*/ 35 h 40"/>
                <a:gd name="T36" fmla="*/ 48 w 55"/>
                <a:gd name="T37" fmla="*/ 38 h 40"/>
                <a:gd name="T38" fmla="*/ 45 w 55"/>
                <a:gd name="T39" fmla="*/ 38 h 40"/>
                <a:gd name="T40" fmla="*/ 41 w 55"/>
                <a:gd name="T41" fmla="*/ 40 h 40"/>
                <a:gd name="T42" fmla="*/ 38 w 55"/>
                <a:gd name="T43" fmla="*/ 40 h 40"/>
                <a:gd name="T44" fmla="*/ 38 w 55"/>
                <a:gd name="T45" fmla="*/ 38 h 40"/>
                <a:gd name="T46" fmla="*/ 34 w 55"/>
                <a:gd name="T47" fmla="*/ 35 h 40"/>
                <a:gd name="T48" fmla="*/ 38 w 55"/>
                <a:gd name="T49" fmla="*/ 31 h 40"/>
                <a:gd name="T50" fmla="*/ 41 w 55"/>
                <a:gd name="T51" fmla="*/ 28 h 40"/>
                <a:gd name="T52" fmla="*/ 31 w 55"/>
                <a:gd name="T53" fmla="*/ 28 h 40"/>
                <a:gd name="T54" fmla="*/ 31 w 55"/>
                <a:gd name="T55" fmla="*/ 35 h 40"/>
                <a:gd name="T56" fmla="*/ 24 w 55"/>
                <a:gd name="T57" fmla="*/ 31 h 40"/>
                <a:gd name="T58" fmla="*/ 22 w 55"/>
                <a:gd name="T59" fmla="*/ 24 h 40"/>
                <a:gd name="T60" fmla="*/ 17 w 55"/>
                <a:gd name="T61" fmla="*/ 28 h 40"/>
                <a:gd name="T62" fmla="*/ 8 w 55"/>
                <a:gd name="T63" fmla="*/ 28 h 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
                <a:gd name="T97" fmla="*/ 0 h 40"/>
                <a:gd name="T98" fmla="*/ 55 w 55"/>
                <a:gd name="T99" fmla="*/ 40 h 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 h="40">
                  <a:moveTo>
                    <a:pt x="8" y="28"/>
                  </a:moveTo>
                  <a:lnTo>
                    <a:pt x="5" y="31"/>
                  </a:lnTo>
                  <a:lnTo>
                    <a:pt x="0" y="28"/>
                  </a:lnTo>
                  <a:lnTo>
                    <a:pt x="0" y="5"/>
                  </a:lnTo>
                  <a:lnTo>
                    <a:pt x="5" y="0"/>
                  </a:lnTo>
                  <a:lnTo>
                    <a:pt x="8" y="0"/>
                  </a:lnTo>
                  <a:lnTo>
                    <a:pt x="8" y="12"/>
                  </a:lnTo>
                  <a:lnTo>
                    <a:pt x="10" y="14"/>
                  </a:lnTo>
                  <a:lnTo>
                    <a:pt x="10" y="0"/>
                  </a:lnTo>
                  <a:lnTo>
                    <a:pt x="17" y="0"/>
                  </a:lnTo>
                  <a:lnTo>
                    <a:pt x="24" y="7"/>
                  </a:lnTo>
                  <a:lnTo>
                    <a:pt x="26" y="5"/>
                  </a:lnTo>
                  <a:lnTo>
                    <a:pt x="31" y="0"/>
                  </a:lnTo>
                  <a:lnTo>
                    <a:pt x="41" y="0"/>
                  </a:lnTo>
                  <a:lnTo>
                    <a:pt x="41" y="14"/>
                  </a:lnTo>
                  <a:lnTo>
                    <a:pt x="48" y="14"/>
                  </a:lnTo>
                  <a:lnTo>
                    <a:pt x="55" y="31"/>
                  </a:lnTo>
                  <a:lnTo>
                    <a:pt x="50" y="35"/>
                  </a:lnTo>
                  <a:lnTo>
                    <a:pt x="48" y="38"/>
                  </a:lnTo>
                  <a:lnTo>
                    <a:pt x="45" y="38"/>
                  </a:lnTo>
                  <a:lnTo>
                    <a:pt x="41" y="40"/>
                  </a:lnTo>
                  <a:lnTo>
                    <a:pt x="38" y="40"/>
                  </a:lnTo>
                  <a:lnTo>
                    <a:pt x="38" y="38"/>
                  </a:lnTo>
                  <a:lnTo>
                    <a:pt x="34" y="35"/>
                  </a:lnTo>
                  <a:lnTo>
                    <a:pt x="38" y="31"/>
                  </a:lnTo>
                  <a:lnTo>
                    <a:pt x="41" y="28"/>
                  </a:lnTo>
                  <a:lnTo>
                    <a:pt x="31" y="28"/>
                  </a:lnTo>
                  <a:lnTo>
                    <a:pt x="31" y="35"/>
                  </a:lnTo>
                  <a:lnTo>
                    <a:pt x="24" y="31"/>
                  </a:lnTo>
                  <a:lnTo>
                    <a:pt x="22" y="24"/>
                  </a:lnTo>
                  <a:lnTo>
                    <a:pt x="17" y="28"/>
                  </a:lnTo>
                  <a:lnTo>
                    <a:pt x="8" y="2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0" name="Freeform 114">
              <a:extLst>
                <a:ext uri="{FF2B5EF4-FFF2-40B4-BE49-F238E27FC236}">
                  <a16:creationId xmlns:a16="http://schemas.microsoft.com/office/drawing/2014/main" id="{818DE3D6-98A8-4CAB-8FAF-E2D82BAB6CC3}"/>
                </a:ext>
              </a:extLst>
            </p:cNvPr>
            <p:cNvSpPr>
              <a:spLocks/>
            </p:cNvSpPr>
            <p:nvPr/>
          </p:nvSpPr>
          <p:spPr bwMode="gray">
            <a:xfrm rot="47099">
              <a:off x="433158" y="2141875"/>
              <a:ext cx="9796" cy="4824"/>
            </a:xfrm>
            <a:custGeom>
              <a:avLst/>
              <a:gdLst>
                <a:gd name="T0" fmla="*/ 14 w 21"/>
                <a:gd name="T1" fmla="*/ 5 h 10"/>
                <a:gd name="T2" fmla="*/ 14 w 21"/>
                <a:gd name="T3" fmla="*/ 10 h 10"/>
                <a:gd name="T4" fmla="*/ 4 w 21"/>
                <a:gd name="T5" fmla="*/ 10 h 10"/>
                <a:gd name="T6" fmla="*/ 0 w 21"/>
                <a:gd name="T7" fmla="*/ 5 h 10"/>
                <a:gd name="T8" fmla="*/ 0 w 21"/>
                <a:gd name="T9" fmla="*/ 3 h 10"/>
                <a:gd name="T10" fmla="*/ 4 w 21"/>
                <a:gd name="T11" fmla="*/ 0 h 10"/>
                <a:gd name="T12" fmla="*/ 9 w 21"/>
                <a:gd name="T13" fmla="*/ 3 h 10"/>
                <a:gd name="T14" fmla="*/ 21 w 21"/>
                <a:gd name="T15" fmla="*/ 3 h 10"/>
                <a:gd name="T16" fmla="*/ 16 w 21"/>
                <a:gd name="T17" fmla="*/ 5 h 10"/>
                <a:gd name="T18" fmla="*/ 14 w 21"/>
                <a:gd name="T19" fmla="*/ 5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0"/>
                <a:gd name="T32" fmla="*/ 21 w 21"/>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0">
                  <a:moveTo>
                    <a:pt x="14" y="5"/>
                  </a:moveTo>
                  <a:lnTo>
                    <a:pt x="14" y="10"/>
                  </a:lnTo>
                  <a:lnTo>
                    <a:pt x="4" y="10"/>
                  </a:lnTo>
                  <a:lnTo>
                    <a:pt x="0" y="5"/>
                  </a:lnTo>
                  <a:lnTo>
                    <a:pt x="0" y="3"/>
                  </a:lnTo>
                  <a:lnTo>
                    <a:pt x="4" y="0"/>
                  </a:lnTo>
                  <a:lnTo>
                    <a:pt x="9" y="3"/>
                  </a:lnTo>
                  <a:lnTo>
                    <a:pt x="21" y="3"/>
                  </a:lnTo>
                  <a:lnTo>
                    <a:pt x="16" y="5"/>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1" name="Freeform 115">
              <a:extLst>
                <a:ext uri="{FF2B5EF4-FFF2-40B4-BE49-F238E27FC236}">
                  <a16:creationId xmlns:a16="http://schemas.microsoft.com/office/drawing/2014/main" id="{D3C6861F-58AC-4636-B2A6-F82916EC2778}"/>
                </a:ext>
              </a:extLst>
            </p:cNvPr>
            <p:cNvSpPr>
              <a:spLocks/>
            </p:cNvSpPr>
            <p:nvPr/>
          </p:nvSpPr>
          <p:spPr bwMode="gray">
            <a:xfrm rot="47099">
              <a:off x="318277" y="2009085"/>
              <a:ext cx="11578" cy="7718"/>
            </a:xfrm>
            <a:custGeom>
              <a:avLst/>
              <a:gdLst>
                <a:gd name="T0" fmla="*/ 7 w 26"/>
                <a:gd name="T1" fmla="*/ 0 h 14"/>
                <a:gd name="T2" fmla="*/ 10 w 26"/>
                <a:gd name="T3" fmla="*/ 0 h 14"/>
                <a:gd name="T4" fmla="*/ 17 w 26"/>
                <a:gd name="T5" fmla="*/ 3 h 14"/>
                <a:gd name="T6" fmla="*/ 21 w 26"/>
                <a:gd name="T7" fmla="*/ 3 h 14"/>
                <a:gd name="T8" fmla="*/ 24 w 26"/>
                <a:gd name="T9" fmla="*/ 7 h 14"/>
                <a:gd name="T10" fmla="*/ 26 w 26"/>
                <a:gd name="T11" fmla="*/ 7 h 14"/>
                <a:gd name="T12" fmla="*/ 7 w 26"/>
                <a:gd name="T13" fmla="*/ 14 h 14"/>
                <a:gd name="T14" fmla="*/ 3 w 26"/>
                <a:gd name="T15" fmla="*/ 14 h 14"/>
                <a:gd name="T16" fmla="*/ 0 w 26"/>
                <a:gd name="T17" fmla="*/ 10 h 14"/>
                <a:gd name="T18" fmla="*/ 0 w 26"/>
                <a:gd name="T19" fmla="*/ 7 h 14"/>
                <a:gd name="T20" fmla="*/ 7 w 26"/>
                <a:gd name="T21" fmla="*/ 3 h 14"/>
                <a:gd name="T22" fmla="*/ 7 w 26"/>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14"/>
                <a:gd name="T38" fmla="*/ 26 w 2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14">
                  <a:moveTo>
                    <a:pt x="7" y="0"/>
                  </a:moveTo>
                  <a:lnTo>
                    <a:pt x="10" y="0"/>
                  </a:lnTo>
                  <a:lnTo>
                    <a:pt x="17" y="3"/>
                  </a:lnTo>
                  <a:lnTo>
                    <a:pt x="21" y="3"/>
                  </a:lnTo>
                  <a:lnTo>
                    <a:pt x="24" y="7"/>
                  </a:lnTo>
                  <a:lnTo>
                    <a:pt x="26" y="7"/>
                  </a:lnTo>
                  <a:lnTo>
                    <a:pt x="7" y="14"/>
                  </a:lnTo>
                  <a:lnTo>
                    <a:pt x="3" y="14"/>
                  </a:lnTo>
                  <a:lnTo>
                    <a:pt x="0" y="10"/>
                  </a:lnTo>
                  <a:lnTo>
                    <a:pt x="0" y="7"/>
                  </a:lnTo>
                  <a:lnTo>
                    <a:pt x="7" y="3"/>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2" name="Freeform 116">
              <a:extLst>
                <a:ext uri="{FF2B5EF4-FFF2-40B4-BE49-F238E27FC236}">
                  <a16:creationId xmlns:a16="http://schemas.microsoft.com/office/drawing/2014/main" id="{8E4BDF36-8D87-4E27-8A00-72B6A024DC9B}"/>
                </a:ext>
              </a:extLst>
            </p:cNvPr>
            <p:cNvSpPr>
              <a:spLocks/>
            </p:cNvSpPr>
            <p:nvPr/>
          </p:nvSpPr>
          <p:spPr bwMode="gray">
            <a:xfrm rot="47099">
              <a:off x="484829" y="2142547"/>
              <a:ext cx="4453" cy="1929"/>
            </a:xfrm>
            <a:custGeom>
              <a:avLst/>
              <a:gdLst>
                <a:gd name="T0" fmla="*/ 9 w 9"/>
                <a:gd name="T1" fmla="*/ 3 h 5"/>
                <a:gd name="T2" fmla="*/ 7 w 9"/>
                <a:gd name="T3" fmla="*/ 3 h 5"/>
                <a:gd name="T4" fmla="*/ 7 w 9"/>
                <a:gd name="T5" fmla="*/ 5 h 5"/>
                <a:gd name="T6" fmla="*/ 0 w 9"/>
                <a:gd name="T7" fmla="*/ 5 h 5"/>
                <a:gd name="T8" fmla="*/ 0 w 9"/>
                <a:gd name="T9" fmla="*/ 3 h 5"/>
                <a:gd name="T10" fmla="*/ 7 w 9"/>
                <a:gd name="T11" fmla="*/ 0 h 5"/>
                <a:gd name="T12" fmla="*/ 9 w 9"/>
                <a:gd name="T13" fmla="*/ 0 h 5"/>
                <a:gd name="T14" fmla="*/ 9 w 9"/>
                <a:gd name="T15" fmla="*/ 3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9" y="3"/>
                  </a:moveTo>
                  <a:lnTo>
                    <a:pt x="7" y="3"/>
                  </a:lnTo>
                  <a:lnTo>
                    <a:pt x="7" y="5"/>
                  </a:lnTo>
                  <a:lnTo>
                    <a:pt x="0" y="5"/>
                  </a:lnTo>
                  <a:lnTo>
                    <a:pt x="0" y="3"/>
                  </a:lnTo>
                  <a:lnTo>
                    <a:pt x="7" y="0"/>
                  </a:lnTo>
                  <a:lnTo>
                    <a:pt x="9" y="0"/>
                  </a:lnTo>
                  <a:lnTo>
                    <a:pt x="9"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3" name="Freeform 117">
              <a:extLst>
                <a:ext uri="{FF2B5EF4-FFF2-40B4-BE49-F238E27FC236}">
                  <a16:creationId xmlns:a16="http://schemas.microsoft.com/office/drawing/2014/main" id="{00F9F50E-6DE2-4058-8B09-86B1D03B4852}"/>
                </a:ext>
              </a:extLst>
            </p:cNvPr>
            <p:cNvSpPr>
              <a:spLocks/>
            </p:cNvSpPr>
            <p:nvPr/>
          </p:nvSpPr>
          <p:spPr bwMode="gray">
            <a:xfrm rot="47099">
              <a:off x="445270" y="2102437"/>
              <a:ext cx="3563" cy="5789"/>
            </a:xfrm>
            <a:custGeom>
              <a:avLst/>
              <a:gdLst>
                <a:gd name="T0" fmla="*/ 7 w 7"/>
                <a:gd name="T1" fmla="*/ 7 h 12"/>
                <a:gd name="T2" fmla="*/ 4 w 7"/>
                <a:gd name="T3" fmla="*/ 12 h 12"/>
                <a:gd name="T4" fmla="*/ 0 w 7"/>
                <a:gd name="T5" fmla="*/ 7 h 12"/>
                <a:gd name="T6" fmla="*/ 0 w 7"/>
                <a:gd name="T7" fmla="*/ 5 h 12"/>
                <a:gd name="T8" fmla="*/ 4 w 7"/>
                <a:gd name="T9" fmla="*/ 0 h 12"/>
                <a:gd name="T10" fmla="*/ 7 w 7"/>
                <a:gd name="T11" fmla="*/ 5 h 12"/>
                <a:gd name="T12" fmla="*/ 7 w 7"/>
                <a:gd name="T13" fmla="*/ 7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7" y="7"/>
                  </a:moveTo>
                  <a:lnTo>
                    <a:pt x="4" y="12"/>
                  </a:lnTo>
                  <a:lnTo>
                    <a:pt x="0" y="7"/>
                  </a:lnTo>
                  <a:lnTo>
                    <a:pt x="0" y="5"/>
                  </a:lnTo>
                  <a:lnTo>
                    <a:pt x="4" y="0"/>
                  </a:lnTo>
                  <a:lnTo>
                    <a:pt x="7" y="5"/>
                  </a:lnTo>
                  <a:lnTo>
                    <a:pt x="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4" name="Freeform 118">
              <a:extLst>
                <a:ext uri="{FF2B5EF4-FFF2-40B4-BE49-F238E27FC236}">
                  <a16:creationId xmlns:a16="http://schemas.microsoft.com/office/drawing/2014/main" id="{045C6E32-6B0B-4494-B8BA-3003699BE4D8}"/>
                </a:ext>
              </a:extLst>
            </p:cNvPr>
            <p:cNvSpPr>
              <a:spLocks/>
            </p:cNvSpPr>
            <p:nvPr/>
          </p:nvSpPr>
          <p:spPr bwMode="gray">
            <a:xfrm rot="47099">
              <a:off x="596202" y="2203953"/>
              <a:ext cx="12468" cy="3860"/>
            </a:xfrm>
            <a:custGeom>
              <a:avLst/>
              <a:gdLst>
                <a:gd name="T0" fmla="*/ 21 w 24"/>
                <a:gd name="T1" fmla="*/ 0 h 7"/>
                <a:gd name="T2" fmla="*/ 16 w 24"/>
                <a:gd name="T3" fmla="*/ 0 h 7"/>
                <a:gd name="T4" fmla="*/ 9 w 24"/>
                <a:gd name="T5" fmla="*/ 3 h 7"/>
                <a:gd name="T6" fmla="*/ 2 w 24"/>
                <a:gd name="T7" fmla="*/ 3 h 7"/>
                <a:gd name="T8" fmla="*/ 0 w 24"/>
                <a:gd name="T9" fmla="*/ 7 h 7"/>
                <a:gd name="T10" fmla="*/ 0 w 24"/>
                <a:gd name="T11" fmla="*/ 3 h 7"/>
                <a:gd name="T12" fmla="*/ 2 w 24"/>
                <a:gd name="T13" fmla="*/ 3 h 7"/>
                <a:gd name="T14" fmla="*/ 7 w 24"/>
                <a:gd name="T15" fmla="*/ 0 h 7"/>
                <a:gd name="T16" fmla="*/ 24 w 24"/>
                <a:gd name="T17" fmla="*/ 0 h 7"/>
                <a:gd name="T18" fmla="*/ 21 w 24"/>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7"/>
                <a:gd name="T32" fmla="*/ 24 w 24"/>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7">
                  <a:moveTo>
                    <a:pt x="21" y="0"/>
                  </a:moveTo>
                  <a:lnTo>
                    <a:pt x="16" y="0"/>
                  </a:lnTo>
                  <a:lnTo>
                    <a:pt x="9" y="3"/>
                  </a:lnTo>
                  <a:lnTo>
                    <a:pt x="2" y="3"/>
                  </a:lnTo>
                  <a:lnTo>
                    <a:pt x="0" y="7"/>
                  </a:lnTo>
                  <a:lnTo>
                    <a:pt x="0" y="3"/>
                  </a:lnTo>
                  <a:lnTo>
                    <a:pt x="2" y="3"/>
                  </a:lnTo>
                  <a:lnTo>
                    <a:pt x="7" y="0"/>
                  </a:lnTo>
                  <a:lnTo>
                    <a:pt x="24" y="0"/>
                  </a:lnTo>
                  <a:lnTo>
                    <a:pt x="21"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5" name="Freeform 119">
              <a:extLst>
                <a:ext uri="{FF2B5EF4-FFF2-40B4-BE49-F238E27FC236}">
                  <a16:creationId xmlns:a16="http://schemas.microsoft.com/office/drawing/2014/main" id="{8C0E7D76-05D1-440F-9AD9-354287AAF876}"/>
                </a:ext>
              </a:extLst>
            </p:cNvPr>
            <p:cNvSpPr>
              <a:spLocks/>
            </p:cNvSpPr>
            <p:nvPr/>
          </p:nvSpPr>
          <p:spPr bwMode="gray">
            <a:xfrm rot="47099">
              <a:off x="546083" y="2156907"/>
              <a:ext cx="6235" cy="2894"/>
            </a:xfrm>
            <a:custGeom>
              <a:avLst/>
              <a:gdLst>
                <a:gd name="T0" fmla="*/ 14 w 14"/>
                <a:gd name="T1" fmla="*/ 4 h 7"/>
                <a:gd name="T2" fmla="*/ 12 w 14"/>
                <a:gd name="T3" fmla="*/ 4 h 7"/>
                <a:gd name="T4" fmla="*/ 7 w 14"/>
                <a:gd name="T5" fmla="*/ 7 h 7"/>
                <a:gd name="T6" fmla="*/ 0 w 14"/>
                <a:gd name="T7" fmla="*/ 7 h 7"/>
                <a:gd name="T8" fmla="*/ 0 w 14"/>
                <a:gd name="T9" fmla="*/ 4 h 7"/>
                <a:gd name="T10" fmla="*/ 5 w 14"/>
                <a:gd name="T11" fmla="*/ 4 h 7"/>
                <a:gd name="T12" fmla="*/ 12 w 14"/>
                <a:gd name="T13" fmla="*/ 0 h 7"/>
                <a:gd name="T14" fmla="*/ 14 w 14"/>
                <a:gd name="T15" fmla="*/ 0 h 7"/>
                <a:gd name="T16" fmla="*/ 14 w 14"/>
                <a:gd name="T17" fmla="*/ 4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7"/>
                <a:gd name="T29" fmla="*/ 14 w 1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7">
                  <a:moveTo>
                    <a:pt x="14" y="4"/>
                  </a:moveTo>
                  <a:lnTo>
                    <a:pt x="12" y="4"/>
                  </a:lnTo>
                  <a:lnTo>
                    <a:pt x="7" y="7"/>
                  </a:lnTo>
                  <a:lnTo>
                    <a:pt x="0" y="7"/>
                  </a:lnTo>
                  <a:lnTo>
                    <a:pt x="0" y="4"/>
                  </a:lnTo>
                  <a:lnTo>
                    <a:pt x="5" y="4"/>
                  </a:lnTo>
                  <a:lnTo>
                    <a:pt x="12" y="0"/>
                  </a:lnTo>
                  <a:lnTo>
                    <a:pt x="14" y="0"/>
                  </a:lnTo>
                  <a:lnTo>
                    <a:pt x="14"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6" name="Freeform 120">
              <a:extLst>
                <a:ext uri="{FF2B5EF4-FFF2-40B4-BE49-F238E27FC236}">
                  <a16:creationId xmlns:a16="http://schemas.microsoft.com/office/drawing/2014/main" id="{52ED762A-48AE-42BD-866C-B9ED75142BFF}"/>
                </a:ext>
              </a:extLst>
            </p:cNvPr>
            <p:cNvSpPr>
              <a:spLocks/>
            </p:cNvSpPr>
            <p:nvPr/>
          </p:nvSpPr>
          <p:spPr bwMode="gray">
            <a:xfrm rot="47099">
              <a:off x="545232" y="2154007"/>
              <a:ext cx="7125" cy="2894"/>
            </a:xfrm>
            <a:custGeom>
              <a:avLst/>
              <a:gdLst>
                <a:gd name="T0" fmla="*/ 14 w 16"/>
                <a:gd name="T1" fmla="*/ 2 h 5"/>
                <a:gd name="T2" fmla="*/ 14 w 16"/>
                <a:gd name="T3" fmla="*/ 5 h 5"/>
                <a:gd name="T4" fmla="*/ 0 w 16"/>
                <a:gd name="T5" fmla="*/ 5 h 5"/>
                <a:gd name="T6" fmla="*/ 2 w 16"/>
                <a:gd name="T7" fmla="*/ 2 h 5"/>
                <a:gd name="T8" fmla="*/ 7 w 16"/>
                <a:gd name="T9" fmla="*/ 2 h 5"/>
                <a:gd name="T10" fmla="*/ 16 w 16"/>
                <a:gd name="T11" fmla="*/ 0 h 5"/>
                <a:gd name="T12" fmla="*/ 16 w 16"/>
                <a:gd name="T13" fmla="*/ 2 h 5"/>
                <a:gd name="T14" fmla="*/ 14 w 16"/>
                <a:gd name="T15" fmla="*/ 2 h 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
                <a:gd name="T26" fmla="*/ 16 w 1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
                  <a:moveTo>
                    <a:pt x="14" y="2"/>
                  </a:moveTo>
                  <a:lnTo>
                    <a:pt x="14" y="5"/>
                  </a:lnTo>
                  <a:lnTo>
                    <a:pt x="0" y="5"/>
                  </a:lnTo>
                  <a:lnTo>
                    <a:pt x="2" y="2"/>
                  </a:lnTo>
                  <a:lnTo>
                    <a:pt x="7" y="2"/>
                  </a:lnTo>
                  <a:lnTo>
                    <a:pt x="16" y="0"/>
                  </a:lnTo>
                  <a:lnTo>
                    <a:pt x="16" y="2"/>
                  </a:lnTo>
                  <a:lnTo>
                    <a:pt x="1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7" name="Freeform 121">
              <a:extLst>
                <a:ext uri="{FF2B5EF4-FFF2-40B4-BE49-F238E27FC236}">
                  <a16:creationId xmlns:a16="http://schemas.microsoft.com/office/drawing/2014/main" id="{BD1E781D-7258-496F-B4A5-E9274686A2EF}"/>
                </a:ext>
              </a:extLst>
            </p:cNvPr>
            <p:cNvSpPr>
              <a:spLocks/>
            </p:cNvSpPr>
            <p:nvPr/>
          </p:nvSpPr>
          <p:spPr bwMode="gray">
            <a:xfrm rot="47099">
              <a:off x="543484" y="2151100"/>
              <a:ext cx="8906" cy="3860"/>
            </a:xfrm>
            <a:custGeom>
              <a:avLst/>
              <a:gdLst>
                <a:gd name="T0" fmla="*/ 17 w 19"/>
                <a:gd name="T1" fmla="*/ 2 h 9"/>
                <a:gd name="T2" fmla="*/ 12 w 19"/>
                <a:gd name="T3" fmla="*/ 2 h 9"/>
                <a:gd name="T4" fmla="*/ 12 w 19"/>
                <a:gd name="T5" fmla="*/ 7 h 9"/>
                <a:gd name="T6" fmla="*/ 10 w 19"/>
                <a:gd name="T7" fmla="*/ 7 h 9"/>
                <a:gd name="T8" fmla="*/ 5 w 19"/>
                <a:gd name="T9" fmla="*/ 9 h 9"/>
                <a:gd name="T10" fmla="*/ 3 w 19"/>
                <a:gd name="T11" fmla="*/ 9 h 9"/>
                <a:gd name="T12" fmla="*/ 3 w 19"/>
                <a:gd name="T13" fmla="*/ 7 h 9"/>
                <a:gd name="T14" fmla="*/ 0 w 19"/>
                <a:gd name="T15" fmla="*/ 7 h 9"/>
                <a:gd name="T16" fmla="*/ 3 w 19"/>
                <a:gd name="T17" fmla="*/ 2 h 9"/>
                <a:gd name="T18" fmla="*/ 10 w 19"/>
                <a:gd name="T19" fmla="*/ 2 h 9"/>
                <a:gd name="T20" fmla="*/ 19 w 19"/>
                <a:gd name="T21" fmla="*/ 0 h 9"/>
                <a:gd name="T22" fmla="*/ 17 w 19"/>
                <a:gd name="T23" fmla="*/ 2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9"/>
                <a:gd name="T38" fmla="*/ 19 w 1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9">
                  <a:moveTo>
                    <a:pt x="17" y="2"/>
                  </a:moveTo>
                  <a:lnTo>
                    <a:pt x="12" y="2"/>
                  </a:lnTo>
                  <a:lnTo>
                    <a:pt x="12" y="7"/>
                  </a:lnTo>
                  <a:lnTo>
                    <a:pt x="10" y="7"/>
                  </a:lnTo>
                  <a:lnTo>
                    <a:pt x="5" y="9"/>
                  </a:lnTo>
                  <a:lnTo>
                    <a:pt x="3" y="9"/>
                  </a:lnTo>
                  <a:lnTo>
                    <a:pt x="3" y="7"/>
                  </a:lnTo>
                  <a:lnTo>
                    <a:pt x="0" y="7"/>
                  </a:lnTo>
                  <a:lnTo>
                    <a:pt x="3" y="2"/>
                  </a:lnTo>
                  <a:lnTo>
                    <a:pt x="10" y="2"/>
                  </a:lnTo>
                  <a:lnTo>
                    <a:pt x="19" y="0"/>
                  </a:lnTo>
                  <a:lnTo>
                    <a:pt x="1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8" name="Freeform 122">
              <a:extLst>
                <a:ext uri="{FF2B5EF4-FFF2-40B4-BE49-F238E27FC236}">
                  <a16:creationId xmlns:a16="http://schemas.microsoft.com/office/drawing/2014/main" id="{C170886C-9655-45D3-AD04-07AE5FC57D3A}"/>
                </a:ext>
              </a:extLst>
            </p:cNvPr>
            <p:cNvSpPr>
              <a:spLocks/>
            </p:cNvSpPr>
            <p:nvPr/>
          </p:nvSpPr>
          <p:spPr bwMode="gray">
            <a:xfrm rot="47099">
              <a:off x="543358" y="2155093"/>
              <a:ext cx="28499" cy="14472"/>
            </a:xfrm>
            <a:custGeom>
              <a:avLst/>
              <a:gdLst>
                <a:gd name="T0" fmla="*/ 59 w 62"/>
                <a:gd name="T1" fmla="*/ 14 h 31"/>
                <a:gd name="T2" fmla="*/ 57 w 62"/>
                <a:gd name="T3" fmla="*/ 17 h 31"/>
                <a:gd name="T4" fmla="*/ 43 w 62"/>
                <a:gd name="T5" fmla="*/ 17 h 31"/>
                <a:gd name="T6" fmla="*/ 21 w 62"/>
                <a:gd name="T7" fmla="*/ 24 h 31"/>
                <a:gd name="T8" fmla="*/ 21 w 62"/>
                <a:gd name="T9" fmla="*/ 26 h 31"/>
                <a:gd name="T10" fmla="*/ 17 w 62"/>
                <a:gd name="T11" fmla="*/ 31 h 31"/>
                <a:gd name="T12" fmla="*/ 5 w 62"/>
                <a:gd name="T13" fmla="*/ 26 h 31"/>
                <a:gd name="T14" fmla="*/ 0 w 62"/>
                <a:gd name="T15" fmla="*/ 26 h 31"/>
                <a:gd name="T16" fmla="*/ 0 w 62"/>
                <a:gd name="T17" fmla="*/ 24 h 31"/>
                <a:gd name="T18" fmla="*/ 3 w 62"/>
                <a:gd name="T19" fmla="*/ 19 h 31"/>
                <a:gd name="T20" fmla="*/ 12 w 62"/>
                <a:gd name="T21" fmla="*/ 17 h 31"/>
                <a:gd name="T22" fmla="*/ 19 w 62"/>
                <a:gd name="T23" fmla="*/ 14 h 31"/>
                <a:gd name="T24" fmla="*/ 40 w 62"/>
                <a:gd name="T25" fmla="*/ 14 h 31"/>
                <a:gd name="T26" fmla="*/ 43 w 62"/>
                <a:gd name="T27" fmla="*/ 10 h 31"/>
                <a:gd name="T28" fmla="*/ 52 w 62"/>
                <a:gd name="T29" fmla="*/ 7 h 31"/>
                <a:gd name="T30" fmla="*/ 57 w 62"/>
                <a:gd name="T31" fmla="*/ 3 h 31"/>
                <a:gd name="T32" fmla="*/ 59 w 62"/>
                <a:gd name="T33" fmla="*/ 0 h 31"/>
                <a:gd name="T34" fmla="*/ 59 w 62"/>
                <a:gd name="T35" fmla="*/ 3 h 31"/>
                <a:gd name="T36" fmla="*/ 62 w 62"/>
                <a:gd name="T37" fmla="*/ 3 h 31"/>
                <a:gd name="T38" fmla="*/ 62 w 62"/>
                <a:gd name="T39" fmla="*/ 14 h 31"/>
                <a:gd name="T40" fmla="*/ 59 w 62"/>
                <a:gd name="T41" fmla="*/ 14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2"/>
                <a:gd name="T64" fmla="*/ 0 h 31"/>
                <a:gd name="T65" fmla="*/ 62 w 6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2" h="31">
                  <a:moveTo>
                    <a:pt x="59" y="14"/>
                  </a:moveTo>
                  <a:lnTo>
                    <a:pt x="57" y="17"/>
                  </a:lnTo>
                  <a:lnTo>
                    <a:pt x="43" y="17"/>
                  </a:lnTo>
                  <a:lnTo>
                    <a:pt x="21" y="24"/>
                  </a:lnTo>
                  <a:lnTo>
                    <a:pt x="21" y="26"/>
                  </a:lnTo>
                  <a:lnTo>
                    <a:pt x="17" y="31"/>
                  </a:lnTo>
                  <a:lnTo>
                    <a:pt x="5" y="26"/>
                  </a:lnTo>
                  <a:lnTo>
                    <a:pt x="0" y="26"/>
                  </a:lnTo>
                  <a:lnTo>
                    <a:pt x="0" y="24"/>
                  </a:lnTo>
                  <a:lnTo>
                    <a:pt x="3" y="19"/>
                  </a:lnTo>
                  <a:lnTo>
                    <a:pt x="12" y="17"/>
                  </a:lnTo>
                  <a:lnTo>
                    <a:pt x="19" y="14"/>
                  </a:lnTo>
                  <a:lnTo>
                    <a:pt x="40" y="14"/>
                  </a:lnTo>
                  <a:lnTo>
                    <a:pt x="43" y="10"/>
                  </a:lnTo>
                  <a:lnTo>
                    <a:pt x="52" y="7"/>
                  </a:lnTo>
                  <a:lnTo>
                    <a:pt x="57" y="3"/>
                  </a:lnTo>
                  <a:lnTo>
                    <a:pt x="59" y="0"/>
                  </a:lnTo>
                  <a:lnTo>
                    <a:pt x="59" y="3"/>
                  </a:lnTo>
                  <a:lnTo>
                    <a:pt x="62" y="3"/>
                  </a:lnTo>
                  <a:lnTo>
                    <a:pt x="62" y="14"/>
                  </a:lnTo>
                  <a:lnTo>
                    <a:pt x="59"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39" name="Freeform 123">
              <a:extLst>
                <a:ext uri="{FF2B5EF4-FFF2-40B4-BE49-F238E27FC236}">
                  <a16:creationId xmlns:a16="http://schemas.microsoft.com/office/drawing/2014/main" id="{3FEBAE57-0F12-4EB3-8362-5A2495C56B69}"/>
                </a:ext>
              </a:extLst>
            </p:cNvPr>
            <p:cNvSpPr>
              <a:spLocks/>
            </p:cNvSpPr>
            <p:nvPr/>
          </p:nvSpPr>
          <p:spPr bwMode="gray">
            <a:xfrm rot="47099">
              <a:off x="553373" y="2144457"/>
              <a:ext cx="5343" cy="3860"/>
            </a:xfrm>
            <a:custGeom>
              <a:avLst/>
              <a:gdLst>
                <a:gd name="T0" fmla="*/ 12 w 12"/>
                <a:gd name="T1" fmla="*/ 2 h 7"/>
                <a:gd name="T2" fmla="*/ 8 w 12"/>
                <a:gd name="T3" fmla="*/ 2 h 7"/>
                <a:gd name="T4" fmla="*/ 5 w 12"/>
                <a:gd name="T5" fmla="*/ 7 h 7"/>
                <a:gd name="T6" fmla="*/ 0 w 12"/>
                <a:gd name="T7" fmla="*/ 7 h 7"/>
                <a:gd name="T8" fmla="*/ 0 w 12"/>
                <a:gd name="T9" fmla="*/ 2 h 7"/>
                <a:gd name="T10" fmla="*/ 5 w 12"/>
                <a:gd name="T11" fmla="*/ 0 h 7"/>
                <a:gd name="T12" fmla="*/ 12 w 12"/>
                <a:gd name="T13" fmla="*/ 0 h 7"/>
                <a:gd name="T14" fmla="*/ 12 w 12"/>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7"/>
                <a:gd name="T26" fmla="*/ 12 w 12"/>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7">
                  <a:moveTo>
                    <a:pt x="12" y="2"/>
                  </a:moveTo>
                  <a:lnTo>
                    <a:pt x="8" y="2"/>
                  </a:lnTo>
                  <a:lnTo>
                    <a:pt x="5" y="7"/>
                  </a:lnTo>
                  <a:lnTo>
                    <a:pt x="0" y="7"/>
                  </a:lnTo>
                  <a:lnTo>
                    <a:pt x="0" y="2"/>
                  </a:lnTo>
                  <a:lnTo>
                    <a:pt x="5" y="0"/>
                  </a:lnTo>
                  <a:lnTo>
                    <a:pt x="12" y="0"/>
                  </a:lnTo>
                  <a:lnTo>
                    <a:pt x="1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0" name="Freeform 124">
              <a:extLst>
                <a:ext uri="{FF2B5EF4-FFF2-40B4-BE49-F238E27FC236}">
                  <a16:creationId xmlns:a16="http://schemas.microsoft.com/office/drawing/2014/main" id="{55B1C368-9ADD-4230-8CFE-ACC7EBBF4009}"/>
                </a:ext>
              </a:extLst>
            </p:cNvPr>
            <p:cNvSpPr>
              <a:spLocks/>
            </p:cNvSpPr>
            <p:nvPr/>
          </p:nvSpPr>
          <p:spPr bwMode="gray">
            <a:xfrm rot="47099">
              <a:off x="597430" y="2178839"/>
              <a:ext cx="6235" cy="4824"/>
            </a:xfrm>
            <a:custGeom>
              <a:avLst/>
              <a:gdLst>
                <a:gd name="T0" fmla="*/ 12 w 14"/>
                <a:gd name="T1" fmla="*/ 5 h 9"/>
                <a:gd name="T2" fmla="*/ 7 w 14"/>
                <a:gd name="T3" fmla="*/ 7 h 9"/>
                <a:gd name="T4" fmla="*/ 5 w 14"/>
                <a:gd name="T5" fmla="*/ 9 h 9"/>
                <a:gd name="T6" fmla="*/ 5 w 14"/>
                <a:gd name="T7" fmla="*/ 7 h 9"/>
                <a:gd name="T8" fmla="*/ 0 w 14"/>
                <a:gd name="T9" fmla="*/ 5 h 9"/>
                <a:gd name="T10" fmla="*/ 5 w 14"/>
                <a:gd name="T11" fmla="*/ 5 h 9"/>
                <a:gd name="T12" fmla="*/ 12 w 14"/>
                <a:gd name="T13" fmla="*/ 0 h 9"/>
                <a:gd name="T14" fmla="*/ 14 w 14"/>
                <a:gd name="T15" fmla="*/ 0 h 9"/>
                <a:gd name="T16" fmla="*/ 12 w 14"/>
                <a:gd name="T17" fmla="*/ 5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9"/>
                <a:gd name="T29" fmla="*/ 14 w 1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9">
                  <a:moveTo>
                    <a:pt x="12" y="5"/>
                  </a:moveTo>
                  <a:lnTo>
                    <a:pt x="7" y="7"/>
                  </a:lnTo>
                  <a:lnTo>
                    <a:pt x="5" y="9"/>
                  </a:lnTo>
                  <a:lnTo>
                    <a:pt x="5" y="7"/>
                  </a:lnTo>
                  <a:lnTo>
                    <a:pt x="0" y="5"/>
                  </a:lnTo>
                  <a:lnTo>
                    <a:pt x="5" y="5"/>
                  </a:lnTo>
                  <a:lnTo>
                    <a:pt x="12" y="0"/>
                  </a:lnTo>
                  <a:lnTo>
                    <a:pt x="14" y="0"/>
                  </a:lnTo>
                  <a:lnTo>
                    <a:pt x="12"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1" name="Freeform 125">
              <a:extLst>
                <a:ext uri="{FF2B5EF4-FFF2-40B4-BE49-F238E27FC236}">
                  <a16:creationId xmlns:a16="http://schemas.microsoft.com/office/drawing/2014/main" id="{F29FDD85-C409-469A-8B07-4E9CA1E901D2}"/>
                </a:ext>
              </a:extLst>
            </p:cNvPr>
            <p:cNvSpPr>
              <a:spLocks/>
            </p:cNvSpPr>
            <p:nvPr/>
          </p:nvSpPr>
          <p:spPr bwMode="gray">
            <a:xfrm rot="47099">
              <a:off x="298655" y="1866106"/>
              <a:ext cx="25828" cy="37628"/>
            </a:xfrm>
            <a:custGeom>
              <a:avLst/>
              <a:gdLst>
                <a:gd name="T0" fmla="*/ 57 w 57"/>
                <a:gd name="T1" fmla="*/ 33 h 80"/>
                <a:gd name="T2" fmla="*/ 50 w 57"/>
                <a:gd name="T3" fmla="*/ 40 h 80"/>
                <a:gd name="T4" fmla="*/ 50 w 57"/>
                <a:gd name="T5" fmla="*/ 43 h 80"/>
                <a:gd name="T6" fmla="*/ 54 w 57"/>
                <a:gd name="T7" fmla="*/ 43 h 80"/>
                <a:gd name="T8" fmla="*/ 54 w 57"/>
                <a:gd name="T9" fmla="*/ 47 h 80"/>
                <a:gd name="T10" fmla="*/ 57 w 57"/>
                <a:gd name="T11" fmla="*/ 47 h 80"/>
                <a:gd name="T12" fmla="*/ 57 w 57"/>
                <a:gd name="T13" fmla="*/ 57 h 80"/>
                <a:gd name="T14" fmla="*/ 50 w 57"/>
                <a:gd name="T15" fmla="*/ 59 h 80"/>
                <a:gd name="T16" fmla="*/ 47 w 57"/>
                <a:gd name="T17" fmla="*/ 64 h 80"/>
                <a:gd name="T18" fmla="*/ 40 w 57"/>
                <a:gd name="T19" fmla="*/ 69 h 80"/>
                <a:gd name="T20" fmla="*/ 33 w 57"/>
                <a:gd name="T21" fmla="*/ 73 h 80"/>
                <a:gd name="T22" fmla="*/ 33 w 57"/>
                <a:gd name="T23" fmla="*/ 76 h 80"/>
                <a:gd name="T24" fmla="*/ 38 w 57"/>
                <a:gd name="T25" fmla="*/ 76 h 80"/>
                <a:gd name="T26" fmla="*/ 33 w 57"/>
                <a:gd name="T27" fmla="*/ 80 h 80"/>
                <a:gd name="T28" fmla="*/ 31 w 57"/>
                <a:gd name="T29" fmla="*/ 80 h 80"/>
                <a:gd name="T30" fmla="*/ 28 w 57"/>
                <a:gd name="T31" fmla="*/ 76 h 80"/>
                <a:gd name="T32" fmla="*/ 24 w 57"/>
                <a:gd name="T33" fmla="*/ 73 h 80"/>
                <a:gd name="T34" fmla="*/ 21 w 57"/>
                <a:gd name="T35" fmla="*/ 73 h 80"/>
                <a:gd name="T36" fmla="*/ 14 w 57"/>
                <a:gd name="T37" fmla="*/ 66 h 80"/>
                <a:gd name="T38" fmla="*/ 14 w 57"/>
                <a:gd name="T39" fmla="*/ 64 h 80"/>
                <a:gd name="T40" fmla="*/ 12 w 57"/>
                <a:gd name="T41" fmla="*/ 59 h 80"/>
                <a:gd name="T42" fmla="*/ 12 w 57"/>
                <a:gd name="T43" fmla="*/ 66 h 80"/>
                <a:gd name="T44" fmla="*/ 7 w 57"/>
                <a:gd name="T45" fmla="*/ 69 h 80"/>
                <a:gd name="T46" fmla="*/ 5 w 57"/>
                <a:gd name="T47" fmla="*/ 69 h 80"/>
                <a:gd name="T48" fmla="*/ 5 w 57"/>
                <a:gd name="T49" fmla="*/ 66 h 80"/>
                <a:gd name="T50" fmla="*/ 7 w 57"/>
                <a:gd name="T51" fmla="*/ 64 h 80"/>
                <a:gd name="T52" fmla="*/ 7 w 57"/>
                <a:gd name="T53" fmla="*/ 52 h 80"/>
                <a:gd name="T54" fmla="*/ 5 w 57"/>
                <a:gd name="T55" fmla="*/ 52 h 80"/>
                <a:gd name="T56" fmla="*/ 0 w 57"/>
                <a:gd name="T57" fmla="*/ 50 h 80"/>
                <a:gd name="T58" fmla="*/ 5 w 57"/>
                <a:gd name="T59" fmla="*/ 28 h 80"/>
                <a:gd name="T60" fmla="*/ 5 w 57"/>
                <a:gd name="T61" fmla="*/ 26 h 80"/>
                <a:gd name="T62" fmla="*/ 0 w 57"/>
                <a:gd name="T63" fmla="*/ 24 h 80"/>
                <a:gd name="T64" fmla="*/ 0 w 57"/>
                <a:gd name="T65" fmla="*/ 19 h 80"/>
                <a:gd name="T66" fmla="*/ 5 w 57"/>
                <a:gd name="T67" fmla="*/ 12 h 80"/>
                <a:gd name="T68" fmla="*/ 5 w 57"/>
                <a:gd name="T69" fmla="*/ 10 h 80"/>
                <a:gd name="T70" fmla="*/ 12 w 57"/>
                <a:gd name="T71" fmla="*/ 0 h 80"/>
                <a:gd name="T72" fmla="*/ 14 w 57"/>
                <a:gd name="T73" fmla="*/ 0 h 80"/>
                <a:gd name="T74" fmla="*/ 14 w 57"/>
                <a:gd name="T75" fmla="*/ 2 h 80"/>
                <a:gd name="T76" fmla="*/ 16 w 57"/>
                <a:gd name="T77" fmla="*/ 2 h 80"/>
                <a:gd name="T78" fmla="*/ 16 w 57"/>
                <a:gd name="T79" fmla="*/ 7 h 80"/>
                <a:gd name="T80" fmla="*/ 21 w 57"/>
                <a:gd name="T81" fmla="*/ 10 h 80"/>
                <a:gd name="T82" fmla="*/ 21 w 57"/>
                <a:gd name="T83" fmla="*/ 17 h 80"/>
                <a:gd name="T84" fmla="*/ 24 w 57"/>
                <a:gd name="T85" fmla="*/ 17 h 80"/>
                <a:gd name="T86" fmla="*/ 24 w 57"/>
                <a:gd name="T87" fmla="*/ 19 h 80"/>
                <a:gd name="T88" fmla="*/ 28 w 57"/>
                <a:gd name="T89" fmla="*/ 19 h 80"/>
                <a:gd name="T90" fmla="*/ 31 w 57"/>
                <a:gd name="T91" fmla="*/ 17 h 80"/>
                <a:gd name="T92" fmla="*/ 38 w 57"/>
                <a:gd name="T93" fmla="*/ 19 h 80"/>
                <a:gd name="T94" fmla="*/ 45 w 57"/>
                <a:gd name="T95" fmla="*/ 24 h 80"/>
                <a:gd name="T96" fmla="*/ 47 w 57"/>
                <a:gd name="T97" fmla="*/ 24 h 80"/>
                <a:gd name="T98" fmla="*/ 47 w 57"/>
                <a:gd name="T99" fmla="*/ 28 h 80"/>
                <a:gd name="T100" fmla="*/ 54 w 57"/>
                <a:gd name="T101" fmla="*/ 33 h 80"/>
                <a:gd name="T102" fmla="*/ 57 w 57"/>
                <a:gd name="T103" fmla="*/ 33 h 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
                <a:gd name="T157" fmla="*/ 0 h 80"/>
                <a:gd name="T158" fmla="*/ 57 w 57"/>
                <a:gd name="T159" fmla="*/ 80 h 8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 h="80">
                  <a:moveTo>
                    <a:pt x="57" y="33"/>
                  </a:moveTo>
                  <a:lnTo>
                    <a:pt x="50" y="40"/>
                  </a:lnTo>
                  <a:lnTo>
                    <a:pt x="50" y="43"/>
                  </a:lnTo>
                  <a:lnTo>
                    <a:pt x="54" y="43"/>
                  </a:lnTo>
                  <a:lnTo>
                    <a:pt x="54" y="47"/>
                  </a:lnTo>
                  <a:lnTo>
                    <a:pt x="57" y="47"/>
                  </a:lnTo>
                  <a:lnTo>
                    <a:pt x="57" y="57"/>
                  </a:lnTo>
                  <a:lnTo>
                    <a:pt x="50" y="59"/>
                  </a:lnTo>
                  <a:lnTo>
                    <a:pt x="47" y="64"/>
                  </a:lnTo>
                  <a:lnTo>
                    <a:pt x="40" y="69"/>
                  </a:lnTo>
                  <a:lnTo>
                    <a:pt x="33" y="73"/>
                  </a:lnTo>
                  <a:lnTo>
                    <a:pt x="33" y="76"/>
                  </a:lnTo>
                  <a:lnTo>
                    <a:pt x="38" y="76"/>
                  </a:lnTo>
                  <a:lnTo>
                    <a:pt x="33" y="80"/>
                  </a:lnTo>
                  <a:lnTo>
                    <a:pt x="31" y="80"/>
                  </a:lnTo>
                  <a:lnTo>
                    <a:pt x="28" y="76"/>
                  </a:lnTo>
                  <a:lnTo>
                    <a:pt x="24" y="73"/>
                  </a:lnTo>
                  <a:lnTo>
                    <a:pt x="21" y="73"/>
                  </a:lnTo>
                  <a:lnTo>
                    <a:pt x="14" y="66"/>
                  </a:lnTo>
                  <a:lnTo>
                    <a:pt x="14" y="64"/>
                  </a:lnTo>
                  <a:lnTo>
                    <a:pt x="12" y="59"/>
                  </a:lnTo>
                  <a:lnTo>
                    <a:pt x="12" y="66"/>
                  </a:lnTo>
                  <a:lnTo>
                    <a:pt x="7" y="69"/>
                  </a:lnTo>
                  <a:lnTo>
                    <a:pt x="5" y="69"/>
                  </a:lnTo>
                  <a:lnTo>
                    <a:pt x="5" y="66"/>
                  </a:lnTo>
                  <a:lnTo>
                    <a:pt x="7" y="64"/>
                  </a:lnTo>
                  <a:lnTo>
                    <a:pt x="7" y="52"/>
                  </a:lnTo>
                  <a:lnTo>
                    <a:pt x="5" y="52"/>
                  </a:lnTo>
                  <a:lnTo>
                    <a:pt x="0" y="50"/>
                  </a:lnTo>
                  <a:lnTo>
                    <a:pt x="5" y="28"/>
                  </a:lnTo>
                  <a:lnTo>
                    <a:pt x="5" y="26"/>
                  </a:lnTo>
                  <a:lnTo>
                    <a:pt x="0" y="24"/>
                  </a:lnTo>
                  <a:lnTo>
                    <a:pt x="0" y="19"/>
                  </a:lnTo>
                  <a:lnTo>
                    <a:pt x="5" y="12"/>
                  </a:lnTo>
                  <a:lnTo>
                    <a:pt x="5" y="10"/>
                  </a:lnTo>
                  <a:lnTo>
                    <a:pt x="12" y="0"/>
                  </a:lnTo>
                  <a:lnTo>
                    <a:pt x="14" y="0"/>
                  </a:lnTo>
                  <a:lnTo>
                    <a:pt x="14" y="2"/>
                  </a:lnTo>
                  <a:lnTo>
                    <a:pt x="16" y="2"/>
                  </a:lnTo>
                  <a:lnTo>
                    <a:pt x="16" y="7"/>
                  </a:lnTo>
                  <a:lnTo>
                    <a:pt x="21" y="10"/>
                  </a:lnTo>
                  <a:lnTo>
                    <a:pt x="21" y="17"/>
                  </a:lnTo>
                  <a:lnTo>
                    <a:pt x="24" y="17"/>
                  </a:lnTo>
                  <a:lnTo>
                    <a:pt x="24" y="19"/>
                  </a:lnTo>
                  <a:lnTo>
                    <a:pt x="28" y="19"/>
                  </a:lnTo>
                  <a:lnTo>
                    <a:pt x="31" y="17"/>
                  </a:lnTo>
                  <a:lnTo>
                    <a:pt x="38" y="19"/>
                  </a:lnTo>
                  <a:lnTo>
                    <a:pt x="45" y="24"/>
                  </a:lnTo>
                  <a:lnTo>
                    <a:pt x="47" y="24"/>
                  </a:lnTo>
                  <a:lnTo>
                    <a:pt x="47" y="28"/>
                  </a:lnTo>
                  <a:lnTo>
                    <a:pt x="54" y="33"/>
                  </a:lnTo>
                  <a:lnTo>
                    <a:pt x="57" y="3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2" name="Freeform 126">
              <a:extLst>
                <a:ext uri="{FF2B5EF4-FFF2-40B4-BE49-F238E27FC236}">
                  <a16:creationId xmlns:a16="http://schemas.microsoft.com/office/drawing/2014/main" id="{FCACAE1A-96AF-4E9E-A7E9-973CF649863C}"/>
                </a:ext>
              </a:extLst>
            </p:cNvPr>
            <p:cNvSpPr>
              <a:spLocks/>
            </p:cNvSpPr>
            <p:nvPr/>
          </p:nvSpPr>
          <p:spPr bwMode="gray">
            <a:xfrm rot="47099">
              <a:off x="575404" y="2159282"/>
              <a:ext cx="12468" cy="8683"/>
            </a:xfrm>
            <a:custGeom>
              <a:avLst/>
              <a:gdLst>
                <a:gd name="T0" fmla="*/ 28 w 28"/>
                <a:gd name="T1" fmla="*/ 19 h 19"/>
                <a:gd name="T2" fmla="*/ 23 w 28"/>
                <a:gd name="T3" fmla="*/ 19 h 19"/>
                <a:gd name="T4" fmla="*/ 16 w 28"/>
                <a:gd name="T5" fmla="*/ 17 h 19"/>
                <a:gd name="T6" fmla="*/ 7 w 28"/>
                <a:gd name="T7" fmla="*/ 17 h 19"/>
                <a:gd name="T8" fmla="*/ 4 w 28"/>
                <a:gd name="T9" fmla="*/ 19 h 19"/>
                <a:gd name="T10" fmla="*/ 0 w 28"/>
                <a:gd name="T11" fmla="*/ 19 h 19"/>
                <a:gd name="T12" fmla="*/ 0 w 28"/>
                <a:gd name="T13" fmla="*/ 12 h 19"/>
                <a:gd name="T14" fmla="*/ 14 w 28"/>
                <a:gd name="T15" fmla="*/ 12 h 19"/>
                <a:gd name="T16" fmla="*/ 9 w 28"/>
                <a:gd name="T17" fmla="*/ 10 h 19"/>
                <a:gd name="T18" fmla="*/ 7 w 28"/>
                <a:gd name="T19" fmla="*/ 10 h 19"/>
                <a:gd name="T20" fmla="*/ 4 w 28"/>
                <a:gd name="T21" fmla="*/ 7 h 19"/>
                <a:gd name="T22" fmla="*/ 7 w 28"/>
                <a:gd name="T23" fmla="*/ 3 h 19"/>
                <a:gd name="T24" fmla="*/ 14 w 28"/>
                <a:gd name="T25" fmla="*/ 0 h 19"/>
                <a:gd name="T26" fmla="*/ 16 w 28"/>
                <a:gd name="T27" fmla="*/ 3 h 19"/>
                <a:gd name="T28" fmla="*/ 21 w 28"/>
                <a:gd name="T29" fmla="*/ 7 h 19"/>
                <a:gd name="T30" fmla="*/ 21 w 28"/>
                <a:gd name="T31" fmla="*/ 12 h 19"/>
                <a:gd name="T32" fmla="*/ 28 w 28"/>
                <a:gd name="T33" fmla="*/ 17 h 19"/>
                <a:gd name="T34" fmla="*/ 28 w 28"/>
                <a:gd name="T35" fmla="*/ 19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9"/>
                <a:gd name="T56" fmla="*/ 28 w 28"/>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9">
                  <a:moveTo>
                    <a:pt x="28" y="19"/>
                  </a:moveTo>
                  <a:lnTo>
                    <a:pt x="23" y="19"/>
                  </a:lnTo>
                  <a:lnTo>
                    <a:pt x="16" y="17"/>
                  </a:lnTo>
                  <a:lnTo>
                    <a:pt x="7" y="17"/>
                  </a:lnTo>
                  <a:lnTo>
                    <a:pt x="4" y="19"/>
                  </a:lnTo>
                  <a:lnTo>
                    <a:pt x="0" y="19"/>
                  </a:lnTo>
                  <a:lnTo>
                    <a:pt x="0" y="12"/>
                  </a:lnTo>
                  <a:lnTo>
                    <a:pt x="14" y="12"/>
                  </a:lnTo>
                  <a:lnTo>
                    <a:pt x="9" y="10"/>
                  </a:lnTo>
                  <a:lnTo>
                    <a:pt x="7" y="10"/>
                  </a:lnTo>
                  <a:lnTo>
                    <a:pt x="4" y="7"/>
                  </a:lnTo>
                  <a:lnTo>
                    <a:pt x="7" y="3"/>
                  </a:lnTo>
                  <a:lnTo>
                    <a:pt x="14" y="0"/>
                  </a:lnTo>
                  <a:lnTo>
                    <a:pt x="16" y="3"/>
                  </a:lnTo>
                  <a:lnTo>
                    <a:pt x="21" y="7"/>
                  </a:lnTo>
                  <a:lnTo>
                    <a:pt x="21" y="12"/>
                  </a:lnTo>
                  <a:lnTo>
                    <a:pt x="28" y="17"/>
                  </a:lnTo>
                  <a:lnTo>
                    <a:pt x="28" y="1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3" name="Freeform 127">
              <a:extLst>
                <a:ext uri="{FF2B5EF4-FFF2-40B4-BE49-F238E27FC236}">
                  <a16:creationId xmlns:a16="http://schemas.microsoft.com/office/drawing/2014/main" id="{0356F3F6-BF5A-4319-A8EE-1219BDA20025}"/>
                </a:ext>
              </a:extLst>
            </p:cNvPr>
            <p:cNvSpPr>
              <a:spLocks/>
            </p:cNvSpPr>
            <p:nvPr/>
          </p:nvSpPr>
          <p:spPr bwMode="gray">
            <a:xfrm rot="47099">
              <a:off x="555998" y="2144529"/>
              <a:ext cx="10687" cy="10613"/>
            </a:xfrm>
            <a:custGeom>
              <a:avLst/>
              <a:gdLst>
                <a:gd name="T0" fmla="*/ 19 w 24"/>
                <a:gd name="T1" fmla="*/ 9 h 23"/>
                <a:gd name="T2" fmla="*/ 17 w 24"/>
                <a:gd name="T3" fmla="*/ 7 h 23"/>
                <a:gd name="T4" fmla="*/ 14 w 24"/>
                <a:gd name="T5" fmla="*/ 9 h 23"/>
                <a:gd name="T6" fmla="*/ 19 w 24"/>
                <a:gd name="T7" fmla="*/ 9 h 23"/>
                <a:gd name="T8" fmla="*/ 17 w 24"/>
                <a:gd name="T9" fmla="*/ 14 h 23"/>
                <a:gd name="T10" fmla="*/ 3 w 24"/>
                <a:gd name="T11" fmla="*/ 21 h 23"/>
                <a:gd name="T12" fmla="*/ 0 w 24"/>
                <a:gd name="T13" fmla="*/ 23 h 23"/>
                <a:gd name="T14" fmla="*/ 0 w 24"/>
                <a:gd name="T15" fmla="*/ 14 h 23"/>
                <a:gd name="T16" fmla="*/ 3 w 24"/>
                <a:gd name="T17" fmla="*/ 9 h 23"/>
                <a:gd name="T18" fmla="*/ 7 w 24"/>
                <a:gd name="T19" fmla="*/ 9 h 23"/>
                <a:gd name="T20" fmla="*/ 14 w 24"/>
                <a:gd name="T21" fmla="*/ 2 h 23"/>
                <a:gd name="T22" fmla="*/ 19 w 24"/>
                <a:gd name="T23" fmla="*/ 0 h 23"/>
                <a:gd name="T24" fmla="*/ 24 w 24"/>
                <a:gd name="T25" fmla="*/ 0 h 23"/>
                <a:gd name="T26" fmla="*/ 24 w 24"/>
                <a:gd name="T27" fmla="*/ 7 h 23"/>
                <a:gd name="T28" fmla="*/ 19 w 24"/>
                <a:gd name="T29" fmla="*/ 9 h 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23"/>
                <a:gd name="T47" fmla="*/ 24 w 24"/>
                <a:gd name="T48" fmla="*/ 23 h 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23">
                  <a:moveTo>
                    <a:pt x="19" y="9"/>
                  </a:moveTo>
                  <a:lnTo>
                    <a:pt x="17" y="7"/>
                  </a:lnTo>
                  <a:lnTo>
                    <a:pt x="14" y="9"/>
                  </a:lnTo>
                  <a:lnTo>
                    <a:pt x="19" y="9"/>
                  </a:lnTo>
                  <a:lnTo>
                    <a:pt x="17" y="14"/>
                  </a:lnTo>
                  <a:lnTo>
                    <a:pt x="3" y="21"/>
                  </a:lnTo>
                  <a:lnTo>
                    <a:pt x="0" y="23"/>
                  </a:lnTo>
                  <a:lnTo>
                    <a:pt x="0" y="14"/>
                  </a:lnTo>
                  <a:lnTo>
                    <a:pt x="3" y="9"/>
                  </a:lnTo>
                  <a:lnTo>
                    <a:pt x="7" y="9"/>
                  </a:lnTo>
                  <a:lnTo>
                    <a:pt x="14" y="2"/>
                  </a:lnTo>
                  <a:lnTo>
                    <a:pt x="19" y="0"/>
                  </a:lnTo>
                  <a:lnTo>
                    <a:pt x="24" y="0"/>
                  </a:lnTo>
                  <a:lnTo>
                    <a:pt x="24" y="7"/>
                  </a:lnTo>
                  <a:lnTo>
                    <a:pt x="19"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4" name="Freeform 128">
              <a:extLst>
                <a:ext uri="{FF2B5EF4-FFF2-40B4-BE49-F238E27FC236}">
                  <a16:creationId xmlns:a16="http://schemas.microsoft.com/office/drawing/2014/main" id="{997AB1A5-011D-4D17-892C-FD4D9A4BD239}"/>
                </a:ext>
              </a:extLst>
            </p:cNvPr>
            <p:cNvSpPr>
              <a:spLocks/>
            </p:cNvSpPr>
            <p:nvPr/>
          </p:nvSpPr>
          <p:spPr bwMode="gray">
            <a:xfrm rot="47099">
              <a:off x="260108" y="1762202"/>
              <a:ext cx="7125" cy="21227"/>
            </a:xfrm>
            <a:custGeom>
              <a:avLst/>
              <a:gdLst>
                <a:gd name="T0" fmla="*/ 5 w 16"/>
                <a:gd name="T1" fmla="*/ 40 h 45"/>
                <a:gd name="T2" fmla="*/ 5 w 16"/>
                <a:gd name="T3" fmla="*/ 35 h 45"/>
                <a:gd name="T4" fmla="*/ 2 w 16"/>
                <a:gd name="T5" fmla="*/ 31 h 45"/>
                <a:gd name="T6" fmla="*/ 0 w 16"/>
                <a:gd name="T7" fmla="*/ 31 h 45"/>
                <a:gd name="T8" fmla="*/ 0 w 16"/>
                <a:gd name="T9" fmla="*/ 28 h 45"/>
                <a:gd name="T10" fmla="*/ 2 w 16"/>
                <a:gd name="T11" fmla="*/ 21 h 45"/>
                <a:gd name="T12" fmla="*/ 2 w 16"/>
                <a:gd name="T13" fmla="*/ 14 h 45"/>
                <a:gd name="T14" fmla="*/ 5 w 16"/>
                <a:gd name="T15" fmla="*/ 7 h 45"/>
                <a:gd name="T16" fmla="*/ 5 w 16"/>
                <a:gd name="T17" fmla="*/ 5 h 45"/>
                <a:gd name="T18" fmla="*/ 9 w 16"/>
                <a:gd name="T19" fmla="*/ 0 h 45"/>
                <a:gd name="T20" fmla="*/ 16 w 16"/>
                <a:gd name="T21" fmla="*/ 0 h 45"/>
                <a:gd name="T22" fmla="*/ 16 w 16"/>
                <a:gd name="T23" fmla="*/ 5 h 45"/>
                <a:gd name="T24" fmla="*/ 12 w 16"/>
                <a:gd name="T25" fmla="*/ 5 h 45"/>
                <a:gd name="T26" fmla="*/ 9 w 16"/>
                <a:gd name="T27" fmla="*/ 7 h 45"/>
                <a:gd name="T28" fmla="*/ 9 w 16"/>
                <a:gd name="T29" fmla="*/ 12 h 45"/>
                <a:gd name="T30" fmla="*/ 5 w 16"/>
                <a:gd name="T31" fmla="*/ 17 h 45"/>
                <a:gd name="T32" fmla="*/ 5 w 16"/>
                <a:gd name="T33" fmla="*/ 28 h 45"/>
                <a:gd name="T34" fmla="*/ 9 w 16"/>
                <a:gd name="T35" fmla="*/ 31 h 45"/>
                <a:gd name="T36" fmla="*/ 9 w 16"/>
                <a:gd name="T37" fmla="*/ 35 h 45"/>
                <a:gd name="T38" fmla="*/ 5 w 16"/>
                <a:gd name="T39" fmla="*/ 45 h 45"/>
                <a:gd name="T40" fmla="*/ 5 w 16"/>
                <a:gd name="T41" fmla="*/ 40 h 45"/>
                <a:gd name="T42" fmla="*/ 2 w 16"/>
                <a:gd name="T43" fmla="*/ 40 h 45"/>
                <a:gd name="T44" fmla="*/ 5 w 16"/>
                <a:gd name="T45" fmla="*/ 40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45"/>
                <a:gd name="T71" fmla="*/ 16 w 16"/>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45">
                  <a:moveTo>
                    <a:pt x="5" y="40"/>
                  </a:moveTo>
                  <a:lnTo>
                    <a:pt x="5" y="35"/>
                  </a:lnTo>
                  <a:lnTo>
                    <a:pt x="2" y="31"/>
                  </a:lnTo>
                  <a:lnTo>
                    <a:pt x="0" y="31"/>
                  </a:lnTo>
                  <a:lnTo>
                    <a:pt x="0" y="28"/>
                  </a:lnTo>
                  <a:lnTo>
                    <a:pt x="2" y="21"/>
                  </a:lnTo>
                  <a:lnTo>
                    <a:pt x="2" y="14"/>
                  </a:lnTo>
                  <a:lnTo>
                    <a:pt x="5" y="7"/>
                  </a:lnTo>
                  <a:lnTo>
                    <a:pt x="5" y="5"/>
                  </a:lnTo>
                  <a:lnTo>
                    <a:pt x="9" y="0"/>
                  </a:lnTo>
                  <a:lnTo>
                    <a:pt x="16" y="0"/>
                  </a:lnTo>
                  <a:lnTo>
                    <a:pt x="16" y="5"/>
                  </a:lnTo>
                  <a:lnTo>
                    <a:pt x="12" y="5"/>
                  </a:lnTo>
                  <a:lnTo>
                    <a:pt x="9" y="7"/>
                  </a:lnTo>
                  <a:lnTo>
                    <a:pt x="9" y="12"/>
                  </a:lnTo>
                  <a:lnTo>
                    <a:pt x="5" y="17"/>
                  </a:lnTo>
                  <a:lnTo>
                    <a:pt x="5" y="28"/>
                  </a:lnTo>
                  <a:lnTo>
                    <a:pt x="9" y="31"/>
                  </a:lnTo>
                  <a:lnTo>
                    <a:pt x="9" y="35"/>
                  </a:lnTo>
                  <a:lnTo>
                    <a:pt x="5" y="45"/>
                  </a:lnTo>
                  <a:lnTo>
                    <a:pt x="5" y="40"/>
                  </a:lnTo>
                  <a:lnTo>
                    <a:pt x="2" y="40"/>
                  </a:lnTo>
                  <a:lnTo>
                    <a:pt x="5" y="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5" name="Freeform 129">
              <a:extLst>
                <a:ext uri="{FF2B5EF4-FFF2-40B4-BE49-F238E27FC236}">
                  <a16:creationId xmlns:a16="http://schemas.microsoft.com/office/drawing/2014/main" id="{3176BE90-7EE8-4E5A-B454-E7F6309604F4}"/>
                </a:ext>
              </a:extLst>
            </p:cNvPr>
            <p:cNvSpPr>
              <a:spLocks/>
            </p:cNvSpPr>
            <p:nvPr/>
          </p:nvSpPr>
          <p:spPr bwMode="gray">
            <a:xfrm rot="47099">
              <a:off x="586077" y="2162317"/>
              <a:ext cx="11578" cy="4824"/>
            </a:xfrm>
            <a:custGeom>
              <a:avLst/>
              <a:gdLst>
                <a:gd name="T0" fmla="*/ 22 w 26"/>
                <a:gd name="T1" fmla="*/ 10 h 10"/>
                <a:gd name="T2" fmla="*/ 17 w 26"/>
                <a:gd name="T3" fmla="*/ 10 h 10"/>
                <a:gd name="T4" fmla="*/ 10 w 26"/>
                <a:gd name="T5" fmla="*/ 5 h 10"/>
                <a:gd name="T6" fmla="*/ 0 w 26"/>
                <a:gd name="T7" fmla="*/ 5 h 10"/>
                <a:gd name="T8" fmla="*/ 0 w 26"/>
                <a:gd name="T9" fmla="*/ 3 h 10"/>
                <a:gd name="T10" fmla="*/ 5 w 26"/>
                <a:gd name="T11" fmla="*/ 0 h 10"/>
                <a:gd name="T12" fmla="*/ 7 w 26"/>
                <a:gd name="T13" fmla="*/ 3 h 10"/>
                <a:gd name="T14" fmla="*/ 22 w 26"/>
                <a:gd name="T15" fmla="*/ 3 h 10"/>
                <a:gd name="T16" fmla="*/ 26 w 26"/>
                <a:gd name="T17" fmla="*/ 5 h 10"/>
                <a:gd name="T18" fmla="*/ 26 w 26"/>
                <a:gd name="T19" fmla="*/ 10 h 10"/>
                <a:gd name="T20" fmla="*/ 22 w 26"/>
                <a:gd name="T21" fmla="*/ 1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0"/>
                <a:gd name="T35" fmla="*/ 26 w 26"/>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0">
                  <a:moveTo>
                    <a:pt x="22" y="10"/>
                  </a:moveTo>
                  <a:lnTo>
                    <a:pt x="17" y="10"/>
                  </a:lnTo>
                  <a:lnTo>
                    <a:pt x="10" y="5"/>
                  </a:lnTo>
                  <a:lnTo>
                    <a:pt x="0" y="5"/>
                  </a:lnTo>
                  <a:lnTo>
                    <a:pt x="0" y="3"/>
                  </a:lnTo>
                  <a:lnTo>
                    <a:pt x="5" y="0"/>
                  </a:lnTo>
                  <a:lnTo>
                    <a:pt x="7" y="3"/>
                  </a:lnTo>
                  <a:lnTo>
                    <a:pt x="22" y="3"/>
                  </a:lnTo>
                  <a:lnTo>
                    <a:pt x="26" y="5"/>
                  </a:lnTo>
                  <a:lnTo>
                    <a:pt x="26" y="10"/>
                  </a:lnTo>
                  <a:lnTo>
                    <a:pt x="22"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6" name="Freeform 130">
              <a:extLst>
                <a:ext uri="{FF2B5EF4-FFF2-40B4-BE49-F238E27FC236}">
                  <a16:creationId xmlns:a16="http://schemas.microsoft.com/office/drawing/2014/main" id="{3B482D82-6768-429F-8B69-81710F469803}"/>
                </a:ext>
              </a:extLst>
            </p:cNvPr>
            <p:cNvSpPr>
              <a:spLocks/>
            </p:cNvSpPr>
            <p:nvPr/>
          </p:nvSpPr>
          <p:spPr bwMode="gray">
            <a:xfrm rot="47099">
              <a:off x="563354" y="2130108"/>
              <a:ext cx="3563" cy="5789"/>
            </a:xfrm>
            <a:custGeom>
              <a:avLst/>
              <a:gdLst>
                <a:gd name="T0" fmla="*/ 7 w 7"/>
                <a:gd name="T1" fmla="*/ 5 h 12"/>
                <a:gd name="T2" fmla="*/ 2 w 7"/>
                <a:gd name="T3" fmla="*/ 7 h 12"/>
                <a:gd name="T4" fmla="*/ 2 w 7"/>
                <a:gd name="T5" fmla="*/ 12 h 12"/>
                <a:gd name="T6" fmla="*/ 0 w 7"/>
                <a:gd name="T7" fmla="*/ 12 h 12"/>
                <a:gd name="T8" fmla="*/ 0 w 7"/>
                <a:gd name="T9" fmla="*/ 0 h 12"/>
                <a:gd name="T10" fmla="*/ 7 w 7"/>
                <a:gd name="T11" fmla="*/ 0 h 12"/>
                <a:gd name="T12" fmla="*/ 7 w 7"/>
                <a:gd name="T13" fmla="*/ 5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7" y="5"/>
                  </a:moveTo>
                  <a:lnTo>
                    <a:pt x="2" y="7"/>
                  </a:lnTo>
                  <a:lnTo>
                    <a:pt x="2" y="12"/>
                  </a:lnTo>
                  <a:lnTo>
                    <a:pt x="0" y="12"/>
                  </a:lnTo>
                  <a:lnTo>
                    <a:pt x="0"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7" name="Freeform 131">
              <a:extLst>
                <a:ext uri="{FF2B5EF4-FFF2-40B4-BE49-F238E27FC236}">
                  <a16:creationId xmlns:a16="http://schemas.microsoft.com/office/drawing/2014/main" id="{AD6A0462-AD32-49C3-8B2A-2D305D6076C6}"/>
                </a:ext>
              </a:extLst>
            </p:cNvPr>
            <p:cNvSpPr>
              <a:spLocks/>
            </p:cNvSpPr>
            <p:nvPr/>
          </p:nvSpPr>
          <p:spPr bwMode="gray">
            <a:xfrm rot="47099">
              <a:off x="567853" y="2126316"/>
              <a:ext cx="4453" cy="6754"/>
            </a:xfrm>
            <a:custGeom>
              <a:avLst/>
              <a:gdLst>
                <a:gd name="T0" fmla="*/ 10 w 10"/>
                <a:gd name="T1" fmla="*/ 2 h 14"/>
                <a:gd name="T2" fmla="*/ 10 w 10"/>
                <a:gd name="T3" fmla="*/ 9 h 14"/>
                <a:gd name="T4" fmla="*/ 7 w 10"/>
                <a:gd name="T5" fmla="*/ 14 h 14"/>
                <a:gd name="T6" fmla="*/ 5 w 10"/>
                <a:gd name="T7" fmla="*/ 14 h 14"/>
                <a:gd name="T8" fmla="*/ 0 w 10"/>
                <a:gd name="T9" fmla="*/ 9 h 14"/>
                <a:gd name="T10" fmla="*/ 0 w 10"/>
                <a:gd name="T11" fmla="*/ 7 h 14"/>
                <a:gd name="T12" fmla="*/ 5 w 10"/>
                <a:gd name="T13" fmla="*/ 2 h 14"/>
                <a:gd name="T14" fmla="*/ 7 w 10"/>
                <a:gd name="T15" fmla="*/ 0 h 14"/>
                <a:gd name="T16" fmla="*/ 10 w 10"/>
                <a:gd name="T17" fmla="*/ 0 h 14"/>
                <a:gd name="T18" fmla="*/ 10 w 10"/>
                <a:gd name="T19" fmla="*/ 2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4"/>
                <a:gd name="T32" fmla="*/ 10 w 1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4">
                  <a:moveTo>
                    <a:pt x="10" y="2"/>
                  </a:moveTo>
                  <a:lnTo>
                    <a:pt x="10" y="9"/>
                  </a:lnTo>
                  <a:lnTo>
                    <a:pt x="7" y="14"/>
                  </a:lnTo>
                  <a:lnTo>
                    <a:pt x="5" y="14"/>
                  </a:lnTo>
                  <a:lnTo>
                    <a:pt x="0" y="9"/>
                  </a:lnTo>
                  <a:lnTo>
                    <a:pt x="0" y="7"/>
                  </a:lnTo>
                  <a:lnTo>
                    <a:pt x="5" y="2"/>
                  </a:lnTo>
                  <a:lnTo>
                    <a:pt x="7" y="0"/>
                  </a:lnTo>
                  <a:lnTo>
                    <a:pt x="10" y="0"/>
                  </a:lnTo>
                  <a:lnTo>
                    <a:pt x="1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8" name="Freeform 132">
              <a:extLst>
                <a:ext uri="{FF2B5EF4-FFF2-40B4-BE49-F238E27FC236}">
                  <a16:creationId xmlns:a16="http://schemas.microsoft.com/office/drawing/2014/main" id="{D9636EF5-BCB4-4C77-B56A-315F32821B24}"/>
                </a:ext>
              </a:extLst>
            </p:cNvPr>
            <p:cNvSpPr>
              <a:spLocks/>
            </p:cNvSpPr>
            <p:nvPr/>
          </p:nvSpPr>
          <p:spPr bwMode="gray">
            <a:xfrm rot="47099">
              <a:off x="472745" y="1852911"/>
              <a:ext cx="5343" cy="4824"/>
            </a:xfrm>
            <a:custGeom>
              <a:avLst/>
              <a:gdLst>
                <a:gd name="T0" fmla="*/ 4 w 11"/>
                <a:gd name="T1" fmla="*/ 9 h 9"/>
                <a:gd name="T2" fmla="*/ 0 w 11"/>
                <a:gd name="T3" fmla="*/ 5 h 9"/>
                <a:gd name="T4" fmla="*/ 0 w 11"/>
                <a:gd name="T5" fmla="*/ 0 h 9"/>
                <a:gd name="T6" fmla="*/ 9 w 11"/>
                <a:gd name="T7" fmla="*/ 0 h 9"/>
                <a:gd name="T8" fmla="*/ 11 w 11"/>
                <a:gd name="T9" fmla="*/ 2 h 9"/>
                <a:gd name="T10" fmla="*/ 11 w 11"/>
                <a:gd name="T11" fmla="*/ 5 h 9"/>
                <a:gd name="T12" fmla="*/ 9 w 11"/>
                <a:gd name="T13" fmla="*/ 9 h 9"/>
                <a:gd name="T14" fmla="*/ 4 w 11"/>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9"/>
                <a:gd name="T26" fmla="*/ 11 w 11"/>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9">
                  <a:moveTo>
                    <a:pt x="4" y="9"/>
                  </a:moveTo>
                  <a:lnTo>
                    <a:pt x="0" y="5"/>
                  </a:lnTo>
                  <a:lnTo>
                    <a:pt x="0" y="0"/>
                  </a:lnTo>
                  <a:lnTo>
                    <a:pt x="9" y="0"/>
                  </a:lnTo>
                  <a:lnTo>
                    <a:pt x="11" y="2"/>
                  </a:lnTo>
                  <a:lnTo>
                    <a:pt x="11" y="5"/>
                  </a:lnTo>
                  <a:lnTo>
                    <a:pt x="9" y="9"/>
                  </a:lnTo>
                  <a:lnTo>
                    <a:pt x="4"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49" name="Freeform 133">
              <a:extLst>
                <a:ext uri="{FF2B5EF4-FFF2-40B4-BE49-F238E27FC236}">
                  <a16:creationId xmlns:a16="http://schemas.microsoft.com/office/drawing/2014/main" id="{4E40CDFD-5BA5-47CB-A0CC-C575CA9FD080}"/>
                </a:ext>
              </a:extLst>
            </p:cNvPr>
            <p:cNvSpPr>
              <a:spLocks/>
            </p:cNvSpPr>
            <p:nvPr/>
          </p:nvSpPr>
          <p:spPr bwMode="gray">
            <a:xfrm rot="47099">
              <a:off x="384328" y="1713841"/>
              <a:ext cx="23156" cy="57890"/>
            </a:xfrm>
            <a:custGeom>
              <a:avLst/>
              <a:gdLst>
                <a:gd name="T0" fmla="*/ 16 w 49"/>
                <a:gd name="T1" fmla="*/ 74 h 126"/>
                <a:gd name="T2" fmla="*/ 19 w 49"/>
                <a:gd name="T3" fmla="*/ 64 h 126"/>
                <a:gd name="T4" fmla="*/ 16 w 49"/>
                <a:gd name="T5" fmla="*/ 43 h 126"/>
                <a:gd name="T6" fmla="*/ 9 w 49"/>
                <a:gd name="T7" fmla="*/ 36 h 126"/>
                <a:gd name="T8" fmla="*/ 5 w 49"/>
                <a:gd name="T9" fmla="*/ 36 h 126"/>
                <a:gd name="T10" fmla="*/ 0 w 49"/>
                <a:gd name="T11" fmla="*/ 33 h 126"/>
                <a:gd name="T12" fmla="*/ 2 w 49"/>
                <a:gd name="T13" fmla="*/ 17 h 126"/>
                <a:gd name="T14" fmla="*/ 9 w 49"/>
                <a:gd name="T15" fmla="*/ 10 h 126"/>
                <a:gd name="T16" fmla="*/ 23 w 49"/>
                <a:gd name="T17" fmla="*/ 7 h 126"/>
                <a:gd name="T18" fmla="*/ 33 w 49"/>
                <a:gd name="T19" fmla="*/ 0 h 126"/>
                <a:gd name="T20" fmla="*/ 33 w 49"/>
                <a:gd name="T21" fmla="*/ 7 h 126"/>
                <a:gd name="T22" fmla="*/ 23 w 49"/>
                <a:gd name="T23" fmla="*/ 17 h 126"/>
                <a:gd name="T24" fmla="*/ 26 w 49"/>
                <a:gd name="T25" fmla="*/ 24 h 126"/>
                <a:gd name="T26" fmla="*/ 28 w 49"/>
                <a:gd name="T27" fmla="*/ 19 h 126"/>
                <a:gd name="T28" fmla="*/ 35 w 49"/>
                <a:gd name="T29" fmla="*/ 41 h 126"/>
                <a:gd name="T30" fmla="*/ 49 w 49"/>
                <a:gd name="T31" fmla="*/ 48 h 126"/>
                <a:gd name="T32" fmla="*/ 45 w 49"/>
                <a:gd name="T33" fmla="*/ 64 h 126"/>
                <a:gd name="T34" fmla="*/ 42 w 49"/>
                <a:gd name="T35" fmla="*/ 69 h 126"/>
                <a:gd name="T36" fmla="*/ 40 w 49"/>
                <a:gd name="T37" fmla="*/ 83 h 126"/>
                <a:gd name="T38" fmla="*/ 40 w 49"/>
                <a:gd name="T39" fmla="*/ 90 h 126"/>
                <a:gd name="T40" fmla="*/ 35 w 49"/>
                <a:gd name="T41" fmla="*/ 93 h 126"/>
                <a:gd name="T42" fmla="*/ 40 w 49"/>
                <a:gd name="T43" fmla="*/ 97 h 126"/>
                <a:gd name="T44" fmla="*/ 42 w 49"/>
                <a:gd name="T45" fmla="*/ 109 h 126"/>
                <a:gd name="T46" fmla="*/ 42 w 49"/>
                <a:gd name="T47" fmla="*/ 107 h 126"/>
                <a:gd name="T48" fmla="*/ 45 w 49"/>
                <a:gd name="T49" fmla="*/ 116 h 126"/>
                <a:gd name="T50" fmla="*/ 45 w 49"/>
                <a:gd name="T51" fmla="*/ 123 h 126"/>
                <a:gd name="T52" fmla="*/ 33 w 49"/>
                <a:gd name="T53" fmla="*/ 126 h 126"/>
                <a:gd name="T54" fmla="*/ 28 w 49"/>
                <a:gd name="T55" fmla="*/ 114 h 126"/>
                <a:gd name="T56" fmla="*/ 26 w 49"/>
                <a:gd name="T57" fmla="*/ 109 h 126"/>
                <a:gd name="T58" fmla="*/ 9 w 49"/>
                <a:gd name="T59" fmla="*/ 107 h 126"/>
                <a:gd name="T60" fmla="*/ 2 w 49"/>
                <a:gd name="T61" fmla="*/ 109 h 126"/>
                <a:gd name="T62" fmla="*/ 5 w 49"/>
                <a:gd name="T63" fmla="*/ 104 h 126"/>
                <a:gd name="T64" fmla="*/ 12 w 49"/>
                <a:gd name="T65" fmla="*/ 97 h 126"/>
                <a:gd name="T66" fmla="*/ 12 w 49"/>
                <a:gd name="T67" fmla="*/ 93 h 126"/>
                <a:gd name="T68" fmla="*/ 16 w 49"/>
                <a:gd name="T69" fmla="*/ 76 h 126"/>
                <a:gd name="T70" fmla="*/ 23 w 49"/>
                <a:gd name="T71" fmla="*/ 59 h 126"/>
                <a:gd name="T72" fmla="*/ 19 w 49"/>
                <a:gd name="T73" fmla="*/ 57 h 126"/>
                <a:gd name="T74" fmla="*/ 23 w 49"/>
                <a:gd name="T75" fmla="*/ 48 h 126"/>
                <a:gd name="T76" fmla="*/ 16 w 49"/>
                <a:gd name="T77" fmla="*/ 41 h 126"/>
                <a:gd name="T78" fmla="*/ 19 w 49"/>
                <a:gd name="T79" fmla="*/ 48 h 126"/>
                <a:gd name="T80" fmla="*/ 16 w 49"/>
                <a:gd name="T81" fmla="*/ 67 h 126"/>
                <a:gd name="T82" fmla="*/ 12 w 49"/>
                <a:gd name="T83" fmla="*/ 74 h 1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
                <a:gd name="T127" fmla="*/ 0 h 126"/>
                <a:gd name="T128" fmla="*/ 49 w 49"/>
                <a:gd name="T129" fmla="*/ 126 h 1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 h="126">
                  <a:moveTo>
                    <a:pt x="12" y="74"/>
                  </a:moveTo>
                  <a:lnTo>
                    <a:pt x="16" y="74"/>
                  </a:lnTo>
                  <a:lnTo>
                    <a:pt x="16" y="67"/>
                  </a:lnTo>
                  <a:lnTo>
                    <a:pt x="19" y="64"/>
                  </a:lnTo>
                  <a:lnTo>
                    <a:pt x="19" y="48"/>
                  </a:lnTo>
                  <a:lnTo>
                    <a:pt x="16" y="43"/>
                  </a:lnTo>
                  <a:lnTo>
                    <a:pt x="16" y="36"/>
                  </a:lnTo>
                  <a:lnTo>
                    <a:pt x="9" y="36"/>
                  </a:lnTo>
                  <a:lnTo>
                    <a:pt x="9" y="33"/>
                  </a:lnTo>
                  <a:lnTo>
                    <a:pt x="5" y="36"/>
                  </a:lnTo>
                  <a:lnTo>
                    <a:pt x="2" y="36"/>
                  </a:lnTo>
                  <a:lnTo>
                    <a:pt x="0" y="33"/>
                  </a:lnTo>
                  <a:lnTo>
                    <a:pt x="0" y="19"/>
                  </a:lnTo>
                  <a:lnTo>
                    <a:pt x="2" y="17"/>
                  </a:lnTo>
                  <a:lnTo>
                    <a:pt x="2" y="12"/>
                  </a:lnTo>
                  <a:lnTo>
                    <a:pt x="9" y="10"/>
                  </a:lnTo>
                  <a:lnTo>
                    <a:pt x="16" y="7"/>
                  </a:lnTo>
                  <a:lnTo>
                    <a:pt x="23" y="7"/>
                  </a:lnTo>
                  <a:lnTo>
                    <a:pt x="33" y="3"/>
                  </a:lnTo>
                  <a:lnTo>
                    <a:pt x="33" y="0"/>
                  </a:lnTo>
                  <a:lnTo>
                    <a:pt x="35" y="3"/>
                  </a:lnTo>
                  <a:lnTo>
                    <a:pt x="33" y="7"/>
                  </a:lnTo>
                  <a:lnTo>
                    <a:pt x="28" y="7"/>
                  </a:lnTo>
                  <a:lnTo>
                    <a:pt x="23" y="17"/>
                  </a:lnTo>
                  <a:lnTo>
                    <a:pt x="26" y="19"/>
                  </a:lnTo>
                  <a:lnTo>
                    <a:pt x="26" y="24"/>
                  </a:lnTo>
                  <a:lnTo>
                    <a:pt x="26" y="19"/>
                  </a:lnTo>
                  <a:lnTo>
                    <a:pt x="28" y="19"/>
                  </a:lnTo>
                  <a:lnTo>
                    <a:pt x="28" y="36"/>
                  </a:lnTo>
                  <a:lnTo>
                    <a:pt x="35" y="41"/>
                  </a:lnTo>
                  <a:lnTo>
                    <a:pt x="40" y="41"/>
                  </a:lnTo>
                  <a:lnTo>
                    <a:pt x="49" y="48"/>
                  </a:lnTo>
                  <a:lnTo>
                    <a:pt x="49" y="64"/>
                  </a:lnTo>
                  <a:lnTo>
                    <a:pt x="45" y="64"/>
                  </a:lnTo>
                  <a:lnTo>
                    <a:pt x="45" y="67"/>
                  </a:lnTo>
                  <a:lnTo>
                    <a:pt x="42" y="69"/>
                  </a:lnTo>
                  <a:lnTo>
                    <a:pt x="40" y="74"/>
                  </a:lnTo>
                  <a:lnTo>
                    <a:pt x="40" y="83"/>
                  </a:lnTo>
                  <a:lnTo>
                    <a:pt x="42" y="88"/>
                  </a:lnTo>
                  <a:lnTo>
                    <a:pt x="40" y="90"/>
                  </a:lnTo>
                  <a:lnTo>
                    <a:pt x="40" y="93"/>
                  </a:lnTo>
                  <a:lnTo>
                    <a:pt x="35" y="93"/>
                  </a:lnTo>
                  <a:lnTo>
                    <a:pt x="35" y="97"/>
                  </a:lnTo>
                  <a:lnTo>
                    <a:pt x="40" y="97"/>
                  </a:lnTo>
                  <a:lnTo>
                    <a:pt x="40" y="109"/>
                  </a:lnTo>
                  <a:lnTo>
                    <a:pt x="42" y="109"/>
                  </a:lnTo>
                  <a:lnTo>
                    <a:pt x="42" y="104"/>
                  </a:lnTo>
                  <a:lnTo>
                    <a:pt x="42" y="107"/>
                  </a:lnTo>
                  <a:lnTo>
                    <a:pt x="45" y="109"/>
                  </a:lnTo>
                  <a:lnTo>
                    <a:pt x="45" y="116"/>
                  </a:lnTo>
                  <a:lnTo>
                    <a:pt x="49" y="123"/>
                  </a:lnTo>
                  <a:lnTo>
                    <a:pt x="45" y="123"/>
                  </a:lnTo>
                  <a:lnTo>
                    <a:pt x="42" y="126"/>
                  </a:lnTo>
                  <a:lnTo>
                    <a:pt x="33" y="126"/>
                  </a:lnTo>
                  <a:lnTo>
                    <a:pt x="33" y="114"/>
                  </a:lnTo>
                  <a:lnTo>
                    <a:pt x="28" y="114"/>
                  </a:lnTo>
                  <a:lnTo>
                    <a:pt x="28" y="109"/>
                  </a:lnTo>
                  <a:lnTo>
                    <a:pt x="26" y="109"/>
                  </a:lnTo>
                  <a:lnTo>
                    <a:pt x="16" y="107"/>
                  </a:lnTo>
                  <a:lnTo>
                    <a:pt x="9" y="107"/>
                  </a:lnTo>
                  <a:lnTo>
                    <a:pt x="9" y="109"/>
                  </a:lnTo>
                  <a:lnTo>
                    <a:pt x="2" y="109"/>
                  </a:lnTo>
                  <a:lnTo>
                    <a:pt x="2" y="107"/>
                  </a:lnTo>
                  <a:lnTo>
                    <a:pt x="5" y="104"/>
                  </a:lnTo>
                  <a:lnTo>
                    <a:pt x="9" y="104"/>
                  </a:lnTo>
                  <a:lnTo>
                    <a:pt x="12" y="97"/>
                  </a:lnTo>
                  <a:lnTo>
                    <a:pt x="12" y="90"/>
                  </a:lnTo>
                  <a:lnTo>
                    <a:pt x="12" y="93"/>
                  </a:lnTo>
                  <a:lnTo>
                    <a:pt x="12" y="76"/>
                  </a:lnTo>
                  <a:lnTo>
                    <a:pt x="16" y="76"/>
                  </a:lnTo>
                  <a:lnTo>
                    <a:pt x="19" y="74"/>
                  </a:lnTo>
                  <a:lnTo>
                    <a:pt x="23" y="59"/>
                  </a:lnTo>
                  <a:lnTo>
                    <a:pt x="23" y="57"/>
                  </a:lnTo>
                  <a:lnTo>
                    <a:pt x="19" y="57"/>
                  </a:lnTo>
                  <a:lnTo>
                    <a:pt x="19" y="48"/>
                  </a:lnTo>
                  <a:lnTo>
                    <a:pt x="23" y="48"/>
                  </a:lnTo>
                  <a:lnTo>
                    <a:pt x="23" y="43"/>
                  </a:lnTo>
                  <a:lnTo>
                    <a:pt x="16" y="41"/>
                  </a:lnTo>
                  <a:lnTo>
                    <a:pt x="16" y="43"/>
                  </a:lnTo>
                  <a:lnTo>
                    <a:pt x="19" y="48"/>
                  </a:lnTo>
                  <a:lnTo>
                    <a:pt x="19" y="64"/>
                  </a:lnTo>
                  <a:lnTo>
                    <a:pt x="16" y="67"/>
                  </a:lnTo>
                  <a:lnTo>
                    <a:pt x="16" y="74"/>
                  </a:lnTo>
                  <a:lnTo>
                    <a:pt x="12" y="7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0" name="Freeform 134">
              <a:extLst>
                <a:ext uri="{FF2B5EF4-FFF2-40B4-BE49-F238E27FC236}">
                  <a16:creationId xmlns:a16="http://schemas.microsoft.com/office/drawing/2014/main" id="{D65F5BB1-1568-4F16-824B-E7EFBCBF8172}"/>
                </a:ext>
              </a:extLst>
            </p:cNvPr>
            <p:cNvSpPr>
              <a:spLocks/>
            </p:cNvSpPr>
            <p:nvPr/>
          </p:nvSpPr>
          <p:spPr bwMode="gray">
            <a:xfrm rot="47099">
              <a:off x="530480" y="1735035"/>
              <a:ext cx="8015" cy="3860"/>
            </a:xfrm>
            <a:custGeom>
              <a:avLst/>
              <a:gdLst>
                <a:gd name="T0" fmla="*/ 12 w 17"/>
                <a:gd name="T1" fmla="*/ 7 h 7"/>
                <a:gd name="T2" fmla="*/ 0 w 17"/>
                <a:gd name="T3" fmla="*/ 0 h 7"/>
                <a:gd name="T4" fmla="*/ 9 w 17"/>
                <a:gd name="T5" fmla="*/ 0 h 7"/>
                <a:gd name="T6" fmla="*/ 9 w 17"/>
                <a:gd name="T7" fmla="*/ 5 h 7"/>
                <a:gd name="T8" fmla="*/ 12 w 17"/>
                <a:gd name="T9" fmla="*/ 5 h 7"/>
                <a:gd name="T10" fmla="*/ 12 w 17"/>
                <a:gd name="T11" fmla="*/ 7 h 7"/>
                <a:gd name="T12" fmla="*/ 17 w 17"/>
                <a:gd name="T13" fmla="*/ 7 h 7"/>
                <a:gd name="T14" fmla="*/ 12 w 17"/>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7"/>
                <a:gd name="T26" fmla="*/ 17 w 17"/>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7">
                  <a:moveTo>
                    <a:pt x="12" y="7"/>
                  </a:moveTo>
                  <a:lnTo>
                    <a:pt x="0" y="0"/>
                  </a:lnTo>
                  <a:lnTo>
                    <a:pt x="9" y="0"/>
                  </a:lnTo>
                  <a:lnTo>
                    <a:pt x="9" y="5"/>
                  </a:lnTo>
                  <a:lnTo>
                    <a:pt x="12" y="5"/>
                  </a:lnTo>
                  <a:lnTo>
                    <a:pt x="12" y="7"/>
                  </a:lnTo>
                  <a:lnTo>
                    <a:pt x="17" y="7"/>
                  </a:lnTo>
                  <a:lnTo>
                    <a:pt x="12"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1" name="Freeform 135">
              <a:extLst>
                <a:ext uri="{FF2B5EF4-FFF2-40B4-BE49-F238E27FC236}">
                  <a16:creationId xmlns:a16="http://schemas.microsoft.com/office/drawing/2014/main" id="{1F32B844-F1C0-4FAB-A063-E02D5E582972}"/>
                </a:ext>
              </a:extLst>
            </p:cNvPr>
            <p:cNvSpPr>
              <a:spLocks/>
            </p:cNvSpPr>
            <p:nvPr/>
          </p:nvSpPr>
          <p:spPr bwMode="gray">
            <a:xfrm rot="47099">
              <a:off x="550831" y="1744017"/>
              <a:ext cx="10687" cy="5789"/>
            </a:xfrm>
            <a:custGeom>
              <a:avLst/>
              <a:gdLst>
                <a:gd name="T0" fmla="*/ 23 w 23"/>
                <a:gd name="T1" fmla="*/ 15 h 15"/>
                <a:gd name="T2" fmla="*/ 18 w 23"/>
                <a:gd name="T3" fmla="*/ 15 h 15"/>
                <a:gd name="T4" fmla="*/ 14 w 23"/>
                <a:gd name="T5" fmla="*/ 10 h 15"/>
                <a:gd name="T6" fmla="*/ 2 w 23"/>
                <a:gd name="T7" fmla="*/ 5 h 15"/>
                <a:gd name="T8" fmla="*/ 0 w 23"/>
                <a:gd name="T9" fmla="*/ 0 h 15"/>
                <a:gd name="T10" fmla="*/ 2 w 23"/>
                <a:gd name="T11" fmla="*/ 0 h 15"/>
                <a:gd name="T12" fmla="*/ 14 w 23"/>
                <a:gd name="T13" fmla="*/ 8 h 15"/>
                <a:gd name="T14" fmla="*/ 16 w 23"/>
                <a:gd name="T15" fmla="*/ 10 h 15"/>
                <a:gd name="T16" fmla="*/ 23 w 23"/>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5"/>
                <a:gd name="T29" fmla="*/ 23 w 23"/>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5">
                  <a:moveTo>
                    <a:pt x="23" y="15"/>
                  </a:moveTo>
                  <a:lnTo>
                    <a:pt x="18" y="15"/>
                  </a:lnTo>
                  <a:lnTo>
                    <a:pt x="14" y="10"/>
                  </a:lnTo>
                  <a:lnTo>
                    <a:pt x="2" y="5"/>
                  </a:lnTo>
                  <a:lnTo>
                    <a:pt x="0" y="0"/>
                  </a:lnTo>
                  <a:lnTo>
                    <a:pt x="2" y="0"/>
                  </a:lnTo>
                  <a:lnTo>
                    <a:pt x="14" y="8"/>
                  </a:lnTo>
                  <a:lnTo>
                    <a:pt x="16" y="10"/>
                  </a:lnTo>
                  <a:lnTo>
                    <a:pt x="23" y="1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2" name="Freeform 136">
              <a:extLst>
                <a:ext uri="{FF2B5EF4-FFF2-40B4-BE49-F238E27FC236}">
                  <a16:creationId xmlns:a16="http://schemas.microsoft.com/office/drawing/2014/main" id="{94AFE497-5200-47D9-B9A1-A42C698F318E}"/>
                </a:ext>
              </a:extLst>
            </p:cNvPr>
            <p:cNvSpPr>
              <a:spLocks/>
            </p:cNvSpPr>
            <p:nvPr/>
          </p:nvSpPr>
          <p:spPr bwMode="gray">
            <a:xfrm rot="47099">
              <a:off x="161856" y="1702232"/>
              <a:ext cx="740099" cy="836507"/>
            </a:xfrm>
            <a:custGeom>
              <a:avLst/>
              <a:gdLst>
                <a:gd name="T0" fmla="*/ 1366 w 1592"/>
                <a:gd name="T1" fmla="*/ 33 h 1800"/>
                <a:gd name="T2" fmla="*/ 1342 w 1592"/>
                <a:gd name="T3" fmla="*/ 80 h 1800"/>
                <a:gd name="T4" fmla="*/ 1368 w 1592"/>
                <a:gd name="T5" fmla="*/ 113 h 1800"/>
                <a:gd name="T6" fmla="*/ 1392 w 1592"/>
                <a:gd name="T7" fmla="*/ 163 h 1800"/>
                <a:gd name="T8" fmla="*/ 1422 w 1592"/>
                <a:gd name="T9" fmla="*/ 215 h 1800"/>
                <a:gd name="T10" fmla="*/ 1479 w 1592"/>
                <a:gd name="T11" fmla="*/ 297 h 1800"/>
                <a:gd name="T12" fmla="*/ 1552 w 1592"/>
                <a:gd name="T13" fmla="*/ 361 h 1800"/>
                <a:gd name="T14" fmla="*/ 1590 w 1592"/>
                <a:gd name="T15" fmla="*/ 434 h 1800"/>
                <a:gd name="T16" fmla="*/ 1349 w 1592"/>
                <a:gd name="T17" fmla="*/ 767 h 1800"/>
                <a:gd name="T18" fmla="*/ 1165 w 1592"/>
                <a:gd name="T19" fmla="*/ 1176 h 1800"/>
                <a:gd name="T20" fmla="*/ 1162 w 1592"/>
                <a:gd name="T21" fmla="*/ 1323 h 1800"/>
                <a:gd name="T22" fmla="*/ 1283 w 1592"/>
                <a:gd name="T23" fmla="*/ 1313 h 1800"/>
                <a:gd name="T24" fmla="*/ 1299 w 1592"/>
                <a:gd name="T25" fmla="*/ 1479 h 1800"/>
                <a:gd name="T26" fmla="*/ 1325 w 1592"/>
                <a:gd name="T27" fmla="*/ 1663 h 1800"/>
                <a:gd name="T28" fmla="*/ 1271 w 1592"/>
                <a:gd name="T29" fmla="*/ 1800 h 1800"/>
                <a:gd name="T30" fmla="*/ 1276 w 1592"/>
                <a:gd name="T31" fmla="*/ 1757 h 1800"/>
                <a:gd name="T32" fmla="*/ 1299 w 1592"/>
                <a:gd name="T33" fmla="*/ 1686 h 1800"/>
                <a:gd name="T34" fmla="*/ 1266 w 1592"/>
                <a:gd name="T35" fmla="*/ 1675 h 1800"/>
                <a:gd name="T36" fmla="*/ 1266 w 1592"/>
                <a:gd name="T37" fmla="*/ 1594 h 1800"/>
                <a:gd name="T38" fmla="*/ 1269 w 1592"/>
                <a:gd name="T39" fmla="*/ 1540 h 1800"/>
                <a:gd name="T40" fmla="*/ 1266 w 1592"/>
                <a:gd name="T41" fmla="*/ 1497 h 1800"/>
                <a:gd name="T42" fmla="*/ 1262 w 1592"/>
                <a:gd name="T43" fmla="*/ 1450 h 1800"/>
                <a:gd name="T44" fmla="*/ 1252 w 1592"/>
                <a:gd name="T45" fmla="*/ 1382 h 1800"/>
                <a:gd name="T46" fmla="*/ 1243 w 1592"/>
                <a:gd name="T47" fmla="*/ 1372 h 1800"/>
                <a:gd name="T48" fmla="*/ 1221 w 1592"/>
                <a:gd name="T49" fmla="*/ 1356 h 1800"/>
                <a:gd name="T50" fmla="*/ 1172 w 1592"/>
                <a:gd name="T51" fmla="*/ 1332 h 1800"/>
                <a:gd name="T52" fmla="*/ 1179 w 1592"/>
                <a:gd name="T53" fmla="*/ 1389 h 1800"/>
                <a:gd name="T54" fmla="*/ 1139 w 1592"/>
                <a:gd name="T55" fmla="*/ 1346 h 1800"/>
                <a:gd name="T56" fmla="*/ 1117 w 1592"/>
                <a:gd name="T57" fmla="*/ 1268 h 1800"/>
                <a:gd name="T58" fmla="*/ 1132 w 1592"/>
                <a:gd name="T59" fmla="*/ 1207 h 1800"/>
                <a:gd name="T60" fmla="*/ 1084 w 1592"/>
                <a:gd name="T61" fmla="*/ 1193 h 1800"/>
                <a:gd name="T62" fmla="*/ 1042 w 1592"/>
                <a:gd name="T63" fmla="*/ 1131 h 1800"/>
                <a:gd name="T64" fmla="*/ 969 w 1592"/>
                <a:gd name="T65" fmla="*/ 1025 h 1800"/>
                <a:gd name="T66" fmla="*/ 928 w 1592"/>
                <a:gd name="T67" fmla="*/ 982 h 1800"/>
                <a:gd name="T68" fmla="*/ 928 w 1592"/>
                <a:gd name="T69" fmla="*/ 945 h 1800"/>
                <a:gd name="T70" fmla="*/ 900 w 1592"/>
                <a:gd name="T71" fmla="*/ 928 h 1800"/>
                <a:gd name="T72" fmla="*/ 888 w 1592"/>
                <a:gd name="T73" fmla="*/ 895 h 1800"/>
                <a:gd name="T74" fmla="*/ 862 w 1592"/>
                <a:gd name="T75" fmla="*/ 914 h 1800"/>
                <a:gd name="T76" fmla="*/ 841 w 1592"/>
                <a:gd name="T77" fmla="*/ 952 h 1800"/>
                <a:gd name="T78" fmla="*/ 799 w 1592"/>
                <a:gd name="T79" fmla="*/ 949 h 1800"/>
                <a:gd name="T80" fmla="*/ 751 w 1592"/>
                <a:gd name="T81" fmla="*/ 954 h 1800"/>
                <a:gd name="T82" fmla="*/ 718 w 1592"/>
                <a:gd name="T83" fmla="*/ 938 h 1800"/>
                <a:gd name="T84" fmla="*/ 666 w 1592"/>
                <a:gd name="T85" fmla="*/ 912 h 1800"/>
                <a:gd name="T86" fmla="*/ 751 w 1592"/>
                <a:gd name="T87" fmla="*/ 857 h 1800"/>
                <a:gd name="T88" fmla="*/ 843 w 1592"/>
                <a:gd name="T89" fmla="*/ 888 h 1800"/>
                <a:gd name="T90" fmla="*/ 839 w 1592"/>
                <a:gd name="T91" fmla="*/ 838 h 1800"/>
                <a:gd name="T92" fmla="*/ 751 w 1592"/>
                <a:gd name="T93" fmla="*/ 822 h 1800"/>
                <a:gd name="T94" fmla="*/ 673 w 1592"/>
                <a:gd name="T95" fmla="*/ 855 h 1800"/>
                <a:gd name="T96" fmla="*/ 593 w 1592"/>
                <a:gd name="T97" fmla="*/ 848 h 1800"/>
                <a:gd name="T98" fmla="*/ 536 w 1592"/>
                <a:gd name="T99" fmla="*/ 909 h 1800"/>
                <a:gd name="T100" fmla="*/ 456 w 1592"/>
                <a:gd name="T101" fmla="*/ 919 h 1800"/>
                <a:gd name="T102" fmla="*/ 359 w 1592"/>
                <a:gd name="T103" fmla="*/ 933 h 1800"/>
                <a:gd name="T104" fmla="*/ 291 w 1592"/>
                <a:gd name="T105" fmla="*/ 912 h 1800"/>
                <a:gd name="T106" fmla="*/ 260 w 1592"/>
                <a:gd name="T107" fmla="*/ 928 h 1800"/>
                <a:gd name="T108" fmla="*/ 213 w 1592"/>
                <a:gd name="T109" fmla="*/ 919 h 1800"/>
                <a:gd name="T110" fmla="*/ 132 w 1592"/>
                <a:gd name="T111" fmla="*/ 893 h 1800"/>
                <a:gd name="T112" fmla="*/ 109 w 1592"/>
                <a:gd name="T113" fmla="*/ 841 h 1800"/>
                <a:gd name="T114" fmla="*/ 50 w 1592"/>
                <a:gd name="T115" fmla="*/ 838 h 1800"/>
                <a:gd name="T116" fmla="*/ 19 w 1592"/>
                <a:gd name="T117" fmla="*/ 829 h 1800"/>
                <a:gd name="T118" fmla="*/ 147 w 1592"/>
                <a:gd name="T119" fmla="*/ 841 h 1800"/>
                <a:gd name="T120" fmla="*/ 189 w 1592"/>
                <a:gd name="T121" fmla="*/ 845 h 1800"/>
                <a:gd name="T122" fmla="*/ 333 w 1592"/>
                <a:gd name="T123" fmla="*/ 852 h 18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92"/>
                <a:gd name="T187" fmla="*/ 0 h 1800"/>
                <a:gd name="T188" fmla="*/ 1592 w 1592"/>
                <a:gd name="T189" fmla="*/ 1800 h 18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92" h="1800">
                  <a:moveTo>
                    <a:pt x="1276" y="0"/>
                  </a:moveTo>
                  <a:lnTo>
                    <a:pt x="1283" y="2"/>
                  </a:lnTo>
                  <a:lnTo>
                    <a:pt x="1285" y="7"/>
                  </a:lnTo>
                  <a:lnTo>
                    <a:pt x="1283" y="2"/>
                  </a:lnTo>
                  <a:lnTo>
                    <a:pt x="1278" y="2"/>
                  </a:lnTo>
                  <a:lnTo>
                    <a:pt x="1283" y="7"/>
                  </a:lnTo>
                  <a:lnTo>
                    <a:pt x="1283" y="9"/>
                  </a:lnTo>
                  <a:lnTo>
                    <a:pt x="1278" y="7"/>
                  </a:lnTo>
                  <a:lnTo>
                    <a:pt x="1271" y="7"/>
                  </a:lnTo>
                  <a:lnTo>
                    <a:pt x="1271" y="14"/>
                  </a:lnTo>
                  <a:lnTo>
                    <a:pt x="1278" y="14"/>
                  </a:lnTo>
                  <a:lnTo>
                    <a:pt x="1283" y="16"/>
                  </a:lnTo>
                  <a:lnTo>
                    <a:pt x="1285" y="16"/>
                  </a:lnTo>
                  <a:lnTo>
                    <a:pt x="1290" y="21"/>
                  </a:lnTo>
                  <a:lnTo>
                    <a:pt x="1290" y="23"/>
                  </a:lnTo>
                  <a:lnTo>
                    <a:pt x="1295" y="23"/>
                  </a:lnTo>
                  <a:lnTo>
                    <a:pt x="1295" y="26"/>
                  </a:lnTo>
                  <a:lnTo>
                    <a:pt x="1299" y="30"/>
                  </a:lnTo>
                  <a:lnTo>
                    <a:pt x="1306" y="37"/>
                  </a:lnTo>
                  <a:lnTo>
                    <a:pt x="1342" y="37"/>
                  </a:lnTo>
                  <a:lnTo>
                    <a:pt x="1342" y="33"/>
                  </a:lnTo>
                  <a:lnTo>
                    <a:pt x="1366" y="33"/>
                  </a:lnTo>
                  <a:lnTo>
                    <a:pt x="1366" y="37"/>
                  </a:lnTo>
                  <a:lnTo>
                    <a:pt x="1363" y="42"/>
                  </a:lnTo>
                  <a:lnTo>
                    <a:pt x="1366" y="42"/>
                  </a:lnTo>
                  <a:lnTo>
                    <a:pt x="1366" y="47"/>
                  </a:lnTo>
                  <a:lnTo>
                    <a:pt x="1368" y="49"/>
                  </a:lnTo>
                  <a:lnTo>
                    <a:pt x="1366" y="54"/>
                  </a:lnTo>
                  <a:lnTo>
                    <a:pt x="1366" y="56"/>
                  </a:lnTo>
                  <a:lnTo>
                    <a:pt x="1368" y="56"/>
                  </a:lnTo>
                  <a:lnTo>
                    <a:pt x="1373" y="59"/>
                  </a:lnTo>
                  <a:lnTo>
                    <a:pt x="1373" y="63"/>
                  </a:lnTo>
                  <a:lnTo>
                    <a:pt x="1368" y="71"/>
                  </a:lnTo>
                  <a:lnTo>
                    <a:pt x="1351" y="71"/>
                  </a:lnTo>
                  <a:lnTo>
                    <a:pt x="1349" y="66"/>
                  </a:lnTo>
                  <a:lnTo>
                    <a:pt x="1342" y="66"/>
                  </a:lnTo>
                  <a:lnTo>
                    <a:pt x="1347" y="71"/>
                  </a:lnTo>
                  <a:lnTo>
                    <a:pt x="1347" y="73"/>
                  </a:lnTo>
                  <a:lnTo>
                    <a:pt x="1342" y="78"/>
                  </a:lnTo>
                  <a:lnTo>
                    <a:pt x="1340" y="78"/>
                  </a:lnTo>
                  <a:lnTo>
                    <a:pt x="1335" y="80"/>
                  </a:lnTo>
                  <a:lnTo>
                    <a:pt x="1335" y="82"/>
                  </a:lnTo>
                  <a:lnTo>
                    <a:pt x="1340" y="80"/>
                  </a:lnTo>
                  <a:lnTo>
                    <a:pt x="1342" y="80"/>
                  </a:lnTo>
                  <a:lnTo>
                    <a:pt x="1347" y="82"/>
                  </a:lnTo>
                  <a:lnTo>
                    <a:pt x="1349" y="82"/>
                  </a:lnTo>
                  <a:lnTo>
                    <a:pt x="1356" y="80"/>
                  </a:lnTo>
                  <a:lnTo>
                    <a:pt x="1366" y="80"/>
                  </a:lnTo>
                  <a:lnTo>
                    <a:pt x="1366" y="82"/>
                  </a:lnTo>
                  <a:lnTo>
                    <a:pt x="1368" y="82"/>
                  </a:lnTo>
                  <a:lnTo>
                    <a:pt x="1368" y="78"/>
                  </a:lnTo>
                  <a:lnTo>
                    <a:pt x="1380" y="78"/>
                  </a:lnTo>
                  <a:lnTo>
                    <a:pt x="1380" y="80"/>
                  </a:lnTo>
                  <a:lnTo>
                    <a:pt x="1373" y="82"/>
                  </a:lnTo>
                  <a:lnTo>
                    <a:pt x="1368" y="82"/>
                  </a:lnTo>
                  <a:lnTo>
                    <a:pt x="1373" y="87"/>
                  </a:lnTo>
                  <a:lnTo>
                    <a:pt x="1380" y="80"/>
                  </a:lnTo>
                  <a:lnTo>
                    <a:pt x="1382" y="82"/>
                  </a:lnTo>
                  <a:lnTo>
                    <a:pt x="1380" y="94"/>
                  </a:lnTo>
                  <a:lnTo>
                    <a:pt x="1373" y="99"/>
                  </a:lnTo>
                  <a:lnTo>
                    <a:pt x="1368" y="99"/>
                  </a:lnTo>
                  <a:lnTo>
                    <a:pt x="1366" y="104"/>
                  </a:lnTo>
                  <a:lnTo>
                    <a:pt x="1366" y="106"/>
                  </a:lnTo>
                  <a:lnTo>
                    <a:pt x="1368" y="111"/>
                  </a:lnTo>
                  <a:lnTo>
                    <a:pt x="1373" y="111"/>
                  </a:lnTo>
                  <a:lnTo>
                    <a:pt x="1368" y="113"/>
                  </a:lnTo>
                  <a:lnTo>
                    <a:pt x="1368" y="118"/>
                  </a:lnTo>
                  <a:lnTo>
                    <a:pt x="1387" y="118"/>
                  </a:lnTo>
                  <a:lnTo>
                    <a:pt x="1389" y="120"/>
                  </a:lnTo>
                  <a:lnTo>
                    <a:pt x="1389" y="123"/>
                  </a:lnTo>
                  <a:lnTo>
                    <a:pt x="1392" y="123"/>
                  </a:lnTo>
                  <a:lnTo>
                    <a:pt x="1396" y="127"/>
                  </a:lnTo>
                  <a:lnTo>
                    <a:pt x="1399" y="127"/>
                  </a:lnTo>
                  <a:lnTo>
                    <a:pt x="1403" y="134"/>
                  </a:lnTo>
                  <a:lnTo>
                    <a:pt x="1403" y="144"/>
                  </a:lnTo>
                  <a:lnTo>
                    <a:pt x="1406" y="139"/>
                  </a:lnTo>
                  <a:lnTo>
                    <a:pt x="1408" y="139"/>
                  </a:lnTo>
                  <a:lnTo>
                    <a:pt x="1408" y="144"/>
                  </a:lnTo>
                  <a:lnTo>
                    <a:pt x="1413" y="146"/>
                  </a:lnTo>
                  <a:lnTo>
                    <a:pt x="1413" y="153"/>
                  </a:lnTo>
                  <a:lnTo>
                    <a:pt x="1403" y="153"/>
                  </a:lnTo>
                  <a:lnTo>
                    <a:pt x="1396" y="156"/>
                  </a:lnTo>
                  <a:lnTo>
                    <a:pt x="1396" y="167"/>
                  </a:lnTo>
                  <a:lnTo>
                    <a:pt x="1399" y="167"/>
                  </a:lnTo>
                  <a:lnTo>
                    <a:pt x="1399" y="170"/>
                  </a:lnTo>
                  <a:lnTo>
                    <a:pt x="1396" y="170"/>
                  </a:lnTo>
                  <a:lnTo>
                    <a:pt x="1392" y="167"/>
                  </a:lnTo>
                  <a:lnTo>
                    <a:pt x="1392" y="163"/>
                  </a:lnTo>
                  <a:lnTo>
                    <a:pt x="1387" y="163"/>
                  </a:lnTo>
                  <a:lnTo>
                    <a:pt x="1389" y="167"/>
                  </a:lnTo>
                  <a:lnTo>
                    <a:pt x="1392" y="167"/>
                  </a:lnTo>
                  <a:lnTo>
                    <a:pt x="1392" y="170"/>
                  </a:lnTo>
                  <a:lnTo>
                    <a:pt x="1396" y="174"/>
                  </a:lnTo>
                  <a:lnTo>
                    <a:pt x="1399" y="174"/>
                  </a:lnTo>
                  <a:lnTo>
                    <a:pt x="1403" y="179"/>
                  </a:lnTo>
                  <a:lnTo>
                    <a:pt x="1399" y="184"/>
                  </a:lnTo>
                  <a:lnTo>
                    <a:pt x="1396" y="179"/>
                  </a:lnTo>
                  <a:lnTo>
                    <a:pt x="1392" y="179"/>
                  </a:lnTo>
                  <a:lnTo>
                    <a:pt x="1392" y="184"/>
                  </a:lnTo>
                  <a:lnTo>
                    <a:pt x="1396" y="184"/>
                  </a:lnTo>
                  <a:lnTo>
                    <a:pt x="1396" y="186"/>
                  </a:lnTo>
                  <a:lnTo>
                    <a:pt x="1403" y="193"/>
                  </a:lnTo>
                  <a:lnTo>
                    <a:pt x="1403" y="203"/>
                  </a:lnTo>
                  <a:lnTo>
                    <a:pt x="1408" y="196"/>
                  </a:lnTo>
                  <a:lnTo>
                    <a:pt x="1413" y="200"/>
                  </a:lnTo>
                  <a:lnTo>
                    <a:pt x="1420" y="203"/>
                  </a:lnTo>
                  <a:lnTo>
                    <a:pt x="1422" y="203"/>
                  </a:lnTo>
                  <a:lnTo>
                    <a:pt x="1427" y="208"/>
                  </a:lnTo>
                  <a:lnTo>
                    <a:pt x="1427" y="210"/>
                  </a:lnTo>
                  <a:lnTo>
                    <a:pt x="1422" y="215"/>
                  </a:lnTo>
                  <a:lnTo>
                    <a:pt x="1427" y="217"/>
                  </a:lnTo>
                  <a:lnTo>
                    <a:pt x="1429" y="219"/>
                  </a:lnTo>
                  <a:lnTo>
                    <a:pt x="1439" y="219"/>
                  </a:lnTo>
                  <a:lnTo>
                    <a:pt x="1446" y="226"/>
                  </a:lnTo>
                  <a:lnTo>
                    <a:pt x="1448" y="226"/>
                  </a:lnTo>
                  <a:lnTo>
                    <a:pt x="1448" y="231"/>
                  </a:lnTo>
                  <a:lnTo>
                    <a:pt x="1453" y="231"/>
                  </a:lnTo>
                  <a:lnTo>
                    <a:pt x="1453" y="234"/>
                  </a:lnTo>
                  <a:lnTo>
                    <a:pt x="1455" y="236"/>
                  </a:lnTo>
                  <a:lnTo>
                    <a:pt x="1455" y="248"/>
                  </a:lnTo>
                  <a:lnTo>
                    <a:pt x="1460" y="248"/>
                  </a:lnTo>
                  <a:lnTo>
                    <a:pt x="1460" y="257"/>
                  </a:lnTo>
                  <a:lnTo>
                    <a:pt x="1455" y="257"/>
                  </a:lnTo>
                  <a:lnTo>
                    <a:pt x="1460" y="260"/>
                  </a:lnTo>
                  <a:lnTo>
                    <a:pt x="1465" y="260"/>
                  </a:lnTo>
                  <a:lnTo>
                    <a:pt x="1465" y="264"/>
                  </a:lnTo>
                  <a:lnTo>
                    <a:pt x="1469" y="274"/>
                  </a:lnTo>
                  <a:lnTo>
                    <a:pt x="1465" y="276"/>
                  </a:lnTo>
                  <a:lnTo>
                    <a:pt x="1472" y="283"/>
                  </a:lnTo>
                  <a:lnTo>
                    <a:pt x="1477" y="288"/>
                  </a:lnTo>
                  <a:lnTo>
                    <a:pt x="1477" y="293"/>
                  </a:lnTo>
                  <a:lnTo>
                    <a:pt x="1479" y="297"/>
                  </a:lnTo>
                  <a:lnTo>
                    <a:pt x="1484" y="297"/>
                  </a:lnTo>
                  <a:lnTo>
                    <a:pt x="1486" y="300"/>
                  </a:lnTo>
                  <a:lnTo>
                    <a:pt x="1493" y="304"/>
                  </a:lnTo>
                  <a:lnTo>
                    <a:pt x="1495" y="304"/>
                  </a:lnTo>
                  <a:lnTo>
                    <a:pt x="1500" y="311"/>
                  </a:lnTo>
                  <a:lnTo>
                    <a:pt x="1500" y="314"/>
                  </a:lnTo>
                  <a:lnTo>
                    <a:pt x="1503" y="314"/>
                  </a:lnTo>
                  <a:lnTo>
                    <a:pt x="1503" y="316"/>
                  </a:lnTo>
                  <a:lnTo>
                    <a:pt x="1505" y="316"/>
                  </a:lnTo>
                  <a:lnTo>
                    <a:pt x="1505" y="323"/>
                  </a:lnTo>
                  <a:lnTo>
                    <a:pt x="1510" y="328"/>
                  </a:lnTo>
                  <a:lnTo>
                    <a:pt x="1510" y="333"/>
                  </a:lnTo>
                  <a:lnTo>
                    <a:pt x="1512" y="340"/>
                  </a:lnTo>
                  <a:lnTo>
                    <a:pt x="1517" y="345"/>
                  </a:lnTo>
                  <a:lnTo>
                    <a:pt x="1517" y="347"/>
                  </a:lnTo>
                  <a:lnTo>
                    <a:pt x="1519" y="347"/>
                  </a:lnTo>
                  <a:lnTo>
                    <a:pt x="1524" y="352"/>
                  </a:lnTo>
                  <a:lnTo>
                    <a:pt x="1524" y="354"/>
                  </a:lnTo>
                  <a:lnTo>
                    <a:pt x="1536" y="354"/>
                  </a:lnTo>
                  <a:lnTo>
                    <a:pt x="1540" y="356"/>
                  </a:lnTo>
                  <a:lnTo>
                    <a:pt x="1545" y="356"/>
                  </a:lnTo>
                  <a:lnTo>
                    <a:pt x="1552" y="361"/>
                  </a:lnTo>
                  <a:lnTo>
                    <a:pt x="1552" y="363"/>
                  </a:lnTo>
                  <a:lnTo>
                    <a:pt x="1559" y="363"/>
                  </a:lnTo>
                  <a:lnTo>
                    <a:pt x="1559" y="368"/>
                  </a:lnTo>
                  <a:lnTo>
                    <a:pt x="1564" y="371"/>
                  </a:lnTo>
                  <a:lnTo>
                    <a:pt x="1566" y="368"/>
                  </a:lnTo>
                  <a:lnTo>
                    <a:pt x="1569" y="373"/>
                  </a:lnTo>
                  <a:lnTo>
                    <a:pt x="1573" y="378"/>
                  </a:lnTo>
                  <a:lnTo>
                    <a:pt x="1576" y="385"/>
                  </a:lnTo>
                  <a:lnTo>
                    <a:pt x="1576" y="389"/>
                  </a:lnTo>
                  <a:lnTo>
                    <a:pt x="1573" y="397"/>
                  </a:lnTo>
                  <a:lnTo>
                    <a:pt x="1573" y="404"/>
                  </a:lnTo>
                  <a:lnTo>
                    <a:pt x="1576" y="404"/>
                  </a:lnTo>
                  <a:lnTo>
                    <a:pt x="1580" y="408"/>
                  </a:lnTo>
                  <a:lnTo>
                    <a:pt x="1580" y="413"/>
                  </a:lnTo>
                  <a:lnTo>
                    <a:pt x="1583" y="418"/>
                  </a:lnTo>
                  <a:lnTo>
                    <a:pt x="1585" y="425"/>
                  </a:lnTo>
                  <a:lnTo>
                    <a:pt x="1585" y="427"/>
                  </a:lnTo>
                  <a:lnTo>
                    <a:pt x="1583" y="430"/>
                  </a:lnTo>
                  <a:lnTo>
                    <a:pt x="1583" y="434"/>
                  </a:lnTo>
                  <a:lnTo>
                    <a:pt x="1585" y="434"/>
                  </a:lnTo>
                  <a:lnTo>
                    <a:pt x="1585" y="437"/>
                  </a:lnTo>
                  <a:lnTo>
                    <a:pt x="1590" y="434"/>
                  </a:lnTo>
                  <a:lnTo>
                    <a:pt x="1590" y="430"/>
                  </a:lnTo>
                  <a:lnTo>
                    <a:pt x="1590" y="434"/>
                  </a:lnTo>
                  <a:lnTo>
                    <a:pt x="1592" y="434"/>
                  </a:lnTo>
                  <a:lnTo>
                    <a:pt x="1592" y="441"/>
                  </a:lnTo>
                  <a:lnTo>
                    <a:pt x="1590" y="449"/>
                  </a:lnTo>
                  <a:lnTo>
                    <a:pt x="1583" y="453"/>
                  </a:lnTo>
                  <a:lnTo>
                    <a:pt x="1557" y="486"/>
                  </a:lnTo>
                  <a:lnTo>
                    <a:pt x="1533" y="522"/>
                  </a:lnTo>
                  <a:lnTo>
                    <a:pt x="1517" y="541"/>
                  </a:lnTo>
                  <a:lnTo>
                    <a:pt x="1505" y="555"/>
                  </a:lnTo>
                  <a:lnTo>
                    <a:pt x="1495" y="571"/>
                  </a:lnTo>
                  <a:lnTo>
                    <a:pt x="1488" y="578"/>
                  </a:lnTo>
                  <a:lnTo>
                    <a:pt x="1477" y="595"/>
                  </a:lnTo>
                  <a:lnTo>
                    <a:pt x="1465" y="612"/>
                  </a:lnTo>
                  <a:lnTo>
                    <a:pt x="1453" y="628"/>
                  </a:lnTo>
                  <a:lnTo>
                    <a:pt x="1443" y="642"/>
                  </a:lnTo>
                  <a:lnTo>
                    <a:pt x="1429" y="659"/>
                  </a:lnTo>
                  <a:lnTo>
                    <a:pt x="1422" y="671"/>
                  </a:lnTo>
                  <a:lnTo>
                    <a:pt x="1399" y="699"/>
                  </a:lnTo>
                  <a:lnTo>
                    <a:pt x="1380" y="727"/>
                  </a:lnTo>
                  <a:lnTo>
                    <a:pt x="1351" y="765"/>
                  </a:lnTo>
                  <a:lnTo>
                    <a:pt x="1349" y="767"/>
                  </a:lnTo>
                  <a:lnTo>
                    <a:pt x="1347" y="772"/>
                  </a:lnTo>
                  <a:lnTo>
                    <a:pt x="1295" y="841"/>
                  </a:lnTo>
                  <a:lnTo>
                    <a:pt x="1285" y="857"/>
                  </a:lnTo>
                  <a:lnTo>
                    <a:pt x="1278" y="869"/>
                  </a:lnTo>
                  <a:lnTo>
                    <a:pt x="1238" y="921"/>
                  </a:lnTo>
                  <a:lnTo>
                    <a:pt x="1219" y="952"/>
                  </a:lnTo>
                  <a:lnTo>
                    <a:pt x="1125" y="1082"/>
                  </a:lnTo>
                  <a:lnTo>
                    <a:pt x="1125" y="1086"/>
                  </a:lnTo>
                  <a:lnTo>
                    <a:pt x="1099" y="1127"/>
                  </a:lnTo>
                  <a:lnTo>
                    <a:pt x="1096" y="1129"/>
                  </a:lnTo>
                  <a:lnTo>
                    <a:pt x="1091" y="1131"/>
                  </a:lnTo>
                  <a:lnTo>
                    <a:pt x="1096" y="1136"/>
                  </a:lnTo>
                  <a:lnTo>
                    <a:pt x="1106" y="1153"/>
                  </a:lnTo>
                  <a:lnTo>
                    <a:pt x="1108" y="1148"/>
                  </a:lnTo>
                  <a:lnTo>
                    <a:pt x="1113" y="1148"/>
                  </a:lnTo>
                  <a:lnTo>
                    <a:pt x="1113" y="1145"/>
                  </a:lnTo>
                  <a:lnTo>
                    <a:pt x="1122" y="1167"/>
                  </a:lnTo>
                  <a:lnTo>
                    <a:pt x="1132" y="1167"/>
                  </a:lnTo>
                  <a:lnTo>
                    <a:pt x="1139" y="1162"/>
                  </a:lnTo>
                  <a:lnTo>
                    <a:pt x="1141" y="1162"/>
                  </a:lnTo>
                  <a:lnTo>
                    <a:pt x="1148" y="1167"/>
                  </a:lnTo>
                  <a:lnTo>
                    <a:pt x="1165" y="1176"/>
                  </a:lnTo>
                  <a:lnTo>
                    <a:pt x="1162" y="1178"/>
                  </a:lnTo>
                  <a:lnTo>
                    <a:pt x="1155" y="1186"/>
                  </a:lnTo>
                  <a:lnTo>
                    <a:pt x="1153" y="1186"/>
                  </a:lnTo>
                  <a:lnTo>
                    <a:pt x="1148" y="1193"/>
                  </a:lnTo>
                  <a:lnTo>
                    <a:pt x="1148" y="1202"/>
                  </a:lnTo>
                  <a:lnTo>
                    <a:pt x="1153" y="1207"/>
                  </a:lnTo>
                  <a:lnTo>
                    <a:pt x="1158" y="1216"/>
                  </a:lnTo>
                  <a:lnTo>
                    <a:pt x="1155" y="1219"/>
                  </a:lnTo>
                  <a:lnTo>
                    <a:pt x="1155" y="1235"/>
                  </a:lnTo>
                  <a:lnTo>
                    <a:pt x="1158" y="1249"/>
                  </a:lnTo>
                  <a:lnTo>
                    <a:pt x="1162" y="1259"/>
                  </a:lnTo>
                  <a:lnTo>
                    <a:pt x="1165" y="1273"/>
                  </a:lnTo>
                  <a:lnTo>
                    <a:pt x="1169" y="1292"/>
                  </a:lnTo>
                  <a:lnTo>
                    <a:pt x="1165" y="1299"/>
                  </a:lnTo>
                  <a:lnTo>
                    <a:pt x="1165" y="1304"/>
                  </a:lnTo>
                  <a:lnTo>
                    <a:pt x="1162" y="1308"/>
                  </a:lnTo>
                  <a:lnTo>
                    <a:pt x="1162" y="1316"/>
                  </a:lnTo>
                  <a:lnTo>
                    <a:pt x="1158" y="1316"/>
                  </a:lnTo>
                  <a:lnTo>
                    <a:pt x="1158" y="1320"/>
                  </a:lnTo>
                  <a:lnTo>
                    <a:pt x="1155" y="1320"/>
                  </a:lnTo>
                  <a:lnTo>
                    <a:pt x="1158" y="1323"/>
                  </a:lnTo>
                  <a:lnTo>
                    <a:pt x="1162" y="1323"/>
                  </a:lnTo>
                  <a:lnTo>
                    <a:pt x="1165" y="1320"/>
                  </a:lnTo>
                  <a:lnTo>
                    <a:pt x="1186" y="1320"/>
                  </a:lnTo>
                  <a:lnTo>
                    <a:pt x="1188" y="1316"/>
                  </a:lnTo>
                  <a:lnTo>
                    <a:pt x="1195" y="1316"/>
                  </a:lnTo>
                  <a:lnTo>
                    <a:pt x="1198" y="1320"/>
                  </a:lnTo>
                  <a:lnTo>
                    <a:pt x="1205" y="1320"/>
                  </a:lnTo>
                  <a:lnTo>
                    <a:pt x="1212" y="1316"/>
                  </a:lnTo>
                  <a:lnTo>
                    <a:pt x="1214" y="1313"/>
                  </a:lnTo>
                  <a:lnTo>
                    <a:pt x="1219" y="1306"/>
                  </a:lnTo>
                  <a:lnTo>
                    <a:pt x="1219" y="1304"/>
                  </a:lnTo>
                  <a:lnTo>
                    <a:pt x="1221" y="1299"/>
                  </a:lnTo>
                  <a:lnTo>
                    <a:pt x="1226" y="1304"/>
                  </a:lnTo>
                  <a:lnTo>
                    <a:pt x="1229" y="1304"/>
                  </a:lnTo>
                  <a:lnTo>
                    <a:pt x="1236" y="1299"/>
                  </a:lnTo>
                  <a:lnTo>
                    <a:pt x="1236" y="1292"/>
                  </a:lnTo>
                  <a:lnTo>
                    <a:pt x="1233" y="1292"/>
                  </a:lnTo>
                  <a:lnTo>
                    <a:pt x="1245" y="1292"/>
                  </a:lnTo>
                  <a:lnTo>
                    <a:pt x="1252" y="1297"/>
                  </a:lnTo>
                  <a:lnTo>
                    <a:pt x="1259" y="1292"/>
                  </a:lnTo>
                  <a:lnTo>
                    <a:pt x="1276" y="1292"/>
                  </a:lnTo>
                  <a:lnTo>
                    <a:pt x="1278" y="1304"/>
                  </a:lnTo>
                  <a:lnTo>
                    <a:pt x="1283" y="1313"/>
                  </a:lnTo>
                  <a:lnTo>
                    <a:pt x="1283" y="1316"/>
                  </a:lnTo>
                  <a:lnTo>
                    <a:pt x="1285" y="1323"/>
                  </a:lnTo>
                  <a:lnTo>
                    <a:pt x="1283" y="1323"/>
                  </a:lnTo>
                  <a:lnTo>
                    <a:pt x="1283" y="1325"/>
                  </a:lnTo>
                  <a:lnTo>
                    <a:pt x="1278" y="1330"/>
                  </a:lnTo>
                  <a:lnTo>
                    <a:pt x="1276" y="1330"/>
                  </a:lnTo>
                  <a:lnTo>
                    <a:pt x="1276" y="1346"/>
                  </a:lnTo>
                  <a:lnTo>
                    <a:pt x="1283" y="1353"/>
                  </a:lnTo>
                  <a:lnTo>
                    <a:pt x="1283" y="1365"/>
                  </a:lnTo>
                  <a:lnTo>
                    <a:pt x="1285" y="1365"/>
                  </a:lnTo>
                  <a:lnTo>
                    <a:pt x="1285" y="1382"/>
                  </a:lnTo>
                  <a:lnTo>
                    <a:pt x="1283" y="1386"/>
                  </a:lnTo>
                  <a:lnTo>
                    <a:pt x="1285" y="1396"/>
                  </a:lnTo>
                  <a:lnTo>
                    <a:pt x="1290" y="1403"/>
                  </a:lnTo>
                  <a:lnTo>
                    <a:pt x="1295" y="1412"/>
                  </a:lnTo>
                  <a:lnTo>
                    <a:pt x="1295" y="1422"/>
                  </a:lnTo>
                  <a:lnTo>
                    <a:pt x="1299" y="1434"/>
                  </a:lnTo>
                  <a:lnTo>
                    <a:pt x="1299" y="1445"/>
                  </a:lnTo>
                  <a:lnTo>
                    <a:pt x="1295" y="1450"/>
                  </a:lnTo>
                  <a:lnTo>
                    <a:pt x="1295" y="1462"/>
                  </a:lnTo>
                  <a:lnTo>
                    <a:pt x="1299" y="1467"/>
                  </a:lnTo>
                  <a:lnTo>
                    <a:pt x="1299" y="1479"/>
                  </a:lnTo>
                  <a:lnTo>
                    <a:pt x="1295" y="1483"/>
                  </a:lnTo>
                  <a:lnTo>
                    <a:pt x="1295" y="1490"/>
                  </a:lnTo>
                  <a:lnTo>
                    <a:pt x="1299" y="1493"/>
                  </a:lnTo>
                  <a:lnTo>
                    <a:pt x="1299" y="1571"/>
                  </a:lnTo>
                  <a:lnTo>
                    <a:pt x="1295" y="1571"/>
                  </a:lnTo>
                  <a:lnTo>
                    <a:pt x="1292" y="1578"/>
                  </a:lnTo>
                  <a:lnTo>
                    <a:pt x="1295" y="1580"/>
                  </a:lnTo>
                  <a:lnTo>
                    <a:pt x="1302" y="1587"/>
                  </a:lnTo>
                  <a:lnTo>
                    <a:pt x="1299" y="1587"/>
                  </a:lnTo>
                  <a:lnTo>
                    <a:pt x="1295" y="1594"/>
                  </a:lnTo>
                  <a:lnTo>
                    <a:pt x="1292" y="1597"/>
                  </a:lnTo>
                  <a:lnTo>
                    <a:pt x="1292" y="1599"/>
                  </a:lnTo>
                  <a:lnTo>
                    <a:pt x="1299" y="1611"/>
                  </a:lnTo>
                  <a:lnTo>
                    <a:pt x="1295" y="1616"/>
                  </a:lnTo>
                  <a:lnTo>
                    <a:pt x="1292" y="1627"/>
                  </a:lnTo>
                  <a:lnTo>
                    <a:pt x="1302" y="1630"/>
                  </a:lnTo>
                  <a:lnTo>
                    <a:pt x="1306" y="1630"/>
                  </a:lnTo>
                  <a:lnTo>
                    <a:pt x="1311" y="1644"/>
                  </a:lnTo>
                  <a:lnTo>
                    <a:pt x="1316" y="1651"/>
                  </a:lnTo>
                  <a:lnTo>
                    <a:pt x="1316" y="1653"/>
                  </a:lnTo>
                  <a:lnTo>
                    <a:pt x="1318" y="1656"/>
                  </a:lnTo>
                  <a:lnTo>
                    <a:pt x="1325" y="1663"/>
                  </a:lnTo>
                  <a:lnTo>
                    <a:pt x="1330" y="1663"/>
                  </a:lnTo>
                  <a:lnTo>
                    <a:pt x="1332" y="1668"/>
                  </a:lnTo>
                  <a:lnTo>
                    <a:pt x="1332" y="1677"/>
                  </a:lnTo>
                  <a:lnTo>
                    <a:pt x="1340" y="1684"/>
                  </a:lnTo>
                  <a:lnTo>
                    <a:pt x="1340" y="1693"/>
                  </a:lnTo>
                  <a:lnTo>
                    <a:pt x="1347" y="1701"/>
                  </a:lnTo>
                  <a:lnTo>
                    <a:pt x="1351" y="1701"/>
                  </a:lnTo>
                  <a:lnTo>
                    <a:pt x="1351" y="1710"/>
                  </a:lnTo>
                  <a:lnTo>
                    <a:pt x="1349" y="1717"/>
                  </a:lnTo>
                  <a:lnTo>
                    <a:pt x="1347" y="1719"/>
                  </a:lnTo>
                  <a:lnTo>
                    <a:pt x="1340" y="1724"/>
                  </a:lnTo>
                  <a:lnTo>
                    <a:pt x="1335" y="1727"/>
                  </a:lnTo>
                  <a:lnTo>
                    <a:pt x="1330" y="1748"/>
                  </a:lnTo>
                  <a:lnTo>
                    <a:pt x="1325" y="1760"/>
                  </a:lnTo>
                  <a:lnTo>
                    <a:pt x="1325" y="1771"/>
                  </a:lnTo>
                  <a:lnTo>
                    <a:pt x="1318" y="1774"/>
                  </a:lnTo>
                  <a:lnTo>
                    <a:pt x="1306" y="1788"/>
                  </a:lnTo>
                  <a:lnTo>
                    <a:pt x="1302" y="1790"/>
                  </a:lnTo>
                  <a:lnTo>
                    <a:pt x="1295" y="1793"/>
                  </a:lnTo>
                  <a:lnTo>
                    <a:pt x="1285" y="1797"/>
                  </a:lnTo>
                  <a:lnTo>
                    <a:pt x="1283" y="1800"/>
                  </a:lnTo>
                  <a:lnTo>
                    <a:pt x="1271" y="1800"/>
                  </a:lnTo>
                  <a:lnTo>
                    <a:pt x="1276" y="1797"/>
                  </a:lnTo>
                  <a:lnTo>
                    <a:pt x="1276" y="1793"/>
                  </a:lnTo>
                  <a:lnTo>
                    <a:pt x="1278" y="1783"/>
                  </a:lnTo>
                  <a:lnTo>
                    <a:pt x="1276" y="1790"/>
                  </a:lnTo>
                  <a:lnTo>
                    <a:pt x="1271" y="1793"/>
                  </a:lnTo>
                  <a:lnTo>
                    <a:pt x="1269" y="1797"/>
                  </a:lnTo>
                  <a:lnTo>
                    <a:pt x="1266" y="1797"/>
                  </a:lnTo>
                  <a:lnTo>
                    <a:pt x="1266" y="1788"/>
                  </a:lnTo>
                  <a:lnTo>
                    <a:pt x="1269" y="1781"/>
                  </a:lnTo>
                  <a:lnTo>
                    <a:pt x="1269" y="1774"/>
                  </a:lnTo>
                  <a:lnTo>
                    <a:pt x="1271" y="1771"/>
                  </a:lnTo>
                  <a:lnTo>
                    <a:pt x="1285" y="1771"/>
                  </a:lnTo>
                  <a:lnTo>
                    <a:pt x="1299" y="1764"/>
                  </a:lnTo>
                  <a:lnTo>
                    <a:pt x="1306" y="1757"/>
                  </a:lnTo>
                  <a:lnTo>
                    <a:pt x="1302" y="1757"/>
                  </a:lnTo>
                  <a:lnTo>
                    <a:pt x="1299" y="1760"/>
                  </a:lnTo>
                  <a:lnTo>
                    <a:pt x="1295" y="1764"/>
                  </a:lnTo>
                  <a:lnTo>
                    <a:pt x="1285" y="1771"/>
                  </a:lnTo>
                  <a:lnTo>
                    <a:pt x="1283" y="1767"/>
                  </a:lnTo>
                  <a:lnTo>
                    <a:pt x="1271" y="1767"/>
                  </a:lnTo>
                  <a:lnTo>
                    <a:pt x="1271" y="1757"/>
                  </a:lnTo>
                  <a:lnTo>
                    <a:pt x="1276" y="1757"/>
                  </a:lnTo>
                  <a:lnTo>
                    <a:pt x="1283" y="1753"/>
                  </a:lnTo>
                  <a:lnTo>
                    <a:pt x="1290" y="1753"/>
                  </a:lnTo>
                  <a:lnTo>
                    <a:pt x="1295" y="1757"/>
                  </a:lnTo>
                  <a:lnTo>
                    <a:pt x="1299" y="1757"/>
                  </a:lnTo>
                  <a:lnTo>
                    <a:pt x="1299" y="1753"/>
                  </a:lnTo>
                  <a:lnTo>
                    <a:pt x="1292" y="1753"/>
                  </a:lnTo>
                  <a:lnTo>
                    <a:pt x="1285" y="1750"/>
                  </a:lnTo>
                  <a:lnTo>
                    <a:pt x="1290" y="1750"/>
                  </a:lnTo>
                  <a:lnTo>
                    <a:pt x="1290" y="1743"/>
                  </a:lnTo>
                  <a:lnTo>
                    <a:pt x="1292" y="1734"/>
                  </a:lnTo>
                  <a:lnTo>
                    <a:pt x="1299" y="1727"/>
                  </a:lnTo>
                  <a:lnTo>
                    <a:pt x="1302" y="1717"/>
                  </a:lnTo>
                  <a:lnTo>
                    <a:pt x="1302" y="1712"/>
                  </a:lnTo>
                  <a:lnTo>
                    <a:pt x="1299" y="1703"/>
                  </a:lnTo>
                  <a:lnTo>
                    <a:pt x="1299" y="1696"/>
                  </a:lnTo>
                  <a:lnTo>
                    <a:pt x="1295" y="1693"/>
                  </a:lnTo>
                  <a:lnTo>
                    <a:pt x="1299" y="1691"/>
                  </a:lnTo>
                  <a:lnTo>
                    <a:pt x="1302" y="1686"/>
                  </a:lnTo>
                  <a:lnTo>
                    <a:pt x="1306" y="1686"/>
                  </a:lnTo>
                  <a:lnTo>
                    <a:pt x="1309" y="1684"/>
                  </a:lnTo>
                  <a:lnTo>
                    <a:pt x="1302" y="1684"/>
                  </a:lnTo>
                  <a:lnTo>
                    <a:pt x="1299" y="1686"/>
                  </a:lnTo>
                  <a:lnTo>
                    <a:pt x="1290" y="1686"/>
                  </a:lnTo>
                  <a:lnTo>
                    <a:pt x="1290" y="1684"/>
                  </a:lnTo>
                  <a:lnTo>
                    <a:pt x="1278" y="1684"/>
                  </a:lnTo>
                  <a:lnTo>
                    <a:pt x="1269" y="1686"/>
                  </a:lnTo>
                  <a:lnTo>
                    <a:pt x="1262" y="1686"/>
                  </a:lnTo>
                  <a:lnTo>
                    <a:pt x="1262" y="1691"/>
                  </a:lnTo>
                  <a:lnTo>
                    <a:pt x="1266" y="1693"/>
                  </a:lnTo>
                  <a:lnTo>
                    <a:pt x="1254" y="1703"/>
                  </a:lnTo>
                  <a:lnTo>
                    <a:pt x="1245" y="1710"/>
                  </a:lnTo>
                  <a:lnTo>
                    <a:pt x="1245" y="1712"/>
                  </a:lnTo>
                  <a:lnTo>
                    <a:pt x="1243" y="1712"/>
                  </a:lnTo>
                  <a:lnTo>
                    <a:pt x="1243" y="1708"/>
                  </a:lnTo>
                  <a:lnTo>
                    <a:pt x="1238" y="1708"/>
                  </a:lnTo>
                  <a:lnTo>
                    <a:pt x="1238" y="1691"/>
                  </a:lnTo>
                  <a:lnTo>
                    <a:pt x="1245" y="1684"/>
                  </a:lnTo>
                  <a:lnTo>
                    <a:pt x="1250" y="1686"/>
                  </a:lnTo>
                  <a:lnTo>
                    <a:pt x="1252" y="1686"/>
                  </a:lnTo>
                  <a:lnTo>
                    <a:pt x="1252" y="1679"/>
                  </a:lnTo>
                  <a:lnTo>
                    <a:pt x="1254" y="1677"/>
                  </a:lnTo>
                  <a:lnTo>
                    <a:pt x="1259" y="1675"/>
                  </a:lnTo>
                  <a:lnTo>
                    <a:pt x="1262" y="1677"/>
                  </a:lnTo>
                  <a:lnTo>
                    <a:pt x="1266" y="1675"/>
                  </a:lnTo>
                  <a:lnTo>
                    <a:pt x="1266" y="1668"/>
                  </a:lnTo>
                  <a:lnTo>
                    <a:pt x="1269" y="1660"/>
                  </a:lnTo>
                  <a:lnTo>
                    <a:pt x="1278" y="1660"/>
                  </a:lnTo>
                  <a:lnTo>
                    <a:pt x="1278" y="1656"/>
                  </a:lnTo>
                  <a:lnTo>
                    <a:pt x="1276" y="1656"/>
                  </a:lnTo>
                  <a:lnTo>
                    <a:pt x="1276" y="1639"/>
                  </a:lnTo>
                  <a:lnTo>
                    <a:pt x="1271" y="1639"/>
                  </a:lnTo>
                  <a:lnTo>
                    <a:pt x="1269" y="1634"/>
                  </a:lnTo>
                  <a:lnTo>
                    <a:pt x="1269" y="1616"/>
                  </a:lnTo>
                  <a:lnTo>
                    <a:pt x="1271" y="1613"/>
                  </a:lnTo>
                  <a:lnTo>
                    <a:pt x="1266" y="1613"/>
                  </a:lnTo>
                  <a:lnTo>
                    <a:pt x="1262" y="1611"/>
                  </a:lnTo>
                  <a:lnTo>
                    <a:pt x="1266" y="1604"/>
                  </a:lnTo>
                  <a:lnTo>
                    <a:pt x="1269" y="1604"/>
                  </a:lnTo>
                  <a:lnTo>
                    <a:pt x="1271" y="1599"/>
                  </a:lnTo>
                  <a:lnTo>
                    <a:pt x="1276" y="1599"/>
                  </a:lnTo>
                  <a:lnTo>
                    <a:pt x="1278" y="1597"/>
                  </a:lnTo>
                  <a:lnTo>
                    <a:pt x="1276" y="1597"/>
                  </a:lnTo>
                  <a:lnTo>
                    <a:pt x="1271" y="1599"/>
                  </a:lnTo>
                  <a:lnTo>
                    <a:pt x="1269" y="1599"/>
                  </a:lnTo>
                  <a:lnTo>
                    <a:pt x="1266" y="1597"/>
                  </a:lnTo>
                  <a:lnTo>
                    <a:pt x="1266" y="1594"/>
                  </a:lnTo>
                  <a:lnTo>
                    <a:pt x="1262" y="1594"/>
                  </a:lnTo>
                  <a:lnTo>
                    <a:pt x="1262" y="1578"/>
                  </a:lnTo>
                  <a:lnTo>
                    <a:pt x="1269" y="1578"/>
                  </a:lnTo>
                  <a:lnTo>
                    <a:pt x="1269" y="1566"/>
                  </a:lnTo>
                  <a:lnTo>
                    <a:pt x="1266" y="1566"/>
                  </a:lnTo>
                  <a:lnTo>
                    <a:pt x="1262" y="1571"/>
                  </a:lnTo>
                  <a:lnTo>
                    <a:pt x="1254" y="1559"/>
                  </a:lnTo>
                  <a:lnTo>
                    <a:pt x="1254" y="1556"/>
                  </a:lnTo>
                  <a:lnTo>
                    <a:pt x="1259" y="1554"/>
                  </a:lnTo>
                  <a:lnTo>
                    <a:pt x="1252" y="1556"/>
                  </a:lnTo>
                  <a:lnTo>
                    <a:pt x="1250" y="1556"/>
                  </a:lnTo>
                  <a:lnTo>
                    <a:pt x="1250" y="1554"/>
                  </a:lnTo>
                  <a:lnTo>
                    <a:pt x="1245" y="1549"/>
                  </a:lnTo>
                  <a:lnTo>
                    <a:pt x="1243" y="1547"/>
                  </a:lnTo>
                  <a:lnTo>
                    <a:pt x="1245" y="1542"/>
                  </a:lnTo>
                  <a:lnTo>
                    <a:pt x="1245" y="1540"/>
                  </a:lnTo>
                  <a:lnTo>
                    <a:pt x="1250" y="1538"/>
                  </a:lnTo>
                  <a:lnTo>
                    <a:pt x="1252" y="1538"/>
                  </a:lnTo>
                  <a:lnTo>
                    <a:pt x="1254" y="1540"/>
                  </a:lnTo>
                  <a:lnTo>
                    <a:pt x="1259" y="1542"/>
                  </a:lnTo>
                  <a:lnTo>
                    <a:pt x="1269" y="1542"/>
                  </a:lnTo>
                  <a:lnTo>
                    <a:pt x="1269" y="1540"/>
                  </a:lnTo>
                  <a:lnTo>
                    <a:pt x="1262" y="1540"/>
                  </a:lnTo>
                  <a:lnTo>
                    <a:pt x="1254" y="1538"/>
                  </a:lnTo>
                  <a:lnTo>
                    <a:pt x="1254" y="1533"/>
                  </a:lnTo>
                  <a:lnTo>
                    <a:pt x="1252" y="1533"/>
                  </a:lnTo>
                  <a:lnTo>
                    <a:pt x="1254" y="1519"/>
                  </a:lnTo>
                  <a:lnTo>
                    <a:pt x="1262" y="1516"/>
                  </a:lnTo>
                  <a:lnTo>
                    <a:pt x="1269" y="1516"/>
                  </a:lnTo>
                  <a:lnTo>
                    <a:pt x="1266" y="1514"/>
                  </a:lnTo>
                  <a:lnTo>
                    <a:pt x="1259" y="1514"/>
                  </a:lnTo>
                  <a:lnTo>
                    <a:pt x="1254" y="1509"/>
                  </a:lnTo>
                  <a:lnTo>
                    <a:pt x="1254" y="1507"/>
                  </a:lnTo>
                  <a:lnTo>
                    <a:pt x="1259" y="1500"/>
                  </a:lnTo>
                  <a:lnTo>
                    <a:pt x="1262" y="1500"/>
                  </a:lnTo>
                  <a:lnTo>
                    <a:pt x="1276" y="1519"/>
                  </a:lnTo>
                  <a:lnTo>
                    <a:pt x="1276" y="1526"/>
                  </a:lnTo>
                  <a:lnTo>
                    <a:pt x="1278" y="1526"/>
                  </a:lnTo>
                  <a:lnTo>
                    <a:pt x="1276" y="1519"/>
                  </a:lnTo>
                  <a:lnTo>
                    <a:pt x="1276" y="1516"/>
                  </a:lnTo>
                  <a:lnTo>
                    <a:pt x="1271" y="1509"/>
                  </a:lnTo>
                  <a:lnTo>
                    <a:pt x="1271" y="1507"/>
                  </a:lnTo>
                  <a:lnTo>
                    <a:pt x="1266" y="1500"/>
                  </a:lnTo>
                  <a:lnTo>
                    <a:pt x="1266" y="1497"/>
                  </a:lnTo>
                  <a:lnTo>
                    <a:pt x="1269" y="1493"/>
                  </a:lnTo>
                  <a:lnTo>
                    <a:pt x="1271" y="1486"/>
                  </a:lnTo>
                  <a:lnTo>
                    <a:pt x="1276" y="1486"/>
                  </a:lnTo>
                  <a:lnTo>
                    <a:pt x="1283" y="1493"/>
                  </a:lnTo>
                  <a:lnTo>
                    <a:pt x="1290" y="1497"/>
                  </a:lnTo>
                  <a:lnTo>
                    <a:pt x="1285" y="1493"/>
                  </a:lnTo>
                  <a:lnTo>
                    <a:pt x="1276" y="1486"/>
                  </a:lnTo>
                  <a:lnTo>
                    <a:pt x="1271" y="1483"/>
                  </a:lnTo>
                  <a:lnTo>
                    <a:pt x="1266" y="1486"/>
                  </a:lnTo>
                  <a:lnTo>
                    <a:pt x="1266" y="1493"/>
                  </a:lnTo>
                  <a:lnTo>
                    <a:pt x="1262" y="1493"/>
                  </a:lnTo>
                  <a:lnTo>
                    <a:pt x="1262" y="1479"/>
                  </a:lnTo>
                  <a:lnTo>
                    <a:pt x="1266" y="1474"/>
                  </a:lnTo>
                  <a:lnTo>
                    <a:pt x="1269" y="1469"/>
                  </a:lnTo>
                  <a:lnTo>
                    <a:pt x="1276" y="1467"/>
                  </a:lnTo>
                  <a:lnTo>
                    <a:pt x="1276" y="1462"/>
                  </a:lnTo>
                  <a:lnTo>
                    <a:pt x="1271" y="1462"/>
                  </a:lnTo>
                  <a:lnTo>
                    <a:pt x="1269" y="1469"/>
                  </a:lnTo>
                  <a:lnTo>
                    <a:pt x="1262" y="1469"/>
                  </a:lnTo>
                  <a:lnTo>
                    <a:pt x="1259" y="1474"/>
                  </a:lnTo>
                  <a:lnTo>
                    <a:pt x="1259" y="1460"/>
                  </a:lnTo>
                  <a:lnTo>
                    <a:pt x="1262" y="1450"/>
                  </a:lnTo>
                  <a:lnTo>
                    <a:pt x="1266" y="1445"/>
                  </a:lnTo>
                  <a:lnTo>
                    <a:pt x="1271" y="1441"/>
                  </a:lnTo>
                  <a:lnTo>
                    <a:pt x="1271" y="1436"/>
                  </a:lnTo>
                  <a:lnTo>
                    <a:pt x="1283" y="1429"/>
                  </a:lnTo>
                  <a:lnTo>
                    <a:pt x="1285" y="1429"/>
                  </a:lnTo>
                  <a:lnTo>
                    <a:pt x="1285" y="1434"/>
                  </a:lnTo>
                  <a:lnTo>
                    <a:pt x="1290" y="1434"/>
                  </a:lnTo>
                  <a:lnTo>
                    <a:pt x="1285" y="1429"/>
                  </a:lnTo>
                  <a:lnTo>
                    <a:pt x="1278" y="1429"/>
                  </a:lnTo>
                  <a:lnTo>
                    <a:pt x="1271" y="1436"/>
                  </a:lnTo>
                  <a:lnTo>
                    <a:pt x="1262" y="1445"/>
                  </a:lnTo>
                  <a:lnTo>
                    <a:pt x="1259" y="1450"/>
                  </a:lnTo>
                  <a:lnTo>
                    <a:pt x="1254" y="1445"/>
                  </a:lnTo>
                  <a:lnTo>
                    <a:pt x="1252" y="1436"/>
                  </a:lnTo>
                  <a:lnTo>
                    <a:pt x="1252" y="1429"/>
                  </a:lnTo>
                  <a:lnTo>
                    <a:pt x="1250" y="1429"/>
                  </a:lnTo>
                  <a:lnTo>
                    <a:pt x="1243" y="1422"/>
                  </a:lnTo>
                  <a:lnTo>
                    <a:pt x="1245" y="1417"/>
                  </a:lnTo>
                  <a:lnTo>
                    <a:pt x="1245" y="1396"/>
                  </a:lnTo>
                  <a:lnTo>
                    <a:pt x="1250" y="1393"/>
                  </a:lnTo>
                  <a:lnTo>
                    <a:pt x="1252" y="1386"/>
                  </a:lnTo>
                  <a:lnTo>
                    <a:pt x="1252" y="1382"/>
                  </a:lnTo>
                  <a:lnTo>
                    <a:pt x="1250" y="1386"/>
                  </a:lnTo>
                  <a:lnTo>
                    <a:pt x="1245" y="1386"/>
                  </a:lnTo>
                  <a:lnTo>
                    <a:pt x="1245" y="1377"/>
                  </a:lnTo>
                  <a:lnTo>
                    <a:pt x="1250" y="1372"/>
                  </a:lnTo>
                  <a:lnTo>
                    <a:pt x="1254" y="1353"/>
                  </a:lnTo>
                  <a:lnTo>
                    <a:pt x="1259" y="1346"/>
                  </a:lnTo>
                  <a:lnTo>
                    <a:pt x="1254" y="1344"/>
                  </a:lnTo>
                  <a:lnTo>
                    <a:pt x="1254" y="1339"/>
                  </a:lnTo>
                  <a:lnTo>
                    <a:pt x="1259" y="1332"/>
                  </a:lnTo>
                  <a:lnTo>
                    <a:pt x="1262" y="1330"/>
                  </a:lnTo>
                  <a:lnTo>
                    <a:pt x="1266" y="1325"/>
                  </a:lnTo>
                  <a:lnTo>
                    <a:pt x="1266" y="1323"/>
                  </a:lnTo>
                  <a:lnTo>
                    <a:pt x="1259" y="1330"/>
                  </a:lnTo>
                  <a:lnTo>
                    <a:pt x="1254" y="1337"/>
                  </a:lnTo>
                  <a:lnTo>
                    <a:pt x="1254" y="1346"/>
                  </a:lnTo>
                  <a:lnTo>
                    <a:pt x="1252" y="1353"/>
                  </a:lnTo>
                  <a:lnTo>
                    <a:pt x="1252" y="1339"/>
                  </a:lnTo>
                  <a:lnTo>
                    <a:pt x="1250" y="1339"/>
                  </a:lnTo>
                  <a:lnTo>
                    <a:pt x="1250" y="1349"/>
                  </a:lnTo>
                  <a:lnTo>
                    <a:pt x="1245" y="1353"/>
                  </a:lnTo>
                  <a:lnTo>
                    <a:pt x="1243" y="1363"/>
                  </a:lnTo>
                  <a:lnTo>
                    <a:pt x="1243" y="1372"/>
                  </a:lnTo>
                  <a:lnTo>
                    <a:pt x="1238" y="1372"/>
                  </a:lnTo>
                  <a:lnTo>
                    <a:pt x="1238" y="1393"/>
                  </a:lnTo>
                  <a:lnTo>
                    <a:pt x="1236" y="1393"/>
                  </a:lnTo>
                  <a:lnTo>
                    <a:pt x="1233" y="1401"/>
                  </a:lnTo>
                  <a:lnTo>
                    <a:pt x="1233" y="1410"/>
                  </a:lnTo>
                  <a:lnTo>
                    <a:pt x="1229" y="1412"/>
                  </a:lnTo>
                  <a:lnTo>
                    <a:pt x="1229" y="1419"/>
                  </a:lnTo>
                  <a:lnTo>
                    <a:pt x="1221" y="1427"/>
                  </a:lnTo>
                  <a:lnTo>
                    <a:pt x="1219" y="1427"/>
                  </a:lnTo>
                  <a:lnTo>
                    <a:pt x="1212" y="1419"/>
                  </a:lnTo>
                  <a:lnTo>
                    <a:pt x="1212" y="1417"/>
                  </a:lnTo>
                  <a:lnTo>
                    <a:pt x="1214" y="1410"/>
                  </a:lnTo>
                  <a:lnTo>
                    <a:pt x="1219" y="1401"/>
                  </a:lnTo>
                  <a:lnTo>
                    <a:pt x="1203" y="1401"/>
                  </a:lnTo>
                  <a:lnTo>
                    <a:pt x="1195" y="1396"/>
                  </a:lnTo>
                  <a:lnTo>
                    <a:pt x="1198" y="1393"/>
                  </a:lnTo>
                  <a:lnTo>
                    <a:pt x="1203" y="1393"/>
                  </a:lnTo>
                  <a:lnTo>
                    <a:pt x="1205" y="1386"/>
                  </a:lnTo>
                  <a:lnTo>
                    <a:pt x="1205" y="1377"/>
                  </a:lnTo>
                  <a:lnTo>
                    <a:pt x="1210" y="1360"/>
                  </a:lnTo>
                  <a:lnTo>
                    <a:pt x="1226" y="1360"/>
                  </a:lnTo>
                  <a:lnTo>
                    <a:pt x="1221" y="1356"/>
                  </a:lnTo>
                  <a:lnTo>
                    <a:pt x="1214" y="1356"/>
                  </a:lnTo>
                  <a:lnTo>
                    <a:pt x="1212" y="1353"/>
                  </a:lnTo>
                  <a:lnTo>
                    <a:pt x="1214" y="1349"/>
                  </a:lnTo>
                  <a:lnTo>
                    <a:pt x="1214" y="1339"/>
                  </a:lnTo>
                  <a:lnTo>
                    <a:pt x="1214" y="1344"/>
                  </a:lnTo>
                  <a:lnTo>
                    <a:pt x="1212" y="1349"/>
                  </a:lnTo>
                  <a:lnTo>
                    <a:pt x="1205" y="1363"/>
                  </a:lnTo>
                  <a:lnTo>
                    <a:pt x="1203" y="1363"/>
                  </a:lnTo>
                  <a:lnTo>
                    <a:pt x="1198" y="1360"/>
                  </a:lnTo>
                  <a:lnTo>
                    <a:pt x="1193" y="1349"/>
                  </a:lnTo>
                  <a:lnTo>
                    <a:pt x="1193" y="1337"/>
                  </a:lnTo>
                  <a:lnTo>
                    <a:pt x="1188" y="1339"/>
                  </a:lnTo>
                  <a:lnTo>
                    <a:pt x="1186" y="1337"/>
                  </a:lnTo>
                  <a:lnTo>
                    <a:pt x="1186" y="1330"/>
                  </a:lnTo>
                  <a:lnTo>
                    <a:pt x="1181" y="1320"/>
                  </a:lnTo>
                  <a:lnTo>
                    <a:pt x="1179" y="1320"/>
                  </a:lnTo>
                  <a:lnTo>
                    <a:pt x="1181" y="1325"/>
                  </a:lnTo>
                  <a:lnTo>
                    <a:pt x="1174" y="1330"/>
                  </a:lnTo>
                  <a:lnTo>
                    <a:pt x="1174" y="1332"/>
                  </a:lnTo>
                  <a:lnTo>
                    <a:pt x="1169" y="1337"/>
                  </a:lnTo>
                  <a:lnTo>
                    <a:pt x="1172" y="1337"/>
                  </a:lnTo>
                  <a:lnTo>
                    <a:pt x="1172" y="1332"/>
                  </a:lnTo>
                  <a:lnTo>
                    <a:pt x="1174" y="1332"/>
                  </a:lnTo>
                  <a:lnTo>
                    <a:pt x="1179" y="1337"/>
                  </a:lnTo>
                  <a:lnTo>
                    <a:pt x="1186" y="1339"/>
                  </a:lnTo>
                  <a:lnTo>
                    <a:pt x="1188" y="1346"/>
                  </a:lnTo>
                  <a:lnTo>
                    <a:pt x="1188" y="1353"/>
                  </a:lnTo>
                  <a:lnTo>
                    <a:pt x="1188" y="1349"/>
                  </a:lnTo>
                  <a:lnTo>
                    <a:pt x="1186" y="1346"/>
                  </a:lnTo>
                  <a:lnTo>
                    <a:pt x="1186" y="1353"/>
                  </a:lnTo>
                  <a:lnTo>
                    <a:pt x="1193" y="1360"/>
                  </a:lnTo>
                  <a:lnTo>
                    <a:pt x="1193" y="1363"/>
                  </a:lnTo>
                  <a:lnTo>
                    <a:pt x="1181" y="1365"/>
                  </a:lnTo>
                  <a:lnTo>
                    <a:pt x="1181" y="1370"/>
                  </a:lnTo>
                  <a:lnTo>
                    <a:pt x="1188" y="1370"/>
                  </a:lnTo>
                  <a:lnTo>
                    <a:pt x="1188" y="1365"/>
                  </a:lnTo>
                  <a:lnTo>
                    <a:pt x="1193" y="1365"/>
                  </a:lnTo>
                  <a:lnTo>
                    <a:pt x="1193" y="1370"/>
                  </a:lnTo>
                  <a:lnTo>
                    <a:pt x="1195" y="1372"/>
                  </a:lnTo>
                  <a:lnTo>
                    <a:pt x="1195" y="1382"/>
                  </a:lnTo>
                  <a:lnTo>
                    <a:pt x="1193" y="1389"/>
                  </a:lnTo>
                  <a:lnTo>
                    <a:pt x="1193" y="1396"/>
                  </a:lnTo>
                  <a:lnTo>
                    <a:pt x="1179" y="1396"/>
                  </a:lnTo>
                  <a:lnTo>
                    <a:pt x="1179" y="1389"/>
                  </a:lnTo>
                  <a:lnTo>
                    <a:pt x="1174" y="1382"/>
                  </a:lnTo>
                  <a:lnTo>
                    <a:pt x="1169" y="1386"/>
                  </a:lnTo>
                  <a:lnTo>
                    <a:pt x="1172" y="1389"/>
                  </a:lnTo>
                  <a:lnTo>
                    <a:pt x="1172" y="1386"/>
                  </a:lnTo>
                  <a:lnTo>
                    <a:pt x="1174" y="1389"/>
                  </a:lnTo>
                  <a:lnTo>
                    <a:pt x="1174" y="1393"/>
                  </a:lnTo>
                  <a:lnTo>
                    <a:pt x="1172" y="1393"/>
                  </a:lnTo>
                  <a:lnTo>
                    <a:pt x="1169" y="1389"/>
                  </a:lnTo>
                  <a:lnTo>
                    <a:pt x="1169" y="1386"/>
                  </a:lnTo>
                  <a:lnTo>
                    <a:pt x="1162" y="1386"/>
                  </a:lnTo>
                  <a:lnTo>
                    <a:pt x="1165" y="1389"/>
                  </a:lnTo>
                  <a:lnTo>
                    <a:pt x="1165" y="1393"/>
                  </a:lnTo>
                  <a:lnTo>
                    <a:pt x="1162" y="1393"/>
                  </a:lnTo>
                  <a:lnTo>
                    <a:pt x="1158" y="1396"/>
                  </a:lnTo>
                  <a:lnTo>
                    <a:pt x="1158" y="1393"/>
                  </a:lnTo>
                  <a:lnTo>
                    <a:pt x="1155" y="1393"/>
                  </a:lnTo>
                  <a:lnTo>
                    <a:pt x="1155" y="1372"/>
                  </a:lnTo>
                  <a:lnTo>
                    <a:pt x="1148" y="1372"/>
                  </a:lnTo>
                  <a:lnTo>
                    <a:pt x="1148" y="1365"/>
                  </a:lnTo>
                  <a:lnTo>
                    <a:pt x="1146" y="1363"/>
                  </a:lnTo>
                  <a:lnTo>
                    <a:pt x="1141" y="1356"/>
                  </a:lnTo>
                  <a:lnTo>
                    <a:pt x="1139" y="1346"/>
                  </a:lnTo>
                  <a:lnTo>
                    <a:pt x="1139" y="1344"/>
                  </a:lnTo>
                  <a:lnTo>
                    <a:pt x="1146" y="1344"/>
                  </a:lnTo>
                  <a:lnTo>
                    <a:pt x="1146" y="1339"/>
                  </a:lnTo>
                  <a:lnTo>
                    <a:pt x="1139" y="1339"/>
                  </a:lnTo>
                  <a:lnTo>
                    <a:pt x="1139" y="1337"/>
                  </a:lnTo>
                  <a:lnTo>
                    <a:pt x="1134" y="1332"/>
                  </a:lnTo>
                  <a:lnTo>
                    <a:pt x="1134" y="1316"/>
                  </a:lnTo>
                  <a:lnTo>
                    <a:pt x="1139" y="1316"/>
                  </a:lnTo>
                  <a:lnTo>
                    <a:pt x="1139" y="1306"/>
                  </a:lnTo>
                  <a:lnTo>
                    <a:pt x="1134" y="1306"/>
                  </a:lnTo>
                  <a:lnTo>
                    <a:pt x="1134" y="1297"/>
                  </a:lnTo>
                  <a:lnTo>
                    <a:pt x="1132" y="1285"/>
                  </a:lnTo>
                  <a:lnTo>
                    <a:pt x="1129" y="1282"/>
                  </a:lnTo>
                  <a:lnTo>
                    <a:pt x="1125" y="1282"/>
                  </a:lnTo>
                  <a:lnTo>
                    <a:pt x="1122" y="1280"/>
                  </a:lnTo>
                  <a:lnTo>
                    <a:pt x="1125" y="1280"/>
                  </a:lnTo>
                  <a:lnTo>
                    <a:pt x="1129" y="1282"/>
                  </a:lnTo>
                  <a:lnTo>
                    <a:pt x="1132" y="1280"/>
                  </a:lnTo>
                  <a:lnTo>
                    <a:pt x="1132" y="1275"/>
                  </a:lnTo>
                  <a:lnTo>
                    <a:pt x="1122" y="1275"/>
                  </a:lnTo>
                  <a:lnTo>
                    <a:pt x="1122" y="1268"/>
                  </a:lnTo>
                  <a:lnTo>
                    <a:pt x="1117" y="1268"/>
                  </a:lnTo>
                  <a:lnTo>
                    <a:pt x="1115" y="1259"/>
                  </a:lnTo>
                  <a:lnTo>
                    <a:pt x="1113" y="1256"/>
                  </a:lnTo>
                  <a:lnTo>
                    <a:pt x="1113" y="1252"/>
                  </a:lnTo>
                  <a:lnTo>
                    <a:pt x="1108" y="1252"/>
                  </a:lnTo>
                  <a:lnTo>
                    <a:pt x="1113" y="1252"/>
                  </a:lnTo>
                  <a:lnTo>
                    <a:pt x="1113" y="1245"/>
                  </a:lnTo>
                  <a:lnTo>
                    <a:pt x="1106" y="1245"/>
                  </a:lnTo>
                  <a:lnTo>
                    <a:pt x="1106" y="1240"/>
                  </a:lnTo>
                  <a:lnTo>
                    <a:pt x="1106" y="1242"/>
                  </a:lnTo>
                  <a:lnTo>
                    <a:pt x="1108" y="1242"/>
                  </a:lnTo>
                  <a:lnTo>
                    <a:pt x="1106" y="1235"/>
                  </a:lnTo>
                  <a:lnTo>
                    <a:pt x="1099" y="1226"/>
                  </a:lnTo>
                  <a:lnTo>
                    <a:pt x="1101" y="1223"/>
                  </a:lnTo>
                  <a:lnTo>
                    <a:pt x="1106" y="1219"/>
                  </a:lnTo>
                  <a:lnTo>
                    <a:pt x="1108" y="1219"/>
                  </a:lnTo>
                  <a:lnTo>
                    <a:pt x="1115" y="1216"/>
                  </a:lnTo>
                  <a:lnTo>
                    <a:pt x="1117" y="1212"/>
                  </a:lnTo>
                  <a:lnTo>
                    <a:pt x="1117" y="1207"/>
                  </a:lnTo>
                  <a:lnTo>
                    <a:pt x="1122" y="1200"/>
                  </a:lnTo>
                  <a:lnTo>
                    <a:pt x="1122" y="1195"/>
                  </a:lnTo>
                  <a:lnTo>
                    <a:pt x="1132" y="1193"/>
                  </a:lnTo>
                  <a:lnTo>
                    <a:pt x="1132" y="1207"/>
                  </a:lnTo>
                  <a:lnTo>
                    <a:pt x="1125" y="1219"/>
                  </a:lnTo>
                  <a:lnTo>
                    <a:pt x="1117" y="1226"/>
                  </a:lnTo>
                  <a:lnTo>
                    <a:pt x="1117" y="1228"/>
                  </a:lnTo>
                  <a:lnTo>
                    <a:pt x="1125" y="1226"/>
                  </a:lnTo>
                  <a:lnTo>
                    <a:pt x="1125" y="1223"/>
                  </a:lnTo>
                  <a:lnTo>
                    <a:pt x="1129" y="1216"/>
                  </a:lnTo>
                  <a:lnTo>
                    <a:pt x="1132" y="1212"/>
                  </a:lnTo>
                  <a:lnTo>
                    <a:pt x="1134" y="1209"/>
                  </a:lnTo>
                  <a:lnTo>
                    <a:pt x="1134" y="1212"/>
                  </a:lnTo>
                  <a:lnTo>
                    <a:pt x="1141" y="1212"/>
                  </a:lnTo>
                  <a:lnTo>
                    <a:pt x="1141" y="1219"/>
                  </a:lnTo>
                  <a:lnTo>
                    <a:pt x="1146" y="1219"/>
                  </a:lnTo>
                  <a:lnTo>
                    <a:pt x="1146" y="1216"/>
                  </a:lnTo>
                  <a:lnTo>
                    <a:pt x="1141" y="1212"/>
                  </a:lnTo>
                  <a:lnTo>
                    <a:pt x="1139" y="1209"/>
                  </a:lnTo>
                  <a:lnTo>
                    <a:pt x="1134" y="1207"/>
                  </a:lnTo>
                  <a:lnTo>
                    <a:pt x="1134" y="1188"/>
                  </a:lnTo>
                  <a:lnTo>
                    <a:pt x="1129" y="1188"/>
                  </a:lnTo>
                  <a:lnTo>
                    <a:pt x="1122" y="1193"/>
                  </a:lnTo>
                  <a:lnTo>
                    <a:pt x="1115" y="1195"/>
                  </a:lnTo>
                  <a:lnTo>
                    <a:pt x="1084" y="1195"/>
                  </a:lnTo>
                  <a:lnTo>
                    <a:pt x="1084" y="1193"/>
                  </a:lnTo>
                  <a:lnTo>
                    <a:pt x="1082" y="1193"/>
                  </a:lnTo>
                  <a:lnTo>
                    <a:pt x="1075" y="1188"/>
                  </a:lnTo>
                  <a:lnTo>
                    <a:pt x="1068" y="1178"/>
                  </a:lnTo>
                  <a:lnTo>
                    <a:pt x="1068" y="1176"/>
                  </a:lnTo>
                  <a:lnTo>
                    <a:pt x="1066" y="1171"/>
                  </a:lnTo>
                  <a:lnTo>
                    <a:pt x="1061" y="1167"/>
                  </a:lnTo>
                  <a:lnTo>
                    <a:pt x="1056" y="1160"/>
                  </a:lnTo>
                  <a:lnTo>
                    <a:pt x="1058" y="1155"/>
                  </a:lnTo>
                  <a:lnTo>
                    <a:pt x="1066" y="1155"/>
                  </a:lnTo>
                  <a:lnTo>
                    <a:pt x="1066" y="1153"/>
                  </a:lnTo>
                  <a:lnTo>
                    <a:pt x="1068" y="1153"/>
                  </a:lnTo>
                  <a:lnTo>
                    <a:pt x="1068" y="1148"/>
                  </a:lnTo>
                  <a:lnTo>
                    <a:pt x="1073" y="1145"/>
                  </a:lnTo>
                  <a:lnTo>
                    <a:pt x="1068" y="1138"/>
                  </a:lnTo>
                  <a:lnTo>
                    <a:pt x="1068" y="1136"/>
                  </a:lnTo>
                  <a:lnTo>
                    <a:pt x="1066" y="1138"/>
                  </a:lnTo>
                  <a:lnTo>
                    <a:pt x="1066" y="1145"/>
                  </a:lnTo>
                  <a:lnTo>
                    <a:pt x="1051" y="1145"/>
                  </a:lnTo>
                  <a:lnTo>
                    <a:pt x="1049" y="1143"/>
                  </a:lnTo>
                  <a:lnTo>
                    <a:pt x="1044" y="1136"/>
                  </a:lnTo>
                  <a:lnTo>
                    <a:pt x="1044" y="1131"/>
                  </a:lnTo>
                  <a:lnTo>
                    <a:pt x="1042" y="1131"/>
                  </a:lnTo>
                  <a:lnTo>
                    <a:pt x="1037" y="1127"/>
                  </a:lnTo>
                  <a:lnTo>
                    <a:pt x="1025" y="1112"/>
                  </a:lnTo>
                  <a:lnTo>
                    <a:pt x="1021" y="1110"/>
                  </a:lnTo>
                  <a:lnTo>
                    <a:pt x="1018" y="1105"/>
                  </a:lnTo>
                  <a:lnTo>
                    <a:pt x="1011" y="1105"/>
                  </a:lnTo>
                  <a:lnTo>
                    <a:pt x="1009" y="1103"/>
                  </a:lnTo>
                  <a:lnTo>
                    <a:pt x="1002" y="1103"/>
                  </a:lnTo>
                  <a:lnTo>
                    <a:pt x="1002" y="1098"/>
                  </a:lnTo>
                  <a:lnTo>
                    <a:pt x="999" y="1098"/>
                  </a:lnTo>
                  <a:lnTo>
                    <a:pt x="995" y="1096"/>
                  </a:lnTo>
                  <a:lnTo>
                    <a:pt x="992" y="1096"/>
                  </a:lnTo>
                  <a:lnTo>
                    <a:pt x="980" y="1089"/>
                  </a:lnTo>
                  <a:lnTo>
                    <a:pt x="971" y="1089"/>
                  </a:lnTo>
                  <a:lnTo>
                    <a:pt x="971" y="1065"/>
                  </a:lnTo>
                  <a:lnTo>
                    <a:pt x="969" y="1063"/>
                  </a:lnTo>
                  <a:lnTo>
                    <a:pt x="962" y="1063"/>
                  </a:lnTo>
                  <a:lnTo>
                    <a:pt x="959" y="1056"/>
                  </a:lnTo>
                  <a:lnTo>
                    <a:pt x="959" y="1041"/>
                  </a:lnTo>
                  <a:lnTo>
                    <a:pt x="952" y="1041"/>
                  </a:lnTo>
                  <a:lnTo>
                    <a:pt x="952" y="1039"/>
                  </a:lnTo>
                  <a:lnTo>
                    <a:pt x="959" y="1034"/>
                  </a:lnTo>
                  <a:lnTo>
                    <a:pt x="969" y="1025"/>
                  </a:lnTo>
                  <a:lnTo>
                    <a:pt x="978" y="1018"/>
                  </a:lnTo>
                  <a:lnTo>
                    <a:pt x="985" y="1018"/>
                  </a:lnTo>
                  <a:lnTo>
                    <a:pt x="988" y="1015"/>
                  </a:lnTo>
                  <a:lnTo>
                    <a:pt x="980" y="1015"/>
                  </a:lnTo>
                  <a:lnTo>
                    <a:pt x="976" y="1018"/>
                  </a:lnTo>
                  <a:lnTo>
                    <a:pt x="964" y="1023"/>
                  </a:lnTo>
                  <a:lnTo>
                    <a:pt x="954" y="1025"/>
                  </a:lnTo>
                  <a:lnTo>
                    <a:pt x="940" y="1025"/>
                  </a:lnTo>
                  <a:lnTo>
                    <a:pt x="938" y="1018"/>
                  </a:lnTo>
                  <a:lnTo>
                    <a:pt x="940" y="1015"/>
                  </a:lnTo>
                  <a:lnTo>
                    <a:pt x="938" y="1013"/>
                  </a:lnTo>
                  <a:lnTo>
                    <a:pt x="938" y="1008"/>
                  </a:lnTo>
                  <a:lnTo>
                    <a:pt x="931" y="1001"/>
                  </a:lnTo>
                  <a:lnTo>
                    <a:pt x="938" y="1001"/>
                  </a:lnTo>
                  <a:lnTo>
                    <a:pt x="938" y="999"/>
                  </a:lnTo>
                  <a:lnTo>
                    <a:pt x="947" y="994"/>
                  </a:lnTo>
                  <a:lnTo>
                    <a:pt x="945" y="994"/>
                  </a:lnTo>
                  <a:lnTo>
                    <a:pt x="940" y="992"/>
                  </a:lnTo>
                  <a:lnTo>
                    <a:pt x="938" y="992"/>
                  </a:lnTo>
                  <a:lnTo>
                    <a:pt x="940" y="989"/>
                  </a:lnTo>
                  <a:lnTo>
                    <a:pt x="936" y="989"/>
                  </a:lnTo>
                  <a:lnTo>
                    <a:pt x="928" y="982"/>
                  </a:lnTo>
                  <a:lnTo>
                    <a:pt x="928" y="978"/>
                  </a:lnTo>
                  <a:lnTo>
                    <a:pt x="940" y="978"/>
                  </a:lnTo>
                  <a:lnTo>
                    <a:pt x="945" y="975"/>
                  </a:lnTo>
                  <a:lnTo>
                    <a:pt x="936" y="975"/>
                  </a:lnTo>
                  <a:lnTo>
                    <a:pt x="924" y="973"/>
                  </a:lnTo>
                  <a:lnTo>
                    <a:pt x="921" y="973"/>
                  </a:lnTo>
                  <a:lnTo>
                    <a:pt x="919" y="966"/>
                  </a:lnTo>
                  <a:lnTo>
                    <a:pt x="919" y="961"/>
                  </a:lnTo>
                  <a:lnTo>
                    <a:pt x="921" y="961"/>
                  </a:lnTo>
                  <a:lnTo>
                    <a:pt x="924" y="966"/>
                  </a:lnTo>
                  <a:lnTo>
                    <a:pt x="928" y="966"/>
                  </a:lnTo>
                  <a:lnTo>
                    <a:pt x="938" y="968"/>
                  </a:lnTo>
                  <a:lnTo>
                    <a:pt x="945" y="968"/>
                  </a:lnTo>
                  <a:lnTo>
                    <a:pt x="940" y="961"/>
                  </a:lnTo>
                  <a:lnTo>
                    <a:pt x="940" y="966"/>
                  </a:lnTo>
                  <a:lnTo>
                    <a:pt x="931" y="966"/>
                  </a:lnTo>
                  <a:lnTo>
                    <a:pt x="936" y="961"/>
                  </a:lnTo>
                  <a:lnTo>
                    <a:pt x="928" y="961"/>
                  </a:lnTo>
                  <a:lnTo>
                    <a:pt x="928" y="959"/>
                  </a:lnTo>
                  <a:lnTo>
                    <a:pt x="924" y="952"/>
                  </a:lnTo>
                  <a:lnTo>
                    <a:pt x="928" y="949"/>
                  </a:lnTo>
                  <a:lnTo>
                    <a:pt x="928" y="945"/>
                  </a:lnTo>
                  <a:lnTo>
                    <a:pt x="938" y="938"/>
                  </a:lnTo>
                  <a:lnTo>
                    <a:pt x="940" y="938"/>
                  </a:lnTo>
                  <a:lnTo>
                    <a:pt x="947" y="945"/>
                  </a:lnTo>
                  <a:lnTo>
                    <a:pt x="952" y="945"/>
                  </a:lnTo>
                  <a:lnTo>
                    <a:pt x="952" y="949"/>
                  </a:lnTo>
                  <a:lnTo>
                    <a:pt x="954" y="949"/>
                  </a:lnTo>
                  <a:lnTo>
                    <a:pt x="954" y="945"/>
                  </a:lnTo>
                  <a:lnTo>
                    <a:pt x="952" y="942"/>
                  </a:lnTo>
                  <a:lnTo>
                    <a:pt x="945" y="938"/>
                  </a:lnTo>
                  <a:lnTo>
                    <a:pt x="945" y="935"/>
                  </a:lnTo>
                  <a:lnTo>
                    <a:pt x="931" y="938"/>
                  </a:lnTo>
                  <a:lnTo>
                    <a:pt x="928" y="938"/>
                  </a:lnTo>
                  <a:lnTo>
                    <a:pt x="928" y="942"/>
                  </a:lnTo>
                  <a:lnTo>
                    <a:pt x="921" y="942"/>
                  </a:lnTo>
                  <a:lnTo>
                    <a:pt x="921" y="938"/>
                  </a:lnTo>
                  <a:lnTo>
                    <a:pt x="924" y="935"/>
                  </a:lnTo>
                  <a:lnTo>
                    <a:pt x="921" y="935"/>
                  </a:lnTo>
                  <a:lnTo>
                    <a:pt x="921" y="933"/>
                  </a:lnTo>
                  <a:lnTo>
                    <a:pt x="914" y="933"/>
                  </a:lnTo>
                  <a:lnTo>
                    <a:pt x="912" y="935"/>
                  </a:lnTo>
                  <a:lnTo>
                    <a:pt x="905" y="935"/>
                  </a:lnTo>
                  <a:lnTo>
                    <a:pt x="900" y="928"/>
                  </a:lnTo>
                  <a:lnTo>
                    <a:pt x="905" y="921"/>
                  </a:lnTo>
                  <a:lnTo>
                    <a:pt x="907" y="919"/>
                  </a:lnTo>
                  <a:lnTo>
                    <a:pt x="912" y="914"/>
                  </a:lnTo>
                  <a:lnTo>
                    <a:pt x="914" y="912"/>
                  </a:lnTo>
                  <a:lnTo>
                    <a:pt x="912" y="912"/>
                  </a:lnTo>
                  <a:lnTo>
                    <a:pt x="900" y="921"/>
                  </a:lnTo>
                  <a:lnTo>
                    <a:pt x="898" y="928"/>
                  </a:lnTo>
                  <a:lnTo>
                    <a:pt x="888" y="928"/>
                  </a:lnTo>
                  <a:lnTo>
                    <a:pt x="884" y="926"/>
                  </a:lnTo>
                  <a:lnTo>
                    <a:pt x="884" y="921"/>
                  </a:lnTo>
                  <a:lnTo>
                    <a:pt x="888" y="919"/>
                  </a:lnTo>
                  <a:lnTo>
                    <a:pt x="888" y="914"/>
                  </a:lnTo>
                  <a:lnTo>
                    <a:pt x="884" y="912"/>
                  </a:lnTo>
                  <a:lnTo>
                    <a:pt x="898" y="904"/>
                  </a:lnTo>
                  <a:lnTo>
                    <a:pt x="907" y="902"/>
                  </a:lnTo>
                  <a:lnTo>
                    <a:pt x="914" y="897"/>
                  </a:lnTo>
                  <a:lnTo>
                    <a:pt x="898" y="902"/>
                  </a:lnTo>
                  <a:lnTo>
                    <a:pt x="895" y="904"/>
                  </a:lnTo>
                  <a:lnTo>
                    <a:pt x="888" y="904"/>
                  </a:lnTo>
                  <a:lnTo>
                    <a:pt x="891" y="902"/>
                  </a:lnTo>
                  <a:lnTo>
                    <a:pt x="891" y="897"/>
                  </a:lnTo>
                  <a:lnTo>
                    <a:pt x="888" y="895"/>
                  </a:lnTo>
                  <a:lnTo>
                    <a:pt x="881" y="895"/>
                  </a:lnTo>
                  <a:lnTo>
                    <a:pt x="874" y="897"/>
                  </a:lnTo>
                  <a:lnTo>
                    <a:pt x="879" y="902"/>
                  </a:lnTo>
                  <a:lnTo>
                    <a:pt x="879" y="897"/>
                  </a:lnTo>
                  <a:lnTo>
                    <a:pt x="888" y="897"/>
                  </a:lnTo>
                  <a:lnTo>
                    <a:pt x="888" y="902"/>
                  </a:lnTo>
                  <a:lnTo>
                    <a:pt x="884" y="904"/>
                  </a:lnTo>
                  <a:lnTo>
                    <a:pt x="872" y="912"/>
                  </a:lnTo>
                  <a:lnTo>
                    <a:pt x="867" y="914"/>
                  </a:lnTo>
                  <a:lnTo>
                    <a:pt x="867" y="909"/>
                  </a:lnTo>
                  <a:lnTo>
                    <a:pt x="865" y="909"/>
                  </a:lnTo>
                  <a:lnTo>
                    <a:pt x="862" y="904"/>
                  </a:lnTo>
                  <a:lnTo>
                    <a:pt x="855" y="904"/>
                  </a:lnTo>
                  <a:lnTo>
                    <a:pt x="855" y="909"/>
                  </a:lnTo>
                  <a:lnTo>
                    <a:pt x="862" y="909"/>
                  </a:lnTo>
                  <a:lnTo>
                    <a:pt x="865" y="912"/>
                  </a:lnTo>
                  <a:lnTo>
                    <a:pt x="851" y="912"/>
                  </a:lnTo>
                  <a:lnTo>
                    <a:pt x="848" y="914"/>
                  </a:lnTo>
                  <a:lnTo>
                    <a:pt x="855" y="914"/>
                  </a:lnTo>
                  <a:lnTo>
                    <a:pt x="855" y="912"/>
                  </a:lnTo>
                  <a:lnTo>
                    <a:pt x="862" y="912"/>
                  </a:lnTo>
                  <a:lnTo>
                    <a:pt x="862" y="914"/>
                  </a:lnTo>
                  <a:lnTo>
                    <a:pt x="865" y="914"/>
                  </a:lnTo>
                  <a:lnTo>
                    <a:pt x="867" y="921"/>
                  </a:lnTo>
                  <a:lnTo>
                    <a:pt x="865" y="926"/>
                  </a:lnTo>
                  <a:lnTo>
                    <a:pt x="862" y="933"/>
                  </a:lnTo>
                  <a:lnTo>
                    <a:pt x="851" y="935"/>
                  </a:lnTo>
                  <a:lnTo>
                    <a:pt x="851" y="928"/>
                  </a:lnTo>
                  <a:lnTo>
                    <a:pt x="839" y="928"/>
                  </a:lnTo>
                  <a:lnTo>
                    <a:pt x="834" y="933"/>
                  </a:lnTo>
                  <a:lnTo>
                    <a:pt x="841" y="928"/>
                  </a:lnTo>
                  <a:lnTo>
                    <a:pt x="843" y="928"/>
                  </a:lnTo>
                  <a:lnTo>
                    <a:pt x="851" y="935"/>
                  </a:lnTo>
                  <a:lnTo>
                    <a:pt x="851" y="938"/>
                  </a:lnTo>
                  <a:lnTo>
                    <a:pt x="855" y="938"/>
                  </a:lnTo>
                  <a:lnTo>
                    <a:pt x="858" y="935"/>
                  </a:lnTo>
                  <a:lnTo>
                    <a:pt x="865" y="935"/>
                  </a:lnTo>
                  <a:lnTo>
                    <a:pt x="862" y="945"/>
                  </a:lnTo>
                  <a:lnTo>
                    <a:pt x="862" y="952"/>
                  </a:lnTo>
                  <a:lnTo>
                    <a:pt x="855" y="952"/>
                  </a:lnTo>
                  <a:lnTo>
                    <a:pt x="851" y="949"/>
                  </a:lnTo>
                  <a:lnTo>
                    <a:pt x="848" y="949"/>
                  </a:lnTo>
                  <a:lnTo>
                    <a:pt x="843" y="952"/>
                  </a:lnTo>
                  <a:lnTo>
                    <a:pt x="841" y="952"/>
                  </a:lnTo>
                  <a:lnTo>
                    <a:pt x="834" y="954"/>
                  </a:lnTo>
                  <a:lnTo>
                    <a:pt x="834" y="952"/>
                  </a:lnTo>
                  <a:lnTo>
                    <a:pt x="827" y="954"/>
                  </a:lnTo>
                  <a:lnTo>
                    <a:pt x="832" y="959"/>
                  </a:lnTo>
                  <a:lnTo>
                    <a:pt x="834" y="959"/>
                  </a:lnTo>
                  <a:lnTo>
                    <a:pt x="834" y="954"/>
                  </a:lnTo>
                  <a:lnTo>
                    <a:pt x="839" y="959"/>
                  </a:lnTo>
                  <a:lnTo>
                    <a:pt x="841" y="961"/>
                  </a:lnTo>
                  <a:lnTo>
                    <a:pt x="841" y="966"/>
                  </a:lnTo>
                  <a:lnTo>
                    <a:pt x="827" y="966"/>
                  </a:lnTo>
                  <a:lnTo>
                    <a:pt x="832" y="961"/>
                  </a:lnTo>
                  <a:lnTo>
                    <a:pt x="825" y="961"/>
                  </a:lnTo>
                  <a:lnTo>
                    <a:pt x="822" y="966"/>
                  </a:lnTo>
                  <a:lnTo>
                    <a:pt x="817" y="973"/>
                  </a:lnTo>
                  <a:lnTo>
                    <a:pt x="815" y="973"/>
                  </a:lnTo>
                  <a:lnTo>
                    <a:pt x="803" y="966"/>
                  </a:lnTo>
                  <a:lnTo>
                    <a:pt x="803" y="961"/>
                  </a:lnTo>
                  <a:lnTo>
                    <a:pt x="799" y="961"/>
                  </a:lnTo>
                  <a:lnTo>
                    <a:pt x="794" y="954"/>
                  </a:lnTo>
                  <a:lnTo>
                    <a:pt x="794" y="952"/>
                  </a:lnTo>
                  <a:lnTo>
                    <a:pt x="799" y="952"/>
                  </a:lnTo>
                  <a:lnTo>
                    <a:pt x="799" y="949"/>
                  </a:lnTo>
                  <a:lnTo>
                    <a:pt x="791" y="949"/>
                  </a:lnTo>
                  <a:lnTo>
                    <a:pt x="784" y="954"/>
                  </a:lnTo>
                  <a:lnTo>
                    <a:pt x="782" y="954"/>
                  </a:lnTo>
                  <a:lnTo>
                    <a:pt x="784" y="949"/>
                  </a:lnTo>
                  <a:lnTo>
                    <a:pt x="787" y="945"/>
                  </a:lnTo>
                  <a:lnTo>
                    <a:pt x="791" y="935"/>
                  </a:lnTo>
                  <a:lnTo>
                    <a:pt x="787" y="935"/>
                  </a:lnTo>
                  <a:lnTo>
                    <a:pt x="787" y="938"/>
                  </a:lnTo>
                  <a:lnTo>
                    <a:pt x="775" y="945"/>
                  </a:lnTo>
                  <a:lnTo>
                    <a:pt x="765" y="949"/>
                  </a:lnTo>
                  <a:lnTo>
                    <a:pt x="765" y="959"/>
                  </a:lnTo>
                  <a:lnTo>
                    <a:pt x="761" y="959"/>
                  </a:lnTo>
                  <a:lnTo>
                    <a:pt x="761" y="954"/>
                  </a:lnTo>
                  <a:lnTo>
                    <a:pt x="765" y="949"/>
                  </a:lnTo>
                  <a:lnTo>
                    <a:pt x="768" y="945"/>
                  </a:lnTo>
                  <a:lnTo>
                    <a:pt x="770" y="945"/>
                  </a:lnTo>
                  <a:lnTo>
                    <a:pt x="770" y="935"/>
                  </a:lnTo>
                  <a:lnTo>
                    <a:pt x="761" y="945"/>
                  </a:lnTo>
                  <a:lnTo>
                    <a:pt x="758" y="949"/>
                  </a:lnTo>
                  <a:lnTo>
                    <a:pt x="754" y="952"/>
                  </a:lnTo>
                  <a:lnTo>
                    <a:pt x="751" y="959"/>
                  </a:lnTo>
                  <a:lnTo>
                    <a:pt x="751" y="954"/>
                  </a:lnTo>
                  <a:lnTo>
                    <a:pt x="754" y="945"/>
                  </a:lnTo>
                  <a:lnTo>
                    <a:pt x="751" y="938"/>
                  </a:lnTo>
                  <a:lnTo>
                    <a:pt x="751" y="949"/>
                  </a:lnTo>
                  <a:lnTo>
                    <a:pt x="747" y="949"/>
                  </a:lnTo>
                  <a:lnTo>
                    <a:pt x="744" y="952"/>
                  </a:lnTo>
                  <a:lnTo>
                    <a:pt x="742" y="952"/>
                  </a:lnTo>
                  <a:lnTo>
                    <a:pt x="725" y="954"/>
                  </a:lnTo>
                  <a:lnTo>
                    <a:pt x="721" y="954"/>
                  </a:lnTo>
                  <a:lnTo>
                    <a:pt x="721" y="952"/>
                  </a:lnTo>
                  <a:lnTo>
                    <a:pt x="725" y="949"/>
                  </a:lnTo>
                  <a:lnTo>
                    <a:pt x="730" y="945"/>
                  </a:lnTo>
                  <a:lnTo>
                    <a:pt x="742" y="938"/>
                  </a:lnTo>
                  <a:lnTo>
                    <a:pt x="737" y="938"/>
                  </a:lnTo>
                  <a:lnTo>
                    <a:pt x="737" y="942"/>
                  </a:lnTo>
                  <a:lnTo>
                    <a:pt x="730" y="942"/>
                  </a:lnTo>
                  <a:lnTo>
                    <a:pt x="728" y="945"/>
                  </a:lnTo>
                  <a:lnTo>
                    <a:pt x="714" y="949"/>
                  </a:lnTo>
                  <a:lnTo>
                    <a:pt x="718" y="945"/>
                  </a:lnTo>
                  <a:lnTo>
                    <a:pt x="718" y="942"/>
                  </a:lnTo>
                  <a:lnTo>
                    <a:pt x="725" y="942"/>
                  </a:lnTo>
                  <a:lnTo>
                    <a:pt x="721" y="938"/>
                  </a:lnTo>
                  <a:lnTo>
                    <a:pt x="718" y="938"/>
                  </a:lnTo>
                  <a:lnTo>
                    <a:pt x="714" y="942"/>
                  </a:lnTo>
                  <a:lnTo>
                    <a:pt x="714" y="945"/>
                  </a:lnTo>
                  <a:lnTo>
                    <a:pt x="711" y="949"/>
                  </a:lnTo>
                  <a:lnTo>
                    <a:pt x="706" y="949"/>
                  </a:lnTo>
                  <a:lnTo>
                    <a:pt x="704" y="945"/>
                  </a:lnTo>
                  <a:lnTo>
                    <a:pt x="704" y="949"/>
                  </a:lnTo>
                  <a:lnTo>
                    <a:pt x="690" y="949"/>
                  </a:lnTo>
                  <a:lnTo>
                    <a:pt x="690" y="952"/>
                  </a:lnTo>
                  <a:lnTo>
                    <a:pt x="688" y="952"/>
                  </a:lnTo>
                  <a:lnTo>
                    <a:pt x="688" y="945"/>
                  </a:lnTo>
                  <a:lnTo>
                    <a:pt x="685" y="942"/>
                  </a:lnTo>
                  <a:lnTo>
                    <a:pt x="680" y="942"/>
                  </a:lnTo>
                  <a:lnTo>
                    <a:pt x="680" y="949"/>
                  </a:lnTo>
                  <a:lnTo>
                    <a:pt x="678" y="949"/>
                  </a:lnTo>
                  <a:lnTo>
                    <a:pt x="673" y="945"/>
                  </a:lnTo>
                  <a:lnTo>
                    <a:pt x="673" y="938"/>
                  </a:lnTo>
                  <a:lnTo>
                    <a:pt x="662" y="938"/>
                  </a:lnTo>
                  <a:lnTo>
                    <a:pt x="657" y="935"/>
                  </a:lnTo>
                  <a:lnTo>
                    <a:pt x="654" y="935"/>
                  </a:lnTo>
                  <a:lnTo>
                    <a:pt x="654" y="919"/>
                  </a:lnTo>
                  <a:lnTo>
                    <a:pt x="657" y="919"/>
                  </a:lnTo>
                  <a:lnTo>
                    <a:pt x="666" y="912"/>
                  </a:lnTo>
                  <a:lnTo>
                    <a:pt x="671" y="912"/>
                  </a:lnTo>
                  <a:lnTo>
                    <a:pt x="678" y="914"/>
                  </a:lnTo>
                  <a:lnTo>
                    <a:pt x="680" y="914"/>
                  </a:lnTo>
                  <a:lnTo>
                    <a:pt x="680" y="919"/>
                  </a:lnTo>
                  <a:lnTo>
                    <a:pt x="685" y="921"/>
                  </a:lnTo>
                  <a:lnTo>
                    <a:pt x="688" y="919"/>
                  </a:lnTo>
                  <a:lnTo>
                    <a:pt x="702" y="919"/>
                  </a:lnTo>
                  <a:lnTo>
                    <a:pt x="718" y="912"/>
                  </a:lnTo>
                  <a:lnTo>
                    <a:pt x="714" y="912"/>
                  </a:lnTo>
                  <a:lnTo>
                    <a:pt x="711" y="909"/>
                  </a:lnTo>
                  <a:lnTo>
                    <a:pt x="695" y="909"/>
                  </a:lnTo>
                  <a:lnTo>
                    <a:pt x="690" y="904"/>
                  </a:lnTo>
                  <a:lnTo>
                    <a:pt x="688" y="897"/>
                  </a:lnTo>
                  <a:lnTo>
                    <a:pt x="688" y="888"/>
                  </a:lnTo>
                  <a:lnTo>
                    <a:pt x="690" y="888"/>
                  </a:lnTo>
                  <a:lnTo>
                    <a:pt x="711" y="876"/>
                  </a:lnTo>
                  <a:lnTo>
                    <a:pt x="718" y="876"/>
                  </a:lnTo>
                  <a:lnTo>
                    <a:pt x="721" y="871"/>
                  </a:lnTo>
                  <a:lnTo>
                    <a:pt x="730" y="871"/>
                  </a:lnTo>
                  <a:lnTo>
                    <a:pt x="735" y="869"/>
                  </a:lnTo>
                  <a:lnTo>
                    <a:pt x="747" y="862"/>
                  </a:lnTo>
                  <a:lnTo>
                    <a:pt x="751" y="857"/>
                  </a:lnTo>
                  <a:lnTo>
                    <a:pt x="754" y="855"/>
                  </a:lnTo>
                  <a:lnTo>
                    <a:pt x="758" y="852"/>
                  </a:lnTo>
                  <a:lnTo>
                    <a:pt x="758" y="848"/>
                  </a:lnTo>
                  <a:lnTo>
                    <a:pt x="761" y="841"/>
                  </a:lnTo>
                  <a:lnTo>
                    <a:pt x="765" y="838"/>
                  </a:lnTo>
                  <a:lnTo>
                    <a:pt x="765" y="836"/>
                  </a:lnTo>
                  <a:lnTo>
                    <a:pt x="775" y="838"/>
                  </a:lnTo>
                  <a:lnTo>
                    <a:pt x="777" y="841"/>
                  </a:lnTo>
                  <a:lnTo>
                    <a:pt x="815" y="841"/>
                  </a:lnTo>
                  <a:lnTo>
                    <a:pt x="817" y="845"/>
                  </a:lnTo>
                  <a:lnTo>
                    <a:pt x="817" y="848"/>
                  </a:lnTo>
                  <a:lnTo>
                    <a:pt x="815" y="848"/>
                  </a:lnTo>
                  <a:lnTo>
                    <a:pt x="815" y="855"/>
                  </a:lnTo>
                  <a:lnTo>
                    <a:pt x="817" y="857"/>
                  </a:lnTo>
                  <a:lnTo>
                    <a:pt x="817" y="862"/>
                  </a:lnTo>
                  <a:lnTo>
                    <a:pt x="832" y="862"/>
                  </a:lnTo>
                  <a:lnTo>
                    <a:pt x="832" y="864"/>
                  </a:lnTo>
                  <a:lnTo>
                    <a:pt x="839" y="871"/>
                  </a:lnTo>
                  <a:lnTo>
                    <a:pt x="839" y="878"/>
                  </a:lnTo>
                  <a:lnTo>
                    <a:pt x="841" y="878"/>
                  </a:lnTo>
                  <a:lnTo>
                    <a:pt x="843" y="886"/>
                  </a:lnTo>
                  <a:lnTo>
                    <a:pt x="843" y="888"/>
                  </a:lnTo>
                  <a:lnTo>
                    <a:pt x="848" y="888"/>
                  </a:lnTo>
                  <a:lnTo>
                    <a:pt x="848" y="893"/>
                  </a:lnTo>
                  <a:lnTo>
                    <a:pt x="851" y="886"/>
                  </a:lnTo>
                  <a:lnTo>
                    <a:pt x="851" y="881"/>
                  </a:lnTo>
                  <a:lnTo>
                    <a:pt x="848" y="881"/>
                  </a:lnTo>
                  <a:lnTo>
                    <a:pt x="841" y="876"/>
                  </a:lnTo>
                  <a:lnTo>
                    <a:pt x="839" y="869"/>
                  </a:lnTo>
                  <a:lnTo>
                    <a:pt x="839" y="862"/>
                  </a:lnTo>
                  <a:lnTo>
                    <a:pt x="834" y="857"/>
                  </a:lnTo>
                  <a:lnTo>
                    <a:pt x="839" y="855"/>
                  </a:lnTo>
                  <a:lnTo>
                    <a:pt x="834" y="852"/>
                  </a:lnTo>
                  <a:lnTo>
                    <a:pt x="834" y="845"/>
                  </a:lnTo>
                  <a:lnTo>
                    <a:pt x="841" y="841"/>
                  </a:lnTo>
                  <a:lnTo>
                    <a:pt x="851" y="838"/>
                  </a:lnTo>
                  <a:lnTo>
                    <a:pt x="867" y="838"/>
                  </a:lnTo>
                  <a:lnTo>
                    <a:pt x="867" y="841"/>
                  </a:lnTo>
                  <a:lnTo>
                    <a:pt x="881" y="841"/>
                  </a:lnTo>
                  <a:lnTo>
                    <a:pt x="874" y="836"/>
                  </a:lnTo>
                  <a:lnTo>
                    <a:pt x="867" y="831"/>
                  </a:lnTo>
                  <a:lnTo>
                    <a:pt x="855" y="831"/>
                  </a:lnTo>
                  <a:lnTo>
                    <a:pt x="848" y="838"/>
                  </a:lnTo>
                  <a:lnTo>
                    <a:pt x="839" y="838"/>
                  </a:lnTo>
                  <a:lnTo>
                    <a:pt x="839" y="836"/>
                  </a:lnTo>
                  <a:lnTo>
                    <a:pt x="834" y="831"/>
                  </a:lnTo>
                  <a:lnTo>
                    <a:pt x="832" y="831"/>
                  </a:lnTo>
                  <a:lnTo>
                    <a:pt x="832" y="829"/>
                  </a:lnTo>
                  <a:lnTo>
                    <a:pt x="827" y="829"/>
                  </a:lnTo>
                  <a:lnTo>
                    <a:pt x="827" y="822"/>
                  </a:lnTo>
                  <a:lnTo>
                    <a:pt x="825" y="817"/>
                  </a:lnTo>
                  <a:lnTo>
                    <a:pt x="810" y="817"/>
                  </a:lnTo>
                  <a:lnTo>
                    <a:pt x="808" y="815"/>
                  </a:lnTo>
                  <a:lnTo>
                    <a:pt x="803" y="815"/>
                  </a:lnTo>
                  <a:lnTo>
                    <a:pt x="801" y="817"/>
                  </a:lnTo>
                  <a:lnTo>
                    <a:pt x="794" y="822"/>
                  </a:lnTo>
                  <a:lnTo>
                    <a:pt x="791" y="822"/>
                  </a:lnTo>
                  <a:lnTo>
                    <a:pt x="787" y="817"/>
                  </a:lnTo>
                  <a:lnTo>
                    <a:pt x="782" y="815"/>
                  </a:lnTo>
                  <a:lnTo>
                    <a:pt x="768" y="815"/>
                  </a:lnTo>
                  <a:lnTo>
                    <a:pt x="761" y="817"/>
                  </a:lnTo>
                  <a:lnTo>
                    <a:pt x="758" y="822"/>
                  </a:lnTo>
                  <a:lnTo>
                    <a:pt x="758" y="829"/>
                  </a:lnTo>
                  <a:lnTo>
                    <a:pt x="754" y="829"/>
                  </a:lnTo>
                  <a:lnTo>
                    <a:pt x="754" y="824"/>
                  </a:lnTo>
                  <a:lnTo>
                    <a:pt x="751" y="822"/>
                  </a:lnTo>
                  <a:lnTo>
                    <a:pt x="742" y="822"/>
                  </a:lnTo>
                  <a:lnTo>
                    <a:pt x="742" y="824"/>
                  </a:lnTo>
                  <a:lnTo>
                    <a:pt x="721" y="824"/>
                  </a:lnTo>
                  <a:lnTo>
                    <a:pt x="721" y="829"/>
                  </a:lnTo>
                  <a:lnTo>
                    <a:pt x="718" y="831"/>
                  </a:lnTo>
                  <a:lnTo>
                    <a:pt x="714" y="836"/>
                  </a:lnTo>
                  <a:lnTo>
                    <a:pt x="706" y="838"/>
                  </a:lnTo>
                  <a:lnTo>
                    <a:pt x="702" y="836"/>
                  </a:lnTo>
                  <a:lnTo>
                    <a:pt x="695" y="836"/>
                  </a:lnTo>
                  <a:lnTo>
                    <a:pt x="695" y="831"/>
                  </a:lnTo>
                  <a:lnTo>
                    <a:pt x="690" y="829"/>
                  </a:lnTo>
                  <a:lnTo>
                    <a:pt x="690" y="822"/>
                  </a:lnTo>
                  <a:lnTo>
                    <a:pt x="688" y="817"/>
                  </a:lnTo>
                  <a:lnTo>
                    <a:pt x="685" y="817"/>
                  </a:lnTo>
                  <a:lnTo>
                    <a:pt x="688" y="817"/>
                  </a:lnTo>
                  <a:lnTo>
                    <a:pt x="688" y="822"/>
                  </a:lnTo>
                  <a:lnTo>
                    <a:pt x="690" y="822"/>
                  </a:lnTo>
                  <a:lnTo>
                    <a:pt x="688" y="824"/>
                  </a:lnTo>
                  <a:lnTo>
                    <a:pt x="688" y="848"/>
                  </a:lnTo>
                  <a:lnTo>
                    <a:pt x="685" y="848"/>
                  </a:lnTo>
                  <a:lnTo>
                    <a:pt x="680" y="852"/>
                  </a:lnTo>
                  <a:lnTo>
                    <a:pt x="673" y="855"/>
                  </a:lnTo>
                  <a:lnTo>
                    <a:pt x="666" y="855"/>
                  </a:lnTo>
                  <a:lnTo>
                    <a:pt x="654" y="841"/>
                  </a:lnTo>
                  <a:lnTo>
                    <a:pt x="647" y="845"/>
                  </a:lnTo>
                  <a:lnTo>
                    <a:pt x="650" y="845"/>
                  </a:lnTo>
                  <a:lnTo>
                    <a:pt x="657" y="852"/>
                  </a:lnTo>
                  <a:lnTo>
                    <a:pt x="654" y="855"/>
                  </a:lnTo>
                  <a:lnTo>
                    <a:pt x="647" y="857"/>
                  </a:lnTo>
                  <a:lnTo>
                    <a:pt x="640" y="857"/>
                  </a:lnTo>
                  <a:lnTo>
                    <a:pt x="633" y="855"/>
                  </a:lnTo>
                  <a:lnTo>
                    <a:pt x="633" y="852"/>
                  </a:lnTo>
                  <a:lnTo>
                    <a:pt x="638" y="848"/>
                  </a:lnTo>
                  <a:lnTo>
                    <a:pt x="640" y="848"/>
                  </a:lnTo>
                  <a:lnTo>
                    <a:pt x="640" y="845"/>
                  </a:lnTo>
                  <a:lnTo>
                    <a:pt x="638" y="845"/>
                  </a:lnTo>
                  <a:lnTo>
                    <a:pt x="633" y="848"/>
                  </a:lnTo>
                  <a:lnTo>
                    <a:pt x="621" y="852"/>
                  </a:lnTo>
                  <a:lnTo>
                    <a:pt x="614" y="852"/>
                  </a:lnTo>
                  <a:lnTo>
                    <a:pt x="614" y="855"/>
                  </a:lnTo>
                  <a:lnTo>
                    <a:pt x="607" y="855"/>
                  </a:lnTo>
                  <a:lnTo>
                    <a:pt x="600" y="852"/>
                  </a:lnTo>
                  <a:lnTo>
                    <a:pt x="593" y="852"/>
                  </a:lnTo>
                  <a:lnTo>
                    <a:pt x="593" y="848"/>
                  </a:lnTo>
                  <a:lnTo>
                    <a:pt x="593" y="852"/>
                  </a:lnTo>
                  <a:lnTo>
                    <a:pt x="598" y="855"/>
                  </a:lnTo>
                  <a:lnTo>
                    <a:pt x="588" y="855"/>
                  </a:lnTo>
                  <a:lnTo>
                    <a:pt x="574" y="862"/>
                  </a:lnTo>
                  <a:lnTo>
                    <a:pt x="569" y="871"/>
                  </a:lnTo>
                  <a:lnTo>
                    <a:pt x="577" y="871"/>
                  </a:lnTo>
                  <a:lnTo>
                    <a:pt x="581" y="876"/>
                  </a:lnTo>
                  <a:lnTo>
                    <a:pt x="588" y="881"/>
                  </a:lnTo>
                  <a:lnTo>
                    <a:pt x="588" y="895"/>
                  </a:lnTo>
                  <a:lnTo>
                    <a:pt x="591" y="895"/>
                  </a:lnTo>
                  <a:lnTo>
                    <a:pt x="591" y="902"/>
                  </a:lnTo>
                  <a:lnTo>
                    <a:pt x="588" y="909"/>
                  </a:lnTo>
                  <a:lnTo>
                    <a:pt x="569" y="914"/>
                  </a:lnTo>
                  <a:lnTo>
                    <a:pt x="560" y="914"/>
                  </a:lnTo>
                  <a:lnTo>
                    <a:pt x="558" y="912"/>
                  </a:lnTo>
                  <a:lnTo>
                    <a:pt x="553" y="912"/>
                  </a:lnTo>
                  <a:lnTo>
                    <a:pt x="551" y="909"/>
                  </a:lnTo>
                  <a:lnTo>
                    <a:pt x="543" y="912"/>
                  </a:lnTo>
                  <a:lnTo>
                    <a:pt x="541" y="914"/>
                  </a:lnTo>
                  <a:lnTo>
                    <a:pt x="541" y="912"/>
                  </a:lnTo>
                  <a:lnTo>
                    <a:pt x="536" y="912"/>
                  </a:lnTo>
                  <a:lnTo>
                    <a:pt x="536" y="909"/>
                  </a:lnTo>
                  <a:lnTo>
                    <a:pt x="534" y="914"/>
                  </a:lnTo>
                  <a:lnTo>
                    <a:pt x="534" y="919"/>
                  </a:lnTo>
                  <a:lnTo>
                    <a:pt x="527" y="919"/>
                  </a:lnTo>
                  <a:lnTo>
                    <a:pt x="527" y="914"/>
                  </a:lnTo>
                  <a:lnTo>
                    <a:pt x="513" y="914"/>
                  </a:lnTo>
                  <a:lnTo>
                    <a:pt x="513" y="919"/>
                  </a:lnTo>
                  <a:lnTo>
                    <a:pt x="525" y="919"/>
                  </a:lnTo>
                  <a:lnTo>
                    <a:pt x="525" y="921"/>
                  </a:lnTo>
                  <a:lnTo>
                    <a:pt x="510" y="928"/>
                  </a:lnTo>
                  <a:lnTo>
                    <a:pt x="503" y="928"/>
                  </a:lnTo>
                  <a:lnTo>
                    <a:pt x="503" y="921"/>
                  </a:lnTo>
                  <a:lnTo>
                    <a:pt x="496" y="926"/>
                  </a:lnTo>
                  <a:lnTo>
                    <a:pt x="491" y="926"/>
                  </a:lnTo>
                  <a:lnTo>
                    <a:pt x="491" y="921"/>
                  </a:lnTo>
                  <a:lnTo>
                    <a:pt x="484" y="921"/>
                  </a:lnTo>
                  <a:lnTo>
                    <a:pt x="484" y="919"/>
                  </a:lnTo>
                  <a:lnTo>
                    <a:pt x="480" y="914"/>
                  </a:lnTo>
                  <a:lnTo>
                    <a:pt x="480" y="912"/>
                  </a:lnTo>
                  <a:lnTo>
                    <a:pt x="477" y="912"/>
                  </a:lnTo>
                  <a:lnTo>
                    <a:pt x="470" y="914"/>
                  </a:lnTo>
                  <a:lnTo>
                    <a:pt x="468" y="919"/>
                  </a:lnTo>
                  <a:lnTo>
                    <a:pt x="456" y="919"/>
                  </a:lnTo>
                  <a:lnTo>
                    <a:pt x="451" y="921"/>
                  </a:lnTo>
                  <a:lnTo>
                    <a:pt x="444" y="921"/>
                  </a:lnTo>
                  <a:lnTo>
                    <a:pt x="444" y="909"/>
                  </a:lnTo>
                  <a:lnTo>
                    <a:pt x="439" y="909"/>
                  </a:lnTo>
                  <a:lnTo>
                    <a:pt x="430" y="914"/>
                  </a:lnTo>
                  <a:lnTo>
                    <a:pt x="423" y="921"/>
                  </a:lnTo>
                  <a:lnTo>
                    <a:pt x="423" y="919"/>
                  </a:lnTo>
                  <a:lnTo>
                    <a:pt x="421" y="919"/>
                  </a:lnTo>
                  <a:lnTo>
                    <a:pt x="421" y="914"/>
                  </a:lnTo>
                  <a:lnTo>
                    <a:pt x="414" y="914"/>
                  </a:lnTo>
                  <a:lnTo>
                    <a:pt x="411" y="912"/>
                  </a:lnTo>
                  <a:lnTo>
                    <a:pt x="406" y="919"/>
                  </a:lnTo>
                  <a:lnTo>
                    <a:pt x="404" y="919"/>
                  </a:lnTo>
                  <a:lnTo>
                    <a:pt x="404" y="909"/>
                  </a:lnTo>
                  <a:lnTo>
                    <a:pt x="383" y="912"/>
                  </a:lnTo>
                  <a:lnTo>
                    <a:pt x="380" y="912"/>
                  </a:lnTo>
                  <a:lnTo>
                    <a:pt x="383" y="914"/>
                  </a:lnTo>
                  <a:lnTo>
                    <a:pt x="388" y="914"/>
                  </a:lnTo>
                  <a:lnTo>
                    <a:pt x="388" y="919"/>
                  </a:lnTo>
                  <a:lnTo>
                    <a:pt x="376" y="926"/>
                  </a:lnTo>
                  <a:lnTo>
                    <a:pt x="371" y="928"/>
                  </a:lnTo>
                  <a:lnTo>
                    <a:pt x="359" y="933"/>
                  </a:lnTo>
                  <a:lnTo>
                    <a:pt x="357" y="926"/>
                  </a:lnTo>
                  <a:lnTo>
                    <a:pt x="347" y="926"/>
                  </a:lnTo>
                  <a:lnTo>
                    <a:pt x="347" y="919"/>
                  </a:lnTo>
                  <a:lnTo>
                    <a:pt x="340" y="921"/>
                  </a:lnTo>
                  <a:lnTo>
                    <a:pt x="331" y="926"/>
                  </a:lnTo>
                  <a:lnTo>
                    <a:pt x="324" y="926"/>
                  </a:lnTo>
                  <a:lnTo>
                    <a:pt x="324" y="909"/>
                  </a:lnTo>
                  <a:lnTo>
                    <a:pt x="319" y="909"/>
                  </a:lnTo>
                  <a:lnTo>
                    <a:pt x="307" y="914"/>
                  </a:lnTo>
                  <a:lnTo>
                    <a:pt x="307" y="919"/>
                  </a:lnTo>
                  <a:lnTo>
                    <a:pt x="310" y="921"/>
                  </a:lnTo>
                  <a:lnTo>
                    <a:pt x="307" y="926"/>
                  </a:lnTo>
                  <a:lnTo>
                    <a:pt x="302" y="926"/>
                  </a:lnTo>
                  <a:lnTo>
                    <a:pt x="298" y="919"/>
                  </a:lnTo>
                  <a:lnTo>
                    <a:pt x="300" y="914"/>
                  </a:lnTo>
                  <a:lnTo>
                    <a:pt x="300" y="909"/>
                  </a:lnTo>
                  <a:lnTo>
                    <a:pt x="284" y="909"/>
                  </a:lnTo>
                  <a:lnTo>
                    <a:pt x="279" y="904"/>
                  </a:lnTo>
                  <a:lnTo>
                    <a:pt x="279" y="909"/>
                  </a:lnTo>
                  <a:lnTo>
                    <a:pt x="284" y="909"/>
                  </a:lnTo>
                  <a:lnTo>
                    <a:pt x="286" y="912"/>
                  </a:lnTo>
                  <a:lnTo>
                    <a:pt x="291" y="912"/>
                  </a:lnTo>
                  <a:lnTo>
                    <a:pt x="291" y="914"/>
                  </a:lnTo>
                  <a:lnTo>
                    <a:pt x="286" y="919"/>
                  </a:lnTo>
                  <a:lnTo>
                    <a:pt x="284" y="919"/>
                  </a:lnTo>
                  <a:lnTo>
                    <a:pt x="279" y="914"/>
                  </a:lnTo>
                  <a:lnTo>
                    <a:pt x="276" y="909"/>
                  </a:lnTo>
                  <a:lnTo>
                    <a:pt x="276" y="912"/>
                  </a:lnTo>
                  <a:lnTo>
                    <a:pt x="269" y="912"/>
                  </a:lnTo>
                  <a:lnTo>
                    <a:pt x="269" y="904"/>
                  </a:lnTo>
                  <a:lnTo>
                    <a:pt x="262" y="902"/>
                  </a:lnTo>
                  <a:lnTo>
                    <a:pt x="260" y="904"/>
                  </a:lnTo>
                  <a:lnTo>
                    <a:pt x="246" y="904"/>
                  </a:lnTo>
                  <a:lnTo>
                    <a:pt x="243" y="909"/>
                  </a:lnTo>
                  <a:lnTo>
                    <a:pt x="246" y="912"/>
                  </a:lnTo>
                  <a:lnTo>
                    <a:pt x="246" y="909"/>
                  </a:lnTo>
                  <a:lnTo>
                    <a:pt x="258" y="909"/>
                  </a:lnTo>
                  <a:lnTo>
                    <a:pt x="258" y="914"/>
                  </a:lnTo>
                  <a:lnTo>
                    <a:pt x="260" y="921"/>
                  </a:lnTo>
                  <a:lnTo>
                    <a:pt x="253" y="921"/>
                  </a:lnTo>
                  <a:lnTo>
                    <a:pt x="253" y="919"/>
                  </a:lnTo>
                  <a:lnTo>
                    <a:pt x="246" y="926"/>
                  </a:lnTo>
                  <a:lnTo>
                    <a:pt x="258" y="926"/>
                  </a:lnTo>
                  <a:lnTo>
                    <a:pt x="260" y="928"/>
                  </a:lnTo>
                  <a:lnTo>
                    <a:pt x="253" y="928"/>
                  </a:lnTo>
                  <a:lnTo>
                    <a:pt x="246" y="926"/>
                  </a:lnTo>
                  <a:lnTo>
                    <a:pt x="246" y="921"/>
                  </a:lnTo>
                  <a:lnTo>
                    <a:pt x="236" y="921"/>
                  </a:lnTo>
                  <a:lnTo>
                    <a:pt x="234" y="926"/>
                  </a:lnTo>
                  <a:lnTo>
                    <a:pt x="229" y="928"/>
                  </a:lnTo>
                  <a:lnTo>
                    <a:pt x="229" y="921"/>
                  </a:lnTo>
                  <a:lnTo>
                    <a:pt x="234" y="919"/>
                  </a:lnTo>
                  <a:lnTo>
                    <a:pt x="243" y="919"/>
                  </a:lnTo>
                  <a:lnTo>
                    <a:pt x="243" y="914"/>
                  </a:lnTo>
                  <a:lnTo>
                    <a:pt x="239" y="912"/>
                  </a:lnTo>
                  <a:lnTo>
                    <a:pt x="234" y="914"/>
                  </a:lnTo>
                  <a:lnTo>
                    <a:pt x="234" y="919"/>
                  </a:lnTo>
                  <a:lnTo>
                    <a:pt x="227" y="921"/>
                  </a:lnTo>
                  <a:lnTo>
                    <a:pt x="227" y="926"/>
                  </a:lnTo>
                  <a:lnTo>
                    <a:pt x="222" y="926"/>
                  </a:lnTo>
                  <a:lnTo>
                    <a:pt x="220" y="921"/>
                  </a:lnTo>
                  <a:lnTo>
                    <a:pt x="222" y="921"/>
                  </a:lnTo>
                  <a:lnTo>
                    <a:pt x="222" y="919"/>
                  </a:lnTo>
                  <a:lnTo>
                    <a:pt x="220" y="914"/>
                  </a:lnTo>
                  <a:lnTo>
                    <a:pt x="217" y="919"/>
                  </a:lnTo>
                  <a:lnTo>
                    <a:pt x="213" y="919"/>
                  </a:lnTo>
                  <a:lnTo>
                    <a:pt x="210" y="914"/>
                  </a:lnTo>
                  <a:lnTo>
                    <a:pt x="206" y="914"/>
                  </a:lnTo>
                  <a:lnTo>
                    <a:pt x="206" y="912"/>
                  </a:lnTo>
                  <a:lnTo>
                    <a:pt x="196" y="909"/>
                  </a:lnTo>
                  <a:lnTo>
                    <a:pt x="189" y="904"/>
                  </a:lnTo>
                  <a:lnTo>
                    <a:pt x="182" y="909"/>
                  </a:lnTo>
                  <a:lnTo>
                    <a:pt x="173" y="914"/>
                  </a:lnTo>
                  <a:lnTo>
                    <a:pt x="163" y="914"/>
                  </a:lnTo>
                  <a:lnTo>
                    <a:pt x="165" y="912"/>
                  </a:lnTo>
                  <a:lnTo>
                    <a:pt x="173" y="909"/>
                  </a:lnTo>
                  <a:lnTo>
                    <a:pt x="182" y="902"/>
                  </a:lnTo>
                  <a:lnTo>
                    <a:pt x="182" y="895"/>
                  </a:lnTo>
                  <a:lnTo>
                    <a:pt x="180" y="895"/>
                  </a:lnTo>
                  <a:lnTo>
                    <a:pt x="180" y="893"/>
                  </a:lnTo>
                  <a:lnTo>
                    <a:pt x="173" y="888"/>
                  </a:lnTo>
                  <a:lnTo>
                    <a:pt x="165" y="888"/>
                  </a:lnTo>
                  <a:lnTo>
                    <a:pt x="165" y="893"/>
                  </a:lnTo>
                  <a:lnTo>
                    <a:pt x="156" y="893"/>
                  </a:lnTo>
                  <a:lnTo>
                    <a:pt x="149" y="888"/>
                  </a:lnTo>
                  <a:lnTo>
                    <a:pt x="147" y="886"/>
                  </a:lnTo>
                  <a:lnTo>
                    <a:pt x="139" y="888"/>
                  </a:lnTo>
                  <a:lnTo>
                    <a:pt x="132" y="893"/>
                  </a:lnTo>
                  <a:lnTo>
                    <a:pt x="130" y="888"/>
                  </a:lnTo>
                  <a:lnTo>
                    <a:pt x="137" y="881"/>
                  </a:lnTo>
                  <a:lnTo>
                    <a:pt x="132" y="881"/>
                  </a:lnTo>
                  <a:lnTo>
                    <a:pt x="130" y="878"/>
                  </a:lnTo>
                  <a:lnTo>
                    <a:pt x="130" y="886"/>
                  </a:lnTo>
                  <a:lnTo>
                    <a:pt x="123" y="886"/>
                  </a:lnTo>
                  <a:lnTo>
                    <a:pt x="121" y="881"/>
                  </a:lnTo>
                  <a:lnTo>
                    <a:pt x="121" y="878"/>
                  </a:lnTo>
                  <a:lnTo>
                    <a:pt x="123" y="878"/>
                  </a:lnTo>
                  <a:lnTo>
                    <a:pt x="123" y="871"/>
                  </a:lnTo>
                  <a:lnTo>
                    <a:pt x="121" y="871"/>
                  </a:lnTo>
                  <a:lnTo>
                    <a:pt x="116" y="876"/>
                  </a:lnTo>
                  <a:lnTo>
                    <a:pt x="109" y="876"/>
                  </a:lnTo>
                  <a:lnTo>
                    <a:pt x="99" y="871"/>
                  </a:lnTo>
                  <a:lnTo>
                    <a:pt x="92" y="862"/>
                  </a:lnTo>
                  <a:lnTo>
                    <a:pt x="102" y="855"/>
                  </a:lnTo>
                  <a:lnTo>
                    <a:pt x="109" y="852"/>
                  </a:lnTo>
                  <a:lnTo>
                    <a:pt x="113" y="855"/>
                  </a:lnTo>
                  <a:lnTo>
                    <a:pt x="113" y="864"/>
                  </a:lnTo>
                  <a:lnTo>
                    <a:pt x="116" y="864"/>
                  </a:lnTo>
                  <a:lnTo>
                    <a:pt x="116" y="848"/>
                  </a:lnTo>
                  <a:lnTo>
                    <a:pt x="109" y="841"/>
                  </a:lnTo>
                  <a:lnTo>
                    <a:pt x="106" y="841"/>
                  </a:lnTo>
                  <a:lnTo>
                    <a:pt x="97" y="845"/>
                  </a:lnTo>
                  <a:lnTo>
                    <a:pt x="90" y="852"/>
                  </a:lnTo>
                  <a:lnTo>
                    <a:pt x="80" y="855"/>
                  </a:lnTo>
                  <a:lnTo>
                    <a:pt x="69" y="855"/>
                  </a:lnTo>
                  <a:lnTo>
                    <a:pt x="69" y="852"/>
                  </a:lnTo>
                  <a:lnTo>
                    <a:pt x="66" y="848"/>
                  </a:lnTo>
                  <a:lnTo>
                    <a:pt x="66" y="855"/>
                  </a:lnTo>
                  <a:lnTo>
                    <a:pt x="64" y="857"/>
                  </a:lnTo>
                  <a:lnTo>
                    <a:pt x="64" y="862"/>
                  </a:lnTo>
                  <a:lnTo>
                    <a:pt x="59" y="862"/>
                  </a:lnTo>
                  <a:lnTo>
                    <a:pt x="57" y="857"/>
                  </a:lnTo>
                  <a:lnTo>
                    <a:pt x="57" y="855"/>
                  </a:lnTo>
                  <a:lnTo>
                    <a:pt x="59" y="852"/>
                  </a:lnTo>
                  <a:lnTo>
                    <a:pt x="59" y="848"/>
                  </a:lnTo>
                  <a:lnTo>
                    <a:pt x="52" y="852"/>
                  </a:lnTo>
                  <a:lnTo>
                    <a:pt x="50" y="855"/>
                  </a:lnTo>
                  <a:lnTo>
                    <a:pt x="45" y="855"/>
                  </a:lnTo>
                  <a:lnTo>
                    <a:pt x="43" y="845"/>
                  </a:lnTo>
                  <a:lnTo>
                    <a:pt x="43" y="841"/>
                  </a:lnTo>
                  <a:lnTo>
                    <a:pt x="45" y="838"/>
                  </a:lnTo>
                  <a:lnTo>
                    <a:pt x="50" y="838"/>
                  </a:lnTo>
                  <a:lnTo>
                    <a:pt x="52" y="831"/>
                  </a:lnTo>
                  <a:lnTo>
                    <a:pt x="57" y="824"/>
                  </a:lnTo>
                  <a:lnTo>
                    <a:pt x="57" y="822"/>
                  </a:lnTo>
                  <a:lnTo>
                    <a:pt x="52" y="822"/>
                  </a:lnTo>
                  <a:lnTo>
                    <a:pt x="50" y="824"/>
                  </a:lnTo>
                  <a:lnTo>
                    <a:pt x="45" y="824"/>
                  </a:lnTo>
                  <a:lnTo>
                    <a:pt x="45" y="829"/>
                  </a:lnTo>
                  <a:lnTo>
                    <a:pt x="43" y="836"/>
                  </a:lnTo>
                  <a:lnTo>
                    <a:pt x="33" y="848"/>
                  </a:lnTo>
                  <a:lnTo>
                    <a:pt x="33" y="841"/>
                  </a:lnTo>
                  <a:lnTo>
                    <a:pt x="24" y="841"/>
                  </a:lnTo>
                  <a:lnTo>
                    <a:pt x="24" y="829"/>
                  </a:lnTo>
                  <a:lnTo>
                    <a:pt x="26" y="829"/>
                  </a:lnTo>
                  <a:lnTo>
                    <a:pt x="28" y="822"/>
                  </a:lnTo>
                  <a:lnTo>
                    <a:pt x="28" y="815"/>
                  </a:lnTo>
                  <a:lnTo>
                    <a:pt x="26" y="812"/>
                  </a:lnTo>
                  <a:lnTo>
                    <a:pt x="24" y="812"/>
                  </a:lnTo>
                  <a:lnTo>
                    <a:pt x="19" y="817"/>
                  </a:lnTo>
                  <a:lnTo>
                    <a:pt x="17" y="817"/>
                  </a:lnTo>
                  <a:lnTo>
                    <a:pt x="17" y="822"/>
                  </a:lnTo>
                  <a:lnTo>
                    <a:pt x="19" y="822"/>
                  </a:lnTo>
                  <a:lnTo>
                    <a:pt x="19" y="829"/>
                  </a:lnTo>
                  <a:lnTo>
                    <a:pt x="0" y="829"/>
                  </a:lnTo>
                  <a:lnTo>
                    <a:pt x="0" y="822"/>
                  </a:lnTo>
                  <a:lnTo>
                    <a:pt x="10" y="822"/>
                  </a:lnTo>
                  <a:lnTo>
                    <a:pt x="24" y="808"/>
                  </a:lnTo>
                  <a:lnTo>
                    <a:pt x="26" y="808"/>
                  </a:lnTo>
                  <a:lnTo>
                    <a:pt x="28" y="812"/>
                  </a:lnTo>
                  <a:lnTo>
                    <a:pt x="33" y="812"/>
                  </a:lnTo>
                  <a:lnTo>
                    <a:pt x="36" y="817"/>
                  </a:lnTo>
                  <a:lnTo>
                    <a:pt x="43" y="817"/>
                  </a:lnTo>
                  <a:lnTo>
                    <a:pt x="45" y="815"/>
                  </a:lnTo>
                  <a:lnTo>
                    <a:pt x="50" y="817"/>
                  </a:lnTo>
                  <a:lnTo>
                    <a:pt x="59" y="817"/>
                  </a:lnTo>
                  <a:lnTo>
                    <a:pt x="59" y="824"/>
                  </a:lnTo>
                  <a:lnTo>
                    <a:pt x="64" y="824"/>
                  </a:lnTo>
                  <a:lnTo>
                    <a:pt x="69" y="817"/>
                  </a:lnTo>
                  <a:lnTo>
                    <a:pt x="73" y="815"/>
                  </a:lnTo>
                  <a:lnTo>
                    <a:pt x="106" y="815"/>
                  </a:lnTo>
                  <a:lnTo>
                    <a:pt x="121" y="817"/>
                  </a:lnTo>
                  <a:lnTo>
                    <a:pt x="123" y="817"/>
                  </a:lnTo>
                  <a:lnTo>
                    <a:pt x="139" y="829"/>
                  </a:lnTo>
                  <a:lnTo>
                    <a:pt x="142" y="836"/>
                  </a:lnTo>
                  <a:lnTo>
                    <a:pt x="147" y="841"/>
                  </a:lnTo>
                  <a:lnTo>
                    <a:pt x="147" y="845"/>
                  </a:lnTo>
                  <a:lnTo>
                    <a:pt x="142" y="852"/>
                  </a:lnTo>
                  <a:lnTo>
                    <a:pt x="139" y="857"/>
                  </a:lnTo>
                  <a:lnTo>
                    <a:pt x="139" y="864"/>
                  </a:lnTo>
                  <a:lnTo>
                    <a:pt x="142" y="871"/>
                  </a:lnTo>
                  <a:lnTo>
                    <a:pt x="147" y="869"/>
                  </a:lnTo>
                  <a:lnTo>
                    <a:pt x="147" y="862"/>
                  </a:lnTo>
                  <a:lnTo>
                    <a:pt x="149" y="855"/>
                  </a:lnTo>
                  <a:lnTo>
                    <a:pt x="154" y="855"/>
                  </a:lnTo>
                  <a:lnTo>
                    <a:pt x="154" y="862"/>
                  </a:lnTo>
                  <a:lnTo>
                    <a:pt x="156" y="864"/>
                  </a:lnTo>
                  <a:lnTo>
                    <a:pt x="161" y="864"/>
                  </a:lnTo>
                  <a:lnTo>
                    <a:pt x="161" y="869"/>
                  </a:lnTo>
                  <a:lnTo>
                    <a:pt x="156" y="871"/>
                  </a:lnTo>
                  <a:lnTo>
                    <a:pt x="161" y="881"/>
                  </a:lnTo>
                  <a:lnTo>
                    <a:pt x="165" y="878"/>
                  </a:lnTo>
                  <a:lnTo>
                    <a:pt x="163" y="871"/>
                  </a:lnTo>
                  <a:lnTo>
                    <a:pt x="163" y="862"/>
                  </a:lnTo>
                  <a:lnTo>
                    <a:pt x="165" y="855"/>
                  </a:lnTo>
                  <a:lnTo>
                    <a:pt x="180" y="848"/>
                  </a:lnTo>
                  <a:lnTo>
                    <a:pt x="187" y="848"/>
                  </a:lnTo>
                  <a:lnTo>
                    <a:pt x="189" y="845"/>
                  </a:lnTo>
                  <a:lnTo>
                    <a:pt x="210" y="845"/>
                  </a:lnTo>
                  <a:lnTo>
                    <a:pt x="213" y="848"/>
                  </a:lnTo>
                  <a:lnTo>
                    <a:pt x="234" y="848"/>
                  </a:lnTo>
                  <a:lnTo>
                    <a:pt x="239" y="852"/>
                  </a:lnTo>
                  <a:lnTo>
                    <a:pt x="243" y="855"/>
                  </a:lnTo>
                  <a:lnTo>
                    <a:pt x="246" y="855"/>
                  </a:lnTo>
                  <a:lnTo>
                    <a:pt x="253" y="857"/>
                  </a:lnTo>
                  <a:lnTo>
                    <a:pt x="258" y="857"/>
                  </a:lnTo>
                  <a:lnTo>
                    <a:pt x="258" y="855"/>
                  </a:lnTo>
                  <a:lnTo>
                    <a:pt x="262" y="855"/>
                  </a:lnTo>
                  <a:lnTo>
                    <a:pt x="269" y="857"/>
                  </a:lnTo>
                  <a:lnTo>
                    <a:pt x="269" y="862"/>
                  </a:lnTo>
                  <a:lnTo>
                    <a:pt x="274" y="869"/>
                  </a:lnTo>
                  <a:lnTo>
                    <a:pt x="279" y="876"/>
                  </a:lnTo>
                  <a:lnTo>
                    <a:pt x="284" y="869"/>
                  </a:lnTo>
                  <a:lnTo>
                    <a:pt x="284" y="864"/>
                  </a:lnTo>
                  <a:lnTo>
                    <a:pt x="291" y="857"/>
                  </a:lnTo>
                  <a:lnTo>
                    <a:pt x="293" y="857"/>
                  </a:lnTo>
                  <a:lnTo>
                    <a:pt x="298" y="855"/>
                  </a:lnTo>
                  <a:lnTo>
                    <a:pt x="300" y="855"/>
                  </a:lnTo>
                  <a:lnTo>
                    <a:pt x="317" y="852"/>
                  </a:lnTo>
                  <a:lnTo>
                    <a:pt x="333" y="852"/>
                  </a:lnTo>
                  <a:lnTo>
                    <a:pt x="336" y="85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3" name="Freeform 137">
              <a:extLst>
                <a:ext uri="{FF2B5EF4-FFF2-40B4-BE49-F238E27FC236}">
                  <a16:creationId xmlns:a16="http://schemas.microsoft.com/office/drawing/2014/main" id="{2C5A6BE0-81F9-4017-BC66-1E5F9F1B7A9A}"/>
                </a:ext>
              </a:extLst>
            </p:cNvPr>
            <p:cNvSpPr>
              <a:spLocks/>
            </p:cNvSpPr>
            <p:nvPr/>
          </p:nvSpPr>
          <p:spPr bwMode="gray">
            <a:xfrm rot="47099">
              <a:off x="309288" y="1675219"/>
              <a:ext cx="448869" cy="430314"/>
            </a:xfrm>
            <a:custGeom>
              <a:avLst/>
              <a:gdLst>
                <a:gd name="T0" fmla="*/ 56 w 966"/>
                <a:gd name="T1" fmla="*/ 912 h 926"/>
                <a:gd name="T2" fmla="*/ 111 w 966"/>
                <a:gd name="T3" fmla="*/ 893 h 926"/>
                <a:gd name="T4" fmla="*/ 186 w 966"/>
                <a:gd name="T5" fmla="*/ 839 h 926"/>
                <a:gd name="T6" fmla="*/ 106 w 966"/>
                <a:gd name="T7" fmla="*/ 822 h 926"/>
                <a:gd name="T8" fmla="*/ 141 w 966"/>
                <a:gd name="T9" fmla="*/ 808 h 926"/>
                <a:gd name="T10" fmla="*/ 113 w 966"/>
                <a:gd name="T11" fmla="*/ 784 h 926"/>
                <a:gd name="T12" fmla="*/ 73 w 966"/>
                <a:gd name="T13" fmla="*/ 817 h 926"/>
                <a:gd name="T14" fmla="*/ 70 w 966"/>
                <a:gd name="T15" fmla="*/ 756 h 926"/>
                <a:gd name="T16" fmla="*/ 37 w 966"/>
                <a:gd name="T17" fmla="*/ 716 h 926"/>
                <a:gd name="T18" fmla="*/ 23 w 966"/>
                <a:gd name="T19" fmla="*/ 699 h 926"/>
                <a:gd name="T20" fmla="*/ 37 w 966"/>
                <a:gd name="T21" fmla="*/ 678 h 926"/>
                <a:gd name="T22" fmla="*/ 96 w 966"/>
                <a:gd name="T23" fmla="*/ 607 h 926"/>
                <a:gd name="T24" fmla="*/ 158 w 966"/>
                <a:gd name="T25" fmla="*/ 579 h 926"/>
                <a:gd name="T26" fmla="*/ 70 w 966"/>
                <a:gd name="T27" fmla="*/ 588 h 926"/>
                <a:gd name="T28" fmla="*/ 47 w 966"/>
                <a:gd name="T29" fmla="*/ 543 h 926"/>
                <a:gd name="T30" fmla="*/ 70 w 966"/>
                <a:gd name="T31" fmla="*/ 482 h 926"/>
                <a:gd name="T32" fmla="*/ 101 w 966"/>
                <a:gd name="T33" fmla="*/ 470 h 926"/>
                <a:gd name="T34" fmla="*/ 106 w 966"/>
                <a:gd name="T35" fmla="*/ 501 h 926"/>
                <a:gd name="T36" fmla="*/ 120 w 966"/>
                <a:gd name="T37" fmla="*/ 508 h 926"/>
                <a:gd name="T38" fmla="*/ 104 w 966"/>
                <a:gd name="T39" fmla="*/ 477 h 926"/>
                <a:gd name="T40" fmla="*/ 106 w 966"/>
                <a:gd name="T41" fmla="*/ 446 h 926"/>
                <a:gd name="T42" fmla="*/ 158 w 966"/>
                <a:gd name="T43" fmla="*/ 435 h 926"/>
                <a:gd name="T44" fmla="*/ 96 w 966"/>
                <a:gd name="T45" fmla="*/ 430 h 926"/>
                <a:gd name="T46" fmla="*/ 118 w 966"/>
                <a:gd name="T47" fmla="*/ 390 h 926"/>
                <a:gd name="T48" fmla="*/ 158 w 966"/>
                <a:gd name="T49" fmla="*/ 380 h 926"/>
                <a:gd name="T50" fmla="*/ 224 w 966"/>
                <a:gd name="T51" fmla="*/ 385 h 926"/>
                <a:gd name="T52" fmla="*/ 267 w 966"/>
                <a:gd name="T53" fmla="*/ 354 h 926"/>
                <a:gd name="T54" fmla="*/ 295 w 966"/>
                <a:gd name="T55" fmla="*/ 357 h 926"/>
                <a:gd name="T56" fmla="*/ 361 w 966"/>
                <a:gd name="T57" fmla="*/ 402 h 926"/>
                <a:gd name="T58" fmla="*/ 411 w 966"/>
                <a:gd name="T59" fmla="*/ 430 h 926"/>
                <a:gd name="T60" fmla="*/ 444 w 966"/>
                <a:gd name="T61" fmla="*/ 371 h 926"/>
                <a:gd name="T62" fmla="*/ 489 w 966"/>
                <a:gd name="T63" fmla="*/ 354 h 926"/>
                <a:gd name="T64" fmla="*/ 451 w 966"/>
                <a:gd name="T65" fmla="*/ 340 h 926"/>
                <a:gd name="T66" fmla="*/ 415 w 966"/>
                <a:gd name="T67" fmla="*/ 317 h 926"/>
                <a:gd name="T68" fmla="*/ 392 w 966"/>
                <a:gd name="T69" fmla="*/ 276 h 926"/>
                <a:gd name="T70" fmla="*/ 363 w 966"/>
                <a:gd name="T71" fmla="*/ 241 h 926"/>
                <a:gd name="T72" fmla="*/ 380 w 966"/>
                <a:gd name="T73" fmla="*/ 184 h 926"/>
                <a:gd name="T74" fmla="*/ 401 w 966"/>
                <a:gd name="T75" fmla="*/ 184 h 926"/>
                <a:gd name="T76" fmla="*/ 404 w 966"/>
                <a:gd name="T77" fmla="*/ 151 h 926"/>
                <a:gd name="T78" fmla="*/ 415 w 966"/>
                <a:gd name="T79" fmla="*/ 113 h 926"/>
                <a:gd name="T80" fmla="*/ 458 w 966"/>
                <a:gd name="T81" fmla="*/ 128 h 926"/>
                <a:gd name="T82" fmla="*/ 505 w 966"/>
                <a:gd name="T83" fmla="*/ 144 h 926"/>
                <a:gd name="T84" fmla="*/ 562 w 966"/>
                <a:gd name="T85" fmla="*/ 184 h 926"/>
                <a:gd name="T86" fmla="*/ 524 w 966"/>
                <a:gd name="T87" fmla="*/ 203 h 926"/>
                <a:gd name="T88" fmla="*/ 548 w 966"/>
                <a:gd name="T89" fmla="*/ 253 h 926"/>
                <a:gd name="T90" fmla="*/ 585 w 966"/>
                <a:gd name="T91" fmla="*/ 272 h 926"/>
                <a:gd name="T92" fmla="*/ 590 w 966"/>
                <a:gd name="T93" fmla="*/ 276 h 926"/>
                <a:gd name="T94" fmla="*/ 595 w 966"/>
                <a:gd name="T95" fmla="*/ 236 h 926"/>
                <a:gd name="T96" fmla="*/ 597 w 966"/>
                <a:gd name="T97" fmla="*/ 253 h 926"/>
                <a:gd name="T98" fmla="*/ 628 w 966"/>
                <a:gd name="T99" fmla="*/ 272 h 926"/>
                <a:gd name="T100" fmla="*/ 609 w 966"/>
                <a:gd name="T101" fmla="*/ 227 h 926"/>
                <a:gd name="T102" fmla="*/ 630 w 966"/>
                <a:gd name="T103" fmla="*/ 194 h 926"/>
                <a:gd name="T104" fmla="*/ 618 w 966"/>
                <a:gd name="T105" fmla="*/ 146 h 926"/>
                <a:gd name="T106" fmla="*/ 649 w 966"/>
                <a:gd name="T107" fmla="*/ 54 h 926"/>
                <a:gd name="T108" fmla="*/ 668 w 966"/>
                <a:gd name="T109" fmla="*/ 16 h 926"/>
                <a:gd name="T110" fmla="*/ 727 w 966"/>
                <a:gd name="T111" fmla="*/ 38 h 926"/>
                <a:gd name="T112" fmla="*/ 807 w 966"/>
                <a:gd name="T113" fmla="*/ 47 h 926"/>
                <a:gd name="T114" fmla="*/ 878 w 966"/>
                <a:gd name="T115" fmla="*/ 40 h 926"/>
                <a:gd name="T116" fmla="*/ 926 w 966"/>
                <a:gd name="T117" fmla="*/ 71 h 926"/>
                <a:gd name="T118" fmla="*/ 942 w 966"/>
                <a:gd name="T119" fmla="*/ 64 h 9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6"/>
                <a:gd name="T181" fmla="*/ 0 h 926"/>
                <a:gd name="T182" fmla="*/ 966 w 966"/>
                <a:gd name="T183" fmla="*/ 926 h 92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6" h="926">
                  <a:moveTo>
                    <a:pt x="26" y="912"/>
                  </a:moveTo>
                  <a:lnTo>
                    <a:pt x="30" y="909"/>
                  </a:lnTo>
                  <a:lnTo>
                    <a:pt x="49" y="909"/>
                  </a:lnTo>
                  <a:lnTo>
                    <a:pt x="49" y="912"/>
                  </a:lnTo>
                  <a:lnTo>
                    <a:pt x="54" y="912"/>
                  </a:lnTo>
                  <a:lnTo>
                    <a:pt x="49" y="914"/>
                  </a:lnTo>
                  <a:lnTo>
                    <a:pt x="49" y="921"/>
                  </a:lnTo>
                  <a:lnTo>
                    <a:pt x="54" y="926"/>
                  </a:lnTo>
                  <a:lnTo>
                    <a:pt x="56" y="926"/>
                  </a:lnTo>
                  <a:lnTo>
                    <a:pt x="61" y="921"/>
                  </a:lnTo>
                  <a:lnTo>
                    <a:pt x="54" y="921"/>
                  </a:lnTo>
                  <a:lnTo>
                    <a:pt x="54" y="919"/>
                  </a:lnTo>
                  <a:lnTo>
                    <a:pt x="56" y="912"/>
                  </a:lnTo>
                  <a:lnTo>
                    <a:pt x="56" y="905"/>
                  </a:lnTo>
                  <a:lnTo>
                    <a:pt x="61" y="905"/>
                  </a:lnTo>
                  <a:lnTo>
                    <a:pt x="66" y="898"/>
                  </a:lnTo>
                  <a:lnTo>
                    <a:pt x="73" y="895"/>
                  </a:lnTo>
                  <a:lnTo>
                    <a:pt x="73" y="893"/>
                  </a:lnTo>
                  <a:lnTo>
                    <a:pt x="78" y="893"/>
                  </a:lnTo>
                  <a:lnTo>
                    <a:pt x="85" y="888"/>
                  </a:lnTo>
                  <a:lnTo>
                    <a:pt x="89" y="881"/>
                  </a:lnTo>
                  <a:lnTo>
                    <a:pt x="94" y="879"/>
                  </a:lnTo>
                  <a:lnTo>
                    <a:pt x="104" y="879"/>
                  </a:lnTo>
                  <a:lnTo>
                    <a:pt x="106" y="881"/>
                  </a:lnTo>
                  <a:lnTo>
                    <a:pt x="111" y="888"/>
                  </a:lnTo>
                  <a:lnTo>
                    <a:pt x="111" y="893"/>
                  </a:lnTo>
                  <a:lnTo>
                    <a:pt x="111" y="886"/>
                  </a:lnTo>
                  <a:lnTo>
                    <a:pt x="106" y="879"/>
                  </a:lnTo>
                  <a:lnTo>
                    <a:pt x="104" y="872"/>
                  </a:lnTo>
                  <a:lnTo>
                    <a:pt x="106" y="869"/>
                  </a:lnTo>
                  <a:lnTo>
                    <a:pt x="111" y="865"/>
                  </a:lnTo>
                  <a:lnTo>
                    <a:pt x="113" y="862"/>
                  </a:lnTo>
                  <a:lnTo>
                    <a:pt x="120" y="858"/>
                  </a:lnTo>
                  <a:lnTo>
                    <a:pt x="141" y="858"/>
                  </a:lnTo>
                  <a:lnTo>
                    <a:pt x="151" y="855"/>
                  </a:lnTo>
                  <a:lnTo>
                    <a:pt x="153" y="855"/>
                  </a:lnTo>
                  <a:lnTo>
                    <a:pt x="167" y="848"/>
                  </a:lnTo>
                  <a:lnTo>
                    <a:pt x="174" y="846"/>
                  </a:lnTo>
                  <a:lnTo>
                    <a:pt x="186" y="839"/>
                  </a:lnTo>
                  <a:lnTo>
                    <a:pt x="181" y="839"/>
                  </a:lnTo>
                  <a:lnTo>
                    <a:pt x="177" y="841"/>
                  </a:lnTo>
                  <a:lnTo>
                    <a:pt x="177" y="846"/>
                  </a:lnTo>
                  <a:lnTo>
                    <a:pt x="153" y="846"/>
                  </a:lnTo>
                  <a:lnTo>
                    <a:pt x="153" y="841"/>
                  </a:lnTo>
                  <a:lnTo>
                    <a:pt x="146" y="841"/>
                  </a:lnTo>
                  <a:lnTo>
                    <a:pt x="134" y="836"/>
                  </a:lnTo>
                  <a:lnTo>
                    <a:pt x="127" y="836"/>
                  </a:lnTo>
                  <a:lnTo>
                    <a:pt x="118" y="832"/>
                  </a:lnTo>
                  <a:lnTo>
                    <a:pt x="113" y="832"/>
                  </a:lnTo>
                  <a:lnTo>
                    <a:pt x="111" y="829"/>
                  </a:lnTo>
                  <a:lnTo>
                    <a:pt x="106" y="824"/>
                  </a:lnTo>
                  <a:lnTo>
                    <a:pt x="106" y="822"/>
                  </a:lnTo>
                  <a:lnTo>
                    <a:pt x="113" y="815"/>
                  </a:lnTo>
                  <a:lnTo>
                    <a:pt x="113" y="806"/>
                  </a:lnTo>
                  <a:lnTo>
                    <a:pt x="111" y="806"/>
                  </a:lnTo>
                  <a:lnTo>
                    <a:pt x="111" y="801"/>
                  </a:lnTo>
                  <a:lnTo>
                    <a:pt x="118" y="801"/>
                  </a:lnTo>
                  <a:lnTo>
                    <a:pt x="120" y="798"/>
                  </a:lnTo>
                  <a:lnTo>
                    <a:pt x="127" y="791"/>
                  </a:lnTo>
                  <a:lnTo>
                    <a:pt x="134" y="796"/>
                  </a:lnTo>
                  <a:lnTo>
                    <a:pt x="137" y="801"/>
                  </a:lnTo>
                  <a:lnTo>
                    <a:pt x="137" y="808"/>
                  </a:lnTo>
                  <a:lnTo>
                    <a:pt x="134" y="813"/>
                  </a:lnTo>
                  <a:lnTo>
                    <a:pt x="134" y="815"/>
                  </a:lnTo>
                  <a:lnTo>
                    <a:pt x="141" y="808"/>
                  </a:lnTo>
                  <a:lnTo>
                    <a:pt x="141" y="801"/>
                  </a:lnTo>
                  <a:lnTo>
                    <a:pt x="137" y="798"/>
                  </a:lnTo>
                  <a:lnTo>
                    <a:pt x="137" y="791"/>
                  </a:lnTo>
                  <a:lnTo>
                    <a:pt x="134" y="789"/>
                  </a:lnTo>
                  <a:lnTo>
                    <a:pt x="137" y="784"/>
                  </a:lnTo>
                  <a:lnTo>
                    <a:pt x="137" y="782"/>
                  </a:lnTo>
                  <a:lnTo>
                    <a:pt x="134" y="784"/>
                  </a:lnTo>
                  <a:lnTo>
                    <a:pt x="129" y="789"/>
                  </a:lnTo>
                  <a:lnTo>
                    <a:pt x="118" y="796"/>
                  </a:lnTo>
                  <a:lnTo>
                    <a:pt x="113" y="796"/>
                  </a:lnTo>
                  <a:lnTo>
                    <a:pt x="113" y="791"/>
                  </a:lnTo>
                  <a:lnTo>
                    <a:pt x="120" y="784"/>
                  </a:lnTo>
                  <a:lnTo>
                    <a:pt x="113" y="784"/>
                  </a:lnTo>
                  <a:lnTo>
                    <a:pt x="111" y="791"/>
                  </a:lnTo>
                  <a:lnTo>
                    <a:pt x="104" y="798"/>
                  </a:lnTo>
                  <a:lnTo>
                    <a:pt x="96" y="798"/>
                  </a:lnTo>
                  <a:lnTo>
                    <a:pt x="101" y="796"/>
                  </a:lnTo>
                  <a:lnTo>
                    <a:pt x="104" y="796"/>
                  </a:lnTo>
                  <a:lnTo>
                    <a:pt x="104" y="791"/>
                  </a:lnTo>
                  <a:lnTo>
                    <a:pt x="101" y="791"/>
                  </a:lnTo>
                  <a:lnTo>
                    <a:pt x="101" y="796"/>
                  </a:lnTo>
                  <a:lnTo>
                    <a:pt x="96" y="796"/>
                  </a:lnTo>
                  <a:lnTo>
                    <a:pt x="85" y="815"/>
                  </a:lnTo>
                  <a:lnTo>
                    <a:pt x="85" y="817"/>
                  </a:lnTo>
                  <a:lnTo>
                    <a:pt x="87" y="817"/>
                  </a:lnTo>
                  <a:lnTo>
                    <a:pt x="73" y="817"/>
                  </a:lnTo>
                  <a:lnTo>
                    <a:pt x="70" y="815"/>
                  </a:lnTo>
                  <a:lnTo>
                    <a:pt x="70" y="813"/>
                  </a:lnTo>
                  <a:lnTo>
                    <a:pt x="78" y="798"/>
                  </a:lnTo>
                  <a:lnTo>
                    <a:pt x="85" y="782"/>
                  </a:lnTo>
                  <a:lnTo>
                    <a:pt x="85" y="775"/>
                  </a:lnTo>
                  <a:lnTo>
                    <a:pt x="87" y="772"/>
                  </a:lnTo>
                  <a:lnTo>
                    <a:pt x="87" y="761"/>
                  </a:lnTo>
                  <a:lnTo>
                    <a:pt x="89" y="758"/>
                  </a:lnTo>
                  <a:lnTo>
                    <a:pt x="87" y="756"/>
                  </a:lnTo>
                  <a:lnTo>
                    <a:pt x="80" y="758"/>
                  </a:lnTo>
                  <a:lnTo>
                    <a:pt x="78" y="761"/>
                  </a:lnTo>
                  <a:lnTo>
                    <a:pt x="70" y="761"/>
                  </a:lnTo>
                  <a:lnTo>
                    <a:pt x="70" y="756"/>
                  </a:lnTo>
                  <a:lnTo>
                    <a:pt x="73" y="756"/>
                  </a:lnTo>
                  <a:lnTo>
                    <a:pt x="73" y="744"/>
                  </a:lnTo>
                  <a:lnTo>
                    <a:pt x="70" y="742"/>
                  </a:lnTo>
                  <a:lnTo>
                    <a:pt x="70" y="739"/>
                  </a:lnTo>
                  <a:lnTo>
                    <a:pt x="73" y="735"/>
                  </a:lnTo>
                  <a:lnTo>
                    <a:pt x="78" y="735"/>
                  </a:lnTo>
                  <a:lnTo>
                    <a:pt x="80" y="728"/>
                  </a:lnTo>
                  <a:lnTo>
                    <a:pt x="78" y="725"/>
                  </a:lnTo>
                  <a:lnTo>
                    <a:pt x="54" y="725"/>
                  </a:lnTo>
                  <a:lnTo>
                    <a:pt x="49" y="720"/>
                  </a:lnTo>
                  <a:lnTo>
                    <a:pt x="47" y="718"/>
                  </a:lnTo>
                  <a:lnTo>
                    <a:pt x="40" y="718"/>
                  </a:lnTo>
                  <a:lnTo>
                    <a:pt x="37" y="716"/>
                  </a:lnTo>
                  <a:lnTo>
                    <a:pt x="26" y="716"/>
                  </a:lnTo>
                  <a:lnTo>
                    <a:pt x="23" y="718"/>
                  </a:lnTo>
                  <a:lnTo>
                    <a:pt x="21" y="718"/>
                  </a:lnTo>
                  <a:lnTo>
                    <a:pt x="9" y="711"/>
                  </a:lnTo>
                  <a:lnTo>
                    <a:pt x="9" y="709"/>
                  </a:lnTo>
                  <a:lnTo>
                    <a:pt x="7" y="704"/>
                  </a:lnTo>
                  <a:lnTo>
                    <a:pt x="0" y="695"/>
                  </a:lnTo>
                  <a:lnTo>
                    <a:pt x="0" y="692"/>
                  </a:lnTo>
                  <a:lnTo>
                    <a:pt x="4" y="695"/>
                  </a:lnTo>
                  <a:lnTo>
                    <a:pt x="7" y="695"/>
                  </a:lnTo>
                  <a:lnTo>
                    <a:pt x="7" y="702"/>
                  </a:lnTo>
                  <a:lnTo>
                    <a:pt x="21" y="702"/>
                  </a:lnTo>
                  <a:lnTo>
                    <a:pt x="23" y="699"/>
                  </a:lnTo>
                  <a:lnTo>
                    <a:pt x="23" y="695"/>
                  </a:lnTo>
                  <a:lnTo>
                    <a:pt x="26" y="692"/>
                  </a:lnTo>
                  <a:lnTo>
                    <a:pt x="26" y="687"/>
                  </a:lnTo>
                  <a:lnTo>
                    <a:pt x="37" y="680"/>
                  </a:lnTo>
                  <a:lnTo>
                    <a:pt x="40" y="680"/>
                  </a:lnTo>
                  <a:lnTo>
                    <a:pt x="44" y="685"/>
                  </a:lnTo>
                  <a:lnTo>
                    <a:pt x="49" y="685"/>
                  </a:lnTo>
                  <a:lnTo>
                    <a:pt x="49" y="680"/>
                  </a:lnTo>
                  <a:lnTo>
                    <a:pt x="47" y="678"/>
                  </a:lnTo>
                  <a:lnTo>
                    <a:pt x="44" y="678"/>
                  </a:lnTo>
                  <a:lnTo>
                    <a:pt x="44" y="676"/>
                  </a:lnTo>
                  <a:lnTo>
                    <a:pt x="40" y="676"/>
                  </a:lnTo>
                  <a:lnTo>
                    <a:pt x="37" y="678"/>
                  </a:lnTo>
                  <a:lnTo>
                    <a:pt x="37" y="676"/>
                  </a:lnTo>
                  <a:lnTo>
                    <a:pt x="40" y="671"/>
                  </a:lnTo>
                  <a:lnTo>
                    <a:pt x="40" y="669"/>
                  </a:lnTo>
                  <a:lnTo>
                    <a:pt x="47" y="661"/>
                  </a:lnTo>
                  <a:lnTo>
                    <a:pt x="56" y="654"/>
                  </a:lnTo>
                  <a:lnTo>
                    <a:pt x="73" y="654"/>
                  </a:lnTo>
                  <a:lnTo>
                    <a:pt x="78" y="647"/>
                  </a:lnTo>
                  <a:lnTo>
                    <a:pt x="85" y="638"/>
                  </a:lnTo>
                  <a:lnTo>
                    <a:pt x="85" y="635"/>
                  </a:lnTo>
                  <a:lnTo>
                    <a:pt x="87" y="628"/>
                  </a:lnTo>
                  <a:lnTo>
                    <a:pt x="89" y="621"/>
                  </a:lnTo>
                  <a:lnTo>
                    <a:pt x="89" y="619"/>
                  </a:lnTo>
                  <a:lnTo>
                    <a:pt x="96" y="607"/>
                  </a:lnTo>
                  <a:lnTo>
                    <a:pt x="106" y="598"/>
                  </a:lnTo>
                  <a:lnTo>
                    <a:pt x="113" y="598"/>
                  </a:lnTo>
                  <a:lnTo>
                    <a:pt x="118" y="595"/>
                  </a:lnTo>
                  <a:lnTo>
                    <a:pt x="111" y="595"/>
                  </a:lnTo>
                  <a:lnTo>
                    <a:pt x="106" y="598"/>
                  </a:lnTo>
                  <a:lnTo>
                    <a:pt x="104" y="595"/>
                  </a:lnTo>
                  <a:lnTo>
                    <a:pt x="104" y="591"/>
                  </a:lnTo>
                  <a:lnTo>
                    <a:pt x="118" y="581"/>
                  </a:lnTo>
                  <a:lnTo>
                    <a:pt x="127" y="579"/>
                  </a:lnTo>
                  <a:lnTo>
                    <a:pt x="137" y="574"/>
                  </a:lnTo>
                  <a:lnTo>
                    <a:pt x="151" y="574"/>
                  </a:lnTo>
                  <a:lnTo>
                    <a:pt x="151" y="579"/>
                  </a:lnTo>
                  <a:lnTo>
                    <a:pt x="158" y="579"/>
                  </a:lnTo>
                  <a:lnTo>
                    <a:pt x="158" y="574"/>
                  </a:lnTo>
                  <a:lnTo>
                    <a:pt x="151" y="572"/>
                  </a:lnTo>
                  <a:lnTo>
                    <a:pt x="141" y="572"/>
                  </a:lnTo>
                  <a:lnTo>
                    <a:pt x="127" y="574"/>
                  </a:lnTo>
                  <a:lnTo>
                    <a:pt x="120" y="579"/>
                  </a:lnTo>
                  <a:lnTo>
                    <a:pt x="111" y="579"/>
                  </a:lnTo>
                  <a:lnTo>
                    <a:pt x="106" y="581"/>
                  </a:lnTo>
                  <a:lnTo>
                    <a:pt x="104" y="581"/>
                  </a:lnTo>
                  <a:lnTo>
                    <a:pt x="104" y="591"/>
                  </a:lnTo>
                  <a:lnTo>
                    <a:pt x="94" y="598"/>
                  </a:lnTo>
                  <a:lnTo>
                    <a:pt x="87" y="598"/>
                  </a:lnTo>
                  <a:lnTo>
                    <a:pt x="80" y="591"/>
                  </a:lnTo>
                  <a:lnTo>
                    <a:pt x="70" y="588"/>
                  </a:lnTo>
                  <a:lnTo>
                    <a:pt x="63" y="588"/>
                  </a:lnTo>
                  <a:lnTo>
                    <a:pt x="63" y="583"/>
                  </a:lnTo>
                  <a:lnTo>
                    <a:pt x="61" y="583"/>
                  </a:lnTo>
                  <a:lnTo>
                    <a:pt x="54" y="581"/>
                  </a:lnTo>
                  <a:lnTo>
                    <a:pt x="54" y="579"/>
                  </a:lnTo>
                  <a:lnTo>
                    <a:pt x="44" y="572"/>
                  </a:lnTo>
                  <a:lnTo>
                    <a:pt x="44" y="567"/>
                  </a:lnTo>
                  <a:lnTo>
                    <a:pt x="40" y="565"/>
                  </a:lnTo>
                  <a:lnTo>
                    <a:pt x="40" y="562"/>
                  </a:lnTo>
                  <a:lnTo>
                    <a:pt x="37" y="557"/>
                  </a:lnTo>
                  <a:lnTo>
                    <a:pt x="37" y="548"/>
                  </a:lnTo>
                  <a:lnTo>
                    <a:pt x="40" y="543"/>
                  </a:lnTo>
                  <a:lnTo>
                    <a:pt x="47" y="543"/>
                  </a:lnTo>
                  <a:lnTo>
                    <a:pt x="49" y="541"/>
                  </a:lnTo>
                  <a:lnTo>
                    <a:pt x="49" y="539"/>
                  </a:lnTo>
                  <a:lnTo>
                    <a:pt x="47" y="531"/>
                  </a:lnTo>
                  <a:lnTo>
                    <a:pt x="47" y="527"/>
                  </a:lnTo>
                  <a:lnTo>
                    <a:pt x="49" y="522"/>
                  </a:lnTo>
                  <a:lnTo>
                    <a:pt x="54" y="510"/>
                  </a:lnTo>
                  <a:lnTo>
                    <a:pt x="56" y="510"/>
                  </a:lnTo>
                  <a:lnTo>
                    <a:pt x="56" y="506"/>
                  </a:lnTo>
                  <a:lnTo>
                    <a:pt x="54" y="506"/>
                  </a:lnTo>
                  <a:lnTo>
                    <a:pt x="54" y="491"/>
                  </a:lnTo>
                  <a:lnTo>
                    <a:pt x="56" y="484"/>
                  </a:lnTo>
                  <a:lnTo>
                    <a:pt x="70" y="484"/>
                  </a:lnTo>
                  <a:lnTo>
                    <a:pt x="70" y="482"/>
                  </a:lnTo>
                  <a:lnTo>
                    <a:pt x="66" y="482"/>
                  </a:lnTo>
                  <a:lnTo>
                    <a:pt x="63" y="477"/>
                  </a:lnTo>
                  <a:lnTo>
                    <a:pt x="61" y="477"/>
                  </a:lnTo>
                  <a:lnTo>
                    <a:pt x="61" y="475"/>
                  </a:lnTo>
                  <a:lnTo>
                    <a:pt x="56" y="470"/>
                  </a:lnTo>
                  <a:lnTo>
                    <a:pt x="61" y="468"/>
                  </a:lnTo>
                  <a:lnTo>
                    <a:pt x="63" y="468"/>
                  </a:lnTo>
                  <a:lnTo>
                    <a:pt x="66" y="470"/>
                  </a:lnTo>
                  <a:lnTo>
                    <a:pt x="80" y="475"/>
                  </a:lnTo>
                  <a:lnTo>
                    <a:pt x="85" y="475"/>
                  </a:lnTo>
                  <a:lnTo>
                    <a:pt x="89" y="470"/>
                  </a:lnTo>
                  <a:lnTo>
                    <a:pt x="96" y="468"/>
                  </a:lnTo>
                  <a:lnTo>
                    <a:pt x="101" y="470"/>
                  </a:lnTo>
                  <a:lnTo>
                    <a:pt x="104" y="470"/>
                  </a:lnTo>
                  <a:lnTo>
                    <a:pt x="104" y="475"/>
                  </a:lnTo>
                  <a:lnTo>
                    <a:pt x="101" y="475"/>
                  </a:lnTo>
                  <a:lnTo>
                    <a:pt x="96" y="477"/>
                  </a:lnTo>
                  <a:lnTo>
                    <a:pt x="101" y="487"/>
                  </a:lnTo>
                  <a:lnTo>
                    <a:pt x="104" y="494"/>
                  </a:lnTo>
                  <a:lnTo>
                    <a:pt x="96" y="498"/>
                  </a:lnTo>
                  <a:lnTo>
                    <a:pt x="87" y="498"/>
                  </a:lnTo>
                  <a:lnTo>
                    <a:pt x="85" y="501"/>
                  </a:lnTo>
                  <a:lnTo>
                    <a:pt x="94" y="501"/>
                  </a:lnTo>
                  <a:lnTo>
                    <a:pt x="94" y="506"/>
                  </a:lnTo>
                  <a:lnTo>
                    <a:pt x="101" y="506"/>
                  </a:lnTo>
                  <a:lnTo>
                    <a:pt x="106" y="501"/>
                  </a:lnTo>
                  <a:lnTo>
                    <a:pt x="111" y="506"/>
                  </a:lnTo>
                  <a:lnTo>
                    <a:pt x="113" y="508"/>
                  </a:lnTo>
                  <a:lnTo>
                    <a:pt x="111" y="510"/>
                  </a:lnTo>
                  <a:lnTo>
                    <a:pt x="106" y="515"/>
                  </a:lnTo>
                  <a:lnTo>
                    <a:pt x="104" y="517"/>
                  </a:lnTo>
                  <a:lnTo>
                    <a:pt x="101" y="522"/>
                  </a:lnTo>
                  <a:lnTo>
                    <a:pt x="101" y="524"/>
                  </a:lnTo>
                  <a:lnTo>
                    <a:pt x="106" y="524"/>
                  </a:lnTo>
                  <a:lnTo>
                    <a:pt x="111" y="527"/>
                  </a:lnTo>
                  <a:lnTo>
                    <a:pt x="118" y="527"/>
                  </a:lnTo>
                  <a:lnTo>
                    <a:pt x="122" y="524"/>
                  </a:lnTo>
                  <a:lnTo>
                    <a:pt x="122" y="510"/>
                  </a:lnTo>
                  <a:lnTo>
                    <a:pt x="120" y="508"/>
                  </a:lnTo>
                  <a:lnTo>
                    <a:pt x="120" y="506"/>
                  </a:lnTo>
                  <a:lnTo>
                    <a:pt x="118" y="501"/>
                  </a:lnTo>
                  <a:lnTo>
                    <a:pt x="120" y="501"/>
                  </a:lnTo>
                  <a:lnTo>
                    <a:pt x="122" y="506"/>
                  </a:lnTo>
                  <a:lnTo>
                    <a:pt x="122" y="508"/>
                  </a:lnTo>
                  <a:lnTo>
                    <a:pt x="127" y="508"/>
                  </a:lnTo>
                  <a:lnTo>
                    <a:pt x="129" y="510"/>
                  </a:lnTo>
                  <a:lnTo>
                    <a:pt x="134" y="501"/>
                  </a:lnTo>
                  <a:lnTo>
                    <a:pt x="134" y="498"/>
                  </a:lnTo>
                  <a:lnTo>
                    <a:pt x="113" y="498"/>
                  </a:lnTo>
                  <a:lnTo>
                    <a:pt x="113" y="491"/>
                  </a:lnTo>
                  <a:lnTo>
                    <a:pt x="104" y="482"/>
                  </a:lnTo>
                  <a:lnTo>
                    <a:pt x="104" y="477"/>
                  </a:lnTo>
                  <a:lnTo>
                    <a:pt x="106" y="477"/>
                  </a:lnTo>
                  <a:lnTo>
                    <a:pt x="106" y="475"/>
                  </a:lnTo>
                  <a:lnTo>
                    <a:pt x="104" y="465"/>
                  </a:lnTo>
                  <a:lnTo>
                    <a:pt x="101" y="461"/>
                  </a:lnTo>
                  <a:lnTo>
                    <a:pt x="94" y="461"/>
                  </a:lnTo>
                  <a:lnTo>
                    <a:pt x="94" y="454"/>
                  </a:lnTo>
                  <a:lnTo>
                    <a:pt x="96" y="451"/>
                  </a:lnTo>
                  <a:lnTo>
                    <a:pt x="101" y="451"/>
                  </a:lnTo>
                  <a:lnTo>
                    <a:pt x="106" y="458"/>
                  </a:lnTo>
                  <a:lnTo>
                    <a:pt x="118" y="458"/>
                  </a:lnTo>
                  <a:lnTo>
                    <a:pt x="113" y="451"/>
                  </a:lnTo>
                  <a:lnTo>
                    <a:pt x="106" y="451"/>
                  </a:lnTo>
                  <a:lnTo>
                    <a:pt x="106" y="446"/>
                  </a:lnTo>
                  <a:lnTo>
                    <a:pt x="111" y="444"/>
                  </a:lnTo>
                  <a:lnTo>
                    <a:pt x="118" y="442"/>
                  </a:lnTo>
                  <a:lnTo>
                    <a:pt x="120" y="442"/>
                  </a:lnTo>
                  <a:lnTo>
                    <a:pt x="120" y="437"/>
                  </a:lnTo>
                  <a:lnTo>
                    <a:pt x="118" y="442"/>
                  </a:lnTo>
                  <a:lnTo>
                    <a:pt x="111" y="442"/>
                  </a:lnTo>
                  <a:lnTo>
                    <a:pt x="111" y="435"/>
                  </a:lnTo>
                  <a:lnTo>
                    <a:pt x="118" y="435"/>
                  </a:lnTo>
                  <a:lnTo>
                    <a:pt x="129" y="428"/>
                  </a:lnTo>
                  <a:lnTo>
                    <a:pt x="134" y="430"/>
                  </a:lnTo>
                  <a:lnTo>
                    <a:pt x="141" y="430"/>
                  </a:lnTo>
                  <a:lnTo>
                    <a:pt x="144" y="435"/>
                  </a:lnTo>
                  <a:lnTo>
                    <a:pt x="158" y="435"/>
                  </a:lnTo>
                  <a:lnTo>
                    <a:pt x="158" y="428"/>
                  </a:lnTo>
                  <a:lnTo>
                    <a:pt x="153" y="430"/>
                  </a:lnTo>
                  <a:lnTo>
                    <a:pt x="144" y="428"/>
                  </a:lnTo>
                  <a:lnTo>
                    <a:pt x="141" y="428"/>
                  </a:lnTo>
                  <a:lnTo>
                    <a:pt x="134" y="430"/>
                  </a:lnTo>
                  <a:lnTo>
                    <a:pt x="134" y="428"/>
                  </a:lnTo>
                  <a:lnTo>
                    <a:pt x="120" y="428"/>
                  </a:lnTo>
                  <a:lnTo>
                    <a:pt x="120" y="430"/>
                  </a:lnTo>
                  <a:lnTo>
                    <a:pt x="111" y="430"/>
                  </a:lnTo>
                  <a:lnTo>
                    <a:pt x="101" y="442"/>
                  </a:lnTo>
                  <a:lnTo>
                    <a:pt x="101" y="437"/>
                  </a:lnTo>
                  <a:lnTo>
                    <a:pt x="96" y="435"/>
                  </a:lnTo>
                  <a:lnTo>
                    <a:pt x="96" y="430"/>
                  </a:lnTo>
                  <a:lnTo>
                    <a:pt x="106" y="420"/>
                  </a:lnTo>
                  <a:lnTo>
                    <a:pt x="111" y="420"/>
                  </a:lnTo>
                  <a:lnTo>
                    <a:pt x="111" y="413"/>
                  </a:lnTo>
                  <a:lnTo>
                    <a:pt x="106" y="411"/>
                  </a:lnTo>
                  <a:lnTo>
                    <a:pt x="111" y="409"/>
                  </a:lnTo>
                  <a:lnTo>
                    <a:pt x="113" y="404"/>
                  </a:lnTo>
                  <a:lnTo>
                    <a:pt x="122" y="404"/>
                  </a:lnTo>
                  <a:lnTo>
                    <a:pt x="127" y="402"/>
                  </a:lnTo>
                  <a:lnTo>
                    <a:pt x="127" y="394"/>
                  </a:lnTo>
                  <a:lnTo>
                    <a:pt x="122" y="394"/>
                  </a:lnTo>
                  <a:lnTo>
                    <a:pt x="120" y="390"/>
                  </a:lnTo>
                  <a:lnTo>
                    <a:pt x="118" y="394"/>
                  </a:lnTo>
                  <a:lnTo>
                    <a:pt x="118" y="390"/>
                  </a:lnTo>
                  <a:lnTo>
                    <a:pt x="120" y="387"/>
                  </a:lnTo>
                  <a:lnTo>
                    <a:pt x="120" y="385"/>
                  </a:lnTo>
                  <a:lnTo>
                    <a:pt x="134" y="378"/>
                  </a:lnTo>
                  <a:lnTo>
                    <a:pt x="127" y="380"/>
                  </a:lnTo>
                  <a:lnTo>
                    <a:pt x="127" y="385"/>
                  </a:lnTo>
                  <a:lnTo>
                    <a:pt x="129" y="385"/>
                  </a:lnTo>
                  <a:lnTo>
                    <a:pt x="137" y="390"/>
                  </a:lnTo>
                  <a:lnTo>
                    <a:pt x="137" y="380"/>
                  </a:lnTo>
                  <a:lnTo>
                    <a:pt x="141" y="373"/>
                  </a:lnTo>
                  <a:lnTo>
                    <a:pt x="151" y="385"/>
                  </a:lnTo>
                  <a:lnTo>
                    <a:pt x="153" y="387"/>
                  </a:lnTo>
                  <a:lnTo>
                    <a:pt x="158" y="385"/>
                  </a:lnTo>
                  <a:lnTo>
                    <a:pt x="158" y="380"/>
                  </a:lnTo>
                  <a:lnTo>
                    <a:pt x="160" y="380"/>
                  </a:lnTo>
                  <a:lnTo>
                    <a:pt x="163" y="378"/>
                  </a:lnTo>
                  <a:lnTo>
                    <a:pt x="163" y="373"/>
                  </a:lnTo>
                  <a:lnTo>
                    <a:pt x="167" y="373"/>
                  </a:lnTo>
                  <a:lnTo>
                    <a:pt x="174" y="371"/>
                  </a:lnTo>
                  <a:lnTo>
                    <a:pt x="193" y="371"/>
                  </a:lnTo>
                  <a:lnTo>
                    <a:pt x="203" y="368"/>
                  </a:lnTo>
                  <a:lnTo>
                    <a:pt x="222" y="368"/>
                  </a:lnTo>
                  <a:lnTo>
                    <a:pt x="222" y="371"/>
                  </a:lnTo>
                  <a:lnTo>
                    <a:pt x="224" y="373"/>
                  </a:lnTo>
                  <a:lnTo>
                    <a:pt x="222" y="387"/>
                  </a:lnTo>
                  <a:lnTo>
                    <a:pt x="217" y="390"/>
                  </a:lnTo>
                  <a:lnTo>
                    <a:pt x="224" y="385"/>
                  </a:lnTo>
                  <a:lnTo>
                    <a:pt x="224" y="380"/>
                  </a:lnTo>
                  <a:lnTo>
                    <a:pt x="226" y="373"/>
                  </a:lnTo>
                  <a:lnTo>
                    <a:pt x="231" y="373"/>
                  </a:lnTo>
                  <a:lnTo>
                    <a:pt x="233" y="378"/>
                  </a:lnTo>
                  <a:lnTo>
                    <a:pt x="238" y="378"/>
                  </a:lnTo>
                  <a:lnTo>
                    <a:pt x="248" y="373"/>
                  </a:lnTo>
                  <a:lnTo>
                    <a:pt x="241" y="373"/>
                  </a:lnTo>
                  <a:lnTo>
                    <a:pt x="238" y="371"/>
                  </a:lnTo>
                  <a:lnTo>
                    <a:pt x="233" y="371"/>
                  </a:lnTo>
                  <a:lnTo>
                    <a:pt x="243" y="361"/>
                  </a:lnTo>
                  <a:lnTo>
                    <a:pt x="248" y="357"/>
                  </a:lnTo>
                  <a:lnTo>
                    <a:pt x="257" y="354"/>
                  </a:lnTo>
                  <a:lnTo>
                    <a:pt x="267" y="354"/>
                  </a:lnTo>
                  <a:lnTo>
                    <a:pt x="271" y="357"/>
                  </a:lnTo>
                  <a:lnTo>
                    <a:pt x="271" y="361"/>
                  </a:lnTo>
                  <a:lnTo>
                    <a:pt x="274" y="364"/>
                  </a:lnTo>
                  <a:lnTo>
                    <a:pt x="271" y="364"/>
                  </a:lnTo>
                  <a:lnTo>
                    <a:pt x="274" y="368"/>
                  </a:lnTo>
                  <a:lnTo>
                    <a:pt x="274" y="364"/>
                  </a:lnTo>
                  <a:lnTo>
                    <a:pt x="278" y="361"/>
                  </a:lnTo>
                  <a:lnTo>
                    <a:pt x="274" y="357"/>
                  </a:lnTo>
                  <a:lnTo>
                    <a:pt x="274" y="354"/>
                  </a:lnTo>
                  <a:lnTo>
                    <a:pt x="278" y="350"/>
                  </a:lnTo>
                  <a:lnTo>
                    <a:pt x="288" y="350"/>
                  </a:lnTo>
                  <a:lnTo>
                    <a:pt x="290" y="354"/>
                  </a:lnTo>
                  <a:lnTo>
                    <a:pt x="295" y="357"/>
                  </a:lnTo>
                  <a:lnTo>
                    <a:pt x="297" y="361"/>
                  </a:lnTo>
                  <a:lnTo>
                    <a:pt x="300" y="371"/>
                  </a:lnTo>
                  <a:lnTo>
                    <a:pt x="300" y="373"/>
                  </a:lnTo>
                  <a:lnTo>
                    <a:pt x="297" y="378"/>
                  </a:lnTo>
                  <a:lnTo>
                    <a:pt x="300" y="380"/>
                  </a:lnTo>
                  <a:lnTo>
                    <a:pt x="300" y="385"/>
                  </a:lnTo>
                  <a:lnTo>
                    <a:pt x="297" y="394"/>
                  </a:lnTo>
                  <a:lnTo>
                    <a:pt x="304" y="402"/>
                  </a:lnTo>
                  <a:lnTo>
                    <a:pt x="314" y="404"/>
                  </a:lnTo>
                  <a:lnTo>
                    <a:pt x="337" y="404"/>
                  </a:lnTo>
                  <a:lnTo>
                    <a:pt x="352" y="402"/>
                  </a:lnTo>
                  <a:lnTo>
                    <a:pt x="356" y="397"/>
                  </a:lnTo>
                  <a:lnTo>
                    <a:pt x="361" y="402"/>
                  </a:lnTo>
                  <a:lnTo>
                    <a:pt x="361" y="409"/>
                  </a:lnTo>
                  <a:lnTo>
                    <a:pt x="356" y="411"/>
                  </a:lnTo>
                  <a:lnTo>
                    <a:pt x="354" y="409"/>
                  </a:lnTo>
                  <a:lnTo>
                    <a:pt x="354" y="411"/>
                  </a:lnTo>
                  <a:lnTo>
                    <a:pt x="356" y="413"/>
                  </a:lnTo>
                  <a:lnTo>
                    <a:pt x="363" y="420"/>
                  </a:lnTo>
                  <a:lnTo>
                    <a:pt x="368" y="425"/>
                  </a:lnTo>
                  <a:lnTo>
                    <a:pt x="370" y="428"/>
                  </a:lnTo>
                  <a:lnTo>
                    <a:pt x="378" y="430"/>
                  </a:lnTo>
                  <a:lnTo>
                    <a:pt x="378" y="435"/>
                  </a:lnTo>
                  <a:lnTo>
                    <a:pt x="380" y="435"/>
                  </a:lnTo>
                  <a:lnTo>
                    <a:pt x="404" y="430"/>
                  </a:lnTo>
                  <a:lnTo>
                    <a:pt x="411" y="430"/>
                  </a:lnTo>
                  <a:lnTo>
                    <a:pt x="411" y="428"/>
                  </a:lnTo>
                  <a:lnTo>
                    <a:pt x="418" y="425"/>
                  </a:lnTo>
                  <a:lnTo>
                    <a:pt x="420" y="420"/>
                  </a:lnTo>
                  <a:lnTo>
                    <a:pt x="420" y="418"/>
                  </a:lnTo>
                  <a:lnTo>
                    <a:pt x="425" y="413"/>
                  </a:lnTo>
                  <a:lnTo>
                    <a:pt x="427" y="409"/>
                  </a:lnTo>
                  <a:lnTo>
                    <a:pt x="434" y="402"/>
                  </a:lnTo>
                  <a:lnTo>
                    <a:pt x="437" y="402"/>
                  </a:lnTo>
                  <a:lnTo>
                    <a:pt x="441" y="390"/>
                  </a:lnTo>
                  <a:lnTo>
                    <a:pt x="444" y="385"/>
                  </a:lnTo>
                  <a:lnTo>
                    <a:pt x="448" y="380"/>
                  </a:lnTo>
                  <a:lnTo>
                    <a:pt x="444" y="373"/>
                  </a:lnTo>
                  <a:lnTo>
                    <a:pt x="444" y="371"/>
                  </a:lnTo>
                  <a:lnTo>
                    <a:pt x="437" y="371"/>
                  </a:lnTo>
                  <a:lnTo>
                    <a:pt x="441" y="371"/>
                  </a:lnTo>
                  <a:lnTo>
                    <a:pt x="451" y="368"/>
                  </a:lnTo>
                  <a:lnTo>
                    <a:pt x="455" y="368"/>
                  </a:lnTo>
                  <a:lnTo>
                    <a:pt x="455" y="373"/>
                  </a:lnTo>
                  <a:lnTo>
                    <a:pt x="460" y="380"/>
                  </a:lnTo>
                  <a:lnTo>
                    <a:pt x="474" y="378"/>
                  </a:lnTo>
                  <a:lnTo>
                    <a:pt x="481" y="373"/>
                  </a:lnTo>
                  <a:lnTo>
                    <a:pt x="484" y="368"/>
                  </a:lnTo>
                  <a:lnTo>
                    <a:pt x="484" y="354"/>
                  </a:lnTo>
                  <a:lnTo>
                    <a:pt x="489" y="354"/>
                  </a:lnTo>
                  <a:lnTo>
                    <a:pt x="489" y="350"/>
                  </a:lnTo>
                  <a:lnTo>
                    <a:pt x="489" y="354"/>
                  </a:lnTo>
                  <a:lnTo>
                    <a:pt x="491" y="354"/>
                  </a:lnTo>
                  <a:lnTo>
                    <a:pt x="489" y="350"/>
                  </a:lnTo>
                  <a:lnTo>
                    <a:pt x="474" y="350"/>
                  </a:lnTo>
                  <a:lnTo>
                    <a:pt x="472" y="354"/>
                  </a:lnTo>
                  <a:lnTo>
                    <a:pt x="467" y="350"/>
                  </a:lnTo>
                  <a:lnTo>
                    <a:pt x="467" y="345"/>
                  </a:lnTo>
                  <a:lnTo>
                    <a:pt x="465" y="340"/>
                  </a:lnTo>
                  <a:lnTo>
                    <a:pt x="455" y="340"/>
                  </a:lnTo>
                  <a:lnTo>
                    <a:pt x="460" y="340"/>
                  </a:lnTo>
                  <a:lnTo>
                    <a:pt x="460" y="345"/>
                  </a:lnTo>
                  <a:lnTo>
                    <a:pt x="455" y="345"/>
                  </a:lnTo>
                  <a:lnTo>
                    <a:pt x="455" y="340"/>
                  </a:lnTo>
                  <a:lnTo>
                    <a:pt x="451" y="340"/>
                  </a:lnTo>
                  <a:lnTo>
                    <a:pt x="451" y="338"/>
                  </a:lnTo>
                  <a:lnTo>
                    <a:pt x="444" y="338"/>
                  </a:lnTo>
                  <a:lnTo>
                    <a:pt x="434" y="333"/>
                  </a:lnTo>
                  <a:lnTo>
                    <a:pt x="420" y="333"/>
                  </a:lnTo>
                  <a:lnTo>
                    <a:pt x="420" y="338"/>
                  </a:lnTo>
                  <a:lnTo>
                    <a:pt x="415" y="340"/>
                  </a:lnTo>
                  <a:lnTo>
                    <a:pt x="408" y="338"/>
                  </a:lnTo>
                  <a:lnTo>
                    <a:pt x="415" y="333"/>
                  </a:lnTo>
                  <a:lnTo>
                    <a:pt x="418" y="324"/>
                  </a:lnTo>
                  <a:lnTo>
                    <a:pt x="420" y="321"/>
                  </a:lnTo>
                  <a:lnTo>
                    <a:pt x="425" y="307"/>
                  </a:lnTo>
                  <a:lnTo>
                    <a:pt x="415" y="307"/>
                  </a:lnTo>
                  <a:lnTo>
                    <a:pt x="415" y="317"/>
                  </a:lnTo>
                  <a:lnTo>
                    <a:pt x="418" y="321"/>
                  </a:lnTo>
                  <a:lnTo>
                    <a:pt x="415" y="321"/>
                  </a:lnTo>
                  <a:lnTo>
                    <a:pt x="404" y="324"/>
                  </a:lnTo>
                  <a:lnTo>
                    <a:pt x="404" y="321"/>
                  </a:lnTo>
                  <a:lnTo>
                    <a:pt x="408" y="317"/>
                  </a:lnTo>
                  <a:lnTo>
                    <a:pt x="408" y="298"/>
                  </a:lnTo>
                  <a:lnTo>
                    <a:pt x="404" y="293"/>
                  </a:lnTo>
                  <a:lnTo>
                    <a:pt x="404" y="291"/>
                  </a:lnTo>
                  <a:lnTo>
                    <a:pt x="396" y="291"/>
                  </a:lnTo>
                  <a:lnTo>
                    <a:pt x="396" y="283"/>
                  </a:lnTo>
                  <a:lnTo>
                    <a:pt x="394" y="281"/>
                  </a:lnTo>
                  <a:lnTo>
                    <a:pt x="394" y="276"/>
                  </a:lnTo>
                  <a:lnTo>
                    <a:pt x="392" y="276"/>
                  </a:lnTo>
                  <a:lnTo>
                    <a:pt x="385" y="274"/>
                  </a:lnTo>
                  <a:lnTo>
                    <a:pt x="385" y="272"/>
                  </a:lnTo>
                  <a:lnTo>
                    <a:pt x="380" y="272"/>
                  </a:lnTo>
                  <a:lnTo>
                    <a:pt x="378" y="265"/>
                  </a:lnTo>
                  <a:lnTo>
                    <a:pt x="375" y="265"/>
                  </a:lnTo>
                  <a:lnTo>
                    <a:pt x="370" y="267"/>
                  </a:lnTo>
                  <a:lnTo>
                    <a:pt x="375" y="272"/>
                  </a:lnTo>
                  <a:lnTo>
                    <a:pt x="378" y="272"/>
                  </a:lnTo>
                  <a:lnTo>
                    <a:pt x="375" y="272"/>
                  </a:lnTo>
                  <a:lnTo>
                    <a:pt x="368" y="265"/>
                  </a:lnTo>
                  <a:lnTo>
                    <a:pt x="368" y="250"/>
                  </a:lnTo>
                  <a:lnTo>
                    <a:pt x="363" y="248"/>
                  </a:lnTo>
                  <a:lnTo>
                    <a:pt x="363" y="241"/>
                  </a:lnTo>
                  <a:lnTo>
                    <a:pt x="361" y="236"/>
                  </a:lnTo>
                  <a:lnTo>
                    <a:pt x="356" y="224"/>
                  </a:lnTo>
                  <a:lnTo>
                    <a:pt x="356" y="213"/>
                  </a:lnTo>
                  <a:lnTo>
                    <a:pt x="361" y="208"/>
                  </a:lnTo>
                  <a:lnTo>
                    <a:pt x="363" y="208"/>
                  </a:lnTo>
                  <a:lnTo>
                    <a:pt x="368" y="203"/>
                  </a:lnTo>
                  <a:lnTo>
                    <a:pt x="375" y="203"/>
                  </a:lnTo>
                  <a:lnTo>
                    <a:pt x="378" y="201"/>
                  </a:lnTo>
                  <a:lnTo>
                    <a:pt x="378" y="196"/>
                  </a:lnTo>
                  <a:lnTo>
                    <a:pt x="380" y="194"/>
                  </a:lnTo>
                  <a:lnTo>
                    <a:pt x="378" y="194"/>
                  </a:lnTo>
                  <a:lnTo>
                    <a:pt x="380" y="187"/>
                  </a:lnTo>
                  <a:lnTo>
                    <a:pt x="380" y="184"/>
                  </a:lnTo>
                  <a:lnTo>
                    <a:pt x="385" y="184"/>
                  </a:lnTo>
                  <a:lnTo>
                    <a:pt x="385" y="175"/>
                  </a:lnTo>
                  <a:lnTo>
                    <a:pt x="387" y="175"/>
                  </a:lnTo>
                  <a:lnTo>
                    <a:pt x="387" y="170"/>
                  </a:lnTo>
                  <a:lnTo>
                    <a:pt x="392" y="168"/>
                  </a:lnTo>
                  <a:lnTo>
                    <a:pt x="401" y="168"/>
                  </a:lnTo>
                  <a:lnTo>
                    <a:pt x="392" y="168"/>
                  </a:lnTo>
                  <a:lnTo>
                    <a:pt x="392" y="170"/>
                  </a:lnTo>
                  <a:lnTo>
                    <a:pt x="387" y="170"/>
                  </a:lnTo>
                  <a:lnTo>
                    <a:pt x="387" y="177"/>
                  </a:lnTo>
                  <a:lnTo>
                    <a:pt x="392" y="180"/>
                  </a:lnTo>
                  <a:lnTo>
                    <a:pt x="394" y="184"/>
                  </a:lnTo>
                  <a:lnTo>
                    <a:pt x="401" y="184"/>
                  </a:lnTo>
                  <a:lnTo>
                    <a:pt x="404" y="180"/>
                  </a:lnTo>
                  <a:lnTo>
                    <a:pt x="408" y="180"/>
                  </a:lnTo>
                  <a:lnTo>
                    <a:pt x="411" y="187"/>
                  </a:lnTo>
                  <a:lnTo>
                    <a:pt x="411" y="191"/>
                  </a:lnTo>
                  <a:lnTo>
                    <a:pt x="415" y="187"/>
                  </a:lnTo>
                  <a:lnTo>
                    <a:pt x="415" y="184"/>
                  </a:lnTo>
                  <a:lnTo>
                    <a:pt x="411" y="170"/>
                  </a:lnTo>
                  <a:lnTo>
                    <a:pt x="408" y="163"/>
                  </a:lnTo>
                  <a:lnTo>
                    <a:pt x="408" y="161"/>
                  </a:lnTo>
                  <a:lnTo>
                    <a:pt x="408" y="168"/>
                  </a:lnTo>
                  <a:lnTo>
                    <a:pt x="408" y="163"/>
                  </a:lnTo>
                  <a:lnTo>
                    <a:pt x="404" y="163"/>
                  </a:lnTo>
                  <a:lnTo>
                    <a:pt x="404" y="151"/>
                  </a:lnTo>
                  <a:lnTo>
                    <a:pt x="401" y="146"/>
                  </a:lnTo>
                  <a:lnTo>
                    <a:pt x="401" y="135"/>
                  </a:lnTo>
                  <a:lnTo>
                    <a:pt x="404" y="128"/>
                  </a:lnTo>
                  <a:lnTo>
                    <a:pt x="404" y="116"/>
                  </a:lnTo>
                  <a:lnTo>
                    <a:pt x="401" y="116"/>
                  </a:lnTo>
                  <a:lnTo>
                    <a:pt x="401" y="113"/>
                  </a:lnTo>
                  <a:lnTo>
                    <a:pt x="404" y="113"/>
                  </a:lnTo>
                  <a:lnTo>
                    <a:pt x="408" y="111"/>
                  </a:lnTo>
                  <a:lnTo>
                    <a:pt x="411" y="106"/>
                  </a:lnTo>
                  <a:lnTo>
                    <a:pt x="411" y="111"/>
                  </a:lnTo>
                  <a:lnTo>
                    <a:pt x="418" y="111"/>
                  </a:lnTo>
                  <a:lnTo>
                    <a:pt x="420" y="113"/>
                  </a:lnTo>
                  <a:lnTo>
                    <a:pt x="415" y="113"/>
                  </a:lnTo>
                  <a:lnTo>
                    <a:pt x="415" y="111"/>
                  </a:lnTo>
                  <a:lnTo>
                    <a:pt x="408" y="111"/>
                  </a:lnTo>
                  <a:lnTo>
                    <a:pt x="408" y="113"/>
                  </a:lnTo>
                  <a:lnTo>
                    <a:pt x="415" y="116"/>
                  </a:lnTo>
                  <a:lnTo>
                    <a:pt x="425" y="123"/>
                  </a:lnTo>
                  <a:lnTo>
                    <a:pt x="427" y="123"/>
                  </a:lnTo>
                  <a:lnTo>
                    <a:pt x="427" y="120"/>
                  </a:lnTo>
                  <a:lnTo>
                    <a:pt x="434" y="120"/>
                  </a:lnTo>
                  <a:lnTo>
                    <a:pt x="441" y="123"/>
                  </a:lnTo>
                  <a:lnTo>
                    <a:pt x="441" y="130"/>
                  </a:lnTo>
                  <a:lnTo>
                    <a:pt x="455" y="130"/>
                  </a:lnTo>
                  <a:lnTo>
                    <a:pt x="455" y="128"/>
                  </a:lnTo>
                  <a:lnTo>
                    <a:pt x="458" y="128"/>
                  </a:lnTo>
                  <a:lnTo>
                    <a:pt x="465" y="130"/>
                  </a:lnTo>
                  <a:lnTo>
                    <a:pt x="472" y="130"/>
                  </a:lnTo>
                  <a:lnTo>
                    <a:pt x="472" y="135"/>
                  </a:lnTo>
                  <a:lnTo>
                    <a:pt x="481" y="137"/>
                  </a:lnTo>
                  <a:lnTo>
                    <a:pt x="484" y="137"/>
                  </a:lnTo>
                  <a:lnTo>
                    <a:pt x="484" y="144"/>
                  </a:lnTo>
                  <a:lnTo>
                    <a:pt x="481" y="144"/>
                  </a:lnTo>
                  <a:lnTo>
                    <a:pt x="481" y="146"/>
                  </a:lnTo>
                  <a:lnTo>
                    <a:pt x="484" y="154"/>
                  </a:lnTo>
                  <a:lnTo>
                    <a:pt x="489" y="156"/>
                  </a:lnTo>
                  <a:lnTo>
                    <a:pt x="493" y="161"/>
                  </a:lnTo>
                  <a:lnTo>
                    <a:pt x="493" y="144"/>
                  </a:lnTo>
                  <a:lnTo>
                    <a:pt x="505" y="144"/>
                  </a:lnTo>
                  <a:lnTo>
                    <a:pt x="507" y="146"/>
                  </a:lnTo>
                  <a:lnTo>
                    <a:pt x="515" y="146"/>
                  </a:lnTo>
                  <a:lnTo>
                    <a:pt x="517" y="151"/>
                  </a:lnTo>
                  <a:lnTo>
                    <a:pt x="524" y="154"/>
                  </a:lnTo>
                  <a:lnTo>
                    <a:pt x="524" y="161"/>
                  </a:lnTo>
                  <a:lnTo>
                    <a:pt x="538" y="163"/>
                  </a:lnTo>
                  <a:lnTo>
                    <a:pt x="541" y="163"/>
                  </a:lnTo>
                  <a:lnTo>
                    <a:pt x="548" y="168"/>
                  </a:lnTo>
                  <a:lnTo>
                    <a:pt x="552" y="170"/>
                  </a:lnTo>
                  <a:lnTo>
                    <a:pt x="555" y="175"/>
                  </a:lnTo>
                  <a:lnTo>
                    <a:pt x="562" y="180"/>
                  </a:lnTo>
                  <a:lnTo>
                    <a:pt x="562" y="191"/>
                  </a:lnTo>
                  <a:lnTo>
                    <a:pt x="562" y="184"/>
                  </a:lnTo>
                  <a:lnTo>
                    <a:pt x="557" y="180"/>
                  </a:lnTo>
                  <a:lnTo>
                    <a:pt x="557" y="187"/>
                  </a:lnTo>
                  <a:lnTo>
                    <a:pt x="555" y="191"/>
                  </a:lnTo>
                  <a:lnTo>
                    <a:pt x="548" y="191"/>
                  </a:lnTo>
                  <a:lnTo>
                    <a:pt x="545" y="194"/>
                  </a:lnTo>
                  <a:lnTo>
                    <a:pt x="538" y="196"/>
                  </a:lnTo>
                  <a:lnTo>
                    <a:pt x="533" y="201"/>
                  </a:lnTo>
                  <a:lnTo>
                    <a:pt x="529" y="201"/>
                  </a:lnTo>
                  <a:lnTo>
                    <a:pt x="529" y="196"/>
                  </a:lnTo>
                  <a:lnTo>
                    <a:pt x="522" y="196"/>
                  </a:lnTo>
                  <a:lnTo>
                    <a:pt x="524" y="201"/>
                  </a:lnTo>
                  <a:lnTo>
                    <a:pt x="529" y="201"/>
                  </a:lnTo>
                  <a:lnTo>
                    <a:pt x="524" y="203"/>
                  </a:lnTo>
                  <a:lnTo>
                    <a:pt x="524" y="210"/>
                  </a:lnTo>
                  <a:lnTo>
                    <a:pt x="522" y="210"/>
                  </a:lnTo>
                  <a:lnTo>
                    <a:pt x="522" y="213"/>
                  </a:lnTo>
                  <a:lnTo>
                    <a:pt x="524" y="217"/>
                  </a:lnTo>
                  <a:lnTo>
                    <a:pt x="529" y="220"/>
                  </a:lnTo>
                  <a:lnTo>
                    <a:pt x="531" y="224"/>
                  </a:lnTo>
                  <a:lnTo>
                    <a:pt x="531" y="231"/>
                  </a:lnTo>
                  <a:lnTo>
                    <a:pt x="533" y="231"/>
                  </a:lnTo>
                  <a:lnTo>
                    <a:pt x="538" y="234"/>
                  </a:lnTo>
                  <a:lnTo>
                    <a:pt x="541" y="241"/>
                  </a:lnTo>
                  <a:lnTo>
                    <a:pt x="545" y="241"/>
                  </a:lnTo>
                  <a:lnTo>
                    <a:pt x="545" y="253"/>
                  </a:lnTo>
                  <a:lnTo>
                    <a:pt x="548" y="253"/>
                  </a:lnTo>
                  <a:lnTo>
                    <a:pt x="548" y="257"/>
                  </a:lnTo>
                  <a:lnTo>
                    <a:pt x="552" y="257"/>
                  </a:lnTo>
                  <a:lnTo>
                    <a:pt x="555" y="260"/>
                  </a:lnTo>
                  <a:lnTo>
                    <a:pt x="555" y="272"/>
                  </a:lnTo>
                  <a:lnTo>
                    <a:pt x="552" y="272"/>
                  </a:lnTo>
                  <a:lnTo>
                    <a:pt x="552" y="274"/>
                  </a:lnTo>
                  <a:lnTo>
                    <a:pt x="555" y="272"/>
                  </a:lnTo>
                  <a:lnTo>
                    <a:pt x="562" y="267"/>
                  </a:lnTo>
                  <a:lnTo>
                    <a:pt x="574" y="267"/>
                  </a:lnTo>
                  <a:lnTo>
                    <a:pt x="578" y="265"/>
                  </a:lnTo>
                  <a:lnTo>
                    <a:pt x="581" y="265"/>
                  </a:lnTo>
                  <a:lnTo>
                    <a:pt x="585" y="267"/>
                  </a:lnTo>
                  <a:lnTo>
                    <a:pt x="585" y="272"/>
                  </a:lnTo>
                  <a:lnTo>
                    <a:pt x="581" y="272"/>
                  </a:lnTo>
                  <a:lnTo>
                    <a:pt x="581" y="274"/>
                  </a:lnTo>
                  <a:lnTo>
                    <a:pt x="585" y="274"/>
                  </a:lnTo>
                  <a:lnTo>
                    <a:pt x="585" y="276"/>
                  </a:lnTo>
                  <a:lnTo>
                    <a:pt x="588" y="276"/>
                  </a:lnTo>
                  <a:lnTo>
                    <a:pt x="581" y="281"/>
                  </a:lnTo>
                  <a:lnTo>
                    <a:pt x="578" y="283"/>
                  </a:lnTo>
                  <a:lnTo>
                    <a:pt x="578" y="281"/>
                  </a:lnTo>
                  <a:lnTo>
                    <a:pt x="578" y="283"/>
                  </a:lnTo>
                  <a:lnTo>
                    <a:pt x="585" y="283"/>
                  </a:lnTo>
                  <a:lnTo>
                    <a:pt x="588" y="281"/>
                  </a:lnTo>
                  <a:lnTo>
                    <a:pt x="590" y="281"/>
                  </a:lnTo>
                  <a:lnTo>
                    <a:pt x="590" y="276"/>
                  </a:lnTo>
                  <a:lnTo>
                    <a:pt x="595" y="272"/>
                  </a:lnTo>
                  <a:lnTo>
                    <a:pt x="595" y="265"/>
                  </a:lnTo>
                  <a:lnTo>
                    <a:pt x="590" y="257"/>
                  </a:lnTo>
                  <a:lnTo>
                    <a:pt x="588" y="250"/>
                  </a:lnTo>
                  <a:lnTo>
                    <a:pt x="578" y="250"/>
                  </a:lnTo>
                  <a:lnTo>
                    <a:pt x="574" y="253"/>
                  </a:lnTo>
                  <a:lnTo>
                    <a:pt x="578" y="248"/>
                  </a:lnTo>
                  <a:lnTo>
                    <a:pt x="585" y="248"/>
                  </a:lnTo>
                  <a:lnTo>
                    <a:pt x="588" y="243"/>
                  </a:lnTo>
                  <a:lnTo>
                    <a:pt x="590" y="243"/>
                  </a:lnTo>
                  <a:lnTo>
                    <a:pt x="590" y="241"/>
                  </a:lnTo>
                  <a:lnTo>
                    <a:pt x="595" y="241"/>
                  </a:lnTo>
                  <a:lnTo>
                    <a:pt x="595" y="236"/>
                  </a:lnTo>
                  <a:lnTo>
                    <a:pt x="602" y="224"/>
                  </a:lnTo>
                  <a:lnTo>
                    <a:pt x="602" y="217"/>
                  </a:lnTo>
                  <a:lnTo>
                    <a:pt x="597" y="217"/>
                  </a:lnTo>
                  <a:lnTo>
                    <a:pt x="597" y="210"/>
                  </a:lnTo>
                  <a:lnTo>
                    <a:pt x="604" y="201"/>
                  </a:lnTo>
                  <a:lnTo>
                    <a:pt x="611" y="201"/>
                  </a:lnTo>
                  <a:lnTo>
                    <a:pt x="618" y="203"/>
                  </a:lnTo>
                  <a:lnTo>
                    <a:pt x="618" y="208"/>
                  </a:lnTo>
                  <a:lnTo>
                    <a:pt x="611" y="217"/>
                  </a:lnTo>
                  <a:lnTo>
                    <a:pt x="602" y="227"/>
                  </a:lnTo>
                  <a:lnTo>
                    <a:pt x="595" y="236"/>
                  </a:lnTo>
                  <a:lnTo>
                    <a:pt x="595" y="253"/>
                  </a:lnTo>
                  <a:lnTo>
                    <a:pt x="597" y="253"/>
                  </a:lnTo>
                  <a:lnTo>
                    <a:pt x="602" y="257"/>
                  </a:lnTo>
                  <a:lnTo>
                    <a:pt x="609" y="257"/>
                  </a:lnTo>
                  <a:lnTo>
                    <a:pt x="609" y="265"/>
                  </a:lnTo>
                  <a:lnTo>
                    <a:pt x="604" y="267"/>
                  </a:lnTo>
                  <a:lnTo>
                    <a:pt x="604" y="281"/>
                  </a:lnTo>
                  <a:lnTo>
                    <a:pt x="609" y="281"/>
                  </a:lnTo>
                  <a:lnTo>
                    <a:pt x="609" y="283"/>
                  </a:lnTo>
                  <a:lnTo>
                    <a:pt x="618" y="291"/>
                  </a:lnTo>
                  <a:lnTo>
                    <a:pt x="621" y="291"/>
                  </a:lnTo>
                  <a:lnTo>
                    <a:pt x="628" y="283"/>
                  </a:lnTo>
                  <a:lnTo>
                    <a:pt x="635" y="276"/>
                  </a:lnTo>
                  <a:lnTo>
                    <a:pt x="635" y="274"/>
                  </a:lnTo>
                  <a:lnTo>
                    <a:pt x="628" y="272"/>
                  </a:lnTo>
                  <a:lnTo>
                    <a:pt x="628" y="274"/>
                  </a:lnTo>
                  <a:lnTo>
                    <a:pt x="626" y="274"/>
                  </a:lnTo>
                  <a:lnTo>
                    <a:pt x="626" y="260"/>
                  </a:lnTo>
                  <a:lnTo>
                    <a:pt x="621" y="257"/>
                  </a:lnTo>
                  <a:lnTo>
                    <a:pt x="618" y="253"/>
                  </a:lnTo>
                  <a:lnTo>
                    <a:pt x="611" y="253"/>
                  </a:lnTo>
                  <a:lnTo>
                    <a:pt x="609" y="257"/>
                  </a:lnTo>
                  <a:lnTo>
                    <a:pt x="604" y="253"/>
                  </a:lnTo>
                  <a:lnTo>
                    <a:pt x="602" y="250"/>
                  </a:lnTo>
                  <a:lnTo>
                    <a:pt x="604" y="241"/>
                  </a:lnTo>
                  <a:lnTo>
                    <a:pt x="604" y="234"/>
                  </a:lnTo>
                  <a:lnTo>
                    <a:pt x="609" y="231"/>
                  </a:lnTo>
                  <a:lnTo>
                    <a:pt x="609" y="227"/>
                  </a:lnTo>
                  <a:lnTo>
                    <a:pt x="614" y="224"/>
                  </a:lnTo>
                  <a:lnTo>
                    <a:pt x="626" y="220"/>
                  </a:lnTo>
                  <a:lnTo>
                    <a:pt x="628" y="220"/>
                  </a:lnTo>
                  <a:lnTo>
                    <a:pt x="630" y="224"/>
                  </a:lnTo>
                  <a:lnTo>
                    <a:pt x="630" y="227"/>
                  </a:lnTo>
                  <a:lnTo>
                    <a:pt x="635" y="227"/>
                  </a:lnTo>
                  <a:lnTo>
                    <a:pt x="635" y="210"/>
                  </a:lnTo>
                  <a:lnTo>
                    <a:pt x="626" y="203"/>
                  </a:lnTo>
                  <a:lnTo>
                    <a:pt x="618" y="196"/>
                  </a:lnTo>
                  <a:lnTo>
                    <a:pt x="626" y="196"/>
                  </a:lnTo>
                  <a:lnTo>
                    <a:pt x="630" y="194"/>
                  </a:lnTo>
                  <a:lnTo>
                    <a:pt x="630" y="191"/>
                  </a:lnTo>
                  <a:lnTo>
                    <a:pt x="630" y="194"/>
                  </a:lnTo>
                  <a:lnTo>
                    <a:pt x="614" y="194"/>
                  </a:lnTo>
                  <a:lnTo>
                    <a:pt x="618" y="191"/>
                  </a:lnTo>
                  <a:lnTo>
                    <a:pt x="618" y="187"/>
                  </a:lnTo>
                  <a:lnTo>
                    <a:pt x="614" y="187"/>
                  </a:lnTo>
                  <a:lnTo>
                    <a:pt x="611" y="184"/>
                  </a:lnTo>
                  <a:lnTo>
                    <a:pt x="611" y="180"/>
                  </a:lnTo>
                  <a:lnTo>
                    <a:pt x="609" y="177"/>
                  </a:lnTo>
                  <a:lnTo>
                    <a:pt x="609" y="175"/>
                  </a:lnTo>
                  <a:lnTo>
                    <a:pt x="604" y="168"/>
                  </a:lnTo>
                  <a:lnTo>
                    <a:pt x="604" y="154"/>
                  </a:lnTo>
                  <a:lnTo>
                    <a:pt x="609" y="154"/>
                  </a:lnTo>
                  <a:lnTo>
                    <a:pt x="614" y="146"/>
                  </a:lnTo>
                  <a:lnTo>
                    <a:pt x="618" y="146"/>
                  </a:lnTo>
                  <a:lnTo>
                    <a:pt x="621" y="144"/>
                  </a:lnTo>
                  <a:lnTo>
                    <a:pt x="628" y="130"/>
                  </a:lnTo>
                  <a:lnTo>
                    <a:pt x="630" y="130"/>
                  </a:lnTo>
                  <a:lnTo>
                    <a:pt x="630" y="128"/>
                  </a:lnTo>
                  <a:lnTo>
                    <a:pt x="635" y="123"/>
                  </a:lnTo>
                  <a:lnTo>
                    <a:pt x="635" y="113"/>
                  </a:lnTo>
                  <a:lnTo>
                    <a:pt x="637" y="106"/>
                  </a:lnTo>
                  <a:lnTo>
                    <a:pt x="637" y="104"/>
                  </a:lnTo>
                  <a:lnTo>
                    <a:pt x="642" y="94"/>
                  </a:lnTo>
                  <a:lnTo>
                    <a:pt x="644" y="78"/>
                  </a:lnTo>
                  <a:lnTo>
                    <a:pt x="644" y="71"/>
                  </a:lnTo>
                  <a:lnTo>
                    <a:pt x="649" y="71"/>
                  </a:lnTo>
                  <a:lnTo>
                    <a:pt x="649" y="54"/>
                  </a:lnTo>
                  <a:lnTo>
                    <a:pt x="644" y="54"/>
                  </a:lnTo>
                  <a:lnTo>
                    <a:pt x="644" y="42"/>
                  </a:lnTo>
                  <a:lnTo>
                    <a:pt x="649" y="42"/>
                  </a:lnTo>
                  <a:lnTo>
                    <a:pt x="649" y="40"/>
                  </a:lnTo>
                  <a:lnTo>
                    <a:pt x="652" y="38"/>
                  </a:lnTo>
                  <a:lnTo>
                    <a:pt x="652" y="16"/>
                  </a:lnTo>
                  <a:lnTo>
                    <a:pt x="649" y="14"/>
                  </a:lnTo>
                  <a:lnTo>
                    <a:pt x="652" y="14"/>
                  </a:lnTo>
                  <a:lnTo>
                    <a:pt x="659" y="16"/>
                  </a:lnTo>
                  <a:lnTo>
                    <a:pt x="652" y="14"/>
                  </a:lnTo>
                  <a:lnTo>
                    <a:pt x="652" y="19"/>
                  </a:lnTo>
                  <a:lnTo>
                    <a:pt x="661" y="19"/>
                  </a:lnTo>
                  <a:lnTo>
                    <a:pt x="668" y="16"/>
                  </a:lnTo>
                  <a:lnTo>
                    <a:pt x="675" y="16"/>
                  </a:lnTo>
                  <a:lnTo>
                    <a:pt x="685" y="9"/>
                  </a:lnTo>
                  <a:lnTo>
                    <a:pt x="692" y="9"/>
                  </a:lnTo>
                  <a:lnTo>
                    <a:pt x="701" y="0"/>
                  </a:lnTo>
                  <a:lnTo>
                    <a:pt x="701" y="2"/>
                  </a:lnTo>
                  <a:lnTo>
                    <a:pt x="706" y="9"/>
                  </a:lnTo>
                  <a:lnTo>
                    <a:pt x="706" y="14"/>
                  </a:lnTo>
                  <a:lnTo>
                    <a:pt x="708" y="16"/>
                  </a:lnTo>
                  <a:lnTo>
                    <a:pt x="711" y="24"/>
                  </a:lnTo>
                  <a:lnTo>
                    <a:pt x="715" y="26"/>
                  </a:lnTo>
                  <a:lnTo>
                    <a:pt x="722" y="33"/>
                  </a:lnTo>
                  <a:lnTo>
                    <a:pt x="725" y="38"/>
                  </a:lnTo>
                  <a:lnTo>
                    <a:pt x="727" y="38"/>
                  </a:lnTo>
                  <a:lnTo>
                    <a:pt x="732" y="40"/>
                  </a:lnTo>
                  <a:lnTo>
                    <a:pt x="734" y="47"/>
                  </a:lnTo>
                  <a:lnTo>
                    <a:pt x="739" y="47"/>
                  </a:lnTo>
                  <a:lnTo>
                    <a:pt x="739" y="50"/>
                  </a:lnTo>
                  <a:lnTo>
                    <a:pt x="741" y="50"/>
                  </a:lnTo>
                  <a:lnTo>
                    <a:pt x="746" y="54"/>
                  </a:lnTo>
                  <a:lnTo>
                    <a:pt x="789" y="54"/>
                  </a:lnTo>
                  <a:lnTo>
                    <a:pt x="791" y="50"/>
                  </a:lnTo>
                  <a:lnTo>
                    <a:pt x="796" y="50"/>
                  </a:lnTo>
                  <a:lnTo>
                    <a:pt x="786" y="54"/>
                  </a:lnTo>
                  <a:lnTo>
                    <a:pt x="791" y="54"/>
                  </a:lnTo>
                  <a:lnTo>
                    <a:pt x="803" y="47"/>
                  </a:lnTo>
                  <a:lnTo>
                    <a:pt x="807" y="47"/>
                  </a:lnTo>
                  <a:lnTo>
                    <a:pt x="819" y="40"/>
                  </a:lnTo>
                  <a:lnTo>
                    <a:pt x="822" y="40"/>
                  </a:lnTo>
                  <a:lnTo>
                    <a:pt x="822" y="38"/>
                  </a:lnTo>
                  <a:lnTo>
                    <a:pt x="852" y="38"/>
                  </a:lnTo>
                  <a:lnTo>
                    <a:pt x="862" y="33"/>
                  </a:lnTo>
                  <a:lnTo>
                    <a:pt x="885" y="33"/>
                  </a:lnTo>
                  <a:lnTo>
                    <a:pt x="885" y="40"/>
                  </a:lnTo>
                  <a:lnTo>
                    <a:pt x="876" y="40"/>
                  </a:lnTo>
                  <a:lnTo>
                    <a:pt x="876" y="38"/>
                  </a:lnTo>
                  <a:lnTo>
                    <a:pt x="869" y="38"/>
                  </a:lnTo>
                  <a:lnTo>
                    <a:pt x="876" y="40"/>
                  </a:lnTo>
                  <a:lnTo>
                    <a:pt x="878" y="42"/>
                  </a:lnTo>
                  <a:lnTo>
                    <a:pt x="878" y="40"/>
                  </a:lnTo>
                  <a:lnTo>
                    <a:pt x="883" y="42"/>
                  </a:lnTo>
                  <a:lnTo>
                    <a:pt x="885" y="42"/>
                  </a:lnTo>
                  <a:lnTo>
                    <a:pt x="893" y="50"/>
                  </a:lnTo>
                  <a:lnTo>
                    <a:pt x="895" y="50"/>
                  </a:lnTo>
                  <a:lnTo>
                    <a:pt x="904" y="54"/>
                  </a:lnTo>
                  <a:lnTo>
                    <a:pt x="909" y="57"/>
                  </a:lnTo>
                  <a:lnTo>
                    <a:pt x="935" y="57"/>
                  </a:lnTo>
                  <a:lnTo>
                    <a:pt x="942" y="64"/>
                  </a:lnTo>
                  <a:lnTo>
                    <a:pt x="935" y="66"/>
                  </a:lnTo>
                  <a:lnTo>
                    <a:pt x="928" y="64"/>
                  </a:lnTo>
                  <a:lnTo>
                    <a:pt x="926" y="64"/>
                  </a:lnTo>
                  <a:lnTo>
                    <a:pt x="928" y="66"/>
                  </a:lnTo>
                  <a:lnTo>
                    <a:pt x="926" y="71"/>
                  </a:lnTo>
                  <a:lnTo>
                    <a:pt x="923" y="73"/>
                  </a:lnTo>
                  <a:lnTo>
                    <a:pt x="919" y="83"/>
                  </a:lnTo>
                  <a:lnTo>
                    <a:pt x="926" y="73"/>
                  </a:lnTo>
                  <a:lnTo>
                    <a:pt x="928" y="73"/>
                  </a:lnTo>
                  <a:lnTo>
                    <a:pt x="935" y="71"/>
                  </a:lnTo>
                  <a:lnTo>
                    <a:pt x="935" y="73"/>
                  </a:lnTo>
                  <a:lnTo>
                    <a:pt x="940" y="78"/>
                  </a:lnTo>
                  <a:lnTo>
                    <a:pt x="942" y="80"/>
                  </a:lnTo>
                  <a:lnTo>
                    <a:pt x="949" y="80"/>
                  </a:lnTo>
                  <a:lnTo>
                    <a:pt x="942" y="73"/>
                  </a:lnTo>
                  <a:lnTo>
                    <a:pt x="935" y="73"/>
                  </a:lnTo>
                  <a:lnTo>
                    <a:pt x="935" y="71"/>
                  </a:lnTo>
                  <a:lnTo>
                    <a:pt x="942" y="64"/>
                  </a:lnTo>
                  <a:lnTo>
                    <a:pt x="942" y="59"/>
                  </a:lnTo>
                  <a:lnTo>
                    <a:pt x="944" y="59"/>
                  </a:lnTo>
                  <a:lnTo>
                    <a:pt x="942" y="59"/>
                  </a:lnTo>
                  <a:lnTo>
                    <a:pt x="942" y="57"/>
                  </a:lnTo>
                  <a:lnTo>
                    <a:pt x="940" y="57"/>
                  </a:lnTo>
                  <a:lnTo>
                    <a:pt x="966" y="5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4" name="Freeform 138">
              <a:extLst>
                <a:ext uri="{FF2B5EF4-FFF2-40B4-BE49-F238E27FC236}">
                  <a16:creationId xmlns:a16="http://schemas.microsoft.com/office/drawing/2014/main" id="{4FE215DF-DED3-4A41-9B1B-E275269E3972}"/>
                </a:ext>
              </a:extLst>
            </p:cNvPr>
            <p:cNvSpPr>
              <a:spLocks/>
            </p:cNvSpPr>
            <p:nvPr/>
          </p:nvSpPr>
          <p:spPr bwMode="gray">
            <a:xfrm rot="47099">
              <a:off x="1530686" y="2917733"/>
              <a:ext cx="216419" cy="246996"/>
            </a:xfrm>
            <a:custGeom>
              <a:avLst/>
              <a:gdLst>
                <a:gd name="T0" fmla="*/ 387 w 465"/>
                <a:gd name="T1" fmla="*/ 175 h 531"/>
                <a:gd name="T2" fmla="*/ 326 w 465"/>
                <a:gd name="T3" fmla="*/ 224 h 531"/>
                <a:gd name="T4" fmla="*/ 312 w 465"/>
                <a:gd name="T5" fmla="*/ 231 h 531"/>
                <a:gd name="T6" fmla="*/ 314 w 465"/>
                <a:gd name="T7" fmla="*/ 281 h 531"/>
                <a:gd name="T8" fmla="*/ 295 w 465"/>
                <a:gd name="T9" fmla="*/ 297 h 531"/>
                <a:gd name="T10" fmla="*/ 281 w 465"/>
                <a:gd name="T11" fmla="*/ 319 h 531"/>
                <a:gd name="T12" fmla="*/ 298 w 465"/>
                <a:gd name="T13" fmla="*/ 340 h 531"/>
                <a:gd name="T14" fmla="*/ 290 w 465"/>
                <a:gd name="T15" fmla="*/ 354 h 531"/>
                <a:gd name="T16" fmla="*/ 295 w 465"/>
                <a:gd name="T17" fmla="*/ 404 h 531"/>
                <a:gd name="T18" fmla="*/ 312 w 465"/>
                <a:gd name="T19" fmla="*/ 418 h 531"/>
                <a:gd name="T20" fmla="*/ 331 w 465"/>
                <a:gd name="T21" fmla="*/ 425 h 531"/>
                <a:gd name="T22" fmla="*/ 345 w 465"/>
                <a:gd name="T23" fmla="*/ 432 h 531"/>
                <a:gd name="T24" fmla="*/ 354 w 465"/>
                <a:gd name="T25" fmla="*/ 437 h 531"/>
                <a:gd name="T26" fmla="*/ 361 w 465"/>
                <a:gd name="T27" fmla="*/ 449 h 531"/>
                <a:gd name="T28" fmla="*/ 383 w 465"/>
                <a:gd name="T29" fmla="*/ 458 h 531"/>
                <a:gd name="T30" fmla="*/ 394 w 465"/>
                <a:gd name="T31" fmla="*/ 468 h 531"/>
                <a:gd name="T32" fmla="*/ 401 w 465"/>
                <a:gd name="T33" fmla="*/ 484 h 531"/>
                <a:gd name="T34" fmla="*/ 387 w 465"/>
                <a:gd name="T35" fmla="*/ 505 h 531"/>
                <a:gd name="T36" fmla="*/ 307 w 465"/>
                <a:gd name="T37" fmla="*/ 515 h 531"/>
                <a:gd name="T38" fmla="*/ 241 w 465"/>
                <a:gd name="T39" fmla="*/ 517 h 531"/>
                <a:gd name="T40" fmla="*/ 189 w 465"/>
                <a:gd name="T41" fmla="*/ 524 h 531"/>
                <a:gd name="T42" fmla="*/ 78 w 465"/>
                <a:gd name="T43" fmla="*/ 529 h 531"/>
                <a:gd name="T44" fmla="*/ 68 w 465"/>
                <a:gd name="T45" fmla="*/ 491 h 531"/>
                <a:gd name="T46" fmla="*/ 61 w 465"/>
                <a:gd name="T47" fmla="*/ 371 h 531"/>
                <a:gd name="T48" fmla="*/ 47 w 465"/>
                <a:gd name="T49" fmla="*/ 361 h 531"/>
                <a:gd name="T50" fmla="*/ 33 w 465"/>
                <a:gd name="T51" fmla="*/ 340 h 531"/>
                <a:gd name="T52" fmla="*/ 45 w 465"/>
                <a:gd name="T53" fmla="*/ 330 h 531"/>
                <a:gd name="T54" fmla="*/ 52 w 465"/>
                <a:gd name="T55" fmla="*/ 321 h 531"/>
                <a:gd name="T56" fmla="*/ 47 w 465"/>
                <a:gd name="T57" fmla="*/ 274 h 531"/>
                <a:gd name="T58" fmla="*/ 40 w 465"/>
                <a:gd name="T59" fmla="*/ 267 h 531"/>
                <a:gd name="T60" fmla="*/ 33 w 465"/>
                <a:gd name="T61" fmla="*/ 227 h 531"/>
                <a:gd name="T62" fmla="*/ 28 w 465"/>
                <a:gd name="T63" fmla="*/ 163 h 531"/>
                <a:gd name="T64" fmla="*/ 21 w 465"/>
                <a:gd name="T65" fmla="*/ 144 h 531"/>
                <a:gd name="T66" fmla="*/ 12 w 465"/>
                <a:gd name="T67" fmla="*/ 118 h 531"/>
                <a:gd name="T68" fmla="*/ 7 w 465"/>
                <a:gd name="T69" fmla="*/ 78 h 531"/>
                <a:gd name="T70" fmla="*/ 0 w 465"/>
                <a:gd name="T71" fmla="*/ 47 h 531"/>
                <a:gd name="T72" fmla="*/ 120 w 465"/>
                <a:gd name="T73" fmla="*/ 33 h 531"/>
                <a:gd name="T74" fmla="*/ 130 w 465"/>
                <a:gd name="T75" fmla="*/ 4 h 531"/>
                <a:gd name="T76" fmla="*/ 142 w 465"/>
                <a:gd name="T77" fmla="*/ 7 h 531"/>
                <a:gd name="T78" fmla="*/ 149 w 465"/>
                <a:gd name="T79" fmla="*/ 30 h 531"/>
                <a:gd name="T80" fmla="*/ 151 w 465"/>
                <a:gd name="T81" fmla="*/ 54 h 531"/>
                <a:gd name="T82" fmla="*/ 161 w 465"/>
                <a:gd name="T83" fmla="*/ 61 h 531"/>
                <a:gd name="T84" fmla="*/ 177 w 465"/>
                <a:gd name="T85" fmla="*/ 56 h 531"/>
                <a:gd name="T86" fmla="*/ 201 w 465"/>
                <a:gd name="T87" fmla="*/ 64 h 531"/>
                <a:gd name="T88" fmla="*/ 210 w 465"/>
                <a:gd name="T89" fmla="*/ 73 h 531"/>
                <a:gd name="T90" fmla="*/ 224 w 465"/>
                <a:gd name="T91" fmla="*/ 66 h 531"/>
                <a:gd name="T92" fmla="*/ 231 w 465"/>
                <a:gd name="T93" fmla="*/ 61 h 531"/>
                <a:gd name="T94" fmla="*/ 267 w 465"/>
                <a:gd name="T95" fmla="*/ 64 h 531"/>
                <a:gd name="T96" fmla="*/ 286 w 465"/>
                <a:gd name="T97" fmla="*/ 78 h 531"/>
                <a:gd name="T98" fmla="*/ 295 w 465"/>
                <a:gd name="T99" fmla="*/ 90 h 531"/>
                <a:gd name="T100" fmla="*/ 295 w 465"/>
                <a:gd name="T101" fmla="*/ 85 h 531"/>
                <a:gd name="T102" fmla="*/ 312 w 465"/>
                <a:gd name="T103" fmla="*/ 78 h 531"/>
                <a:gd name="T104" fmla="*/ 319 w 465"/>
                <a:gd name="T105" fmla="*/ 87 h 531"/>
                <a:gd name="T106" fmla="*/ 331 w 465"/>
                <a:gd name="T107" fmla="*/ 94 h 531"/>
                <a:gd name="T108" fmla="*/ 347 w 465"/>
                <a:gd name="T109" fmla="*/ 101 h 531"/>
                <a:gd name="T110" fmla="*/ 361 w 465"/>
                <a:gd name="T111" fmla="*/ 97 h 531"/>
                <a:gd name="T112" fmla="*/ 375 w 465"/>
                <a:gd name="T113" fmla="*/ 85 h 531"/>
                <a:gd name="T114" fmla="*/ 383 w 465"/>
                <a:gd name="T115" fmla="*/ 85 h 531"/>
                <a:gd name="T116" fmla="*/ 418 w 465"/>
                <a:gd name="T117" fmla="*/ 87 h 531"/>
                <a:gd name="T118" fmla="*/ 435 w 465"/>
                <a:gd name="T119" fmla="*/ 94 h 531"/>
                <a:gd name="T120" fmla="*/ 465 w 465"/>
                <a:gd name="T121" fmla="*/ 90 h 531"/>
                <a:gd name="T122" fmla="*/ 425 w 465"/>
                <a:gd name="T123" fmla="*/ 160 h 5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5"/>
                <a:gd name="T187" fmla="*/ 0 h 531"/>
                <a:gd name="T188" fmla="*/ 465 w 465"/>
                <a:gd name="T189" fmla="*/ 531 h 5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5" h="531">
                  <a:moveTo>
                    <a:pt x="425" y="160"/>
                  </a:moveTo>
                  <a:lnTo>
                    <a:pt x="404" y="160"/>
                  </a:lnTo>
                  <a:lnTo>
                    <a:pt x="387" y="175"/>
                  </a:lnTo>
                  <a:lnTo>
                    <a:pt x="352" y="203"/>
                  </a:lnTo>
                  <a:lnTo>
                    <a:pt x="338" y="215"/>
                  </a:lnTo>
                  <a:lnTo>
                    <a:pt x="326" y="224"/>
                  </a:lnTo>
                  <a:lnTo>
                    <a:pt x="326" y="219"/>
                  </a:lnTo>
                  <a:lnTo>
                    <a:pt x="319" y="219"/>
                  </a:lnTo>
                  <a:lnTo>
                    <a:pt x="312" y="231"/>
                  </a:lnTo>
                  <a:lnTo>
                    <a:pt x="312" y="257"/>
                  </a:lnTo>
                  <a:lnTo>
                    <a:pt x="314" y="264"/>
                  </a:lnTo>
                  <a:lnTo>
                    <a:pt x="314" y="281"/>
                  </a:lnTo>
                  <a:lnTo>
                    <a:pt x="312" y="288"/>
                  </a:lnTo>
                  <a:lnTo>
                    <a:pt x="298" y="295"/>
                  </a:lnTo>
                  <a:lnTo>
                    <a:pt x="295" y="297"/>
                  </a:lnTo>
                  <a:lnTo>
                    <a:pt x="290" y="297"/>
                  </a:lnTo>
                  <a:lnTo>
                    <a:pt x="288" y="300"/>
                  </a:lnTo>
                  <a:lnTo>
                    <a:pt x="281" y="319"/>
                  </a:lnTo>
                  <a:lnTo>
                    <a:pt x="281" y="330"/>
                  </a:lnTo>
                  <a:lnTo>
                    <a:pt x="290" y="330"/>
                  </a:lnTo>
                  <a:lnTo>
                    <a:pt x="298" y="340"/>
                  </a:lnTo>
                  <a:lnTo>
                    <a:pt x="298" y="345"/>
                  </a:lnTo>
                  <a:lnTo>
                    <a:pt x="295" y="352"/>
                  </a:lnTo>
                  <a:lnTo>
                    <a:pt x="290" y="354"/>
                  </a:lnTo>
                  <a:lnTo>
                    <a:pt x="290" y="364"/>
                  </a:lnTo>
                  <a:lnTo>
                    <a:pt x="295" y="378"/>
                  </a:lnTo>
                  <a:lnTo>
                    <a:pt x="295" y="404"/>
                  </a:lnTo>
                  <a:lnTo>
                    <a:pt x="307" y="416"/>
                  </a:lnTo>
                  <a:lnTo>
                    <a:pt x="312" y="416"/>
                  </a:lnTo>
                  <a:lnTo>
                    <a:pt x="312" y="418"/>
                  </a:lnTo>
                  <a:lnTo>
                    <a:pt x="326" y="418"/>
                  </a:lnTo>
                  <a:lnTo>
                    <a:pt x="328" y="420"/>
                  </a:lnTo>
                  <a:lnTo>
                    <a:pt x="331" y="425"/>
                  </a:lnTo>
                  <a:lnTo>
                    <a:pt x="335" y="427"/>
                  </a:lnTo>
                  <a:lnTo>
                    <a:pt x="342" y="427"/>
                  </a:lnTo>
                  <a:lnTo>
                    <a:pt x="345" y="432"/>
                  </a:lnTo>
                  <a:lnTo>
                    <a:pt x="347" y="432"/>
                  </a:lnTo>
                  <a:lnTo>
                    <a:pt x="352" y="434"/>
                  </a:lnTo>
                  <a:lnTo>
                    <a:pt x="354" y="437"/>
                  </a:lnTo>
                  <a:lnTo>
                    <a:pt x="354" y="442"/>
                  </a:lnTo>
                  <a:lnTo>
                    <a:pt x="359" y="444"/>
                  </a:lnTo>
                  <a:lnTo>
                    <a:pt x="361" y="449"/>
                  </a:lnTo>
                  <a:lnTo>
                    <a:pt x="371" y="453"/>
                  </a:lnTo>
                  <a:lnTo>
                    <a:pt x="371" y="458"/>
                  </a:lnTo>
                  <a:lnTo>
                    <a:pt x="383" y="458"/>
                  </a:lnTo>
                  <a:lnTo>
                    <a:pt x="387" y="460"/>
                  </a:lnTo>
                  <a:lnTo>
                    <a:pt x="392" y="465"/>
                  </a:lnTo>
                  <a:lnTo>
                    <a:pt x="394" y="468"/>
                  </a:lnTo>
                  <a:lnTo>
                    <a:pt x="399" y="475"/>
                  </a:lnTo>
                  <a:lnTo>
                    <a:pt x="401" y="477"/>
                  </a:lnTo>
                  <a:lnTo>
                    <a:pt x="401" y="484"/>
                  </a:lnTo>
                  <a:lnTo>
                    <a:pt x="404" y="501"/>
                  </a:lnTo>
                  <a:lnTo>
                    <a:pt x="404" y="505"/>
                  </a:lnTo>
                  <a:lnTo>
                    <a:pt x="387" y="505"/>
                  </a:lnTo>
                  <a:lnTo>
                    <a:pt x="338" y="512"/>
                  </a:lnTo>
                  <a:lnTo>
                    <a:pt x="321" y="512"/>
                  </a:lnTo>
                  <a:lnTo>
                    <a:pt x="307" y="515"/>
                  </a:lnTo>
                  <a:lnTo>
                    <a:pt x="286" y="515"/>
                  </a:lnTo>
                  <a:lnTo>
                    <a:pt x="279" y="517"/>
                  </a:lnTo>
                  <a:lnTo>
                    <a:pt x="241" y="517"/>
                  </a:lnTo>
                  <a:lnTo>
                    <a:pt x="234" y="522"/>
                  </a:lnTo>
                  <a:lnTo>
                    <a:pt x="198" y="522"/>
                  </a:lnTo>
                  <a:lnTo>
                    <a:pt x="189" y="524"/>
                  </a:lnTo>
                  <a:lnTo>
                    <a:pt x="142" y="524"/>
                  </a:lnTo>
                  <a:lnTo>
                    <a:pt x="137" y="529"/>
                  </a:lnTo>
                  <a:lnTo>
                    <a:pt x="78" y="529"/>
                  </a:lnTo>
                  <a:lnTo>
                    <a:pt x="71" y="531"/>
                  </a:lnTo>
                  <a:lnTo>
                    <a:pt x="68" y="531"/>
                  </a:lnTo>
                  <a:lnTo>
                    <a:pt x="68" y="491"/>
                  </a:lnTo>
                  <a:lnTo>
                    <a:pt x="64" y="437"/>
                  </a:lnTo>
                  <a:lnTo>
                    <a:pt x="61" y="385"/>
                  </a:lnTo>
                  <a:lnTo>
                    <a:pt x="61" y="371"/>
                  </a:lnTo>
                  <a:lnTo>
                    <a:pt x="57" y="364"/>
                  </a:lnTo>
                  <a:lnTo>
                    <a:pt x="54" y="361"/>
                  </a:lnTo>
                  <a:lnTo>
                    <a:pt x="47" y="361"/>
                  </a:lnTo>
                  <a:lnTo>
                    <a:pt x="45" y="356"/>
                  </a:lnTo>
                  <a:lnTo>
                    <a:pt x="33" y="345"/>
                  </a:lnTo>
                  <a:lnTo>
                    <a:pt x="33" y="340"/>
                  </a:lnTo>
                  <a:lnTo>
                    <a:pt x="38" y="338"/>
                  </a:lnTo>
                  <a:lnTo>
                    <a:pt x="40" y="335"/>
                  </a:lnTo>
                  <a:lnTo>
                    <a:pt x="45" y="330"/>
                  </a:lnTo>
                  <a:lnTo>
                    <a:pt x="47" y="330"/>
                  </a:lnTo>
                  <a:lnTo>
                    <a:pt x="47" y="328"/>
                  </a:lnTo>
                  <a:lnTo>
                    <a:pt x="52" y="321"/>
                  </a:lnTo>
                  <a:lnTo>
                    <a:pt x="52" y="290"/>
                  </a:lnTo>
                  <a:lnTo>
                    <a:pt x="47" y="281"/>
                  </a:lnTo>
                  <a:lnTo>
                    <a:pt x="47" y="274"/>
                  </a:lnTo>
                  <a:lnTo>
                    <a:pt x="45" y="274"/>
                  </a:lnTo>
                  <a:lnTo>
                    <a:pt x="40" y="271"/>
                  </a:lnTo>
                  <a:lnTo>
                    <a:pt x="40" y="267"/>
                  </a:lnTo>
                  <a:lnTo>
                    <a:pt x="38" y="264"/>
                  </a:lnTo>
                  <a:lnTo>
                    <a:pt x="33" y="250"/>
                  </a:lnTo>
                  <a:lnTo>
                    <a:pt x="33" y="227"/>
                  </a:lnTo>
                  <a:lnTo>
                    <a:pt x="31" y="219"/>
                  </a:lnTo>
                  <a:lnTo>
                    <a:pt x="31" y="184"/>
                  </a:lnTo>
                  <a:lnTo>
                    <a:pt x="28" y="163"/>
                  </a:lnTo>
                  <a:lnTo>
                    <a:pt x="24" y="158"/>
                  </a:lnTo>
                  <a:lnTo>
                    <a:pt x="21" y="151"/>
                  </a:lnTo>
                  <a:lnTo>
                    <a:pt x="21" y="144"/>
                  </a:lnTo>
                  <a:lnTo>
                    <a:pt x="16" y="141"/>
                  </a:lnTo>
                  <a:lnTo>
                    <a:pt x="14" y="123"/>
                  </a:lnTo>
                  <a:lnTo>
                    <a:pt x="12" y="118"/>
                  </a:lnTo>
                  <a:lnTo>
                    <a:pt x="12" y="101"/>
                  </a:lnTo>
                  <a:lnTo>
                    <a:pt x="7" y="90"/>
                  </a:lnTo>
                  <a:lnTo>
                    <a:pt x="7" y="78"/>
                  </a:lnTo>
                  <a:lnTo>
                    <a:pt x="12" y="71"/>
                  </a:lnTo>
                  <a:lnTo>
                    <a:pt x="7" y="56"/>
                  </a:lnTo>
                  <a:lnTo>
                    <a:pt x="0" y="47"/>
                  </a:lnTo>
                  <a:lnTo>
                    <a:pt x="0" y="40"/>
                  </a:lnTo>
                  <a:lnTo>
                    <a:pt x="113" y="33"/>
                  </a:lnTo>
                  <a:lnTo>
                    <a:pt x="120" y="33"/>
                  </a:lnTo>
                  <a:lnTo>
                    <a:pt x="120" y="0"/>
                  </a:lnTo>
                  <a:lnTo>
                    <a:pt x="120" y="4"/>
                  </a:lnTo>
                  <a:lnTo>
                    <a:pt x="130" y="4"/>
                  </a:lnTo>
                  <a:lnTo>
                    <a:pt x="130" y="0"/>
                  </a:lnTo>
                  <a:lnTo>
                    <a:pt x="135" y="4"/>
                  </a:lnTo>
                  <a:lnTo>
                    <a:pt x="142" y="7"/>
                  </a:lnTo>
                  <a:lnTo>
                    <a:pt x="142" y="21"/>
                  </a:lnTo>
                  <a:lnTo>
                    <a:pt x="144" y="26"/>
                  </a:lnTo>
                  <a:lnTo>
                    <a:pt x="149" y="30"/>
                  </a:lnTo>
                  <a:lnTo>
                    <a:pt x="149" y="40"/>
                  </a:lnTo>
                  <a:lnTo>
                    <a:pt x="151" y="40"/>
                  </a:lnTo>
                  <a:lnTo>
                    <a:pt x="151" y="54"/>
                  </a:lnTo>
                  <a:lnTo>
                    <a:pt x="153" y="56"/>
                  </a:lnTo>
                  <a:lnTo>
                    <a:pt x="158" y="56"/>
                  </a:lnTo>
                  <a:lnTo>
                    <a:pt x="161" y="61"/>
                  </a:lnTo>
                  <a:lnTo>
                    <a:pt x="165" y="61"/>
                  </a:lnTo>
                  <a:lnTo>
                    <a:pt x="168" y="56"/>
                  </a:lnTo>
                  <a:lnTo>
                    <a:pt x="177" y="56"/>
                  </a:lnTo>
                  <a:lnTo>
                    <a:pt x="177" y="61"/>
                  </a:lnTo>
                  <a:lnTo>
                    <a:pt x="184" y="64"/>
                  </a:lnTo>
                  <a:lnTo>
                    <a:pt x="201" y="64"/>
                  </a:lnTo>
                  <a:lnTo>
                    <a:pt x="205" y="66"/>
                  </a:lnTo>
                  <a:lnTo>
                    <a:pt x="205" y="73"/>
                  </a:lnTo>
                  <a:lnTo>
                    <a:pt x="210" y="73"/>
                  </a:lnTo>
                  <a:lnTo>
                    <a:pt x="215" y="71"/>
                  </a:lnTo>
                  <a:lnTo>
                    <a:pt x="222" y="71"/>
                  </a:lnTo>
                  <a:lnTo>
                    <a:pt x="224" y="66"/>
                  </a:lnTo>
                  <a:lnTo>
                    <a:pt x="224" y="64"/>
                  </a:lnTo>
                  <a:lnTo>
                    <a:pt x="227" y="64"/>
                  </a:lnTo>
                  <a:lnTo>
                    <a:pt x="231" y="61"/>
                  </a:lnTo>
                  <a:lnTo>
                    <a:pt x="238" y="56"/>
                  </a:lnTo>
                  <a:lnTo>
                    <a:pt x="255" y="56"/>
                  </a:lnTo>
                  <a:lnTo>
                    <a:pt x="267" y="64"/>
                  </a:lnTo>
                  <a:lnTo>
                    <a:pt x="272" y="71"/>
                  </a:lnTo>
                  <a:lnTo>
                    <a:pt x="279" y="73"/>
                  </a:lnTo>
                  <a:lnTo>
                    <a:pt x="286" y="78"/>
                  </a:lnTo>
                  <a:lnTo>
                    <a:pt x="288" y="85"/>
                  </a:lnTo>
                  <a:lnTo>
                    <a:pt x="290" y="90"/>
                  </a:lnTo>
                  <a:lnTo>
                    <a:pt x="295" y="90"/>
                  </a:lnTo>
                  <a:lnTo>
                    <a:pt x="295" y="87"/>
                  </a:lnTo>
                  <a:lnTo>
                    <a:pt x="298" y="87"/>
                  </a:lnTo>
                  <a:lnTo>
                    <a:pt x="295" y="85"/>
                  </a:lnTo>
                  <a:lnTo>
                    <a:pt x="298" y="80"/>
                  </a:lnTo>
                  <a:lnTo>
                    <a:pt x="302" y="78"/>
                  </a:lnTo>
                  <a:lnTo>
                    <a:pt x="312" y="78"/>
                  </a:lnTo>
                  <a:lnTo>
                    <a:pt x="312" y="85"/>
                  </a:lnTo>
                  <a:lnTo>
                    <a:pt x="314" y="87"/>
                  </a:lnTo>
                  <a:lnTo>
                    <a:pt x="319" y="87"/>
                  </a:lnTo>
                  <a:lnTo>
                    <a:pt x="321" y="90"/>
                  </a:lnTo>
                  <a:lnTo>
                    <a:pt x="328" y="90"/>
                  </a:lnTo>
                  <a:lnTo>
                    <a:pt x="331" y="94"/>
                  </a:lnTo>
                  <a:lnTo>
                    <a:pt x="335" y="97"/>
                  </a:lnTo>
                  <a:lnTo>
                    <a:pt x="342" y="97"/>
                  </a:lnTo>
                  <a:lnTo>
                    <a:pt x="347" y="101"/>
                  </a:lnTo>
                  <a:lnTo>
                    <a:pt x="352" y="101"/>
                  </a:lnTo>
                  <a:lnTo>
                    <a:pt x="354" y="97"/>
                  </a:lnTo>
                  <a:lnTo>
                    <a:pt x="361" y="97"/>
                  </a:lnTo>
                  <a:lnTo>
                    <a:pt x="361" y="94"/>
                  </a:lnTo>
                  <a:lnTo>
                    <a:pt x="364" y="90"/>
                  </a:lnTo>
                  <a:lnTo>
                    <a:pt x="375" y="85"/>
                  </a:lnTo>
                  <a:lnTo>
                    <a:pt x="378" y="80"/>
                  </a:lnTo>
                  <a:lnTo>
                    <a:pt x="383" y="80"/>
                  </a:lnTo>
                  <a:lnTo>
                    <a:pt x="383" y="85"/>
                  </a:lnTo>
                  <a:lnTo>
                    <a:pt x="387" y="90"/>
                  </a:lnTo>
                  <a:lnTo>
                    <a:pt x="387" y="94"/>
                  </a:lnTo>
                  <a:lnTo>
                    <a:pt x="418" y="87"/>
                  </a:lnTo>
                  <a:lnTo>
                    <a:pt x="427" y="87"/>
                  </a:lnTo>
                  <a:lnTo>
                    <a:pt x="432" y="90"/>
                  </a:lnTo>
                  <a:lnTo>
                    <a:pt x="435" y="94"/>
                  </a:lnTo>
                  <a:lnTo>
                    <a:pt x="444" y="94"/>
                  </a:lnTo>
                  <a:lnTo>
                    <a:pt x="449" y="90"/>
                  </a:lnTo>
                  <a:lnTo>
                    <a:pt x="465" y="90"/>
                  </a:lnTo>
                  <a:lnTo>
                    <a:pt x="456" y="123"/>
                  </a:lnTo>
                  <a:lnTo>
                    <a:pt x="444" y="158"/>
                  </a:lnTo>
                  <a:lnTo>
                    <a:pt x="425" y="16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5" name="Freeform 139">
              <a:extLst>
                <a:ext uri="{FF2B5EF4-FFF2-40B4-BE49-F238E27FC236}">
                  <a16:creationId xmlns:a16="http://schemas.microsoft.com/office/drawing/2014/main" id="{79DF02B5-5F67-4EF7-8C5D-E3183882E86B}"/>
                </a:ext>
              </a:extLst>
            </p:cNvPr>
            <p:cNvSpPr>
              <a:spLocks/>
            </p:cNvSpPr>
            <p:nvPr/>
          </p:nvSpPr>
          <p:spPr bwMode="gray">
            <a:xfrm rot="47099">
              <a:off x="934850" y="2879501"/>
              <a:ext cx="193263" cy="317429"/>
            </a:xfrm>
            <a:custGeom>
              <a:avLst/>
              <a:gdLst>
                <a:gd name="T0" fmla="*/ 135 w 418"/>
                <a:gd name="T1" fmla="*/ 643 h 683"/>
                <a:gd name="T2" fmla="*/ 111 w 418"/>
                <a:gd name="T3" fmla="*/ 638 h 683"/>
                <a:gd name="T4" fmla="*/ 80 w 418"/>
                <a:gd name="T5" fmla="*/ 633 h 683"/>
                <a:gd name="T6" fmla="*/ 54 w 418"/>
                <a:gd name="T7" fmla="*/ 626 h 683"/>
                <a:gd name="T8" fmla="*/ 24 w 418"/>
                <a:gd name="T9" fmla="*/ 621 h 683"/>
                <a:gd name="T10" fmla="*/ 0 w 418"/>
                <a:gd name="T11" fmla="*/ 614 h 683"/>
                <a:gd name="T12" fmla="*/ 17 w 418"/>
                <a:gd name="T13" fmla="*/ 524 h 683"/>
                <a:gd name="T14" fmla="*/ 45 w 418"/>
                <a:gd name="T15" fmla="*/ 432 h 683"/>
                <a:gd name="T16" fmla="*/ 38 w 418"/>
                <a:gd name="T17" fmla="*/ 416 h 683"/>
                <a:gd name="T18" fmla="*/ 31 w 418"/>
                <a:gd name="T19" fmla="*/ 402 h 683"/>
                <a:gd name="T20" fmla="*/ 47 w 418"/>
                <a:gd name="T21" fmla="*/ 376 h 683"/>
                <a:gd name="T22" fmla="*/ 57 w 418"/>
                <a:gd name="T23" fmla="*/ 371 h 683"/>
                <a:gd name="T24" fmla="*/ 71 w 418"/>
                <a:gd name="T25" fmla="*/ 347 h 683"/>
                <a:gd name="T26" fmla="*/ 102 w 418"/>
                <a:gd name="T27" fmla="*/ 307 h 683"/>
                <a:gd name="T28" fmla="*/ 97 w 418"/>
                <a:gd name="T29" fmla="*/ 291 h 683"/>
                <a:gd name="T30" fmla="*/ 85 w 418"/>
                <a:gd name="T31" fmla="*/ 274 h 683"/>
                <a:gd name="T32" fmla="*/ 85 w 418"/>
                <a:gd name="T33" fmla="*/ 250 h 683"/>
                <a:gd name="T34" fmla="*/ 80 w 418"/>
                <a:gd name="T35" fmla="*/ 227 h 683"/>
                <a:gd name="T36" fmla="*/ 104 w 418"/>
                <a:gd name="T37" fmla="*/ 113 h 683"/>
                <a:gd name="T38" fmla="*/ 135 w 418"/>
                <a:gd name="T39" fmla="*/ 0 h 683"/>
                <a:gd name="T40" fmla="*/ 170 w 418"/>
                <a:gd name="T41" fmla="*/ 94 h 683"/>
                <a:gd name="T42" fmla="*/ 177 w 418"/>
                <a:gd name="T43" fmla="*/ 118 h 683"/>
                <a:gd name="T44" fmla="*/ 182 w 418"/>
                <a:gd name="T45" fmla="*/ 130 h 683"/>
                <a:gd name="T46" fmla="*/ 187 w 418"/>
                <a:gd name="T47" fmla="*/ 165 h 683"/>
                <a:gd name="T48" fmla="*/ 215 w 418"/>
                <a:gd name="T49" fmla="*/ 205 h 683"/>
                <a:gd name="T50" fmla="*/ 232 w 418"/>
                <a:gd name="T51" fmla="*/ 234 h 683"/>
                <a:gd name="T52" fmla="*/ 248 w 418"/>
                <a:gd name="T53" fmla="*/ 241 h 683"/>
                <a:gd name="T54" fmla="*/ 227 w 418"/>
                <a:gd name="T55" fmla="*/ 291 h 683"/>
                <a:gd name="T56" fmla="*/ 232 w 418"/>
                <a:gd name="T57" fmla="*/ 305 h 683"/>
                <a:gd name="T58" fmla="*/ 222 w 418"/>
                <a:gd name="T59" fmla="*/ 314 h 683"/>
                <a:gd name="T60" fmla="*/ 232 w 418"/>
                <a:gd name="T61" fmla="*/ 343 h 683"/>
                <a:gd name="T62" fmla="*/ 251 w 418"/>
                <a:gd name="T63" fmla="*/ 328 h 683"/>
                <a:gd name="T64" fmla="*/ 265 w 418"/>
                <a:gd name="T65" fmla="*/ 368 h 683"/>
                <a:gd name="T66" fmla="*/ 274 w 418"/>
                <a:gd name="T67" fmla="*/ 387 h 683"/>
                <a:gd name="T68" fmla="*/ 274 w 418"/>
                <a:gd name="T69" fmla="*/ 399 h 683"/>
                <a:gd name="T70" fmla="*/ 284 w 418"/>
                <a:gd name="T71" fmla="*/ 411 h 683"/>
                <a:gd name="T72" fmla="*/ 291 w 418"/>
                <a:gd name="T73" fmla="*/ 418 h 683"/>
                <a:gd name="T74" fmla="*/ 303 w 418"/>
                <a:gd name="T75" fmla="*/ 451 h 683"/>
                <a:gd name="T76" fmla="*/ 307 w 418"/>
                <a:gd name="T77" fmla="*/ 449 h 683"/>
                <a:gd name="T78" fmla="*/ 331 w 418"/>
                <a:gd name="T79" fmla="*/ 451 h 683"/>
                <a:gd name="T80" fmla="*/ 355 w 418"/>
                <a:gd name="T81" fmla="*/ 449 h 683"/>
                <a:gd name="T82" fmla="*/ 392 w 418"/>
                <a:gd name="T83" fmla="*/ 451 h 683"/>
                <a:gd name="T84" fmla="*/ 399 w 418"/>
                <a:gd name="T85" fmla="*/ 439 h 683"/>
                <a:gd name="T86" fmla="*/ 411 w 418"/>
                <a:gd name="T87" fmla="*/ 449 h 683"/>
                <a:gd name="T88" fmla="*/ 418 w 418"/>
                <a:gd name="T89" fmla="*/ 461 h 683"/>
                <a:gd name="T90" fmla="*/ 416 w 418"/>
                <a:gd name="T91" fmla="*/ 484 h 683"/>
                <a:gd name="T92" fmla="*/ 409 w 418"/>
                <a:gd name="T93" fmla="*/ 536 h 683"/>
                <a:gd name="T94" fmla="*/ 402 w 418"/>
                <a:gd name="T95" fmla="*/ 602 h 683"/>
                <a:gd name="T96" fmla="*/ 388 w 418"/>
                <a:gd name="T97" fmla="*/ 683 h 6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8"/>
                <a:gd name="T148" fmla="*/ 0 h 683"/>
                <a:gd name="T149" fmla="*/ 418 w 418"/>
                <a:gd name="T150" fmla="*/ 683 h 6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8" h="683">
                  <a:moveTo>
                    <a:pt x="291" y="669"/>
                  </a:moveTo>
                  <a:lnTo>
                    <a:pt x="194" y="652"/>
                  </a:lnTo>
                  <a:lnTo>
                    <a:pt x="135" y="643"/>
                  </a:lnTo>
                  <a:lnTo>
                    <a:pt x="125" y="643"/>
                  </a:lnTo>
                  <a:lnTo>
                    <a:pt x="114" y="638"/>
                  </a:lnTo>
                  <a:lnTo>
                    <a:pt x="111" y="638"/>
                  </a:lnTo>
                  <a:lnTo>
                    <a:pt x="104" y="635"/>
                  </a:lnTo>
                  <a:lnTo>
                    <a:pt x="97" y="635"/>
                  </a:lnTo>
                  <a:lnTo>
                    <a:pt x="80" y="633"/>
                  </a:lnTo>
                  <a:lnTo>
                    <a:pt x="69" y="628"/>
                  </a:lnTo>
                  <a:lnTo>
                    <a:pt x="57" y="628"/>
                  </a:lnTo>
                  <a:lnTo>
                    <a:pt x="54" y="626"/>
                  </a:lnTo>
                  <a:lnTo>
                    <a:pt x="47" y="626"/>
                  </a:lnTo>
                  <a:lnTo>
                    <a:pt x="29" y="621"/>
                  </a:lnTo>
                  <a:lnTo>
                    <a:pt x="24" y="621"/>
                  </a:lnTo>
                  <a:lnTo>
                    <a:pt x="14" y="619"/>
                  </a:lnTo>
                  <a:lnTo>
                    <a:pt x="5" y="614"/>
                  </a:lnTo>
                  <a:lnTo>
                    <a:pt x="0" y="614"/>
                  </a:lnTo>
                  <a:lnTo>
                    <a:pt x="0" y="612"/>
                  </a:lnTo>
                  <a:lnTo>
                    <a:pt x="14" y="555"/>
                  </a:lnTo>
                  <a:lnTo>
                    <a:pt x="17" y="524"/>
                  </a:lnTo>
                  <a:lnTo>
                    <a:pt x="24" y="498"/>
                  </a:lnTo>
                  <a:lnTo>
                    <a:pt x="33" y="458"/>
                  </a:lnTo>
                  <a:lnTo>
                    <a:pt x="45" y="432"/>
                  </a:lnTo>
                  <a:lnTo>
                    <a:pt x="47" y="425"/>
                  </a:lnTo>
                  <a:lnTo>
                    <a:pt x="45" y="418"/>
                  </a:lnTo>
                  <a:lnTo>
                    <a:pt x="38" y="416"/>
                  </a:lnTo>
                  <a:lnTo>
                    <a:pt x="33" y="416"/>
                  </a:lnTo>
                  <a:lnTo>
                    <a:pt x="31" y="411"/>
                  </a:lnTo>
                  <a:lnTo>
                    <a:pt x="31" y="402"/>
                  </a:lnTo>
                  <a:lnTo>
                    <a:pt x="33" y="394"/>
                  </a:lnTo>
                  <a:lnTo>
                    <a:pt x="40" y="385"/>
                  </a:lnTo>
                  <a:lnTo>
                    <a:pt x="47" y="376"/>
                  </a:lnTo>
                  <a:lnTo>
                    <a:pt x="50" y="376"/>
                  </a:lnTo>
                  <a:lnTo>
                    <a:pt x="54" y="371"/>
                  </a:lnTo>
                  <a:lnTo>
                    <a:pt x="57" y="371"/>
                  </a:lnTo>
                  <a:lnTo>
                    <a:pt x="62" y="368"/>
                  </a:lnTo>
                  <a:lnTo>
                    <a:pt x="69" y="354"/>
                  </a:lnTo>
                  <a:lnTo>
                    <a:pt x="71" y="347"/>
                  </a:lnTo>
                  <a:lnTo>
                    <a:pt x="88" y="324"/>
                  </a:lnTo>
                  <a:lnTo>
                    <a:pt x="88" y="321"/>
                  </a:lnTo>
                  <a:lnTo>
                    <a:pt x="102" y="307"/>
                  </a:lnTo>
                  <a:lnTo>
                    <a:pt x="102" y="295"/>
                  </a:lnTo>
                  <a:lnTo>
                    <a:pt x="97" y="295"/>
                  </a:lnTo>
                  <a:lnTo>
                    <a:pt x="97" y="291"/>
                  </a:lnTo>
                  <a:lnTo>
                    <a:pt x="90" y="283"/>
                  </a:lnTo>
                  <a:lnTo>
                    <a:pt x="88" y="281"/>
                  </a:lnTo>
                  <a:lnTo>
                    <a:pt x="85" y="274"/>
                  </a:lnTo>
                  <a:lnTo>
                    <a:pt x="80" y="265"/>
                  </a:lnTo>
                  <a:lnTo>
                    <a:pt x="80" y="250"/>
                  </a:lnTo>
                  <a:lnTo>
                    <a:pt x="85" y="250"/>
                  </a:lnTo>
                  <a:lnTo>
                    <a:pt x="85" y="241"/>
                  </a:lnTo>
                  <a:lnTo>
                    <a:pt x="80" y="239"/>
                  </a:lnTo>
                  <a:lnTo>
                    <a:pt x="80" y="227"/>
                  </a:lnTo>
                  <a:lnTo>
                    <a:pt x="85" y="210"/>
                  </a:lnTo>
                  <a:lnTo>
                    <a:pt x="95" y="161"/>
                  </a:lnTo>
                  <a:lnTo>
                    <a:pt x="104" y="113"/>
                  </a:lnTo>
                  <a:lnTo>
                    <a:pt x="111" y="94"/>
                  </a:lnTo>
                  <a:lnTo>
                    <a:pt x="130" y="0"/>
                  </a:lnTo>
                  <a:lnTo>
                    <a:pt x="135" y="0"/>
                  </a:lnTo>
                  <a:lnTo>
                    <a:pt x="187" y="14"/>
                  </a:lnTo>
                  <a:lnTo>
                    <a:pt x="184" y="24"/>
                  </a:lnTo>
                  <a:lnTo>
                    <a:pt x="170" y="94"/>
                  </a:lnTo>
                  <a:lnTo>
                    <a:pt x="168" y="102"/>
                  </a:lnTo>
                  <a:lnTo>
                    <a:pt x="175" y="109"/>
                  </a:lnTo>
                  <a:lnTo>
                    <a:pt x="177" y="118"/>
                  </a:lnTo>
                  <a:lnTo>
                    <a:pt x="177" y="125"/>
                  </a:lnTo>
                  <a:lnTo>
                    <a:pt x="182" y="128"/>
                  </a:lnTo>
                  <a:lnTo>
                    <a:pt x="182" y="130"/>
                  </a:lnTo>
                  <a:lnTo>
                    <a:pt x="184" y="137"/>
                  </a:lnTo>
                  <a:lnTo>
                    <a:pt x="184" y="158"/>
                  </a:lnTo>
                  <a:lnTo>
                    <a:pt x="187" y="165"/>
                  </a:lnTo>
                  <a:lnTo>
                    <a:pt x="199" y="175"/>
                  </a:lnTo>
                  <a:lnTo>
                    <a:pt x="206" y="184"/>
                  </a:lnTo>
                  <a:lnTo>
                    <a:pt x="215" y="205"/>
                  </a:lnTo>
                  <a:lnTo>
                    <a:pt x="215" y="215"/>
                  </a:lnTo>
                  <a:lnTo>
                    <a:pt x="217" y="215"/>
                  </a:lnTo>
                  <a:lnTo>
                    <a:pt x="232" y="234"/>
                  </a:lnTo>
                  <a:lnTo>
                    <a:pt x="232" y="239"/>
                  </a:lnTo>
                  <a:lnTo>
                    <a:pt x="248" y="239"/>
                  </a:lnTo>
                  <a:lnTo>
                    <a:pt x="248" y="241"/>
                  </a:lnTo>
                  <a:lnTo>
                    <a:pt x="239" y="262"/>
                  </a:lnTo>
                  <a:lnTo>
                    <a:pt x="234" y="272"/>
                  </a:lnTo>
                  <a:lnTo>
                    <a:pt x="227" y="291"/>
                  </a:lnTo>
                  <a:lnTo>
                    <a:pt x="227" y="295"/>
                  </a:lnTo>
                  <a:lnTo>
                    <a:pt x="232" y="295"/>
                  </a:lnTo>
                  <a:lnTo>
                    <a:pt x="232" y="305"/>
                  </a:lnTo>
                  <a:lnTo>
                    <a:pt x="227" y="307"/>
                  </a:lnTo>
                  <a:lnTo>
                    <a:pt x="225" y="307"/>
                  </a:lnTo>
                  <a:lnTo>
                    <a:pt x="222" y="314"/>
                  </a:lnTo>
                  <a:lnTo>
                    <a:pt x="222" y="331"/>
                  </a:lnTo>
                  <a:lnTo>
                    <a:pt x="227" y="338"/>
                  </a:lnTo>
                  <a:lnTo>
                    <a:pt x="232" y="343"/>
                  </a:lnTo>
                  <a:lnTo>
                    <a:pt x="234" y="343"/>
                  </a:lnTo>
                  <a:lnTo>
                    <a:pt x="243" y="338"/>
                  </a:lnTo>
                  <a:lnTo>
                    <a:pt x="251" y="328"/>
                  </a:lnTo>
                  <a:lnTo>
                    <a:pt x="258" y="328"/>
                  </a:lnTo>
                  <a:lnTo>
                    <a:pt x="265" y="338"/>
                  </a:lnTo>
                  <a:lnTo>
                    <a:pt x="265" y="368"/>
                  </a:lnTo>
                  <a:lnTo>
                    <a:pt x="272" y="383"/>
                  </a:lnTo>
                  <a:lnTo>
                    <a:pt x="274" y="385"/>
                  </a:lnTo>
                  <a:lnTo>
                    <a:pt x="274" y="387"/>
                  </a:lnTo>
                  <a:lnTo>
                    <a:pt x="279" y="392"/>
                  </a:lnTo>
                  <a:lnTo>
                    <a:pt x="279" y="394"/>
                  </a:lnTo>
                  <a:lnTo>
                    <a:pt x="274" y="399"/>
                  </a:lnTo>
                  <a:lnTo>
                    <a:pt x="274" y="409"/>
                  </a:lnTo>
                  <a:lnTo>
                    <a:pt x="281" y="416"/>
                  </a:lnTo>
                  <a:lnTo>
                    <a:pt x="284" y="411"/>
                  </a:lnTo>
                  <a:lnTo>
                    <a:pt x="288" y="411"/>
                  </a:lnTo>
                  <a:lnTo>
                    <a:pt x="288" y="416"/>
                  </a:lnTo>
                  <a:lnTo>
                    <a:pt x="291" y="418"/>
                  </a:lnTo>
                  <a:lnTo>
                    <a:pt x="295" y="420"/>
                  </a:lnTo>
                  <a:lnTo>
                    <a:pt x="295" y="449"/>
                  </a:lnTo>
                  <a:lnTo>
                    <a:pt x="303" y="451"/>
                  </a:lnTo>
                  <a:lnTo>
                    <a:pt x="305" y="456"/>
                  </a:lnTo>
                  <a:lnTo>
                    <a:pt x="307" y="451"/>
                  </a:lnTo>
                  <a:lnTo>
                    <a:pt x="307" y="449"/>
                  </a:lnTo>
                  <a:lnTo>
                    <a:pt x="312" y="449"/>
                  </a:lnTo>
                  <a:lnTo>
                    <a:pt x="319" y="444"/>
                  </a:lnTo>
                  <a:lnTo>
                    <a:pt x="331" y="451"/>
                  </a:lnTo>
                  <a:lnTo>
                    <a:pt x="338" y="444"/>
                  </a:lnTo>
                  <a:lnTo>
                    <a:pt x="352" y="444"/>
                  </a:lnTo>
                  <a:lnTo>
                    <a:pt x="355" y="449"/>
                  </a:lnTo>
                  <a:lnTo>
                    <a:pt x="369" y="449"/>
                  </a:lnTo>
                  <a:lnTo>
                    <a:pt x="371" y="451"/>
                  </a:lnTo>
                  <a:lnTo>
                    <a:pt x="392" y="451"/>
                  </a:lnTo>
                  <a:lnTo>
                    <a:pt x="392" y="444"/>
                  </a:lnTo>
                  <a:lnTo>
                    <a:pt x="395" y="439"/>
                  </a:lnTo>
                  <a:lnTo>
                    <a:pt x="399" y="439"/>
                  </a:lnTo>
                  <a:lnTo>
                    <a:pt x="402" y="435"/>
                  </a:lnTo>
                  <a:lnTo>
                    <a:pt x="404" y="439"/>
                  </a:lnTo>
                  <a:lnTo>
                    <a:pt x="411" y="449"/>
                  </a:lnTo>
                  <a:lnTo>
                    <a:pt x="411" y="451"/>
                  </a:lnTo>
                  <a:lnTo>
                    <a:pt x="416" y="461"/>
                  </a:lnTo>
                  <a:lnTo>
                    <a:pt x="418" y="461"/>
                  </a:lnTo>
                  <a:lnTo>
                    <a:pt x="418" y="465"/>
                  </a:lnTo>
                  <a:lnTo>
                    <a:pt x="416" y="482"/>
                  </a:lnTo>
                  <a:lnTo>
                    <a:pt x="416" y="484"/>
                  </a:lnTo>
                  <a:lnTo>
                    <a:pt x="411" y="508"/>
                  </a:lnTo>
                  <a:lnTo>
                    <a:pt x="411" y="517"/>
                  </a:lnTo>
                  <a:lnTo>
                    <a:pt x="409" y="536"/>
                  </a:lnTo>
                  <a:lnTo>
                    <a:pt x="409" y="553"/>
                  </a:lnTo>
                  <a:lnTo>
                    <a:pt x="402" y="595"/>
                  </a:lnTo>
                  <a:lnTo>
                    <a:pt x="402" y="602"/>
                  </a:lnTo>
                  <a:lnTo>
                    <a:pt x="395" y="635"/>
                  </a:lnTo>
                  <a:lnTo>
                    <a:pt x="392" y="676"/>
                  </a:lnTo>
                  <a:lnTo>
                    <a:pt x="388" y="683"/>
                  </a:lnTo>
                  <a:lnTo>
                    <a:pt x="291" y="66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6" name="Freeform 140">
              <a:extLst>
                <a:ext uri="{FF2B5EF4-FFF2-40B4-BE49-F238E27FC236}">
                  <a16:creationId xmlns:a16="http://schemas.microsoft.com/office/drawing/2014/main" id="{89EAC8F6-3FAE-498D-878A-1509748C6B56}"/>
                </a:ext>
              </a:extLst>
            </p:cNvPr>
            <p:cNvSpPr>
              <a:spLocks/>
            </p:cNvSpPr>
            <p:nvPr/>
          </p:nvSpPr>
          <p:spPr bwMode="gray">
            <a:xfrm rot="47099">
              <a:off x="1012993" y="2887320"/>
              <a:ext cx="333980" cy="207439"/>
            </a:xfrm>
            <a:custGeom>
              <a:avLst/>
              <a:gdLst>
                <a:gd name="T0" fmla="*/ 661 w 718"/>
                <a:gd name="T1" fmla="*/ 442 h 447"/>
                <a:gd name="T2" fmla="*/ 567 w 718"/>
                <a:gd name="T3" fmla="*/ 437 h 447"/>
                <a:gd name="T4" fmla="*/ 524 w 718"/>
                <a:gd name="T5" fmla="*/ 430 h 447"/>
                <a:gd name="T6" fmla="*/ 458 w 718"/>
                <a:gd name="T7" fmla="*/ 428 h 447"/>
                <a:gd name="T8" fmla="*/ 390 w 718"/>
                <a:gd name="T9" fmla="*/ 421 h 447"/>
                <a:gd name="T10" fmla="*/ 354 w 718"/>
                <a:gd name="T11" fmla="*/ 414 h 447"/>
                <a:gd name="T12" fmla="*/ 305 w 718"/>
                <a:gd name="T13" fmla="*/ 411 h 447"/>
                <a:gd name="T14" fmla="*/ 257 w 718"/>
                <a:gd name="T15" fmla="*/ 404 h 447"/>
                <a:gd name="T16" fmla="*/ 250 w 718"/>
                <a:gd name="T17" fmla="*/ 444 h 447"/>
                <a:gd name="T18" fmla="*/ 243 w 718"/>
                <a:gd name="T19" fmla="*/ 437 h 447"/>
                <a:gd name="T20" fmla="*/ 234 w 718"/>
                <a:gd name="T21" fmla="*/ 421 h 447"/>
                <a:gd name="T22" fmla="*/ 224 w 718"/>
                <a:gd name="T23" fmla="*/ 430 h 447"/>
                <a:gd name="T24" fmla="*/ 201 w 718"/>
                <a:gd name="T25" fmla="*/ 435 h 447"/>
                <a:gd name="T26" fmla="*/ 170 w 718"/>
                <a:gd name="T27" fmla="*/ 430 h 447"/>
                <a:gd name="T28" fmla="*/ 144 w 718"/>
                <a:gd name="T29" fmla="*/ 435 h 447"/>
                <a:gd name="T30" fmla="*/ 137 w 718"/>
                <a:gd name="T31" fmla="*/ 442 h 447"/>
                <a:gd name="T32" fmla="*/ 127 w 718"/>
                <a:gd name="T33" fmla="*/ 406 h 447"/>
                <a:gd name="T34" fmla="*/ 120 w 718"/>
                <a:gd name="T35" fmla="*/ 397 h 447"/>
                <a:gd name="T36" fmla="*/ 106 w 718"/>
                <a:gd name="T37" fmla="*/ 395 h 447"/>
                <a:gd name="T38" fmla="*/ 111 w 718"/>
                <a:gd name="T39" fmla="*/ 378 h 447"/>
                <a:gd name="T40" fmla="*/ 104 w 718"/>
                <a:gd name="T41" fmla="*/ 369 h 447"/>
                <a:gd name="T42" fmla="*/ 90 w 718"/>
                <a:gd name="T43" fmla="*/ 314 h 447"/>
                <a:gd name="T44" fmla="*/ 66 w 718"/>
                <a:gd name="T45" fmla="*/ 329 h 447"/>
                <a:gd name="T46" fmla="*/ 54 w 718"/>
                <a:gd name="T47" fmla="*/ 317 h 447"/>
                <a:gd name="T48" fmla="*/ 59 w 718"/>
                <a:gd name="T49" fmla="*/ 293 h 447"/>
                <a:gd name="T50" fmla="*/ 59 w 718"/>
                <a:gd name="T51" fmla="*/ 281 h 447"/>
                <a:gd name="T52" fmla="*/ 71 w 718"/>
                <a:gd name="T53" fmla="*/ 248 h 447"/>
                <a:gd name="T54" fmla="*/ 64 w 718"/>
                <a:gd name="T55" fmla="*/ 225 h 447"/>
                <a:gd name="T56" fmla="*/ 47 w 718"/>
                <a:gd name="T57" fmla="*/ 201 h 447"/>
                <a:gd name="T58" fmla="*/ 31 w 718"/>
                <a:gd name="T59" fmla="*/ 161 h 447"/>
                <a:gd name="T60" fmla="*/ 16 w 718"/>
                <a:gd name="T61" fmla="*/ 123 h 447"/>
                <a:gd name="T62" fmla="*/ 9 w 718"/>
                <a:gd name="T63" fmla="*/ 111 h 447"/>
                <a:gd name="T64" fmla="*/ 0 w 718"/>
                <a:gd name="T65" fmla="*/ 88 h 447"/>
                <a:gd name="T66" fmla="*/ 19 w 718"/>
                <a:gd name="T67" fmla="*/ 0 h 447"/>
                <a:gd name="T68" fmla="*/ 54 w 718"/>
                <a:gd name="T69" fmla="*/ 7 h 447"/>
                <a:gd name="T70" fmla="*/ 87 w 718"/>
                <a:gd name="T71" fmla="*/ 10 h 447"/>
                <a:gd name="T72" fmla="*/ 116 w 718"/>
                <a:gd name="T73" fmla="*/ 17 h 447"/>
                <a:gd name="T74" fmla="*/ 175 w 718"/>
                <a:gd name="T75" fmla="*/ 26 h 447"/>
                <a:gd name="T76" fmla="*/ 217 w 718"/>
                <a:gd name="T77" fmla="*/ 33 h 447"/>
                <a:gd name="T78" fmla="*/ 243 w 718"/>
                <a:gd name="T79" fmla="*/ 40 h 447"/>
                <a:gd name="T80" fmla="*/ 290 w 718"/>
                <a:gd name="T81" fmla="*/ 47 h 447"/>
                <a:gd name="T82" fmla="*/ 340 w 718"/>
                <a:gd name="T83" fmla="*/ 54 h 447"/>
                <a:gd name="T84" fmla="*/ 380 w 718"/>
                <a:gd name="T85" fmla="*/ 57 h 447"/>
                <a:gd name="T86" fmla="*/ 437 w 718"/>
                <a:gd name="T87" fmla="*/ 64 h 447"/>
                <a:gd name="T88" fmla="*/ 475 w 718"/>
                <a:gd name="T89" fmla="*/ 71 h 447"/>
                <a:gd name="T90" fmla="*/ 524 w 718"/>
                <a:gd name="T91" fmla="*/ 73 h 447"/>
                <a:gd name="T92" fmla="*/ 583 w 718"/>
                <a:gd name="T93" fmla="*/ 80 h 447"/>
                <a:gd name="T94" fmla="*/ 668 w 718"/>
                <a:gd name="T95" fmla="*/ 83 h 447"/>
                <a:gd name="T96" fmla="*/ 716 w 718"/>
                <a:gd name="T97" fmla="*/ 97 h 447"/>
                <a:gd name="T98" fmla="*/ 711 w 718"/>
                <a:gd name="T99" fmla="*/ 234 h 447"/>
                <a:gd name="T100" fmla="*/ 704 w 718"/>
                <a:gd name="T101" fmla="*/ 329 h 447"/>
                <a:gd name="T102" fmla="*/ 701 w 718"/>
                <a:gd name="T103" fmla="*/ 444 h 4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18"/>
                <a:gd name="T157" fmla="*/ 0 h 447"/>
                <a:gd name="T158" fmla="*/ 718 w 718"/>
                <a:gd name="T159" fmla="*/ 447 h 4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18" h="447">
                  <a:moveTo>
                    <a:pt x="699" y="444"/>
                  </a:moveTo>
                  <a:lnTo>
                    <a:pt x="664" y="444"/>
                  </a:lnTo>
                  <a:lnTo>
                    <a:pt x="661" y="442"/>
                  </a:lnTo>
                  <a:lnTo>
                    <a:pt x="612" y="442"/>
                  </a:lnTo>
                  <a:lnTo>
                    <a:pt x="595" y="437"/>
                  </a:lnTo>
                  <a:lnTo>
                    <a:pt x="567" y="437"/>
                  </a:lnTo>
                  <a:lnTo>
                    <a:pt x="562" y="435"/>
                  </a:lnTo>
                  <a:lnTo>
                    <a:pt x="527" y="435"/>
                  </a:lnTo>
                  <a:lnTo>
                    <a:pt x="524" y="430"/>
                  </a:lnTo>
                  <a:lnTo>
                    <a:pt x="491" y="430"/>
                  </a:lnTo>
                  <a:lnTo>
                    <a:pt x="477" y="428"/>
                  </a:lnTo>
                  <a:lnTo>
                    <a:pt x="458" y="428"/>
                  </a:lnTo>
                  <a:lnTo>
                    <a:pt x="446" y="425"/>
                  </a:lnTo>
                  <a:lnTo>
                    <a:pt x="404" y="421"/>
                  </a:lnTo>
                  <a:lnTo>
                    <a:pt x="390" y="421"/>
                  </a:lnTo>
                  <a:lnTo>
                    <a:pt x="380" y="418"/>
                  </a:lnTo>
                  <a:lnTo>
                    <a:pt x="361" y="418"/>
                  </a:lnTo>
                  <a:lnTo>
                    <a:pt x="354" y="414"/>
                  </a:lnTo>
                  <a:lnTo>
                    <a:pt x="333" y="414"/>
                  </a:lnTo>
                  <a:lnTo>
                    <a:pt x="331" y="411"/>
                  </a:lnTo>
                  <a:lnTo>
                    <a:pt x="305" y="411"/>
                  </a:lnTo>
                  <a:lnTo>
                    <a:pt x="300" y="406"/>
                  </a:lnTo>
                  <a:lnTo>
                    <a:pt x="288" y="406"/>
                  </a:lnTo>
                  <a:lnTo>
                    <a:pt x="257" y="404"/>
                  </a:lnTo>
                  <a:lnTo>
                    <a:pt x="253" y="421"/>
                  </a:lnTo>
                  <a:lnTo>
                    <a:pt x="253" y="437"/>
                  </a:lnTo>
                  <a:lnTo>
                    <a:pt x="250" y="444"/>
                  </a:lnTo>
                  <a:lnTo>
                    <a:pt x="250" y="447"/>
                  </a:lnTo>
                  <a:lnTo>
                    <a:pt x="248" y="447"/>
                  </a:lnTo>
                  <a:lnTo>
                    <a:pt x="243" y="437"/>
                  </a:lnTo>
                  <a:lnTo>
                    <a:pt x="243" y="435"/>
                  </a:lnTo>
                  <a:lnTo>
                    <a:pt x="236" y="425"/>
                  </a:lnTo>
                  <a:lnTo>
                    <a:pt x="234" y="421"/>
                  </a:lnTo>
                  <a:lnTo>
                    <a:pt x="231" y="425"/>
                  </a:lnTo>
                  <a:lnTo>
                    <a:pt x="227" y="425"/>
                  </a:lnTo>
                  <a:lnTo>
                    <a:pt x="224" y="430"/>
                  </a:lnTo>
                  <a:lnTo>
                    <a:pt x="224" y="437"/>
                  </a:lnTo>
                  <a:lnTo>
                    <a:pt x="203" y="437"/>
                  </a:lnTo>
                  <a:lnTo>
                    <a:pt x="201" y="435"/>
                  </a:lnTo>
                  <a:lnTo>
                    <a:pt x="187" y="435"/>
                  </a:lnTo>
                  <a:lnTo>
                    <a:pt x="184" y="430"/>
                  </a:lnTo>
                  <a:lnTo>
                    <a:pt x="170" y="430"/>
                  </a:lnTo>
                  <a:lnTo>
                    <a:pt x="163" y="437"/>
                  </a:lnTo>
                  <a:lnTo>
                    <a:pt x="151" y="430"/>
                  </a:lnTo>
                  <a:lnTo>
                    <a:pt x="144" y="435"/>
                  </a:lnTo>
                  <a:lnTo>
                    <a:pt x="139" y="435"/>
                  </a:lnTo>
                  <a:lnTo>
                    <a:pt x="139" y="437"/>
                  </a:lnTo>
                  <a:lnTo>
                    <a:pt x="137" y="442"/>
                  </a:lnTo>
                  <a:lnTo>
                    <a:pt x="135" y="437"/>
                  </a:lnTo>
                  <a:lnTo>
                    <a:pt x="127" y="435"/>
                  </a:lnTo>
                  <a:lnTo>
                    <a:pt x="127" y="406"/>
                  </a:lnTo>
                  <a:lnTo>
                    <a:pt x="123" y="404"/>
                  </a:lnTo>
                  <a:lnTo>
                    <a:pt x="120" y="402"/>
                  </a:lnTo>
                  <a:lnTo>
                    <a:pt x="120" y="397"/>
                  </a:lnTo>
                  <a:lnTo>
                    <a:pt x="116" y="397"/>
                  </a:lnTo>
                  <a:lnTo>
                    <a:pt x="113" y="402"/>
                  </a:lnTo>
                  <a:lnTo>
                    <a:pt x="106" y="395"/>
                  </a:lnTo>
                  <a:lnTo>
                    <a:pt x="106" y="385"/>
                  </a:lnTo>
                  <a:lnTo>
                    <a:pt x="111" y="380"/>
                  </a:lnTo>
                  <a:lnTo>
                    <a:pt x="111" y="378"/>
                  </a:lnTo>
                  <a:lnTo>
                    <a:pt x="106" y="373"/>
                  </a:lnTo>
                  <a:lnTo>
                    <a:pt x="106" y="371"/>
                  </a:lnTo>
                  <a:lnTo>
                    <a:pt x="104" y="369"/>
                  </a:lnTo>
                  <a:lnTo>
                    <a:pt x="97" y="354"/>
                  </a:lnTo>
                  <a:lnTo>
                    <a:pt x="97" y="324"/>
                  </a:lnTo>
                  <a:lnTo>
                    <a:pt x="90" y="314"/>
                  </a:lnTo>
                  <a:lnTo>
                    <a:pt x="83" y="314"/>
                  </a:lnTo>
                  <a:lnTo>
                    <a:pt x="75" y="324"/>
                  </a:lnTo>
                  <a:lnTo>
                    <a:pt x="66" y="329"/>
                  </a:lnTo>
                  <a:lnTo>
                    <a:pt x="64" y="329"/>
                  </a:lnTo>
                  <a:lnTo>
                    <a:pt x="59" y="324"/>
                  </a:lnTo>
                  <a:lnTo>
                    <a:pt x="54" y="317"/>
                  </a:lnTo>
                  <a:lnTo>
                    <a:pt x="54" y="300"/>
                  </a:lnTo>
                  <a:lnTo>
                    <a:pt x="57" y="293"/>
                  </a:lnTo>
                  <a:lnTo>
                    <a:pt x="59" y="293"/>
                  </a:lnTo>
                  <a:lnTo>
                    <a:pt x="64" y="291"/>
                  </a:lnTo>
                  <a:lnTo>
                    <a:pt x="64" y="281"/>
                  </a:lnTo>
                  <a:lnTo>
                    <a:pt x="59" y="281"/>
                  </a:lnTo>
                  <a:lnTo>
                    <a:pt x="59" y="277"/>
                  </a:lnTo>
                  <a:lnTo>
                    <a:pt x="66" y="258"/>
                  </a:lnTo>
                  <a:lnTo>
                    <a:pt x="71" y="248"/>
                  </a:lnTo>
                  <a:lnTo>
                    <a:pt x="80" y="227"/>
                  </a:lnTo>
                  <a:lnTo>
                    <a:pt x="80" y="225"/>
                  </a:lnTo>
                  <a:lnTo>
                    <a:pt x="64" y="225"/>
                  </a:lnTo>
                  <a:lnTo>
                    <a:pt x="64" y="220"/>
                  </a:lnTo>
                  <a:lnTo>
                    <a:pt x="49" y="201"/>
                  </a:lnTo>
                  <a:lnTo>
                    <a:pt x="47" y="201"/>
                  </a:lnTo>
                  <a:lnTo>
                    <a:pt x="47" y="191"/>
                  </a:lnTo>
                  <a:lnTo>
                    <a:pt x="38" y="170"/>
                  </a:lnTo>
                  <a:lnTo>
                    <a:pt x="31" y="161"/>
                  </a:lnTo>
                  <a:lnTo>
                    <a:pt x="19" y="151"/>
                  </a:lnTo>
                  <a:lnTo>
                    <a:pt x="16" y="144"/>
                  </a:lnTo>
                  <a:lnTo>
                    <a:pt x="16" y="123"/>
                  </a:lnTo>
                  <a:lnTo>
                    <a:pt x="14" y="116"/>
                  </a:lnTo>
                  <a:lnTo>
                    <a:pt x="14" y="114"/>
                  </a:lnTo>
                  <a:lnTo>
                    <a:pt x="9" y="111"/>
                  </a:lnTo>
                  <a:lnTo>
                    <a:pt x="9" y="104"/>
                  </a:lnTo>
                  <a:lnTo>
                    <a:pt x="7" y="95"/>
                  </a:lnTo>
                  <a:lnTo>
                    <a:pt x="0" y="88"/>
                  </a:lnTo>
                  <a:lnTo>
                    <a:pt x="2" y="80"/>
                  </a:lnTo>
                  <a:lnTo>
                    <a:pt x="16" y="10"/>
                  </a:lnTo>
                  <a:lnTo>
                    <a:pt x="19" y="0"/>
                  </a:lnTo>
                  <a:lnTo>
                    <a:pt x="38" y="3"/>
                  </a:lnTo>
                  <a:lnTo>
                    <a:pt x="47" y="3"/>
                  </a:lnTo>
                  <a:lnTo>
                    <a:pt x="54" y="7"/>
                  </a:lnTo>
                  <a:lnTo>
                    <a:pt x="59" y="7"/>
                  </a:lnTo>
                  <a:lnTo>
                    <a:pt x="71" y="10"/>
                  </a:lnTo>
                  <a:lnTo>
                    <a:pt x="87" y="10"/>
                  </a:lnTo>
                  <a:lnTo>
                    <a:pt x="99" y="14"/>
                  </a:lnTo>
                  <a:lnTo>
                    <a:pt x="106" y="17"/>
                  </a:lnTo>
                  <a:lnTo>
                    <a:pt x="116" y="17"/>
                  </a:lnTo>
                  <a:lnTo>
                    <a:pt x="135" y="19"/>
                  </a:lnTo>
                  <a:lnTo>
                    <a:pt x="161" y="26"/>
                  </a:lnTo>
                  <a:lnTo>
                    <a:pt x="175" y="26"/>
                  </a:lnTo>
                  <a:lnTo>
                    <a:pt x="179" y="31"/>
                  </a:lnTo>
                  <a:lnTo>
                    <a:pt x="196" y="31"/>
                  </a:lnTo>
                  <a:lnTo>
                    <a:pt x="217" y="33"/>
                  </a:lnTo>
                  <a:lnTo>
                    <a:pt x="220" y="38"/>
                  </a:lnTo>
                  <a:lnTo>
                    <a:pt x="241" y="38"/>
                  </a:lnTo>
                  <a:lnTo>
                    <a:pt x="243" y="40"/>
                  </a:lnTo>
                  <a:lnTo>
                    <a:pt x="250" y="40"/>
                  </a:lnTo>
                  <a:lnTo>
                    <a:pt x="264" y="43"/>
                  </a:lnTo>
                  <a:lnTo>
                    <a:pt x="290" y="47"/>
                  </a:lnTo>
                  <a:lnTo>
                    <a:pt x="324" y="50"/>
                  </a:lnTo>
                  <a:lnTo>
                    <a:pt x="331" y="50"/>
                  </a:lnTo>
                  <a:lnTo>
                    <a:pt x="340" y="54"/>
                  </a:lnTo>
                  <a:lnTo>
                    <a:pt x="357" y="54"/>
                  </a:lnTo>
                  <a:lnTo>
                    <a:pt x="364" y="57"/>
                  </a:lnTo>
                  <a:lnTo>
                    <a:pt x="380" y="57"/>
                  </a:lnTo>
                  <a:lnTo>
                    <a:pt x="390" y="59"/>
                  </a:lnTo>
                  <a:lnTo>
                    <a:pt x="406" y="59"/>
                  </a:lnTo>
                  <a:lnTo>
                    <a:pt x="437" y="64"/>
                  </a:lnTo>
                  <a:lnTo>
                    <a:pt x="444" y="66"/>
                  </a:lnTo>
                  <a:lnTo>
                    <a:pt x="465" y="66"/>
                  </a:lnTo>
                  <a:lnTo>
                    <a:pt x="475" y="71"/>
                  </a:lnTo>
                  <a:lnTo>
                    <a:pt x="508" y="71"/>
                  </a:lnTo>
                  <a:lnTo>
                    <a:pt x="517" y="73"/>
                  </a:lnTo>
                  <a:lnTo>
                    <a:pt x="524" y="73"/>
                  </a:lnTo>
                  <a:lnTo>
                    <a:pt x="557" y="76"/>
                  </a:lnTo>
                  <a:lnTo>
                    <a:pt x="574" y="76"/>
                  </a:lnTo>
                  <a:lnTo>
                    <a:pt x="583" y="80"/>
                  </a:lnTo>
                  <a:lnTo>
                    <a:pt x="619" y="80"/>
                  </a:lnTo>
                  <a:lnTo>
                    <a:pt x="645" y="83"/>
                  </a:lnTo>
                  <a:lnTo>
                    <a:pt x="668" y="83"/>
                  </a:lnTo>
                  <a:lnTo>
                    <a:pt x="699" y="88"/>
                  </a:lnTo>
                  <a:lnTo>
                    <a:pt x="718" y="88"/>
                  </a:lnTo>
                  <a:lnTo>
                    <a:pt x="716" y="97"/>
                  </a:lnTo>
                  <a:lnTo>
                    <a:pt x="716" y="154"/>
                  </a:lnTo>
                  <a:lnTo>
                    <a:pt x="711" y="163"/>
                  </a:lnTo>
                  <a:lnTo>
                    <a:pt x="711" y="234"/>
                  </a:lnTo>
                  <a:lnTo>
                    <a:pt x="709" y="251"/>
                  </a:lnTo>
                  <a:lnTo>
                    <a:pt x="709" y="288"/>
                  </a:lnTo>
                  <a:lnTo>
                    <a:pt x="704" y="329"/>
                  </a:lnTo>
                  <a:lnTo>
                    <a:pt x="704" y="369"/>
                  </a:lnTo>
                  <a:lnTo>
                    <a:pt x="701" y="395"/>
                  </a:lnTo>
                  <a:lnTo>
                    <a:pt x="701" y="444"/>
                  </a:lnTo>
                  <a:lnTo>
                    <a:pt x="699" y="44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7" name="Freeform 141">
              <a:extLst>
                <a:ext uri="{FF2B5EF4-FFF2-40B4-BE49-F238E27FC236}">
                  <a16:creationId xmlns:a16="http://schemas.microsoft.com/office/drawing/2014/main" id="{D6D772F1-4B00-446F-AA60-AB8F1E791FA4}"/>
                </a:ext>
              </a:extLst>
            </p:cNvPr>
            <p:cNvSpPr>
              <a:spLocks/>
            </p:cNvSpPr>
            <p:nvPr/>
          </p:nvSpPr>
          <p:spPr bwMode="gray">
            <a:xfrm rot="47099">
              <a:off x="834253" y="2900931"/>
              <a:ext cx="3563" cy="5789"/>
            </a:xfrm>
            <a:custGeom>
              <a:avLst/>
              <a:gdLst>
                <a:gd name="T0" fmla="*/ 8 w 8"/>
                <a:gd name="T1" fmla="*/ 9 h 12"/>
                <a:gd name="T2" fmla="*/ 8 w 8"/>
                <a:gd name="T3" fmla="*/ 12 h 12"/>
                <a:gd name="T4" fmla="*/ 0 w 8"/>
                <a:gd name="T5" fmla="*/ 12 h 12"/>
                <a:gd name="T6" fmla="*/ 0 w 8"/>
                <a:gd name="T7" fmla="*/ 5 h 12"/>
                <a:gd name="T8" fmla="*/ 3 w 8"/>
                <a:gd name="T9" fmla="*/ 2 h 12"/>
                <a:gd name="T10" fmla="*/ 8 w 8"/>
                <a:gd name="T11" fmla="*/ 0 h 12"/>
                <a:gd name="T12" fmla="*/ 8 w 8"/>
                <a:gd name="T13" fmla="*/ 9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8" y="9"/>
                  </a:moveTo>
                  <a:lnTo>
                    <a:pt x="8" y="12"/>
                  </a:lnTo>
                  <a:lnTo>
                    <a:pt x="0" y="12"/>
                  </a:lnTo>
                  <a:lnTo>
                    <a:pt x="0" y="5"/>
                  </a:lnTo>
                  <a:lnTo>
                    <a:pt x="3" y="2"/>
                  </a:lnTo>
                  <a:lnTo>
                    <a:pt x="8" y="0"/>
                  </a:lnTo>
                  <a:lnTo>
                    <a:pt x="8"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8" name="Freeform 142">
              <a:extLst>
                <a:ext uri="{FF2B5EF4-FFF2-40B4-BE49-F238E27FC236}">
                  <a16:creationId xmlns:a16="http://schemas.microsoft.com/office/drawing/2014/main" id="{38CBE8A5-44B3-421D-97FC-C4EA14F308CF}"/>
                </a:ext>
              </a:extLst>
            </p:cNvPr>
            <p:cNvSpPr>
              <a:spLocks/>
            </p:cNvSpPr>
            <p:nvPr/>
          </p:nvSpPr>
          <p:spPr bwMode="gray">
            <a:xfrm rot="47099">
              <a:off x="838224" y="2863385"/>
              <a:ext cx="8015" cy="21227"/>
            </a:xfrm>
            <a:custGeom>
              <a:avLst/>
              <a:gdLst>
                <a:gd name="T0" fmla="*/ 16 w 18"/>
                <a:gd name="T1" fmla="*/ 4 h 45"/>
                <a:gd name="T2" fmla="*/ 16 w 18"/>
                <a:gd name="T3" fmla="*/ 11 h 45"/>
                <a:gd name="T4" fmla="*/ 11 w 18"/>
                <a:gd name="T5" fmla="*/ 11 h 45"/>
                <a:gd name="T6" fmla="*/ 11 w 18"/>
                <a:gd name="T7" fmla="*/ 9 h 45"/>
                <a:gd name="T8" fmla="*/ 9 w 18"/>
                <a:gd name="T9" fmla="*/ 9 h 45"/>
                <a:gd name="T10" fmla="*/ 7 w 18"/>
                <a:gd name="T11" fmla="*/ 11 h 45"/>
                <a:gd name="T12" fmla="*/ 7 w 18"/>
                <a:gd name="T13" fmla="*/ 16 h 45"/>
                <a:gd name="T14" fmla="*/ 9 w 18"/>
                <a:gd name="T15" fmla="*/ 16 h 45"/>
                <a:gd name="T16" fmla="*/ 9 w 18"/>
                <a:gd name="T17" fmla="*/ 19 h 45"/>
                <a:gd name="T18" fmla="*/ 11 w 18"/>
                <a:gd name="T19" fmla="*/ 28 h 45"/>
                <a:gd name="T20" fmla="*/ 18 w 18"/>
                <a:gd name="T21" fmla="*/ 35 h 45"/>
                <a:gd name="T22" fmla="*/ 18 w 18"/>
                <a:gd name="T23" fmla="*/ 42 h 45"/>
                <a:gd name="T24" fmla="*/ 16 w 18"/>
                <a:gd name="T25" fmla="*/ 42 h 45"/>
                <a:gd name="T26" fmla="*/ 16 w 18"/>
                <a:gd name="T27" fmla="*/ 45 h 45"/>
                <a:gd name="T28" fmla="*/ 11 w 18"/>
                <a:gd name="T29" fmla="*/ 42 h 45"/>
                <a:gd name="T30" fmla="*/ 7 w 18"/>
                <a:gd name="T31" fmla="*/ 40 h 45"/>
                <a:gd name="T32" fmla="*/ 7 w 18"/>
                <a:gd name="T33" fmla="*/ 26 h 45"/>
                <a:gd name="T34" fmla="*/ 2 w 18"/>
                <a:gd name="T35" fmla="*/ 16 h 45"/>
                <a:gd name="T36" fmla="*/ 2 w 18"/>
                <a:gd name="T37" fmla="*/ 11 h 45"/>
                <a:gd name="T38" fmla="*/ 0 w 18"/>
                <a:gd name="T39" fmla="*/ 11 h 45"/>
                <a:gd name="T40" fmla="*/ 9 w 18"/>
                <a:gd name="T41" fmla="*/ 2 h 45"/>
                <a:gd name="T42" fmla="*/ 16 w 18"/>
                <a:gd name="T43" fmla="*/ 0 h 45"/>
                <a:gd name="T44" fmla="*/ 16 w 18"/>
                <a:gd name="T45" fmla="*/ 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
                <a:gd name="T70" fmla="*/ 0 h 45"/>
                <a:gd name="T71" fmla="*/ 18 w 18"/>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 h="45">
                  <a:moveTo>
                    <a:pt x="16" y="4"/>
                  </a:moveTo>
                  <a:lnTo>
                    <a:pt x="16" y="11"/>
                  </a:lnTo>
                  <a:lnTo>
                    <a:pt x="11" y="11"/>
                  </a:lnTo>
                  <a:lnTo>
                    <a:pt x="11" y="9"/>
                  </a:lnTo>
                  <a:lnTo>
                    <a:pt x="9" y="9"/>
                  </a:lnTo>
                  <a:lnTo>
                    <a:pt x="7" y="11"/>
                  </a:lnTo>
                  <a:lnTo>
                    <a:pt x="7" y="16"/>
                  </a:lnTo>
                  <a:lnTo>
                    <a:pt x="9" y="16"/>
                  </a:lnTo>
                  <a:lnTo>
                    <a:pt x="9" y="19"/>
                  </a:lnTo>
                  <a:lnTo>
                    <a:pt x="11" y="28"/>
                  </a:lnTo>
                  <a:lnTo>
                    <a:pt x="18" y="35"/>
                  </a:lnTo>
                  <a:lnTo>
                    <a:pt x="18" y="42"/>
                  </a:lnTo>
                  <a:lnTo>
                    <a:pt x="16" y="42"/>
                  </a:lnTo>
                  <a:lnTo>
                    <a:pt x="16" y="45"/>
                  </a:lnTo>
                  <a:lnTo>
                    <a:pt x="11" y="42"/>
                  </a:lnTo>
                  <a:lnTo>
                    <a:pt x="7" y="40"/>
                  </a:lnTo>
                  <a:lnTo>
                    <a:pt x="7" y="26"/>
                  </a:lnTo>
                  <a:lnTo>
                    <a:pt x="2" y="16"/>
                  </a:lnTo>
                  <a:lnTo>
                    <a:pt x="2" y="11"/>
                  </a:lnTo>
                  <a:lnTo>
                    <a:pt x="0" y="11"/>
                  </a:lnTo>
                  <a:lnTo>
                    <a:pt x="9" y="2"/>
                  </a:lnTo>
                  <a:lnTo>
                    <a:pt x="16" y="0"/>
                  </a:lnTo>
                  <a:lnTo>
                    <a:pt x="16"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59" name="Freeform 143">
              <a:extLst>
                <a:ext uri="{FF2B5EF4-FFF2-40B4-BE49-F238E27FC236}">
                  <a16:creationId xmlns:a16="http://schemas.microsoft.com/office/drawing/2014/main" id="{7D8BE046-C56F-4DA9-9E3B-5598008084AD}"/>
                </a:ext>
              </a:extLst>
            </p:cNvPr>
            <p:cNvSpPr>
              <a:spLocks/>
            </p:cNvSpPr>
            <p:nvPr/>
          </p:nvSpPr>
          <p:spPr bwMode="gray">
            <a:xfrm rot="47099">
              <a:off x="836655" y="2855608"/>
              <a:ext cx="2672" cy="5789"/>
            </a:xfrm>
            <a:custGeom>
              <a:avLst/>
              <a:gdLst>
                <a:gd name="T0" fmla="*/ 7 w 7"/>
                <a:gd name="T1" fmla="*/ 0 h 14"/>
                <a:gd name="T2" fmla="*/ 7 w 7"/>
                <a:gd name="T3" fmla="*/ 14 h 14"/>
                <a:gd name="T4" fmla="*/ 5 w 7"/>
                <a:gd name="T5" fmla="*/ 12 h 14"/>
                <a:gd name="T6" fmla="*/ 0 w 7"/>
                <a:gd name="T7" fmla="*/ 7 h 14"/>
                <a:gd name="T8" fmla="*/ 0 w 7"/>
                <a:gd name="T9" fmla="*/ 4 h 14"/>
                <a:gd name="T10" fmla="*/ 5 w 7"/>
                <a:gd name="T11" fmla="*/ 0 h 14"/>
                <a:gd name="T12" fmla="*/ 7 w 7"/>
                <a:gd name="T13" fmla="*/ 0 h 14"/>
                <a:gd name="T14" fmla="*/ 0 60000 65536"/>
                <a:gd name="T15" fmla="*/ 0 60000 65536"/>
                <a:gd name="T16" fmla="*/ 0 60000 65536"/>
                <a:gd name="T17" fmla="*/ 0 60000 65536"/>
                <a:gd name="T18" fmla="*/ 0 60000 65536"/>
                <a:gd name="T19" fmla="*/ 0 60000 65536"/>
                <a:gd name="T20" fmla="*/ 0 60000 65536"/>
                <a:gd name="T21" fmla="*/ 0 w 7"/>
                <a:gd name="T22" fmla="*/ 0 h 14"/>
                <a:gd name="T23" fmla="*/ 7 w 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4">
                  <a:moveTo>
                    <a:pt x="7" y="0"/>
                  </a:moveTo>
                  <a:lnTo>
                    <a:pt x="7" y="14"/>
                  </a:lnTo>
                  <a:lnTo>
                    <a:pt x="5" y="12"/>
                  </a:lnTo>
                  <a:lnTo>
                    <a:pt x="0" y="7"/>
                  </a:lnTo>
                  <a:lnTo>
                    <a:pt x="0" y="4"/>
                  </a:lnTo>
                  <a:lnTo>
                    <a:pt x="5"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0" name="Freeform 144">
              <a:extLst>
                <a:ext uri="{FF2B5EF4-FFF2-40B4-BE49-F238E27FC236}">
                  <a16:creationId xmlns:a16="http://schemas.microsoft.com/office/drawing/2014/main" id="{E44D6970-CA08-4A3B-9CA0-28D05376D852}"/>
                </a:ext>
              </a:extLst>
            </p:cNvPr>
            <p:cNvSpPr>
              <a:spLocks/>
            </p:cNvSpPr>
            <p:nvPr/>
          </p:nvSpPr>
          <p:spPr bwMode="gray">
            <a:xfrm rot="47099">
              <a:off x="831378" y="2849764"/>
              <a:ext cx="5343" cy="7718"/>
            </a:xfrm>
            <a:custGeom>
              <a:avLst/>
              <a:gdLst>
                <a:gd name="T0" fmla="*/ 7 w 10"/>
                <a:gd name="T1" fmla="*/ 5 h 17"/>
                <a:gd name="T2" fmla="*/ 7 w 10"/>
                <a:gd name="T3" fmla="*/ 7 h 17"/>
                <a:gd name="T4" fmla="*/ 10 w 10"/>
                <a:gd name="T5" fmla="*/ 10 h 17"/>
                <a:gd name="T6" fmla="*/ 10 w 10"/>
                <a:gd name="T7" fmla="*/ 17 h 17"/>
                <a:gd name="T8" fmla="*/ 7 w 10"/>
                <a:gd name="T9" fmla="*/ 17 h 17"/>
                <a:gd name="T10" fmla="*/ 3 w 10"/>
                <a:gd name="T11" fmla="*/ 14 h 17"/>
                <a:gd name="T12" fmla="*/ 0 w 10"/>
                <a:gd name="T13" fmla="*/ 10 h 17"/>
                <a:gd name="T14" fmla="*/ 0 w 10"/>
                <a:gd name="T15" fmla="*/ 0 h 17"/>
                <a:gd name="T16" fmla="*/ 7 w 10"/>
                <a:gd name="T17" fmla="*/ 0 h 17"/>
                <a:gd name="T18" fmla="*/ 7 w 10"/>
                <a:gd name="T19" fmla="*/ 5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7"/>
                <a:gd name="T32" fmla="*/ 10 w 1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7">
                  <a:moveTo>
                    <a:pt x="7" y="5"/>
                  </a:moveTo>
                  <a:lnTo>
                    <a:pt x="7" y="7"/>
                  </a:lnTo>
                  <a:lnTo>
                    <a:pt x="10" y="10"/>
                  </a:lnTo>
                  <a:lnTo>
                    <a:pt x="10" y="17"/>
                  </a:lnTo>
                  <a:lnTo>
                    <a:pt x="7" y="17"/>
                  </a:lnTo>
                  <a:lnTo>
                    <a:pt x="3" y="14"/>
                  </a:lnTo>
                  <a:lnTo>
                    <a:pt x="0" y="10"/>
                  </a:lnTo>
                  <a:lnTo>
                    <a:pt x="0"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1" name="Freeform 145">
              <a:extLst>
                <a:ext uri="{FF2B5EF4-FFF2-40B4-BE49-F238E27FC236}">
                  <a16:creationId xmlns:a16="http://schemas.microsoft.com/office/drawing/2014/main" id="{A3EA7410-E02F-435A-B63E-D213485DCFDA}"/>
                </a:ext>
              </a:extLst>
            </p:cNvPr>
            <p:cNvSpPr>
              <a:spLocks/>
            </p:cNvSpPr>
            <p:nvPr/>
          </p:nvSpPr>
          <p:spPr bwMode="gray">
            <a:xfrm rot="47099">
              <a:off x="836754" y="2848884"/>
              <a:ext cx="7125" cy="4824"/>
            </a:xfrm>
            <a:custGeom>
              <a:avLst/>
              <a:gdLst>
                <a:gd name="T0" fmla="*/ 12 w 16"/>
                <a:gd name="T1" fmla="*/ 0 h 9"/>
                <a:gd name="T2" fmla="*/ 14 w 16"/>
                <a:gd name="T3" fmla="*/ 0 h 9"/>
                <a:gd name="T4" fmla="*/ 16 w 16"/>
                <a:gd name="T5" fmla="*/ 2 h 9"/>
                <a:gd name="T6" fmla="*/ 16 w 16"/>
                <a:gd name="T7" fmla="*/ 7 h 9"/>
                <a:gd name="T8" fmla="*/ 14 w 16"/>
                <a:gd name="T9" fmla="*/ 9 h 9"/>
                <a:gd name="T10" fmla="*/ 7 w 16"/>
                <a:gd name="T11" fmla="*/ 9 h 9"/>
                <a:gd name="T12" fmla="*/ 0 w 16"/>
                <a:gd name="T13" fmla="*/ 7 h 9"/>
                <a:gd name="T14" fmla="*/ 0 w 16"/>
                <a:gd name="T15" fmla="*/ 2 h 9"/>
                <a:gd name="T16" fmla="*/ 7 w 16"/>
                <a:gd name="T17" fmla="*/ 0 h 9"/>
                <a:gd name="T18" fmla="*/ 12 w 1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9"/>
                <a:gd name="T32" fmla="*/ 16 w 1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9">
                  <a:moveTo>
                    <a:pt x="12" y="0"/>
                  </a:moveTo>
                  <a:lnTo>
                    <a:pt x="14" y="0"/>
                  </a:lnTo>
                  <a:lnTo>
                    <a:pt x="16" y="2"/>
                  </a:lnTo>
                  <a:lnTo>
                    <a:pt x="16" y="7"/>
                  </a:lnTo>
                  <a:lnTo>
                    <a:pt x="14" y="9"/>
                  </a:lnTo>
                  <a:lnTo>
                    <a:pt x="7" y="9"/>
                  </a:lnTo>
                  <a:lnTo>
                    <a:pt x="0" y="7"/>
                  </a:lnTo>
                  <a:lnTo>
                    <a:pt x="0" y="2"/>
                  </a:lnTo>
                  <a:lnTo>
                    <a:pt x="7" y="0"/>
                  </a:lnTo>
                  <a:lnTo>
                    <a:pt x="1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2" name="Freeform 146">
              <a:extLst>
                <a:ext uri="{FF2B5EF4-FFF2-40B4-BE49-F238E27FC236}">
                  <a16:creationId xmlns:a16="http://schemas.microsoft.com/office/drawing/2014/main" id="{1C23968A-5835-4C96-88C6-1F7025AFFC51}"/>
                </a:ext>
              </a:extLst>
            </p:cNvPr>
            <p:cNvSpPr>
              <a:spLocks/>
            </p:cNvSpPr>
            <p:nvPr/>
          </p:nvSpPr>
          <p:spPr bwMode="gray">
            <a:xfrm rot="47099">
              <a:off x="839637" y="2834419"/>
              <a:ext cx="2672" cy="2894"/>
            </a:xfrm>
            <a:custGeom>
              <a:avLst/>
              <a:gdLst>
                <a:gd name="T0" fmla="*/ 5 w 5"/>
                <a:gd name="T1" fmla="*/ 5 h 5"/>
                <a:gd name="T2" fmla="*/ 0 w 5"/>
                <a:gd name="T3" fmla="*/ 5 h 5"/>
                <a:gd name="T4" fmla="*/ 0 w 5"/>
                <a:gd name="T5" fmla="*/ 0 h 5"/>
                <a:gd name="T6" fmla="*/ 5 w 5"/>
                <a:gd name="T7" fmla="*/ 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5"/>
                  </a:moveTo>
                  <a:lnTo>
                    <a:pt x="0" y="5"/>
                  </a:lnTo>
                  <a:lnTo>
                    <a:pt x="0" y="0"/>
                  </a:lnTo>
                  <a:lnTo>
                    <a:pt x="5"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3" name="Freeform 147">
              <a:extLst>
                <a:ext uri="{FF2B5EF4-FFF2-40B4-BE49-F238E27FC236}">
                  <a16:creationId xmlns:a16="http://schemas.microsoft.com/office/drawing/2014/main" id="{9AAA0627-99AE-4955-AEA4-3C4EFF0E7709}"/>
                </a:ext>
              </a:extLst>
            </p:cNvPr>
            <p:cNvSpPr>
              <a:spLocks/>
            </p:cNvSpPr>
            <p:nvPr/>
          </p:nvSpPr>
          <p:spPr bwMode="gray">
            <a:xfrm rot="47099">
              <a:off x="781497" y="2838942"/>
              <a:ext cx="214638" cy="161127"/>
            </a:xfrm>
            <a:custGeom>
              <a:avLst/>
              <a:gdLst>
                <a:gd name="T0" fmla="*/ 99 w 463"/>
                <a:gd name="T1" fmla="*/ 161 h 348"/>
                <a:gd name="T2" fmla="*/ 116 w 463"/>
                <a:gd name="T3" fmla="*/ 151 h 348"/>
                <a:gd name="T4" fmla="*/ 139 w 463"/>
                <a:gd name="T5" fmla="*/ 97 h 348"/>
                <a:gd name="T6" fmla="*/ 137 w 463"/>
                <a:gd name="T7" fmla="*/ 81 h 348"/>
                <a:gd name="T8" fmla="*/ 144 w 463"/>
                <a:gd name="T9" fmla="*/ 74 h 348"/>
                <a:gd name="T10" fmla="*/ 132 w 463"/>
                <a:gd name="T11" fmla="*/ 43 h 348"/>
                <a:gd name="T12" fmla="*/ 149 w 463"/>
                <a:gd name="T13" fmla="*/ 40 h 348"/>
                <a:gd name="T14" fmla="*/ 144 w 463"/>
                <a:gd name="T15" fmla="*/ 3 h 348"/>
                <a:gd name="T16" fmla="*/ 168 w 463"/>
                <a:gd name="T17" fmla="*/ 7 h 348"/>
                <a:gd name="T18" fmla="*/ 300 w 463"/>
                <a:gd name="T19" fmla="*/ 43 h 348"/>
                <a:gd name="T20" fmla="*/ 354 w 463"/>
                <a:gd name="T21" fmla="*/ 57 h 348"/>
                <a:gd name="T22" fmla="*/ 418 w 463"/>
                <a:gd name="T23" fmla="*/ 74 h 348"/>
                <a:gd name="T24" fmla="*/ 463 w 463"/>
                <a:gd name="T25" fmla="*/ 83 h 348"/>
                <a:gd name="T26" fmla="*/ 413 w 463"/>
                <a:gd name="T27" fmla="*/ 310 h 348"/>
                <a:gd name="T28" fmla="*/ 413 w 463"/>
                <a:gd name="T29" fmla="*/ 348 h 348"/>
                <a:gd name="T30" fmla="*/ 378 w 463"/>
                <a:gd name="T31" fmla="*/ 340 h 348"/>
                <a:gd name="T32" fmla="*/ 333 w 463"/>
                <a:gd name="T33" fmla="*/ 331 h 348"/>
                <a:gd name="T34" fmla="*/ 298 w 463"/>
                <a:gd name="T35" fmla="*/ 322 h 348"/>
                <a:gd name="T36" fmla="*/ 260 w 463"/>
                <a:gd name="T37" fmla="*/ 322 h 348"/>
                <a:gd name="T38" fmla="*/ 210 w 463"/>
                <a:gd name="T39" fmla="*/ 324 h 348"/>
                <a:gd name="T40" fmla="*/ 177 w 463"/>
                <a:gd name="T41" fmla="*/ 317 h 348"/>
                <a:gd name="T42" fmla="*/ 147 w 463"/>
                <a:gd name="T43" fmla="*/ 310 h 348"/>
                <a:gd name="T44" fmla="*/ 106 w 463"/>
                <a:gd name="T45" fmla="*/ 305 h 348"/>
                <a:gd name="T46" fmla="*/ 80 w 463"/>
                <a:gd name="T47" fmla="*/ 305 h 348"/>
                <a:gd name="T48" fmla="*/ 59 w 463"/>
                <a:gd name="T49" fmla="*/ 293 h 348"/>
                <a:gd name="T50" fmla="*/ 57 w 463"/>
                <a:gd name="T51" fmla="*/ 248 h 348"/>
                <a:gd name="T52" fmla="*/ 33 w 463"/>
                <a:gd name="T53" fmla="*/ 225 h 348"/>
                <a:gd name="T54" fmla="*/ 0 w 463"/>
                <a:gd name="T55" fmla="*/ 211 h 348"/>
                <a:gd name="T56" fmla="*/ 2 w 463"/>
                <a:gd name="T57" fmla="*/ 194 h 348"/>
                <a:gd name="T58" fmla="*/ 12 w 463"/>
                <a:gd name="T59" fmla="*/ 185 h 348"/>
                <a:gd name="T60" fmla="*/ 19 w 463"/>
                <a:gd name="T61" fmla="*/ 173 h 348"/>
                <a:gd name="T62" fmla="*/ 10 w 463"/>
                <a:gd name="T63" fmla="*/ 161 h 348"/>
                <a:gd name="T64" fmla="*/ 19 w 463"/>
                <a:gd name="T65" fmla="*/ 147 h 348"/>
                <a:gd name="T66" fmla="*/ 10 w 463"/>
                <a:gd name="T67" fmla="*/ 151 h 348"/>
                <a:gd name="T68" fmla="*/ 12 w 463"/>
                <a:gd name="T69" fmla="*/ 107 h 348"/>
                <a:gd name="T70" fmla="*/ 12 w 463"/>
                <a:gd name="T71" fmla="*/ 66 h 348"/>
                <a:gd name="T72" fmla="*/ 17 w 463"/>
                <a:gd name="T73" fmla="*/ 19 h 348"/>
                <a:gd name="T74" fmla="*/ 26 w 463"/>
                <a:gd name="T75" fmla="*/ 26 h 348"/>
                <a:gd name="T76" fmla="*/ 47 w 463"/>
                <a:gd name="T77" fmla="*/ 43 h 348"/>
                <a:gd name="T78" fmla="*/ 64 w 463"/>
                <a:gd name="T79" fmla="*/ 55 h 348"/>
                <a:gd name="T80" fmla="*/ 97 w 463"/>
                <a:gd name="T81" fmla="*/ 66 h 348"/>
                <a:gd name="T82" fmla="*/ 121 w 463"/>
                <a:gd name="T83" fmla="*/ 76 h 348"/>
                <a:gd name="T84" fmla="*/ 109 w 463"/>
                <a:gd name="T85" fmla="*/ 107 h 348"/>
                <a:gd name="T86" fmla="*/ 106 w 463"/>
                <a:gd name="T87" fmla="*/ 104 h 348"/>
                <a:gd name="T88" fmla="*/ 90 w 463"/>
                <a:gd name="T89" fmla="*/ 121 h 348"/>
                <a:gd name="T90" fmla="*/ 92 w 463"/>
                <a:gd name="T91" fmla="*/ 135 h 348"/>
                <a:gd name="T92" fmla="*/ 83 w 463"/>
                <a:gd name="T93" fmla="*/ 130 h 348"/>
                <a:gd name="T94" fmla="*/ 109 w 463"/>
                <a:gd name="T95" fmla="*/ 111 h 348"/>
                <a:gd name="T96" fmla="*/ 116 w 463"/>
                <a:gd name="T97" fmla="*/ 114 h 348"/>
                <a:gd name="T98" fmla="*/ 109 w 463"/>
                <a:gd name="T99" fmla="*/ 128 h 348"/>
                <a:gd name="T100" fmla="*/ 104 w 463"/>
                <a:gd name="T101" fmla="*/ 147 h 348"/>
                <a:gd name="T102" fmla="*/ 97 w 463"/>
                <a:gd name="T103" fmla="*/ 147 h 348"/>
                <a:gd name="T104" fmla="*/ 92 w 463"/>
                <a:gd name="T105" fmla="*/ 147 h 348"/>
                <a:gd name="T106" fmla="*/ 97 w 463"/>
                <a:gd name="T107" fmla="*/ 140 h 348"/>
                <a:gd name="T108" fmla="*/ 76 w 463"/>
                <a:gd name="T109" fmla="*/ 154 h 3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63"/>
                <a:gd name="T166" fmla="*/ 0 h 348"/>
                <a:gd name="T167" fmla="*/ 463 w 463"/>
                <a:gd name="T168" fmla="*/ 348 h 3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63" h="348">
                  <a:moveTo>
                    <a:pt x="87" y="161"/>
                  </a:moveTo>
                  <a:lnTo>
                    <a:pt x="87" y="156"/>
                  </a:lnTo>
                  <a:lnTo>
                    <a:pt x="92" y="156"/>
                  </a:lnTo>
                  <a:lnTo>
                    <a:pt x="97" y="163"/>
                  </a:lnTo>
                  <a:lnTo>
                    <a:pt x="99" y="161"/>
                  </a:lnTo>
                  <a:lnTo>
                    <a:pt x="104" y="161"/>
                  </a:lnTo>
                  <a:lnTo>
                    <a:pt x="106" y="156"/>
                  </a:lnTo>
                  <a:lnTo>
                    <a:pt x="109" y="154"/>
                  </a:lnTo>
                  <a:lnTo>
                    <a:pt x="113" y="154"/>
                  </a:lnTo>
                  <a:lnTo>
                    <a:pt x="116" y="151"/>
                  </a:lnTo>
                  <a:lnTo>
                    <a:pt x="123" y="147"/>
                  </a:lnTo>
                  <a:lnTo>
                    <a:pt x="128" y="147"/>
                  </a:lnTo>
                  <a:lnTo>
                    <a:pt x="128" y="121"/>
                  </a:lnTo>
                  <a:lnTo>
                    <a:pt x="132" y="107"/>
                  </a:lnTo>
                  <a:lnTo>
                    <a:pt x="139" y="97"/>
                  </a:lnTo>
                  <a:lnTo>
                    <a:pt x="144" y="88"/>
                  </a:lnTo>
                  <a:lnTo>
                    <a:pt x="144" y="74"/>
                  </a:lnTo>
                  <a:lnTo>
                    <a:pt x="139" y="74"/>
                  </a:lnTo>
                  <a:lnTo>
                    <a:pt x="137" y="76"/>
                  </a:lnTo>
                  <a:lnTo>
                    <a:pt x="137" y="81"/>
                  </a:lnTo>
                  <a:lnTo>
                    <a:pt x="132" y="81"/>
                  </a:lnTo>
                  <a:lnTo>
                    <a:pt x="132" y="74"/>
                  </a:lnTo>
                  <a:lnTo>
                    <a:pt x="137" y="71"/>
                  </a:lnTo>
                  <a:lnTo>
                    <a:pt x="139" y="71"/>
                  </a:lnTo>
                  <a:lnTo>
                    <a:pt x="144" y="74"/>
                  </a:lnTo>
                  <a:lnTo>
                    <a:pt x="144" y="66"/>
                  </a:lnTo>
                  <a:lnTo>
                    <a:pt x="137" y="55"/>
                  </a:lnTo>
                  <a:lnTo>
                    <a:pt x="130" y="55"/>
                  </a:lnTo>
                  <a:lnTo>
                    <a:pt x="130" y="50"/>
                  </a:lnTo>
                  <a:lnTo>
                    <a:pt x="132" y="43"/>
                  </a:lnTo>
                  <a:lnTo>
                    <a:pt x="137" y="43"/>
                  </a:lnTo>
                  <a:lnTo>
                    <a:pt x="139" y="48"/>
                  </a:lnTo>
                  <a:lnTo>
                    <a:pt x="139" y="50"/>
                  </a:lnTo>
                  <a:lnTo>
                    <a:pt x="144" y="55"/>
                  </a:lnTo>
                  <a:lnTo>
                    <a:pt x="149" y="40"/>
                  </a:lnTo>
                  <a:lnTo>
                    <a:pt x="149" y="24"/>
                  </a:lnTo>
                  <a:lnTo>
                    <a:pt x="139" y="24"/>
                  </a:lnTo>
                  <a:lnTo>
                    <a:pt x="139" y="19"/>
                  </a:lnTo>
                  <a:lnTo>
                    <a:pt x="137" y="3"/>
                  </a:lnTo>
                  <a:lnTo>
                    <a:pt x="144" y="3"/>
                  </a:lnTo>
                  <a:lnTo>
                    <a:pt x="139" y="0"/>
                  </a:lnTo>
                  <a:lnTo>
                    <a:pt x="144" y="0"/>
                  </a:lnTo>
                  <a:lnTo>
                    <a:pt x="154" y="3"/>
                  </a:lnTo>
                  <a:lnTo>
                    <a:pt x="161" y="7"/>
                  </a:lnTo>
                  <a:lnTo>
                    <a:pt x="168" y="7"/>
                  </a:lnTo>
                  <a:lnTo>
                    <a:pt x="177" y="10"/>
                  </a:lnTo>
                  <a:lnTo>
                    <a:pt x="234" y="26"/>
                  </a:lnTo>
                  <a:lnTo>
                    <a:pt x="267" y="36"/>
                  </a:lnTo>
                  <a:lnTo>
                    <a:pt x="293" y="43"/>
                  </a:lnTo>
                  <a:lnTo>
                    <a:pt x="300" y="43"/>
                  </a:lnTo>
                  <a:lnTo>
                    <a:pt x="305" y="48"/>
                  </a:lnTo>
                  <a:lnTo>
                    <a:pt x="326" y="50"/>
                  </a:lnTo>
                  <a:lnTo>
                    <a:pt x="338" y="55"/>
                  </a:lnTo>
                  <a:lnTo>
                    <a:pt x="343" y="57"/>
                  </a:lnTo>
                  <a:lnTo>
                    <a:pt x="354" y="57"/>
                  </a:lnTo>
                  <a:lnTo>
                    <a:pt x="366" y="59"/>
                  </a:lnTo>
                  <a:lnTo>
                    <a:pt x="387" y="66"/>
                  </a:lnTo>
                  <a:lnTo>
                    <a:pt x="402" y="71"/>
                  </a:lnTo>
                  <a:lnTo>
                    <a:pt x="411" y="71"/>
                  </a:lnTo>
                  <a:lnTo>
                    <a:pt x="418" y="74"/>
                  </a:lnTo>
                  <a:lnTo>
                    <a:pt x="435" y="76"/>
                  </a:lnTo>
                  <a:lnTo>
                    <a:pt x="447" y="81"/>
                  </a:lnTo>
                  <a:lnTo>
                    <a:pt x="454" y="81"/>
                  </a:lnTo>
                  <a:lnTo>
                    <a:pt x="461" y="83"/>
                  </a:lnTo>
                  <a:lnTo>
                    <a:pt x="463" y="83"/>
                  </a:lnTo>
                  <a:lnTo>
                    <a:pt x="444" y="177"/>
                  </a:lnTo>
                  <a:lnTo>
                    <a:pt x="437" y="196"/>
                  </a:lnTo>
                  <a:lnTo>
                    <a:pt x="428" y="244"/>
                  </a:lnTo>
                  <a:lnTo>
                    <a:pt x="418" y="293"/>
                  </a:lnTo>
                  <a:lnTo>
                    <a:pt x="413" y="310"/>
                  </a:lnTo>
                  <a:lnTo>
                    <a:pt x="413" y="322"/>
                  </a:lnTo>
                  <a:lnTo>
                    <a:pt x="418" y="324"/>
                  </a:lnTo>
                  <a:lnTo>
                    <a:pt x="418" y="333"/>
                  </a:lnTo>
                  <a:lnTo>
                    <a:pt x="413" y="333"/>
                  </a:lnTo>
                  <a:lnTo>
                    <a:pt x="413" y="348"/>
                  </a:lnTo>
                  <a:lnTo>
                    <a:pt x="404" y="348"/>
                  </a:lnTo>
                  <a:lnTo>
                    <a:pt x="402" y="345"/>
                  </a:lnTo>
                  <a:lnTo>
                    <a:pt x="395" y="345"/>
                  </a:lnTo>
                  <a:lnTo>
                    <a:pt x="383" y="340"/>
                  </a:lnTo>
                  <a:lnTo>
                    <a:pt x="378" y="340"/>
                  </a:lnTo>
                  <a:lnTo>
                    <a:pt x="362" y="338"/>
                  </a:lnTo>
                  <a:lnTo>
                    <a:pt x="357" y="333"/>
                  </a:lnTo>
                  <a:lnTo>
                    <a:pt x="347" y="333"/>
                  </a:lnTo>
                  <a:lnTo>
                    <a:pt x="340" y="331"/>
                  </a:lnTo>
                  <a:lnTo>
                    <a:pt x="333" y="331"/>
                  </a:lnTo>
                  <a:lnTo>
                    <a:pt x="324" y="329"/>
                  </a:lnTo>
                  <a:lnTo>
                    <a:pt x="317" y="329"/>
                  </a:lnTo>
                  <a:lnTo>
                    <a:pt x="310" y="324"/>
                  </a:lnTo>
                  <a:lnTo>
                    <a:pt x="305" y="324"/>
                  </a:lnTo>
                  <a:lnTo>
                    <a:pt x="298" y="322"/>
                  </a:lnTo>
                  <a:lnTo>
                    <a:pt x="286" y="322"/>
                  </a:lnTo>
                  <a:lnTo>
                    <a:pt x="284" y="324"/>
                  </a:lnTo>
                  <a:lnTo>
                    <a:pt x="276" y="324"/>
                  </a:lnTo>
                  <a:lnTo>
                    <a:pt x="274" y="322"/>
                  </a:lnTo>
                  <a:lnTo>
                    <a:pt x="260" y="322"/>
                  </a:lnTo>
                  <a:lnTo>
                    <a:pt x="253" y="317"/>
                  </a:lnTo>
                  <a:lnTo>
                    <a:pt x="250" y="317"/>
                  </a:lnTo>
                  <a:lnTo>
                    <a:pt x="250" y="322"/>
                  </a:lnTo>
                  <a:lnTo>
                    <a:pt x="213" y="322"/>
                  </a:lnTo>
                  <a:lnTo>
                    <a:pt x="210" y="324"/>
                  </a:lnTo>
                  <a:lnTo>
                    <a:pt x="194" y="324"/>
                  </a:lnTo>
                  <a:lnTo>
                    <a:pt x="194" y="322"/>
                  </a:lnTo>
                  <a:lnTo>
                    <a:pt x="189" y="322"/>
                  </a:lnTo>
                  <a:lnTo>
                    <a:pt x="189" y="317"/>
                  </a:lnTo>
                  <a:lnTo>
                    <a:pt x="177" y="317"/>
                  </a:lnTo>
                  <a:lnTo>
                    <a:pt x="168" y="322"/>
                  </a:lnTo>
                  <a:lnTo>
                    <a:pt x="156" y="317"/>
                  </a:lnTo>
                  <a:lnTo>
                    <a:pt x="149" y="314"/>
                  </a:lnTo>
                  <a:lnTo>
                    <a:pt x="147" y="314"/>
                  </a:lnTo>
                  <a:lnTo>
                    <a:pt x="147" y="310"/>
                  </a:lnTo>
                  <a:lnTo>
                    <a:pt x="144" y="310"/>
                  </a:lnTo>
                  <a:lnTo>
                    <a:pt x="132" y="305"/>
                  </a:lnTo>
                  <a:lnTo>
                    <a:pt x="113" y="300"/>
                  </a:lnTo>
                  <a:lnTo>
                    <a:pt x="109" y="300"/>
                  </a:lnTo>
                  <a:lnTo>
                    <a:pt x="106" y="305"/>
                  </a:lnTo>
                  <a:lnTo>
                    <a:pt x="97" y="305"/>
                  </a:lnTo>
                  <a:lnTo>
                    <a:pt x="87" y="307"/>
                  </a:lnTo>
                  <a:lnTo>
                    <a:pt x="83" y="307"/>
                  </a:lnTo>
                  <a:lnTo>
                    <a:pt x="83" y="305"/>
                  </a:lnTo>
                  <a:lnTo>
                    <a:pt x="80" y="305"/>
                  </a:lnTo>
                  <a:lnTo>
                    <a:pt x="76" y="300"/>
                  </a:lnTo>
                  <a:lnTo>
                    <a:pt x="73" y="300"/>
                  </a:lnTo>
                  <a:lnTo>
                    <a:pt x="64" y="298"/>
                  </a:lnTo>
                  <a:lnTo>
                    <a:pt x="64" y="293"/>
                  </a:lnTo>
                  <a:lnTo>
                    <a:pt x="59" y="293"/>
                  </a:lnTo>
                  <a:lnTo>
                    <a:pt x="57" y="288"/>
                  </a:lnTo>
                  <a:lnTo>
                    <a:pt x="57" y="284"/>
                  </a:lnTo>
                  <a:lnTo>
                    <a:pt x="59" y="281"/>
                  </a:lnTo>
                  <a:lnTo>
                    <a:pt x="59" y="248"/>
                  </a:lnTo>
                  <a:lnTo>
                    <a:pt x="57" y="248"/>
                  </a:lnTo>
                  <a:lnTo>
                    <a:pt x="47" y="237"/>
                  </a:lnTo>
                  <a:lnTo>
                    <a:pt x="40" y="237"/>
                  </a:lnTo>
                  <a:lnTo>
                    <a:pt x="36" y="234"/>
                  </a:lnTo>
                  <a:lnTo>
                    <a:pt x="33" y="232"/>
                  </a:lnTo>
                  <a:lnTo>
                    <a:pt x="33" y="225"/>
                  </a:lnTo>
                  <a:lnTo>
                    <a:pt x="31" y="220"/>
                  </a:lnTo>
                  <a:lnTo>
                    <a:pt x="19" y="220"/>
                  </a:lnTo>
                  <a:lnTo>
                    <a:pt x="19" y="218"/>
                  </a:lnTo>
                  <a:lnTo>
                    <a:pt x="2" y="218"/>
                  </a:lnTo>
                  <a:lnTo>
                    <a:pt x="0" y="211"/>
                  </a:lnTo>
                  <a:lnTo>
                    <a:pt x="0" y="201"/>
                  </a:lnTo>
                  <a:lnTo>
                    <a:pt x="7" y="185"/>
                  </a:lnTo>
                  <a:lnTo>
                    <a:pt x="7" y="180"/>
                  </a:lnTo>
                  <a:lnTo>
                    <a:pt x="7" y="192"/>
                  </a:lnTo>
                  <a:lnTo>
                    <a:pt x="2" y="194"/>
                  </a:lnTo>
                  <a:lnTo>
                    <a:pt x="2" y="203"/>
                  </a:lnTo>
                  <a:lnTo>
                    <a:pt x="7" y="203"/>
                  </a:lnTo>
                  <a:lnTo>
                    <a:pt x="10" y="201"/>
                  </a:lnTo>
                  <a:lnTo>
                    <a:pt x="12" y="194"/>
                  </a:lnTo>
                  <a:lnTo>
                    <a:pt x="12" y="185"/>
                  </a:lnTo>
                  <a:lnTo>
                    <a:pt x="17" y="180"/>
                  </a:lnTo>
                  <a:lnTo>
                    <a:pt x="19" y="180"/>
                  </a:lnTo>
                  <a:lnTo>
                    <a:pt x="24" y="185"/>
                  </a:lnTo>
                  <a:lnTo>
                    <a:pt x="19" y="177"/>
                  </a:lnTo>
                  <a:lnTo>
                    <a:pt x="19" y="173"/>
                  </a:lnTo>
                  <a:lnTo>
                    <a:pt x="17" y="173"/>
                  </a:lnTo>
                  <a:lnTo>
                    <a:pt x="12" y="177"/>
                  </a:lnTo>
                  <a:lnTo>
                    <a:pt x="7" y="173"/>
                  </a:lnTo>
                  <a:lnTo>
                    <a:pt x="7" y="170"/>
                  </a:lnTo>
                  <a:lnTo>
                    <a:pt x="10" y="161"/>
                  </a:lnTo>
                  <a:lnTo>
                    <a:pt x="17" y="156"/>
                  </a:lnTo>
                  <a:lnTo>
                    <a:pt x="31" y="156"/>
                  </a:lnTo>
                  <a:lnTo>
                    <a:pt x="24" y="154"/>
                  </a:lnTo>
                  <a:lnTo>
                    <a:pt x="19" y="154"/>
                  </a:lnTo>
                  <a:lnTo>
                    <a:pt x="19" y="147"/>
                  </a:lnTo>
                  <a:lnTo>
                    <a:pt x="17" y="144"/>
                  </a:lnTo>
                  <a:lnTo>
                    <a:pt x="12" y="144"/>
                  </a:lnTo>
                  <a:lnTo>
                    <a:pt x="10" y="151"/>
                  </a:lnTo>
                  <a:lnTo>
                    <a:pt x="7" y="154"/>
                  </a:lnTo>
                  <a:lnTo>
                    <a:pt x="10" y="151"/>
                  </a:lnTo>
                  <a:lnTo>
                    <a:pt x="10" y="144"/>
                  </a:lnTo>
                  <a:lnTo>
                    <a:pt x="12" y="140"/>
                  </a:lnTo>
                  <a:lnTo>
                    <a:pt x="12" y="116"/>
                  </a:lnTo>
                  <a:lnTo>
                    <a:pt x="10" y="114"/>
                  </a:lnTo>
                  <a:lnTo>
                    <a:pt x="12" y="107"/>
                  </a:lnTo>
                  <a:lnTo>
                    <a:pt x="12" y="100"/>
                  </a:lnTo>
                  <a:lnTo>
                    <a:pt x="17" y="88"/>
                  </a:lnTo>
                  <a:lnTo>
                    <a:pt x="17" y="81"/>
                  </a:lnTo>
                  <a:lnTo>
                    <a:pt x="12" y="71"/>
                  </a:lnTo>
                  <a:lnTo>
                    <a:pt x="12" y="66"/>
                  </a:lnTo>
                  <a:lnTo>
                    <a:pt x="10" y="64"/>
                  </a:lnTo>
                  <a:lnTo>
                    <a:pt x="10" y="40"/>
                  </a:lnTo>
                  <a:lnTo>
                    <a:pt x="12" y="36"/>
                  </a:lnTo>
                  <a:lnTo>
                    <a:pt x="12" y="31"/>
                  </a:lnTo>
                  <a:lnTo>
                    <a:pt x="17" y="19"/>
                  </a:lnTo>
                  <a:lnTo>
                    <a:pt x="17" y="17"/>
                  </a:lnTo>
                  <a:lnTo>
                    <a:pt x="19" y="19"/>
                  </a:lnTo>
                  <a:lnTo>
                    <a:pt x="24" y="24"/>
                  </a:lnTo>
                  <a:lnTo>
                    <a:pt x="26" y="24"/>
                  </a:lnTo>
                  <a:lnTo>
                    <a:pt x="26" y="26"/>
                  </a:lnTo>
                  <a:lnTo>
                    <a:pt x="31" y="31"/>
                  </a:lnTo>
                  <a:lnTo>
                    <a:pt x="36" y="33"/>
                  </a:lnTo>
                  <a:lnTo>
                    <a:pt x="40" y="36"/>
                  </a:lnTo>
                  <a:lnTo>
                    <a:pt x="43" y="40"/>
                  </a:lnTo>
                  <a:lnTo>
                    <a:pt x="47" y="43"/>
                  </a:lnTo>
                  <a:lnTo>
                    <a:pt x="47" y="48"/>
                  </a:lnTo>
                  <a:lnTo>
                    <a:pt x="50" y="48"/>
                  </a:lnTo>
                  <a:lnTo>
                    <a:pt x="52" y="50"/>
                  </a:lnTo>
                  <a:lnTo>
                    <a:pt x="57" y="55"/>
                  </a:lnTo>
                  <a:lnTo>
                    <a:pt x="64" y="55"/>
                  </a:lnTo>
                  <a:lnTo>
                    <a:pt x="71" y="57"/>
                  </a:lnTo>
                  <a:lnTo>
                    <a:pt x="76" y="59"/>
                  </a:lnTo>
                  <a:lnTo>
                    <a:pt x="83" y="64"/>
                  </a:lnTo>
                  <a:lnTo>
                    <a:pt x="87" y="66"/>
                  </a:lnTo>
                  <a:lnTo>
                    <a:pt x="97" y="66"/>
                  </a:lnTo>
                  <a:lnTo>
                    <a:pt x="97" y="64"/>
                  </a:lnTo>
                  <a:lnTo>
                    <a:pt x="99" y="64"/>
                  </a:lnTo>
                  <a:lnTo>
                    <a:pt x="106" y="74"/>
                  </a:lnTo>
                  <a:lnTo>
                    <a:pt x="121" y="74"/>
                  </a:lnTo>
                  <a:lnTo>
                    <a:pt x="121" y="76"/>
                  </a:lnTo>
                  <a:lnTo>
                    <a:pt x="116" y="76"/>
                  </a:lnTo>
                  <a:lnTo>
                    <a:pt x="121" y="88"/>
                  </a:lnTo>
                  <a:lnTo>
                    <a:pt x="121" y="97"/>
                  </a:lnTo>
                  <a:lnTo>
                    <a:pt x="116" y="100"/>
                  </a:lnTo>
                  <a:lnTo>
                    <a:pt x="109" y="107"/>
                  </a:lnTo>
                  <a:lnTo>
                    <a:pt x="106" y="107"/>
                  </a:lnTo>
                  <a:lnTo>
                    <a:pt x="109" y="104"/>
                  </a:lnTo>
                  <a:lnTo>
                    <a:pt x="109" y="97"/>
                  </a:lnTo>
                  <a:lnTo>
                    <a:pt x="106" y="100"/>
                  </a:lnTo>
                  <a:lnTo>
                    <a:pt x="106" y="104"/>
                  </a:lnTo>
                  <a:lnTo>
                    <a:pt x="104" y="107"/>
                  </a:lnTo>
                  <a:lnTo>
                    <a:pt x="99" y="111"/>
                  </a:lnTo>
                  <a:lnTo>
                    <a:pt x="99" y="114"/>
                  </a:lnTo>
                  <a:lnTo>
                    <a:pt x="97" y="114"/>
                  </a:lnTo>
                  <a:lnTo>
                    <a:pt x="90" y="121"/>
                  </a:lnTo>
                  <a:lnTo>
                    <a:pt x="83" y="128"/>
                  </a:lnTo>
                  <a:lnTo>
                    <a:pt x="76" y="135"/>
                  </a:lnTo>
                  <a:lnTo>
                    <a:pt x="76" y="137"/>
                  </a:lnTo>
                  <a:lnTo>
                    <a:pt x="92" y="137"/>
                  </a:lnTo>
                  <a:lnTo>
                    <a:pt x="92" y="135"/>
                  </a:lnTo>
                  <a:lnTo>
                    <a:pt x="97" y="135"/>
                  </a:lnTo>
                  <a:lnTo>
                    <a:pt x="87" y="135"/>
                  </a:lnTo>
                  <a:lnTo>
                    <a:pt x="83" y="137"/>
                  </a:lnTo>
                  <a:lnTo>
                    <a:pt x="80" y="135"/>
                  </a:lnTo>
                  <a:lnTo>
                    <a:pt x="83" y="130"/>
                  </a:lnTo>
                  <a:lnTo>
                    <a:pt x="90" y="121"/>
                  </a:lnTo>
                  <a:lnTo>
                    <a:pt x="92" y="116"/>
                  </a:lnTo>
                  <a:lnTo>
                    <a:pt x="97" y="116"/>
                  </a:lnTo>
                  <a:lnTo>
                    <a:pt x="104" y="114"/>
                  </a:lnTo>
                  <a:lnTo>
                    <a:pt x="109" y="111"/>
                  </a:lnTo>
                  <a:lnTo>
                    <a:pt x="123" y="95"/>
                  </a:lnTo>
                  <a:lnTo>
                    <a:pt x="128" y="97"/>
                  </a:lnTo>
                  <a:lnTo>
                    <a:pt x="128" y="111"/>
                  </a:lnTo>
                  <a:lnTo>
                    <a:pt x="121" y="114"/>
                  </a:lnTo>
                  <a:lnTo>
                    <a:pt x="116" y="114"/>
                  </a:lnTo>
                  <a:lnTo>
                    <a:pt x="116" y="121"/>
                  </a:lnTo>
                  <a:lnTo>
                    <a:pt x="113" y="123"/>
                  </a:lnTo>
                  <a:lnTo>
                    <a:pt x="113" y="116"/>
                  </a:lnTo>
                  <a:lnTo>
                    <a:pt x="109" y="121"/>
                  </a:lnTo>
                  <a:lnTo>
                    <a:pt x="109" y="128"/>
                  </a:lnTo>
                  <a:lnTo>
                    <a:pt x="116" y="128"/>
                  </a:lnTo>
                  <a:lnTo>
                    <a:pt x="116" y="135"/>
                  </a:lnTo>
                  <a:lnTo>
                    <a:pt x="109" y="151"/>
                  </a:lnTo>
                  <a:lnTo>
                    <a:pt x="106" y="154"/>
                  </a:lnTo>
                  <a:lnTo>
                    <a:pt x="104" y="147"/>
                  </a:lnTo>
                  <a:lnTo>
                    <a:pt x="106" y="144"/>
                  </a:lnTo>
                  <a:lnTo>
                    <a:pt x="106" y="140"/>
                  </a:lnTo>
                  <a:lnTo>
                    <a:pt x="109" y="140"/>
                  </a:lnTo>
                  <a:lnTo>
                    <a:pt x="104" y="144"/>
                  </a:lnTo>
                  <a:lnTo>
                    <a:pt x="97" y="147"/>
                  </a:lnTo>
                  <a:lnTo>
                    <a:pt x="99" y="151"/>
                  </a:lnTo>
                  <a:lnTo>
                    <a:pt x="97" y="154"/>
                  </a:lnTo>
                  <a:lnTo>
                    <a:pt x="97" y="156"/>
                  </a:lnTo>
                  <a:lnTo>
                    <a:pt x="92" y="154"/>
                  </a:lnTo>
                  <a:lnTo>
                    <a:pt x="92" y="147"/>
                  </a:lnTo>
                  <a:lnTo>
                    <a:pt x="97" y="147"/>
                  </a:lnTo>
                  <a:lnTo>
                    <a:pt x="97" y="144"/>
                  </a:lnTo>
                  <a:lnTo>
                    <a:pt x="99" y="140"/>
                  </a:lnTo>
                  <a:lnTo>
                    <a:pt x="97" y="137"/>
                  </a:lnTo>
                  <a:lnTo>
                    <a:pt x="97" y="140"/>
                  </a:lnTo>
                  <a:lnTo>
                    <a:pt x="92" y="144"/>
                  </a:lnTo>
                  <a:lnTo>
                    <a:pt x="90" y="144"/>
                  </a:lnTo>
                  <a:lnTo>
                    <a:pt x="87" y="147"/>
                  </a:lnTo>
                  <a:lnTo>
                    <a:pt x="83" y="154"/>
                  </a:lnTo>
                  <a:lnTo>
                    <a:pt x="76" y="154"/>
                  </a:lnTo>
                  <a:lnTo>
                    <a:pt x="76" y="156"/>
                  </a:lnTo>
                  <a:lnTo>
                    <a:pt x="83" y="156"/>
                  </a:lnTo>
                  <a:lnTo>
                    <a:pt x="83" y="163"/>
                  </a:lnTo>
                  <a:lnTo>
                    <a:pt x="87" y="16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4" name="Freeform 148">
              <a:extLst>
                <a:ext uri="{FF2B5EF4-FFF2-40B4-BE49-F238E27FC236}">
                  <a16:creationId xmlns:a16="http://schemas.microsoft.com/office/drawing/2014/main" id="{DDB4F71C-C22B-4D8C-9AA3-D2580722C4C6}"/>
                </a:ext>
              </a:extLst>
            </p:cNvPr>
            <p:cNvSpPr>
              <a:spLocks/>
            </p:cNvSpPr>
            <p:nvPr/>
          </p:nvSpPr>
          <p:spPr bwMode="gray">
            <a:xfrm rot="47099">
              <a:off x="1660914" y="2992696"/>
              <a:ext cx="194153" cy="199719"/>
            </a:xfrm>
            <a:custGeom>
              <a:avLst/>
              <a:gdLst>
                <a:gd name="T0" fmla="*/ 340 w 418"/>
                <a:gd name="T1" fmla="*/ 411 h 430"/>
                <a:gd name="T2" fmla="*/ 300 w 418"/>
                <a:gd name="T3" fmla="*/ 416 h 430"/>
                <a:gd name="T4" fmla="*/ 248 w 418"/>
                <a:gd name="T5" fmla="*/ 423 h 430"/>
                <a:gd name="T6" fmla="*/ 180 w 418"/>
                <a:gd name="T7" fmla="*/ 430 h 430"/>
                <a:gd name="T8" fmla="*/ 168 w 418"/>
                <a:gd name="T9" fmla="*/ 421 h 430"/>
                <a:gd name="T10" fmla="*/ 144 w 418"/>
                <a:gd name="T11" fmla="*/ 413 h 430"/>
                <a:gd name="T12" fmla="*/ 135 w 418"/>
                <a:gd name="T13" fmla="*/ 397 h 430"/>
                <a:gd name="T14" fmla="*/ 135 w 418"/>
                <a:gd name="T15" fmla="*/ 373 h 430"/>
                <a:gd name="T16" fmla="*/ 137 w 418"/>
                <a:gd name="T17" fmla="*/ 364 h 430"/>
                <a:gd name="T18" fmla="*/ 128 w 418"/>
                <a:gd name="T19" fmla="*/ 359 h 430"/>
                <a:gd name="T20" fmla="*/ 120 w 418"/>
                <a:gd name="T21" fmla="*/ 326 h 430"/>
                <a:gd name="T22" fmla="*/ 113 w 418"/>
                <a:gd name="T23" fmla="*/ 310 h 430"/>
                <a:gd name="T24" fmla="*/ 102 w 418"/>
                <a:gd name="T25" fmla="*/ 300 h 430"/>
                <a:gd name="T26" fmla="*/ 80 w 418"/>
                <a:gd name="T27" fmla="*/ 291 h 430"/>
                <a:gd name="T28" fmla="*/ 73 w 418"/>
                <a:gd name="T29" fmla="*/ 279 h 430"/>
                <a:gd name="T30" fmla="*/ 64 w 418"/>
                <a:gd name="T31" fmla="*/ 274 h 430"/>
                <a:gd name="T32" fmla="*/ 50 w 418"/>
                <a:gd name="T33" fmla="*/ 267 h 430"/>
                <a:gd name="T34" fmla="*/ 31 w 418"/>
                <a:gd name="T35" fmla="*/ 260 h 430"/>
                <a:gd name="T36" fmla="*/ 14 w 418"/>
                <a:gd name="T37" fmla="*/ 246 h 430"/>
                <a:gd name="T38" fmla="*/ 9 w 418"/>
                <a:gd name="T39" fmla="*/ 196 h 430"/>
                <a:gd name="T40" fmla="*/ 17 w 418"/>
                <a:gd name="T41" fmla="*/ 182 h 430"/>
                <a:gd name="T42" fmla="*/ 0 w 418"/>
                <a:gd name="T43" fmla="*/ 161 h 430"/>
                <a:gd name="T44" fmla="*/ 14 w 418"/>
                <a:gd name="T45" fmla="*/ 139 h 430"/>
                <a:gd name="T46" fmla="*/ 33 w 418"/>
                <a:gd name="T47" fmla="*/ 123 h 430"/>
                <a:gd name="T48" fmla="*/ 31 w 418"/>
                <a:gd name="T49" fmla="*/ 73 h 430"/>
                <a:gd name="T50" fmla="*/ 45 w 418"/>
                <a:gd name="T51" fmla="*/ 66 h 430"/>
                <a:gd name="T52" fmla="*/ 106 w 418"/>
                <a:gd name="T53" fmla="*/ 17 h 430"/>
                <a:gd name="T54" fmla="*/ 151 w 418"/>
                <a:gd name="T55" fmla="*/ 50 h 430"/>
                <a:gd name="T56" fmla="*/ 151 w 418"/>
                <a:gd name="T57" fmla="*/ 69 h 430"/>
                <a:gd name="T58" fmla="*/ 163 w 418"/>
                <a:gd name="T59" fmla="*/ 83 h 430"/>
                <a:gd name="T60" fmla="*/ 208 w 418"/>
                <a:gd name="T61" fmla="*/ 92 h 430"/>
                <a:gd name="T62" fmla="*/ 232 w 418"/>
                <a:gd name="T63" fmla="*/ 97 h 430"/>
                <a:gd name="T64" fmla="*/ 265 w 418"/>
                <a:gd name="T65" fmla="*/ 99 h 430"/>
                <a:gd name="T66" fmla="*/ 295 w 418"/>
                <a:gd name="T67" fmla="*/ 106 h 430"/>
                <a:gd name="T68" fmla="*/ 305 w 418"/>
                <a:gd name="T69" fmla="*/ 121 h 430"/>
                <a:gd name="T70" fmla="*/ 317 w 418"/>
                <a:gd name="T71" fmla="*/ 139 h 430"/>
                <a:gd name="T72" fmla="*/ 314 w 418"/>
                <a:gd name="T73" fmla="*/ 154 h 430"/>
                <a:gd name="T74" fmla="*/ 328 w 418"/>
                <a:gd name="T75" fmla="*/ 161 h 430"/>
                <a:gd name="T76" fmla="*/ 331 w 418"/>
                <a:gd name="T77" fmla="*/ 172 h 430"/>
                <a:gd name="T78" fmla="*/ 347 w 418"/>
                <a:gd name="T79" fmla="*/ 163 h 430"/>
                <a:gd name="T80" fmla="*/ 354 w 418"/>
                <a:gd name="T81" fmla="*/ 156 h 430"/>
                <a:gd name="T82" fmla="*/ 361 w 418"/>
                <a:gd name="T83" fmla="*/ 139 h 430"/>
                <a:gd name="T84" fmla="*/ 418 w 418"/>
                <a:gd name="T85" fmla="*/ 149 h 430"/>
                <a:gd name="T86" fmla="*/ 411 w 418"/>
                <a:gd name="T87" fmla="*/ 161 h 430"/>
                <a:gd name="T88" fmla="*/ 404 w 418"/>
                <a:gd name="T89" fmla="*/ 165 h 430"/>
                <a:gd name="T90" fmla="*/ 397 w 418"/>
                <a:gd name="T91" fmla="*/ 182 h 430"/>
                <a:gd name="T92" fmla="*/ 392 w 418"/>
                <a:gd name="T93" fmla="*/ 206 h 430"/>
                <a:gd name="T94" fmla="*/ 387 w 418"/>
                <a:gd name="T95" fmla="*/ 250 h 430"/>
                <a:gd name="T96" fmla="*/ 387 w 418"/>
                <a:gd name="T97" fmla="*/ 319 h 430"/>
                <a:gd name="T98" fmla="*/ 392 w 418"/>
                <a:gd name="T99" fmla="*/ 340 h 430"/>
                <a:gd name="T100" fmla="*/ 409 w 418"/>
                <a:gd name="T101" fmla="*/ 399 h 4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8"/>
                <a:gd name="T154" fmla="*/ 0 h 430"/>
                <a:gd name="T155" fmla="*/ 418 w 418"/>
                <a:gd name="T156" fmla="*/ 430 h 4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8" h="430">
                  <a:moveTo>
                    <a:pt x="385" y="404"/>
                  </a:moveTo>
                  <a:lnTo>
                    <a:pt x="357" y="406"/>
                  </a:lnTo>
                  <a:lnTo>
                    <a:pt x="340" y="411"/>
                  </a:lnTo>
                  <a:lnTo>
                    <a:pt x="321" y="413"/>
                  </a:lnTo>
                  <a:lnTo>
                    <a:pt x="305" y="413"/>
                  </a:lnTo>
                  <a:lnTo>
                    <a:pt x="300" y="416"/>
                  </a:lnTo>
                  <a:lnTo>
                    <a:pt x="288" y="416"/>
                  </a:lnTo>
                  <a:lnTo>
                    <a:pt x="265" y="421"/>
                  </a:lnTo>
                  <a:lnTo>
                    <a:pt x="248" y="423"/>
                  </a:lnTo>
                  <a:lnTo>
                    <a:pt x="232" y="423"/>
                  </a:lnTo>
                  <a:lnTo>
                    <a:pt x="208" y="428"/>
                  </a:lnTo>
                  <a:lnTo>
                    <a:pt x="180" y="430"/>
                  </a:lnTo>
                  <a:lnTo>
                    <a:pt x="175" y="430"/>
                  </a:lnTo>
                  <a:lnTo>
                    <a:pt x="175" y="428"/>
                  </a:lnTo>
                  <a:lnTo>
                    <a:pt x="168" y="421"/>
                  </a:lnTo>
                  <a:lnTo>
                    <a:pt x="168" y="416"/>
                  </a:lnTo>
                  <a:lnTo>
                    <a:pt x="146" y="416"/>
                  </a:lnTo>
                  <a:lnTo>
                    <a:pt x="144" y="413"/>
                  </a:lnTo>
                  <a:lnTo>
                    <a:pt x="144" y="411"/>
                  </a:lnTo>
                  <a:lnTo>
                    <a:pt x="137" y="397"/>
                  </a:lnTo>
                  <a:lnTo>
                    <a:pt x="135" y="397"/>
                  </a:lnTo>
                  <a:lnTo>
                    <a:pt x="130" y="380"/>
                  </a:lnTo>
                  <a:lnTo>
                    <a:pt x="130" y="373"/>
                  </a:lnTo>
                  <a:lnTo>
                    <a:pt x="135" y="373"/>
                  </a:lnTo>
                  <a:lnTo>
                    <a:pt x="135" y="371"/>
                  </a:lnTo>
                  <a:lnTo>
                    <a:pt x="137" y="366"/>
                  </a:lnTo>
                  <a:lnTo>
                    <a:pt x="137" y="364"/>
                  </a:lnTo>
                  <a:lnTo>
                    <a:pt x="135" y="364"/>
                  </a:lnTo>
                  <a:lnTo>
                    <a:pt x="135" y="359"/>
                  </a:lnTo>
                  <a:lnTo>
                    <a:pt x="128" y="359"/>
                  </a:lnTo>
                  <a:lnTo>
                    <a:pt x="123" y="350"/>
                  </a:lnTo>
                  <a:lnTo>
                    <a:pt x="123" y="343"/>
                  </a:lnTo>
                  <a:lnTo>
                    <a:pt x="120" y="326"/>
                  </a:lnTo>
                  <a:lnTo>
                    <a:pt x="120" y="319"/>
                  </a:lnTo>
                  <a:lnTo>
                    <a:pt x="118" y="317"/>
                  </a:lnTo>
                  <a:lnTo>
                    <a:pt x="113" y="310"/>
                  </a:lnTo>
                  <a:lnTo>
                    <a:pt x="111" y="307"/>
                  </a:lnTo>
                  <a:lnTo>
                    <a:pt x="106" y="302"/>
                  </a:lnTo>
                  <a:lnTo>
                    <a:pt x="102" y="300"/>
                  </a:lnTo>
                  <a:lnTo>
                    <a:pt x="90" y="300"/>
                  </a:lnTo>
                  <a:lnTo>
                    <a:pt x="90" y="295"/>
                  </a:lnTo>
                  <a:lnTo>
                    <a:pt x="80" y="291"/>
                  </a:lnTo>
                  <a:lnTo>
                    <a:pt x="78" y="286"/>
                  </a:lnTo>
                  <a:lnTo>
                    <a:pt x="73" y="284"/>
                  </a:lnTo>
                  <a:lnTo>
                    <a:pt x="73" y="279"/>
                  </a:lnTo>
                  <a:lnTo>
                    <a:pt x="71" y="276"/>
                  </a:lnTo>
                  <a:lnTo>
                    <a:pt x="66" y="274"/>
                  </a:lnTo>
                  <a:lnTo>
                    <a:pt x="64" y="274"/>
                  </a:lnTo>
                  <a:lnTo>
                    <a:pt x="61" y="269"/>
                  </a:lnTo>
                  <a:lnTo>
                    <a:pt x="54" y="269"/>
                  </a:lnTo>
                  <a:lnTo>
                    <a:pt x="50" y="267"/>
                  </a:lnTo>
                  <a:lnTo>
                    <a:pt x="47" y="262"/>
                  </a:lnTo>
                  <a:lnTo>
                    <a:pt x="45" y="260"/>
                  </a:lnTo>
                  <a:lnTo>
                    <a:pt x="31" y="260"/>
                  </a:lnTo>
                  <a:lnTo>
                    <a:pt x="31" y="258"/>
                  </a:lnTo>
                  <a:lnTo>
                    <a:pt x="26" y="258"/>
                  </a:lnTo>
                  <a:lnTo>
                    <a:pt x="14" y="246"/>
                  </a:lnTo>
                  <a:lnTo>
                    <a:pt x="14" y="220"/>
                  </a:lnTo>
                  <a:lnTo>
                    <a:pt x="9" y="206"/>
                  </a:lnTo>
                  <a:lnTo>
                    <a:pt x="9" y="196"/>
                  </a:lnTo>
                  <a:lnTo>
                    <a:pt x="14" y="194"/>
                  </a:lnTo>
                  <a:lnTo>
                    <a:pt x="17" y="187"/>
                  </a:lnTo>
                  <a:lnTo>
                    <a:pt x="17" y="182"/>
                  </a:lnTo>
                  <a:lnTo>
                    <a:pt x="9" y="172"/>
                  </a:lnTo>
                  <a:lnTo>
                    <a:pt x="0" y="172"/>
                  </a:lnTo>
                  <a:lnTo>
                    <a:pt x="0" y="161"/>
                  </a:lnTo>
                  <a:lnTo>
                    <a:pt x="7" y="142"/>
                  </a:lnTo>
                  <a:lnTo>
                    <a:pt x="9" y="139"/>
                  </a:lnTo>
                  <a:lnTo>
                    <a:pt x="14" y="139"/>
                  </a:lnTo>
                  <a:lnTo>
                    <a:pt x="17" y="137"/>
                  </a:lnTo>
                  <a:lnTo>
                    <a:pt x="31" y="130"/>
                  </a:lnTo>
                  <a:lnTo>
                    <a:pt x="33" y="123"/>
                  </a:lnTo>
                  <a:lnTo>
                    <a:pt x="33" y="106"/>
                  </a:lnTo>
                  <a:lnTo>
                    <a:pt x="31" y="99"/>
                  </a:lnTo>
                  <a:lnTo>
                    <a:pt x="31" y="73"/>
                  </a:lnTo>
                  <a:lnTo>
                    <a:pt x="38" y="61"/>
                  </a:lnTo>
                  <a:lnTo>
                    <a:pt x="45" y="61"/>
                  </a:lnTo>
                  <a:lnTo>
                    <a:pt x="45" y="66"/>
                  </a:lnTo>
                  <a:lnTo>
                    <a:pt x="57" y="57"/>
                  </a:lnTo>
                  <a:lnTo>
                    <a:pt x="71" y="45"/>
                  </a:lnTo>
                  <a:lnTo>
                    <a:pt x="106" y="17"/>
                  </a:lnTo>
                  <a:lnTo>
                    <a:pt x="123" y="2"/>
                  </a:lnTo>
                  <a:lnTo>
                    <a:pt x="163" y="0"/>
                  </a:lnTo>
                  <a:lnTo>
                    <a:pt x="151" y="50"/>
                  </a:lnTo>
                  <a:lnTo>
                    <a:pt x="144" y="66"/>
                  </a:lnTo>
                  <a:lnTo>
                    <a:pt x="144" y="69"/>
                  </a:lnTo>
                  <a:lnTo>
                    <a:pt x="151" y="69"/>
                  </a:lnTo>
                  <a:lnTo>
                    <a:pt x="158" y="73"/>
                  </a:lnTo>
                  <a:lnTo>
                    <a:pt x="161" y="76"/>
                  </a:lnTo>
                  <a:lnTo>
                    <a:pt x="163" y="83"/>
                  </a:lnTo>
                  <a:lnTo>
                    <a:pt x="170" y="85"/>
                  </a:lnTo>
                  <a:lnTo>
                    <a:pt x="184" y="90"/>
                  </a:lnTo>
                  <a:lnTo>
                    <a:pt x="208" y="92"/>
                  </a:lnTo>
                  <a:lnTo>
                    <a:pt x="224" y="92"/>
                  </a:lnTo>
                  <a:lnTo>
                    <a:pt x="227" y="97"/>
                  </a:lnTo>
                  <a:lnTo>
                    <a:pt x="232" y="97"/>
                  </a:lnTo>
                  <a:lnTo>
                    <a:pt x="248" y="102"/>
                  </a:lnTo>
                  <a:lnTo>
                    <a:pt x="260" y="102"/>
                  </a:lnTo>
                  <a:lnTo>
                    <a:pt x="265" y="99"/>
                  </a:lnTo>
                  <a:lnTo>
                    <a:pt x="267" y="99"/>
                  </a:lnTo>
                  <a:lnTo>
                    <a:pt x="288" y="102"/>
                  </a:lnTo>
                  <a:lnTo>
                    <a:pt x="295" y="106"/>
                  </a:lnTo>
                  <a:lnTo>
                    <a:pt x="295" y="116"/>
                  </a:lnTo>
                  <a:lnTo>
                    <a:pt x="298" y="116"/>
                  </a:lnTo>
                  <a:lnTo>
                    <a:pt x="305" y="121"/>
                  </a:lnTo>
                  <a:lnTo>
                    <a:pt x="307" y="121"/>
                  </a:lnTo>
                  <a:lnTo>
                    <a:pt x="314" y="123"/>
                  </a:lnTo>
                  <a:lnTo>
                    <a:pt x="317" y="139"/>
                  </a:lnTo>
                  <a:lnTo>
                    <a:pt x="317" y="142"/>
                  </a:lnTo>
                  <a:lnTo>
                    <a:pt x="314" y="146"/>
                  </a:lnTo>
                  <a:lnTo>
                    <a:pt x="314" y="154"/>
                  </a:lnTo>
                  <a:lnTo>
                    <a:pt x="321" y="154"/>
                  </a:lnTo>
                  <a:lnTo>
                    <a:pt x="328" y="156"/>
                  </a:lnTo>
                  <a:lnTo>
                    <a:pt x="328" y="161"/>
                  </a:lnTo>
                  <a:lnTo>
                    <a:pt x="324" y="163"/>
                  </a:lnTo>
                  <a:lnTo>
                    <a:pt x="328" y="165"/>
                  </a:lnTo>
                  <a:lnTo>
                    <a:pt x="331" y="172"/>
                  </a:lnTo>
                  <a:lnTo>
                    <a:pt x="335" y="172"/>
                  </a:lnTo>
                  <a:lnTo>
                    <a:pt x="347" y="177"/>
                  </a:lnTo>
                  <a:lnTo>
                    <a:pt x="347" y="163"/>
                  </a:lnTo>
                  <a:lnTo>
                    <a:pt x="352" y="161"/>
                  </a:lnTo>
                  <a:lnTo>
                    <a:pt x="354" y="161"/>
                  </a:lnTo>
                  <a:lnTo>
                    <a:pt x="354" y="156"/>
                  </a:lnTo>
                  <a:lnTo>
                    <a:pt x="357" y="146"/>
                  </a:lnTo>
                  <a:lnTo>
                    <a:pt x="361" y="142"/>
                  </a:lnTo>
                  <a:lnTo>
                    <a:pt x="361" y="139"/>
                  </a:lnTo>
                  <a:lnTo>
                    <a:pt x="385" y="137"/>
                  </a:lnTo>
                  <a:lnTo>
                    <a:pt x="395" y="139"/>
                  </a:lnTo>
                  <a:lnTo>
                    <a:pt x="418" y="149"/>
                  </a:lnTo>
                  <a:lnTo>
                    <a:pt x="413" y="154"/>
                  </a:lnTo>
                  <a:lnTo>
                    <a:pt x="411" y="156"/>
                  </a:lnTo>
                  <a:lnTo>
                    <a:pt x="411" y="161"/>
                  </a:lnTo>
                  <a:lnTo>
                    <a:pt x="409" y="161"/>
                  </a:lnTo>
                  <a:lnTo>
                    <a:pt x="409" y="163"/>
                  </a:lnTo>
                  <a:lnTo>
                    <a:pt x="404" y="165"/>
                  </a:lnTo>
                  <a:lnTo>
                    <a:pt x="402" y="172"/>
                  </a:lnTo>
                  <a:lnTo>
                    <a:pt x="397" y="177"/>
                  </a:lnTo>
                  <a:lnTo>
                    <a:pt x="397" y="182"/>
                  </a:lnTo>
                  <a:lnTo>
                    <a:pt x="395" y="187"/>
                  </a:lnTo>
                  <a:lnTo>
                    <a:pt x="395" y="196"/>
                  </a:lnTo>
                  <a:lnTo>
                    <a:pt x="392" y="206"/>
                  </a:lnTo>
                  <a:lnTo>
                    <a:pt x="392" y="213"/>
                  </a:lnTo>
                  <a:lnTo>
                    <a:pt x="387" y="236"/>
                  </a:lnTo>
                  <a:lnTo>
                    <a:pt x="387" y="250"/>
                  </a:lnTo>
                  <a:lnTo>
                    <a:pt x="385" y="253"/>
                  </a:lnTo>
                  <a:lnTo>
                    <a:pt x="385" y="314"/>
                  </a:lnTo>
                  <a:lnTo>
                    <a:pt x="387" y="319"/>
                  </a:lnTo>
                  <a:lnTo>
                    <a:pt x="387" y="331"/>
                  </a:lnTo>
                  <a:lnTo>
                    <a:pt x="392" y="331"/>
                  </a:lnTo>
                  <a:lnTo>
                    <a:pt x="392" y="340"/>
                  </a:lnTo>
                  <a:lnTo>
                    <a:pt x="402" y="371"/>
                  </a:lnTo>
                  <a:lnTo>
                    <a:pt x="404" y="387"/>
                  </a:lnTo>
                  <a:lnTo>
                    <a:pt x="409" y="399"/>
                  </a:lnTo>
                  <a:lnTo>
                    <a:pt x="385" y="40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5" name="Freeform 149">
              <a:extLst>
                <a:ext uri="{FF2B5EF4-FFF2-40B4-BE49-F238E27FC236}">
                  <a16:creationId xmlns:a16="http://schemas.microsoft.com/office/drawing/2014/main" id="{E0449007-E441-494A-9705-F44671002596}"/>
                </a:ext>
              </a:extLst>
            </p:cNvPr>
            <p:cNvSpPr>
              <a:spLocks/>
            </p:cNvSpPr>
            <p:nvPr/>
          </p:nvSpPr>
          <p:spPr bwMode="gray">
            <a:xfrm rot="47099">
              <a:off x="2536590" y="2820050"/>
              <a:ext cx="4453" cy="5789"/>
            </a:xfrm>
            <a:custGeom>
              <a:avLst/>
              <a:gdLst>
                <a:gd name="T0" fmla="*/ 9 w 9"/>
                <a:gd name="T1" fmla="*/ 2 h 11"/>
                <a:gd name="T2" fmla="*/ 9 w 9"/>
                <a:gd name="T3" fmla="*/ 2 h 11"/>
                <a:gd name="T4" fmla="*/ 4 w 9"/>
                <a:gd name="T5" fmla="*/ 7 h 11"/>
                <a:gd name="T6" fmla="*/ 9 w 9"/>
                <a:gd name="T7" fmla="*/ 7 h 11"/>
                <a:gd name="T8" fmla="*/ 9 w 9"/>
                <a:gd name="T9" fmla="*/ 11 h 11"/>
                <a:gd name="T10" fmla="*/ 4 w 9"/>
                <a:gd name="T11" fmla="*/ 11 h 11"/>
                <a:gd name="T12" fmla="*/ 0 w 9"/>
                <a:gd name="T13" fmla="*/ 9 h 11"/>
                <a:gd name="T14" fmla="*/ 2 w 9"/>
                <a:gd name="T15" fmla="*/ 2 h 11"/>
                <a:gd name="T16" fmla="*/ 4 w 9"/>
                <a:gd name="T17" fmla="*/ 2 h 11"/>
                <a:gd name="T18" fmla="*/ 9 w 9"/>
                <a:gd name="T19" fmla="*/ 0 h 11"/>
                <a:gd name="T20" fmla="*/ 9 w 9"/>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1"/>
                <a:gd name="T35" fmla="*/ 9 w 9"/>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1">
                  <a:moveTo>
                    <a:pt x="9" y="2"/>
                  </a:moveTo>
                  <a:lnTo>
                    <a:pt x="9" y="2"/>
                  </a:lnTo>
                  <a:lnTo>
                    <a:pt x="4" y="7"/>
                  </a:lnTo>
                  <a:lnTo>
                    <a:pt x="9" y="7"/>
                  </a:lnTo>
                  <a:lnTo>
                    <a:pt x="9" y="11"/>
                  </a:lnTo>
                  <a:lnTo>
                    <a:pt x="4" y="11"/>
                  </a:lnTo>
                  <a:lnTo>
                    <a:pt x="0" y="9"/>
                  </a:lnTo>
                  <a:lnTo>
                    <a:pt x="2" y="2"/>
                  </a:lnTo>
                  <a:lnTo>
                    <a:pt x="4" y="2"/>
                  </a:lnTo>
                  <a:lnTo>
                    <a:pt x="9" y="0"/>
                  </a:lnTo>
                  <a:lnTo>
                    <a:pt x="9"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6" name="Freeform 150">
              <a:extLst>
                <a:ext uri="{FF2B5EF4-FFF2-40B4-BE49-F238E27FC236}">
                  <a16:creationId xmlns:a16="http://schemas.microsoft.com/office/drawing/2014/main" id="{13FE13A4-B67E-49FD-AB80-10328ACD0827}"/>
                </a:ext>
              </a:extLst>
            </p:cNvPr>
            <p:cNvSpPr>
              <a:spLocks/>
            </p:cNvSpPr>
            <p:nvPr/>
          </p:nvSpPr>
          <p:spPr bwMode="gray">
            <a:xfrm rot="47099">
              <a:off x="2424311" y="2822200"/>
              <a:ext cx="119343" cy="139900"/>
            </a:xfrm>
            <a:custGeom>
              <a:avLst/>
              <a:gdLst>
                <a:gd name="T0" fmla="*/ 24 w 255"/>
                <a:gd name="T1" fmla="*/ 283 h 300"/>
                <a:gd name="T2" fmla="*/ 14 w 255"/>
                <a:gd name="T3" fmla="*/ 267 h 300"/>
                <a:gd name="T4" fmla="*/ 7 w 255"/>
                <a:gd name="T5" fmla="*/ 236 h 300"/>
                <a:gd name="T6" fmla="*/ 14 w 255"/>
                <a:gd name="T7" fmla="*/ 212 h 300"/>
                <a:gd name="T8" fmla="*/ 2 w 255"/>
                <a:gd name="T9" fmla="*/ 233 h 300"/>
                <a:gd name="T10" fmla="*/ 2 w 255"/>
                <a:gd name="T11" fmla="*/ 222 h 300"/>
                <a:gd name="T12" fmla="*/ 21 w 255"/>
                <a:gd name="T13" fmla="*/ 205 h 300"/>
                <a:gd name="T14" fmla="*/ 17 w 255"/>
                <a:gd name="T15" fmla="*/ 193 h 300"/>
                <a:gd name="T16" fmla="*/ 47 w 255"/>
                <a:gd name="T17" fmla="*/ 146 h 300"/>
                <a:gd name="T18" fmla="*/ 54 w 255"/>
                <a:gd name="T19" fmla="*/ 137 h 300"/>
                <a:gd name="T20" fmla="*/ 66 w 255"/>
                <a:gd name="T21" fmla="*/ 122 h 300"/>
                <a:gd name="T22" fmla="*/ 62 w 255"/>
                <a:gd name="T23" fmla="*/ 115 h 300"/>
                <a:gd name="T24" fmla="*/ 78 w 255"/>
                <a:gd name="T25" fmla="*/ 130 h 300"/>
                <a:gd name="T26" fmla="*/ 95 w 255"/>
                <a:gd name="T27" fmla="*/ 137 h 300"/>
                <a:gd name="T28" fmla="*/ 83 w 255"/>
                <a:gd name="T29" fmla="*/ 122 h 300"/>
                <a:gd name="T30" fmla="*/ 90 w 255"/>
                <a:gd name="T31" fmla="*/ 108 h 300"/>
                <a:gd name="T32" fmla="*/ 111 w 255"/>
                <a:gd name="T33" fmla="*/ 92 h 300"/>
                <a:gd name="T34" fmla="*/ 97 w 255"/>
                <a:gd name="T35" fmla="*/ 92 h 300"/>
                <a:gd name="T36" fmla="*/ 78 w 255"/>
                <a:gd name="T37" fmla="*/ 99 h 300"/>
                <a:gd name="T38" fmla="*/ 57 w 255"/>
                <a:gd name="T39" fmla="*/ 108 h 300"/>
                <a:gd name="T40" fmla="*/ 38 w 255"/>
                <a:gd name="T41" fmla="*/ 113 h 300"/>
                <a:gd name="T42" fmla="*/ 50 w 255"/>
                <a:gd name="T43" fmla="*/ 85 h 300"/>
                <a:gd name="T44" fmla="*/ 54 w 255"/>
                <a:gd name="T45" fmla="*/ 68 h 300"/>
                <a:gd name="T46" fmla="*/ 62 w 255"/>
                <a:gd name="T47" fmla="*/ 44 h 300"/>
                <a:gd name="T48" fmla="*/ 87 w 255"/>
                <a:gd name="T49" fmla="*/ 52 h 300"/>
                <a:gd name="T50" fmla="*/ 102 w 255"/>
                <a:gd name="T51" fmla="*/ 42 h 300"/>
                <a:gd name="T52" fmla="*/ 102 w 255"/>
                <a:gd name="T53" fmla="*/ 44 h 300"/>
                <a:gd name="T54" fmla="*/ 106 w 255"/>
                <a:gd name="T55" fmla="*/ 49 h 300"/>
                <a:gd name="T56" fmla="*/ 121 w 255"/>
                <a:gd name="T57" fmla="*/ 40 h 300"/>
                <a:gd name="T58" fmla="*/ 144 w 255"/>
                <a:gd name="T59" fmla="*/ 28 h 300"/>
                <a:gd name="T60" fmla="*/ 168 w 255"/>
                <a:gd name="T61" fmla="*/ 21 h 300"/>
                <a:gd name="T62" fmla="*/ 177 w 255"/>
                <a:gd name="T63" fmla="*/ 0 h 300"/>
                <a:gd name="T64" fmla="*/ 208 w 255"/>
                <a:gd name="T65" fmla="*/ 11 h 300"/>
                <a:gd name="T66" fmla="*/ 227 w 255"/>
                <a:gd name="T67" fmla="*/ 9 h 300"/>
                <a:gd name="T68" fmla="*/ 227 w 255"/>
                <a:gd name="T69" fmla="*/ 18 h 300"/>
                <a:gd name="T70" fmla="*/ 239 w 255"/>
                <a:gd name="T71" fmla="*/ 21 h 300"/>
                <a:gd name="T72" fmla="*/ 255 w 255"/>
                <a:gd name="T73" fmla="*/ 26 h 300"/>
                <a:gd name="T74" fmla="*/ 239 w 255"/>
                <a:gd name="T75" fmla="*/ 40 h 300"/>
                <a:gd name="T76" fmla="*/ 227 w 255"/>
                <a:gd name="T77" fmla="*/ 52 h 300"/>
                <a:gd name="T78" fmla="*/ 208 w 255"/>
                <a:gd name="T79" fmla="*/ 75 h 300"/>
                <a:gd name="T80" fmla="*/ 187 w 255"/>
                <a:gd name="T81" fmla="*/ 99 h 300"/>
                <a:gd name="T82" fmla="*/ 177 w 255"/>
                <a:gd name="T83" fmla="*/ 118 h 300"/>
                <a:gd name="T84" fmla="*/ 168 w 255"/>
                <a:gd name="T85" fmla="*/ 130 h 300"/>
                <a:gd name="T86" fmla="*/ 147 w 255"/>
                <a:gd name="T87" fmla="*/ 146 h 300"/>
                <a:gd name="T88" fmla="*/ 135 w 255"/>
                <a:gd name="T89" fmla="*/ 146 h 300"/>
                <a:gd name="T90" fmla="*/ 147 w 255"/>
                <a:gd name="T91" fmla="*/ 156 h 300"/>
                <a:gd name="T92" fmla="*/ 123 w 255"/>
                <a:gd name="T93" fmla="*/ 165 h 300"/>
                <a:gd name="T94" fmla="*/ 113 w 255"/>
                <a:gd name="T95" fmla="*/ 165 h 300"/>
                <a:gd name="T96" fmla="*/ 113 w 255"/>
                <a:gd name="T97" fmla="*/ 177 h 300"/>
                <a:gd name="T98" fmla="*/ 104 w 255"/>
                <a:gd name="T99" fmla="*/ 177 h 300"/>
                <a:gd name="T100" fmla="*/ 118 w 255"/>
                <a:gd name="T101" fmla="*/ 196 h 300"/>
                <a:gd name="T102" fmla="*/ 106 w 255"/>
                <a:gd name="T103" fmla="*/ 210 h 300"/>
                <a:gd name="T104" fmla="*/ 102 w 255"/>
                <a:gd name="T105" fmla="*/ 236 h 300"/>
                <a:gd name="T106" fmla="*/ 90 w 255"/>
                <a:gd name="T107" fmla="*/ 267 h 300"/>
                <a:gd name="T108" fmla="*/ 73 w 255"/>
                <a:gd name="T109" fmla="*/ 290 h 300"/>
                <a:gd name="T110" fmla="*/ 66 w 255"/>
                <a:gd name="T111" fmla="*/ 290 h 300"/>
                <a:gd name="T112" fmla="*/ 62 w 255"/>
                <a:gd name="T113" fmla="*/ 300 h 300"/>
                <a:gd name="T114" fmla="*/ 43 w 255"/>
                <a:gd name="T115" fmla="*/ 278 h 300"/>
                <a:gd name="T116" fmla="*/ 38 w 255"/>
                <a:gd name="T117" fmla="*/ 293 h 3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5"/>
                <a:gd name="T178" fmla="*/ 0 h 300"/>
                <a:gd name="T179" fmla="*/ 255 w 255"/>
                <a:gd name="T180" fmla="*/ 300 h 3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5" h="300">
                  <a:moveTo>
                    <a:pt x="38" y="290"/>
                  </a:moveTo>
                  <a:lnTo>
                    <a:pt x="26" y="290"/>
                  </a:lnTo>
                  <a:lnTo>
                    <a:pt x="26" y="285"/>
                  </a:lnTo>
                  <a:lnTo>
                    <a:pt x="24" y="283"/>
                  </a:lnTo>
                  <a:lnTo>
                    <a:pt x="21" y="278"/>
                  </a:lnTo>
                  <a:lnTo>
                    <a:pt x="21" y="276"/>
                  </a:lnTo>
                  <a:lnTo>
                    <a:pt x="17" y="269"/>
                  </a:lnTo>
                  <a:lnTo>
                    <a:pt x="14" y="267"/>
                  </a:lnTo>
                  <a:lnTo>
                    <a:pt x="10" y="262"/>
                  </a:lnTo>
                  <a:lnTo>
                    <a:pt x="10" y="259"/>
                  </a:lnTo>
                  <a:lnTo>
                    <a:pt x="7" y="238"/>
                  </a:lnTo>
                  <a:lnTo>
                    <a:pt x="7" y="236"/>
                  </a:lnTo>
                  <a:lnTo>
                    <a:pt x="10" y="233"/>
                  </a:lnTo>
                  <a:lnTo>
                    <a:pt x="10" y="222"/>
                  </a:lnTo>
                  <a:lnTo>
                    <a:pt x="14" y="217"/>
                  </a:lnTo>
                  <a:lnTo>
                    <a:pt x="14" y="212"/>
                  </a:lnTo>
                  <a:lnTo>
                    <a:pt x="10" y="217"/>
                  </a:lnTo>
                  <a:lnTo>
                    <a:pt x="7" y="217"/>
                  </a:lnTo>
                  <a:lnTo>
                    <a:pt x="7" y="222"/>
                  </a:lnTo>
                  <a:lnTo>
                    <a:pt x="2" y="233"/>
                  </a:lnTo>
                  <a:lnTo>
                    <a:pt x="0" y="238"/>
                  </a:lnTo>
                  <a:lnTo>
                    <a:pt x="0" y="236"/>
                  </a:lnTo>
                  <a:lnTo>
                    <a:pt x="2" y="226"/>
                  </a:lnTo>
                  <a:lnTo>
                    <a:pt x="2" y="222"/>
                  </a:lnTo>
                  <a:lnTo>
                    <a:pt x="7" y="217"/>
                  </a:lnTo>
                  <a:lnTo>
                    <a:pt x="14" y="205"/>
                  </a:lnTo>
                  <a:lnTo>
                    <a:pt x="17" y="210"/>
                  </a:lnTo>
                  <a:lnTo>
                    <a:pt x="21" y="205"/>
                  </a:lnTo>
                  <a:lnTo>
                    <a:pt x="24" y="203"/>
                  </a:lnTo>
                  <a:lnTo>
                    <a:pt x="26" y="193"/>
                  </a:lnTo>
                  <a:lnTo>
                    <a:pt x="17" y="198"/>
                  </a:lnTo>
                  <a:lnTo>
                    <a:pt x="17" y="193"/>
                  </a:lnTo>
                  <a:lnTo>
                    <a:pt x="33" y="170"/>
                  </a:lnTo>
                  <a:lnTo>
                    <a:pt x="38" y="163"/>
                  </a:lnTo>
                  <a:lnTo>
                    <a:pt x="40" y="158"/>
                  </a:lnTo>
                  <a:lnTo>
                    <a:pt x="47" y="146"/>
                  </a:lnTo>
                  <a:lnTo>
                    <a:pt x="47" y="141"/>
                  </a:lnTo>
                  <a:lnTo>
                    <a:pt x="50" y="139"/>
                  </a:lnTo>
                  <a:lnTo>
                    <a:pt x="50" y="137"/>
                  </a:lnTo>
                  <a:lnTo>
                    <a:pt x="54" y="137"/>
                  </a:lnTo>
                  <a:lnTo>
                    <a:pt x="54" y="132"/>
                  </a:lnTo>
                  <a:lnTo>
                    <a:pt x="62" y="130"/>
                  </a:lnTo>
                  <a:lnTo>
                    <a:pt x="64" y="125"/>
                  </a:lnTo>
                  <a:lnTo>
                    <a:pt x="66" y="122"/>
                  </a:lnTo>
                  <a:lnTo>
                    <a:pt x="66" y="113"/>
                  </a:lnTo>
                  <a:lnTo>
                    <a:pt x="64" y="113"/>
                  </a:lnTo>
                  <a:lnTo>
                    <a:pt x="64" y="115"/>
                  </a:lnTo>
                  <a:lnTo>
                    <a:pt x="62" y="115"/>
                  </a:lnTo>
                  <a:lnTo>
                    <a:pt x="64" y="113"/>
                  </a:lnTo>
                  <a:lnTo>
                    <a:pt x="73" y="113"/>
                  </a:lnTo>
                  <a:lnTo>
                    <a:pt x="73" y="130"/>
                  </a:lnTo>
                  <a:lnTo>
                    <a:pt x="78" y="130"/>
                  </a:lnTo>
                  <a:lnTo>
                    <a:pt x="78" y="125"/>
                  </a:lnTo>
                  <a:lnTo>
                    <a:pt x="87" y="125"/>
                  </a:lnTo>
                  <a:lnTo>
                    <a:pt x="90" y="130"/>
                  </a:lnTo>
                  <a:lnTo>
                    <a:pt x="95" y="137"/>
                  </a:lnTo>
                  <a:lnTo>
                    <a:pt x="95" y="130"/>
                  </a:lnTo>
                  <a:lnTo>
                    <a:pt x="90" y="125"/>
                  </a:lnTo>
                  <a:lnTo>
                    <a:pt x="87" y="125"/>
                  </a:lnTo>
                  <a:lnTo>
                    <a:pt x="83" y="122"/>
                  </a:lnTo>
                  <a:lnTo>
                    <a:pt x="87" y="118"/>
                  </a:lnTo>
                  <a:lnTo>
                    <a:pt x="87" y="113"/>
                  </a:lnTo>
                  <a:lnTo>
                    <a:pt x="90" y="113"/>
                  </a:lnTo>
                  <a:lnTo>
                    <a:pt x="90" y="108"/>
                  </a:lnTo>
                  <a:lnTo>
                    <a:pt x="95" y="108"/>
                  </a:lnTo>
                  <a:lnTo>
                    <a:pt x="95" y="106"/>
                  </a:lnTo>
                  <a:lnTo>
                    <a:pt x="102" y="99"/>
                  </a:lnTo>
                  <a:lnTo>
                    <a:pt x="111" y="92"/>
                  </a:lnTo>
                  <a:lnTo>
                    <a:pt x="118" y="89"/>
                  </a:lnTo>
                  <a:lnTo>
                    <a:pt x="121" y="82"/>
                  </a:lnTo>
                  <a:lnTo>
                    <a:pt x="102" y="89"/>
                  </a:lnTo>
                  <a:lnTo>
                    <a:pt x="97" y="92"/>
                  </a:lnTo>
                  <a:lnTo>
                    <a:pt x="95" y="92"/>
                  </a:lnTo>
                  <a:lnTo>
                    <a:pt x="87" y="96"/>
                  </a:lnTo>
                  <a:lnTo>
                    <a:pt x="80" y="96"/>
                  </a:lnTo>
                  <a:lnTo>
                    <a:pt x="78" y="99"/>
                  </a:lnTo>
                  <a:lnTo>
                    <a:pt x="73" y="101"/>
                  </a:lnTo>
                  <a:lnTo>
                    <a:pt x="71" y="106"/>
                  </a:lnTo>
                  <a:lnTo>
                    <a:pt x="66" y="106"/>
                  </a:lnTo>
                  <a:lnTo>
                    <a:pt x="57" y="108"/>
                  </a:lnTo>
                  <a:lnTo>
                    <a:pt x="43" y="122"/>
                  </a:lnTo>
                  <a:lnTo>
                    <a:pt x="38" y="125"/>
                  </a:lnTo>
                  <a:lnTo>
                    <a:pt x="33" y="118"/>
                  </a:lnTo>
                  <a:lnTo>
                    <a:pt x="38" y="113"/>
                  </a:lnTo>
                  <a:lnTo>
                    <a:pt x="40" y="108"/>
                  </a:lnTo>
                  <a:lnTo>
                    <a:pt x="43" y="101"/>
                  </a:lnTo>
                  <a:lnTo>
                    <a:pt x="47" y="96"/>
                  </a:lnTo>
                  <a:lnTo>
                    <a:pt x="50" y="85"/>
                  </a:lnTo>
                  <a:lnTo>
                    <a:pt x="50" y="82"/>
                  </a:lnTo>
                  <a:lnTo>
                    <a:pt x="54" y="75"/>
                  </a:lnTo>
                  <a:lnTo>
                    <a:pt x="57" y="73"/>
                  </a:lnTo>
                  <a:lnTo>
                    <a:pt x="54" y="68"/>
                  </a:lnTo>
                  <a:lnTo>
                    <a:pt x="54" y="61"/>
                  </a:lnTo>
                  <a:lnTo>
                    <a:pt x="57" y="52"/>
                  </a:lnTo>
                  <a:lnTo>
                    <a:pt x="62" y="49"/>
                  </a:lnTo>
                  <a:lnTo>
                    <a:pt x="62" y="44"/>
                  </a:lnTo>
                  <a:lnTo>
                    <a:pt x="71" y="44"/>
                  </a:lnTo>
                  <a:lnTo>
                    <a:pt x="73" y="49"/>
                  </a:lnTo>
                  <a:lnTo>
                    <a:pt x="83" y="52"/>
                  </a:lnTo>
                  <a:lnTo>
                    <a:pt x="87" y="52"/>
                  </a:lnTo>
                  <a:lnTo>
                    <a:pt x="87" y="49"/>
                  </a:lnTo>
                  <a:lnTo>
                    <a:pt x="90" y="44"/>
                  </a:lnTo>
                  <a:lnTo>
                    <a:pt x="97" y="42"/>
                  </a:lnTo>
                  <a:lnTo>
                    <a:pt x="102" y="42"/>
                  </a:lnTo>
                  <a:lnTo>
                    <a:pt x="102" y="44"/>
                  </a:lnTo>
                  <a:lnTo>
                    <a:pt x="97" y="44"/>
                  </a:lnTo>
                  <a:lnTo>
                    <a:pt x="97" y="49"/>
                  </a:lnTo>
                  <a:lnTo>
                    <a:pt x="102" y="44"/>
                  </a:lnTo>
                  <a:lnTo>
                    <a:pt x="106" y="44"/>
                  </a:lnTo>
                  <a:lnTo>
                    <a:pt x="111" y="42"/>
                  </a:lnTo>
                  <a:lnTo>
                    <a:pt x="106" y="44"/>
                  </a:lnTo>
                  <a:lnTo>
                    <a:pt x="106" y="49"/>
                  </a:lnTo>
                  <a:lnTo>
                    <a:pt x="111" y="49"/>
                  </a:lnTo>
                  <a:lnTo>
                    <a:pt x="118" y="44"/>
                  </a:lnTo>
                  <a:lnTo>
                    <a:pt x="121" y="42"/>
                  </a:lnTo>
                  <a:lnTo>
                    <a:pt x="121" y="40"/>
                  </a:lnTo>
                  <a:lnTo>
                    <a:pt x="123" y="35"/>
                  </a:lnTo>
                  <a:lnTo>
                    <a:pt x="128" y="35"/>
                  </a:lnTo>
                  <a:lnTo>
                    <a:pt x="139" y="28"/>
                  </a:lnTo>
                  <a:lnTo>
                    <a:pt x="144" y="28"/>
                  </a:lnTo>
                  <a:lnTo>
                    <a:pt x="154" y="33"/>
                  </a:lnTo>
                  <a:lnTo>
                    <a:pt x="158" y="35"/>
                  </a:lnTo>
                  <a:lnTo>
                    <a:pt x="161" y="35"/>
                  </a:lnTo>
                  <a:lnTo>
                    <a:pt x="168" y="21"/>
                  </a:lnTo>
                  <a:lnTo>
                    <a:pt x="175" y="11"/>
                  </a:lnTo>
                  <a:lnTo>
                    <a:pt x="175" y="4"/>
                  </a:lnTo>
                  <a:lnTo>
                    <a:pt x="177" y="4"/>
                  </a:lnTo>
                  <a:lnTo>
                    <a:pt x="177" y="0"/>
                  </a:lnTo>
                  <a:lnTo>
                    <a:pt x="180" y="0"/>
                  </a:lnTo>
                  <a:lnTo>
                    <a:pt x="180" y="2"/>
                  </a:lnTo>
                  <a:lnTo>
                    <a:pt x="191" y="11"/>
                  </a:lnTo>
                  <a:lnTo>
                    <a:pt x="208" y="11"/>
                  </a:lnTo>
                  <a:lnTo>
                    <a:pt x="208" y="2"/>
                  </a:lnTo>
                  <a:lnTo>
                    <a:pt x="217" y="2"/>
                  </a:lnTo>
                  <a:lnTo>
                    <a:pt x="225" y="4"/>
                  </a:lnTo>
                  <a:lnTo>
                    <a:pt x="227" y="9"/>
                  </a:lnTo>
                  <a:lnTo>
                    <a:pt x="232" y="9"/>
                  </a:lnTo>
                  <a:lnTo>
                    <a:pt x="234" y="11"/>
                  </a:lnTo>
                  <a:lnTo>
                    <a:pt x="232" y="16"/>
                  </a:lnTo>
                  <a:lnTo>
                    <a:pt x="227" y="18"/>
                  </a:lnTo>
                  <a:lnTo>
                    <a:pt x="227" y="21"/>
                  </a:lnTo>
                  <a:lnTo>
                    <a:pt x="225" y="26"/>
                  </a:lnTo>
                  <a:lnTo>
                    <a:pt x="227" y="28"/>
                  </a:lnTo>
                  <a:lnTo>
                    <a:pt x="239" y="21"/>
                  </a:lnTo>
                  <a:lnTo>
                    <a:pt x="243" y="18"/>
                  </a:lnTo>
                  <a:lnTo>
                    <a:pt x="248" y="16"/>
                  </a:lnTo>
                  <a:lnTo>
                    <a:pt x="255" y="16"/>
                  </a:lnTo>
                  <a:lnTo>
                    <a:pt x="255" y="26"/>
                  </a:lnTo>
                  <a:lnTo>
                    <a:pt x="250" y="28"/>
                  </a:lnTo>
                  <a:lnTo>
                    <a:pt x="241" y="28"/>
                  </a:lnTo>
                  <a:lnTo>
                    <a:pt x="239" y="33"/>
                  </a:lnTo>
                  <a:lnTo>
                    <a:pt x="239" y="40"/>
                  </a:lnTo>
                  <a:lnTo>
                    <a:pt x="241" y="40"/>
                  </a:lnTo>
                  <a:lnTo>
                    <a:pt x="234" y="44"/>
                  </a:lnTo>
                  <a:lnTo>
                    <a:pt x="232" y="44"/>
                  </a:lnTo>
                  <a:lnTo>
                    <a:pt x="227" y="52"/>
                  </a:lnTo>
                  <a:lnTo>
                    <a:pt x="225" y="56"/>
                  </a:lnTo>
                  <a:lnTo>
                    <a:pt x="217" y="66"/>
                  </a:lnTo>
                  <a:lnTo>
                    <a:pt x="210" y="75"/>
                  </a:lnTo>
                  <a:lnTo>
                    <a:pt x="208" y="75"/>
                  </a:lnTo>
                  <a:lnTo>
                    <a:pt x="199" y="85"/>
                  </a:lnTo>
                  <a:lnTo>
                    <a:pt x="194" y="92"/>
                  </a:lnTo>
                  <a:lnTo>
                    <a:pt x="191" y="96"/>
                  </a:lnTo>
                  <a:lnTo>
                    <a:pt x="187" y="99"/>
                  </a:lnTo>
                  <a:lnTo>
                    <a:pt x="187" y="101"/>
                  </a:lnTo>
                  <a:lnTo>
                    <a:pt x="184" y="106"/>
                  </a:lnTo>
                  <a:lnTo>
                    <a:pt x="177" y="113"/>
                  </a:lnTo>
                  <a:lnTo>
                    <a:pt x="177" y="118"/>
                  </a:lnTo>
                  <a:lnTo>
                    <a:pt x="163" y="118"/>
                  </a:lnTo>
                  <a:lnTo>
                    <a:pt x="163" y="122"/>
                  </a:lnTo>
                  <a:lnTo>
                    <a:pt x="168" y="125"/>
                  </a:lnTo>
                  <a:lnTo>
                    <a:pt x="168" y="130"/>
                  </a:lnTo>
                  <a:lnTo>
                    <a:pt x="161" y="125"/>
                  </a:lnTo>
                  <a:lnTo>
                    <a:pt x="161" y="130"/>
                  </a:lnTo>
                  <a:lnTo>
                    <a:pt x="158" y="139"/>
                  </a:lnTo>
                  <a:lnTo>
                    <a:pt x="147" y="146"/>
                  </a:lnTo>
                  <a:lnTo>
                    <a:pt x="139" y="146"/>
                  </a:lnTo>
                  <a:lnTo>
                    <a:pt x="135" y="141"/>
                  </a:lnTo>
                  <a:lnTo>
                    <a:pt x="130" y="141"/>
                  </a:lnTo>
                  <a:lnTo>
                    <a:pt x="135" y="146"/>
                  </a:lnTo>
                  <a:lnTo>
                    <a:pt x="137" y="146"/>
                  </a:lnTo>
                  <a:lnTo>
                    <a:pt x="139" y="148"/>
                  </a:lnTo>
                  <a:lnTo>
                    <a:pt x="144" y="148"/>
                  </a:lnTo>
                  <a:lnTo>
                    <a:pt x="147" y="156"/>
                  </a:lnTo>
                  <a:lnTo>
                    <a:pt x="147" y="163"/>
                  </a:lnTo>
                  <a:lnTo>
                    <a:pt x="144" y="165"/>
                  </a:lnTo>
                  <a:lnTo>
                    <a:pt x="128" y="170"/>
                  </a:lnTo>
                  <a:lnTo>
                    <a:pt x="123" y="165"/>
                  </a:lnTo>
                  <a:lnTo>
                    <a:pt x="121" y="158"/>
                  </a:lnTo>
                  <a:lnTo>
                    <a:pt x="121" y="153"/>
                  </a:lnTo>
                  <a:lnTo>
                    <a:pt x="113" y="158"/>
                  </a:lnTo>
                  <a:lnTo>
                    <a:pt x="113" y="165"/>
                  </a:lnTo>
                  <a:lnTo>
                    <a:pt x="118" y="165"/>
                  </a:lnTo>
                  <a:lnTo>
                    <a:pt x="121" y="170"/>
                  </a:lnTo>
                  <a:lnTo>
                    <a:pt x="118" y="177"/>
                  </a:lnTo>
                  <a:lnTo>
                    <a:pt x="113" y="177"/>
                  </a:lnTo>
                  <a:lnTo>
                    <a:pt x="113" y="172"/>
                  </a:lnTo>
                  <a:lnTo>
                    <a:pt x="111" y="170"/>
                  </a:lnTo>
                  <a:lnTo>
                    <a:pt x="106" y="170"/>
                  </a:lnTo>
                  <a:lnTo>
                    <a:pt x="104" y="177"/>
                  </a:lnTo>
                  <a:lnTo>
                    <a:pt x="106" y="186"/>
                  </a:lnTo>
                  <a:lnTo>
                    <a:pt x="106" y="193"/>
                  </a:lnTo>
                  <a:lnTo>
                    <a:pt x="118" y="193"/>
                  </a:lnTo>
                  <a:lnTo>
                    <a:pt x="118" y="196"/>
                  </a:lnTo>
                  <a:lnTo>
                    <a:pt x="113" y="198"/>
                  </a:lnTo>
                  <a:lnTo>
                    <a:pt x="111" y="198"/>
                  </a:lnTo>
                  <a:lnTo>
                    <a:pt x="106" y="203"/>
                  </a:lnTo>
                  <a:lnTo>
                    <a:pt x="106" y="210"/>
                  </a:lnTo>
                  <a:lnTo>
                    <a:pt x="102" y="217"/>
                  </a:lnTo>
                  <a:lnTo>
                    <a:pt x="104" y="222"/>
                  </a:lnTo>
                  <a:lnTo>
                    <a:pt x="104" y="229"/>
                  </a:lnTo>
                  <a:lnTo>
                    <a:pt x="102" y="236"/>
                  </a:lnTo>
                  <a:lnTo>
                    <a:pt x="97" y="236"/>
                  </a:lnTo>
                  <a:lnTo>
                    <a:pt x="97" y="252"/>
                  </a:lnTo>
                  <a:lnTo>
                    <a:pt x="95" y="267"/>
                  </a:lnTo>
                  <a:lnTo>
                    <a:pt x="90" y="267"/>
                  </a:lnTo>
                  <a:lnTo>
                    <a:pt x="80" y="274"/>
                  </a:lnTo>
                  <a:lnTo>
                    <a:pt x="78" y="276"/>
                  </a:lnTo>
                  <a:lnTo>
                    <a:pt x="78" y="285"/>
                  </a:lnTo>
                  <a:lnTo>
                    <a:pt x="73" y="290"/>
                  </a:lnTo>
                  <a:lnTo>
                    <a:pt x="73" y="293"/>
                  </a:lnTo>
                  <a:lnTo>
                    <a:pt x="78" y="295"/>
                  </a:lnTo>
                  <a:lnTo>
                    <a:pt x="73" y="295"/>
                  </a:lnTo>
                  <a:lnTo>
                    <a:pt x="66" y="290"/>
                  </a:lnTo>
                  <a:lnTo>
                    <a:pt x="66" y="295"/>
                  </a:lnTo>
                  <a:lnTo>
                    <a:pt x="64" y="295"/>
                  </a:lnTo>
                  <a:lnTo>
                    <a:pt x="64" y="300"/>
                  </a:lnTo>
                  <a:lnTo>
                    <a:pt x="62" y="300"/>
                  </a:lnTo>
                  <a:lnTo>
                    <a:pt x="54" y="295"/>
                  </a:lnTo>
                  <a:lnTo>
                    <a:pt x="54" y="290"/>
                  </a:lnTo>
                  <a:lnTo>
                    <a:pt x="50" y="285"/>
                  </a:lnTo>
                  <a:lnTo>
                    <a:pt x="43" y="278"/>
                  </a:lnTo>
                  <a:lnTo>
                    <a:pt x="38" y="278"/>
                  </a:lnTo>
                  <a:lnTo>
                    <a:pt x="38" y="283"/>
                  </a:lnTo>
                  <a:lnTo>
                    <a:pt x="40" y="290"/>
                  </a:lnTo>
                  <a:lnTo>
                    <a:pt x="38" y="293"/>
                  </a:lnTo>
                  <a:lnTo>
                    <a:pt x="38" y="29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7" name="Freeform 151">
              <a:extLst>
                <a:ext uri="{FF2B5EF4-FFF2-40B4-BE49-F238E27FC236}">
                  <a16:creationId xmlns:a16="http://schemas.microsoft.com/office/drawing/2014/main" id="{3F3E4B8E-9305-481A-B9B1-63C7FF67F0D5}"/>
                </a:ext>
              </a:extLst>
            </p:cNvPr>
            <p:cNvSpPr>
              <a:spLocks/>
            </p:cNvSpPr>
            <p:nvPr/>
          </p:nvSpPr>
          <p:spPr bwMode="gray">
            <a:xfrm rot="47099">
              <a:off x="2515619" y="2761181"/>
              <a:ext cx="44530" cy="64644"/>
            </a:xfrm>
            <a:custGeom>
              <a:avLst/>
              <a:gdLst>
                <a:gd name="T0" fmla="*/ 71 w 94"/>
                <a:gd name="T1" fmla="*/ 113 h 139"/>
                <a:gd name="T2" fmla="*/ 47 w 94"/>
                <a:gd name="T3" fmla="*/ 128 h 139"/>
                <a:gd name="T4" fmla="*/ 40 w 94"/>
                <a:gd name="T5" fmla="*/ 137 h 139"/>
                <a:gd name="T6" fmla="*/ 33 w 94"/>
                <a:gd name="T7" fmla="*/ 139 h 139"/>
                <a:gd name="T8" fmla="*/ 26 w 94"/>
                <a:gd name="T9" fmla="*/ 137 h 139"/>
                <a:gd name="T10" fmla="*/ 16 w 94"/>
                <a:gd name="T11" fmla="*/ 135 h 139"/>
                <a:gd name="T12" fmla="*/ 9 w 94"/>
                <a:gd name="T13" fmla="*/ 123 h 139"/>
                <a:gd name="T14" fmla="*/ 0 w 94"/>
                <a:gd name="T15" fmla="*/ 90 h 139"/>
                <a:gd name="T16" fmla="*/ 5 w 94"/>
                <a:gd name="T17" fmla="*/ 42 h 139"/>
                <a:gd name="T18" fmla="*/ 5 w 94"/>
                <a:gd name="T19" fmla="*/ 26 h 139"/>
                <a:gd name="T20" fmla="*/ 7 w 94"/>
                <a:gd name="T21" fmla="*/ 16 h 139"/>
                <a:gd name="T22" fmla="*/ 5 w 94"/>
                <a:gd name="T23" fmla="*/ 2 h 139"/>
                <a:gd name="T24" fmla="*/ 16 w 94"/>
                <a:gd name="T25" fmla="*/ 0 h 139"/>
                <a:gd name="T26" fmla="*/ 21 w 94"/>
                <a:gd name="T27" fmla="*/ 9 h 139"/>
                <a:gd name="T28" fmla="*/ 31 w 94"/>
                <a:gd name="T29" fmla="*/ 7 h 139"/>
                <a:gd name="T30" fmla="*/ 33 w 94"/>
                <a:gd name="T31" fmla="*/ 16 h 139"/>
                <a:gd name="T32" fmla="*/ 40 w 94"/>
                <a:gd name="T33" fmla="*/ 66 h 139"/>
                <a:gd name="T34" fmla="*/ 45 w 94"/>
                <a:gd name="T35" fmla="*/ 54 h 139"/>
                <a:gd name="T36" fmla="*/ 47 w 94"/>
                <a:gd name="T37" fmla="*/ 66 h 139"/>
                <a:gd name="T38" fmla="*/ 45 w 94"/>
                <a:gd name="T39" fmla="*/ 78 h 139"/>
                <a:gd name="T40" fmla="*/ 38 w 94"/>
                <a:gd name="T41" fmla="*/ 83 h 139"/>
                <a:gd name="T42" fmla="*/ 31 w 94"/>
                <a:gd name="T43" fmla="*/ 97 h 139"/>
                <a:gd name="T44" fmla="*/ 26 w 94"/>
                <a:gd name="T45" fmla="*/ 104 h 139"/>
                <a:gd name="T46" fmla="*/ 31 w 94"/>
                <a:gd name="T47" fmla="*/ 104 h 139"/>
                <a:gd name="T48" fmla="*/ 33 w 94"/>
                <a:gd name="T49" fmla="*/ 97 h 139"/>
                <a:gd name="T50" fmla="*/ 38 w 94"/>
                <a:gd name="T51" fmla="*/ 90 h 139"/>
                <a:gd name="T52" fmla="*/ 45 w 94"/>
                <a:gd name="T53" fmla="*/ 97 h 139"/>
                <a:gd name="T54" fmla="*/ 38 w 94"/>
                <a:gd name="T55" fmla="*/ 104 h 139"/>
                <a:gd name="T56" fmla="*/ 31 w 94"/>
                <a:gd name="T57" fmla="*/ 111 h 139"/>
                <a:gd name="T58" fmla="*/ 33 w 94"/>
                <a:gd name="T59" fmla="*/ 106 h 139"/>
                <a:gd name="T60" fmla="*/ 40 w 94"/>
                <a:gd name="T61" fmla="*/ 106 h 139"/>
                <a:gd name="T62" fmla="*/ 38 w 94"/>
                <a:gd name="T63" fmla="*/ 113 h 139"/>
                <a:gd name="T64" fmla="*/ 33 w 94"/>
                <a:gd name="T65" fmla="*/ 123 h 139"/>
                <a:gd name="T66" fmla="*/ 40 w 94"/>
                <a:gd name="T67" fmla="*/ 120 h 139"/>
                <a:gd name="T68" fmla="*/ 45 w 94"/>
                <a:gd name="T69" fmla="*/ 113 h 139"/>
                <a:gd name="T70" fmla="*/ 54 w 94"/>
                <a:gd name="T71" fmla="*/ 106 h 139"/>
                <a:gd name="T72" fmla="*/ 61 w 94"/>
                <a:gd name="T73" fmla="*/ 87 h 139"/>
                <a:gd name="T74" fmla="*/ 54 w 94"/>
                <a:gd name="T75" fmla="*/ 87 h 139"/>
                <a:gd name="T76" fmla="*/ 49 w 94"/>
                <a:gd name="T77" fmla="*/ 94 h 139"/>
                <a:gd name="T78" fmla="*/ 45 w 94"/>
                <a:gd name="T79" fmla="*/ 94 h 139"/>
                <a:gd name="T80" fmla="*/ 49 w 94"/>
                <a:gd name="T81" fmla="*/ 80 h 139"/>
                <a:gd name="T82" fmla="*/ 54 w 94"/>
                <a:gd name="T83" fmla="*/ 73 h 139"/>
                <a:gd name="T84" fmla="*/ 56 w 94"/>
                <a:gd name="T85" fmla="*/ 57 h 139"/>
                <a:gd name="T86" fmla="*/ 49 w 94"/>
                <a:gd name="T87" fmla="*/ 59 h 139"/>
                <a:gd name="T88" fmla="*/ 47 w 94"/>
                <a:gd name="T89" fmla="*/ 78 h 139"/>
                <a:gd name="T90" fmla="*/ 47 w 94"/>
                <a:gd name="T91" fmla="*/ 59 h 139"/>
                <a:gd name="T92" fmla="*/ 49 w 94"/>
                <a:gd name="T93" fmla="*/ 54 h 139"/>
                <a:gd name="T94" fmla="*/ 61 w 94"/>
                <a:gd name="T95" fmla="*/ 54 h 139"/>
                <a:gd name="T96" fmla="*/ 78 w 94"/>
                <a:gd name="T97" fmla="*/ 50 h 139"/>
                <a:gd name="T98" fmla="*/ 87 w 94"/>
                <a:gd name="T99" fmla="*/ 54 h 139"/>
                <a:gd name="T100" fmla="*/ 94 w 94"/>
                <a:gd name="T101" fmla="*/ 66 h 139"/>
                <a:gd name="T102" fmla="*/ 80 w 94"/>
                <a:gd name="T103" fmla="*/ 83 h 139"/>
                <a:gd name="T104" fmla="*/ 82 w 94"/>
                <a:gd name="T105" fmla="*/ 97 h 139"/>
                <a:gd name="T106" fmla="*/ 73 w 94"/>
                <a:gd name="T107" fmla="*/ 113 h 1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4"/>
                <a:gd name="T163" fmla="*/ 0 h 139"/>
                <a:gd name="T164" fmla="*/ 94 w 94"/>
                <a:gd name="T165" fmla="*/ 139 h 13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4" h="139">
                  <a:moveTo>
                    <a:pt x="71" y="113"/>
                  </a:moveTo>
                  <a:lnTo>
                    <a:pt x="71" y="113"/>
                  </a:lnTo>
                  <a:lnTo>
                    <a:pt x="61" y="123"/>
                  </a:lnTo>
                  <a:lnTo>
                    <a:pt x="47" y="128"/>
                  </a:lnTo>
                  <a:lnTo>
                    <a:pt x="45" y="135"/>
                  </a:lnTo>
                  <a:lnTo>
                    <a:pt x="40" y="137"/>
                  </a:lnTo>
                  <a:lnTo>
                    <a:pt x="33" y="137"/>
                  </a:lnTo>
                  <a:lnTo>
                    <a:pt x="33" y="139"/>
                  </a:lnTo>
                  <a:lnTo>
                    <a:pt x="31" y="139"/>
                  </a:lnTo>
                  <a:lnTo>
                    <a:pt x="26" y="137"/>
                  </a:lnTo>
                  <a:lnTo>
                    <a:pt x="21" y="137"/>
                  </a:lnTo>
                  <a:lnTo>
                    <a:pt x="16" y="135"/>
                  </a:lnTo>
                  <a:lnTo>
                    <a:pt x="14" y="128"/>
                  </a:lnTo>
                  <a:lnTo>
                    <a:pt x="9" y="123"/>
                  </a:lnTo>
                  <a:lnTo>
                    <a:pt x="0" y="113"/>
                  </a:lnTo>
                  <a:lnTo>
                    <a:pt x="0" y="90"/>
                  </a:lnTo>
                  <a:lnTo>
                    <a:pt x="5" y="90"/>
                  </a:lnTo>
                  <a:lnTo>
                    <a:pt x="5" y="42"/>
                  </a:lnTo>
                  <a:lnTo>
                    <a:pt x="0" y="31"/>
                  </a:lnTo>
                  <a:lnTo>
                    <a:pt x="5" y="26"/>
                  </a:lnTo>
                  <a:lnTo>
                    <a:pt x="5" y="24"/>
                  </a:lnTo>
                  <a:lnTo>
                    <a:pt x="7" y="16"/>
                  </a:lnTo>
                  <a:lnTo>
                    <a:pt x="7" y="7"/>
                  </a:lnTo>
                  <a:lnTo>
                    <a:pt x="5" y="2"/>
                  </a:lnTo>
                  <a:lnTo>
                    <a:pt x="7" y="0"/>
                  </a:lnTo>
                  <a:lnTo>
                    <a:pt x="16" y="0"/>
                  </a:lnTo>
                  <a:lnTo>
                    <a:pt x="16" y="9"/>
                  </a:lnTo>
                  <a:lnTo>
                    <a:pt x="21" y="9"/>
                  </a:lnTo>
                  <a:lnTo>
                    <a:pt x="26" y="7"/>
                  </a:lnTo>
                  <a:lnTo>
                    <a:pt x="31" y="7"/>
                  </a:lnTo>
                  <a:lnTo>
                    <a:pt x="31" y="9"/>
                  </a:lnTo>
                  <a:lnTo>
                    <a:pt x="33" y="16"/>
                  </a:lnTo>
                  <a:lnTo>
                    <a:pt x="40" y="50"/>
                  </a:lnTo>
                  <a:lnTo>
                    <a:pt x="40" y="66"/>
                  </a:lnTo>
                  <a:lnTo>
                    <a:pt x="45" y="66"/>
                  </a:lnTo>
                  <a:lnTo>
                    <a:pt x="45" y="54"/>
                  </a:lnTo>
                  <a:lnTo>
                    <a:pt x="47" y="54"/>
                  </a:lnTo>
                  <a:lnTo>
                    <a:pt x="47" y="66"/>
                  </a:lnTo>
                  <a:lnTo>
                    <a:pt x="45" y="73"/>
                  </a:lnTo>
                  <a:lnTo>
                    <a:pt x="45" y="78"/>
                  </a:lnTo>
                  <a:lnTo>
                    <a:pt x="40" y="80"/>
                  </a:lnTo>
                  <a:lnTo>
                    <a:pt x="38" y="83"/>
                  </a:lnTo>
                  <a:lnTo>
                    <a:pt x="33" y="87"/>
                  </a:lnTo>
                  <a:lnTo>
                    <a:pt x="31" y="97"/>
                  </a:lnTo>
                  <a:lnTo>
                    <a:pt x="31" y="99"/>
                  </a:lnTo>
                  <a:lnTo>
                    <a:pt x="26" y="104"/>
                  </a:lnTo>
                  <a:lnTo>
                    <a:pt x="26" y="106"/>
                  </a:lnTo>
                  <a:lnTo>
                    <a:pt x="31" y="104"/>
                  </a:lnTo>
                  <a:lnTo>
                    <a:pt x="31" y="99"/>
                  </a:lnTo>
                  <a:lnTo>
                    <a:pt x="33" y="97"/>
                  </a:lnTo>
                  <a:lnTo>
                    <a:pt x="33" y="90"/>
                  </a:lnTo>
                  <a:lnTo>
                    <a:pt x="38" y="90"/>
                  </a:lnTo>
                  <a:lnTo>
                    <a:pt x="40" y="83"/>
                  </a:lnTo>
                  <a:lnTo>
                    <a:pt x="45" y="97"/>
                  </a:lnTo>
                  <a:lnTo>
                    <a:pt x="40" y="99"/>
                  </a:lnTo>
                  <a:lnTo>
                    <a:pt x="38" y="104"/>
                  </a:lnTo>
                  <a:lnTo>
                    <a:pt x="31" y="106"/>
                  </a:lnTo>
                  <a:lnTo>
                    <a:pt x="31" y="111"/>
                  </a:lnTo>
                  <a:lnTo>
                    <a:pt x="33" y="111"/>
                  </a:lnTo>
                  <a:lnTo>
                    <a:pt x="33" y="106"/>
                  </a:lnTo>
                  <a:lnTo>
                    <a:pt x="38" y="104"/>
                  </a:lnTo>
                  <a:lnTo>
                    <a:pt x="40" y="106"/>
                  </a:lnTo>
                  <a:lnTo>
                    <a:pt x="40" y="111"/>
                  </a:lnTo>
                  <a:lnTo>
                    <a:pt x="38" y="113"/>
                  </a:lnTo>
                  <a:lnTo>
                    <a:pt x="33" y="118"/>
                  </a:lnTo>
                  <a:lnTo>
                    <a:pt x="33" y="123"/>
                  </a:lnTo>
                  <a:lnTo>
                    <a:pt x="40" y="123"/>
                  </a:lnTo>
                  <a:lnTo>
                    <a:pt x="40" y="120"/>
                  </a:lnTo>
                  <a:lnTo>
                    <a:pt x="45" y="118"/>
                  </a:lnTo>
                  <a:lnTo>
                    <a:pt x="45" y="113"/>
                  </a:lnTo>
                  <a:lnTo>
                    <a:pt x="49" y="113"/>
                  </a:lnTo>
                  <a:lnTo>
                    <a:pt x="54" y="106"/>
                  </a:lnTo>
                  <a:lnTo>
                    <a:pt x="56" y="87"/>
                  </a:lnTo>
                  <a:lnTo>
                    <a:pt x="61" y="87"/>
                  </a:lnTo>
                  <a:lnTo>
                    <a:pt x="61" y="80"/>
                  </a:lnTo>
                  <a:lnTo>
                    <a:pt x="54" y="87"/>
                  </a:lnTo>
                  <a:lnTo>
                    <a:pt x="54" y="94"/>
                  </a:lnTo>
                  <a:lnTo>
                    <a:pt x="49" y="94"/>
                  </a:lnTo>
                  <a:lnTo>
                    <a:pt x="49" y="97"/>
                  </a:lnTo>
                  <a:lnTo>
                    <a:pt x="45" y="94"/>
                  </a:lnTo>
                  <a:lnTo>
                    <a:pt x="47" y="87"/>
                  </a:lnTo>
                  <a:lnTo>
                    <a:pt x="49" y="80"/>
                  </a:lnTo>
                  <a:lnTo>
                    <a:pt x="49" y="78"/>
                  </a:lnTo>
                  <a:lnTo>
                    <a:pt x="54" y="73"/>
                  </a:lnTo>
                  <a:lnTo>
                    <a:pt x="56" y="59"/>
                  </a:lnTo>
                  <a:lnTo>
                    <a:pt x="56" y="57"/>
                  </a:lnTo>
                  <a:lnTo>
                    <a:pt x="54" y="59"/>
                  </a:lnTo>
                  <a:lnTo>
                    <a:pt x="49" y="59"/>
                  </a:lnTo>
                  <a:lnTo>
                    <a:pt x="49" y="73"/>
                  </a:lnTo>
                  <a:lnTo>
                    <a:pt x="47" y="78"/>
                  </a:lnTo>
                  <a:lnTo>
                    <a:pt x="45" y="80"/>
                  </a:lnTo>
                  <a:lnTo>
                    <a:pt x="47" y="59"/>
                  </a:lnTo>
                  <a:lnTo>
                    <a:pt x="49" y="57"/>
                  </a:lnTo>
                  <a:lnTo>
                    <a:pt x="49" y="54"/>
                  </a:lnTo>
                  <a:lnTo>
                    <a:pt x="54" y="50"/>
                  </a:lnTo>
                  <a:lnTo>
                    <a:pt x="61" y="54"/>
                  </a:lnTo>
                  <a:lnTo>
                    <a:pt x="64" y="50"/>
                  </a:lnTo>
                  <a:lnTo>
                    <a:pt x="78" y="50"/>
                  </a:lnTo>
                  <a:lnTo>
                    <a:pt x="80" y="47"/>
                  </a:lnTo>
                  <a:lnTo>
                    <a:pt x="87" y="54"/>
                  </a:lnTo>
                  <a:lnTo>
                    <a:pt x="90" y="59"/>
                  </a:lnTo>
                  <a:lnTo>
                    <a:pt x="94" y="66"/>
                  </a:lnTo>
                  <a:lnTo>
                    <a:pt x="80" y="80"/>
                  </a:lnTo>
                  <a:lnTo>
                    <a:pt x="80" y="83"/>
                  </a:lnTo>
                  <a:lnTo>
                    <a:pt x="82" y="90"/>
                  </a:lnTo>
                  <a:lnTo>
                    <a:pt x="82" y="97"/>
                  </a:lnTo>
                  <a:lnTo>
                    <a:pt x="78" y="106"/>
                  </a:lnTo>
                  <a:lnTo>
                    <a:pt x="73" y="113"/>
                  </a:lnTo>
                  <a:lnTo>
                    <a:pt x="71" y="11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8" name="Freeform 152">
              <a:extLst>
                <a:ext uri="{FF2B5EF4-FFF2-40B4-BE49-F238E27FC236}">
                  <a16:creationId xmlns:a16="http://schemas.microsoft.com/office/drawing/2014/main" id="{9C52D84D-751E-48F5-91FF-757C9CF20933}"/>
                </a:ext>
              </a:extLst>
            </p:cNvPr>
            <p:cNvSpPr>
              <a:spLocks/>
            </p:cNvSpPr>
            <p:nvPr/>
          </p:nvSpPr>
          <p:spPr bwMode="gray">
            <a:xfrm rot="47099">
              <a:off x="2432482" y="2800707"/>
              <a:ext cx="65015" cy="29910"/>
            </a:xfrm>
            <a:custGeom>
              <a:avLst/>
              <a:gdLst>
                <a:gd name="T0" fmla="*/ 48 w 140"/>
                <a:gd name="T1" fmla="*/ 57 h 66"/>
                <a:gd name="T2" fmla="*/ 48 w 140"/>
                <a:gd name="T3" fmla="*/ 52 h 66"/>
                <a:gd name="T4" fmla="*/ 26 w 140"/>
                <a:gd name="T5" fmla="*/ 64 h 66"/>
                <a:gd name="T6" fmla="*/ 19 w 140"/>
                <a:gd name="T7" fmla="*/ 48 h 66"/>
                <a:gd name="T8" fmla="*/ 3 w 140"/>
                <a:gd name="T9" fmla="*/ 52 h 66"/>
                <a:gd name="T10" fmla="*/ 0 w 140"/>
                <a:gd name="T11" fmla="*/ 19 h 66"/>
                <a:gd name="T12" fmla="*/ 10 w 140"/>
                <a:gd name="T13" fmla="*/ 12 h 66"/>
                <a:gd name="T14" fmla="*/ 12 w 140"/>
                <a:gd name="T15" fmla="*/ 33 h 66"/>
                <a:gd name="T16" fmla="*/ 33 w 140"/>
                <a:gd name="T17" fmla="*/ 41 h 66"/>
                <a:gd name="T18" fmla="*/ 40 w 140"/>
                <a:gd name="T19" fmla="*/ 50 h 66"/>
                <a:gd name="T20" fmla="*/ 48 w 140"/>
                <a:gd name="T21" fmla="*/ 48 h 66"/>
                <a:gd name="T22" fmla="*/ 43 w 140"/>
                <a:gd name="T23" fmla="*/ 36 h 66"/>
                <a:gd name="T24" fmla="*/ 69 w 140"/>
                <a:gd name="T25" fmla="*/ 41 h 66"/>
                <a:gd name="T26" fmla="*/ 88 w 140"/>
                <a:gd name="T27" fmla="*/ 31 h 66"/>
                <a:gd name="T28" fmla="*/ 99 w 140"/>
                <a:gd name="T29" fmla="*/ 19 h 66"/>
                <a:gd name="T30" fmla="*/ 109 w 140"/>
                <a:gd name="T31" fmla="*/ 12 h 66"/>
                <a:gd name="T32" fmla="*/ 125 w 140"/>
                <a:gd name="T33" fmla="*/ 3 h 66"/>
                <a:gd name="T34" fmla="*/ 133 w 140"/>
                <a:gd name="T35" fmla="*/ 0 h 66"/>
                <a:gd name="T36" fmla="*/ 137 w 140"/>
                <a:gd name="T37" fmla="*/ 3 h 66"/>
                <a:gd name="T38" fmla="*/ 133 w 140"/>
                <a:gd name="T39" fmla="*/ 12 h 66"/>
                <a:gd name="T40" fmla="*/ 125 w 140"/>
                <a:gd name="T41" fmla="*/ 19 h 66"/>
                <a:gd name="T42" fmla="*/ 125 w 140"/>
                <a:gd name="T43" fmla="*/ 24 h 66"/>
                <a:gd name="T44" fmla="*/ 123 w 140"/>
                <a:gd name="T45" fmla="*/ 33 h 66"/>
                <a:gd name="T46" fmla="*/ 116 w 140"/>
                <a:gd name="T47" fmla="*/ 41 h 66"/>
                <a:gd name="T48" fmla="*/ 125 w 140"/>
                <a:gd name="T49" fmla="*/ 41 h 66"/>
                <a:gd name="T50" fmla="*/ 125 w 140"/>
                <a:gd name="T51" fmla="*/ 43 h 66"/>
                <a:gd name="T52" fmla="*/ 130 w 140"/>
                <a:gd name="T53" fmla="*/ 52 h 66"/>
                <a:gd name="T54" fmla="*/ 123 w 140"/>
                <a:gd name="T55" fmla="*/ 59 h 66"/>
                <a:gd name="T56" fmla="*/ 109 w 140"/>
                <a:gd name="T57" fmla="*/ 64 h 66"/>
                <a:gd name="T58" fmla="*/ 99 w 140"/>
                <a:gd name="T59" fmla="*/ 59 h 66"/>
                <a:gd name="T60" fmla="*/ 104 w 140"/>
                <a:gd name="T61" fmla="*/ 50 h 66"/>
                <a:gd name="T62" fmla="*/ 88 w 140"/>
                <a:gd name="T63" fmla="*/ 52 h 66"/>
                <a:gd name="T64" fmla="*/ 90 w 140"/>
                <a:gd name="T65" fmla="*/ 41 h 66"/>
                <a:gd name="T66" fmla="*/ 88 w 140"/>
                <a:gd name="T67" fmla="*/ 52 h 66"/>
                <a:gd name="T68" fmla="*/ 83 w 140"/>
                <a:gd name="T69" fmla="*/ 64 h 66"/>
                <a:gd name="T70" fmla="*/ 64 w 140"/>
                <a:gd name="T71" fmla="*/ 66 h 66"/>
                <a:gd name="T72" fmla="*/ 52 w 140"/>
                <a:gd name="T73" fmla="*/ 64 h 66"/>
                <a:gd name="T74" fmla="*/ 48 w 140"/>
                <a:gd name="T75" fmla="*/ 59 h 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0"/>
                <a:gd name="T115" fmla="*/ 0 h 66"/>
                <a:gd name="T116" fmla="*/ 140 w 140"/>
                <a:gd name="T117" fmla="*/ 66 h 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0" h="66">
                  <a:moveTo>
                    <a:pt x="48" y="59"/>
                  </a:moveTo>
                  <a:lnTo>
                    <a:pt x="48" y="57"/>
                  </a:lnTo>
                  <a:lnTo>
                    <a:pt x="50" y="57"/>
                  </a:lnTo>
                  <a:lnTo>
                    <a:pt x="48" y="52"/>
                  </a:lnTo>
                  <a:lnTo>
                    <a:pt x="40" y="57"/>
                  </a:lnTo>
                  <a:lnTo>
                    <a:pt x="26" y="64"/>
                  </a:lnTo>
                  <a:lnTo>
                    <a:pt x="19" y="52"/>
                  </a:lnTo>
                  <a:lnTo>
                    <a:pt x="19" y="48"/>
                  </a:lnTo>
                  <a:lnTo>
                    <a:pt x="10" y="50"/>
                  </a:lnTo>
                  <a:lnTo>
                    <a:pt x="3" y="52"/>
                  </a:lnTo>
                  <a:lnTo>
                    <a:pt x="0" y="50"/>
                  </a:lnTo>
                  <a:lnTo>
                    <a:pt x="0" y="19"/>
                  </a:lnTo>
                  <a:lnTo>
                    <a:pt x="7" y="10"/>
                  </a:lnTo>
                  <a:lnTo>
                    <a:pt x="10" y="12"/>
                  </a:lnTo>
                  <a:lnTo>
                    <a:pt x="12" y="19"/>
                  </a:lnTo>
                  <a:lnTo>
                    <a:pt x="12" y="33"/>
                  </a:lnTo>
                  <a:lnTo>
                    <a:pt x="19" y="33"/>
                  </a:lnTo>
                  <a:lnTo>
                    <a:pt x="33" y="41"/>
                  </a:lnTo>
                  <a:lnTo>
                    <a:pt x="33" y="48"/>
                  </a:lnTo>
                  <a:lnTo>
                    <a:pt x="40" y="50"/>
                  </a:lnTo>
                  <a:lnTo>
                    <a:pt x="48" y="50"/>
                  </a:lnTo>
                  <a:lnTo>
                    <a:pt x="48" y="48"/>
                  </a:lnTo>
                  <a:lnTo>
                    <a:pt x="43" y="48"/>
                  </a:lnTo>
                  <a:lnTo>
                    <a:pt x="43" y="36"/>
                  </a:lnTo>
                  <a:lnTo>
                    <a:pt x="66" y="36"/>
                  </a:lnTo>
                  <a:lnTo>
                    <a:pt x="69" y="41"/>
                  </a:lnTo>
                  <a:lnTo>
                    <a:pt x="73" y="41"/>
                  </a:lnTo>
                  <a:lnTo>
                    <a:pt x="88" y="31"/>
                  </a:lnTo>
                  <a:lnTo>
                    <a:pt x="92" y="26"/>
                  </a:lnTo>
                  <a:lnTo>
                    <a:pt x="99" y="19"/>
                  </a:lnTo>
                  <a:lnTo>
                    <a:pt x="107" y="17"/>
                  </a:lnTo>
                  <a:lnTo>
                    <a:pt x="109" y="12"/>
                  </a:lnTo>
                  <a:lnTo>
                    <a:pt x="114" y="12"/>
                  </a:lnTo>
                  <a:lnTo>
                    <a:pt x="125" y="3"/>
                  </a:lnTo>
                  <a:lnTo>
                    <a:pt x="130" y="3"/>
                  </a:lnTo>
                  <a:lnTo>
                    <a:pt x="133" y="0"/>
                  </a:lnTo>
                  <a:lnTo>
                    <a:pt x="140" y="0"/>
                  </a:lnTo>
                  <a:lnTo>
                    <a:pt x="137" y="3"/>
                  </a:lnTo>
                  <a:lnTo>
                    <a:pt x="133" y="10"/>
                  </a:lnTo>
                  <a:lnTo>
                    <a:pt x="133" y="12"/>
                  </a:lnTo>
                  <a:lnTo>
                    <a:pt x="130" y="17"/>
                  </a:lnTo>
                  <a:lnTo>
                    <a:pt x="125" y="19"/>
                  </a:lnTo>
                  <a:lnTo>
                    <a:pt x="123" y="19"/>
                  </a:lnTo>
                  <a:lnTo>
                    <a:pt x="125" y="24"/>
                  </a:lnTo>
                  <a:lnTo>
                    <a:pt x="125" y="26"/>
                  </a:lnTo>
                  <a:lnTo>
                    <a:pt x="123" y="33"/>
                  </a:lnTo>
                  <a:lnTo>
                    <a:pt x="121" y="36"/>
                  </a:lnTo>
                  <a:lnTo>
                    <a:pt x="116" y="41"/>
                  </a:lnTo>
                  <a:lnTo>
                    <a:pt x="123" y="43"/>
                  </a:lnTo>
                  <a:lnTo>
                    <a:pt x="125" y="41"/>
                  </a:lnTo>
                  <a:lnTo>
                    <a:pt x="123" y="41"/>
                  </a:lnTo>
                  <a:lnTo>
                    <a:pt x="125" y="43"/>
                  </a:lnTo>
                  <a:lnTo>
                    <a:pt x="130" y="50"/>
                  </a:lnTo>
                  <a:lnTo>
                    <a:pt x="130" y="52"/>
                  </a:lnTo>
                  <a:lnTo>
                    <a:pt x="125" y="57"/>
                  </a:lnTo>
                  <a:lnTo>
                    <a:pt x="123" y="59"/>
                  </a:lnTo>
                  <a:lnTo>
                    <a:pt x="116" y="64"/>
                  </a:lnTo>
                  <a:lnTo>
                    <a:pt x="109" y="64"/>
                  </a:lnTo>
                  <a:lnTo>
                    <a:pt x="104" y="59"/>
                  </a:lnTo>
                  <a:lnTo>
                    <a:pt x="99" y="59"/>
                  </a:lnTo>
                  <a:lnTo>
                    <a:pt x="104" y="57"/>
                  </a:lnTo>
                  <a:lnTo>
                    <a:pt x="104" y="50"/>
                  </a:lnTo>
                  <a:lnTo>
                    <a:pt x="92" y="50"/>
                  </a:lnTo>
                  <a:lnTo>
                    <a:pt x="88" y="52"/>
                  </a:lnTo>
                  <a:lnTo>
                    <a:pt x="90" y="43"/>
                  </a:lnTo>
                  <a:lnTo>
                    <a:pt x="90" y="41"/>
                  </a:lnTo>
                  <a:lnTo>
                    <a:pt x="88" y="43"/>
                  </a:lnTo>
                  <a:lnTo>
                    <a:pt x="88" y="52"/>
                  </a:lnTo>
                  <a:lnTo>
                    <a:pt x="83" y="59"/>
                  </a:lnTo>
                  <a:lnTo>
                    <a:pt x="83" y="64"/>
                  </a:lnTo>
                  <a:lnTo>
                    <a:pt x="66" y="64"/>
                  </a:lnTo>
                  <a:lnTo>
                    <a:pt x="64" y="66"/>
                  </a:lnTo>
                  <a:lnTo>
                    <a:pt x="59" y="66"/>
                  </a:lnTo>
                  <a:lnTo>
                    <a:pt x="52" y="64"/>
                  </a:lnTo>
                  <a:lnTo>
                    <a:pt x="48" y="64"/>
                  </a:lnTo>
                  <a:lnTo>
                    <a:pt x="48" y="5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69" name="Freeform 153">
              <a:extLst>
                <a:ext uri="{FF2B5EF4-FFF2-40B4-BE49-F238E27FC236}">
                  <a16:creationId xmlns:a16="http://schemas.microsoft.com/office/drawing/2014/main" id="{40A09364-B059-47FC-A223-9DC97758B23C}"/>
                </a:ext>
              </a:extLst>
            </p:cNvPr>
            <p:cNvSpPr>
              <a:spLocks/>
            </p:cNvSpPr>
            <p:nvPr/>
          </p:nvSpPr>
          <p:spPr bwMode="gray">
            <a:xfrm rot="47099">
              <a:off x="2256072" y="2879904"/>
              <a:ext cx="6235" cy="8683"/>
            </a:xfrm>
            <a:custGeom>
              <a:avLst/>
              <a:gdLst>
                <a:gd name="T0" fmla="*/ 14 w 14"/>
                <a:gd name="T1" fmla="*/ 2 h 18"/>
                <a:gd name="T2" fmla="*/ 14 w 14"/>
                <a:gd name="T3" fmla="*/ 9 h 18"/>
                <a:gd name="T4" fmla="*/ 7 w 14"/>
                <a:gd name="T5" fmla="*/ 16 h 18"/>
                <a:gd name="T6" fmla="*/ 3 w 14"/>
                <a:gd name="T7" fmla="*/ 18 h 18"/>
                <a:gd name="T8" fmla="*/ 0 w 14"/>
                <a:gd name="T9" fmla="*/ 18 h 18"/>
                <a:gd name="T10" fmla="*/ 0 w 14"/>
                <a:gd name="T11" fmla="*/ 16 h 18"/>
                <a:gd name="T12" fmla="*/ 3 w 14"/>
                <a:gd name="T13" fmla="*/ 16 h 18"/>
                <a:gd name="T14" fmla="*/ 3 w 14"/>
                <a:gd name="T15" fmla="*/ 11 h 18"/>
                <a:gd name="T16" fmla="*/ 7 w 14"/>
                <a:gd name="T17" fmla="*/ 2 h 18"/>
                <a:gd name="T18" fmla="*/ 10 w 14"/>
                <a:gd name="T19" fmla="*/ 0 h 18"/>
                <a:gd name="T20" fmla="*/ 14 w 14"/>
                <a:gd name="T21" fmla="*/ 0 h 18"/>
                <a:gd name="T22" fmla="*/ 14 w 14"/>
                <a:gd name="T23" fmla="*/ 2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8"/>
                <a:gd name="T38" fmla="*/ 14 w 14"/>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8">
                  <a:moveTo>
                    <a:pt x="14" y="2"/>
                  </a:moveTo>
                  <a:lnTo>
                    <a:pt x="14" y="9"/>
                  </a:lnTo>
                  <a:lnTo>
                    <a:pt x="7" y="16"/>
                  </a:lnTo>
                  <a:lnTo>
                    <a:pt x="3" y="18"/>
                  </a:lnTo>
                  <a:lnTo>
                    <a:pt x="0" y="18"/>
                  </a:lnTo>
                  <a:lnTo>
                    <a:pt x="0" y="16"/>
                  </a:lnTo>
                  <a:lnTo>
                    <a:pt x="3" y="16"/>
                  </a:lnTo>
                  <a:lnTo>
                    <a:pt x="3" y="11"/>
                  </a:lnTo>
                  <a:lnTo>
                    <a:pt x="7" y="2"/>
                  </a:lnTo>
                  <a:lnTo>
                    <a:pt x="10" y="0"/>
                  </a:lnTo>
                  <a:lnTo>
                    <a:pt x="14" y="0"/>
                  </a:lnTo>
                  <a:lnTo>
                    <a:pt x="1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0" name="Freeform 154">
              <a:extLst>
                <a:ext uri="{FF2B5EF4-FFF2-40B4-BE49-F238E27FC236}">
                  <a16:creationId xmlns:a16="http://schemas.microsoft.com/office/drawing/2014/main" id="{6968A36F-1753-4E7E-AFB7-FC0CA86F92DF}"/>
                </a:ext>
              </a:extLst>
            </p:cNvPr>
            <p:cNvSpPr>
              <a:spLocks/>
            </p:cNvSpPr>
            <p:nvPr/>
          </p:nvSpPr>
          <p:spPr bwMode="gray">
            <a:xfrm rot="47099">
              <a:off x="2479559" y="2747902"/>
              <a:ext cx="9796" cy="24121"/>
            </a:xfrm>
            <a:custGeom>
              <a:avLst/>
              <a:gdLst>
                <a:gd name="T0" fmla="*/ 22 w 22"/>
                <a:gd name="T1" fmla="*/ 0 h 52"/>
                <a:gd name="T2" fmla="*/ 22 w 22"/>
                <a:gd name="T3" fmla="*/ 2 h 52"/>
                <a:gd name="T4" fmla="*/ 17 w 22"/>
                <a:gd name="T5" fmla="*/ 9 h 52"/>
                <a:gd name="T6" fmla="*/ 17 w 22"/>
                <a:gd name="T7" fmla="*/ 12 h 52"/>
                <a:gd name="T8" fmla="*/ 15 w 22"/>
                <a:gd name="T9" fmla="*/ 12 h 52"/>
                <a:gd name="T10" fmla="*/ 17 w 22"/>
                <a:gd name="T11" fmla="*/ 9 h 52"/>
                <a:gd name="T12" fmla="*/ 17 w 22"/>
                <a:gd name="T13" fmla="*/ 7 h 52"/>
                <a:gd name="T14" fmla="*/ 15 w 22"/>
                <a:gd name="T15" fmla="*/ 7 h 52"/>
                <a:gd name="T16" fmla="*/ 10 w 22"/>
                <a:gd name="T17" fmla="*/ 9 h 52"/>
                <a:gd name="T18" fmla="*/ 10 w 22"/>
                <a:gd name="T19" fmla="*/ 16 h 52"/>
                <a:gd name="T20" fmla="*/ 5 w 22"/>
                <a:gd name="T21" fmla="*/ 33 h 52"/>
                <a:gd name="T22" fmla="*/ 8 w 22"/>
                <a:gd name="T23" fmla="*/ 33 h 52"/>
                <a:gd name="T24" fmla="*/ 8 w 22"/>
                <a:gd name="T25" fmla="*/ 26 h 52"/>
                <a:gd name="T26" fmla="*/ 10 w 22"/>
                <a:gd name="T27" fmla="*/ 24 h 52"/>
                <a:gd name="T28" fmla="*/ 10 w 22"/>
                <a:gd name="T29" fmla="*/ 19 h 52"/>
                <a:gd name="T30" fmla="*/ 10 w 22"/>
                <a:gd name="T31" fmla="*/ 26 h 52"/>
                <a:gd name="T32" fmla="*/ 8 w 22"/>
                <a:gd name="T33" fmla="*/ 33 h 52"/>
                <a:gd name="T34" fmla="*/ 5 w 22"/>
                <a:gd name="T35" fmla="*/ 40 h 52"/>
                <a:gd name="T36" fmla="*/ 5 w 22"/>
                <a:gd name="T37" fmla="*/ 45 h 52"/>
                <a:gd name="T38" fmla="*/ 15 w 22"/>
                <a:gd name="T39" fmla="*/ 45 h 52"/>
                <a:gd name="T40" fmla="*/ 15 w 22"/>
                <a:gd name="T41" fmla="*/ 42 h 52"/>
                <a:gd name="T42" fmla="*/ 17 w 22"/>
                <a:gd name="T43" fmla="*/ 42 h 52"/>
                <a:gd name="T44" fmla="*/ 15 w 22"/>
                <a:gd name="T45" fmla="*/ 45 h 52"/>
                <a:gd name="T46" fmla="*/ 15 w 22"/>
                <a:gd name="T47" fmla="*/ 50 h 52"/>
                <a:gd name="T48" fmla="*/ 8 w 22"/>
                <a:gd name="T49" fmla="*/ 52 h 52"/>
                <a:gd name="T50" fmla="*/ 5 w 22"/>
                <a:gd name="T51" fmla="*/ 52 h 52"/>
                <a:gd name="T52" fmla="*/ 5 w 22"/>
                <a:gd name="T53" fmla="*/ 50 h 52"/>
                <a:gd name="T54" fmla="*/ 0 w 22"/>
                <a:gd name="T55" fmla="*/ 35 h 52"/>
                <a:gd name="T56" fmla="*/ 0 w 22"/>
                <a:gd name="T57" fmla="*/ 33 h 52"/>
                <a:gd name="T58" fmla="*/ 8 w 22"/>
                <a:gd name="T59" fmla="*/ 19 h 52"/>
                <a:gd name="T60" fmla="*/ 8 w 22"/>
                <a:gd name="T61" fmla="*/ 16 h 52"/>
                <a:gd name="T62" fmla="*/ 10 w 22"/>
                <a:gd name="T63" fmla="*/ 12 h 52"/>
                <a:gd name="T64" fmla="*/ 10 w 22"/>
                <a:gd name="T65" fmla="*/ 7 h 52"/>
                <a:gd name="T66" fmla="*/ 15 w 22"/>
                <a:gd name="T67" fmla="*/ 7 h 52"/>
                <a:gd name="T68" fmla="*/ 17 w 22"/>
                <a:gd name="T69" fmla="*/ 2 h 52"/>
                <a:gd name="T70" fmla="*/ 17 w 22"/>
                <a:gd name="T71" fmla="*/ 0 h 52"/>
                <a:gd name="T72" fmla="*/ 22 w 22"/>
                <a:gd name="T73" fmla="*/ 0 h 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
                <a:gd name="T112" fmla="*/ 0 h 52"/>
                <a:gd name="T113" fmla="*/ 22 w 22"/>
                <a:gd name="T114" fmla="*/ 52 h 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 h="52">
                  <a:moveTo>
                    <a:pt x="22" y="0"/>
                  </a:moveTo>
                  <a:lnTo>
                    <a:pt x="22" y="2"/>
                  </a:lnTo>
                  <a:lnTo>
                    <a:pt x="17" y="9"/>
                  </a:lnTo>
                  <a:lnTo>
                    <a:pt x="17" y="12"/>
                  </a:lnTo>
                  <a:lnTo>
                    <a:pt x="15" y="12"/>
                  </a:lnTo>
                  <a:lnTo>
                    <a:pt x="17" y="9"/>
                  </a:lnTo>
                  <a:lnTo>
                    <a:pt x="17" y="7"/>
                  </a:lnTo>
                  <a:lnTo>
                    <a:pt x="15" y="7"/>
                  </a:lnTo>
                  <a:lnTo>
                    <a:pt x="10" y="9"/>
                  </a:lnTo>
                  <a:lnTo>
                    <a:pt x="10" y="16"/>
                  </a:lnTo>
                  <a:lnTo>
                    <a:pt x="5" y="33"/>
                  </a:lnTo>
                  <a:lnTo>
                    <a:pt x="8" y="33"/>
                  </a:lnTo>
                  <a:lnTo>
                    <a:pt x="8" y="26"/>
                  </a:lnTo>
                  <a:lnTo>
                    <a:pt x="10" y="24"/>
                  </a:lnTo>
                  <a:lnTo>
                    <a:pt x="10" y="19"/>
                  </a:lnTo>
                  <a:lnTo>
                    <a:pt x="10" y="26"/>
                  </a:lnTo>
                  <a:lnTo>
                    <a:pt x="8" y="33"/>
                  </a:lnTo>
                  <a:lnTo>
                    <a:pt x="5" y="40"/>
                  </a:lnTo>
                  <a:lnTo>
                    <a:pt x="5" y="45"/>
                  </a:lnTo>
                  <a:lnTo>
                    <a:pt x="15" y="45"/>
                  </a:lnTo>
                  <a:lnTo>
                    <a:pt x="15" y="42"/>
                  </a:lnTo>
                  <a:lnTo>
                    <a:pt x="17" y="42"/>
                  </a:lnTo>
                  <a:lnTo>
                    <a:pt x="15" y="45"/>
                  </a:lnTo>
                  <a:lnTo>
                    <a:pt x="15" y="50"/>
                  </a:lnTo>
                  <a:lnTo>
                    <a:pt x="8" y="52"/>
                  </a:lnTo>
                  <a:lnTo>
                    <a:pt x="5" y="52"/>
                  </a:lnTo>
                  <a:lnTo>
                    <a:pt x="5" y="50"/>
                  </a:lnTo>
                  <a:lnTo>
                    <a:pt x="0" y="35"/>
                  </a:lnTo>
                  <a:lnTo>
                    <a:pt x="0" y="33"/>
                  </a:lnTo>
                  <a:lnTo>
                    <a:pt x="8" y="19"/>
                  </a:lnTo>
                  <a:lnTo>
                    <a:pt x="8" y="16"/>
                  </a:lnTo>
                  <a:lnTo>
                    <a:pt x="10" y="12"/>
                  </a:lnTo>
                  <a:lnTo>
                    <a:pt x="10" y="7"/>
                  </a:lnTo>
                  <a:lnTo>
                    <a:pt x="15" y="7"/>
                  </a:lnTo>
                  <a:lnTo>
                    <a:pt x="17" y="2"/>
                  </a:lnTo>
                  <a:lnTo>
                    <a:pt x="17" y="0"/>
                  </a:lnTo>
                  <a:lnTo>
                    <a:pt x="2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1" name="Freeform 155">
              <a:extLst>
                <a:ext uri="{FF2B5EF4-FFF2-40B4-BE49-F238E27FC236}">
                  <a16:creationId xmlns:a16="http://schemas.microsoft.com/office/drawing/2014/main" id="{A1C37608-12BA-4202-880F-9B121DBEAD17}"/>
                </a:ext>
              </a:extLst>
            </p:cNvPr>
            <p:cNvSpPr>
              <a:spLocks/>
            </p:cNvSpPr>
            <p:nvPr/>
          </p:nvSpPr>
          <p:spPr bwMode="gray">
            <a:xfrm rot="47099">
              <a:off x="2371744" y="2687089"/>
              <a:ext cx="81045" cy="22191"/>
            </a:xfrm>
            <a:custGeom>
              <a:avLst/>
              <a:gdLst>
                <a:gd name="T0" fmla="*/ 54 w 174"/>
                <a:gd name="T1" fmla="*/ 7 h 48"/>
                <a:gd name="T2" fmla="*/ 61 w 174"/>
                <a:gd name="T3" fmla="*/ 3 h 48"/>
                <a:gd name="T4" fmla="*/ 80 w 174"/>
                <a:gd name="T5" fmla="*/ 3 h 48"/>
                <a:gd name="T6" fmla="*/ 94 w 174"/>
                <a:gd name="T7" fmla="*/ 0 h 48"/>
                <a:gd name="T8" fmla="*/ 111 w 174"/>
                <a:gd name="T9" fmla="*/ 0 h 48"/>
                <a:gd name="T10" fmla="*/ 118 w 174"/>
                <a:gd name="T11" fmla="*/ 3 h 48"/>
                <a:gd name="T12" fmla="*/ 122 w 174"/>
                <a:gd name="T13" fmla="*/ 3 h 48"/>
                <a:gd name="T14" fmla="*/ 134 w 174"/>
                <a:gd name="T15" fmla="*/ 7 h 48"/>
                <a:gd name="T16" fmla="*/ 141 w 174"/>
                <a:gd name="T17" fmla="*/ 7 h 48"/>
                <a:gd name="T18" fmla="*/ 144 w 174"/>
                <a:gd name="T19" fmla="*/ 3 h 48"/>
                <a:gd name="T20" fmla="*/ 158 w 174"/>
                <a:gd name="T21" fmla="*/ 3 h 48"/>
                <a:gd name="T22" fmla="*/ 174 w 174"/>
                <a:gd name="T23" fmla="*/ 15 h 48"/>
                <a:gd name="T24" fmla="*/ 174 w 174"/>
                <a:gd name="T25" fmla="*/ 19 h 48"/>
                <a:gd name="T26" fmla="*/ 170 w 174"/>
                <a:gd name="T27" fmla="*/ 24 h 48"/>
                <a:gd name="T28" fmla="*/ 160 w 174"/>
                <a:gd name="T29" fmla="*/ 31 h 48"/>
                <a:gd name="T30" fmla="*/ 151 w 174"/>
                <a:gd name="T31" fmla="*/ 33 h 48"/>
                <a:gd name="T32" fmla="*/ 141 w 174"/>
                <a:gd name="T33" fmla="*/ 38 h 48"/>
                <a:gd name="T34" fmla="*/ 120 w 174"/>
                <a:gd name="T35" fmla="*/ 43 h 48"/>
                <a:gd name="T36" fmla="*/ 106 w 174"/>
                <a:gd name="T37" fmla="*/ 43 h 48"/>
                <a:gd name="T38" fmla="*/ 96 w 174"/>
                <a:gd name="T39" fmla="*/ 48 h 48"/>
                <a:gd name="T40" fmla="*/ 89 w 174"/>
                <a:gd name="T41" fmla="*/ 48 h 48"/>
                <a:gd name="T42" fmla="*/ 87 w 174"/>
                <a:gd name="T43" fmla="*/ 43 h 48"/>
                <a:gd name="T44" fmla="*/ 73 w 174"/>
                <a:gd name="T45" fmla="*/ 43 h 48"/>
                <a:gd name="T46" fmla="*/ 70 w 174"/>
                <a:gd name="T47" fmla="*/ 48 h 48"/>
                <a:gd name="T48" fmla="*/ 66 w 174"/>
                <a:gd name="T49" fmla="*/ 43 h 48"/>
                <a:gd name="T50" fmla="*/ 63 w 174"/>
                <a:gd name="T51" fmla="*/ 41 h 48"/>
                <a:gd name="T52" fmla="*/ 61 w 174"/>
                <a:gd name="T53" fmla="*/ 41 h 48"/>
                <a:gd name="T54" fmla="*/ 56 w 174"/>
                <a:gd name="T55" fmla="*/ 38 h 48"/>
                <a:gd name="T56" fmla="*/ 54 w 174"/>
                <a:gd name="T57" fmla="*/ 33 h 48"/>
                <a:gd name="T58" fmla="*/ 44 w 174"/>
                <a:gd name="T59" fmla="*/ 33 h 48"/>
                <a:gd name="T60" fmla="*/ 40 w 174"/>
                <a:gd name="T61" fmla="*/ 31 h 48"/>
                <a:gd name="T62" fmla="*/ 33 w 174"/>
                <a:gd name="T63" fmla="*/ 31 h 48"/>
                <a:gd name="T64" fmla="*/ 14 w 174"/>
                <a:gd name="T65" fmla="*/ 33 h 48"/>
                <a:gd name="T66" fmla="*/ 7 w 174"/>
                <a:gd name="T67" fmla="*/ 33 h 48"/>
                <a:gd name="T68" fmla="*/ 0 w 174"/>
                <a:gd name="T69" fmla="*/ 31 h 48"/>
                <a:gd name="T70" fmla="*/ 0 w 174"/>
                <a:gd name="T71" fmla="*/ 26 h 48"/>
                <a:gd name="T72" fmla="*/ 4 w 174"/>
                <a:gd name="T73" fmla="*/ 26 h 48"/>
                <a:gd name="T74" fmla="*/ 9 w 174"/>
                <a:gd name="T75" fmla="*/ 17 h 48"/>
                <a:gd name="T76" fmla="*/ 14 w 174"/>
                <a:gd name="T77" fmla="*/ 17 h 48"/>
                <a:gd name="T78" fmla="*/ 16 w 174"/>
                <a:gd name="T79" fmla="*/ 15 h 48"/>
                <a:gd name="T80" fmla="*/ 28 w 174"/>
                <a:gd name="T81" fmla="*/ 15 h 48"/>
                <a:gd name="T82" fmla="*/ 47 w 174"/>
                <a:gd name="T83" fmla="*/ 10 h 48"/>
                <a:gd name="T84" fmla="*/ 49 w 174"/>
                <a:gd name="T85" fmla="*/ 7 h 48"/>
                <a:gd name="T86" fmla="*/ 54 w 174"/>
                <a:gd name="T87" fmla="*/ 7 h 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48"/>
                <a:gd name="T134" fmla="*/ 174 w 174"/>
                <a:gd name="T135" fmla="*/ 48 h 4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48">
                  <a:moveTo>
                    <a:pt x="54" y="7"/>
                  </a:moveTo>
                  <a:lnTo>
                    <a:pt x="61" y="3"/>
                  </a:lnTo>
                  <a:lnTo>
                    <a:pt x="80" y="3"/>
                  </a:lnTo>
                  <a:lnTo>
                    <a:pt x="94" y="0"/>
                  </a:lnTo>
                  <a:lnTo>
                    <a:pt x="111" y="0"/>
                  </a:lnTo>
                  <a:lnTo>
                    <a:pt x="118" y="3"/>
                  </a:lnTo>
                  <a:lnTo>
                    <a:pt x="122" y="3"/>
                  </a:lnTo>
                  <a:lnTo>
                    <a:pt x="134" y="7"/>
                  </a:lnTo>
                  <a:lnTo>
                    <a:pt x="141" y="7"/>
                  </a:lnTo>
                  <a:lnTo>
                    <a:pt x="144" y="3"/>
                  </a:lnTo>
                  <a:lnTo>
                    <a:pt x="158" y="3"/>
                  </a:lnTo>
                  <a:lnTo>
                    <a:pt x="174" y="15"/>
                  </a:lnTo>
                  <a:lnTo>
                    <a:pt x="174" y="19"/>
                  </a:lnTo>
                  <a:lnTo>
                    <a:pt x="170" y="24"/>
                  </a:lnTo>
                  <a:lnTo>
                    <a:pt x="160" y="31"/>
                  </a:lnTo>
                  <a:lnTo>
                    <a:pt x="151" y="33"/>
                  </a:lnTo>
                  <a:lnTo>
                    <a:pt x="141" y="38"/>
                  </a:lnTo>
                  <a:lnTo>
                    <a:pt x="120" y="43"/>
                  </a:lnTo>
                  <a:lnTo>
                    <a:pt x="106" y="43"/>
                  </a:lnTo>
                  <a:lnTo>
                    <a:pt x="96" y="48"/>
                  </a:lnTo>
                  <a:lnTo>
                    <a:pt x="89" y="48"/>
                  </a:lnTo>
                  <a:lnTo>
                    <a:pt x="87" y="43"/>
                  </a:lnTo>
                  <a:lnTo>
                    <a:pt x="73" y="43"/>
                  </a:lnTo>
                  <a:lnTo>
                    <a:pt x="70" y="48"/>
                  </a:lnTo>
                  <a:lnTo>
                    <a:pt x="66" y="43"/>
                  </a:lnTo>
                  <a:lnTo>
                    <a:pt x="63" y="41"/>
                  </a:lnTo>
                  <a:lnTo>
                    <a:pt x="61" y="41"/>
                  </a:lnTo>
                  <a:lnTo>
                    <a:pt x="56" y="38"/>
                  </a:lnTo>
                  <a:lnTo>
                    <a:pt x="54" y="33"/>
                  </a:lnTo>
                  <a:lnTo>
                    <a:pt x="44" y="33"/>
                  </a:lnTo>
                  <a:lnTo>
                    <a:pt x="40" y="31"/>
                  </a:lnTo>
                  <a:lnTo>
                    <a:pt x="33" y="31"/>
                  </a:lnTo>
                  <a:lnTo>
                    <a:pt x="14" y="33"/>
                  </a:lnTo>
                  <a:lnTo>
                    <a:pt x="7" y="33"/>
                  </a:lnTo>
                  <a:lnTo>
                    <a:pt x="0" y="31"/>
                  </a:lnTo>
                  <a:lnTo>
                    <a:pt x="0" y="26"/>
                  </a:lnTo>
                  <a:lnTo>
                    <a:pt x="4" y="26"/>
                  </a:lnTo>
                  <a:lnTo>
                    <a:pt x="9" y="17"/>
                  </a:lnTo>
                  <a:lnTo>
                    <a:pt x="14" y="17"/>
                  </a:lnTo>
                  <a:lnTo>
                    <a:pt x="16" y="15"/>
                  </a:lnTo>
                  <a:lnTo>
                    <a:pt x="28" y="15"/>
                  </a:lnTo>
                  <a:lnTo>
                    <a:pt x="47" y="10"/>
                  </a:lnTo>
                  <a:lnTo>
                    <a:pt x="49" y="7"/>
                  </a:lnTo>
                  <a:lnTo>
                    <a:pt x="5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2" name="Freeform 156">
              <a:extLst>
                <a:ext uri="{FF2B5EF4-FFF2-40B4-BE49-F238E27FC236}">
                  <a16:creationId xmlns:a16="http://schemas.microsoft.com/office/drawing/2014/main" id="{2DB50EE2-258B-4A9B-A8B8-35244A37FECC}"/>
                </a:ext>
              </a:extLst>
            </p:cNvPr>
            <p:cNvSpPr>
              <a:spLocks/>
            </p:cNvSpPr>
            <p:nvPr/>
          </p:nvSpPr>
          <p:spPr bwMode="gray">
            <a:xfrm rot="47099">
              <a:off x="2159811" y="2301587"/>
              <a:ext cx="9796" cy="4824"/>
            </a:xfrm>
            <a:custGeom>
              <a:avLst/>
              <a:gdLst>
                <a:gd name="T0" fmla="*/ 16 w 21"/>
                <a:gd name="T1" fmla="*/ 10 h 10"/>
                <a:gd name="T2" fmla="*/ 5 w 21"/>
                <a:gd name="T3" fmla="*/ 10 h 10"/>
                <a:gd name="T4" fmla="*/ 0 w 21"/>
                <a:gd name="T5" fmla="*/ 7 h 10"/>
                <a:gd name="T6" fmla="*/ 0 w 21"/>
                <a:gd name="T7" fmla="*/ 3 h 10"/>
                <a:gd name="T8" fmla="*/ 7 w 21"/>
                <a:gd name="T9" fmla="*/ 0 h 10"/>
                <a:gd name="T10" fmla="*/ 16 w 21"/>
                <a:gd name="T11" fmla="*/ 3 h 10"/>
                <a:gd name="T12" fmla="*/ 21 w 21"/>
                <a:gd name="T13" fmla="*/ 3 h 10"/>
                <a:gd name="T14" fmla="*/ 16 w 21"/>
                <a:gd name="T15" fmla="*/ 3 h 10"/>
                <a:gd name="T16" fmla="*/ 16 w 21"/>
                <a:gd name="T17" fmla="*/ 10 h 10"/>
                <a:gd name="T18" fmla="*/ 21 w 21"/>
                <a:gd name="T19" fmla="*/ 10 h 10"/>
                <a:gd name="T20" fmla="*/ 16 w 21"/>
                <a:gd name="T21" fmla="*/ 1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10"/>
                <a:gd name="T35" fmla="*/ 21 w 21"/>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10">
                  <a:moveTo>
                    <a:pt x="16" y="10"/>
                  </a:moveTo>
                  <a:lnTo>
                    <a:pt x="5" y="10"/>
                  </a:lnTo>
                  <a:lnTo>
                    <a:pt x="0" y="7"/>
                  </a:lnTo>
                  <a:lnTo>
                    <a:pt x="0" y="3"/>
                  </a:lnTo>
                  <a:lnTo>
                    <a:pt x="7" y="0"/>
                  </a:lnTo>
                  <a:lnTo>
                    <a:pt x="16" y="3"/>
                  </a:lnTo>
                  <a:lnTo>
                    <a:pt x="21" y="3"/>
                  </a:lnTo>
                  <a:lnTo>
                    <a:pt x="16" y="3"/>
                  </a:lnTo>
                  <a:lnTo>
                    <a:pt x="16" y="10"/>
                  </a:lnTo>
                  <a:lnTo>
                    <a:pt x="21" y="10"/>
                  </a:lnTo>
                  <a:lnTo>
                    <a:pt x="16"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3" name="Freeform 157">
              <a:extLst>
                <a:ext uri="{FF2B5EF4-FFF2-40B4-BE49-F238E27FC236}">
                  <a16:creationId xmlns:a16="http://schemas.microsoft.com/office/drawing/2014/main" id="{A78E3D62-0D6E-4831-B4D3-378ACF14164D}"/>
                </a:ext>
              </a:extLst>
            </p:cNvPr>
            <p:cNvSpPr>
              <a:spLocks/>
            </p:cNvSpPr>
            <p:nvPr/>
          </p:nvSpPr>
          <p:spPr bwMode="gray">
            <a:xfrm rot="47099">
              <a:off x="1987013" y="2526562"/>
              <a:ext cx="514774" cy="468908"/>
            </a:xfrm>
            <a:custGeom>
              <a:avLst/>
              <a:gdLst>
                <a:gd name="T0" fmla="*/ 527 w 1108"/>
                <a:gd name="T1" fmla="*/ 116 h 1009"/>
                <a:gd name="T2" fmla="*/ 567 w 1108"/>
                <a:gd name="T3" fmla="*/ 144 h 1009"/>
                <a:gd name="T4" fmla="*/ 600 w 1108"/>
                <a:gd name="T5" fmla="*/ 194 h 1009"/>
                <a:gd name="T6" fmla="*/ 600 w 1108"/>
                <a:gd name="T7" fmla="*/ 156 h 1009"/>
                <a:gd name="T8" fmla="*/ 631 w 1108"/>
                <a:gd name="T9" fmla="*/ 210 h 1009"/>
                <a:gd name="T10" fmla="*/ 662 w 1108"/>
                <a:gd name="T11" fmla="*/ 222 h 1009"/>
                <a:gd name="T12" fmla="*/ 697 w 1108"/>
                <a:gd name="T13" fmla="*/ 196 h 1009"/>
                <a:gd name="T14" fmla="*/ 749 w 1108"/>
                <a:gd name="T15" fmla="*/ 227 h 1009"/>
                <a:gd name="T16" fmla="*/ 744 w 1108"/>
                <a:gd name="T17" fmla="*/ 180 h 1009"/>
                <a:gd name="T18" fmla="*/ 721 w 1108"/>
                <a:gd name="T19" fmla="*/ 114 h 1009"/>
                <a:gd name="T20" fmla="*/ 749 w 1108"/>
                <a:gd name="T21" fmla="*/ 114 h 1009"/>
                <a:gd name="T22" fmla="*/ 737 w 1108"/>
                <a:gd name="T23" fmla="*/ 137 h 1009"/>
                <a:gd name="T24" fmla="*/ 775 w 1108"/>
                <a:gd name="T25" fmla="*/ 177 h 1009"/>
                <a:gd name="T26" fmla="*/ 881 w 1108"/>
                <a:gd name="T27" fmla="*/ 121 h 1009"/>
                <a:gd name="T28" fmla="*/ 1082 w 1108"/>
                <a:gd name="T29" fmla="*/ 0 h 1009"/>
                <a:gd name="T30" fmla="*/ 1075 w 1108"/>
                <a:gd name="T31" fmla="*/ 69 h 1009"/>
                <a:gd name="T32" fmla="*/ 1047 w 1108"/>
                <a:gd name="T33" fmla="*/ 125 h 1009"/>
                <a:gd name="T34" fmla="*/ 1040 w 1108"/>
                <a:gd name="T35" fmla="*/ 189 h 1009"/>
                <a:gd name="T36" fmla="*/ 1023 w 1108"/>
                <a:gd name="T37" fmla="*/ 222 h 1009"/>
                <a:gd name="T38" fmla="*/ 971 w 1108"/>
                <a:gd name="T39" fmla="*/ 260 h 1009"/>
                <a:gd name="T40" fmla="*/ 955 w 1108"/>
                <a:gd name="T41" fmla="*/ 270 h 1009"/>
                <a:gd name="T42" fmla="*/ 879 w 1108"/>
                <a:gd name="T43" fmla="*/ 300 h 1009"/>
                <a:gd name="T44" fmla="*/ 822 w 1108"/>
                <a:gd name="T45" fmla="*/ 331 h 1009"/>
                <a:gd name="T46" fmla="*/ 758 w 1108"/>
                <a:gd name="T47" fmla="*/ 359 h 1009"/>
                <a:gd name="T48" fmla="*/ 711 w 1108"/>
                <a:gd name="T49" fmla="*/ 383 h 1009"/>
                <a:gd name="T50" fmla="*/ 697 w 1108"/>
                <a:gd name="T51" fmla="*/ 463 h 1009"/>
                <a:gd name="T52" fmla="*/ 664 w 1108"/>
                <a:gd name="T53" fmla="*/ 525 h 1009"/>
                <a:gd name="T54" fmla="*/ 631 w 1108"/>
                <a:gd name="T55" fmla="*/ 588 h 1009"/>
                <a:gd name="T56" fmla="*/ 600 w 1108"/>
                <a:gd name="T57" fmla="*/ 631 h 1009"/>
                <a:gd name="T58" fmla="*/ 551 w 1108"/>
                <a:gd name="T59" fmla="*/ 640 h 1009"/>
                <a:gd name="T60" fmla="*/ 607 w 1108"/>
                <a:gd name="T61" fmla="*/ 709 h 1009"/>
                <a:gd name="T62" fmla="*/ 591 w 1108"/>
                <a:gd name="T63" fmla="*/ 759 h 1009"/>
                <a:gd name="T64" fmla="*/ 600 w 1108"/>
                <a:gd name="T65" fmla="*/ 761 h 1009"/>
                <a:gd name="T66" fmla="*/ 631 w 1108"/>
                <a:gd name="T67" fmla="*/ 685 h 1009"/>
                <a:gd name="T68" fmla="*/ 657 w 1108"/>
                <a:gd name="T69" fmla="*/ 600 h 1009"/>
                <a:gd name="T70" fmla="*/ 702 w 1108"/>
                <a:gd name="T71" fmla="*/ 536 h 1009"/>
                <a:gd name="T72" fmla="*/ 792 w 1108"/>
                <a:gd name="T73" fmla="*/ 451 h 1009"/>
                <a:gd name="T74" fmla="*/ 879 w 1108"/>
                <a:gd name="T75" fmla="*/ 444 h 1009"/>
                <a:gd name="T76" fmla="*/ 888 w 1108"/>
                <a:gd name="T77" fmla="*/ 470 h 1009"/>
                <a:gd name="T78" fmla="*/ 874 w 1108"/>
                <a:gd name="T79" fmla="*/ 518 h 1009"/>
                <a:gd name="T80" fmla="*/ 832 w 1108"/>
                <a:gd name="T81" fmla="*/ 548 h 1009"/>
                <a:gd name="T82" fmla="*/ 777 w 1108"/>
                <a:gd name="T83" fmla="*/ 584 h 1009"/>
                <a:gd name="T84" fmla="*/ 725 w 1108"/>
                <a:gd name="T85" fmla="*/ 607 h 1009"/>
                <a:gd name="T86" fmla="*/ 695 w 1108"/>
                <a:gd name="T87" fmla="*/ 681 h 1009"/>
                <a:gd name="T88" fmla="*/ 657 w 1108"/>
                <a:gd name="T89" fmla="*/ 735 h 1009"/>
                <a:gd name="T90" fmla="*/ 652 w 1108"/>
                <a:gd name="T91" fmla="*/ 815 h 1009"/>
                <a:gd name="T92" fmla="*/ 647 w 1108"/>
                <a:gd name="T93" fmla="*/ 884 h 1009"/>
                <a:gd name="T94" fmla="*/ 617 w 1108"/>
                <a:gd name="T95" fmla="*/ 936 h 1009"/>
                <a:gd name="T96" fmla="*/ 510 w 1108"/>
                <a:gd name="T97" fmla="*/ 981 h 1009"/>
                <a:gd name="T98" fmla="*/ 442 w 1108"/>
                <a:gd name="T99" fmla="*/ 981 h 1009"/>
                <a:gd name="T100" fmla="*/ 371 w 1108"/>
                <a:gd name="T101" fmla="*/ 981 h 1009"/>
                <a:gd name="T102" fmla="*/ 326 w 1108"/>
                <a:gd name="T103" fmla="*/ 995 h 1009"/>
                <a:gd name="T104" fmla="*/ 277 w 1108"/>
                <a:gd name="T105" fmla="*/ 985 h 1009"/>
                <a:gd name="T106" fmla="*/ 234 w 1108"/>
                <a:gd name="T107" fmla="*/ 962 h 1009"/>
                <a:gd name="T108" fmla="*/ 128 w 1108"/>
                <a:gd name="T109" fmla="*/ 936 h 1009"/>
                <a:gd name="T110" fmla="*/ 64 w 1108"/>
                <a:gd name="T111" fmla="*/ 799 h 1009"/>
                <a:gd name="T112" fmla="*/ 3 w 1108"/>
                <a:gd name="T113" fmla="*/ 581 h 1009"/>
                <a:gd name="T114" fmla="*/ 3 w 1108"/>
                <a:gd name="T115" fmla="*/ 577 h 10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08"/>
                <a:gd name="T175" fmla="*/ 0 h 1009"/>
                <a:gd name="T176" fmla="*/ 1108 w 1108"/>
                <a:gd name="T177" fmla="*/ 1009 h 10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08" h="1009">
                  <a:moveTo>
                    <a:pt x="501" y="76"/>
                  </a:moveTo>
                  <a:lnTo>
                    <a:pt x="503" y="76"/>
                  </a:lnTo>
                  <a:lnTo>
                    <a:pt x="508" y="83"/>
                  </a:lnTo>
                  <a:lnTo>
                    <a:pt x="501" y="90"/>
                  </a:lnTo>
                  <a:lnTo>
                    <a:pt x="501" y="97"/>
                  </a:lnTo>
                  <a:lnTo>
                    <a:pt x="499" y="104"/>
                  </a:lnTo>
                  <a:lnTo>
                    <a:pt x="501" y="104"/>
                  </a:lnTo>
                  <a:lnTo>
                    <a:pt x="501" y="107"/>
                  </a:lnTo>
                  <a:lnTo>
                    <a:pt x="503" y="107"/>
                  </a:lnTo>
                  <a:lnTo>
                    <a:pt x="515" y="109"/>
                  </a:lnTo>
                  <a:lnTo>
                    <a:pt x="527" y="116"/>
                  </a:lnTo>
                  <a:lnTo>
                    <a:pt x="527" y="130"/>
                  </a:lnTo>
                  <a:lnTo>
                    <a:pt x="532" y="132"/>
                  </a:lnTo>
                  <a:lnTo>
                    <a:pt x="543" y="132"/>
                  </a:lnTo>
                  <a:lnTo>
                    <a:pt x="543" y="130"/>
                  </a:lnTo>
                  <a:lnTo>
                    <a:pt x="548" y="130"/>
                  </a:lnTo>
                  <a:lnTo>
                    <a:pt x="551" y="132"/>
                  </a:lnTo>
                  <a:lnTo>
                    <a:pt x="551" y="137"/>
                  </a:lnTo>
                  <a:lnTo>
                    <a:pt x="555" y="137"/>
                  </a:lnTo>
                  <a:lnTo>
                    <a:pt x="558" y="140"/>
                  </a:lnTo>
                  <a:lnTo>
                    <a:pt x="567" y="140"/>
                  </a:lnTo>
                  <a:lnTo>
                    <a:pt x="567" y="144"/>
                  </a:lnTo>
                  <a:lnTo>
                    <a:pt x="572" y="147"/>
                  </a:lnTo>
                  <a:lnTo>
                    <a:pt x="572" y="161"/>
                  </a:lnTo>
                  <a:lnTo>
                    <a:pt x="574" y="163"/>
                  </a:lnTo>
                  <a:lnTo>
                    <a:pt x="579" y="170"/>
                  </a:lnTo>
                  <a:lnTo>
                    <a:pt x="579" y="173"/>
                  </a:lnTo>
                  <a:lnTo>
                    <a:pt x="574" y="177"/>
                  </a:lnTo>
                  <a:lnTo>
                    <a:pt x="584" y="196"/>
                  </a:lnTo>
                  <a:lnTo>
                    <a:pt x="588" y="201"/>
                  </a:lnTo>
                  <a:lnTo>
                    <a:pt x="591" y="196"/>
                  </a:lnTo>
                  <a:lnTo>
                    <a:pt x="595" y="194"/>
                  </a:lnTo>
                  <a:lnTo>
                    <a:pt x="600" y="194"/>
                  </a:lnTo>
                  <a:lnTo>
                    <a:pt x="605" y="187"/>
                  </a:lnTo>
                  <a:lnTo>
                    <a:pt x="600" y="180"/>
                  </a:lnTo>
                  <a:lnTo>
                    <a:pt x="600" y="177"/>
                  </a:lnTo>
                  <a:lnTo>
                    <a:pt x="598" y="173"/>
                  </a:lnTo>
                  <a:lnTo>
                    <a:pt x="598" y="170"/>
                  </a:lnTo>
                  <a:lnTo>
                    <a:pt x="600" y="170"/>
                  </a:lnTo>
                  <a:lnTo>
                    <a:pt x="600" y="166"/>
                  </a:lnTo>
                  <a:lnTo>
                    <a:pt x="605" y="166"/>
                  </a:lnTo>
                  <a:lnTo>
                    <a:pt x="605" y="163"/>
                  </a:lnTo>
                  <a:lnTo>
                    <a:pt x="600" y="161"/>
                  </a:lnTo>
                  <a:lnTo>
                    <a:pt x="600" y="156"/>
                  </a:lnTo>
                  <a:lnTo>
                    <a:pt x="612" y="161"/>
                  </a:lnTo>
                  <a:lnTo>
                    <a:pt x="617" y="166"/>
                  </a:lnTo>
                  <a:lnTo>
                    <a:pt x="617" y="170"/>
                  </a:lnTo>
                  <a:lnTo>
                    <a:pt x="614" y="170"/>
                  </a:lnTo>
                  <a:lnTo>
                    <a:pt x="614" y="173"/>
                  </a:lnTo>
                  <a:lnTo>
                    <a:pt x="617" y="182"/>
                  </a:lnTo>
                  <a:lnTo>
                    <a:pt x="621" y="189"/>
                  </a:lnTo>
                  <a:lnTo>
                    <a:pt x="621" y="194"/>
                  </a:lnTo>
                  <a:lnTo>
                    <a:pt x="624" y="196"/>
                  </a:lnTo>
                  <a:lnTo>
                    <a:pt x="631" y="206"/>
                  </a:lnTo>
                  <a:lnTo>
                    <a:pt x="631" y="210"/>
                  </a:lnTo>
                  <a:lnTo>
                    <a:pt x="629" y="210"/>
                  </a:lnTo>
                  <a:lnTo>
                    <a:pt x="629" y="213"/>
                  </a:lnTo>
                  <a:lnTo>
                    <a:pt x="631" y="218"/>
                  </a:lnTo>
                  <a:lnTo>
                    <a:pt x="638" y="227"/>
                  </a:lnTo>
                  <a:lnTo>
                    <a:pt x="640" y="227"/>
                  </a:lnTo>
                  <a:lnTo>
                    <a:pt x="645" y="229"/>
                  </a:lnTo>
                  <a:lnTo>
                    <a:pt x="640" y="220"/>
                  </a:lnTo>
                  <a:lnTo>
                    <a:pt x="645" y="218"/>
                  </a:lnTo>
                  <a:lnTo>
                    <a:pt x="655" y="218"/>
                  </a:lnTo>
                  <a:lnTo>
                    <a:pt x="657" y="222"/>
                  </a:lnTo>
                  <a:lnTo>
                    <a:pt x="662" y="222"/>
                  </a:lnTo>
                  <a:lnTo>
                    <a:pt x="669" y="227"/>
                  </a:lnTo>
                  <a:lnTo>
                    <a:pt x="676" y="222"/>
                  </a:lnTo>
                  <a:lnTo>
                    <a:pt x="671" y="220"/>
                  </a:lnTo>
                  <a:lnTo>
                    <a:pt x="671" y="218"/>
                  </a:lnTo>
                  <a:lnTo>
                    <a:pt x="681" y="218"/>
                  </a:lnTo>
                  <a:lnTo>
                    <a:pt x="685" y="213"/>
                  </a:lnTo>
                  <a:lnTo>
                    <a:pt x="681" y="203"/>
                  </a:lnTo>
                  <a:lnTo>
                    <a:pt x="685" y="203"/>
                  </a:lnTo>
                  <a:lnTo>
                    <a:pt x="688" y="201"/>
                  </a:lnTo>
                  <a:lnTo>
                    <a:pt x="695" y="201"/>
                  </a:lnTo>
                  <a:lnTo>
                    <a:pt x="697" y="196"/>
                  </a:lnTo>
                  <a:lnTo>
                    <a:pt x="704" y="196"/>
                  </a:lnTo>
                  <a:lnTo>
                    <a:pt x="718" y="203"/>
                  </a:lnTo>
                  <a:lnTo>
                    <a:pt x="721" y="203"/>
                  </a:lnTo>
                  <a:lnTo>
                    <a:pt x="721" y="206"/>
                  </a:lnTo>
                  <a:lnTo>
                    <a:pt x="725" y="210"/>
                  </a:lnTo>
                  <a:lnTo>
                    <a:pt x="732" y="213"/>
                  </a:lnTo>
                  <a:lnTo>
                    <a:pt x="742" y="213"/>
                  </a:lnTo>
                  <a:lnTo>
                    <a:pt x="742" y="218"/>
                  </a:lnTo>
                  <a:lnTo>
                    <a:pt x="737" y="220"/>
                  </a:lnTo>
                  <a:lnTo>
                    <a:pt x="742" y="227"/>
                  </a:lnTo>
                  <a:lnTo>
                    <a:pt x="749" y="227"/>
                  </a:lnTo>
                  <a:lnTo>
                    <a:pt x="751" y="229"/>
                  </a:lnTo>
                  <a:lnTo>
                    <a:pt x="751" y="234"/>
                  </a:lnTo>
                  <a:lnTo>
                    <a:pt x="754" y="229"/>
                  </a:lnTo>
                  <a:lnTo>
                    <a:pt x="758" y="218"/>
                  </a:lnTo>
                  <a:lnTo>
                    <a:pt x="758" y="210"/>
                  </a:lnTo>
                  <a:lnTo>
                    <a:pt x="754" y="210"/>
                  </a:lnTo>
                  <a:lnTo>
                    <a:pt x="751" y="206"/>
                  </a:lnTo>
                  <a:lnTo>
                    <a:pt x="749" y="196"/>
                  </a:lnTo>
                  <a:lnTo>
                    <a:pt x="749" y="194"/>
                  </a:lnTo>
                  <a:lnTo>
                    <a:pt x="744" y="187"/>
                  </a:lnTo>
                  <a:lnTo>
                    <a:pt x="744" y="180"/>
                  </a:lnTo>
                  <a:lnTo>
                    <a:pt x="749" y="170"/>
                  </a:lnTo>
                  <a:lnTo>
                    <a:pt x="744" y="166"/>
                  </a:lnTo>
                  <a:lnTo>
                    <a:pt x="742" y="161"/>
                  </a:lnTo>
                  <a:lnTo>
                    <a:pt x="742" y="156"/>
                  </a:lnTo>
                  <a:lnTo>
                    <a:pt x="735" y="149"/>
                  </a:lnTo>
                  <a:lnTo>
                    <a:pt x="732" y="147"/>
                  </a:lnTo>
                  <a:lnTo>
                    <a:pt x="728" y="147"/>
                  </a:lnTo>
                  <a:lnTo>
                    <a:pt x="718" y="123"/>
                  </a:lnTo>
                  <a:lnTo>
                    <a:pt x="718" y="116"/>
                  </a:lnTo>
                  <a:lnTo>
                    <a:pt x="721" y="116"/>
                  </a:lnTo>
                  <a:lnTo>
                    <a:pt x="721" y="114"/>
                  </a:lnTo>
                  <a:lnTo>
                    <a:pt x="728" y="114"/>
                  </a:lnTo>
                  <a:lnTo>
                    <a:pt x="725" y="99"/>
                  </a:lnTo>
                  <a:lnTo>
                    <a:pt x="721" y="99"/>
                  </a:lnTo>
                  <a:lnTo>
                    <a:pt x="721" y="92"/>
                  </a:lnTo>
                  <a:lnTo>
                    <a:pt x="725" y="90"/>
                  </a:lnTo>
                  <a:lnTo>
                    <a:pt x="725" y="85"/>
                  </a:lnTo>
                  <a:lnTo>
                    <a:pt x="732" y="85"/>
                  </a:lnTo>
                  <a:lnTo>
                    <a:pt x="742" y="92"/>
                  </a:lnTo>
                  <a:lnTo>
                    <a:pt x="744" y="97"/>
                  </a:lnTo>
                  <a:lnTo>
                    <a:pt x="744" y="99"/>
                  </a:lnTo>
                  <a:lnTo>
                    <a:pt x="749" y="114"/>
                  </a:lnTo>
                  <a:lnTo>
                    <a:pt x="758" y="114"/>
                  </a:lnTo>
                  <a:lnTo>
                    <a:pt x="761" y="116"/>
                  </a:lnTo>
                  <a:lnTo>
                    <a:pt x="766" y="116"/>
                  </a:lnTo>
                  <a:lnTo>
                    <a:pt x="761" y="116"/>
                  </a:lnTo>
                  <a:lnTo>
                    <a:pt x="758" y="121"/>
                  </a:lnTo>
                  <a:lnTo>
                    <a:pt x="754" y="123"/>
                  </a:lnTo>
                  <a:lnTo>
                    <a:pt x="751" y="123"/>
                  </a:lnTo>
                  <a:lnTo>
                    <a:pt x="744" y="130"/>
                  </a:lnTo>
                  <a:lnTo>
                    <a:pt x="742" y="130"/>
                  </a:lnTo>
                  <a:lnTo>
                    <a:pt x="742" y="132"/>
                  </a:lnTo>
                  <a:lnTo>
                    <a:pt x="737" y="137"/>
                  </a:lnTo>
                  <a:lnTo>
                    <a:pt x="737" y="149"/>
                  </a:lnTo>
                  <a:lnTo>
                    <a:pt x="742" y="149"/>
                  </a:lnTo>
                  <a:lnTo>
                    <a:pt x="742" y="147"/>
                  </a:lnTo>
                  <a:lnTo>
                    <a:pt x="744" y="147"/>
                  </a:lnTo>
                  <a:lnTo>
                    <a:pt x="749" y="149"/>
                  </a:lnTo>
                  <a:lnTo>
                    <a:pt x="758" y="161"/>
                  </a:lnTo>
                  <a:lnTo>
                    <a:pt x="761" y="161"/>
                  </a:lnTo>
                  <a:lnTo>
                    <a:pt x="761" y="166"/>
                  </a:lnTo>
                  <a:lnTo>
                    <a:pt x="766" y="173"/>
                  </a:lnTo>
                  <a:lnTo>
                    <a:pt x="768" y="177"/>
                  </a:lnTo>
                  <a:lnTo>
                    <a:pt x="775" y="177"/>
                  </a:lnTo>
                  <a:lnTo>
                    <a:pt x="789" y="170"/>
                  </a:lnTo>
                  <a:lnTo>
                    <a:pt x="815" y="156"/>
                  </a:lnTo>
                  <a:lnTo>
                    <a:pt x="829" y="149"/>
                  </a:lnTo>
                  <a:lnTo>
                    <a:pt x="832" y="147"/>
                  </a:lnTo>
                  <a:lnTo>
                    <a:pt x="841" y="144"/>
                  </a:lnTo>
                  <a:lnTo>
                    <a:pt x="846" y="140"/>
                  </a:lnTo>
                  <a:lnTo>
                    <a:pt x="848" y="137"/>
                  </a:lnTo>
                  <a:lnTo>
                    <a:pt x="853" y="137"/>
                  </a:lnTo>
                  <a:lnTo>
                    <a:pt x="858" y="132"/>
                  </a:lnTo>
                  <a:lnTo>
                    <a:pt x="874" y="123"/>
                  </a:lnTo>
                  <a:lnTo>
                    <a:pt x="881" y="121"/>
                  </a:lnTo>
                  <a:lnTo>
                    <a:pt x="898" y="109"/>
                  </a:lnTo>
                  <a:lnTo>
                    <a:pt x="912" y="104"/>
                  </a:lnTo>
                  <a:lnTo>
                    <a:pt x="931" y="90"/>
                  </a:lnTo>
                  <a:lnTo>
                    <a:pt x="947" y="81"/>
                  </a:lnTo>
                  <a:lnTo>
                    <a:pt x="978" y="64"/>
                  </a:lnTo>
                  <a:lnTo>
                    <a:pt x="1007" y="47"/>
                  </a:lnTo>
                  <a:lnTo>
                    <a:pt x="1023" y="36"/>
                  </a:lnTo>
                  <a:lnTo>
                    <a:pt x="1032" y="29"/>
                  </a:lnTo>
                  <a:lnTo>
                    <a:pt x="1058" y="12"/>
                  </a:lnTo>
                  <a:lnTo>
                    <a:pt x="1075" y="3"/>
                  </a:lnTo>
                  <a:lnTo>
                    <a:pt x="1082" y="0"/>
                  </a:lnTo>
                  <a:lnTo>
                    <a:pt x="1099" y="26"/>
                  </a:lnTo>
                  <a:lnTo>
                    <a:pt x="1108" y="40"/>
                  </a:lnTo>
                  <a:lnTo>
                    <a:pt x="1108" y="43"/>
                  </a:lnTo>
                  <a:lnTo>
                    <a:pt x="1099" y="43"/>
                  </a:lnTo>
                  <a:lnTo>
                    <a:pt x="1092" y="50"/>
                  </a:lnTo>
                  <a:lnTo>
                    <a:pt x="1092" y="52"/>
                  </a:lnTo>
                  <a:lnTo>
                    <a:pt x="1089" y="57"/>
                  </a:lnTo>
                  <a:lnTo>
                    <a:pt x="1082" y="59"/>
                  </a:lnTo>
                  <a:lnTo>
                    <a:pt x="1082" y="57"/>
                  </a:lnTo>
                  <a:lnTo>
                    <a:pt x="1080" y="59"/>
                  </a:lnTo>
                  <a:lnTo>
                    <a:pt x="1075" y="69"/>
                  </a:lnTo>
                  <a:lnTo>
                    <a:pt x="1075" y="81"/>
                  </a:lnTo>
                  <a:lnTo>
                    <a:pt x="1066" y="85"/>
                  </a:lnTo>
                  <a:lnTo>
                    <a:pt x="1063" y="90"/>
                  </a:lnTo>
                  <a:lnTo>
                    <a:pt x="1056" y="90"/>
                  </a:lnTo>
                  <a:lnTo>
                    <a:pt x="1049" y="99"/>
                  </a:lnTo>
                  <a:lnTo>
                    <a:pt x="1047" y="104"/>
                  </a:lnTo>
                  <a:lnTo>
                    <a:pt x="1049" y="104"/>
                  </a:lnTo>
                  <a:lnTo>
                    <a:pt x="1051" y="107"/>
                  </a:lnTo>
                  <a:lnTo>
                    <a:pt x="1051" y="116"/>
                  </a:lnTo>
                  <a:lnTo>
                    <a:pt x="1049" y="121"/>
                  </a:lnTo>
                  <a:lnTo>
                    <a:pt x="1047" y="125"/>
                  </a:lnTo>
                  <a:lnTo>
                    <a:pt x="1042" y="130"/>
                  </a:lnTo>
                  <a:lnTo>
                    <a:pt x="1047" y="130"/>
                  </a:lnTo>
                  <a:lnTo>
                    <a:pt x="1051" y="144"/>
                  </a:lnTo>
                  <a:lnTo>
                    <a:pt x="1056" y="149"/>
                  </a:lnTo>
                  <a:lnTo>
                    <a:pt x="1051" y="154"/>
                  </a:lnTo>
                  <a:lnTo>
                    <a:pt x="1049" y="149"/>
                  </a:lnTo>
                  <a:lnTo>
                    <a:pt x="1047" y="149"/>
                  </a:lnTo>
                  <a:lnTo>
                    <a:pt x="1047" y="161"/>
                  </a:lnTo>
                  <a:lnTo>
                    <a:pt x="1042" y="170"/>
                  </a:lnTo>
                  <a:lnTo>
                    <a:pt x="1040" y="173"/>
                  </a:lnTo>
                  <a:lnTo>
                    <a:pt x="1040" y="189"/>
                  </a:lnTo>
                  <a:lnTo>
                    <a:pt x="1035" y="196"/>
                  </a:lnTo>
                  <a:lnTo>
                    <a:pt x="1032" y="196"/>
                  </a:lnTo>
                  <a:lnTo>
                    <a:pt x="1032" y="206"/>
                  </a:lnTo>
                  <a:lnTo>
                    <a:pt x="1035" y="210"/>
                  </a:lnTo>
                  <a:lnTo>
                    <a:pt x="1035" y="206"/>
                  </a:lnTo>
                  <a:lnTo>
                    <a:pt x="1035" y="210"/>
                  </a:lnTo>
                  <a:lnTo>
                    <a:pt x="1032" y="213"/>
                  </a:lnTo>
                  <a:lnTo>
                    <a:pt x="1032" y="220"/>
                  </a:lnTo>
                  <a:lnTo>
                    <a:pt x="1025" y="222"/>
                  </a:lnTo>
                  <a:lnTo>
                    <a:pt x="1023" y="220"/>
                  </a:lnTo>
                  <a:lnTo>
                    <a:pt x="1023" y="222"/>
                  </a:lnTo>
                  <a:lnTo>
                    <a:pt x="1018" y="222"/>
                  </a:lnTo>
                  <a:lnTo>
                    <a:pt x="1016" y="227"/>
                  </a:lnTo>
                  <a:lnTo>
                    <a:pt x="1016" y="229"/>
                  </a:lnTo>
                  <a:lnTo>
                    <a:pt x="1011" y="229"/>
                  </a:lnTo>
                  <a:lnTo>
                    <a:pt x="1009" y="234"/>
                  </a:lnTo>
                  <a:lnTo>
                    <a:pt x="1007" y="234"/>
                  </a:lnTo>
                  <a:lnTo>
                    <a:pt x="1007" y="241"/>
                  </a:lnTo>
                  <a:lnTo>
                    <a:pt x="999" y="241"/>
                  </a:lnTo>
                  <a:lnTo>
                    <a:pt x="992" y="246"/>
                  </a:lnTo>
                  <a:lnTo>
                    <a:pt x="983" y="251"/>
                  </a:lnTo>
                  <a:lnTo>
                    <a:pt x="971" y="260"/>
                  </a:lnTo>
                  <a:lnTo>
                    <a:pt x="966" y="262"/>
                  </a:lnTo>
                  <a:lnTo>
                    <a:pt x="962" y="270"/>
                  </a:lnTo>
                  <a:lnTo>
                    <a:pt x="959" y="274"/>
                  </a:lnTo>
                  <a:lnTo>
                    <a:pt x="959" y="277"/>
                  </a:lnTo>
                  <a:lnTo>
                    <a:pt x="955" y="281"/>
                  </a:lnTo>
                  <a:lnTo>
                    <a:pt x="952" y="281"/>
                  </a:lnTo>
                  <a:lnTo>
                    <a:pt x="955" y="277"/>
                  </a:lnTo>
                  <a:lnTo>
                    <a:pt x="955" y="274"/>
                  </a:lnTo>
                  <a:lnTo>
                    <a:pt x="959" y="270"/>
                  </a:lnTo>
                  <a:lnTo>
                    <a:pt x="959" y="267"/>
                  </a:lnTo>
                  <a:lnTo>
                    <a:pt x="955" y="270"/>
                  </a:lnTo>
                  <a:lnTo>
                    <a:pt x="952" y="277"/>
                  </a:lnTo>
                  <a:lnTo>
                    <a:pt x="947" y="277"/>
                  </a:lnTo>
                  <a:lnTo>
                    <a:pt x="947" y="274"/>
                  </a:lnTo>
                  <a:lnTo>
                    <a:pt x="936" y="274"/>
                  </a:lnTo>
                  <a:lnTo>
                    <a:pt x="936" y="277"/>
                  </a:lnTo>
                  <a:lnTo>
                    <a:pt x="926" y="281"/>
                  </a:lnTo>
                  <a:lnTo>
                    <a:pt x="912" y="281"/>
                  </a:lnTo>
                  <a:lnTo>
                    <a:pt x="912" y="284"/>
                  </a:lnTo>
                  <a:lnTo>
                    <a:pt x="905" y="286"/>
                  </a:lnTo>
                  <a:lnTo>
                    <a:pt x="895" y="291"/>
                  </a:lnTo>
                  <a:lnTo>
                    <a:pt x="879" y="300"/>
                  </a:lnTo>
                  <a:lnTo>
                    <a:pt x="874" y="303"/>
                  </a:lnTo>
                  <a:lnTo>
                    <a:pt x="874" y="307"/>
                  </a:lnTo>
                  <a:lnTo>
                    <a:pt x="869" y="310"/>
                  </a:lnTo>
                  <a:lnTo>
                    <a:pt x="862" y="314"/>
                  </a:lnTo>
                  <a:lnTo>
                    <a:pt x="855" y="314"/>
                  </a:lnTo>
                  <a:lnTo>
                    <a:pt x="855" y="317"/>
                  </a:lnTo>
                  <a:lnTo>
                    <a:pt x="841" y="317"/>
                  </a:lnTo>
                  <a:lnTo>
                    <a:pt x="834" y="319"/>
                  </a:lnTo>
                  <a:lnTo>
                    <a:pt x="829" y="326"/>
                  </a:lnTo>
                  <a:lnTo>
                    <a:pt x="829" y="331"/>
                  </a:lnTo>
                  <a:lnTo>
                    <a:pt x="822" y="331"/>
                  </a:lnTo>
                  <a:lnTo>
                    <a:pt x="815" y="333"/>
                  </a:lnTo>
                  <a:lnTo>
                    <a:pt x="813" y="331"/>
                  </a:lnTo>
                  <a:lnTo>
                    <a:pt x="813" y="333"/>
                  </a:lnTo>
                  <a:lnTo>
                    <a:pt x="808" y="333"/>
                  </a:lnTo>
                  <a:lnTo>
                    <a:pt x="801" y="340"/>
                  </a:lnTo>
                  <a:lnTo>
                    <a:pt x="799" y="343"/>
                  </a:lnTo>
                  <a:lnTo>
                    <a:pt x="789" y="347"/>
                  </a:lnTo>
                  <a:lnTo>
                    <a:pt x="775" y="355"/>
                  </a:lnTo>
                  <a:lnTo>
                    <a:pt x="768" y="355"/>
                  </a:lnTo>
                  <a:lnTo>
                    <a:pt x="761" y="359"/>
                  </a:lnTo>
                  <a:lnTo>
                    <a:pt x="758" y="359"/>
                  </a:lnTo>
                  <a:lnTo>
                    <a:pt x="754" y="364"/>
                  </a:lnTo>
                  <a:lnTo>
                    <a:pt x="751" y="366"/>
                  </a:lnTo>
                  <a:lnTo>
                    <a:pt x="749" y="371"/>
                  </a:lnTo>
                  <a:lnTo>
                    <a:pt x="735" y="371"/>
                  </a:lnTo>
                  <a:lnTo>
                    <a:pt x="735" y="381"/>
                  </a:lnTo>
                  <a:lnTo>
                    <a:pt x="732" y="383"/>
                  </a:lnTo>
                  <a:lnTo>
                    <a:pt x="728" y="383"/>
                  </a:lnTo>
                  <a:lnTo>
                    <a:pt x="721" y="388"/>
                  </a:lnTo>
                  <a:lnTo>
                    <a:pt x="716" y="388"/>
                  </a:lnTo>
                  <a:lnTo>
                    <a:pt x="716" y="383"/>
                  </a:lnTo>
                  <a:lnTo>
                    <a:pt x="711" y="383"/>
                  </a:lnTo>
                  <a:lnTo>
                    <a:pt x="711" y="388"/>
                  </a:lnTo>
                  <a:lnTo>
                    <a:pt x="709" y="390"/>
                  </a:lnTo>
                  <a:lnTo>
                    <a:pt x="704" y="404"/>
                  </a:lnTo>
                  <a:lnTo>
                    <a:pt x="704" y="407"/>
                  </a:lnTo>
                  <a:lnTo>
                    <a:pt x="702" y="414"/>
                  </a:lnTo>
                  <a:lnTo>
                    <a:pt x="697" y="416"/>
                  </a:lnTo>
                  <a:lnTo>
                    <a:pt x="697" y="435"/>
                  </a:lnTo>
                  <a:lnTo>
                    <a:pt x="695" y="435"/>
                  </a:lnTo>
                  <a:lnTo>
                    <a:pt x="695" y="444"/>
                  </a:lnTo>
                  <a:lnTo>
                    <a:pt x="697" y="461"/>
                  </a:lnTo>
                  <a:lnTo>
                    <a:pt x="697" y="463"/>
                  </a:lnTo>
                  <a:lnTo>
                    <a:pt x="702" y="468"/>
                  </a:lnTo>
                  <a:lnTo>
                    <a:pt x="702" y="484"/>
                  </a:lnTo>
                  <a:lnTo>
                    <a:pt x="697" y="487"/>
                  </a:lnTo>
                  <a:lnTo>
                    <a:pt x="695" y="487"/>
                  </a:lnTo>
                  <a:lnTo>
                    <a:pt x="688" y="492"/>
                  </a:lnTo>
                  <a:lnTo>
                    <a:pt x="685" y="494"/>
                  </a:lnTo>
                  <a:lnTo>
                    <a:pt x="671" y="501"/>
                  </a:lnTo>
                  <a:lnTo>
                    <a:pt x="671" y="503"/>
                  </a:lnTo>
                  <a:lnTo>
                    <a:pt x="662" y="508"/>
                  </a:lnTo>
                  <a:lnTo>
                    <a:pt x="664" y="510"/>
                  </a:lnTo>
                  <a:lnTo>
                    <a:pt x="664" y="525"/>
                  </a:lnTo>
                  <a:lnTo>
                    <a:pt x="657" y="532"/>
                  </a:lnTo>
                  <a:lnTo>
                    <a:pt x="652" y="532"/>
                  </a:lnTo>
                  <a:lnTo>
                    <a:pt x="647" y="534"/>
                  </a:lnTo>
                  <a:lnTo>
                    <a:pt x="645" y="536"/>
                  </a:lnTo>
                  <a:lnTo>
                    <a:pt x="645" y="548"/>
                  </a:lnTo>
                  <a:lnTo>
                    <a:pt x="638" y="560"/>
                  </a:lnTo>
                  <a:lnTo>
                    <a:pt x="631" y="572"/>
                  </a:lnTo>
                  <a:lnTo>
                    <a:pt x="631" y="577"/>
                  </a:lnTo>
                  <a:lnTo>
                    <a:pt x="636" y="581"/>
                  </a:lnTo>
                  <a:lnTo>
                    <a:pt x="636" y="584"/>
                  </a:lnTo>
                  <a:lnTo>
                    <a:pt x="631" y="588"/>
                  </a:lnTo>
                  <a:lnTo>
                    <a:pt x="629" y="591"/>
                  </a:lnTo>
                  <a:lnTo>
                    <a:pt x="629" y="598"/>
                  </a:lnTo>
                  <a:lnTo>
                    <a:pt x="631" y="600"/>
                  </a:lnTo>
                  <a:lnTo>
                    <a:pt x="629" y="617"/>
                  </a:lnTo>
                  <a:lnTo>
                    <a:pt x="629" y="622"/>
                  </a:lnTo>
                  <a:lnTo>
                    <a:pt x="621" y="631"/>
                  </a:lnTo>
                  <a:lnTo>
                    <a:pt x="621" y="638"/>
                  </a:lnTo>
                  <a:lnTo>
                    <a:pt x="612" y="638"/>
                  </a:lnTo>
                  <a:lnTo>
                    <a:pt x="607" y="633"/>
                  </a:lnTo>
                  <a:lnTo>
                    <a:pt x="605" y="633"/>
                  </a:lnTo>
                  <a:lnTo>
                    <a:pt x="600" y="631"/>
                  </a:lnTo>
                  <a:lnTo>
                    <a:pt x="598" y="633"/>
                  </a:lnTo>
                  <a:lnTo>
                    <a:pt x="591" y="633"/>
                  </a:lnTo>
                  <a:lnTo>
                    <a:pt x="591" y="638"/>
                  </a:lnTo>
                  <a:lnTo>
                    <a:pt x="588" y="638"/>
                  </a:lnTo>
                  <a:lnTo>
                    <a:pt x="581" y="633"/>
                  </a:lnTo>
                  <a:lnTo>
                    <a:pt x="572" y="633"/>
                  </a:lnTo>
                  <a:lnTo>
                    <a:pt x="560" y="638"/>
                  </a:lnTo>
                  <a:lnTo>
                    <a:pt x="539" y="638"/>
                  </a:lnTo>
                  <a:lnTo>
                    <a:pt x="539" y="640"/>
                  </a:lnTo>
                  <a:lnTo>
                    <a:pt x="534" y="640"/>
                  </a:lnTo>
                  <a:lnTo>
                    <a:pt x="551" y="640"/>
                  </a:lnTo>
                  <a:lnTo>
                    <a:pt x="555" y="645"/>
                  </a:lnTo>
                  <a:lnTo>
                    <a:pt x="565" y="638"/>
                  </a:lnTo>
                  <a:lnTo>
                    <a:pt x="598" y="638"/>
                  </a:lnTo>
                  <a:lnTo>
                    <a:pt x="598" y="633"/>
                  </a:lnTo>
                  <a:lnTo>
                    <a:pt x="605" y="638"/>
                  </a:lnTo>
                  <a:lnTo>
                    <a:pt x="617" y="640"/>
                  </a:lnTo>
                  <a:lnTo>
                    <a:pt x="617" y="681"/>
                  </a:lnTo>
                  <a:lnTo>
                    <a:pt x="614" y="685"/>
                  </a:lnTo>
                  <a:lnTo>
                    <a:pt x="612" y="688"/>
                  </a:lnTo>
                  <a:lnTo>
                    <a:pt x="612" y="704"/>
                  </a:lnTo>
                  <a:lnTo>
                    <a:pt x="607" y="709"/>
                  </a:lnTo>
                  <a:lnTo>
                    <a:pt x="600" y="714"/>
                  </a:lnTo>
                  <a:lnTo>
                    <a:pt x="600" y="718"/>
                  </a:lnTo>
                  <a:lnTo>
                    <a:pt x="598" y="725"/>
                  </a:lnTo>
                  <a:lnTo>
                    <a:pt x="598" y="728"/>
                  </a:lnTo>
                  <a:lnTo>
                    <a:pt x="600" y="730"/>
                  </a:lnTo>
                  <a:lnTo>
                    <a:pt x="598" y="744"/>
                  </a:lnTo>
                  <a:lnTo>
                    <a:pt x="598" y="747"/>
                  </a:lnTo>
                  <a:lnTo>
                    <a:pt x="595" y="751"/>
                  </a:lnTo>
                  <a:lnTo>
                    <a:pt x="595" y="754"/>
                  </a:lnTo>
                  <a:lnTo>
                    <a:pt x="591" y="754"/>
                  </a:lnTo>
                  <a:lnTo>
                    <a:pt x="591" y="759"/>
                  </a:lnTo>
                  <a:lnTo>
                    <a:pt x="588" y="759"/>
                  </a:lnTo>
                  <a:lnTo>
                    <a:pt x="588" y="761"/>
                  </a:lnTo>
                  <a:lnTo>
                    <a:pt x="581" y="770"/>
                  </a:lnTo>
                  <a:lnTo>
                    <a:pt x="579" y="777"/>
                  </a:lnTo>
                  <a:lnTo>
                    <a:pt x="579" y="792"/>
                  </a:lnTo>
                  <a:lnTo>
                    <a:pt x="581" y="785"/>
                  </a:lnTo>
                  <a:lnTo>
                    <a:pt x="581" y="777"/>
                  </a:lnTo>
                  <a:lnTo>
                    <a:pt x="584" y="777"/>
                  </a:lnTo>
                  <a:lnTo>
                    <a:pt x="591" y="775"/>
                  </a:lnTo>
                  <a:lnTo>
                    <a:pt x="600" y="766"/>
                  </a:lnTo>
                  <a:lnTo>
                    <a:pt x="600" y="761"/>
                  </a:lnTo>
                  <a:lnTo>
                    <a:pt x="605" y="759"/>
                  </a:lnTo>
                  <a:lnTo>
                    <a:pt x="607" y="754"/>
                  </a:lnTo>
                  <a:lnTo>
                    <a:pt x="612" y="751"/>
                  </a:lnTo>
                  <a:lnTo>
                    <a:pt x="612" y="747"/>
                  </a:lnTo>
                  <a:lnTo>
                    <a:pt x="614" y="747"/>
                  </a:lnTo>
                  <a:lnTo>
                    <a:pt x="617" y="735"/>
                  </a:lnTo>
                  <a:lnTo>
                    <a:pt x="617" y="728"/>
                  </a:lnTo>
                  <a:lnTo>
                    <a:pt x="624" y="714"/>
                  </a:lnTo>
                  <a:lnTo>
                    <a:pt x="624" y="697"/>
                  </a:lnTo>
                  <a:lnTo>
                    <a:pt x="629" y="695"/>
                  </a:lnTo>
                  <a:lnTo>
                    <a:pt x="631" y="685"/>
                  </a:lnTo>
                  <a:lnTo>
                    <a:pt x="636" y="671"/>
                  </a:lnTo>
                  <a:lnTo>
                    <a:pt x="636" y="655"/>
                  </a:lnTo>
                  <a:lnTo>
                    <a:pt x="638" y="650"/>
                  </a:lnTo>
                  <a:lnTo>
                    <a:pt x="638" y="645"/>
                  </a:lnTo>
                  <a:lnTo>
                    <a:pt x="645" y="633"/>
                  </a:lnTo>
                  <a:lnTo>
                    <a:pt x="647" y="622"/>
                  </a:lnTo>
                  <a:lnTo>
                    <a:pt x="647" y="617"/>
                  </a:lnTo>
                  <a:lnTo>
                    <a:pt x="652" y="614"/>
                  </a:lnTo>
                  <a:lnTo>
                    <a:pt x="655" y="612"/>
                  </a:lnTo>
                  <a:lnTo>
                    <a:pt x="655" y="607"/>
                  </a:lnTo>
                  <a:lnTo>
                    <a:pt x="657" y="600"/>
                  </a:lnTo>
                  <a:lnTo>
                    <a:pt x="664" y="593"/>
                  </a:lnTo>
                  <a:lnTo>
                    <a:pt x="671" y="584"/>
                  </a:lnTo>
                  <a:lnTo>
                    <a:pt x="671" y="574"/>
                  </a:lnTo>
                  <a:lnTo>
                    <a:pt x="678" y="574"/>
                  </a:lnTo>
                  <a:lnTo>
                    <a:pt x="678" y="567"/>
                  </a:lnTo>
                  <a:lnTo>
                    <a:pt x="681" y="565"/>
                  </a:lnTo>
                  <a:lnTo>
                    <a:pt x="681" y="560"/>
                  </a:lnTo>
                  <a:lnTo>
                    <a:pt x="685" y="560"/>
                  </a:lnTo>
                  <a:lnTo>
                    <a:pt x="685" y="558"/>
                  </a:lnTo>
                  <a:lnTo>
                    <a:pt x="692" y="551"/>
                  </a:lnTo>
                  <a:lnTo>
                    <a:pt x="702" y="536"/>
                  </a:lnTo>
                  <a:lnTo>
                    <a:pt x="709" y="527"/>
                  </a:lnTo>
                  <a:lnTo>
                    <a:pt x="721" y="513"/>
                  </a:lnTo>
                  <a:lnTo>
                    <a:pt x="728" y="508"/>
                  </a:lnTo>
                  <a:lnTo>
                    <a:pt x="732" y="503"/>
                  </a:lnTo>
                  <a:lnTo>
                    <a:pt x="735" y="501"/>
                  </a:lnTo>
                  <a:lnTo>
                    <a:pt x="742" y="492"/>
                  </a:lnTo>
                  <a:lnTo>
                    <a:pt x="761" y="470"/>
                  </a:lnTo>
                  <a:lnTo>
                    <a:pt x="766" y="468"/>
                  </a:lnTo>
                  <a:lnTo>
                    <a:pt x="773" y="463"/>
                  </a:lnTo>
                  <a:lnTo>
                    <a:pt x="784" y="456"/>
                  </a:lnTo>
                  <a:lnTo>
                    <a:pt x="792" y="451"/>
                  </a:lnTo>
                  <a:lnTo>
                    <a:pt x="799" y="444"/>
                  </a:lnTo>
                  <a:lnTo>
                    <a:pt x="806" y="444"/>
                  </a:lnTo>
                  <a:lnTo>
                    <a:pt x="808" y="440"/>
                  </a:lnTo>
                  <a:lnTo>
                    <a:pt x="829" y="437"/>
                  </a:lnTo>
                  <a:lnTo>
                    <a:pt x="832" y="435"/>
                  </a:lnTo>
                  <a:lnTo>
                    <a:pt x="841" y="435"/>
                  </a:lnTo>
                  <a:lnTo>
                    <a:pt x="841" y="437"/>
                  </a:lnTo>
                  <a:lnTo>
                    <a:pt x="848" y="435"/>
                  </a:lnTo>
                  <a:lnTo>
                    <a:pt x="853" y="435"/>
                  </a:lnTo>
                  <a:lnTo>
                    <a:pt x="869" y="437"/>
                  </a:lnTo>
                  <a:lnTo>
                    <a:pt x="879" y="444"/>
                  </a:lnTo>
                  <a:lnTo>
                    <a:pt x="881" y="444"/>
                  </a:lnTo>
                  <a:lnTo>
                    <a:pt x="888" y="454"/>
                  </a:lnTo>
                  <a:lnTo>
                    <a:pt x="886" y="451"/>
                  </a:lnTo>
                  <a:lnTo>
                    <a:pt x="872" y="451"/>
                  </a:lnTo>
                  <a:lnTo>
                    <a:pt x="865" y="454"/>
                  </a:lnTo>
                  <a:lnTo>
                    <a:pt x="869" y="454"/>
                  </a:lnTo>
                  <a:lnTo>
                    <a:pt x="874" y="456"/>
                  </a:lnTo>
                  <a:lnTo>
                    <a:pt x="886" y="461"/>
                  </a:lnTo>
                  <a:lnTo>
                    <a:pt x="891" y="463"/>
                  </a:lnTo>
                  <a:lnTo>
                    <a:pt x="888" y="468"/>
                  </a:lnTo>
                  <a:lnTo>
                    <a:pt x="888" y="470"/>
                  </a:lnTo>
                  <a:lnTo>
                    <a:pt x="891" y="475"/>
                  </a:lnTo>
                  <a:lnTo>
                    <a:pt x="891" y="470"/>
                  </a:lnTo>
                  <a:lnTo>
                    <a:pt x="895" y="475"/>
                  </a:lnTo>
                  <a:lnTo>
                    <a:pt x="895" y="477"/>
                  </a:lnTo>
                  <a:lnTo>
                    <a:pt x="891" y="484"/>
                  </a:lnTo>
                  <a:lnTo>
                    <a:pt x="888" y="487"/>
                  </a:lnTo>
                  <a:lnTo>
                    <a:pt x="886" y="492"/>
                  </a:lnTo>
                  <a:lnTo>
                    <a:pt x="881" y="494"/>
                  </a:lnTo>
                  <a:lnTo>
                    <a:pt x="879" y="501"/>
                  </a:lnTo>
                  <a:lnTo>
                    <a:pt x="879" y="513"/>
                  </a:lnTo>
                  <a:lnTo>
                    <a:pt x="874" y="518"/>
                  </a:lnTo>
                  <a:lnTo>
                    <a:pt x="872" y="520"/>
                  </a:lnTo>
                  <a:lnTo>
                    <a:pt x="872" y="525"/>
                  </a:lnTo>
                  <a:lnTo>
                    <a:pt x="865" y="536"/>
                  </a:lnTo>
                  <a:lnTo>
                    <a:pt x="862" y="536"/>
                  </a:lnTo>
                  <a:lnTo>
                    <a:pt x="862" y="541"/>
                  </a:lnTo>
                  <a:lnTo>
                    <a:pt x="858" y="544"/>
                  </a:lnTo>
                  <a:lnTo>
                    <a:pt x="853" y="548"/>
                  </a:lnTo>
                  <a:lnTo>
                    <a:pt x="848" y="548"/>
                  </a:lnTo>
                  <a:lnTo>
                    <a:pt x="848" y="544"/>
                  </a:lnTo>
                  <a:lnTo>
                    <a:pt x="834" y="548"/>
                  </a:lnTo>
                  <a:lnTo>
                    <a:pt x="832" y="548"/>
                  </a:lnTo>
                  <a:lnTo>
                    <a:pt x="818" y="544"/>
                  </a:lnTo>
                  <a:lnTo>
                    <a:pt x="815" y="548"/>
                  </a:lnTo>
                  <a:lnTo>
                    <a:pt x="815" y="551"/>
                  </a:lnTo>
                  <a:lnTo>
                    <a:pt x="813" y="558"/>
                  </a:lnTo>
                  <a:lnTo>
                    <a:pt x="806" y="558"/>
                  </a:lnTo>
                  <a:lnTo>
                    <a:pt x="794" y="560"/>
                  </a:lnTo>
                  <a:lnTo>
                    <a:pt x="794" y="565"/>
                  </a:lnTo>
                  <a:lnTo>
                    <a:pt x="792" y="565"/>
                  </a:lnTo>
                  <a:lnTo>
                    <a:pt x="792" y="567"/>
                  </a:lnTo>
                  <a:lnTo>
                    <a:pt x="784" y="577"/>
                  </a:lnTo>
                  <a:lnTo>
                    <a:pt x="777" y="584"/>
                  </a:lnTo>
                  <a:lnTo>
                    <a:pt x="775" y="584"/>
                  </a:lnTo>
                  <a:lnTo>
                    <a:pt x="775" y="591"/>
                  </a:lnTo>
                  <a:lnTo>
                    <a:pt x="773" y="593"/>
                  </a:lnTo>
                  <a:lnTo>
                    <a:pt x="766" y="598"/>
                  </a:lnTo>
                  <a:lnTo>
                    <a:pt x="754" y="605"/>
                  </a:lnTo>
                  <a:lnTo>
                    <a:pt x="751" y="607"/>
                  </a:lnTo>
                  <a:lnTo>
                    <a:pt x="742" y="605"/>
                  </a:lnTo>
                  <a:lnTo>
                    <a:pt x="737" y="605"/>
                  </a:lnTo>
                  <a:lnTo>
                    <a:pt x="735" y="600"/>
                  </a:lnTo>
                  <a:lnTo>
                    <a:pt x="728" y="605"/>
                  </a:lnTo>
                  <a:lnTo>
                    <a:pt x="725" y="607"/>
                  </a:lnTo>
                  <a:lnTo>
                    <a:pt x="709" y="614"/>
                  </a:lnTo>
                  <a:lnTo>
                    <a:pt x="711" y="614"/>
                  </a:lnTo>
                  <a:lnTo>
                    <a:pt x="711" y="622"/>
                  </a:lnTo>
                  <a:lnTo>
                    <a:pt x="697" y="624"/>
                  </a:lnTo>
                  <a:lnTo>
                    <a:pt x="702" y="631"/>
                  </a:lnTo>
                  <a:lnTo>
                    <a:pt x="702" y="633"/>
                  </a:lnTo>
                  <a:lnTo>
                    <a:pt x="704" y="638"/>
                  </a:lnTo>
                  <a:lnTo>
                    <a:pt x="711" y="655"/>
                  </a:lnTo>
                  <a:lnTo>
                    <a:pt x="711" y="657"/>
                  </a:lnTo>
                  <a:lnTo>
                    <a:pt x="704" y="671"/>
                  </a:lnTo>
                  <a:lnTo>
                    <a:pt x="695" y="681"/>
                  </a:lnTo>
                  <a:lnTo>
                    <a:pt x="692" y="685"/>
                  </a:lnTo>
                  <a:lnTo>
                    <a:pt x="685" y="695"/>
                  </a:lnTo>
                  <a:lnTo>
                    <a:pt x="681" y="695"/>
                  </a:lnTo>
                  <a:lnTo>
                    <a:pt x="681" y="685"/>
                  </a:lnTo>
                  <a:lnTo>
                    <a:pt x="678" y="681"/>
                  </a:lnTo>
                  <a:lnTo>
                    <a:pt x="676" y="681"/>
                  </a:lnTo>
                  <a:lnTo>
                    <a:pt x="669" y="685"/>
                  </a:lnTo>
                  <a:lnTo>
                    <a:pt x="664" y="690"/>
                  </a:lnTo>
                  <a:lnTo>
                    <a:pt x="664" y="704"/>
                  </a:lnTo>
                  <a:lnTo>
                    <a:pt x="657" y="728"/>
                  </a:lnTo>
                  <a:lnTo>
                    <a:pt x="657" y="735"/>
                  </a:lnTo>
                  <a:lnTo>
                    <a:pt x="655" y="747"/>
                  </a:lnTo>
                  <a:lnTo>
                    <a:pt x="652" y="766"/>
                  </a:lnTo>
                  <a:lnTo>
                    <a:pt x="652" y="768"/>
                  </a:lnTo>
                  <a:lnTo>
                    <a:pt x="655" y="775"/>
                  </a:lnTo>
                  <a:lnTo>
                    <a:pt x="655" y="785"/>
                  </a:lnTo>
                  <a:lnTo>
                    <a:pt x="657" y="787"/>
                  </a:lnTo>
                  <a:lnTo>
                    <a:pt x="657" y="792"/>
                  </a:lnTo>
                  <a:lnTo>
                    <a:pt x="655" y="792"/>
                  </a:lnTo>
                  <a:lnTo>
                    <a:pt x="655" y="794"/>
                  </a:lnTo>
                  <a:lnTo>
                    <a:pt x="652" y="801"/>
                  </a:lnTo>
                  <a:lnTo>
                    <a:pt x="652" y="815"/>
                  </a:lnTo>
                  <a:lnTo>
                    <a:pt x="655" y="825"/>
                  </a:lnTo>
                  <a:lnTo>
                    <a:pt x="657" y="834"/>
                  </a:lnTo>
                  <a:lnTo>
                    <a:pt x="662" y="834"/>
                  </a:lnTo>
                  <a:lnTo>
                    <a:pt x="662" y="839"/>
                  </a:lnTo>
                  <a:lnTo>
                    <a:pt x="657" y="851"/>
                  </a:lnTo>
                  <a:lnTo>
                    <a:pt x="657" y="862"/>
                  </a:lnTo>
                  <a:lnTo>
                    <a:pt x="655" y="865"/>
                  </a:lnTo>
                  <a:lnTo>
                    <a:pt x="652" y="867"/>
                  </a:lnTo>
                  <a:lnTo>
                    <a:pt x="652" y="872"/>
                  </a:lnTo>
                  <a:lnTo>
                    <a:pt x="647" y="879"/>
                  </a:lnTo>
                  <a:lnTo>
                    <a:pt x="647" y="884"/>
                  </a:lnTo>
                  <a:lnTo>
                    <a:pt x="652" y="884"/>
                  </a:lnTo>
                  <a:lnTo>
                    <a:pt x="647" y="907"/>
                  </a:lnTo>
                  <a:lnTo>
                    <a:pt x="638" y="905"/>
                  </a:lnTo>
                  <a:lnTo>
                    <a:pt x="636" y="907"/>
                  </a:lnTo>
                  <a:lnTo>
                    <a:pt x="631" y="914"/>
                  </a:lnTo>
                  <a:lnTo>
                    <a:pt x="624" y="914"/>
                  </a:lnTo>
                  <a:lnTo>
                    <a:pt x="621" y="912"/>
                  </a:lnTo>
                  <a:lnTo>
                    <a:pt x="621" y="914"/>
                  </a:lnTo>
                  <a:lnTo>
                    <a:pt x="617" y="922"/>
                  </a:lnTo>
                  <a:lnTo>
                    <a:pt x="621" y="931"/>
                  </a:lnTo>
                  <a:lnTo>
                    <a:pt x="617" y="936"/>
                  </a:lnTo>
                  <a:lnTo>
                    <a:pt x="617" y="938"/>
                  </a:lnTo>
                  <a:lnTo>
                    <a:pt x="621" y="943"/>
                  </a:lnTo>
                  <a:lnTo>
                    <a:pt x="617" y="943"/>
                  </a:lnTo>
                  <a:lnTo>
                    <a:pt x="598" y="952"/>
                  </a:lnTo>
                  <a:lnTo>
                    <a:pt x="588" y="955"/>
                  </a:lnTo>
                  <a:lnTo>
                    <a:pt x="574" y="959"/>
                  </a:lnTo>
                  <a:lnTo>
                    <a:pt x="565" y="962"/>
                  </a:lnTo>
                  <a:lnTo>
                    <a:pt x="560" y="964"/>
                  </a:lnTo>
                  <a:lnTo>
                    <a:pt x="543" y="969"/>
                  </a:lnTo>
                  <a:lnTo>
                    <a:pt x="534" y="971"/>
                  </a:lnTo>
                  <a:lnTo>
                    <a:pt x="510" y="981"/>
                  </a:lnTo>
                  <a:lnTo>
                    <a:pt x="494" y="988"/>
                  </a:lnTo>
                  <a:lnTo>
                    <a:pt x="477" y="995"/>
                  </a:lnTo>
                  <a:lnTo>
                    <a:pt x="458" y="1002"/>
                  </a:lnTo>
                  <a:lnTo>
                    <a:pt x="435" y="1009"/>
                  </a:lnTo>
                  <a:lnTo>
                    <a:pt x="435" y="1004"/>
                  </a:lnTo>
                  <a:lnTo>
                    <a:pt x="437" y="1004"/>
                  </a:lnTo>
                  <a:lnTo>
                    <a:pt x="437" y="1002"/>
                  </a:lnTo>
                  <a:lnTo>
                    <a:pt x="442" y="1002"/>
                  </a:lnTo>
                  <a:lnTo>
                    <a:pt x="442" y="999"/>
                  </a:lnTo>
                  <a:lnTo>
                    <a:pt x="447" y="985"/>
                  </a:lnTo>
                  <a:lnTo>
                    <a:pt x="442" y="981"/>
                  </a:lnTo>
                  <a:lnTo>
                    <a:pt x="437" y="978"/>
                  </a:lnTo>
                  <a:lnTo>
                    <a:pt x="435" y="976"/>
                  </a:lnTo>
                  <a:lnTo>
                    <a:pt x="435" y="955"/>
                  </a:lnTo>
                  <a:lnTo>
                    <a:pt x="418" y="955"/>
                  </a:lnTo>
                  <a:lnTo>
                    <a:pt x="402" y="959"/>
                  </a:lnTo>
                  <a:lnTo>
                    <a:pt x="397" y="962"/>
                  </a:lnTo>
                  <a:lnTo>
                    <a:pt x="395" y="964"/>
                  </a:lnTo>
                  <a:lnTo>
                    <a:pt x="395" y="969"/>
                  </a:lnTo>
                  <a:lnTo>
                    <a:pt x="388" y="969"/>
                  </a:lnTo>
                  <a:lnTo>
                    <a:pt x="385" y="971"/>
                  </a:lnTo>
                  <a:lnTo>
                    <a:pt x="371" y="981"/>
                  </a:lnTo>
                  <a:lnTo>
                    <a:pt x="366" y="985"/>
                  </a:lnTo>
                  <a:lnTo>
                    <a:pt x="362" y="992"/>
                  </a:lnTo>
                  <a:lnTo>
                    <a:pt x="357" y="995"/>
                  </a:lnTo>
                  <a:lnTo>
                    <a:pt x="357" y="999"/>
                  </a:lnTo>
                  <a:lnTo>
                    <a:pt x="350" y="999"/>
                  </a:lnTo>
                  <a:lnTo>
                    <a:pt x="347" y="995"/>
                  </a:lnTo>
                  <a:lnTo>
                    <a:pt x="345" y="995"/>
                  </a:lnTo>
                  <a:lnTo>
                    <a:pt x="338" y="992"/>
                  </a:lnTo>
                  <a:lnTo>
                    <a:pt x="331" y="992"/>
                  </a:lnTo>
                  <a:lnTo>
                    <a:pt x="331" y="995"/>
                  </a:lnTo>
                  <a:lnTo>
                    <a:pt x="326" y="995"/>
                  </a:lnTo>
                  <a:lnTo>
                    <a:pt x="326" y="999"/>
                  </a:lnTo>
                  <a:lnTo>
                    <a:pt x="324" y="1002"/>
                  </a:lnTo>
                  <a:lnTo>
                    <a:pt x="321" y="1002"/>
                  </a:lnTo>
                  <a:lnTo>
                    <a:pt x="317" y="999"/>
                  </a:lnTo>
                  <a:lnTo>
                    <a:pt x="305" y="999"/>
                  </a:lnTo>
                  <a:lnTo>
                    <a:pt x="300" y="995"/>
                  </a:lnTo>
                  <a:lnTo>
                    <a:pt x="286" y="981"/>
                  </a:lnTo>
                  <a:lnTo>
                    <a:pt x="286" y="978"/>
                  </a:lnTo>
                  <a:lnTo>
                    <a:pt x="284" y="976"/>
                  </a:lnTo>
                  <a:lnTo>
                    <a:pt x="277" y="976"/>
                  </a:lnTo>
                  <a:lnTo>
                    <a:pt x="277" y="985"/>
                  </a:lnTo>
                  <a:lnTo>
                    <a:pt x="274" y="985"/>
                  </a:lnTo>
                  <a:lnTo>
                    <a:pt x="265" y="981"/>
                  </a:lnTo>
                  <a:lnTo>
                    <a:pt x="260" y="981"/>
                  </a:lnTo>
                  <a:lnTo>
                    <a:pt x="258" y="978"/>
                  </a:lnTo>
                  <a:lnTo>
                    <a:pt x="253" y="978"/>
                  </a:lnTo>
                  <a:lnTo>
                    <a:pt x="253" y="976"/>
                  </a:lnTo>
                  <a:lnTo>
                    <a:pt x="251" y="971"/>
                  </a:lnTo>
                  <a:lnTo>
                    <a:pt x="251" y="969"/>
                  </a:lnTo>
                  <a:lnTo>
                    <a:pt x="241" y="964"/>
                  </a:lnTo>
                  <a:lnTo>
                    <a:pt x="236" y="964"/>
                  </a:lnTo>
                  <a:lnTo>
                    <a:pt x="234" y="962"/>
                  </a:lnTo>
                  <a:lnTo>
                    <a:pt x="196" y="962"/>
                  </a:lnTo>
                  <a:lnTo>
                    <a:pt x="189" y="964"/>
                  </a:lnTo>
                  <a:lnTo>
                    <a:pt x="161" y="964"/>
                  </a:lnTo>
                  <a:lnTo>
                    <a:pt x="156" y="962"/>
                  </a:lnTo>
                  <a:lnTo>
                    <a:pt x="154" y="962"/>
                  </a:lnTo>
                  <a:lnTo>
                    <a:pt x="154" y="959"/>
                  </a:lnTo>
                  <a:lnTo>
                    <a:pt x="144" y="959"/>
                  </a:lnTo>
                  <a:lnTo>
                    <a:pt x="144" y="955"/>
                  </a:lnTo>
                  <a:lnTo>
                    <a:pt x="140" y="952"/>
                  </a:lnTo>
                  <a:lnTo>
                    <a:pt x="130" y="943"/>
                  </a:lnTo>
                  <a:lnTo>
                    <a:pt x="128" y="936"/>
                  </a:lnTo>
                  <a:lnTo>
                    <a:pt x="111" y="924"/>
                  </a:lnTo>
                  <a:lnTo>
                    <a:pt x="99" y="914"/>
                  </a:lnTo>
                  <a:lnTo>
                    <a:pt x="99" y="912"/>
                  </a:lnTo>
                  <a:lnTo>
                    <a:pt x="97" y="907"/>
                  </a:lnTo>
                  <a:lnTo>
                    <a:pt x="97" y="896"/>
                  </a:lnTo>
                  <a:lnTo>
                    <a:pt x="90" y="891"/>
                  </a:lnTo>
                  <a:lnTo>
                    <a:pt x="88" y="888"/>
                  </a:lnTo>
                  <a:lnTo>
                    <a:pt x="83" y="884"/>
                  </a:lnTo>
                  <a:lnTo>
                    <a:pt x="83" y="862"/>
                  </a:lnTo>
                  <a:lnTo>
                    <a:pt x="76" y="841"/>
                  </a:lnTo>
                  <a:lnTo>
                    <a:pt x="64" y="799"/>
                  </a:lnTo>
                  <a:lnTo>
                    <a:pt x="59" y="777"/>
                  </a:lnTo>
                  <a:lnTo>
                    <a:pt x="52" y="766"/>
                  </a:lnTo>
                  <a:lnTo>
                    <a:pt x="50" y="744"/>
                  </a:lnTo>
                  <a:lnTo>
                    <a:pt x="33" y="685"/>
                  </a:lnTo>
                  <a:lnTo>
                    <a:pt x="19" y="645"/>
                  </a:lnTo>
                  <a:lnTo>
                    <a:pt x="19" y="638"/>
                  </a:lnTo>
                  <a:lnTo>
                    <a:pt x="14" y="614"/>
                  </a:lnTo>
                  <a:lnTo>
                    <a:pt x="14" y="612"/>
                  </a:lnTo>
                  <a:lnTo>
                    <a:pt x="10" y="600"/>
                  </a:lnTo>
                  <a:lnTo>
                    <a:pt x="7" y="591"/>
                  </a:lnTo>
                  <a:lnTo>
                    <a:pt x="3" y="581"/>
                  </a:lnTo>
                  <a:lnTo>
                    <a:pt x="3" y="577"/>
                  </a:lnTo>
                  <a:lnTo>
                    <a:pt x="3" y="581"/>
                  </a:lnTo>
                  <a:lnTo>
                    <a:pt x="7" y="581"/>
                  </a:lnTo>
                  <a:lnTo>
                    <a:pt x="10" y="584"/>
                  </a:lnTo>
                  <a:lnTo>
                    <a:pt x="14" y="584"/>
                  </a:lnTo>
                  <a:lnTo>
                    <a:pt x="19" y="593"/>
                  </a:lnTo>
                  <a:lnTo>
                    <a:pt x="19" y="591"/>
                  </a:lnTo>
                  <a:lnTo>
                    <a:pt x="10" y="584"/>
                  </a:lnTo>
                  <a:lnTo>
                    <a:pt x="10" y="581"/>
                  </a:lnTo>
                  <a:lnTo>
                    <a:pt x="7" y="581"/>
                  </a:lnTo>
                  <a:lnTo>
                    <a:pt x="3" y="577"/>
                  </a:lnTo>
                  <a:lnTo>
                    <a:pt x="3" y="574"/>
                  </a:lnTo>
                  <a:lnTo>
                    <a:pt x="0" y="57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4" name="Freeform 158">
              <a:extLst>
                <a:ext uri="{FF2B5EF4-FFF2-40B4-BE49-F238E27FC236}">
                  <a16:creationId xmlns:a16="http://schemas.microsoft.com/office/drawing/2014/main" id="{727A8F11-3AE3-4FE4-BC3D-7CD2DB0FA2BB}"/>
                </a:ext>
              </a:extLst>
            </p:cNvPr>
            <p:cNvSpPr>
              <a:spLocks/>
            </p:cNvSpPr>
            <p:nvPr/>
          </p:nvSpPr>
          <p:spPr bwMode="gray">
            <a:xfrm rot="47099">
              <a:off x="1881307" y="2297694"/>
              <a:ext cx="417697" cy="493993"/>
            </a:xfrm>
            <a:custGeom>
              <a:avLst/>
              <a:gdLst>
                <a:gd name="T0" fmla="*/ 244 w 898"/>
                <a:gd name="T1" fmla="*/ 1014 h 1063"/>
                <a:gd name="T2" fmla="*/ 258 w 898"/>
                <a:gd name="T3" fmla="*/ 997 h 1063"/>
                <a:gd name="T4" fmla="*/ 258 w 898"/>
                <a:gd name="T5" fmla="*/ 929 h 1063"/>
                <a:gd name="T6" fmla="*/ 218 w 898"/>
                <a:gd name="T7" fmla="*/ 879 h 1063"/>
                <a:gd name="T8" fmla="*/ 194 w 898"/>
                <a:gd name="T9" fmla="*/ 822 h 1063"/>
                <a:gd name="T10" fmla="*/ 168 w 898"/>
                <a:gd name="T11" fmla="*/ 782 h 1063"/>
                <a:gd name="T12" fmla="*/ 168 w 898"/>
                <a:gd name="T13" fmla="*/ 723 h 1063"/>
                <a:gd name="T14" fmla="*/ 220 w 898"/>
                <a:gd name="T15" fmla="*/ 655 h 1063"/>
                <a:gd name="T16" fmla="*/ 234 w 898"/>
                <a:gd name="T17" fmla="*/ 529 h 1063"/>
                <a:gd name="T18" fmla="*/ 185 w 898"/>
                <a:gd name="T19" fmla="*/ 442 h 1063"/>
                <a:gd name="T20" fmla="*/ 97 w 898"/>
                <a:gd name="T21" fmla="*/ 392 h 1063"/>
                <a:gd name="T22" fmla="*/ 90 w 898"/>
                <a:gd name="T23" fmla="*/ 364 h 1063"/>
                <a:gd name="T24" fmla="*/ 92 w 898"/>
                <a:gd name="T25" fmla="*/ 295 h 1063"/>
                <a:gd name="T26" fmla="*/ 104 w 898"/>
                <a:gd name="T27" fmla="*/ 279 h 1063"/>
                <a:gd name="T28" fmla="*/ 90 w 898"/>
                <a:gd name="T29" fmla="*/ 258 h 1063"/>
                <a:gd name="T30" fmla="*/ 64 w 898"/>
                <a:gd name="T31" fmla="*/ 215 h 1063"/>
                <a:gd name="T32" fmla="*/ 48 w 898"/>
                <a:gd name="T33" fmla="*/ 177 h 1063"/>
                <a:gd name="T34" fmla="*/ 36 w 898"/>
                <a:gd name="T35" fmla="*/ 125 h 1063"/>
                <a:gd name="T36" fmla="*/ 7 w 898"/>
                <a:gd name="T37" fmla="*/ 64 h 1063"/>
                <a:gd name="T38" fmla="*/ 100 w 898"/>
                <a:gd name="T39" fmla="*/ 55 h 1063"/>
                <a:gd name="T40" fmla="*/ 137 w 898"/>
                <a:gd name="T41" fmla="*/ 33 h 1063"/>
                <a:gd name="T42" fmla="*/ 203 w 898"/>
                <a:gd name="T43" fmla="*/ 14 h 1063"/>
                <a:gd name="T44" fmla="*/ 260 w 898"/>
                <a:gd name="T45" fmla="*/ 38 h 1063"/>
                <a:gd name="T46" fmla="*/ 284 w 898"/>
                <a:gd name="T47" fmla="*/ 47 h 1063"/>
                <a:gd name="T48" fmla="*/ 345 w 898"/>
                <a:gd name="T49" fmla="*/ 69 h 1063"/>
                <a:gd name="T50" fmla="*/ 388 w 898"/>
                <a:gd name="T51" fmla="*/ 69 h 1063"/>
                <a:gd name="T52" fmla="*/ 390 w 898"/>
                <a:gd name="T53" fmla="*/ 85 h 1063"/>
                <a:gd name="T54" fmla="*/ 411 w 898"/>
                <a:gd name="T55" fmla="*/ 142 h 1063"/>
                <a:gd name="T56" fmla="*/ 430 w 898"/>
                <a:gd name="T57" fmla="*/ 158 h 1063"/>
                <a:gd name="T58" fmla="*/ 463 w 898"/>
                <a:gd name="T59" fmla="*/ 187 h 1063"/>
                <a:gd name="T60" fmla="*/ 470 w 898"/>
                <a:gd name="T61" fmla="*/ 239 h 1063"/>
                <a:gd name="T62" fmla="*/ 451 w 898"/>
                <a:gd name="T63" fmla="*/ 251 h 1063"/>
                <a:gd name="T64" fmla="*/ 492 w 898"/>
                <a:gd name="T65" fmla="*/ 222 h 1063"/>
                <a:gd name="T66" fmla="*/ 544 w 898"/>
                <a:gd name="T67" fmla="*/ 248 h 1063"/>
                <a:gd name="T68" fmla="*/ 525 w 898"/>
                <a:gd name="T69" fmla="*/ 305 h 1063"/>
                <a:gd name="T70" fmla="*/ 541 w 898"/>
                <a:gd name="T71" fmla="*/ 239 h 1063"/>
                <a:gd name="T72" fmla="*/ 565 w 898"/>
                <a:gd name="T73" fmla="*/ 251 h 1063"/>
                <a:gd name="T74" fmla="*/ 579 w 898"/>
                <a:gd name="T75" fmla="*/ 241 h 1063"/>
                <a:gd name="T76" fmla="*/ 629 w 898"/>
                <a:gd name="T77" fmla="*/ 184 h 1063"/>
                <a:gd name="T78" fmla="*/ 624 w 898"/>
                <a:gd name="T79" fmla="*/ 161 h 1063"/>
                <a:gd name="T80" fmla="*/ 624 w 898"/>
                <a:gd name="T81" fmla="*/ 137 h 1063"/>
                <a:gd name="T82" fmla="*/ 612 w 898"/>
                <a:gd name="T83" fmla="*/ 109 h 1063"/>
                <a:gd name="T84" fmla="*/ 605 w 898"/>
                <a:gd name="T85" fmla="*/ 71 h 1063"/>
                <a:gd name="T86" fmla="*/ 607 w 898"/>
                <a:gd name="T87" fmla="*/ 21 h 1063"/>
                <a:gd name="T88" fmla="*/ 622 w 898"/>
                <a:gd name="T89" fmla="*/ 57 h 1063"/>
                <a:gd name="T90" fmla="*/ 652 w 898"/>
                <a:gd name="T91" fmla="*/ 90 h 1063"/>
                <a:gd name="T92" fmla="*/ 681 w 898"/>
                <a:gd name="T93" fmla="*/ 128 h 1063"/>
                <a:gd name="T94" fmla="*/ 721 w 898"/>
                <a:gd name="T95" fmla="*/ 125 h 1063"/>
                <a:gd name="T96" fmla="*/ 718 w 898"/>
                <a:gd name="T97" fmla="*/ 147 h 1063"/>
                <a:gd name="T98" fmla="*/ 728 w 898"/>
                <a:gd name="T99" fmla="*/ 199 h 1063"/>
                <a:gd name="T100" fmla="*/ 775 w 898"/>
                <a:gd name="T101" fmla="*/ 251 h 1063"/>
                <a:gd name="T102" fmla="*/ 801 w 898"/>
                <a:gd name="T103" fmla="*/ 305 h 1063"/>
                <a:gd name="T104" fmla="*/ 832 w 898"/>
                <a:gd name="T105" fmla="*/ 343 h 1063"/>
                <a:gd name="T106" fmla="*/ 874 w 898"/>
                <a:gd name="T107" fmla="*/ 371 h 1063"/>
                <a:gd name="T108" fmla="*/ 886 w 898"/>
                <a:gd name="T109" fmla="*/ 418 h 1063"/>
                <a:gd name="T110" fmla="*/ 841 w 898"/>
                <a:gd name="T111" fmla="*/ 473 h 1063"/>
                <a:gd name="T112" fmla="*/ 761 w 898"/>
                <a:gd name="T113" fmla="*/ 477 h 1063"/>
                <a:gd name="T114" fmla="*/ 759 w 898"/>
                <a:gd name="T115" fmla="*/ 506 h 1063"/>
                <a:gd name="T116" fmla="*/ 721 w 898"/>
                <a:gd name="T117" fmla="*/ 515 h 1063"/>
                <a:gd name="T118" fmla="*/ 726 w 898"/>
                <a:gd name="T119" fmla="*/ 555 h 10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8"/>
                <a:gd name="T181" fmla="*/ 0 h 1063"/>
                <a:gd name="T182" fmla="*/ 898 w 898"/>
                <a:gd name="T183" fmla="*/ 1063 h 10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8" h="1063">
                  <a:moveTo>
                    <a:pt x="234" y="1063"/>
                  </a:moveTo>
                  <a:lnTo>
                    <a:pt x="234" y="1049"/>
                  </a:lnTo>
                  <a:lnTo>
                    <a:pt x="229" y="1047"/>
                  </a:lnTo>
                  <a:lnTo>
                    <a:pt x="227" y="1037"/>
                  </a:lnTo>
                  <a:lnTo>
                    <a:pt x="227" y="1030"/>
                  </a:lnTo>
                  <a:lnTo>
                    <a:pt x="225" y="1023"/>
                  </a:lnTo>
                  <a:lnTo>
                    <a:pt x="225" y="1014"/>
                  </a:lnTo>
                  <a:lnTo>
                    <a:pt x="227" y="1007"/>
                  </a:lnTo>
                  <a:lnTo>
                    <a:pt x="229" y="1002"/>
                  </a:lnTo>
                  <a:lnTo>
                    <a:pt x="237" y="1002"/>
                  </a:lnTo>
                  <a:lnTo>
                    <a:pt x="237" y="1009"/>
                  </a:lnTo>
                  <a:lnTo>
                    <a:pt x="234" y="1009"/>
                  </a:lnTo>
                  <a:lnTo>
                    <a:pt x="237" y="1014"/>
                  </a:lnTo>
                  <a:lnTo>
                    <a:pt x="244" y="1014"/>
                  </a:lnTo>
                  <a:lnTo>
                    <a:pt x="244" y="1009"/>
                  </a:lnTo>
                  <a:lnTo>
                    <a:pt x="251" y="1014"/>
                  </a:lnTo>
                  <a:lnTo>
                    <a:pt x="253" y="1016"/>
                  </a:lnTo>
                  <a:lnTo>
                    <a:pt x="260" y="1030"/>
                  </a:lnTo>
                  <a:lnTo>
                    <a:pt x="260" y="1037"/>
                  </a:lnTo>
                  <a:lnTo>
                    <a:pt x="265" y="1037"/>
                  </a:lnTo>
                  <a:lnTo>
                    <a:pt x="267" y="1040"/>
                  </a:lnTo>
                  <a:lnTo>
                    <a:pt x="265" y="1033"/>
                  </a:lnTo>
                  <a:lnTo>
                    <a:pt x="260" y="1021"/>
                  </a:lnTo>
                  <a:lnTo>
                    <a:pt x="265" y="1014"/>
                  </a:lnTo>
                  <a:lnTo>
                    <a:pt x="265" y="1009"/>
                  </a:lnTo>
                  <a:lnTo>
                    <a:pt x="260" y="1007"/>
                  </a:lnTo>
                  <a:lnTo>
                    <a:pt x="260" y="999"/>
                  </a:lnTo>
                  <a:lnTo>
                    <a:pt x="258" y="997"/>
                  </a:lnTo>
                  <a:lnTo>
                    <a:pt x="251" y="997"/>
                  </a:lnTo>
                  <a:lnTo>
                    <a:pt x="244" y="990"/>
                  </a:lnTo>
                  <a:lnTo>
                    <a:pt x="244" y="985"/>
                  </a:lnTo>
                  <a:lnTo>
                    <a:pt x="251" y="985"/>
                  </a:lnTo>
                  <a:lnTo>
                    <a:pt x="251" y="976"/>
                  </a:lnTo>
                  <a:lnTo>
                    <a:pt x="248" y="973"/>
                  </a:lnTo>
                  <a:lnTo>
                    <a:pt x="248" y="969"/>
                  </a:lnTo>
                  <a:lnTo>
                    <a:pt x="251" y="969"/>
                  </a:lnTo>
                  <a:lnTo>
                    <a:pt x="253" y="966"/>
                  </a:lnTo>
                  <a:lnTo>
                    <a:pt x="253" y="964"/>
                  </a:lnTo>
                  <a:lnTo>
                    <a:pt x="260" y="952"/>
                  </a:lnTo>
                  <a:lnTo>
                    <a:pt x="260" y="940"/>
                  </a:lnTo>
                  <a:lnTo>
                    <a:pt x="258" y="933"/>
                  </a:lnTo>
                  <a:lnTo>
                    <a:pt x="258" y="929"/>
                  </a:lnTo>
                  <a:lnTo>
                    <a:pt x="253" y="924"/>
                  </a:lnTo>
                  <a:lnTo>
                    <a:pt x="251" y="917"/>
                  </a:lnTo>
                  <a:lnTo>
                    <a:pt x="237" y="917"/>
                  </a:lnTo>
                  <a:lnTo>
                    <a:pt x="241" y="912"/>
                  </a:lnTo>
                  <a:lnTo>
                    <a:pt x="237" y="910"/>
                  </a:lnTo>
                  <a:lnTo>
                    <a:pt x="234" y="905"/>
                  </a:lnTo>
                  <a:lnTo>
                    <a:pt x="229" y="903"/>
                  </a:lnTo>
                  <a:lnTo>
                    <a:pt x="229" y="900"/>
                  </a:lnTo>
                  <a:lnTo>
                    <a:pt x="234" y="896"/>
                  </a:lnTo>
                  <a:lnTo>
                    <a:pt x="234" y="893"/>
                  </a:lnTo>
                  <a:lnTo>
                    <a:pt x="229" y="888"/>
                  </a:lnTo>
                  <a:lnTo>
                    <a:pt x="225" y="888"/>
                  </a:lnTo>
                  <a:lnTo>
                    <a:pt x="225" y="884"/>
                  </a:lnTo>
                  <a:lnTo>
                    <a:pt x="218" y="879"/>
                  </a:lnTo>
                  <a:lnTo>
                    <a:pt x="218" y="877"/>
                  </a:lnTo>
                  <a:lnTo>
                    <a:pt x="213" y="860"/>
                  </a:lnTo>
                  <a:lnTo>
                    <a:pt x="208" y="846"/>
                  </a:lnTo>
                  <a:lnTo>
                    <a:pt x="203" y="844"/>
                  </a:lnTo>
                  <a:lnTo>
                    <a:pt x="201" y="846"/>
                  </a:lnTo>
                  <a:lnTo>
                    <a:pt x="196" y="844"/>
                  </a:lnTo>
                  <a:lnTo>
                    <a:pt x="196" y="836"/>
                  </a:lnTo>
                  <a:lnTo>
                    <a:pt x="201" y="836"/>
                  </a:lnTo>
                  <a:lnTo>
                    <a:pt x="201" y="839"/>
                  </a:lnTo>
                  <a:lnTo>
                    <a:pt x="203" y="836"/>
                  </a:lnTo>
                  <a:lnTo>
                    <a:pt x="203" y="832"/>
                  </a:lnTo>
                  <a:lnTo>
                    <a:pt x="201" y="829"/>
                  </a:lnTo>
                  <a:lnTo>
                    <a:pt x="196" y="827"/>
                  </a:lnTo>
                  <a:lnTo>
                    <a:pt x="194" y="822"/>
                  </a:lnTo>
                  <a:lnTo>
                    <a:pt x="189" y="822"/>
                  </a:lnTo>
                  <a:lnTo>
                    <a:pt x="189" y="808"/>
                  </a:lnTo>
                  <a:lnTo>
                    <a:pt x="196" y="808"/>
                  </a:lnTo>
                  <a:lnTo>
                    <a:pt x="189" y="808"/>
                  </a:lnTo>
                  <a:lnTo>
                    <a:pt x="189" y="806"/>
                  </a:lnTo>
                  <a:lnTo>
                    <a:pt x="187" y="806"/>
                  </a:lnTo>
                  <a:lnTo>
                    <a:pt x="187" y="796"/>
                  </a:lnTo>
                  <a:lnTo>
                    <a:pt x="189" y="796"/>
                  </a:lnTo>
                  <a:lnTo>
                    <a:pt x="180" y="789"/>
                  </a:lnTo>
                  <a:lnTo>
                    <a:pt x="180" y="780"/>
                  </a:lnTo>
                  <a:lnTo>
                    <a:pt x="177" y="782"/>
                  </a:lnTo>
                  <a:lnTo>
                    <a:pt x="173" y="787"/>
                  </a:lnTo>
                  <a:lnTo>
                    <a:pt x="170" y="787"/>
                  </a:lnTo>
                  <a:lnTo>
                    <a:pt x="168" y="782"/>
                  </a:lnTo>
                  <a:lnTo>
                    <a:pt x="161" y="775"/>
                  </a:lnTo>
                  <a:lnTo>
                    <a:pt x="156" y="770"/>
                  </a:lnTo>
                  <a:lnTo>
                    <a:pt x="154" y="766"/>
                  </a:lnTo>
                  <a:lnTo>
                    <a:pt x="154" y="763"/>
                  </a:lnTo>
                  <a:lnTo>
                    <a:pt x="147" y="751"/>
                  </a:lnTo>
                  <a:lnTo>
                    <a:pt x="144" y="749"/>
                  </a:lnTo>
                  <a:lnTo>
                    <a:pt x="140" y="751"/>
                  </a:lnTo>
                  <a:lnTo>
                    <a:pt x="133" y="749"/>
                  </a:lnTo>
                  <a:lnTo>
                    <a:pt x="140" y="742"/>
                  </a:lnTo>
                  <a:lnTo>
                    <a:pt x="147" y="740"/>
                  </a:lnTo>
                  <a:lnTo>
                    <a:pt x="147" y="735"/>
                  </a:lnTo>
                  <a:lnTo>
                    <a:pt x="154" y="733"/>
                  </a:lnTo>
                  <a:lnTo>
                    <a:pt x="163" y="725"/>
                  </a:lnTo>
                  <a:lnTo>
                    <a:pt x="168" y="723"/>
                  </a:lnTo>
                  <a:lnTo>
                    <a:pt x="170" y="723"/>
                  </a:lnTo>
                  <a:lnTo>
                    <a:pt x="170" y="718"/>
                  </a:lnTo>
                  <a:lnTo>
                    <a:pt x="173" y="716"/>
                  </a:lnTo>
                  <a:lnTo>
                    <a:pt x="177" y="711"/>
                  </a:lnTo>
                  <a:lnTo>
                    <a:pt x="185" y="707"/>
                  </a:lnTo>
                  <a:lnTo>
                    <a:pt x="194" y="699"/>
                  </a:lnTo>
                  <a:lnTo>
                    <a:pt x="196" y="692"/>
                  </a:lnTo>
                  <a:lnTo>
                    <a:pt x="201" y="690"/>
                  </a:lnTo>
                  <a:lnTo>
                    <a:pt x="201" y="685"/>
                  </a:lnTo>
                  <a:lnTo>
                    <a:pt x="203" y="685"/>
                  </a:lnTo>
                  <a:lnTo>
                    <a:pt x="208" y="676"/>
                  </a:lnTo>
                  <a:lnTo>
                    <a:pt x="211" y="671"/>
                  </a:lnTo>
                  <a:lnTo>
                    <a:pt x="218" y="666"/>
                  </a:lnTo>
                  <a:lnTo>
                    <a:pt x="220" y="655"/>
                  </a:lnTo>
                  <a:lnTo>
                    <a:pt x="227" y="645"/>
                  </a:lnTo>
                  <a:lnTo>
                    <a:pt x="234" y="633"/>
                  </a:lnTo>
                  <a:lnTo>
                    <a:pt x="237" y="626"/>
                  </a:lnTo>
                  <a:lnTo>
                    <a:pt x="237" y="612"/>
                  </a:lnTo>
                  <a:lnTo>
                    <a:pt x="244" y="596"/>
                  </a:lnTo>
                  <a:lnTo>
                    <a:pt x="244" y="593"/>
                  </a:lnTo>
                  <a:lnTo>
                    <a:pt x="248" y="588"/>
                  </a:lnTo>
                  <a:lnTo>
                    <a:pt x="248" y="562"/>
                  </a:lnTo>
                  <a:lnTo>
                    <a:pt x="244" y="562"/>
                  </a:lnTo>
                  <a:lnTo>
                    <a:pt x="244" y="553"/>
                  </a:lnTo>
                  <a:lnTo>
                    <a:pt x="241" y="548"/>
                  </a:lnTo>
                  <a:lnTo>
                    <a:pt x="241" y="546"/>
                  </a:lnTo>
                  <a:lnTo>
                    <a:pt x="237" y="536"/>
                  </a:lnTo>
                  <a:lnTo>
                    <a:pt x="234" y="529"/>
                  </a:lnTo>
                  <a:lnTo>
                    <a:pt x="234" y="518"/>
                  </a:lnTo>
                  <a:lnTo>
                    <a:pt x="229" y="518"/>
                  </a:lnTo>
                  <a:lnTo>
                    <a:pt x="227" y="513"/>
                  </a:lnTo>
                  <a:lnTo>
                    <a:pt x="225" y="501"/>
                  </a:lnTo>
                  <a:lnTo>
                    <a:pt x="225" y="496"/>
                  </a:lnTo>
                  <a:lnTo>
                    <a:pt x="218" y="484"/>
                  </a:lnTo>
                  <a:lnTo>
                    <a:pt x="213" y="482"/>
                  </a:lnTo>
                  <a:lnTo>
                    <a:pt x="213" y="477"/>
                  </a:lnTo>
                  <a:lnTo>
                    <a:pt x="208" y="473"/>
                  </a:lnTo>
                  <a:lnTo>
                    <a:pt x="208" y="468"/>
                  </a:lnTo>
                  <a:lnTo>
                    <a:pt x="201" y="466"/>
                  </a:lnTo>
                  <a:lnTo>
                    <a:pt x="194" y="451"/>
                  </a:lnTo>
                  <a:lnTo>
                    <a:pt x="189" y="444"/>
                  </a:lnTo>
                  <a:lnTo>
                    <a:pt x="185" y="442"/>
                  </a:lnTo>
                  <a:lnTo>
                    <a:pt x="168" y="425"/>
                  </a:lnTo>
                  <a:lnTo>
                    <a:pt x="161" y="421"/>
                  </a:lnTo>
                  <a:lnTo>
                    <a:pt x="156" y="421"/>
                  </a:lnTo>
                  <a:lnTo>
                    <a:pt x="151" y="418"/>
                  </a:lnTo>
                  <a:lnTo>
                    <a:pt x="151" y="416"/>
                  </a:lnTo>
                  <a:lnTo>
                    <a:pt x="147" y="416"/>
                  </a:lnTo>
                  <a:lnTo>
                    <a:pt x="147" y="411"/>
                  </a:lnTo>
                  <a:lnTo>
                    <a:pt x="140" y="411"/>
                  </a:lnTo>
                  <a:lnTo>
                    <a:pt x="137" y="409"/>
                  </a:lnTo>
                  <a:lnTo>
                    <a:pt x="123" y="409"/>
                  </a:lnTo>
                  <a:lnTo>
                    <a:pt x="116" y="404"/>
                  </a:lnTo>
                  <a:lnTo>
                    <a:pt x="114" y="404"/>
                  </a:lnTo>
                  <a:lnTo>
                    <a:pt x="111" y="402"/>
                  </a:lnTo>
                  <a:lnTo>
                    <a:pt x="97" y="392"/>
                  </a:lnTo>
                  <a:lnTo>
                    <a:pt x="92" y="392"/>
                  </a:lnTo>
                  <a:lnTo>
                    <a:pt x="100" y="399"/>
                  </a:lnTo>
                  <a:lnTo>
                    <a:pt x="97" y="399"/>
                  </a:lnTo>
                  <a:lnTo>
                    <a:pt x="88" y="395"/>
                  </a:lnTo>
                  <a:lnTo>
                    <a:pt x="88" y="388"/>
                  </a:lnTo>
                  <a:lnTo>
                    <a:pt x="90" y="385"/>
                  </a:lnTo>
                  <a:lnTo>
                    <a:pt x="88" y="378"/>
                  </a:lnTo>
                  <a:lnTo>
                    <a:pt x="83" y="376"/>
                  </a:lnTo>
                  <a:lnTo>
                    <a:pt x="81" y="369"/>
                  </a:lnTo>
                  <a:lnTo>
                    <a:pt x="76" y="364"/>
                  </a:lnTo>
                  <a:lnTo>
                    <a:pt x="83" y="362"/>
                  </a:lnTo>
                  <a:lnTo>
                    <a:pt x="88" y="362"/>
                  </a:lnTo>
                  <a:lnTo>
                    <a:pt x="88" y="364"/>
                  </a:lnTo>
                  <a:lnTo>
                    <a:pt x="90" y="364"/>
                  </a:lnTo>
                  <a:lnTo>
                    <a:pt x="90" y="352"/>
                  </a:lnTo>
                  <a:lnTo>
                    <a:pt x="92" y="345"/>
                  </a:lnTo>
                  <a:lnTo>
                    <a:pt x="92" y="343"/>
                  </a:lnTo>
                  <a:lnTo>
                    <a:pt x="90" y="338"/>
                  </a:lnTo>
                  <a:lnTo>
                    <a:pt x="97" y="331"/>
                  </a:lnTo>
                  <a:lnTo>
                    <a:pt x="97" y="329"/>
                  </a:lnTo>
                  <a:lnTo>
                    <a:pt x="100" y="329"/>
                  </a:lnTo>
                  <a:lnTo>
                    <a:pt x="104" y="314"/>
                  </a:lnTo>
                  <a:lnTo>
                    <a:pt x="97" y="314"/>
                  </a:lnTo>
                  <a:lnTo>
                    <a:pt x="92" y="319"/>
                  </a:lnTo>
                  <a:lnTo>
                    <a:pt x="92" y="307"/>
                  </a:lnTo>
                  <a:lnTo>
                    <a:pt x="97" y="305"/>
                  </a:lnTo>
                  <a:lnTo>
                    <a:pt x="97" y="298"/>
                  </a:lnTo>
                  <a:lnTo>
                    <a:pt x="92" y="295"/>
                  </a:lnTo>
                  <a:lnTo>
                    <a:pt x="90" y="291"/>
                  </a:lnTo>
                  <a:lnTo>
                    <a:pt x="90" y="288"/>
                  </a:lnTo>
                  <a:lnTo>
                    <a:pt x="92" y="288"/>
                  </a:lnTo>
                  <a:lnTo>
                    <a:pt x="100" y="291"/>
                  </a:lnTo>
                  <a:lnTo>
                    <a:pt x="104" y="291"/>
                  </a:lnTo>
                  <a:lnTo>
                    <a:pt x="104" y="295"/>
                  </a:lnTo>
                  <a:lnTo>
                    <a:pt x="107" y="295"/>
                  </a:lnTo>
                  <a:lnTo>
                    <a:pt x="111" y="298"/>
                  </a:lnTo>
                  <a:lnTo>
                    <a:pt x="114" y="298"/>
                  </a:lnTo>
                  <a:lnTo>
                    <a:pt x="114" y="295"/>
                  </a:lnTo>
                  <a:lnTo>
                    <a:pt x="107" y="291"/>
                  </a:lnTo>
                  <a:lnTo>
                    <a:pt x="104" y="288"/>
                  </a:lnTo>
                  <a:lnTo>
                    <a:pt x="100" y="281"/>
                  </a:lnTo>
                  <a:lnTo>
                    <a:pt x="104" y="279"/>
                  </a:lnTo>
                  <a:lnTo>
                    <a:pt x="107" y="279"/>
                  </a:lnTo>
                  <a:lnTo>
                    <a:pt x="111" y="274"/>
                  </a:lnTo>
                  <a:lnTo>
                    <a:pt x="104" y="267"/>
                  </a:lnTo>
                  <a:lnTo>
                    <a:pt x="100" y="267"/>
                  </a:lnTo>
                  <a:lnTo>
                    <a:pt x="107" y="255"/>
                  </a:lnTo>
                  <a:lnTo>
                    <a:pt x="111" y="251"/>
                  </a:lnTo>
                  <a:lnTo>
                    <a:pt x="121" y="244"/>
                  </a:lnTo>
                  <a:lnTo>
                    <a:pt x="121" y="239"/>
                  </a:lnTo>
                  <a:lnTo>
                    <a:pt x="116" y="241"/>
                  </a:lnTo>
                  <a:lnTo>
                    <a:pt x="116" y="244"/>
                  </a:lnTo>
                  <a:lnTo>
                    <a:pt x="104" y="244"/>
                  </a:lnTo>
                  <a:lnTo>
                    <a:pt x="104" y="255"/>
                  </a:lnTo>
                  <a:lnTo>
                    <a:pt x="100" y="258"/>
                  </a:lnTo>
                  <a:lnTo>
                    <a:pt x="90" y="258"/>
                  </a:lnTo>
                  <a:lnTo>
                    <a:pt x="88" y="255"/>
                  </a:lnTo>
                  <a:lnTo>
                    <a:pt x="88" y="251"/>
                  </a:lnTo>
                  <a:lnTo>
                    <a:pt x="90" y="248"/>
                  </a:lnTo>
                  <a:lnTo>
                    <a:pt x="90" y="241"/>
                  </a:lnTo>
                  <a:lnTo>
                    <a:pt x="81" y="234"/>
                  </a:lnTo>
                  <a:lnTo>
                    <a:pt x="76" y="232"/>
                  </a:lnTo>
                  <a:lnTo>
                    <a:pt x="74" y="232"/>
                  </a:lnTo>
                  <a:lnTo>
                    <a:pt x="74" y="225"/>
                  </a:lnTo>
                  <a:lnTo>
                    <a:pt x="76" y="218"/>
                  </a:lnTo>
                  <a:lnTo>
                    <a:pt x="81" y="215"/>
                  </a:lnTo>
                  <a:lnTo>
                    <a:pt x="74" y="215"/>
                  </a:lnTo>
                  <a:lnTo>
                    <a:pt x="74" y="218"/>
                  </a:lnTo>
                  <a:lnTo>
                    <a:pt x="71" y="218"/>
                  </a:lnTo>
                  <a:lnTo>
                    <a:pt x="64" y="215"/>
                  </a:lnTo>
                  <a:lnTo>
                    <a:pt x="64" y="206"/>
                  </a:lnTo>
                  <a:lnTo>
                    <a:pt x="66" y="199"/>
                  </a:lnTo>
                  <a:lnTo>
                    <a:pt x="71" y="192"/>
                  </a:lnTo>
                  <a:lnTo>
                    <a:pt x="66" y="192"/>
                  </a:lnTo>
                  <a:lnTo>
                    <a:pt x="64" y="199"/>
                  </a:lnTo>
                  <a:lnTo>
                    <a:pt x="57" y="201"/>
                  </a:lnTo>
                  <a:lnTo>
                    <a:pt x="52" y="201"/>
                  </a:lnTo>
                  <a:lnTo>
                    <a:pt x="52" y="199"/>
                  </a:lnTo>
                  <a:lnTo>
                    <a:pt x="50" y="199"/>
                  </a:lnTo>
                  <a:lnTo>
                    <a:pt x="48" y="201"/>
                  </a:lnTo>
                  <a:lnTo>
                    <a:pt x="43" y="206"/>
                  </a:lnTo>
                  <a:lnTo>
                    <a:pt x="40" y="199"/>
                  </a:lnTo>
                  <a:lnTo>
                    <a:pt x="48" y="182"/>
                  </a:lnTo>
                  <a:lnTo>
                    <a:pt x="48" y="177"/>
                  </a:lnTo>
                  <a:lnTo>
                    <a:pt x="50" y="177"/>
                  </a:lnTo>
                  <a:lnTo>
                    <a:pt x="50" y="158"/>
                  </a:lnTo>
                  <a:lnTo>
                    <a:pt x="48" y="154"/>
                  </a:lnTo>
                  <a:lnTo>
                    <a:pt x="48" y="151"/>
                  </a:lnTo>
                  <a:lnTo>
                    <a:pt x="43" y="144"/>
                  </a:lnTo>
                  <a:lnTo>
                    <a:pt x="43" y="142"/>
                  </a:lnTo>
                  <a:lnTo>
                    <a:pt x="48" y="137"/>
                  </a:lnTo>
                  <a:lnTo>
                    <a:pt x="50" y="137"/>
                  </a:lnTo>
                  <a:lnTo>
                    <a:pt x="48" y="135"/>
                  </a:lnTo>
                  <a:lnTo>
                    <a:pt x="43" y="130"/>
                  </a:lnTo>
                  <a:lnTo>
                    <a:pt x="50" y="130"/>
                  </a:lnTo>
                  <a:lnTo>
                    <a:pt x="43" y="128"/>
                  </a:lnTo>
                  <a:lnTo>
                    <a:pt x="40" y="128"/>
                  </a:lnTo>
                  <a:lnTo>
                    <a:pt x="36" y="125"/>
                  </a:lnTo>
                  <a:lnTo>
                    <a:pt x="33" y="121"/>
                  </a:lnTo>
                  <a:lnTo>
                    <a:pt x="31" y="125"/>
                  </a:lnTo>
                  <a:lnTo>
                    <a:pt x="24" y="125"/>
                  </a:lnTo>
                  <a:lnTo>
                    <a:pt x="24" y="121"/>
                  </a:lnTo>
                  <a:lnTo>
                    <a:pt x="17" y="109"/>
                  </a:lnTo>
                  <a:lnTo>
                    <a:pt x="14" y="104"/>
                  </a:lnTo>
                  <a:lnTo>
                    <a:pt x="14" y="102"/>
                  </a:lnTo>
                  <a:lnTo>
                    <a:pt x="10" y="102"/>
                  </a:lnTo>
                  <a:lnTo>
                    <a:pt x="10" y="97"/>
                  </a:lnTo>
                  <a:lnTo>
                    <a:pt x="3" y="88"/>
                  </a:lnTo>
                  <a:lnTo>
                    <a:pt x="0" y="78"/>
                  </a:lnTo>
                  <a:lnTo>
                    <a:pt x="3" y="71"/>
                  </a:lnTo>
                  <a:lnTo>
                    <a:pt x="3" y="64"/>
                  </a:lnTo>
                  <a:lnTo>
                    <a:pt x="7" y="64"/>
                  </a:lnTo>
                  <a:lnTo>
                    <a:pt x="14" y="55"/>
                  </a:lnTo>
                  <a:lnTo>
                    <a:pt x="17" y="47"/>
                  </a:lnTo>
                  <a:lnTo>
                    <a:pt x="19" y="45"/>
                  </a:lnTo>
                  <a:lnTo>
                    <a:pt x="24" y="45"/>
                  </a:lnTo>
                  <a:lnTo>
                    <a:pt x="36" y="40"/>
                  </a:lnTo>
                  <a:lnTo>
                    <a:pt x="71" y="40"/>
                  </a:lnTo>
                  <a:lnTo>
                    <a:pt x="76" y="45"/>
                  </a:lnTo>
                  <a:lnTo>
                    <a:pt x="97" y="45"/>
                  </a:lnTo>
                  <a:lnTo>
                    <a:pt x="100" y="47"/>
                  </a:lnTo>
                  <a:lnTo>
                    <a:pt x="97" y="50"/>
                  </a:lnTo>
                  <a:lnTo>
                    <a:pt x="97" y="55"/>
                  </a:lnTo>
                  <a:lnTo>
                    <a:pt x="92" y="57"/>
                  </a:lnTo>
                  <a:lnTo>
                    <a:pt x="97" y="57"/>
                  </a:lnTo>
                  <a:lnTo>
                    <a:pt x="100" y="55"/>
                  </a:lnTo>
                  <a:lnTo>
                    <a:pt x="100" y="50"/>
                  </a:lnTo>
                  <a:lnTo>
                    <a:pt x="104" y="50"/>
                  </a:lnTo>
                  <a:lnTo>
                    <a:pt x="104" y="45"/>
                  </a:lnTo>
                  <a:lnTo>
                    <a:pt x="107" y="40"/>
                  </a:lnTo>
                  <a:lnTo>
                    <a:pt x="111" y="38"/>
                  </a:lnTo>
                  <a:lnTo>
                    <a:pt x="130" y="38"/>
                  </a:lnTo>
                  <a:lnTo>
                    <a:pt x="140" y="40"/>
                  </a:lnTo>
                  <a:lnTo>
                    <a:pt x="144" y="45"/>
                  </a:lnTo>
                  <a:lnTo>
                    <a:pt x="151" y="45"/>
                  </a:lnTo>
                  <a:lnTo>
                    <a:pt x="147" y="45"/>
                  </a:lnTo>
                  <a:lnTo>
                    <a:pt x="144" y="40"/>
                  </a:lnTo>
                  <a:lnTo>
                    <a:pt x="140" y="40"/>
                  </a:lnTo>
                  <a:lnTo>
                    <a:pt x="137" y="38"/>
                  </a:lnTo>
                  <a:lnTo>
                    <a:pt x="137" y="33"/>
                  </a:lnTo>
                  <a:lnTo>
                    <a:pt x="140" y="33"/>
                  </a:lnTo>
                  <a:lnTo>
                    <a:pt x="144" y="31"/>
                  </a:lnTo>
                  <a:lnTo>
                    <a:pt x="151" y="31"/>
                  </a:lnTo>
                  <a:lnTo>
                    <a:pt x="151" y="29"/>
                  </a:lnTo>
                  <a:lnTo>
                    <a:pt x="156" y="21"/>
                  </a:lnTo>
                  <a:lnTo>
                    <a:pt x="163" y="10"/>
                  </a:lnTo>
                  <a:lnTo>
                    <a:pt x="163" y="5"/>
                  </a:lnTo>
                  <a:lnTo>
                    <a:pt x="170" y="0"/>
                  </a:lnTo>
                  <a:lnTo>
                    <a:pt x="180" y="5"/>
                  </a:lnTo>
                  <a:lnTo>
                    <a:pt x="187" y="5"/>
                  </a:lnTo>
                  <a:lnTo>
                    <a:pt x="194" y="7"/>
                  </a:lnTo>
                  <a:lnTo>
                    <a:pt x="196" y="10"/>
                  </a:lnTo>
                  <a:lnTo>
                    <a:pt x="201" y="14"/>
                  </a:lnTo>
                  <a:lnTo>
                    <a:pt x="203" y="14"/>
                  </a:lnTo>
                  <a:lnTo>
                    <a:pt x="213" y="17"/>
                  </a:lnTo>
                  <a:lnTo>
                    <a:pt x="220" y="14"/>
                  </a:lnTo>
                  <a:lnTo>
                    <a:pt x="225" y="14"/>
                  </a:lnTo>
                  <a:lnTo>
                    <a:pt x="227" y="21"/>
                  </a:lnTo>
                  <a:lnTo>
                    <a:pt x="229" y="29"/>
                  </a:lnTo>
                  <a:lnTo>
                    <a:pt x="229" y="33"/>
                  </a:lnTo>
                  <a:lnTo>
                    <a:pt x="227" y="38"/>
                  </a:lnTo>
                  <a:lnTo>
                    <a:pt x="229" y="38"/>
                  </a:lnTo>
                  <a:lnTo>
                    <a:pt x="237" y="40"/>
                  </a:lnTo>
                  <a:lnTo>
                    <a:pt x="234" y="33"/>
                  </a:lnTo>
                  <a:lnTo>
                    <a:pt x="229" y="33"/>
                  </a:lnTo>
                  <a:lnTo>
                    <a:pt x="229" y="31"/>
                  </a:lnTo>
                  <a:lnTo>
                    <a:pt x="251" y="31"/>
                  </a:lnTo>
                  <a:lnTo>
                    <a:pt x="260" y="38"/>
                  </a:lnTo>
                  <a:lnTo>
                    <a:pt x="265" y="40"/>
                  </a:lnTo>
                  <a:lnTo>
                    <a:pt x="265" y="50"/>
                  </a:lnTo>
                  <a:lnTo>
                    <a:pt x="258" y="50"/>
                  </a:lnTo>
                  <a:lnTo>
                    <a:pt x="258" y="55"/>
                  </a:lnTo>
                  <a:lnTo>
                    <a:pt x="265" y="50"/>
                  </a:lnTo>
                  <a:lnTo>
                    <a:pt x="267" y="47"/>
                  </a:lnTo>
                  <a:lnTo>
                    <a:pt x="267" y="40"/>
                  </a:lnTo>
                  <a:lnTo>
                    <a:pt x="265" y="40"/>
                  </a:lnTo>
                  <a:lnTo>
                    <a:pt x="267" y="38"/>
                  </a:lnTo>
                  <a:lnTo>
                    <a:pt x="270" y="38"/>
                  </a:lnTo>
                  <a:lnTo>
                    <a:pt x="281" y="40"/>
                  </a:lnTo>
                  <a:lnTo>
                    <a:pt x="284" y="40"/>
                  </a:lnTo>
                  <a:lnTo>
                    <a:pt x="286" y="45"/>
                  </a:lnTo>
                  <a:lnTo>
                    <a:pt x="284" y="47"/>
                  </a:lnTo>
                  <a:lnTo>
                    <a:pt x="277" y="50"/>
                  </a:lnTo>
                  <a:lnTo>
                    <a:pt x="281" y="55"/>
                  </a:lnTo>
                  <a:lnTo>
                    <a:pt x="281" y="57"/>
                  </a:lnTo>
                  <a:lnTo>
                    <a:pt x="277" y="62"/>
                  </a:lnTo>
                  <a:lnTo>
                    <a:pt x="286" y="62"/>
                  </a:lnTo>
                  <a:lnTo>
                    <a:pt x="291" y="64"/>
                  </a:lnTo>
                  <a:lnTo>
                    <a:pt x="293" y="71"/>
                  </a:lnTo>
                  <a:lnTo>
                    <a:pt x="300" y="71"/>
                  </a:lnTo>
                  <a:lnTo>
                    <a:pt x="307" y="78"/>
                  </a:lnTo>
                  <a:lnTo>
                    <a:pt x="310" y="73"/>
                  </a:lnTo>
                  <a:lnTo>
                    <a:pt x="317" y="73"/>
                  </a:lnTo>
                  <a:lnTo>
                    <a:pt x="324" y="71"/>
                  </a:lnTo>
                  <a:lnTo>
                    <a:pt x="345" y="71"/>
                  </a:lnTo>
                  <a:lnTo>
                    <a:pt x="345" y="69"/>
                  </a:lnTo>
                  <a:lnTo>
                    <a:pt x="348" y="64"/>
                  </a:lnTo>
                  <a:lnTo>
                    <a:pt x="350" y="62"/>
                  </a:lnTo>
                  <a:lnTo>
                    <a:pt x="362" y="62"/>
                  </a:lnTo>
                  <a:lnTo>
                    <a:pt x="366" y="71"/>
                  </a:lnTo>
                  <a:lnTo>
                    <a:pt x="366" y="73"/>
                  </a:lnTo>
                  <a:lnTo>
                    <a:pt x="378" y="78"/>
                  </a:lnTo>
                  <a:lnTo>
                    <a:pt x="381" y="78"/>
                  </a:lnTo>
                  <a:lnTo>
                    <a:pt x="381" y="73"/>
                  </a:lnTo>
                  <a:lnTo>
                    <a:pt x="378" y="73"/>
                  </a:lnTo>
                  <a:lnTo>
                    <a:pt x="378" y="71"/>
                  </a:lnTo>
                  <a:lnTo>
                    <a:pt x="381" y="69"/>
                  </a:lnTo>
                  <a:lnTo>
                    <a:pt x="381" y="71"/>
                  </a:lnTo>
                  <a:lnTo>
                    <a:pt x="385" y="71"/>
                  </a:lnTo>
                  <a:lnTo>
                    <a:pt x="388" y="69"/>
                  </a:lnTo>
                  <a:lnTo>
                    <a:pt x="385" y="69"/>
                  </a:lnTo>
                  <a:lnTo>
                    <a:pt x="385" y="64"/>
                  </a:lnTo>
                  <a:lnTo>
                    <a:pt x="381" y="64"/>
                  </a:lnTo>
                  <a:lnTo>
                    <a:pt x="381" y="50"/>
                  </a:lnTo>
                  <a:lnTo>
                    <a:pt x="385" y="50"/>
                  </a:lnTo>
                  <a:lnTo>
                    <a:pt x="388" y="55"/>
                  </a:lnTo>
                  <a:lnTo>
                    <a:pt x="388" y="57"/>
                  </a:lnTo>
                  <a:lnTo>
                    <a:pt x="390" y="57"/>
                  </a:lnTo>
                  <a:lnTo>
                    <a:pt x="397" y="62"/>
                  </a:lnTo>
                  <a:lnTo>
                    <a:pt x="402" y="71"/>
                  </a:lnTo>
                  <a:lnTo>
                    <a:pt x="397" y="73"/>
                  </a:lnTo>
                  <a:lnTo>
                    <a:pt x="395" y="78"/>
                  </a:lnTo>
                  <a:lnTo>
                    <a:pt x="395" y="81"/>
                  </a:lnTo>
                  <a:lnTo>
                    <a:pt x="390" y="85"/>
                  </a:lnTo>
                  <a:lnTo>
                    <a:pt x="395" y="88"/>
                  </a:lnTo>
                  <a:lnTo>
                    <a:pt x="397" y="95"/>
                  </a:lnTo>
                  <a:lnTo>
                    <a:pt x="397" y="97"/>
                  </a:lnTo>
                  <a:lnTo>
                    <a:pt x="395" y="97"/>
                  </a:lnTo>
                  <a:lnTo>
                    <a:pt x="395" y="102"/>
                  </a:lnTo>
                  <a:lnTo>
                    <a:pt x="397" y="104"/>
                  </a:lnTo>
                  <a:lnTo>
                    <a:pt x="404" y="111"/>
                  </a:lnTo>
                  <a:lnTo>
                    <a:pt x="404" y="118"/>
                  </a:lnTo>
                  <a:lnTo>
                    <a:pt x="407" y="118"/>
                  </a:lnTo>
                  <a:lnTo>
                    <a:pt x="414" y="121"/>
                  </a:lnTo>
                  <a:lnTo>
                    <a:pt x="414" y="125"/>
                  </a:lnTo>
                  <a:lnTo>
                    <a:pt x="418" y="125"/>
                  </a:lnTo>
                  <a:lnTo>
                    <a:pt x="418" y="137"/>
                  </a:lnTo>
                  <a:lnTo>
                    <a:pt x="411" y="142"/>
                  </a:lnTo>
                  <a:lnTo>
                    <a:pt x="411" y="144"/>
                  </a:lnTo>
                  <a:lnTo>
                    <a:pt x="397" y="151"/>
                  </a:lnTo>
                  <a:lnTo>
                    <a:pt x="395" y="151"/>
                  </a:lnTo>
                  <a:lnTo>
                    <a:pt x="388" y="154"/>
                  </a:lnTo>
                  <a:lnTo>
                    <a:pt x="385" y="158"/>
                  </a:lnTo>
                  <a:lnTo>
                    <a:pt x="364" y="158"/>
                  </a:lnTo>
                  <a:lnTo>
                    <a:pt x="388" y="158"/>
                  </a:lnTo>
                  <a:lnTo>
                    <a:pt x="395" y="154"/>
                  </a:lnTo>
                  <a:lnTo>
                    <a:pt x="397" y="151"/>
                  </a:lnTo>
                  <a:lnTo>
                    <a:pt x="407" y="151"/>
                  </a:lnTo>
                  <a:lnTo>
                    <a:pt x="411" y="147"/>
                  </a:lnTo>
                  <a:lnTo>
                    <a:pt x="418" y="144"/>
                  </a:lnTo>
                  <a:lnTo>
                    <a:pt x="428" y="154"/>
                  </a:lnTo>
                  <a:lnTo>
                    <a:pt x="430" y="158"/>
                  </a:lnTo>
                  <a:lnTo>
                    <a:pt x="435" y="161"/>
                  </a:lnTo>
                  <a:lnTo>
                    <a:pt x="437" y="166"/>
                  </a:lnTo>
                  <a:lnTo>
                    <a:pt x="437" y="177"/>
                  </a:lnTo>
                  <a:lnTo>
                    <a:pt x="435" y="182"/>
                  </a:lnTo>
                  <a:lnTo>
                    <a:pt x="435" y="184"/>
                  </a:lnTo>
                  <a:lnTo>
                    <a:pt x="442" y="184"/>
                  </a:lnTo>
                  <a:lnTo>
                    <a:pt x="444" y="187"/>
                  </a:lnTo>
                  <a:lnTo>
                    <a:pt x="444" y="194"/>
                  </a:lnTo>
                  <a:lnTo>
                    <a:pt x="442" y="194"/>
                  </a:lnTo>
                  <a:lnTo>
                    <a:pt x="444" y="199"/>
                  </a:lnTo>
                  <a:lnTo>
                    <a:pt x="447" y="199"/>
                  </a:lnTo>
                  <a:lnTo>
                    <a:pt x="451" y="194"/>
                  </a:lnTo>
                  <a:lnTo>
                    <a:pt x="454" y="187"/>
                  </a:lnTo>
                  <a:lnTo>
                    <a:pt x="463" y="187"/>
                  </a:lnTo>
                  <a:lnTo>
                    <a:pt x="468" y="194"/>
                  </a:lnTo>
                  <a:lnTo>
                    <a:pt x="468" y="199"/>
                  </a:lnTo>
                  <a:lnTo>
                    <a:pt x="463" y="201"/>
                  </a:lnTo>
                  <a:lnTo>
                    <a:pt x="459" y="201"/>
                  </a:lnTo>
                  <a:lnTo>
                    <a:pt x="459" y="208"/>
                  </a:lnTo>
                  <a:lnTo>
                    <a:pt x="461" y="210"/>
                  </a:lnTo>
                  <a:lnTo>
                    <a:pt x="461" y="208"/>
                  </a:lnTo>
                  <a:lnTo>
                    <a:pt x="468" y="208"/>
                  </a:lnTo>
                  <a:lnTo>
                    <a:pt x="468" y="218"/>
                  </a:lnTo>
                  <a:lnTo>
                    <a:pt x="463" y="215"/>
                  </a:lnTo>
                  <a:lnTo>
                    <a:pt x="463" y="218"/>
                  </a:lnTo>
                  <a:lnTo>
                    <a:pt x="468" y="222"/>
                  </a:lnTo>
                  <a:lnTo>
                    <a:pt x="470" y="227"/>
                  </a:lnTo>
                  <a:lnTo>
                    <a:pt x="470" y="239"/>
                  </a:lnTo>
                  <a:lnTo>
                    <a:pt x="468" y="239"/>
                  </a:lnTo>
                  <a:lnTo>
                    <a:pt x="468" y="241"/>
                  </a:lnTo>
                  <a:lnTo>
                    <a:pt x="463" y="239"/>
                  </a:lnTo>
                  <a:lnTo>
                    <a:pt x="461" y="234"/>
                  </a:lnTo>
                  <a:lnTo>
                    <a:pt x="461" y="227"/>
                  </a:lnTo>
                  <a:lnTo>
                    <a:pt x="459" y="225"/>
                  </a:lnTo>
                  <a:lnTo>
                    <a:pt x="447" y="222"/>
                  </a:lnTo>
                  <a:lnTo>
                    <a:pt x="447" y="225"/>
                  </a:lnTo>
                  <a:lnTo>
                    <a:pt x="451" y="227"/>
                  </a:lnTo>
                  <a:lnTo>
                    <a:pt x="454" y="227"/>
                  </a:lnTo>
                  <a:lnTo>
                    <a:pt x="459" y="241"/>
                  </a:lnTo>
                  <a:lnTo>
                    <a:pt x="454" y="244"/>
                  </a:lnTo>
                  <a:lnTo>
                    <a:pt x="447" y="251"/>
                  </a:lnTo>
                  <a:lnTo>
                    <a:pt x="451" y="251"/>
                  </a:lnTo>
                  <a:lnTo>
                    <a:pt x="454" y="248"/>
                  </a:lnTo>
                  <a:lnTo>
                    <a:pt x="459" y="248"/>
                  </a:lnTo>
                  <a:lnTo>
                    <a:pt x="461" y="251"/>
                  </a:lnTo>
                  <a:lnTo>
                    <a:pt x="463" y="258"/>
                  </a:lnTo>
                  <a:lnTo>
                    <a:pt x="468" y="258"/>
                  </a:lnTo>
                  <a:lnTo>
                    <a:pt x="468" y="251"/>
                  </a:lnTo>
                  <a:lnTo>
                    <a:pt x="470" y="241"/>
                  </a:lnTo>
                  <a:lnTo>
                    <a:pt x="470" y="239"/>
                  </a:lnTo>
                  <a:lnTo>
                    <a:pt x="475" y="239"/>
                  </a:lnTo>
                  <a:lnTo>
                    <a:pt x="475" y="227"/>
                  </a:lnTo>
                  <a:lnTo>
                    <a:pt x="477" y="227"/>
                  </a:lnTo>
                  <a:lnTo>
                    <a:pt x="477" y="225"/>
                  </a:lnTo>
                  <a:lnTo>
                    <a:pt x="485" y="222"/>
                  </a:lnTo>
                  <a:lnTo>
                    <a:pt x="492" y="222"/>
                  </a:lnTo>
                  <a:lnTo>
                    <a:pt x="499" y="218"/>
                  </a:lnTo>
                  <a:lnTo>
                    <a:pt x="501" y="215"/>
                  </a:lnTo>
                  <a:lnTo>
                    <a:pt x="503" y="210"/>
                  </a:lnTo>
                  <a:lnTo>
                    <a:pt x="508" y="210"/>
                  </a:lnTo>
                  <a:lnTo>
                    <a:pt x="518" y="215"/>
                  </a:lnTo>
                  <a:lnTo>
                    <a:pt x="520" y="218"/>
                  </a:lnTo>
                  <a:lnTo>
                    <a:pt x="525" y="225"/>
                  </a:lnTo>
                  <a:lnTo>
                    <a:pt x="527" y="227"/>
                  </a:lnTo>
                  <a:lnTo>
                    <a:pt x="532" y="232"/>
                  </a:lnTo>
                  <a:lnTo>
                    <a:pt x="534" y="234"/>
                  </a:lnTo>
                  <a:lnTo>
                    <a:pt x="539" y="239"/>
                  </a:lnTo>
                  <a:lnTo>
                    <a:pt x="541" y="239"/>
                  </a:lnTo>
                  <a:lnTo>
                    <a:pt x="541" y="241"/>
                  </a:lnTo>
                  <a:lnTo>
                    <a:pt x="544" y="248"/>
                  </a:lnTo>
                  <a:lnTo>
                    <a:pt x="544" y="262"/>
                  </a:lnTo>
                  <a:lnTo>
                    <a:pt x="548" y="267"/>
                  </a:lnTo>
                  <a:lnTo>
                    <a:pt x="548" y="279"/>
                  </a:lnTo>
                  <a:lnTo>
                    <a:pt x="544" y="281"/>
                  </a:lnTo>
                  <a:lnTo>
                    <a:pt x="539" y="288"/>
                  </a:lnTo>
                  <a:lnTo>
                    <a:pt x="532" y="291"/>
                  </a:lnTo>
                  <a:lnTo>
                    <a:pt x="525" y="305"/>
                  </a:lnTo>
                  <a:lnTo>
                    <a:pt x="520" y="305"/>
                  </a:lnTo>
                  <a:lnTo>
                    <a:pt x="520" y="312"/>
                  </a:lnTo>
                  <a:lnTo>
                    <a:pt x="518" y="319"/>
                  </a:lnTo>
                  <a:lnTo>
                    <a:pt x="520" y="319"/>
                  </a:lnTo>
                  <a:lnTo>
                    <a:pt x="520" y="314"/>
                  </a:lnTo>
                  <a:lnTo>
                    <a:pt x="525" y="312"/>
                  </a:lnTo>
                  <a:lnTo>
                    <a:pt x="525" y="305"/>
                  </a:lnTo>
                  <a:lnTo>
                    <a:pt x="532" y="298"/>
                  </a:lnTo>
                  <a:lnTo>
                    <a:pt x="532" y="295"/>
                  </a:lnTo>
                  <a:lnTo>
                    <a:pt x="541" y="288"/>
                  </a:lnTo>
                  <a:lnTo>
                    <a:pt x="541" y="284"/>
                  </a:lnTo>
                  <a:lnTo>
                    <a:pt x="544" y="284"/>
                  </a:lnTo>
                  <a:lnTo>
                    <a:pt x="548" y="281"/>
                  </a:lnTo>
                  <a:lnTo>
                    <a:pt x="548" y="279"/>
                  </a:lnTo>
                  <a:lnTo>
                    <a:pt x="551" y="272"/>
                  </a:lnTo>
                  <a:lnTo>
                    <a:pt x="551" y="267"/>
                  </a:lnTo>
                  <a:lnTo>
                    <a:pt x="548" y="265"/>
                  </a:lnTo>
                  <a:lnTo>
                    <a:pt x="548" y="255"/>
                  </a:lnTo>
                  <a:lnTo>
                    <a:pt x="544" y="248"/>
                  </a:lnTo>
                  <a:lnTo>
                    <a:pt x="544" y="241"/>
                  </a:lnTo>
                  <a:lnTo>
                    <a:pt x="541" y="239"/>
                  </a:lnTo>
                  <a:lnTo>
                    <a:pt x="541" y="234"/>
                  </a:lnTo>
                  <a:lnTo>
                    <a:pt x="544" y="227"/>
                  </a:lnTo>
                  <a:lnTo>
                    <a:pt x="548" y="227"/>
                  </a:lnTo>
                  <a:lnTo>
                    <a:pt x="551" y="232"/>
                  </a:lnTo>
                  <a:lnTo>
                    <a:pt x="555" y="232"/>
                  </a:lnTo>
                  <a:lnTo>
                    <a:pt x="555" y="239"/>
                  </a:lnTo>
                  <a:lnTo>
                    <a:pt x="558" y="241"/>
                  </a:lnTo>
                  <a:lnTo>
                    <a:pt x="560" y="244"/>
                  </a:lnTo>
                  <a:lnTo>
                    <a:pt x="560" y="255"/>
                  </a:lnTo>
                  <a:lnTo>
                    <a:pt x="558" y="262"/>
                  </a:lnTo>
                  <a:lnTo>
                    <a:pt x="558" y="265"/>
                  </a:lnTo>
                  <a:lnTo>
                    <a:pt x="560" y="267"/>
                  </a:lnTo>
                  <a:lnTo>
                    <a:pt x="560" y="258"/>
                  </a:lnTo>
                  <a:lnTo>
                    <a:pt x="565" y="251"/>
                  </a:lnTo>
                  <a:lnTo>
                    <a:pt x="565" y="244"/>
                  </a:lnTo>
                  <a:lnTo>
                    <a:pt x="558" y="239"/>
                  </a:lnTo>
                  <a:lnTo>
                    <a:pt x="558" y="232"/>
                  </a:lnTo>
                  <a:lnTo>
                    <a:pt x="565" y="232"/>
                  </a:lnTo>
                  <a:lnTo>
                    <a:pt x="565" y="234"/>
                  </a:lnTo>
                  <a:lnTo>
                    <a:pt x="567" y="241"/>
                  </a:lnTo>
                  <a:lnTo>
                    <a:pt x="567" y="244"/>
                  </a:lnTo>
                  <a:lnTo>
                    <a:pt x="572" y="244"/>
                  </a:lnTo>
                  <a:lnTo>
                    <a:pt x="574" y="248"/>
                  </a:lnTo>
                  <a:lnTo>
                    <a:pt x="581" y="272"/>
                  </a:lnTo>
                  <a:lnTo>
                    <a:pt x="584" y="274"/>
                  </a:lnTo>
                  <a:lnTo>
                    <a:pt x="581" y="267"/>
                  </a:lnTo>
                  <a:lnTo>
                    <a:pt x="579" y="258"/>
                  </a:lnTo>
                  <a:lnTo>
                    <a:pt x="579" y="241"/>
                  </a:lnTo>
                  <a:lnTo>
                    <a:pt x="584" y="234"/>
                  </a:lnTo>
                  <a:lnTo>
                    <a:pt x="589" y="225"/>
                  </a:lnTo>
                  <a:lnTo>
                    <a:pt x="591" y="227"/>
                  </a:lnTo>
                  <a:lnTo>
                    <a:pt x="591" y="210"/>
                  </a:lnTo>
                  <a:lnTo>
                    <a:pt x="598" y="210"/>
                  </a:lnTo>
                  <a:lnTo>
                    <a:pt x="605" y="206"/>
                  </a:lnTo>
                  <a:lnTo>
                    <a:pt x="600" y="201"/>
                  </a:lnTo>
                  <a:lnTo>
                    <a:pt x="598" y="187"/>
                  </a:lnTo>
                  <a:lnTo>
                    <a:pt x="598" y="177"/>
                  </a:lnTo>
                  <a:lnTo>
                    <a:pt x="600" y="170"/>
                  </a:lnTo>
                  <a:lnTo>
                    <a:pt x="600" y="175"/>
                  </a:lnTo>
                  <a:lnTo>
                    <a:pt x="619" y="182"/>
                  </a:lnTo>
                  <a:lnTo>
                    <a:pt x="629" y="182"/>
                  </a:lnTo>
                  <a:lnTo>
                    <a:pt x="629" y="184"/>
                  </a:lnTo>
                  <a:lnTo>
                    <a:pt x="631" y="194"/>
                  </a:lnTo>
                  <a:lnTo>
                    <a:pt x="636" y="206"/>
                  </a:lnTo>
                  <a:lnTo>
                    <a:pt x="636" y="208"/>
                  </a:lnTo>
                  <a:lnTo>
                    <a:pt x="636" y="206"/>
                  </a:lnTo>
                  <a:lnTo>
                    <a:pt x="638" y="201"/>
                  </a:lnTo>
                  <a:lnTo>
                    <a:pt x="636" y="194"/>
                  </a:lnTo>
                  <a:lnTo>
                    <a:pt x="631" y="194"/>
                  </a:lnTo>
                  <a:lnTo>
                    <a:pt x="631" y="182"/>
                  </a:lnTo>
                  <a:lnTo>
                    <a:pt x="624" y="177"/>
                  </a:lnTo>
                  <a:lnTo>
                    <a:pt x="622" y="177"/>
                  </a:lnTo>
                  <a:lnTo>
                    <a:pt x="614" y="175"/>
                  </a:lnTo>
                  <a:lnTo>
                    <a:pt x="614" y="166"/>
                  </a:lnTo>
                  <a:lnTo>
                    <a:pt x="624" y="166"/>
                  </a:lnTo>
                  <a:lnTo>
                    <a:pt x="624" y="161"/>
                  </a:lnTo>
                  <a:lnTo>
                    <a:pt x="614" y="161"/>
                  </a:lnTo>
                  <a:lnTo>
                    <a:pt x="614" y="151"/>
                  </a:lnTo>
                  <a:lnTo>
                    <a:pt x="619" y="144"/>
                  </a:lnTo>
                  <a:lnTo>
                    <a:pt x="622" y="144"/>
                  </a:lnTo>
                  <a:lnTo>
                    <a:pt x="622" y="142"/>
                  </a:lnTo>
                  <a:lnTo>
                    <a:pt x="624" y="144"/>
                  </a:lnTo>
                  <a:lnTo>
                    <a:pt x="631" y="144"/>
                  </a:lnTo>
                  <a:lnTo>
                    <a:pt x="629" y="142"/>
                  </a:lnTo>
                  <a:lnTo>
                    <a:pt x="624" y="142"/>
                  </a:lnTo>
                  <a:lnTo>
                    <a:pt x="624" y="137"/>
                  </a:lnTo>
                  <a:lnTo>
                    <a:pt x="629" y="137"/>
                  </a:lnTo>
                  <a:lnTo>
                    <a:pt x="636" y="135"/>
                  </a:lnTo>
                  <a:lnTo>
                    <a:pt x="631" y="135"/>
                  </a:lnTo>
                  <a:lnTo>
                    <a:pt x="624" y="137"/>
                  </a:lnTo>
                  <a:lnTo>
                    <a:pt x="622" y="137"/>
                  </a:lnTo>
                  <a:lnTo>
                    <a:pt x="614" y="135"/>
                  </a:lnTo>
                  <a:lnTo>
                    <a:pt x="612" y="130"/>
                  </a:lnTo>
                  <a:lnTo>
                    <a:pt x="607" y="128"/>
                  </a:lnTo>
                  <a:lnTo>
                    <a:pt x="607" y="125"/>
                  </a:lnTo>
                  <a:lnTo>
                    <a:pt x="614" y="125"/>
                  </a:lnTo>
                  <a:lnTo>
                    <a:pt x="619" y="128"/>
                  </a:lnTo>
                  <a:lnTo>
                    <a:pt x="614" y="125"/>
                  </a:lnTo>
                  <a:lnTo>
                    <a:pt x="612" y="114"/>
                  </a:lnTo>
                  <a:lnTo>
                    <a:pt x="614" y="114"/>
                  </a:lnTo>
                  <a:lnTo>
                    <a:pt x="619" y="118"/>
                  </a:lnTo>
                  <a:lnTo>
                    <a:pt x="622" y="118"/>
                  </a:lnTo>
                  <a:lnTo>
                    <a:pt x="614" y="111"/>
                  </a:lnTo>
                  <a:lnTo>
                    <a:pt x="612" y="109"/>
                  </a:lnTo>
                  <a:lnTo>
                    <a:pt x="607" y="104"/>
                  </a:lnTo>
                  <a:lnTo>
                    <a:pt x="614" y="102"/>
                  </a:lnTo>
                  <a:lnTo>
                    <a:pt x="629" y="102"/>
                  </a:lnTo>
                  <a:lnTo>
                    <a:pt x="631" y="104"/>
                  </a:lnTo>
                  <a:lnTo>
                    <a:pt x="636" y="102"/>
                  </a:lnTo>
                  <a:lnTo>
                    <a:pt x="624" y="102"/>
                  </a:lnTo>
                  <a:lnTo>
                    <a:pt x="622" y="97"/>
                  </a:lnTo>
                  <a:lnTo>
                    <a:pt x="614" y="97"/>
                  </a:lnTo>
                  <a:lnTo>
                    <a:pt x="612" y="102"/>
                  </a:lnTo>
                  <a:lnTo>
                    <a:pt x="605" y="95"/>
                  </a:lnTo>
                  <a:lnTo>
                    <a:pt x="600" y="90"/>
                  </a:lnTo>
                  <a:lnTo>
                    <a:pt x="598" y="85"/>
                  </a:lnTo>
                  <a:lnTo>
                    <a:pt x="598" y="71"/>
                  </a:lnTo>
                  <a:lnTo>
                    <a:pt x="605" y="71"/>
                  </a:lnTo>
                  <a:lnTo>
                    <a:pt x="607" y="73"/>
                  </a:lnTo>
                  <a:lnTo>
                    <a:pt x="612" y="73"/>
                  </a:lnTo>
                  <a:lnTo>
                    <a:pt x="614" y="71"/>
                  </a:lnTo>
                  <a:lnTo>
                    <a:pt x="605" y="71"/>
                  </a:lnTo>
                  <a:lnTo>
                    <a:pt x="600" y="69"/>
                  </a:lnTo>
                  <a:lnTo>
                    <a:pt x="600" y="55"/>
                  </a:lnTo>
                  <a:lnTo>
                    <a:pt x="598" y="50"/>
                  </a:lnTo>
                  <a:lnTo>
                    <a:pt x="600" y="47"/>
                  </a:lnTo>
                  <a:lnTo>
                    <a:pt x="600" y="33"/>
                  </a:lnTo>
                  <a:lnTo>
                    <a:pt x="598" y="24"/>
                  </a:lnTo>
                  <a:lnTo>
                    <a:pt x="596" y="21"/>
                  </a:lnTo>
                  <a:lnTo>
                    <a:pt x="605" y="17"/>
                  </a:lnTo>
                  <a:lnTo>
                    <a:pt x="612" y="17"/>
                  </a:lnTo>
                  <a:lnTo>
                    <a:pt x="607" y="21"/>
                  </a:lnTo>
                  <a:lnTo>
                    <a:pt x="605" y="24"/>
                  </a:lnTo>
                  <a:lnTo>
                    <a:pt x="600" y="24"/>
                  </a:lnTo>
                  <a:lnTo>
                    <a:pt x="598" y="29"/>
                  </a:lnTo>
                  <a:lnTo>
                    <a:pt x="600" y="31"/>
                  </a:lnTo>
                  <a:lnTo>
                    <a:pt x="607" y="33"/>
                  </a:lnTo>
                  <a:lnTo>
                    <a:pt x="612" y="31"/>
                  </a:lnTo>
                  <a:lnTo>
                    <a:pt x="614" y="33"/>
                  </a:lnTo>
                  <a:lnTo>
                    <a:pt x="614" y="40"/>
                  </a:lnTo>
                  <a:lnTo>
                    <a:pt x="612" y="45"/>
                  </a:lnTo>
                  <a:lnTo>
                    <a:pt x="607" y="45"/>
                  </a:lnTo>
                  <a:lnTo>
                    <a:pt x="607" y="47"/>
                  </a:lnTo>
                  <a:lnTo>
                    <a:pt x="612" y="50"/>
                  </a:lnTo>
                  <a:lnTo>
                    <a:pt x="619" y="50"/>
                  </a:lnTo>
                  <a:lnTo>
                    <a:pt x="622" y="57"/>
                  </a:lnTo>
                  <a:lnTo>
                    <a:pt x="622" y="69"/>
                  </a:lnTo>
                  <a:lnTo>
                    <a:pt x="624" y="69"/>
                  </a:lnTo>
                  <a:lnTo>
                    <a:pt x="629" y="71"/>
                  </a:lnTo>
                  <a:lnTo>
                    <a:pt x="629" y="78"/>
                  </a:lnTo>
                  <a:lnTo>
                    <a:pt x="631" y="85"/>
                  </a:lnTo>
                  <a:lnTo>
                    <a:pt x="638" y="90"/>
                  </a:lnTo>
                  <a:lnTo>
                    <a:pt x="640" y="90"/>
                  </a:lnTo>
                  <a:lnTo>
                    <a:pt x="645" y="85"/>
                  </a:lnTo>
                  <a:lnTo>
                    <a:pt x="648" y="81"/>
                  </a:lnTo>
                  <a:lnTo>
                    <a:pt x="648" y="78"/>
                  </a:lnTo>
                  <a:lnTo>
                    <a:pt x="655" y="78"/>
                  </a:lnTo>
                  <a:lnTo>
                    <a:pt x="655" y="81"/>
                  </a:lnTo>
                  <a:lnTo>
                    <a:pt x="652" y="85"/>
                  </a:lnTo>
                  <a:lnTo>
                    <a:pt x="652" y="90"/>
                  </a:lnTo>
                  <a:lnTo>
                    <a:pt x="655" y="102"/>
                  </a:lnTo>
                  <a:lnTo>
                    <a:pt x="657" y="104"/>
                  </a:lnTo>
                  <a:lnTo>
                    <a:pt x="664" y="114"/>
                  </a:lnTo>
                  <a:lnTo>
                    <a:pt x="678" y="114"/>
                  </a:lnTo>
                  <a:lnTo>
                    <a:pt x="678" y="118"/>
                  </a:lnTo>
                  <a:lnTo>
                    <a:pt x="676" y="121"/>
                  </a:lnTo>
                  <a:lnTo>
                    <a:pt x="657" y="121"/>
                  </a:lnTo>
                  <a:lnTo>
                    <a:pt x="655" y="125"/>
                  </a:lnTo>
                  <a:lnTo>
                    <a:pt x="655" y="130"/>
                  </a:lnTo>
                  <a:lnTo>
                    <a:pt x="657" y="135"/>
                  </a:lnTo>
                  <a:lnTo>
                    <a:pt x="662" y="135"/>
                  </a:lnTo>
                  <a:lnTo>
                    <a:pt x="669" y="130"/>
                  </a:lnTo>
                  <a:lnTo>
                    <a:pt x="676" y="130"/>
                  </a:lnTo>
                  <a:lnTo>
                    <a:pt x="681" y="128"/>
                  </a:lnTo>
                  <a:lnTo>
                    <a:pt x="685" y="128"/>
                  </a:lnTo>
                  <a:lnTo>
                    <a:pt x="688" y="130"/>
                  </a:lnTo>
                  <a:lnTo>
                    <a:pt x="688" y="135"/>
                  </a:lnTo>
                  <a:lnTo>
                    <a:pt x="695" y="135"/>
                  </a:lnTo>
                  <a:lnTo>
                    <a:pt x="697" y="130"/>
                  </a:lnTo>
                  <a:lnTo>
                    <a:pt x="697" y="125"/>
                  </a:lnTo>
                  <a:lnTo>
                    <a:pt x="702" y="125"/>
                  </a:lnTo>
                  <a:lnTo>
                    <a:pt x="702" y="121"/>
                  </a:lnTo>
                  <a:lnTo>
                    <a:pt x="704" y="121"/>
                  </a:lnTo>
                  <a:lnTo>
                    <a:pt x="704" y="114"/>
                  </a:lnTo>
                  <a:lnTo>
                    <a:pt x="716" y="114"/>
                  </a:lnTo>
                  <a:lnTo>
                    <a:pt x="718" y="118"/>
                  </a:lnTo>
                  <a:lnTo>
                    <a:pt x="721" y="118"/>
                  </a:lnTo>
                  <a:lnTo>
                    <a:pt x="721" y="125"/>
                  </a:lnTo>
                  <a:lnTo>
                    <a:pt x="718" y="125"/>
                  </a:lnTo>
                  <a:lnTo>
                    <a:pt x="718" y="128"/>
                  </a:lnTo>
                  <a:lnTo>
                    <a:pt x="711" y="130"/>
                  </a:lnTo>
                  <a:lnTo>
                    <a:pt x="709" y="130"/>
                  </a:lnTo>
                  <a:lnTo>
                    <a:pt x="709" y="135"/>
                  </a:lnTo>
                  <a:lnTo>
                    <a:pt x="704" y="135"/>
                  </a:lnTo>
                  <a:lnTo>
                    <a:pt x="702" y="137"/>
                  </a:lnTo>
                  <a:lnTo>
                    <a:pt x="702" y="144"/>
                  </a:lnTo>
                  <a:lnTo>
                    <a:pt x="704" y="147"/>
                  </a:lnTo>
                  <a:lnTo>
                    <a:pt x="709" y="151"/>
                  </a:lnTo>
                  <a:lnTo>
                    <a:pt x="711" y="147"/>
                  </a:lnTo>
                  <a:lnTo>
                    <a:pt x="711" y="144"/>
                  </a:lnTo>
                  <a:lnTo>
                    <a:pt x="716" y="144"/>
                  </a:lnTo>
                  <a:lnTo>
                    <a:pt x="718" y="147"/>
                  </a:lnTo>
                  <a:lnTo>
                    <a:pt x="721" y="147"/>
                  </a:lnTo>
                  <a:lnTo>
                    <a:pt x="721" y="154"/>
                  </a:lnTo>
                  <a:lnTo>
                    <a:pt x="718" y="154"/>
                  </a:lnTo>
                  <a:lnTo>
                    <a:pt x="716" y="158"/>
                  </a:lnTo>
                  <a:lnTo>
                    <a:pt x="711" y="168"/>
                  </a:lnTo>
                  <a:lnTo>
                    <a:pt x="716" y="170"/>
                  </a:lnTo>
                  <a:lnTo>
                    <a:pt x="716" y="182"/>
                  </a:lnTo>
                  <a:lnTo>
                    <a:pt x="711" y="182"/>
                  </a:lnTo>
                  <a:lnTo>
                    <a:pt x="711" y="194"/>
                  </a:lnTo>
                  <a:lnTo>
                    <a:pt x="718" y="194"/>
                  </a:lnTo>
                  <a:lnTo>
                    <a:pt x="721" y="192"/>
                  </a:lnTo>
                  <a:lnTo>
                    <a:pt x="726" y="192"/>
                  </a:lnTo>
                  <a:lnTo>
                    <a:pt x="726" y="194"/>
                  </a:lnTo>
                  <a:lnTo>
                    <a:pt x="728" y="199"/>
                  </a:lnTo>
                  <a:lnTo>
                    <a:pt x="735" y="206"/>
                  </a:lnTo>
                  <a:lnTo>
                    <a:pt x="737" y="206"/>
                  </a:lnTo>
                  <a:lnTo>
                    <a:pt x="737" y="208"/>
                  </a:lnTo>
                  <a:lnTo>
                    <a:pt x="742" y="210"/>
                  </a:lnTo>
                  <a:lnTo>
                    <a:pt x="761" y="210"/>
                  </a:lnTo>
                  <a:lnTo>
                    <a:pt x="761" y="206"/>
                  </a:lnTo>
                  <a:lnTo>
                    <a:pt x="766" y="208"/>
                  </a:lnTo>
                  <a:lnTo>
                    <a:pt x="766" y="222"/>
                  </a:lnTo>
                  <a:lnTo>
                    <a:pt x="768" y="227"/>
                  </a:lnTo>
                  <a:lnTo>
                    <a:pt x="768" y="232"/>
                  </a:lnTo>
                  <a:lnTo>
                    <a:pt x="773" y="232"/>
                  </a:lnTo>
                  <a:lnTo>
                    <a:pt x="773" y="241"/>
                  </a:lnTo>
                  <a:lnTo>
                    <a:pt x="775" y="248"/>
                  </a:lnTo>
                  <a:lnTo>
                    <a:pt x="775" y="251"/>
                  </a:lnTo>
                  <a:lnTo>
                    <a:pt x="777" y="251"/>
                  </a:lnTo>
                  <a:lnTo>
                    <a:pt x="775" y="248"/>
                  </a:lnTo>
                  <a:lnTo>
                    <a:pt x="775" y="244"/>
                  </a:lnTo>
                  <a:lnTo>
                    <a:pt x="777" y="244"/>
                  </a:lnTo>
                  <a:lnTo>
                    <a:pt x="782" y="258"/>
                  </a:lnTo>
                  <a:lnTo>
                    <a:pt x="782" y="262"/>
                  </a:lnTo>
                  <a:lnTo>
                    <a:pt x="785" y="272"/>
                  </a:lnTo>
                  <a:lnTo>
                    <a:pt x="785" y="284"/>
                  </a:lnTo>
                  <a:lnTo>
                    <a:pt x="789" y="288"/>
                  </a:lnTo>
                  <a:lnTo>
                    <a:pt x="785" y="291"/>
                  </a:lnTo>
                  <a:lnTo>
                    <a:pt x="785" y="295"/>
                  </a:lnTo>
                  <a:lnTo>
                    <a:pt x="789" y="298"/>
                  </a:lnTo>
                  <a:lnTo>
                    <a:pt x="794" y="303"/>
                  </a:lnTo>
                  <a:lnTo>
                    <a:pt x="801" y="305"/>
                  </a:lnTo>
                  <a:lnTo>
                    <a:pt x="808" y="312"/>
                  </a:lnTo>
                  <a:lnTo>
                    <a:pt x="806" y="319"/>
                  </a:lnTo>
                  <a:lnTo>
                    <a:pt x="801" y="319"/>
                  </a:lnTo>
                  <a:lnTo>
                    <a:pt x="801" y="321"/>
                  </a:lnTo>
                  <a:lnTo>
                    <a:pt x="806" y="329"/>
                  </a:lnTo>
                  <a:lnTo>
                    <a:pt x="808" y="331"/>
                  </a:lnTo>
                  <a:lnTo>
                    <a:pt x="813" y="329"/>
                  </a:lnTo>
                  <a:lnTo>
                    <a:pt x="818" y="329"/>
                  </a:lnTo>
                  <a:lnTo>
                    <a:pt x="818" y="336"/>
                  </a:lnTo>
                  <a:lnTo>
                    <a:pt x="815" y="338"/>
                  </a:lnTo>
                  <a:lnTo>
                    <a:pt x="818" y="343"/>
                  </a:lnTo>
                  <a:lnTo>
                    <a:pt x="818" y="345"/>
                  </a:lnTo>
                  <a:lnTo>
                    <a:pt x="825" y="343"/>
                  </a:lnTo>
                  <a:lnTo>
                    <a:pt x="832" y="343"/>
                  </a:lnTo>
                  <a:lnTo>
                    <a:pt x="841" y="338"/>
                  </a:lnTo>
                  <a:lnTo>
                    <a:pt x="846" y="338"/>
                  </a:lnTo>
                  <a:lnTo>
                    <a:pt x="846" y="336"/>
                  </a:lnTo>
                  <a:lnTo>
                    <a:pt x="846" y="338"/>
                  </a:lnTo>
                  <a:lnTo>
                    <a:pt x="841" y="343"/>
                  </a:lnTo>
                  <a:lnTo>
                    <a:pt x="839" y="345"/>
                  </a:lnTo>
                  <a:lnTo>
                    <a:pt x="839" y="352"/>
                  </a:lnTo>
                  <a:lnTo>
                    <a:pt x="841" y="355"/>
                  </a:lnTo>
                  <a:lnTo>
                    <a:pt x="846" y="359"/>
                  </a:lnTo>
                  <a:lnTo>
                    <a:pt x="851" y="359"/>
                  </a:lnTo>
                  <a:lnTo>
                    <a:pt x="858" y="362"/>
                  </a:lnTo>
                  <a:lnTo>
                    <a:pt x="863" y="364"/>
                  </a:lnTo>
                  <a:lnTo>
                    <a:pt x="865" y="369"/>
                  </a:lnTo>
                  <a:lnTo>
                    <a:pt x="874" y="371"/>
                  </a:lnTo>
                  <a:lnTo>
                    <a:pt x="879" y="371"/>
                  </a:lnTo>
                  <a:lnTo>
                    <a:pt x="879" y="369"/>
                  </a:lnTo>
                  <a:lnTo>
                    <a:pt x="881" y="369"/>
                  </a:lnTo>
                  <a:lnTo>
                    <a:pt x="881" y="371"/>
                  </a:lnTo>
                  <a:lnTo>
                    <a:pt x="886" y="376"/>
                  </a:lnTo>
                  <a:lnTo>
                    <a:pt x="886" y="378"/>
                  </a:lnTo>
                  <a:lnTo>
                    <a:pt x="889" y="381"/>
                  </a:lnTo>
                  <a:lnTo>
                    <a:pt x="891" y="381"/>
                  </a:lnTo>
                  <a:lnTo>
                    <a:pt x="891" y="385"/>
                  </a:lnTo>
                  <a:lnTo>
                    <a:pt x="886" y="395"/>
                  </a:lnTo>
                  <a:lnTo>
                    <a:pt x="881" y="399"/>
                  </a:lnTo>
                  <a:lnTo>
                    <a:pt x="881" y="416"/>
                  </a:lnTo>
                  <a:lnTo>
                    <a:pt x="886" y="416"/>
                  </a:lnTo>
                  <a:lnTo>
                    <a:pt x="886" y="418"/>
                  </a:lnTo>
                  <a:lnTo>
                    <a:pt x="891" y="418"/>
                  </a:lnTo>
                  <a:lnTo>
                    <a:pt x="896" y="425"/>
                  </a:lnTo>
                  <a:lnTo>
                    <a:pt x="896" y="433"/>
                  </a:lnTo>
                  <a:lnTo>
                    <a:pt x="898" y="442"/>
                  </a:lnTo>
                  <a:lnTo>
                    <a:pt x="898" y="456"/>
                  </a:lnTo>
                  <a:lnTo>
                    <a:pt x="896" y="458"/>
                  </a:lnTo>
                  <a:lnTo>
                    <a:pt x="886" y="461"/>
                  </a:lnTo>
                  <a:lnTo>
                    <a:pt x="881" y="458"/>
                  </a:lnTo>
                  <a:lnTo>
                    <a:pt x="858" y="458"/>
                  </a:lnTo>
                  <a:lnTo>
                    <a:pt x="858" y="466"/>
                  </a:lnTo>
                  <a:lnTo>
                    <a:pt x="855" y="466"/>
                  </a:lnTo>
                  <a:lnTo>
                    <a:pt x="851" y="468"/>
                  </a:lnTo>
                  <a:lnTo>
                    <a:pt x="841" y="468"/>
                  </a:lnTo>
                  <a:lnTo>
                    <a:pt x="841" y="473"/>
                  </a:lnTo>
                  <a:lnTo>
                    <a:pt x="839" y="473"/>
                  </a:lnTo>
                  <a:lnTo>
                    <a:pt x="839" y="475"/>
                  </a:lnTo>
                  <a:lnTo>
                    <a:pt x="834" y="477"/>
                  </a:lnTo>
                  <a:lnTo>
                    <a:pt x="832" y="477"/>
                  </a:lnTo>
                  <a:lnTo>
                    <a:pt x="832" y="482"/>
                  </a:lnTo>
                  <a:lnTo>
                    <a:pt x="818" y="482"/>
                  </a:lnTo>
                  <a:lnTo>
                    <a:pt x="813" y="484"/>
                  </a:lnTo>
                  <a:lnTo>
                    <a:pt x="808" y="489"/>
                  </a:lnTo>
                  <a:lnTo>
                    <a:pt x="806" y="492"/>
                  </a:lnTo>
                  <a:lnTo>
                    <a:pt x="801" y="492"/>
                  </a:lnTo>
                  <a:lnTo>
                    <a:pt x="792" y="484"/>
                  </a:lnTo>
                  <a:lnTo>
                    <a:pt x="789" y="482"/>
                  </a:lnTo>
                  <a:lnTo>
                    <a:pt x="766" y="482"/>
                  </a:lnTo>
                  <a:lnTo>
                    <a:pt x="761" y="477"/>
                  </a:lnTo>
                  <a:lnTo>
                    <a:pt x="759" y="477"/>
                  </a:lnTo>
                  <a:lnTo>
                    <a:pt x="756" y="475"/>
                  </a:lnTo>
                  <a:lnTo>
                    <a:pt x="752" y="475"/>
                  </a:lnTo>
                  <a:lnTo>
                    <a:pt x="744" y="468"/>
                  </a:lnTo>
                  <a:lnTo>
                    <a:pt x="742" y="468"/>
                  </a:lnTo>
                  <a:lnTo>
                    <a:pt x="735" y="466"/>
                  </a:lnTo>
                  <a:lnTo>
                    <a:pt x="728" y="466"/>
                  </a:lnTo>
                  <a:lnTo>
                    <a:pt x="728" y="468"/>
                  </a:lnTo>
                  <a:lnTo>
                    <a:pt x="733" y="473"/>
                  </a:lnTo>
                  <a:lnTo>
                    <a:pt x="737" y="477"/>
                  </a:lnTo>
                  <a:lnTo>
                    <a:pt x="737" y="484"/>
                  </a:lnTo>
                  <a:lnTo>
                    <a:pt x="749" y="496"/>
                  </a:lnTo>
                  <a:lnTo>
                    <a:pt x="756" y="501"/>
                  </a:lnTo>
                  <a:lnTo>
                    <a:pt x="759" y="506"/>
                  </a:lnTo>
                  <a:lnTo>
                    <a:pt x="756" y="513"/>
                  </a:lnTo>
                  <a:lnTo>
                    <a:pt x="756" y="515"/>
                  </a:lnTo>
                  <a:lnTo>
                    <a:pt x="742" y="513"/>
                  </a:lnTo>
                  <a:lnTo>
                    <a:pt x="737" y="513"/>
                  </a:lnTo>
                  <a:lnTo>
                    <a:pt x="735" y="508"/>
                  </a:lnTo>
                  <a:lnTo>
                    <a:pt x="735" y="506"/>
                  </a:lnTo>
                  <a:lnTo>
                    <a:pt x="728" y="506"/>
                  </a:lnTo>
                  <a:lnTo>
                    <a:pt x="721" y="501"/>
                  </a:lnTo>
                  <a:lnTo>
                    <a:pt x="718" y="499"/>
                  </a:lnTo>
                  <a:lnTo>
                    <a:pt x="711" y="499"/>
                  </a:lnTo>
                  <a:lnTo>
                    <a:pt x="711" y="506"/>
                  </a:lnTo>
                  <a:lnTo>
                    <a:pt x="716" y="508"/>
                  </a:lnTo>
                  <a:lnTo>
                    <a:pt x="718" y="513"/>
                  </a:lnTo>
                  <a:lnTo>
                    <a:pt x="721" y="515"/>
                  </a:lnTo>
                  <a:lnTo>
                    <a:pt x="728" y="522"/>
                  </a:lnTo>
                  <a:lnTo>
                    <a:pt x="737" y="529"/>
                  </a:lnTo>
                  <a:lnTo>
                    <a:pt x="744" y="529"/>
                  </a:lnTo>
                  <a:lnTo>
                    <a:pt x="744" y="532"/>
                  </a:lnTo>
                  <a:lnTo>
                    <a:pt x="742" y="532"/>
                  </a:lnTo>
                  <a:lnTo>
                    <a:pt x="737" y="536"/>
                  </a:lnTo>
                  <a:lnTo>
                    <a:pt x="737" y="546"/>
                  </a:lnTo>
                  <a:lnTo>
                    <a:pt x="733" y="546"/>
                  </a:lnTo>
                  <a:lnTo>
                    <a:pt x="728" y="541"/>
                  </a:lnTo>
                  <a:lnTo>
                    <a:pt x="726" y="541"/>
                  </a:lnTo>
                  <a:lnTo>
                    <a:pt x="726" y="546"/>
                  </a:lnTo>
                  <a:lnTo>
                    <a:pt x="721" y="546"/>
                  </a:lnTo>
                  <a:lnTo>
                    <a:pt x="726" y="553"/>
                  </a:lnTo>
                  <a:lnTo>
                    <a:pt x="726" y="555"/>
                  </a:lnTo>
                  <a:lnTo>
                    <a:pt x="728" y="562"/>
                  </a:lnTo>
                  <a:lnTo>
                    <a:pt x="735" y="56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5" name="Freeform 159">
              <a:extLst>
                <a:ext uri="{FF2B5EF4-FFF2-40B4-BE49-F238E27FC236}">
                  <a16:creationId xmlns:a16="http://schemas.microsoft.com/office/drawing/2014/main" id="{8DD370F0-7889-4E1B-A3CE-BDC3FEC1EA64}"/>
                </a:ext>
              </a:extLst>
            </p:cNvPr>
            <p:cNvSpPr>
              <a:spLocks/>
            </p:cNvSpPr>
            <p:nvPr/>
          </p:nvSpPr>
          <p:spPr bwMode="gray">
            <a:xfrm rot="47099">
              <a:off x="719120" y="2940701"/>
              <a:ext cx="262731" cy="221911"/>
            </a:xfrm>
            <a:custGeom>
              <a:avLst/>
              <a:gdLst>
                <a:gd name="T0" fmla="*/ 3 w 565"/>
                <a:gd name="T1" fmla="*/ 352 h 477"/>
                <a:gd name="T2" fmla="*/ 3 w 565"/>
                <a:gd name="T3" fmla="*/ 314 h 477"/>
                <a:gd name="T4" fmla="*/ 10 w 565"/>
                <a:gd name="T5" fmla="*/ 295 h 477"/>
                <a:gd name="T6" fmla="*/ 12 w 565"/>
                <a:gd name="T7" fmla="*/ 272 h 477"/>
                <a:gd name="T8" fmla="*/ 26 w 565"/>
                <a:gd name="T9" fmla="*/ 246 h 477"/>
                <a:gd name="T10" fmla="*/ 40 w 565"/>
                <a:gd name="T11" fmla="*/ 241 h 477"/>
                <a:gd name="T12" fmla="*/ 36 w 565"/>
                <a:gd name="T13" fmla="*/ 239 h 477"/>
                <a:gd name="T14" fmla="*/ 45 w 565"/>
                <a:gd name="T15" fmla="*/ 217 h 477"/>
                <a:gd name="T16" fmla="*/ 52 w 565"/>
                <a:gd name="T17" fmla="*/ 206 h 477"/>
                <a:gd name="T18" fmla="*/ 80 w 565"/>
                <a:gd name="T19" fmla="*/ 137 h 477"/>
                <a:gd name="T20" fmla="*/ 90 w 565"/>
                <a:gd name="T21" fmla="*/ 113 h 477"/>
                <a:gd name="T22" fmla="*/ 109 w 565"/>
                <a:gd name="T23" fmla="*/ 64 h 477"/>
                <a:gd name="T24" fmla="*/ 114 w 565"/>
                <a:gd name="T25" fmla="*/ 54 h 477"/>
                <a:gd name="T26" fmla="*/ 121 w 565"/>
                <a:gd name="T27" fmla="*/ 33 h 477"/>
                <a:gd name="T28" fmla="*/ 130 w 565"/>
                <a:gd name="T29" fmla="*/ 14 h 477"/>
                <a:gd name="T30" fmla="*/ 154 w 565"/>
                <a:gd name="T31" fmla="*/ 7 h 477"/>
                <a:gd name="T32" fmla="*/ 163 w 565"/>
                <a:gd name="T33" fmla="*/ 14 h 477"/>
                <a:gd name="T34" fmla="*/ 189 w 565"/>
                <a:gd name="T35" fmla="*/ 28 h 477"/>
                <a:gd name="T36" fmla="*/ 189 w 565"/>
                <a:gd name="T37" fmla="*/ 73 h 477"/>
                <a:gd name="T38" fmla="*/ 206 w 565"/>
                <a:gd name="T39" fmla="*/ 80 h 477"/>
                <a:gd name="T40" fmla="*/ 217 w 565"/>
                <a:gd name="T41" fmla="*/ 87 h 477"/>
                <a:gd name="T42" fmla="*/ 243 w 565"/>
                <a:gd name="T43" fmla="*/ 80 h 477"/>
                <a:gd name="T44" fmla="*/ 277 w 565"/>
                <a:gd name="T45" fmla="*/ 94 h 477"/>
                <a:gd name="T46" fmla="*/ 307 w 565"/>
                <a:gd name="T47" fmla="*/ 97 h 477"/>
                <a:gd name="T48" fmla="*/ 324 w 565"/>
                <a:gd name="T49" fmla="*/ 104 h 477"/>
                <a:gd name="T50" fmla="*/ 380 w 565"/>
                <a:gd name="T51" fmla="*/ 97 h 477"/>
                <a:gd name="T52" fmla="*/ 406 w 565"/>
                <a:gd name="T53" fmla="*/ 104 h 477"/>
                <a:gd name="T54" fmla="*/ 435 w 565"/>
                <a:gd name="T55" fmla="*/ 104 h 477"/>
                <a:gd name="T56" fmla="*/ 463 w 565"/>
                <a:gd name="T57" fmla="*/ 111 h 477"/>
                <a:gd name="T58" fmla="*/ 492 w 565"/>
                <a:gd name="T59" fmla="*/ 118 h 477"/>
                <a:gd name="T60" fmla="*/ 532 w 565"/>
                <a:gd name="T61" fmla="*/ 125 h 477"/>
                <a:gd name="T62" fmla="*/ 551 w 565"/>
                <a:gd name="T63" fmla="*/ 144 h 477"/>
                <a:gd name="T64" fmla="*/ 565 w 565"/>
                <a:gd name="T65" fmla="*/ 158 h 477"/>
                <a:gd name="T66" fmla="*/ 534 w 565"/>
                <a:gd name="T67" fmla="*/ 210 h 477"/>
                <a:gd name="T68" fmla="*/ 517 w 565"/>
                <a:gd name="T69" fmla="*/ 234 h 477"/>
                <a:gd name="T70" fmla="*/ 496 w 565"/>
                <a:gd name="T71" fmla="*/ 257 h 477"/>
                <a:gd name="T72" fmla="*/ 501 w 565"/>
                <a:gd name="T73" fmla="*/ 279 h 477"/>
                <a:gd name="T74" fmla="*/ 496 w 565"/>
                <a:gd name="T75" fmla="*/ 321 h 477"/>
                <a:gd name="T76" fmla="*/ 463 w 565"/>
                <a:gd name="T77" fmla="*/ 475 h 477"/>
                <a:gd name="T78" fmla="*/ 428 w 565"/>
                <a:gd name="T79" fmla="*/ 472 h 477"/>
                <a:gd name="T80" fmla="*/ 404 w 565"/>
                <a:gd name="T81" fmla="*/ 465 h 477"/>
                <a:gd name="T82" fmla="*/ 376 w 565"/>
                <a:gd name="T83" fmla="*/ 458 h 477"/>
                <a:gd name="T84" fmla="*/ 340 w 565"/>
                <a:gd name="T85" fmla="*/ 451 h 477"/>
                <a:gd name="T86" fmla="*/ 310 w 565"/>
                <a:gd name="T87" fmla="*/ 444 h 477"/>
                <a:gd name="T88" fmla="*/ 217 w 565"/>
                <a:gd name="T89" fmla="*/ 420 h 477"/>
                <a:gd name="T90" fmla="*/ 196 w 565"/>
                <a:gd name="T91" fmla="*/ 416 h 477"/>
                <a:gd name="T92" fmla="*/ 173 w 565"/>
                <a:gd name="T93" fmla="*/ 409 h 477"/>
                <a:gd name="T94" fmla="*/ 142 w 565"/>
                <a:gd name="T95" fmla="*/ 402 h 477"/>
                <a:gd name="T96" fmla="*/ 106 w 565"/>
                <a:gd name="T97" fmla="*/ 387 h 477"/>
                <a:gd name="T98" fmla="*/ 76 w 565"/>
                <a:gd name="T99" fmla="*/ 380 h 477"/>
                <a:gd name="T100" fmla="*/ 57 w 565"/>
                <a:gd name="T101" fmla="*/ 376 h 477"/>
                <a:gd name="T102" fmla="*/ 19 w 565"/>
                <a:gd name="T103" fmla="*/ 364 h 47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5"/>
                <a:gd name="T157" fmla="*/ 0 h 477"/>
                <a:gd name="T158" fmla="*/ 565 w 565"/>
                <a:gd name="T159" fmla="*/ 477 h 47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5" h="477">
                  <a:moveTo>
                    <a:pt x="7" y="359"/>
                  </a:moveTo>
                  <a:lnTo>
                    <a:pt x="7" y="359"/>
                  </a:lnTo>
                  <a:lnTo>
                    <a:pt x="3" y="354"/>
                  </a:lnTo>
                  <a:lnTo>
                    <a:pt x="3" y="352"/>
                  </a:lnTo>
                  <a:lnTo>
                    <a:pt x="0" y="347"/>
                  </a:lnTo>
                  <a:lnTo>
                    <a:pt x="0" y="328"/>
                  </a:lnTo>
                  <a:lnTo>
                    <a:pt x="3" y="324"/>
                  </a:lnTo>
                  <a:lnTo>
                    <a:pt x="3" y="314"/>
                  </a:lnTo>
                  <a:lnTo>
                    <a:pt x="7" y="312"/>
                  </a:lnTo>
                  <a:lnTo>
                    <a:pt x="7" y="307"/>
                  </a:lnTo>
                  <a:lnTo>
                    <a:pt x="10" y="302"/>
                  </a:lnTo>
                  <a:lnTo>
                    <a:pt x="10" y="295"/>
                  </a:lnTo>
                  <a:lnTo>
                    <a:pt x="7" y="288"/>
                  </a:lnTo>
                  <a:lnTo>
                    <a:pt x="7" y="279"/>
                  </a:lnTo>
                  <a:lnTo>
                    <a:pt x="10" y="274"/>
                  </a:lnTo>
                  <a:lnTo>
                    <a:pt x="12" y="272"/>
                  </a:lnTo>
                  <a:lnTo>
                    <a:pt x="17" y="265"/>
                  </a:lnTo>
                  <a:lnTo>
                    <a:pt x="24" y="255"/>
                  </a:lnTo>
                  <a:lnTo>
                    <a:pt x="26" y="248"/>
                  </a:lnTo>
                  <a:lnTo>
                    <a:pt x="26" y="246"/>
                  </a:lnTo>
                  <a:lnTo>
                    <a:pt x="28" y="241"/>
                  </a:lnTo>
                  <a:lnTo>
                    <a:pt x="33" y="241"/>
                  </a:lnTo>
                  <a:lnTo>
                    <a:pt x="40" y="239"/>
                  </a:lnTo>
                  <a:lnTo>
                    <a:pt x="40" y="241"/>
                  </a:lnTo>
                  <a:lnTo>
                    <a:pt x="43" y="241"/>
                  </a:lnTo>
                  <a:lnTo>
                    <a:pt x="43" y="234"/>
                  </a:lnTo>
                  <a:lnTo>
                    <a:pt x="36" y="234"/>
                  </a:lnTo>
                  <a:lnTo>
                    <a:pt x="36" y="239"/>
                  </a:lnTo>
                  <a:lnTo>
                    <a:pt x="36" y="234"/>
                  </a:lnTo>
                  <a:lnTo>
                    <a:pt x="43" y="224"/>
                  </a:lnTo>
                  <a:lnTo>
                    <a:pt x="45" y="222"/>
                  </a:lnTo>
                  <a:lnTo>
                    <a:pt x="45" y="217"/>
                  </a:lnTo>
                  <a:lnTo>
                    <a:pt x="50" y="215"/>
                  </a:lnTo>
                  <a:lnTo>
                    <a:pt x="57" y="210"/>
                  </a:lnTo>
                  <a:lnTo>
                    <a:pt x="52" y="208"/>
                  </a:lnTo>
                  <a:lnTo>
                    <a:pt x="52" y="206"/>
                  </a:lnTo>
                  <a:lnTo>
                    <a:pt x="59" y="194"/>
                  </a:lnTo>
                  <a:lnTo>
                    <a:pt x="66" y="175"/>
                  </a:lnTo>
                  <a:lnTo>
                    <a:pt x="80" y="144"/>
                  </a:lnTo>
                  <a:lnTo>
                    <a:pt x="80" y="137"/>
                  </a:lnTo>
                  <a:lnTo>
                    <a:pt x="83" y="135"/>
                  </a:lnTo>
                  <a:lnTo>
                    <a:pt x="85" y="125"/>
                  </a:lnTo>
                  <a:lnTo>
                    <a:pt x="85" y="118"/>
                  </a:lnTo>
                  <a:lnTo>
                    <a:pt x="90" y="113"/>
                  </a:lnTo>
                  <a:lnTo>
                    <a:pt x="92" y="109"/>
                  </a:lnTo>
                  <a:lnTo>
                    <a:pt x="104" y="90"/>
                  </a:lnTo>
                  <a:lnTo>
                    <a:pt x="104" y="87"/>
                  </a:lnTo>
                  <a:lnTo>
                    <a:pt x="109" y="64"/>
                  </a:lnTo>
                  <a:lnTo>
                    <a:pt x="114" y="61"/>
                  </a:lnTo>
                  <a:lnTo>
                    <a:pt x="116" y="61"/>
                  </a:lnTo>
                  <a:lnTo>
                    <a:pt x="116" y="57"/>
                  </a:lnTo>
                  <a:lnTo>
                    <a:pt x="114" y="54"/>
                  </a:lnTo>
                  <a:lnTo>
                    <a:pt x="121" y="47"/>
                  </a:lnTo>
                  <a:lnTo>
                    <a:pt x="121" y="40"/>
                  </a:lnTo>
                  <a:lnTo>
                    <a:pt x="116" y="38"/>
                  </a:lnTo>
                  <a:lnTo>
                    <a:pt x="121" y="33"/>
                  </a:lnTo>
                  <a:lnTo>
                    <a:pt x="123" y="28"/>
                  </a:lnTo>
                  <a:lnTo>
                    <a:pt x="125" y="21"/>
                  </a:lnTo>
                  <a:lnTo>
                    <a:pt x="125" y="17"/>
                  </a:lnTo>
                  <a:lnTo>
                    <a:pt x="130" y="14"/>
                  </a:lnTo>
                  <a:lnTo>
                    <a:pt x="130" y="0"/>
                  </a:lnTo>
                  <a:lnTo>
                    <a:pt x="137" y="5"/>
                  </a:lnTo>
                  <a:lnTo>
                    <a:pt x="142" y="7"/>
                  </a:lnTo>
                  <a:lnTo>
                    <a:pt x="154" y="7"/>
                  </a:lnTo>
                  <a:lnTo>
                    <a:pt x="156" y="5"/>
                  </a:lnTo>
                  <a:lnTo>
                    <a:pt x="161" y="7"/>
                  </a:lnTo>
                  <a:lnTo>
                    <a:pt x="161" y="14"/>
                  </a:lnTo>
                  <a:lnTo>
                    <a:pt x="163" y="14"/>
                  </a:lnTo>
                  <a:lnTo>
                    <a:pt x="170" y="17"/>
                  </a:lnTo>
                  <a:lnTo>
                    <a:pt x="177" y="17"/>
                  </a:lnTo>
                  <a:lnTo>
                    <a:pt x="187" y="28"/>
                  </a:lnTo>
                  <a:lnTo>
                    <a:pt x="189" y="28"/>
                  </a:lnTo>
                  <a:lnTo>
                    <a:pt x="189" y="61"/>
                  </a:lnTo>
                  <a:lnTo>
                    <a:pt x="187" y="64"/>
                  </a:lnTo>
                  <a:lnTo>
                    <a:pt x="187" y="68"/>
                  </a:lnTo>
                  <a:lnTo>
                    <a:pt x="189" y="73"/>
                  </a:lnTo>
                  <a:lnTo>
                    <a:pt x="194" y="73"/>
                  </a:lnTo>
                  <a:lnTo>
                    <a:pt x="194" y="78"/>
                  </a:lnTo>
                  <a:lnTo>
                    <a:pt x="203" y="80"/>
                  </a:lnTo>
                  <a:lnTo>
                    <a:pt x="206" y="80"/>
                  </a:lnTo>
                  <a:lnTo>
                    <a:pt x="210" y="85"/>
                  </a:lnTo>
                  <a:lnTo>
                    <a:pt x="213" y="85"/>
                  </a:lnTo>
                  <a:lnTo>
                    <a:pt x="213" y="87"/>
                  </a:lnTo>
                  <a:lnTo>
                    <a:pt x="217" y="87"/>
                  </a:lnTo>
                  <a:lnTo>
                    <a:pt x="227" y="85"/>
                  </a:lnTo>
                  <a:lnTo>
                    <a:pt x="236" y="85"/>
                  </a:lnTo>
                  <a:lnTo>
                    <a:pt x="239" y="80"/>
                  </a:lnTo>
                  <a:lnTo>
                    <a:pt x="243" y="80"/>
                  </a:lnTo>
                  <a:lnTo>
                    <a:pt x="262" y="85"/>
                  </a:lnTo>
                  <a:lnTo>
                    <a:pt x="274" y="90"/>
                  </a:lnTo>
                  <a:lnTo>
                    <a:pt x="277" y="90"/>
                  </a:lnTo>
                  <a:lnTo>
                    <a:pt x="277" y="94"/>
                  </a:lnTo>
                  <a:lnTo>
                    <a:pt x="279" y="94"/>
                  </a:lnTo>
                  <a:lnTo>
                    <a:pt x="286" y="97"/>
                  </a:lnTo>
                  <a:lnTo>
                    <a:pt x="298" y="102"/>
                  </a:lnTo>
                  <a:lnTo>
                    <a:pt x="307" y="97"/>
                  </a:lnTo>
                  <a:lnTo>
                    <a:pt x="319" y="97"/>
                  </a:lnTo>
                  <a:lnTo>
                    <a:pt x="319" y="102"/>
                  </a:lnTo>
                  <a:lnTo>
                    <a:pt x="324" y="102"/>
                  </a:lnTo>
                  <a:lnTo>
                    <a:pt x="324" y="104"/>
                  </a:lnTo>
                  <a:lnTo>
                    <a:pt x="340" y="104"/>
                  </a:lnTo>
                  <a:lnTo>
                    <a:pt x="343" y="102"/>
                  </a:lnTo>
                  <a:lnTo>
                    <a:pt x="380" y="102"/>
                  </a:lnTo>
                  <a:lnTo>
                    <a:pt x="380" y="97"/>
                  </a:lnTo>
                  <a:lnTo>
                    <a:pt x="383" y="97"/>
                  </a:lnTo>
                  <a:lnTo>
                    <a:pt x="390" y="102"/>
                  </a:lnTo>
                  <a:lnTo>
                    <a:pt x="404" y="102"/>
                  </a:lnTo>
                  <a:lnTo>
                    <a:pt x="406" y="104"/>
                  </a:lnTo>
                  <a:lnTo>
                    <a:pt x="414" y="104"/>
                  </a:lnTo>
                  <a:lnTo>
                    <a:pt x="416" y="102"/>
                  </a:lnTo>
                  <a:lnTo>
                    <a:pt x="428" y="102"/>
                  </a:lnTo>
                  <a:lnTo>
                    <a:pt x="435" y="104"/>
                  </a:lnTo>
                  <a:lnTo>
                    <a:pt x="440" y="104"/>
                  </a:lnTo>
                  <a:lnTo>
                    <a:pt x="447" y="109"/>
                  </a:lnTo>
                  <a:lnTo>
                    <a:pt x="454" y="109"/>
                  </a:lnTo>
                  <a:lnTo>
                    <a:pt x="463" y="111"/>
                  </a:lnTo>
                  <a:lnTo>
                    <a:pt x="470" y="111"/>
                  </a:lnTo>
                  <a:lnTo>
                    <a:pt x="477" y="113"/>
                  </a:lnTo>
                  <a:lnTo>
                    <a:pt x="487" y="113"/>
                  </a:lnTo>
                  <a:lnTo>
                    <a:pt x="492" y="118"/>
                  </a:lnTo>
                  <a:lnTo>
                    <a:pt x="508" y="120"/>
                  </a:lnTo>
                  <a:lnTo>
                    <a:pt x="513" y="120"/>
                  </a:lnTo>
                  <a:lnTo>
                    <a:pt x="525" y="125"/>
                  </a:lnTo>
                  <a:lnTo>
                    <a:pt x="532" y="125"/>
                  </a:lnTo>
                  <a:lnTo>
                    <a:pt x="534" y="128"/>
                  </a:lnTo>
                  <a:lnTo>
                    <a:pt x="543" y="128"/>
                  </a:lnTo>
                  <a:lnTo>
                    <a:pt x="548" y="137"/>
                  </a:lnTo>
                  <a:lnTo>
                    <a:pt x="551" y="144"/>
                  </a:lnTo>
                  <a:lnTo>
                    <a:pt x="553" y="146"/>
                  </a:lnTo>
                  <a:lnTo>
                    <a:pt x="560" y="154"/>
                  </a:lnTo>
                  <a:lnTo>
                    <a:pt x="560" y="158"/>
                  </a:lnTo>
                  <a:lnTo>
                    <a:pt x="565" y="158"/>
                  </a:lnTo>
                  <a:lnTo>
                    <a:pt x="565" y="170"/>
                  </a:lnTo>
                  <a:lnTo>
                    <a:pt x="551" y="184"/>
                  </a:lnTo>
                  <a:lnTo>
                    <a:pt x="551" y="187"/>
                  </a:lnTo>
                  <a:lnTo>
                    <a:pt x="534" y="210"/>
                  </a:lnTo>
                  <a:lnTo>
                    <a:pt x="532" y="217"/>
                  </a:lnTo>
                  <a:lnTo>
                    <a:pt x="525" y="231"/>
                  </a:lnTo>
                  <a:lnTo>
                    <a:pt x="520" y="234"/>
                  </a:lnTo>
                  <a:lnTo>
                    <a:pt x="517" y="234"/>
                  </a:lnTo>
                  <a:lnTo>
                    <a:pt x="513" y="239"/>
                  </a:lnTo>
                  <a:lnTo>
                    <a:pt x="510" y="239"/>
                  </a:lnTo>
                  <a:lnTo>
                    <a:pt x="503" y="248"/>
                  </a:lnTo>
                  <a:lnTo>
                    <a:pt x="496" y="257"/>
                  </a:lnTo>
                  <a:lnTo>
                    <a:pt x="494" y="265"/>
                  </a:lnTo>
                  <a:lnTo>
                    <a:pt x="494" y="274"/>
                  </a:lnTo>
                  <a:lnTo>
                    <a:pt x="496" y="279"/>
                  </a:lnTo>
                  <a:lnTo>
                    <a:pt x="501" y="279"/>
                  </a:lnTo>
                  <a:lnTo>
                    <a:pt x="508" y="281"/>
                  </a:lnTo>
                  <a:lnTo>
                    <a:pt x="510" y="288"/>
                  </a:lnTo>
                  <a:lnTo>
                    <a:pt x="508" y="295"/>
                  </a:lnTo>
                  <a:lnTo>
                    <a:pt x="496" y="321"/>
                  </a:lnTo>
                  <a:lnTo>
                    <a:pt x="487" y="361"/>
                  </a:lnTo>
                  <a:lnTo>
                    <a:pt x="480" y="387"/>
                  </a:lnTo>
                  <a:lnTo>
                    <a:pt x="477" y="418"/>
                  </a:lnTo>
                  <a:lnTo>
                    <a:pt x="463" y="475"/>
                  </a:lnTo>
                  <a:lnTo>
                    <a:pt x="463" y="477"/>
                  </a:lnTo>
                  <a:lnTo>
                    <a:pt x="468" y="477"/>
                  </a:lnTo>
                  <a:lnTo>
                    <a:pt x="456" y="477"/>
                  </a:lnTo>
                  <a:lnTo>
                    <a:pt x="428" y="472"/>
                  </a:lnTo>
                  <a:lnTo>
                    <a:pt x="423" y="472"/>
                  </a:lnTo>
                  <a:lnTo>
                    <a:pt x="416" y="468"/>
                  </a:lnTo>
                  <a:lnTo>
                    <a:pt x="411" y="468"/>
                  </a:lnTo>
                  <a:lnTo>
                    <a:pt x="404" y="465"/>
                  </a:lnTo>
                  <a:lnTo>
                    <a:pt x="395" y="465"/>
                  </a:lnTo>
                  <a:lnTo>
                    <a:pt x="383" y="461"/>
                  </a:lnTo>
                  <a:lnTo>
                    <a:pt x="380" y="461"/>
                  </a:lnTo>
                  <a:lnTo>
                    <a:pt x="376" y="458"/>
                  </a:lnTo>
                  <a:lnTo>
                    <a:pt x="364" y="458"/>
                  </a:lnTo>
                  <a:lnTo>
                    <a:pt x="359" y="456"/>
                  </a:lnTo>
                  <a:lnTo>
                    <a:pt x="347" y="451"/>
                  </a:lnTo>
                  <a:lnTo>
                    <a:pt x="340" y="451"/>
                  </a:lnTo>
                  <a:lnTo>
                    <a:pt x="333" y="449"/>
                  </a:lnTo>
                  <a:lnTo>
                    <a:pt x="324" y="449"/>
                  </a:lnTo>
                  <a:lnTo>
                    <a:pt x="319" y="444"/>
                  </a:lnTo>
                  <a:lnTo>
                    <a:pt x="310" y="444"/>
                  </a:lnTo>
                  <a:lnTo>
                    <a:pt x="269" y="435"/>
                  </a:lnTo>
                  <a:lnTo>
                    <a:pt x="251" y="428"/>
                  </a:lnTo>
                  <a:lnTo>
                    <a:pt x="227" y="420"/>
                  </a:lnTo>
                  <a:lnTo>
                    <a:pt x="217" y="420"/>
                  </a:lnTo>
                  <a:lnTo>
                    <a:pt x="213" y="418"/>
                  </a:lnTo>
                  <a:lnTo>
                    <a:pt x="203" y="418"/>
                  </a:lnTo>
                  <a:lnTo>
                    <a:pt x="201" y="416"/>
                  </a:lnTo>
                  <a:lnTo>
                    <a:pt x="196" y="416"/>
                  </a:lnTo>
                  <a:lnTo>
                    <a:pt x="189" y="411"/>
                  </a:lnTo>
                  <a:lnTo>
                    <a:pt x="180" y="411"/>
                  </a:lnTo>
                  <a:lnTo>
                    <a:pt x="177" y="409"/>
                  </a:lnTo>
                  <a:lnTo>
                    <a:pt x="173" y="409"/>
                  </a:lnTo>
                  <a:lnTo>
                    <a:pt x="166" y="404"/>
                  </a:lnTo>
                  <a:lnTo>
                    <a:pt x="156" y="404"/>
                  </a:lnTo>
                  <a:lnTo>
                    <a:pt x="149" y="402"/>
                  </a:lnTo>
                  <a:lnTo>
                    <a:pt x="142" y="402"/>
                  </a:lnTo>
                  <a:lnTo>
                    <a:pt x="137" y="399"/>
                  </a:lnTo>
                  <a:lnTo>
                    <a:pt x="130" y="399"/>
                  </a:lnTo>
                  <a:lnTo>
                    <a:pt x="109" y="392"/>
                  </a:lnTo>
                  <a:lnTo>
                    <a:pt x="106" y="387"/>
                  </a:lnTo>
                  <a:lnTo>
                    <a:pt x="97" y="387"/>
                  </a:lnTo>
                  <a:lnTo>
                    <a:pt x="92" y="385"/>
                  </a:lnTo>
                  <a:lnTo>
                    <a:pt x="85" y="385"/>
                  </a:lnTo>
                  <a:lnTo>
                    <a:pt x="76" y="380"/>
                  </a:lnTo>
                  <a:lnTo>
                    <a:pt x="73" y="380"/>
                  </a:lnTo>
                  <a:lnTo>
                    <a:pt x="69" y="378"/>
                  </a:lnTo>
                  <a:lnTo>
                    <a:pt x="59" y="378"/>
                  </a:lnTo>
                  <a:lnTo>
                    <a:pt x="57" y="376"/>
                  </a:lnTo>
                  <a:lnTo>
                    <a:pt x="50" y="376"/>
                  </a:lnTo>
                  <a:lnTo>
                    <a:pt x="45" y="371"/>
                  </a:lnTo>
                  <a:lnTo>
                    <a:pt x="26" y="364"/>
                  </a:lnTo>
                  <a:lnTo>
                    <a:pt x="19" y="364"/>
                  </a:lnTo>
                  <a:lnTo>
                    <a:pt x="7" y="361"/>
                  </a:lnTo>
                  <a:lnTo>
                    <a:pt x="7" y="35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6" name="Freeform 160">
              <a:extLst>
                <a:ext uri="{FF2B5EF4-FFF2-40B4-BE49-F238E27FC236}">
                  <a16:creationId xmlns:a16="http://schemas.microsoft.com/office/drawing/2014/main" id="{9A37FDB7-7F14-4595-A8B7-F9F766E27B27}"/>
                </a:ext>
              </a:extLst>
            </p:cNvPr>
            <p:cNvSpPr>
              <a:spLocks/>
            </p:cNvSpPr>
            <p:nvPr/>
          </p:nvSpPr>
          <p:spPr bwMode="gray">
            <a:xfrm rot="47099">
              <a:off x="2268640" y="2948920"/>
              <a:ext cx="54328" cy="116744"/>
            </a:xfrm>
            <a:custGeom>
              <a:avLst/>
              <a:gdLst>
                <a:gd name="T0" fmla="*/ 5 w 116"/>
                <a:gd name="T1" fmla="*/ 29 h 251"/>
                <a:gd name="T2" fmla="*/ 5 w 116"/>
                <a:gd name="T3" fmla="*/ 15 h 251"/>
                <a:gd name="T4" fmla="*/ 9 w 116"/>
                <a:gd name="T5" fmla="*/ 5 h 251"/>
                <a:gd name="T6" fmla="*/ 19 w 116"/>
                <a:gd name="T7" fmla="*/ 7 h 251"/>
                <a:gd name="T8" fmla="*/ 26 w 116"/>
                <a:gd name="T9" fmla="*/ 5 h 251"/>
                <a:gd name="T10" fmla="*/ 28 w 116"/>
                <a:gd name="T11" fmla="*/ 17 h 251"/>
                <a:gd name="T12" fmla="*/ 33 w 116"/>
                <a:gd name="T13" fmla="*/ 29 h 251"/>
                <a:gd name="T14" fmla="*/ 45 w 116"/>
                <a:gd name="T15" fmla="*/ 55 h 251"/>
                <a:gd name="T16" fmla="*/ 57 w 116"/>
                <a:gd name="T17" fmla="*/ 81 h 251"/>
                <a:gd name="T18" fmla="*/ 80 w 116"/>
                <a:gd name="T19" fmla="*/ 135 h 251"/>
                <a:gd name="T20" fmla="*/ 85 w 116"/>
                <a:gd name="T21" fmla="*/ 154 h 251"/>
                <a:gd name="T22" fmla="*/ 97 w 116"/>
                <a:gd name="T23" fmla="*/ 168 h 251"/>
                <a:gd name="T24" fmla="*/ 113 w 116"/>
                <a:gd name="T25" fmla="*/ 182 h 251"/>
                <a:gd name="T26" fmla="*/ 116 w 116"/>
                <a:gd name="T27" fmla="*/ 192 h 251"/>
                <a:gd name="T28" fmla="*/ 113 w 116"/>
                <a:gd name="T29" fmla="*/ 201 h 251"/>
                <a:gd name="T30" fmla="*/ 113 w 116"/>
                <a:gd name="T31" fmla="*/ 201 h 251"/>
                <a:gd name="T32" fmla="*/ 109 w 116"/>
                <a:gd name="T33" fmla="*/ 201 h 251"/>
                <a:gd name="T34" fmla="*/ 97 w 116"/>
                <a:gd name="T35" fmla="*/ 215 h 251"/>
                <a:gd name="T36" fmla="*/ 59 w 116"/>
                <a:gd name="T37" fmla="*/ 239 h 251"/>
                <a:gd name="T38" fmla="*/ 19 w 116"/>
                <a:gd name="T39" fmla="*/ 251 h 251"/>
                <a:gd name="T40" fmla="*/ 12 w 116"/>
                <a:gd name="T41" fmla="*/ 248 h 251"/>
                <a:gd name="T42" fmla="*/ 9 w 116"/>
                <a:gd name="T43" fmla="*/ 241 h 251"/>
                <a:gd name="T44" fmla="*/ 5 w 116"/>
                <a:gd name="T45" fmla="*/ 215 h 251"/>
                <a:gd name="T46" fmla="*/ 2 w 116"/>
                <a:gd name="T47" fmla="*/ 189 h 251"/>
                <a:gd name="T48" fmla="*/ 0 w 116"/>
                <a:gd name="T49" fmla="*/ 182 h 251"/>
                <a:gd name="T50" fmla="*/ 2 w 116"/>
                <a:gd name="T51" fmla="*/ 159 h 251"/>
                <a:gd name="T52" fmla="*/ 0 w 116"/>
                <a:gd name="T53" fmla="*/ 111 h 251"/>
                <a:gd name="T54" fmla="*/ 2 w 116"/>
                <a:gd name="T55" fmla="*/ 102 h 251"/>
                <a:gd name="T56" fmla="*/ 12 w 116"/>
                <a:gd name="T57" fmla="*/ 92 h 251"/>
                <a:gd name="T58" fmla="*/ 17 w 116"/>
                <a:gd name="T59" fmla="*/ 81 h 251"/>
                <a:gd name="T60" fmla="*/ 19 w 116"/>
                <a:gd name="T61" fmla="*/ 74 h 251"/>
                <a:gd name="T62" fmla="*/ 12 w 116"/>
                <a:gd name="T63" fmla="*/ 64 h 251"/>
                <a:gd name="T64" fmla="*/ 9 w 116"/>
                <a:gd name="T65" fmla="*/ 41 h 251"/>
                <a:gd name="T66" fmla="*/ 9 w 116"/>
                <a:gd name="T67" fmla="*/ 36 h 2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251"/>
                <a:gd name="T104" fmla="*/ 116 w 116"/>
                <a:gd name="T105" fmla="*/ 251 h 2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251">
                  <a:moveTo>
                    <a:pt x="5" y="36"/>
                  </a:moveTo>
                  <a:lnTo>
                    <a:pt x="5" y="29"/>
                  </a:lnTo>
                  <a:lnTo>
                    <a:pt x="9" y="24"/>
                  </a:lnTo>
                  <a:lnTo>
                    <a:pt x="5" y="15"/>
                  </a:lnTo>
                  <a:lnTo>
                    <a:pt x="9" y="7"/>
                  </a:lnTo>
                  <a:lnTo>
                    <a:pt x="9" y="5"/>
                  </a:lnTo>
                  <a:lnTo>
                    <a:pt x="12" y="7"/>
                  </a:lnTo>
                  <a:lnTo>
                    <a:pt x="19" y="7"/>
                  </a:lnTo>
                  <a:lnTo>
                    <a:pt x="24" y="0"/>
                  </a:lnTo>
                  <a:lnTo>
                    <a:pt x="26" y="5"/>
                  </a:lnTo>
                  <a:lnTo>
                    <a:pt x="26" y="12"/>
                  </a:lnTo>
                  <a:lnTo>
                    <a:pt x="28" y="17"/>
                  </a:lnTo>
                  <a:lnTo>
                    <a:pt x="33" y="22"/>
                  </a:lnTo>
                  <a:lnTo>
                    <a:pt x="33" y="29"/>
                  </a:lnTo>
                  <a:lnTo>
                    <a:pt x="35" y="36"/>
                  </a:lnTo>
                  <a:lnTo>
                    <a:pt x="45" y="55"/>
                  </a:lnTo>
                  <a:lnTo>
                    <a:pt x="50" y="69"/>
                  </a:lnTo>
                  <a:lnTo>
                    <a:pt x="57" y="81"/>
                  </a:lnTo>
                  <a:lnTo>
                    <a:pt x="73" y="114"/>
                  </a:lnTo>
                  <a:lnTo>
                    <a:pt x="80" y="135"/>
                  </a:lnTo>
                  <a:lnTo>
                    <a:pt x="85" y="144"/>
                  </a:lnTo>
                  <a:lnTo>
                    <a:pt x="85" y="154"/>
                  </a:lnTo>
                  <a:lnTo>
                    <a:pt x="90" y="161"/>
                  </a:lnTo>
                  <a:lnTo>
                    <a:pt x="97" y="168"/>
                  </a:lnTo>
                  <a:lnTo>
                    <a:pt x="106" y="178"/>
                  </a:lnTo>
                  <a:lnTo>
                    <a:pt x="113" y="182"/>
                  </a:lnTo>
                  <a:lnTo>
                    <a:pt x="116" y="185"/>
                  </a:lnTo>
                  <a:lnTo>
                    <a:pt x="116" y="192"/>
                  </a:lnTo>
                  <a:lnTo>
                    <a:pt x="113" y="194"/>
                  </a:lnTo>
                  <a:lnTo>
                    <a:pt x="113" y="201"/>
                  </a:lnTo>
                  <a:lnTo>
                    <a:pt x="116" y="201"/>
                  </a:lnTo>
                  <a:lnTo>
                    <a:pt x="113" y="201"/>
                  </a:lnTo>
                  <a:lnTo>
                    <a:pt x="113" y="206"/>
                  </a:lnTo>
                  <a:lnTo>
                    <a:pt x="109" y="201"/>
                  </a:lnTo>
                  <a:lnTo>
                    <a:pt x="106" y="206"/>
                  </a:lnTo>
                  <a:lnTo>
                    <a:pt x="97" y="215"/>
                  </a:lnTo>
                  <a:lnTo>
                    <a:pt x="92" y="230"/>
                  </a:lnTo>
                  <a:lnTo>
                    <a:pt x="59" y="239"/>
                  </a:lnTo>
                  <a:lnTo>
                    <a:pt x="40" y="246"/>
                  </a:lnTo>
                  <a:lnTo>
                    <a:pt x="19" y="251"/>
                  </a:lnTo>
                  <a:lnTo>
                    <a:pt x="17" y="248"/>
                  </a:lnTo>
                  <a:lnTo>
                    <a:pt x="12" y="248"/>
                  </a:lnTo>
                  <a:lnTo>
                    <a:pt x="12" y="246"/>
                  </a:lnTo>
                  <a:lnTo>
                    <a:pt x="9" y="241"/>
                  </a:lnTo>
                  <a:lnTo>
                    <a:pt x="9" y="218"/>
                  </a:lnTo>
                  <a:lnTo>
                    <a:pt x="5" y="215"/>
                  </a:lnTo>
                  <a:lnTo>
                    <a:pt x="5" y="201"/>
                  </a:lnTo>
                  <a:lnTo>
                    <a:pt x="2" y="189"/>
                  </a:lnTo>
                  <a:lnTo>
                    <a:pt x="2" y="185"/>
                  </a:lnTo>
                  <a:lnTo>
                    <a:pt x="0" y="182"/>
                  </a:lnTo>
                  <a:lnTo>
                    <a:pt x="0" y="161"/>
                  </a:lnTo>
                  <a:lnTo>
                    <a:pt x="2" y="159"/>
                  </a:lnTo>
                  <a:lnTo>
                    <a:pt x="2" y="126"/>
                  </a:lnTo>
                  <a:lnTo>
                    <a:pt x="0" y="111"/>
                  </a:lnTo>
                  <a:lnTo>
                    <a:pt x="0" y="102"/>
                  </a:lnTo>
                  <a:lnTo>
                    <a:pt x="2" y="102"/>
                  </a:lnTo>
                  <a:lnTo>
                    <a:pt x="9" y="95"/>
                  </a:lnTo>
                  <a:lnTo>
                    <a:pt x="12" y="92"/>
                  </a:lnTo>
                  <a:lnTo>
                    <a:pt x="17" y="88"/>
                  </a:lnTo>
                  <a:lnTo>
                    <a:pt x="17" y="81"/>
                  </a:lnTo>
                  <a:lnTo>
                    <a:pt x="19" y="78"/>
                  </a:lnTo>
                  <a:lnTo>
                    <a:pt x="19" y="74"/>
                  </a:lnTo>
                  <a:lnTo>
                    <a:pt x="17" y="69"/>
                  </a:lnTo>
                  <a:lnTo>
                    <a:pt x="12" y="64"/>
                  </a:lnTo>
                  <a:lnTo>
                    <a:pt x="9" y="64"/>
                  </a:lnTo>
                  <a:lnTo>
                    <a:pt x="9" y="41"/>
                  </a:lnTo>
                  <a:lnTo>
                    <a:pt x="5" y="38"/>
                  </a:lnTo>
                  <a:lnTo>
                    <a:pt x="9" y="36"/>
                  </a:lnTo>
                  <a:lnTo>
                    <a:pt x="5" y="3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7" name="Freeform 161">
              <a:extLst>
                <a:ext uri="{FF2B5EF4-FFF2-40B4-BE49-F238E27FC236}">
                  <a16:creationId xmlns:a16="http://schemas.microsoft.com/office/drawing/2014/main" id="{6A819255-D2E9-4989-97F7-723A3D16D0E5}"/>
                </a:ext>
              </a:extLst>
            </p:cNvPr>
            <p:cNvSpPr>
              <a:spLocks/>
            </p:cNvSpPr>
            <p:nvPr/>
          </p:nvSpPr>
          <p:spPr bwMode="gray">
            <a:xfrm rot="47099">
              <a:off x="1332616" y="3058879"/>
              <a:ext cx="229778" cy="143760"/>
            </a:xfrm>
            <a:custGeom>
              <a:avLst/>
              <a:gdLst>
                <a:gd name="T0" fmla="*/ 0 w 494"/>
                <a:gd name="T1" fmla="*/ 203 h 307"/>
                <a:gd name="T2" fmla="*/ 2 w 494"/>
                <a:gd name="T3" fmla="*/ 153 h 307"/>
                <a:gd name="T4" fmla="*/ 7 w 494"/>
                <a:gd name="T5" fmla="*/ 82 h 307"/>
                <a:gd name="T6" fmla="*/ 9 w 494"/>
                <a:gd name="T7" fmla="*/ 33 h 307"/>
                <a:gd name="T8" fmla="*/ 12 w 494"/>
                <a:gd name="T9" fmla="*/ 0 h 307"/>
                <a:gd name="T10" fmla="*/ 76 w 494"/>
                <a:gd name="T11" fmla="*/ 2 h 307"/>
                <a:gd name="T12" fmla="*/ 172 w 494"/>
                <a:gd name="T13" fmla="*/ 7 h 307"/>
                <a:gd name="T14" fmla="*/ 347 w 494"/>
                <a:gd name="T15" fmla="*/ 2 h 307"/>
                <a:gd name="T16" fmla="*/ 475 w 494"/>
                <a:gd name="T17" fmla="*/ 0 h 307"/>
                <a:gd name="T18" fmla="*/ 470 w 494"/>
                <a:gd name="T19" fmla="*/ 16 h 307"/>
                <a:gd name="T20" fmla="*/ 468 w 494"/>
                <a:gd name="T21" fmla="*/ 18 h 307"/>
                <a:gd name="T22" fmla="*/ 461 w 494"/>
                <a:gd name="T23" fmla="*/ 26 h 307"/>
                <a:gd name="T24" fmla="*/ 456 w 494"/>
                <a:gd name="T25" fmla="*/ 33 h 307"/>
                <a:gd name="T26" fmla="*/ 470 w 494"/>
                <a:gd name="T27" fmla="*/ 49 h 307"/>
                <a:gd name="T28" fmla="*/ 480 w 494"/>
                <a:gd name="T29" fmla="*/ 52 h 307"/>
                <a:gd name="T30" fmla="*/ 484 w 494"/>
                <a:gd name="T31" fmla="*/ 73 h 307"/>
                <a:gd name="T32" fmla="*/ 491 w 494"/>
                <a:gd name="T33" fmla="*/ 179 h 307"/>
                <a:gd name="T34" fmla="*/ 480 w 494"/>
                <a:gd name="T35" fmla="*/ 219 h 307"/>
                <a:gd name="T36" fmla="*/ 484 w 494"/>
                <a:gd name="T37" fmla="*/ 226 h 307"/>
                <a:gd name="T38" fmla="*/ 487 w 494"/>
                <a:gd name="T39" fmla="*/ 236 h 307"/>
                <a:gd name="T40" fmla="*/ 484 w 494"/>
                <a:gd name="T41" fmla="*/ 243 h 307"/>
                <a:gd name="T42" fmla="*/ 494 w 494"/>
                <a:gd name="T43" fmla="*/ 252 h 307"/>
                <a:gd name="T44" fmla="*/ 491 w 494"/>
                <a:gd name="T45" fmla="*/ 267 h 307"/>
                <a:gd name="T46" fmla="*/ 487 w 494"/>
                <a:gd name="T47" fmla="*/ 276 h 307"/>
                <a:gd name="T48" fmla="*/ 480 w 494"/>
                <a:gd name="T49" fmla="*/ 283 h 307"/>
                <a:gd name="T50" fmla="*/ 484 w 494"/>
                <a:gd name="T51" fmla="*/ 290 h 307"/>
                <a:gd name="T52" fmla="*/ 487 w 494"/>
                <a:gd name="T53" fmla="*/ 293 h 307"/>
                <a:gd name="T54" fmla="*/ 491 w 494"/>
                <a:gd name="T55" fmla="*/ 300 h 307"/>
                <a:gd name="T56" fmla="*/ 494 w 494"/>
                <a:gd name="T57" fmla="*/ 307 h 307"/>
                <a:gd name="T58" fmla="*/ 484 w 494"/>
                <a:gd name="T59" fmla="*/ 302 h 307"/>
                <a:gd name="T60" fmla="*/ 468 w 494"/>
                <a:gd name="T61" fmla="*/ 285 h 307"/>
                <a:gd name="T62" fmla="*/ 454 w 494"/>
                <a:gd name="T63" fmla="*/ 283 h 307"/>
                <a:gd name="T64" fmla="*/ 444 w 494"/>
                <a:gd name="T65" fmla="*/ 278 h 307"/>
                <a:gd name="T66" fmla="*/ 430 w 494"/>
                <a:gd name="T67" fmla="*/ 276 h 307"/>
                <a:gd name="T68" fmla="*/ 411 w 494"/>
                <a:gd name="T69" fmla="*/ 276 h 307"/>
                <a:gd name="T70" fmla="*/ 399 w 494"/>
                <a:gd name="T71" fmla="*/ 278 h 307"/>
                <a:gd name="T72" fmla="*/ 397 w 494"/>
                <a:gd name="T73" fmla="*/ 285 h 307"/>
                <a:gd name="T74" fmla="*/ 387 w 494"/>
                <a:gd name="T75" fmla="*/ 283 h 307"/>
                <a:gd name="T76" fmla="*/ 364 w 494"/>
                <a:gd name="T77" fmla="*/ 274 h 307"/>
                <a:gd name="T78" fmla="*/ 359 w 494"/>
                <a:gd name="T79" fmla="*/ 267 h 307"/>
                <a:gd name="T80" fmla="*/ 66 w 494"/>
                <a:gd name="T81" fmla="*/ 262 h 307"/>
                <a:gd name="T82" fmla="*/ 0 w 494"/>
                <a:gd name="T83" fmla="*/ 259 h 30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4"/>
                <a:gd name="T127" fmla="*/ 0 h 307"/>
                <a:gd name="T128" fmla="*/ 494 w 494"/>
                <a:gd name="T129" fmla="*/ 307 h 30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4" h="307">
                  <a:moveTo>
                    <a:pt x="0" y="257"/>
                  </a:moveTo>
                  <a:lnTo>
                    <a:pt x="0" y="203"/>
                  </a:lnTo>
                  <a:lnTo>
                    <a:pt x="2" y="186"/>
                  </a:lnTo>
                  <a:lnTo>
                    <a:pt x="2" y="153"/>
                  </a:lnTo>
                  <a:lnTo>
                    <a:pt x="7" y="96"/>
                  </a:lnTo>
                  <a:lnTo>
                    <a:pt x="7" y="82"/>
                  </a:lnTo>
                  <a:lnTo>
                    <a:pt x="9" y="82"/>
                  </a:lnTo>
                  <a:lnTo>
                    <a:pt x="9" y="33"/>
                  </a:lnTo>
                  <a:lnTo>
                    <a:pt x="12" y="7"/>
                  </a:lnTo>
                  <a:lnTo>
                    <a:pt x="12" y="0"/>
                  </a:lnTo>
                  <a:lnTo>
                    <a:pt x="47" y="0"/>
                  </a:lnTo>
                  <a:lnTo>
                    <a:pt x="76" y="2"/>
                  </a:lnTo>
                  <a:lnTo>
                    <a:pt x="170" y="2"/>
                  </a:lnTo>
                  <a:lnTo>
                    <a:pt x="172" y="7"/>
                  </a:lnTo>
                  <a:lnTo>
                    <a:pt x="319" y="7"/>
                  </a:lnTo>
                  <a:lnTo>
                    <a:pt x="347" y="2"/>
                  </a:lnTo>
                  <a:lnTo>
                    <a:pt x="444" y="2"/>
                  </a:lnTo>
                  <a:lnTo>
                    <a:pt x="475" y="0"/>
                  </a:lnTo>
                  <a:lnTo>
                    <a:pt x="475" y="9"/>
                  </a:lnTo>
                  <a:lnTo>
                    <a:pt x="470" y="16"/>
                  </a:lnTo>
                  <a:lnTo>
                    <a:pt x="470" y="18"/>
                  </a:lnTo>
                  <a:lnTo>
                    <a:pt x="468" y="18"/>
                  </a:lnTo>
                  <a:lnTo>
                    <a:pt x="463" y="23"/>
                  </a:lnTo>
                  <a:lnTo>
                    <a:pt x="461" y="26"/>
                  </a:lnTo>
                  <a:lnTo>
                    <a:pt x="456" y="28"/>
                  </a:lnTo>
                  <a:lnTo>
                    <a:pt x="456" y="33"/>
                  </a:lnTo>
                  <a:lnTo>
                    <a:pt x="468" y="44"/>
                  </a:lnTo>
                  <a:lnTo>
                    <a:pt x="470" y="49"/>
                  </a:lnTo>
                  <a:lnTo>
                    <a:pt x="477" y="49"/>
                  </a:lnTo>
                  <a:lnTo>
                    <a:pt x="480" y="52"/>
                  </a:lnTo>
                  <a:lnTo>
                    <a:pt x="484" y="59"/>
                  </a:lnTo>
                  <a:lnTo>
                    <a:pt x="484" y="73"/>
                  </a:lnTo>
                  <a:lnTo>
                    <a:pt x="487" y="125"/>
                  </a:lnTo>
                  <a:lnTo>
                    <a:pt x="491" y="179"/>
                  </a:lnTo>
                  <a:lnTo>
                    <a:pt x="491" y="219"/>
                  </a:lnTo>
                  <a:lnTo>
                    <a:pt x="480" y="219"/>
                  </a:lnTo>
                  <a:lnTo>
                    <a:pt x="484" y="222"/>
                  </a:lnTo>
                  <a:lnTo>
                    <a:pt x="484" y="226"/>
                  </a:lnTo>
                  <a:lnTo>
                    <a:pt x="487" y="229"/>
                  </a:lnTo>
                  <a:lnTo>
                    <a:pt x="487" y="236"/>
                  </a:lnTo>
                  <a:lnTo>
                    <a:pt x="484" y="236"/>
                  </a:lnTo>
                  <a:lnTo>
                    <a:pt x="484" y="243"/>
                  </a:lnTo>
                  <a:lnTo>
                    <a:pt x="491" y="243"/>
                  </a:lnTo>
                  <a:lnTo>
                    <a:pt x="494" y="252"/>
                  </a:lnTo>
                  <a:lnTo>
                    <a:pt x="494" y="257"/>
                  </a:lnTo>
                  <a:lnTo>
                    <a:pt x="491" y="267"/>
                  </a:lnTo>
                  <a:lnTo>
                    <a:pt x="487" y="274"/>
                  </a:lnTo>
                  <a:lnTo>
                    <a:pt x="487" y="276"/>
                  </a:lnTo>
                  <a:lnTo>
                    <a:pt x="484" y="278"/>
                  </a:lnTo>
                  <a:lnTo>
                    <a:pt x="480" y="283"/>
                  </a:lnTo>
                  <a:lnTo>
                    <a:pt x="480" y="285"/>
                  </a:lnTo>
                  <a:lnTo>
                    <a:pt x="484" y="290"/>
                  </a:lnTo>
                  <a:lnTo>
                    <a:pt x="487" y="290"/>
                  </a:lnTo>
                  <a:lnTo>
                    <a:pt x="487" y="293"/>
                  </a:lnTo>
                  <a:lnTo>
                    <a:pt x="491" y="293"/>
                  </a:lnTo>
                  <a:lnTo>
                    <a:pt x="491" y="300"/>
                  </a:lnTo>
                  <a:lnTo>
                    <a:pt x="494" y="302"/>
                  </a:lnTo>
                  <a:lnTo>
                    <a:pt x="494" y="307"/>
                  </a:lnTo>
                  <a:lnTo>
                    <a:pt x="487" y="307"/>
                  </a:lnTo>
                  <a:lnTo>
                    <a:pt x="484" y="302"/>
                  </a:lnTo>
                  <a:lnTo>
                    <a:pt x="470" y="290"/>
                  </a:lnTo>
                  <a:lnTo>
                    <a:pt x="468" y="285"/>
                  </a:lnTo>
                  <a:lnTo>
                    <a:pt x="461" y="285"/>
                  </a:lnTo>
                  <a:lnTo>
                    <a:pt x="454" y="283"/>
                  </a:lnTo>
                  <a:lnTo>
                    <a:pt x="451" y="283"/>
                  </a:lnTo>
                  <a:lnTo>
                    <a:pt x="444" y="278"/>
                  </a:lnTo>
                  <a:lnTo>
                    <a:pt x="444" y="276"/>
                  </a:lnTo>
                  <a:lnTo>
                    <a:pt x="430" y="276"/>
                  </a:lnTo>
                  <a:lnTo>
                    <a:pt x="413" y="278"/>
                  </a:lnTo>
                  <a:lnTo>
                    <a:pt x="411" y="276"/>
                  </a:lnTo>
                  <a:lnTo>
                    <a:pt x="404" y="276"/>
                  </a:lnTo>
                  <a:lnTo>
                    <a:pt x="399" y="278"/>
                  </a:lnTo>
                  <a:lnTo>
                    <a:pt x="397" y="283"/>
                  </a:lnTo>
                  <a:lnTo>
                    <a:pt x="397" y="285"/>
                  </a:lnTo>
                  <a:lnTo>
                    <a:pt x="390" y="285"/>
                  </a:lnTo>
                  <a:lnTo>
                    <a:pt x="387" y="283"/>
                  </a:lnTo>
                  <a:lnTo>
                    <a:pt x="366" y="274"/>
                  </a:lnTo>
                  <a:lnTo>
                    <a:pt x="364" y="274"/>
                  </a:lnTo>
                  <a:lnTo>
                    <a:pt x="364" y="269"/>
                  </a:lnTo>
                  <a:lnTo>
                    <a:pt x="359" y="267"/>
                  </a:lnTo>
                  <a:lnTo>
                    <a:pt x="90" y="267"/>
                  </a:lnTo>
                  <a:lnTo>
                    <a:pt x="66" y="262"/>
                  </a:lnTo>
                  <a:lnTo>
                    <a:pt x="2" y="262"/>
                  </a:lnTo>
                  <a:lnTo>
                    <a:pt x="0" y="259"/>
                  </a:lnTo>
                  <a:lnTo>
                    <a:pt x="0" y="25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8" name="Freeform 162">
              <a:extLst>
                <a:ext uri="{FF2B5EF4-FFF2-40B4-BE49-F238E27FC236}">
                  <a16:creationId xmlns:a16="http://schemas.microsoft.com/office/drawing/2014/main" id="{353E3205-2ACE-47F2-9290-EA9BC45B5A1B}"/>
                </a:ext>
              </a:extLst>
            </p:cNvPr>
            <p:cNvSpPr>
              <a:spLocks/>
            </p:cNvSpPr>
            <p:nvPr/>
          </p:nvSpPr>
          <p:spPr bwMode="gray">
            <a:xfrm rot="47099">
              <a:off x="2252172" y="3165456"/>
              <a:ext cx="4453" cy="6754"/>
            </a:xfrm>
            <a:custGeom>
              <a:avLst/>
              <a:gdLst>
                <a:gd name="T0" fmla="*/ 10 w 10"/>
                <a:gd name="T1" fmla="*/ 0 h 14"/>
                <a:gd name="T2" fmla="*/ 10 w 10"/>
                <a:gd name="T3" fmla="*/ 2 h 14"/>
                <a:gd name="T4" fmla="*/ 7 w 10"/>
                <a:gd name="T5" fmla="*/ 7 h 14"/>
                <a:gd name="T6" fmla="*/ 7 w 10"/>
                <a:gd name="T7" fmla="*/ 9 h 14"/>
                <a:gd name="T8" fmla="*/ 3 w 10"/>
                <a:gd name="T9" fmla="*/ 14 h 14"/>
                <a:gd name="T10" fmla="*/ 0 w 10"/>
                <a:gd name="T11" fmla="*/ 14 h 14"/>
                <a:gd name="T12" fmla="*/ 0 w 10"/>
                <a:gd name="T13" fmla="*/ 2 h 14"/>
                <a:gd name="T14" fmla="*/ 7 w 10"/>
                <a:gd name="T15" fmla="*/ 0 h 14"/>
                <a:gd name="T16" fmla="*/ 10 w 10"/>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10" y="0"/>
                  </a:moveTo>
                  <a:lnTo>
                    <a:pt x="10" y="2"/>
                  </a:lnTo>
                  <a:lnTo>
                    <a:pt x="7" y="7"/>
                  </a:lnTo>
                  <a:lnTo>
                    <a:pt x="7" y="9"/>
                  </a:lnTo>
                  <a:lnTo>
                    <a:pt x="3" y="14"/>
                  </a:lnTo>
                  <a:lnTo>
                    <a:pt x="0" y="14"/>
                  </a:lnTo>
                  <a:lnTo>
                    <a:pt x="0" y="2"/>
                  </a:lnTo>
                  <a:lnTo>
                    <a:pt x="7" y="0"/>
                  </a:lnTo>
                  <a:lnTo>
                    <a:pt x="1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79" name="Freeform 163">
              <a:extLst>
                <a:ext uri="{FF2B5EF4-FFF2-40B4-BE49-F238E27FC236}">
                  <a16:creationId xmlns:a16="http://schemas.microsoft.com/office/drawing/2014/main" id="{3003E765-646A-437E-9973-E20FC1A9E4BF}"/>
                </a:ext>
              </a:extLst>
            </p:cNvPr>
            <p:cNvSpPr>
              <a:spLocks/>
            </p:cNvSpPr>
            <p:nvPr/>
          </p:nvSpPr>
          <p:spPr bwMode="gray">
            <a:xfrm rot="47099">
              <a:off x="2256947" y="3124391"/>
              <a:ext cx="56999" cy="42452"/>
            </a:xfrm>
            <a:custGeom>
              <a:avLst/>
              <a:gdLst>
                <a:gd name="T0" fmla="*/ 0 w 125"/>
                <a:gd name="T1" fmla="*/ 81 h 90"/>
                <a:gd name="T2" fmla="*/ 4 w 125"/>
                <a:gd name="T3" fmla="*/ 71 h 90"/>
                <a:gd name="T4" fmla="*/ 14 w 125"/>
                <a:gd name="T5" fmla="*/ 64 h 90"/>
                <a:gd name="T6" fmla="*/ 26 w 125"/>
                <a:gd name="T7" fmla="*/ 50 h 90"/>
                <a:gd name="T8" fmla="*/ 45 w 125"/>
                <a:gd name="T9" fmla="*/ 48 h 90"/>
                <a:gd name="T10" fmla="*/ 47 w 125"/>
                <a:gd name="T11" fmla="*/ 41 h 90"/>
                <a:gd name="T12" fmla="*/ 64 w 125"/>
                <a:gd name="T13" fmla="*/ 33 h 90"/>
                <a:gd name="T14" fmla="*/ 73 w 125"/>
                <a:gd name="T15" fmla="*/ 31 h 90"/>
                <a:gd name="T16" fmla="*/ 85 w 125"/>
                <a:gd name="T17" fmla="*/ 24 h 90"/>
                <a:gd name="T18" fmla="*/ 87 w 125"/>
                <a:gd name="T19" fmla="*/ 15 h 90"/>
                <a:gd name="T20" fmla="*/ 97 w 125"/>
                <a:gd name="T21" fmla="*/ 5 h 90"/>
                <a:gd name="T22" fmla="*/ 101 w 125"/>
                <a:gd name="T23" fmla="*/ 7 h 90"/>
                <a:gd name="T24" fmla="*/ 94 w 125"/>
                <a:gd name="T25" fmla="*/ 15 h 90"/>
                <a:gd name="T26" fmla="*/ 90 w 125"/>
                <a:gd name="T27" fmla="*/ 31 h 90"/>
                <a:gd name="T28" fmla="*/ 94 w 125"/>
                <a:gd name="T29" fmla="*/ 24 h 90"/>
                <a:gd name="T30" fmla="*/ 101 w 125"/>
                <a:gd name="T31" fmla="*/ 17 h 90"/>
                <a:gd name="T32" fmla="*/ 111 w 125"/>
                <a:gd name="T33" fmla="*/ 15 h 90"/>
                <a:gd name="T34" fmla="*/ 118 w 125"/>
                <a:gd name="T35" fmla="*/ 10 h 90"/>
                <a:gd name="T36" fmla="*/ 120 w 125"/>
                <a:gd name="T37" fmla="*/ 5 h 90"/>
                <a:gd name="T38" fmla="*/ 113 w 125"/>
                <a:gd name="T39" fmla="*/ 15 h 90"/>
                <a:gd name="T40" fmla="*/ 94 w 125"/>
                <a:gd name="T41" fmla="*/ 33 h 90"/>
                <a:gd name="T42" fmla="*/ 85 w 125"/>
                <a:gd name="T43" fmla="*/ 45 h 90"/>
                <a:gd name="T44" fmla="*/ 73 w 125"/>
                <a:gd name="T45" fmla="*/ 50 h 90"/>
                <a:gd name="T46" fmla="*/ 64 w 125"/>
                <a:gd name="T47" fmla="*/ 55 h 90"/>
                <a:gd name="T48" fmla="*/ 54 w 125"/>
                <a:gd name="T49" fmla="*/ 62 h 90"/>
                <a:gd name="T50" fmla="*/ 30 w 125"/>
                <a:gd name="T51" fmla="*/ 78 h 90"/>
                <a:gd name="T52" fmla="*/ 30 w 125"/>
                <a:gd name="T53" fmla="*/ 81 h 90"/>
                <a:gd name="T54" fmla="*/ 26 w 125"/>
                <a:gd name="T55" fmla="*/ 85 h 90"/>
                <a:gd name="T56" fmla="*/ 16 w 125"/>
                <a:gd name="T57" fmla="*/ 81 h 90"/>
                <a:gd name="T58" fmla="*/ 9 w 125"/>
                <a:gd name="T59" fmla="*/ 88 h 90"/>
                <a:gd name="T60" fmla="*/ 4 w 125"/>
                <a:gd name="T61" fmla="*/ 90 h 90"/>
                <a:gd name="T62" fmla="*/ 0 w 125"/>
                <a:gd name="T63" fmla="*/ 85 h 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5"/>
                <a:gd name="T97" fmla="*/ 0 h 90"/>
                <a:gd name="T98" fmla="*/ 125 w 125"/>
                <a:gd name="T99" fmla="*/ 90 h 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5" h="90">
                  <a:moveTo>
                    <a:pt x="0" y="85"/>
                  </a:moveTo>
                  <a:lnTo>
                    <a:pt x="0" y="81"/>
                  </a:lnTo>
                  <a:lnTo>
                    <a:pt x="4" y="74"/>
                  </a:lnTo>
                  <a:lnTo>
                    <a:pt x="4" y="71"/>
                  </a:lnTo>
                  <a:lnTo>
                    <a:pt x="9" y="66"/>
                  </a:lnTo>
                  <a:lnTo>
                    <a:pt x="14" y="64"/>
                  </a:lnTo>
                  <a:lnTo>
                    <a:pt x="21" y="55"/>
                  </a:lnTo>
                  <a:lnTo>
                    <a:pt x="26" y="50"/>
                  </a:lnTo>
                  <a:lnTo>
                    <a:pt x="38" y="48"/>
                  </a:lnTo>
                  <a:lnTo>
                    <a:pt x="45" y="48"/>
                  </a:lnTo>
                  <a:lnTo>
                    <a:pt x="47" y="45"/>
                  </a:lnTo>
                  <a:lnTo>
                    <a:pt x="47" y="41"/>
                  </a:lnTo>
                  <a:lnTo>
                    <a:pt x="54" y="38"/>
                  </a:lnTo>
                  <a:lnTo>
                    <a:pt x="64" y="33"/>
                  </a:lnTo>
                  <a:lnTo>
                    <a:pt x="71" y="31"/>
                  </a:lnTo>
                  <a:lnTo>
                    <a:pt x="73" y="31"/>
                  </a:lnTo>
                  <a:lnTo>
                    <a:pt x="80" y="26"/>
                  </a:lnTo>
                  <a:lnTo>
                    <a:pt x="85" y="24"/>
                  </a:lnTo>
                  <a:lnTo>
                    <a:pt x="85" y="22"/>
                  </a:lnTo>
                  <a:lnTo>
                    <a:pt x="87" y="15"/>
                  </a:lnTo>
                  <a:lnTo>
                    <a:pt x="94" y="7"/>
                  </a:lnTo>
                  <a:lnTo>
                    <a:pt x="97" y="5"/>
                  </a:lnTo>
                  <a:lnTo>
                    <a:pt x="101" y="5"/>
                  </a:lnTo>
                  <a:lnTo>
                    <a:pt x="101" y="7"/>
                  </a:lnTo>
                  <a:lnTo>
                    <a:pt x="97" y="7"/>
                  </a:lnTo>
                  <a:lnTo>
                    <a:pt x="94" y="15"/>
                  </a:lnTo>
                  <a:lnTo>
                    <a:pt x="85" y="33"/>
                  </a:lnTo>
                  <a:lnTo>
                    <a:pt x="90" y="31"/>
                  </a:lnTo>
                  <a:lnTo>
                    <a:pt x="94" y="26"/>
                  </a:lnTo>
                  <a:lnTo>
                    <a:pt x="94" y="24"/>
                  </a:lnTo>
                  <a:lnTo>
                    <a:pt x="97" y="22"/>
                  </a:lnTo>
                  <a:lnTo>
                    <a:pt x="101" y="17"/>
                  </a:lnTo>
                  <a:lnTo>
                    <a:pt x="111" y="10"/>
                  </a:lnTo>
                  <a:lnTo>
                    <a:pt x="111" y="15"/>
                  </a:lnTo>
                  <a:lnTo>
                    <a:pt x="113" y="10"/>
                  </a:lnTo>
                  <a:lnTo>
                    <a:pt x="118" y="10"/>
                  </a:lnTo>
                  <a:lnTo>
                    <a:pt x="118" y="7"/>
                  </a:lnTo>
                  <a:lnTo>
                    <a:pt x="120" y="5"/>
                  </a:lnTo>
                  <a:lnTo>
                    <a:pt x="125" y="0"/>
                  </a:lnTo>
                  <a:lnTo>
                    <a:pt x="113" y="15"/>
                  </a:lnTo>
                  <a:lnTo>
                    <a:pt x="101" y="31"/>
                  </a:lnTo>
                  <a:lnTo>
                    <a:pt x="94" y="33"/>
                  </a:lnTo>
                  <a:lnTo>
                    <a:pt x="90" y="38"/>
                  </a:lnTo>
                  <a:lnTo>
                    <a:pt x="85" y="45"/>
                  </a:lnTo>
                  <a:lnTo>
                    <a:pt x="80" y="45"/>
                  </a:lnTo>
                  <a:lnTo>
                    <a:pt x="73" y="50"/>
                  </a:lnTo>
                  <a:lnTo>
                    <a:pt x="71" y="50"/>
                  </a:lnTo>
                  <a:lnTo>
                    <a:pt x="64" y="55"/>
                  </a:lnTo>
                  <a:lnTo>
                    <a:pt x="56" y="62"/>
                  </a:lnTo>
                  <a:lnTo>
                    <a:pt x="54" y="62"/>
                  </a:lnTo>
                  <a:lnTo>
                    <a:pt x="38" y="71"/>
                  </a:lnTo>
                  <a:lnTo>
                    <a:pt x="30" y="78"/>
                  </a:lnTo>
                  <a:lnTo>
                    <a:pt x="26" y="81"/>
                  </a:lnTo>
                  <a:lnTo>
                    <a:pt x="30" y="81"/>
                  </a:lnTo>
                  <a:lnTo>
                    <a:pt x="26" y="81"/>
                  </a:lnTo>
                  <a:lnTo>
                    <a:pt x="26" y="85"/>
                  </a:lnTo>
                  <a:lnTo>
                    <a:pt x="16" y="88"/>
                  </a:lnTo>
                  <a:lnTo>
                    <a:pt x="16" y="81"/>
                  </a:lnTo>
                  <a:lnTo>
                    <a:pt x="9" y="81"/>
                  </a:lnTo>
                  <a:lnTo>
                    <a:pt x="9" y="88"/>
                  </a:lnTo>
                  <a:lnTo>
                    <a:pt x="7" y="90"/>
                  </a:lnTo>
                  <a:lnTo>
                    <a:pt x="4" y="90"/>
                  </a:lnTo>
                  <a:lnTo>
                    <a:pt x="0" y="88"/>
                  </a:lnTo>
                  <a:lnTo>
                    <a:pt x="0" y="8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0" name="Freeform 164">
              <a:extLst>
                <a:ext uri="{FF2B5EF4-FFF2-40B4-BE49-F238E27FC236}">
                  <a16:creationId xmlns:a16="http://schemas.microsoft.com/office/drawing/2014/main" id="{DBE69ABE-FC3E-47C5-861C-E55D53883A72}"/>
                </a:ext>
              </a:extLst>
            </p:cNvPr>
            <p:cNvSpPr>
              <a:spLocks/>
            </p:cNvSpPr>
            <p:nvPr/>
          </p:nvSpPr>
          <p:spPr bwMode="gray">
            <a:xfrm rot="47099">
              <a:off x="2066481" y="2981897"/>
              <a:ext cx="201278" cy="177529"/>
            </a:xfrm>
            <a:custGeom>
              <a:avLst/>
              <a:gdLst>
                <a:gd name="T0" fmla="*/ 411 w 432"/>
                <a:gd name="T1" fmla="*/ 264 h 382"/>
                <a:gd name="T2" fmla="*/ 425 w 432"/>
                <a:gd name="T3" fmla="*/ 326 h 382"/>
                <a:gd name="T4" fmla="*/ 432 w 432"/>
                <a:gd name="T5" fmla="*/ 330 h 382"/>
                <a:gd name="T6" fmla="*/ 427 w 432"/>
                <a:gd name="T7" fmla="*/ 354 h 382"/>
                <a:gd name="T8" fmla="*/ 420 w 432"/>
                <a:gd name="T9" fmla="*/ 370 h 382"/>
                <a:gd name="T10" fmla="*/ 411 w 432"/>
                <a:gd name="T11" fmla="*/ 349 h 382"/>
                <a:gd name="T12" fmla="*/ 399 w 432"/>
                <a:gd name="T13" fmla="*/ 330 h 382"/>
                <a:gd name="T14" fmla="*/ 404 w 432"/>
                <a:gd name="T15" fmla="*/ 342 h 382"/>
                <a:gd name="T16" fmla="*/ 408 w 432"/>
                <a:gd name="T17" fmla="*/ 359 h 382"/>
                <a:gd name="T18" fmla="*/ 378 w 432"/>
                <a:gd name="T19" fmla="*/ 352 h 382"/>
                <a:gd name="T20" fmla="*/ 352 w 432"/>
                <a:gd name="T21" fmla="*/ 345 h 382"/>
                <a:gd name="T22" fmla="*/ 328 w 432"/>
                <a:gd name="T23" fmla="*/ 337 h 382"/>
                <a:gd name="T24" fmla="*/ 321 w 432"/>
                <a:gd name="T25" fmla="*/ 328 h 382"/>
                <a:gd name="T26" fmla="*/ 319 w 432"/>
                <a:gd name="T27" fmla="*/ 314 h 382"/>
                <a:gd name="T28" fmla="*/ 307 w 432"/>
                <a:gd name="T29" fmla="*/ 309 h 382"/>
                <a:gd name="T30" fmla="*/ 290 w 432"/>
                <a:gd name="T31" fmla="*/ 302 h 382"/>
                <a:gd name="T32" fmla="*/ 226 w 432"/>
                <a:gd name="T33" fmla="*/ 321 h 382"/>
                <a:gd name="T34" fmla="*/ 198 w 432"/>
                <a:gd name="T35" fmla="*/ 330 h 382"/>
                <a:gd name="T36" fmla="*/ 182 w 432"/>
                <a:gd name="T37" fmla="*/ 335 h 382"/>
                <a:gd name="T38" fmla="*/ 165 w 432"/>
                <a:gd name="T39" fmla="*/ 342 h 382"/>
                <a:gd name="T40" fmla="*/ 144 w 432"/>
                <a:gd name="T41" fmla="*/ 345 h 382"/>
                <a:gd name="T42" fmla="*/ 111 w 432"/>
                <a:gd name="T43" fmla="*/ 354 h 382"/>
                <a:gd name="T44" fmla="*/ 49 w 432"/>
                <a:gd name="T45" fmla="*/ 370 h 382"/>
                <a:gd name="T46" fmla="*/ 23 w 432"/>
                <a:gd name="T47" fmla="*/ 378 h 382"/>
                <a:gd name="T48" fmla="*/ 14 w 432"/>
                <a:gd name="T49" fmla="*/ 326 h 382"/>
                <a:gd name="T50" fmla="*/ 37 w 432"/>
                <a:gd name="T51" fmla="*/ 302 h 382"/>
                <a:gd name="T52" fmla="*/ 47 w 432"/>
                <a:gd name="T53" fmla="*/ 285 h 382"/>
                <a:gd name="T54" fmla="*/ 37 w 432"/>
                <a:gd name="T55" fmla="*/ 281 h 382"/>
                <a:gd name="T56" fmla="*/ 30 w 432"/>
                <a:gd name="T57" fmla="*/ 257 h 382"/>
                <a:gd name="T58" fmla="*/ 23 w 432"/>
                <a:gd name="T59" fmla="*/ 238 h 382"/>
                <a:gd name="T60" fmla="*/ 47 w 432"/>
                <a:gd name="T61" fmla="*/ 217 h 382"/>
                <a:gd name="T62" fmla="*/ 104 w 432"/>
                <a:gd name="T63" fmla="*/ 205 h 382"/>
                <a:gd name="T64" fmla="*/ 151 w 432"/>
                <a:gd name="T65" fmla="*/ 191 h 382"/>
                <a:gd name="T66" fmla="*/ 167 w 432"/>
                <a:gd name="T67" fmla="*/ 158 h 382"/>
                <a:gd name="T68" fmla="*/ 175 w 432"/>
                <a:gd name="T69" fmla="*/ 137 h 382"/>
                <a:gd name="T70" fmla="*/ 191 w 432"/>
                <a:gd name="T71" fmla="*/ 111 h 382"/>
                <a:gd name="T72" fmla="*/ 198 w 432"/>
                <a:gd name="T73" fmla="*/ 104 h 382"/>
                <a:gd name="T74" fmla="*/ 198 w 432"/>
                <a:gd name="T75" fmla="*/ 96 h 382"/>
                <a:gd name="T76" fmla="*/ 205 w 432"/>
                <a:gd name="T77" fmla="*/ 85 h 382"/>
                <a:gd name="T78" fmla="*/ 210 w 432"/>
                <a:gd name="T79" fmla="*/ 70 h 382"/>
                <a:gd name="T80" fmla="*/ 226 w 432"/>
                <a:gd name="T81" fmla="*/ 47 h 382"/>
                <a:gd name="T82" fmla="*/ 248 w 432"/>
                <a:gd name="T83" fmla="*/ 30 h 382"/>
                <a:gd name="T84" fmla="*/ 297 w 432"/>
                <a:gd name="T85" fmla="*/ 14 h 382"/>
                <a:gd name="T86" fmla="*/ 335 w 432"/>
                <a:gd name="T87" fmla="*/ 7 h 382"/>
                <a:gd name="T88" fmla="*/ 342 w 432"/>
                <a:gd name="T89" fmla="*/ 37 h 382"/>
                <a:gd name="T90" fmla="*/ 347 w 432"/>
                <a:gd name="T91" fmla="*/ 40 h 382"/>
                <a:gd name="T92" fmla="*/ 352 w 432"/>
                <a:gd name="T93" fmla="*/ 47 h 382"/>
                <a:gd name="T94" fmla="*/ 359 w 432"/>
                <a:gd name="T95" fmla="*/ 92 h 382"/>
                <a:gd name="T96" fmla="*/ 368 w 432"/>
                <a:gd name="T97" fmla="*/ 108 h 382"/>
                <a:gd name="T98" fmla="*/ 371 w 432"/>
                <a:gd name="T99" fmla="*/ 118 h 382"/>
                <a:gd name="T100" fmla="*/ 380 w 432"/>
                <a:gd name="T101" fmla="*/ 132 h 382"/>
                <a:gd name="T102" fmla="*/ 401 w 432"/>
                <a:gd name="T103" fmla="*/ 196 h 382"/>
                <a:gd name="T104" fmla="*/ 404 w 432"/>
                <a:gd name="T105" fmla="*/ 257 h 3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32"/>
                <a:gd name="T160" fmla="*/ 0 h 382"/>
                <a:gd name="T161" fmla="*/ 432 w 432"/>
                <a:gd name="T162" fmla="*/ 382 h 3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32" h="382">
                  <a:moveTo>
                    <a:pt x="408" y="257"/>
                  </a:moveTo>
                  <a:lnTo>
                    <a:pt x="408" y="262"/>
                  </a:lnTo>
                  <a:lnTo>
                    <a:pt x="411" y="264"/>
                  </a:lnTo>
                  <a:lnTo>
                    <a:pt x="418" y="297"/>
                  </a:lnTo>
                  <a:lnTo>
                    <a:pt x="420" y="309"/>
                  </a:lnTo>
                  <a:lnTo>
                    <a:pt x="425" y="326"/>
                  </a:lnTo>
                  <a:lnTo>
                    <a:pt x="427" y="326"/>
                  </a:lnTo>
                  <a:lnTo>
                    <a:pt x="427" y="328"/>
                  </a:lnTo>
                  <a:lnTo>
                    <a:pt x="432" y="330"/>
                  </a:lnTo>
                  <a:lnTo>
                    <a:pt x="418" y="345"/>
                  </a:lnTo>
                  <a:lnTo>
                    <a:pt x="427" y="352"/>
                  </a:lnTo>
                  <a:lnTo>
                    <a:pt x="427" y="354"/>
                  </a:lnTo>
                  <a:lnTo>
                    <a:pt x="425" y="359"/>
                  </a:lnTo>
                  <a:lnTo>
                    <a:pt x="420" y="361"/>
                  </a:lnTo>
                  <a:lnTo>
                    <a:pt x="420" y="370"/>
                  </a:lnTo>
                  <a:lnTo>
                    <a:pt x="415" y="375"/>
                  </a:lnTo>
                  <a:lnTo>
                    <a:pt x="411" y="368"/>
                  </a:lnTo>
                  <a:lnTo>
                    <a:pt x="411" y="349"/>
                  </a:lnTo>
                  <a:lnTo>
                    <a:pt x="408" y="345"/>
                  </a:lnTo>
                  <a:lnTo>
                    <a:pt x="408" y="342"/>
                  </a:lnTo>
                  <a:lnTo>
                    <a:pt x="399" y="330"/>
                  </a:lnTo>
                  <a:lnTo>
                    <a:pt x="399" y="335"/>
                  </a:lnTo>
                  <a:lnTo>
                    <a:pt x="401" y="342"/>
                  </a:lnTo>
                  <a:lnTo>
                    <a:pt x="404" y="342"/>
                  </a:lnTo>
                  <a:lnTo>
                    <a:pt x="404" y="345"/>
                  </a:lnTo>
                  <a:lnTo>
                    <a:pt x="411" y="359"/>
                  </a:lnTo>
                  <a:lnTo>
                    <a:pt x="408" y="359"/>
                  </a:lnTo>
                  <a:lnTo>
                    <a:pt x="401" y="354"/>
                  </a:lnTo>
                  <a:lnTo>
                    <a:pt x="380" y="352"/>
                  </a:lnTo>
                  <a:lnTo>
                    <a:pt x="378" y="352"/>
                  </a:lnTo>
                  <a:lnTo>
                    <a:pt x="363" y="349"/>
                  </a:lnTo>
                  <a:lnTo>
                    <a:pt x="361" y="345"/>
                  </a:lnTo>
                  <a:lnTo>
                    <a:pt x="352" y="345"/>
                  </a:lnTo>
                  <a:lnTo>
                    <a:pt x="352" y="342"/>
                  </a:lnTo>
                  <a:lnTo>
                    <a:pt x="345" y="337"/>
                  </a:lnTo>
                  <a:lnTo>
                    <a:pt x="328" y="337"/>
                  </a:lnTo>
                  <a:lnTo>
                    <a:pt x="328" y="335"/>
                  </a:lnTo>
                  <a:lnTo>
                    <a:pt x="323" y="335"/>
                  </a:lnTo>
                  <a:lnTo>
                    <a:pt x="321" y="328"/>
                  </a:lnTo>
                  <a:lnTo>
                    <a:pt x="321" y="326"/>
                  </a:lnTo>
                  <a:lnTo>
                    <a:pt x="319" y="319"/>
                  </a:lnTo>
                  <a:lnTo>
                    <a:pt x="319" y="314"/>
                  </a:lnTo>
                  <a:lnTo>
                    <a:pt x="314" y="311"/>
                  </a:lnTo>
                  <a:lnTo>
                    <a:pt x="312" y="309"/>
                  </a:lnTo>
                  <a:lnTo>
                    <a:pt x="307" y="309"/>
                  </a:lnTo>
                  <a:lnTo>
                    <a:pt x="297" y="304"/>
                  </a:lnTo>
                  <a:lnTo>
                    <a:pt x="295" y="302"/>
                  </a:lnTo>
                  <a:lnTo>
                    <a:pt x="290" y="302"/>
                  </a:lnTo>
                  <a:lnTo>
                    <a:pt x="243" y="314"/>
                  </a:lnTo>
                  <a:lnTo>
                    <a:pt x="231" y="319"/>
                  </a:lnTo>
                  <a:lnTo>
                    <a:pt x="226" y="321"/>
                  </a:lnTo>
                  <a:lnTo>
                    <a:pt x="222" y="321"/>
                  </a:lnTo>
                  <a:lnTo>
                    <a:pt x="200" y="328"/>
                  </a:lnTo>
                  <a:lnTo>
                    <a:pt x="198" y="330"/>
                  </a:lnTo>
                  <a:lnTo>
                    <a:pt x="193" y="330"/>
                  </a:lnTo>
                  <a:lnTo>
                    <a:pt x="186" y="335"/>
                  </a:lnTo>
                  <a:lnTo>
                    <a:pt x="182" y="335"/>
                  </a:lnTo>
                  <a:lnTo>
                    <a:pt x="170" y="337"/>
                  </a:lnTo>
                  <a:lnTo>
                    <a:pt x="167" y="337"/>
                  </a:lnTo>
                  <a:lnTo>
                    <a:pt x="165" y="342"/>
                  </a:lnTo>
                  <a:lnTo>
                    <a:pt x="153" y="342"/>
                  </a:lnTo>
                  <a:lnTo>
                    <a:pt x="151" y="345"/>
                  </a:lnTo>
                  <a:lnTo>
                    <a:pt x="144" y="345"/>
                  </a:lnTo>
                  <a:lnTo>
                    <a:pt x="137" y="349"/>
                  </a:lnTo>
                  <a:lnTo>
                    <a:pt x="130" y="349"/>
                  </a:lnTo>
                  <a:lnTo>
                    <a:pt x="111" y="354"/>
                  </a:lnTo>
                  <a:lnTo>
                    <a:pt x="97" y="359"/>
                  </a:lnTo>
                  <a:lnTo>
                    <a:pt x="63" y="368"/>
                  </a:lnTo>
                  <a:lnTo>
                    <a:pt x="49" y="370"/>
                  </a:lnTo>
                  <a:lnTo>
                    <a:pt x="40" y="375"/>
                  </a:lnTo>
                  <a:lnTo>
                    <a:pt x="33" y="375"/>
                  </a:lnTo>
                  <a:lnTo>
                    <a:pt x="23" y="378"/>
                  </a:lnTo>
                  <a:lnTo>
                    <a:pt x="14" y="382"/>
                  </a:lnTo>
                  <a:lnTo>
                    <a:pt x="0" y="335"/>
                  </a:lnTo>
                  <a:lnTo>
                    <a:pt x="14" y="326"/>
                  </a:lnTo>
                  <a:lnTo>
                    <a:pt x="28" y="311"/>
                  </a:lnTo>
                  <a:lnTo>
                    <a:pt x="33" y="304"/>
                  </a:lnTo>
                  <a:lnTo>
                    <a:pt x="37" y="302"/>
                  </a:lnTo>
                  <a:lnTo>
                    <a:pt x="45" y="295"/>
                  </a:lnTo>
                  <a:lnTo>
                    <a:pt x="47" y="293"/>
                  </a:lnTo>
                  <a:lnTo>
                    <a:pt x="47" y="285"/>
                  </a:lnTo>
                  <a:lnTo>
                    <a:pt x="40" y="285"/>
                  </a:lnTo>
                  <a:lnTo>
                    <a:pt x="40" y="281"/>
                  </a:lnTo>
                  <a:lnTo>
                    <a:pt x="37" y="281"/>
                  </a:lnTo>
                  <a:lnTo>
                    <a:pt x="33" y="274"/>
                  </a:lnTo>
                  <a:lnTo>
                    <a:pt x="33" y="269"/>
                  </a:lnTo>
                  <a:lnTo>
                    <a:pt x="30" y="257"/>
                  </a:lnTo>
                  <a:lnTo>
                    <a:pt x="23" y="248"/>
                  </a:lnTo>
                  <a:lnTo>
                    <a:pt x="16" y="245"/>
                  </a:lnTo>
                  <a:lnTo>
                    <a:pt x="23" y="238"/>
                  </a:lnTo>
                  <a:lnTo>
                    <a:pt x="30" y="231"/>
                  </a:lnTo>
                  <a:lnTo>
                    <a:pt x="45" y="222"/>
                  </a:lnTo>
                  <a:lnTo>
                    <a:pt x="47" y="217"/>
                  </a:lnTo>
                  <a:lnTo>
                    <a:pt x="63" y="215"/>
                  </a:lnTo>
                  <a:lnTo>
                    <a:pt x="94" y="205"/>
                  </a:lnTo>
                  <a:lnTo>
                    <a:pt x="104" y="205"/>
                  </a:lnTo>
                  <a:lnTo>
                    <a:pt x="113" y="200"/>
                  </a:lnTo>
                  <a:lnTo>
                    <a:pt x="130" y="196"/>
                  </a:lnTo>
                  <a:lnTo>
                    <a:pt x="151" y="191"/>
                  </a:lnTo>
                  <a:lnTo>
                    <a:pt x="160" y="189"/>
                  </a:lnTo>
                  <a:lnTo>
                    <a:pt x="165" y="174"/>
                  </a:lnTo>
                  <a:lnTo>
                    <a:pt x="167" y="158"/>
                  </a:lnTo>
                  <a:lnTo>
                    <a:pt x="167" y="151"/>
                  </a:lnTo>
                  <a:lnTo>
                    <a:pt x="170" y="141"/>
                  </a:lnTo>
                  <a:lnTo>
                    <a:pt x="175" y="137"/>
                  </a:lnTo>
                  <a:lnTo>
                    <a:pt x="175" y="134"/>
                  </a:lnTo>
                  <a:lnTo>
                    <a:pt x="186" y="111"/>
                  </a:lnTo>
                  <a:lnTo>
                    <a:pt x="191" y="111"/>
                  </a:lnTo>
                  <a:lnTo>
                    <a:pt x="191" y="108"/>
                  </a:lnTo>
                  <a:lnTo>
                    <a:pt x="193" y="108"/>
                  </a:lnTo>
                  <a:lnTo>
                    <a:pt x="198" y="104"/>
                  </a:lnTo>
                  <a:lnTo>
                    <a:pt x="198" y="101"/>
                  </a:lnTo>
                  <a:lnTo>
                    <a:pt x="200" y="96"/>
                  </a:lnTo>
                  <a:lnTo>
                    <a:pt x="198" y="96"/>
                  </a:lnTo>
                  <a:lnTo>
                    <a:pt x="200" y="94"/>
                  </a:lnTo>
                  <a:lnTo>
                    <a:pt x="200" y="87"/>
                  </a:lnTo>
                  <a:lnTo>
                    <a:pt x="205" y="85"/>
                  </a:lnTo>
                  <a:lnTo>
                    <a:pt x="208" y="78"/>
                  </a:lnTo>
                  <a:lnTo>
                    <a:pt x="210" y="75"/>
                  </a:lnTo>
                  <a:lnTo>
                    <a:pt x="210" y="70"/>
                  </a:lnTo>
                  <a:lnTo>
                    <a:pt x="217" y="61"/>
                  </a:lnTo>
                  <a:lnTo>
                    <a:pt x="222" y="54"/>
                  </a:lnTo>
                  <a:lnTo>
                    <a:pt x="226" y="47"/>
                  </a:lnTo>
                  <a:lnTo>
                    <a:pt x="234" y="37"/>
                  </a:lnTo>
                  <a:lnTo>
                    <a:pt x="241" y="30"/>
                  </a:lnTo>
                  <a:lnTo>
                    <a:pt x="248" y="30"/>
                  </a:lnTo>
                  <a:lnTo>
                    <a:pt x="255" y="28"/>
                  </a:lnTo>
                  <a:lnTo>
                    <a:pt x="278" y="21"/>
                  </a:lnTo>
                  <a:lnTo>
                    <a:pt x="297" y="14"/>
                  </a:lnTo>
                  <a:lnTo>
                    <a:pt x="314" y="7"/>
                  </a:lnTo>
                  <a:lnTo>
                    <a:pt x="330" y="0"/>
                  </a:lnTo>
                  <a:lnTo>
                    <a:pt x="335" y="7"/>
                  </a:lnTo>
                  <a:lnTo>
                    <a:pt x="338" y="21"/>
                  </a:lnTo>
                  <a:lnTo>
                    <a:pt x="342" y="28"/>
                  </a:lnTo>
                  <a:lnTo>
                    <a:pt x="342" y="37"/>
                  </a:lnTo>
                  <a:lnTo>
                    <a:pt x="345" y="37"/>
                  </a:lnTo>
                  <a:lnTo>
                    <a:pt x="345" y="40"/>
                  </a:lnTo>
                  <a:lnTo>
                    <a:pt x="347" y="40"/>
                  </a:lnTo>
                  <a:lnTo>
                    <a:pt x="347" y="44"/>
                  </a:lnTo>
                  <a:lnTo>
                    <a:pt x="352" y="44"/>
                  </a:lnTo>
                  <a:lnTo>
                    <a:pt x="352" y="47"/>
                  </a:lnTo>
                  <a:lnTo>
                    <a:pt x="354" y="63"/>
                  </a:lnTo>
                  <a:lnTo>
                    <a:pt x="354" y="80"/>
                  </a:lnTo>
                  <a:lnTo>
                    <a:pt x="359" y="92"/>
                  </a:lnTo>
                  <a:lnTo>
                    <a:pt x="361" y="96"/>
                  </a:lnTo>
                  <a:lnTo>
                    <a:pt x="363" y="108"/>
                  </a:lnTo>
                  <a:lnTo>
                    <a:pt x="368" y="108"/>
                  </a:lnTo>
                  <a:lnTo>
                    <a:pt x="368" y="125"/>
                  </a:lnTo>
                  <a:lnTo>
                    <a:pt x="371" y="125"/>
                  </a:lnTo>
                  <a:lnTo>
                    <a:pt x="371" y="118"/>
                  </a:lnTo>
                  <a:lnTo>
                    <a:pt x="375" y="118"/>
                  </a:lnTo>
                  <a:lnTo>
                    <a:pt x="380" y="125"/>
                  </a:lnTo>
                  <a:lnTo>
                    <a:pt x="380" y="132"/>
                  </a:lnTo>
                  <a:lnTo>
                    <a:pt x="399" y="177"/>
                  </a:lnTo>
                  <a:lnTo>
                    <a:pt x="399" y="189"/>
                  </a:lnTo>
                  <a:lnTo>
                    <a:pt x="401" y="196"/>
                  </a:lnTo>
                  <a:lnTo>
                    <a:pt x="401" y="205"/>
                  </a:lnTo>
                  <a:lnTo>
                    <a:pt x="404" y="248"/>
                  </a:lnTo>
                  <a:lnTo>
                    <a:pt x="404" y="257"/>
                  </a:lnTo>
                  <a:lnTo>
                    <a:pt x="408" y="25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1" name="Freeform 165">
              <a:extLst>
                <a:ext uri="{FF2B5EF4-FFF2-40B4-BE49-F238E27FC236}">
                  <a16:creationId xmlns:a16="http://schemas.microsoft.com/office/drawing/2014/main" id="{897C50A7-381C-4E07-845F-C2EB68E6C829}"/>
                </a:ext>
              </a:extLst>
            </p:cNvPr>
            <p:cNvSpPr>
              <a:spLocks/>
            </p:cNvSpPr>
            <p:nvPr/>
          </p:nvSpPr>
          <p:spPr bwMode="gray">
            <a:xfrm rot="47099">
              <a:off x="2221263" y="2965646"/>
              <a:ext cx="55218" cy="108061"/>
            </a:xfrm>
            <a:custGeom>
              <a:avLst/>
              <a:gdLst>
                <a:gd name="T0" fmla="*/ 107 w 121"/>
                <a:gd name="T1" fmla="*/ 2 h 234"/>
                <a:gd name="T2" fmla="*/ 111 w 121"/>
                <a:gd name="T3" fmla="*/ 28 h 234"/>
                <a:gd name="T4" fmla="*/ 119 w 121"/>
                <a:gd name="T5" fmla="*/ 33 h 234"/>
                <a:gd name="T6" fmla="*/ 121 w 121"/>
                <a:gd name="T7" fmla="*/ 42 h 234"/>
                <a:gd name="T8" fmla="*/ 119 w 121"/>
                <a:gd name="T9" fmla="*/ 52 h 234"/>
                <a:gd name="T10" fmla="*/ 111 w 121"/>
                <a:gd name="T11" fmla="*/ 59 h 234"/>
                <a:gd name="T12" fmla="*/ 102 w 121"/>
                <a:gd name="T13" fmla="*/ 66 h 234"/>
                <a:gd name="T14" fmla="*/ 104 w 121"/>
                <a:gd name="T15" fmla="*/ 90 h 234"/>
                <a:gd name="T16" fmla="*/ 102 w 121"/>
                <a:gd name="T17" fmla="*/ 125 h 234"/>
                <a:gd name="T18" fmla="*/ 104 w 121"/>
                <a:gd name="T19" fmla="*/ 149 h 234"/>
                <a:gd name="T20" fmla="*/ 107 w 121"/>
                <a:gd name="T21" fmla="*/ 165 h 234"/>
                <a:gd name="T22" fmla="*/ 111 w 121"/>
                <a:gd name="T23" fmla="*/ 182 h 234"/>
                <a:gd name="T24" fmla="*/ 114 w 121"/>
                <a:gd name="T25" fmla="*/ 210 h 234"/>
                <a:gd name="T26" fmla="*/ 119 w 121"/>
                <a:gd name="T27" fmla="*/ 212 h 234"/>
                <a:gd name="T28" fmla="*/ 119 w 121"/>
                <a:gd name="T29" fmla="*/ 215 h 234"/>
                <a:gd name="T30" fmla="*/ 85 w 121"/>
                <a:gd name="T31" fmla="*/ 227 h 234"/>
                <a:gd name="T32" fmla="*/ 71 w 121"/>
                <a:gd name="T33" fmla="*/ 234 h 234"/>
                <a:gd name="T34" fmla="*/ 69 w 121"/>
                <a:gd name="T35" fmla="*/ 215 h 234"/>
                <a:gd name="T36" fmla="*/ 50 w 121"/>
                <a:gd name="T37" fmla="*/ 163 h 234"/>
                <a:gd name="T38" fmla="*/ 41 w 121"/>
                <a:gd name="T39" fmla="*/ 156 h 234"/>
                <a:gd name="T40" fmla="*/ 38 w 121"/>
                <a:gd name="T41" fmla="*/ 163 h 234"/>
                <a:gd name="T42" fmla="*/ 33 w 121"/>
                <a:gd name="T43" fmla="*/ 146 h 234"/>
                <a:gd name="T44" fmla="*/ 29 w 121"/>
                <a:gd name="T45" fmla="*/ 130 h 234"/>
                <a:gd name="T46" fmla="*/ 24 w 121"/>
                <a:gd name="T47" fmla="*/ 101 h 234"/>
                <a:gd name="T48" fmla="*/ 22 w 121"/>
                <a:gd name="T49" fmla="*/ 82 h 234"/>
                <a:gd name="T50" fmla="*/ 17 w 121"/>
                <a:gd name="T51" fmla="*/ 78 h 234"/>
                <a:gd name="T52" fmla="*/ 15 w 121"/>
                <a:gd name="T53" fmla="*/ 75 h 234"/>
                <a:gd name="T54" fmla="*/ 12 w 121"/>
                <a:gd name="T55" fmla="*/ 66 h 234"/>
                <a:gd name="T56" fmla="*/ 5 w 121"/>
                <a:gd name="T57" fmla="*/ 45 h 234"/>
                <a:gd name="T58" fmla="*/ 24 w 121"/>
                <a:gd name="T59" fmla="*/ 28 h 234"/>
                <a:gd name="T60" fmla="*/ 50 w 121"/>
                <a:gd name="T61" fmla="*/ 21 h 234"/>
                <a:gd name="T62" fmla="*/ 64 w 121"/>
                <a:gd name="T63" fmla="*/ 16 h 234"/>
                <a:gd name="T64" fmla="*/ 88 w 121"/>
                <a:gd name="T65" fmla="*/ 9 h 234"/>
                <a:gd name="T66" fmla="*/ 111 w 121"/>
                <a:gd name="T67" fmla="*/ 0 h 2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234"/>
                <a:gd name="T104" fmla="*/ 121 w 121"/>
                <a:gd name="T105" fmla="*/ 234 h 2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234">
                  <a:moveTo>
                    <a:pt x="107" y="0"/>
                  </a:moveTo>
                  <a:lnTo>
                    <a:pt x="107" y="2"/>
                  </a:lnTo>
                  <a:lnTo>
                    <a:pt x="111" y="5"/>
                  </a:lnTo>
                  <a:lnTo>
                    <a:pt x="111" y="28"/>
                  </a:lnTo>
                  <a:lnTo>
                    <a:pt x="114" y="28"/>
                  </a:lnTo>
                  <a:lnTo>
                    <a:pt x="119" y="33"/>
                  </a:lnTo>
                  <a:lnTo>
                    <a:pt x="121" y="38"/>
                  </a:lnTo>
                  <a:lnTo>
                    <a:pt x="121" y="42"/>
                  </a:lnTo>
                  <a:lnTo>
                    <a:pt x="119" y="45"/>
                  </a:lnTo>
                  <a:lnTo>
                    <a:pt x="119" y="52"/>
                  </a:lnTo>
                  <a:lnTo>
                    <a:pt x="114" y="56"/>
                  </a:lnTo>
                  <a:lnTo>
                    <a:pt x="111" y="59"/>
                  </a:lnTo>
                  <a:lnTo>
                    <a:pt x="104" y="66"/>
                  </a:lnTo>
                  <a:lnTo>
                    <a:pt x="102" y="66"/>
                  </a:lnTo>
                  <a:lnTo>
                    <a:pt x="102" y="75"/>
                  </a:lnTo>
                  <a:lnTo>
                    <a:pt x="104" y="90"/>
                  </a:lnTo>
                  <a:lnTo>
                    <a:pt x="104" y="123"/>
                  </a:lnTo>
                  <a:lnTo>
                    <a:pt x="102" y="125"/>
                  </a:lnTo>
                  <a:lnTo>
                    <a:pt x="102" y="146"/>
                  </a:lnTo>
                  <a:lnTo>
                    <a:pt x="104" y="149"/>
                  </a:lnTo>
                  <a:lnTo>
                    <a:pt x="104" y="153"/>
                  </a:lnTo>
                  <a:lnTo>
                    <a:pt x="107" y="165"/>
                  </a:lnTo>
                  <a:lnTo>
                    <a:pt x="107" y="179"/>
                  </a:lnTo>
                  <a:lnTo>
                    <a:pt x="111" y="182"/>
                  </a:lnTo>
                  <a:lnTo>
                    <a:pt x="111" y="205"/>
                  </a:lnTo>
                  <a:lnTo>
                    <a:pt x="114" y="210"/>
                  </a:lnTo>
                  <a:lnTo>
                    <a:pt x="114" y="212"/>
                  </a:lnTo>
                  <a:lnTo>
                    <a:pt x="119" y="212"/>
                  </a:lnTo>
                  <a:lnTo>
                    <a:pt x="121" y="215"/>
                  </a:lnTo>
                  <a:lnTo>
                    <a:pt x="119" y="215"/>
                  </a:lnTo>
                  <a:lnTo>
                    <a:pt x="107" y="219"/>
                  </a:lnTo>
                  <a:lnTo>
                    <a:pt x="85" y="227"/>
                  </a:lnTo>
                  <a:lnTo>
                    <a:pt x="74" y="229"/>
                  </a:lnTo>
                  <a:lnTo>
                    <a:pt x="71" y="234"/>
                  </a:lnTo>
                  <a:lnTo>
                    <a:pt x="69" y="227"/>
                  </a:lnTo>
                  <a:lnTo>
                    <a:pt x="69" y="215"/>
                  </a:lnTo>
                  <a:lnTo>
                    <a:pt x="50" y="170"/>
                  </a:lnTo>
                  <a:lnTo>
                    <a:pt x="50" y="163"/>
                  </a:lnTo>
                  <a:lnTo>
                    <a:pt x="45" y="156"/>
                  </a:lnTo>
                  <a:lnTo>
                    <a:pt x="41" y="156"/>
                  </a:lnTo>
                  <a:lnTo>
                    <a:pt x="41" y="163"/>
                  </a:lnTo>
                  <a:lnTo>
                    <a:pt x="38" y="163"/>
                  </a:lnTo>
                  <a:lnTo>
                    <a:pt x="38" y="146"/>
                  </a:lnTo>
                  <a:lnTo>
                    <a:pt x="33" y="146"/>
                  </a:lnTo>
                  <a:lnTo>
                    <a:pt x="31" y="134"/>
                  </a:lnTo>
                  <a:lnTo>
                    <a:pt x="29" y="130"/>
                  </a:lnTo>
                  <a:lnTo>
                    <a:pt x="24" y="118"/>
                  </a:lnTo>
                  <a:lnTo>
                    <a:pt x="24" y="101"/>
                  </a:lnTo>
                  <a:lnTo>
                    <a:pt x="22" y="85"/>
                  </a:lnTo>
                  <a:lnTo>
                    <a:pt x="22" y="82"/>
                  </a:lnTo>
                  <a:lnTo>
                    <a:pt x="17" y="82"/>
                  </a:lnTo>
                  <a:lnTo>
                    <a:pt x="17" y="78"/>
                  </a:lnTo>
                  <a:lnTo>
                    <a:pt x="15" y="78"/>
                  </a:lnTo>
                  <a:lnTo>
                    <a:pt x="15" y="75"/>
                  </a:lnTo>
                  <a:lnTo>
                    <a:pt x="12" y="75"/>
                  </a:lnTo>
                  <a:lnTo>
                    <a:pt x="12" y="66"/>
                  </a:lnTo>
                  <a:lnTo>
                    <a:pt x="8" y="59"/>
                  </a:lnTo>
                  <a:lnTo>
                    <a:pt x="5" y="45"/>
                  </a:lnTo>
                  <a:lnTo>
                    <a:pt x="0" y="38"/>
                  </a:lnTo>
                  <a:lnTo>
                    <a:pt x="24" y="28"/>
                  </a:lnTo>
                  <a:lnTo>
                    <a:pt x="33" y="26"/>
                  </a:lnTo>
                  <a:lnTo>
                    <a:pt x="50" y="21"/>
                  </a:lnTo>
                  <a:lnTo>
                    <a:pt x="55" y="19"/>
                  </a:lnTo>
                  <a:lnTo>
                    <a:pt x="64" y="16"/>
                  </a:lnTo>
                  <a:lnTo>
                    <a:pt x="78" y="12"/>
                  </a:lnTo>
                  <a:lnTo>
                    <a:pt x="88" y="9"/>
                  </a:lnTo>
                  <a:lnTo>
                    <a:pt x="107" y="0"/>
                  </a:lnTo>
                  <a:lnTo>
                    <a:pt x="111" y="0"/>
                  </a:lnTo>
                  <a:lnTo>
                    <a:pt x="10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2" name="Freeform 166">
              <a:extLst>
                <a:ext uri="{FF2B5EF4-FFF2-40B4-BE49-F238E27FC236}">
                  <a16:creationId xmlns:a16="http://schemas.microsoft.com/office/drawing/2014/main" id="{63AE6989-47C2-453D-A822-FD092ECB6051}"/>
                </a:ext>
              </a:extLst>
            </p:cNvPr>
            <p:cNvSpPr>
              <a:spLocks/>
            </p:cNvSpPr>
            <p:nvPr/>
          </p:nvSpPr>
          <p:spPr bwMode="gray">
            <a:xfrm rot="47099">
              <a:off x="2360045" y="2964294"/>
              <a:ext cx="3563" cy="4824"/>
            </a:xfrm>
            <a:custGeom>
              <a:avLst/>
              <a:gdLst>
                <a:gd name="T0" fmla="*/ 5 w 7"/>
                <a:gd name="T1" fmla="*/ 0 h 10"/>
                <a:gd name="T2" fmla="*/ 5 w 7"/>
                <a:gd name="T3" fmla="*/ 0 h 10"/>
                <a:gd name="T4" fmla="*/ 7 w 7"/>
                <a:gd name="T5" fmla="*/ 5 h 10"/>
                <a:gd name="T6" fmla="*/ 7 w 7"/>
                <a:gd name="T7" fmla="*/ 7 h 10"/>
                <a:gd name="T8" fmla="*/ 5 w 7"/>
                <a:gd name="T9" fmla="*/ 10 h 10"/>
                <a:gd name="T10" fmla="*/ 0 w 7"/>
                <a:gd name="T11" fmla="*/ 10 h 10"/>
                <a:gd name="T12" fmla="*/ 0 w 7"/>
                <a:gd name="T13" fmla="*/ 0 h 10"/>
                <a:gd name="T14" fmla="*/ 5 w 7"/>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0"/>
                <a:gd name="T26" fmla="*/ 7 w 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0">
                  <a:moveTo>
                    <a:pt x="5" y="0"/>
                  </a:moveTo>
                  <a:lnTo>
                    <a:pt x="5" y="0"/>
                  </a:lnTo>
                  <a:lnTo>
                    <a:pt x="7" y="5"/>
                  </a:lnTo>
                  <a:lnTo>
                    <a:pt x="7" y="7"/>
                  </a:lnTo>
                  <a:lnTo>
                    <a:pt x="5" y="10"/>
                  </a:lnTo>
                  <a:lnTo>
                    <a:pt x="0" y="10"/>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3" name="Freeform 167">
              <a:extLst>
                <a:ext uri="{FF2B5EF4-FFF2-40B4-BE49-F238E27FC236}">
                  <a16:creationId xmlns:a16="http://schemas.microsoft.com/office/drawing/2014/main" id="{0BB715E2-BF89-46E9-9A36-F8E6A291D569}"/>
                </a:ext>
              </a:extLst>
            </p:cNvPr>
            <p:cNvSpPr>
              <a:spLocks/>
            </p:cNvSpPr>
            <p:nvPr/>
          </p:nvSpPr>
          <p:spPr bwMode="gray">
            <a:xfrm rot="47099">
              <a:off x="2366389" y="2953785"/>
              <a:ext cx="6235" cy="9649"/>
            </a:xfrm>
            <a:custGeom>
              <a:avLst/>
              <a:gdLst>
                <a:gd name="T0" fmla="*/ 7 w 12"/>
                <a:gd name="T1" fmla="*/ 0 h 22"/>
                <a:gd name="T2" fmla="*/ 10 w 12"/>
                <a:gd name="T3" fmla="*/ 5 h 22"/>
                <a:gd name="T4" fmla="*/ 12 w 12"/>
                <a:gd name="T5" fmla="*/ 5 h 22"/>
                <a:gd name="T6" fmla="*/ 12 w 12"/>
                <a:gd name="T7" fmla="*/ 10 h 22"/>
                <a:gd name="T8" fmla="*/ 7 w 12"/>
                <a:gd name="T9" fmla="*/ 22 h 22"/>
                <a:gd name="T10" fmla="*/ 3 w 12"/>
                <a:gd name="T11" fmla="*/ 22 h 22"/>
                <a:gd name="T12" fmla="*/ 0 w 12"/>
                <a:gd name="T13" fmla="*/ 17 h 22"/>
                <a:gd name="T14" fmla="*/ 0 w 12"/>
                <a:gd name="T15" fmla="*/ 5 h 22"/>
                <a:gd name="T16" fmla="*/ 3 w 12"/>
                <a:gd name="T17" fmla="*/ 0 h 22"/>
                <a:gd name="T18" fmla="*/ 7 w 12"/>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2"/>
                <a:gd name="T32" fmla="*/ 12 w 12"/>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2">
                  <a:moveTo>
                    <a:pt x="7" y="0"/>
                  </a:moveTo>
                  <a:lnTo>
                    <a:pt x="10" y="5"/>
                  </a:lnTo>
                  <a:lnTo>
                    <a:pt x="12" y="5"/>
                  </a:lnTo>
                  <a:lnTo>
                    <a:pt x="12" y="10"/>
                  </a:lnTo>
                  <a:lnTo>
                    <a:pt x="7" y="22"/>
                  </a:lnTo>
                  <a:lnTo>
                    <a:pt x="3" y="22"/>
                  </a:lnTo>
                  <a:lnTo>
                    <a:pt x="0" y="17"/>
                  </a:lnTo>
                  <a:lnTo>
                    <a:pt x="0" y="5"/>
                  </a:lnTo>
                  <a:lnTo>
                    <a:pt x="3"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4" name="Freeform 168">
              <a:extLst>
                <a:ext uri="{FF2B5EF4-FFF2-40B4-BE49-F238E27FC236}">
                  <a16:creationId xmlns:a16="http://schemas.microsoft.com/office/drawing/2014/main" id="{847417DF-92BD-489E-BE88-077FEBB3968D}"/>
                </a:ext>
              </a:extLst>
            </p:cNvPr>
            <p:cNvSpPr>
              <a:spLocks/>
            </p:cNvSpPr>
            <p:nvPr/>
          </p:nvSpPr>
          <p:spPr bwMode="gray">
            <a:xfrm rot="47099">
              <a:off x="2280294" y="2839503"/>
              <a:ext cx="115779" cy="194896"/>
            </a:xfrm>
            <a:custGeom>
              <a:avLst/>
              <a:gdLst>
                <a:gd name="T0" fmla="*/ 11 w 250"/>
                <a:gd name="T1" fmla="*/ 236 h 418"/>
                <a:gd name="T2" fmla="*/ 11 w 250"/>
                <a:gd name="T3" fmla="*/ 208 h 418"/>
                <a:gd name="T4" fmla="*/ 19 w 250"/>
                <a:gd name="T5" fmla="*/ 194 h 418"/>
                <a:gd name="T6" fmla="*/ 26 w 250"/>
                <a:gd name="T7" fmla="*/ 168 h 418"/>
                <a:gd name="T8" fmla="*/ 19 w 250"/>
                <a:gd name="T9" fmla="*/ 154 h 418"/>
                <a:gd name="T10" fmla="*/ 19 w 250"/>
                <a:gd name="T11" fmla="*/ 123 h 418"/>
                <a:gd name="T12" fmla="*/ 21 w 250"/>
                <a:gd name="T13" fmla="*/ 116 h 418"/>
                <a:gd name="T14" fmla="*/ 16 w 250"/>
                <a:gd name="T15" fmla="*/ 97 h 418"/>
                <a:gd name="T16" fmla="*/ 21 w 250"/>
                <a:gd name="T17" fmla="*/ 64 h 418"/>
                <a:gd name="T18" fmla="*/ 28 w 250"/>
                <a:gd name="T19" fmla="*/ 19 h 418"/>
                <a:gd name="T20" fmla="*/ 42 w 250"/>
                <a:gd name="T21" fmla="*/ 10 h 418"/>
                <a:gd name="T22" fmla="*/ 49 w 250"/>
                <a:gd name="T23" fmla="*/ 24 h 418"/>
                <a:gd name="T24" fmla="*/ 66 w 250"/>
                <a:gd name="T25" fmla="*/ 24 h 418"/>
                <a:gd name="T26" fmla="*/ 82 w 250"/>
                <a:gd name="T27" fmla="*/ 2 h 418"/>
                <a:gd name="T28" fmla="*/ 113 w 250"/>
                <a:gd name="T29" fmla="*/ 7 h 418"/>
                <a:gd name="T30" fmla="*/ 130 w 250"/>
                <a:gd name="T31" fmla="*/ 24 h 418"/>
                <a:gd name="T32" fmla="*/ 165 w 250"/>
                <a:gd name="T33" fmla="*/ 104 h 418"/>
                <a:gd name="T34" fmla="*/ 172 w 250"/>
                <a:gd name="T35" fmla="*/ 123 h 418"/>
                <a:gd name="T36" fmla="*/ 189 w 250"/>
                <a:gd name="T37" fmla="*/ 130 h 418"/>
                <a:gd name="T38" fmla="*/ 198 w 250"/>
                <a:gd name="T39" fmla="*/ 137 h 418"/>
                <a:gd name="T40" fmla="*/ 210 w 250"/>
                <a:gd name="T41" fmla="*/ 156 h 418"/>
                <a:gd name="T42" fmla="*/ 219 w 250"/>
                <a:gd name="T43" fmla="*/ 161 h 418"/>
                <a:gd name="T44" fmla="*/ 233 w 250"/>
                <a:gd name="T45" fmla="*/ 161 h 418"/>
                <a:gd name="T46" fmla="*/ 238 w 250"/>
                <a:gd name="T47" fmla="*/ 175 h 418"/>
                <a:gd name="T48" fmla="*/ 243 w 250"/>
                <a:gd name="T49" fmla="*/ 180 h 418"/>
                <a:gd name="T50" fmla="*/ 250 w 250"/>
                <a:gd name="T51" fmla="*/ 184 h 418"/>
                <a:gd name="T52" fmla="*/ 233 w 250"/>
                <a:gd name="T53" fmla="*/ 208 h 418"/>
                <a:gd name="T54" fmla="*/ 226 w 250"/>
                <a:gd name="T55" fmla="*/ 213 h 418"/>
                <a:gd name="T56" fmla="*/ 217 w 250"/>
                <a:gd name="T57" fmla="*/ 225 h 418"/>
                <a:gd name="T58" fmla="*/ 210 w 250"/>
                <a:gd name="T59" fmla="*/ 241 h 418"/>
                <a:gd name="T60" fmla="*/ 203 w 250"/>
                <a:gd name="T61" fmla="*/ 243 h 418"/>
                <a:gd name="T62" fmla="*/ 186 w 250"/>
                <a:gd name="T63" fmla="*/ 243 h 418"/>
                <a:gd name="T64" fmla="*/ 177 w 250"/>
                <a:gd name="T65" fmla="*/ 251 h 418"/>
                <a:gd name="T66" fmla="*/ 177 w 250"/>
                <a:gd name="T67" fmla="*/ 265 h 418"/>
                <a:gd name="T68" fmla="*/ 158 w 250"/>
                <a:gd name="T69" fmla="*/ 248 h 418"/>
                <a:gd name="T70" fmla="*/ 153 w 250"/>
                <a:gd name="T71" fmla="*/ 258 h 418"/>
                <a:gd name="T72" fmla="*/ 153 w 250"/>
                <a:gd name="T73" fmla="*/ 291 h 418"/>
                <a:gd name="T74" fmla="*/ 153 w 250"/>
                <a:gd name="T75" fmla="*/ 307 h 418"/>
                <a:gd name="T76" fmla="*/ 139 w 250"/>
                <a:gd name="T77" fmla="*/ 305 h 418"/>
                <a:gd name="T78" fmla="*/ 132 w 250"/>
                <a:gd name="T79" fmla="*/ 321 h 418"/>
                <a:gd name="T80" fmla="*/ 130 w 250"/>
                <a:gd name="T81" fmla="*/ 310 h 418"/>
                <a:gd name="T82" fmla="*/ 130 w 250"/>
                <a:gd name="T83" fmla="*/ 324 h 418"/>
                <a:gd name="T84" fmla="*/ 122 w 250"/>
                <a:gd name="T85" fmla="*/ 314 h 418"/>
                <a:gd name="T86" fmla="*/ 125 w 250"/>
                <a:gd name="T87" fmla="*/ 333 h 418"/>
                <a:gd name="T88" fmla="*/ 115 w 250"/>
                <a:gd name="T89" fmla="*/ 314 h 418"/>
                <a:gd name="T90" fmla="*/ 113 w 250"/>
                <a:gd name="T91" fmla="*/ 324 h 418"/>
                <a:gd name="T92" fmla="*/ 118 w 250"/>
                <a:gd name="T93" fmla="*/ 331 h 418"/>
                <a:gd name="T94" fmla="*/ 118 w 250"/>
                <a:gd name="T95" fmla="*/ 340 h 418"/>
                <a:gd name="T96" fmla="*/ 108 w 250"/>
                <a:gd name="T97" fmla="*/ 333 h 418"/>
                <a:gd name="T98" fmla="*/ 99 w 250"/>
                <a:gd name="T99" fmla="*/ 350 h 418"/>
                <a:gd name="T100" fmla="*/ 106 w 250"/>
                <a:gd name="T101" fmla="*/ 364 h 418"/>
                <a:gd name="T102" fmla="*/ 101 w 250"/>
                <a:gd name="T103" fmla="*/ 378 h 418"/>
                <a:gd name="T104" fmla="*/ 96 w 250"/>
                <a:gd name="T105" fmla="*/ 390 h 418"/>
                <a:gd name="T106" fmla="*/ 96 w 250"/>
                <a:gd name="T107" fmla="*/ 404 h 418"/>
                <a:gd name="T108" fmla="*/ 89 w 250"/>
                <a:gd name="T109" fmla="*/ 414 h 418"/>
                <a:gd name="T110" fmla="*/ 73 w 250"/>
                <a:gd name="T111" fmla="*/ 404 h 418"/>
                <a:gd name="T112" fmla="*/ 61 w 250"/>
                <a:gd name="T113" fmla="*/ 380 h 418"/>
                <a:gd name="T114" fmla="*/ 33 w 250"/>
                <a:gd name="T115" fmla="*/ 317 h 418"/>
                <a:gd name="T116" fmla="*/ 11 w 250"/>
                <a:gd name="T117" fmla="*/ 272 h 418"/>
                <a:gd name="T118" fmla="*/ 4 w 250"/>
                <a:gd name="T119" fmla="*/ 253 h 418"/>
                <a:gd name="T120" fmla="*/ 0 w 250"/>
                <a:gd name="T121" fmla="*/ 236 h 4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0"/>
                <a:gd name="T184" fmla="*/ 0 h 418"/>
                <a:gd name="T185" fmla="*/ 250 w 250"/>
                <a:gd name="T186" fmla="*/ 418 h 4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0" h="418">
                  <a:moveTo>
                    <a:pt x="0" y="236"/>
                  </a:moveTo>
                  <a:lnTo>
                    <a:pt x="2" y="234"/>
                  </a:lnTo>
                  <a:lnTo>
                    <a:pt x="11" y="236"/>
                  </a:lnTo>
                  <a:lnTo>
                    <a:pt x="16" y="213"/>
                  </a:lnTo>
                  <a:lnTo>
                    <a:pt x="11" y="213"/>
                  </a:lnTo>
                  <a:lnTo>
                    <a:pt x="11" y="208"/>
                  </a:lnTo>
                  <a:lnTo>
                    <a:pt x="16" y="201"/>
                  </a:lnTo>
                  <a:lnTo>
                    <a:pt x="16" y="196"/>
                  </a:lnTo>
                  <a:lnTo>
                    <a:pt x="19" y="194"/>
                  </a:lnTo>
                  <a:lnTo>
                    <a:pt x="21" y="191"/>
                  </a:lnTo>
                  <a:lnTo>
                    <a:pt x="21" y="180"/>
                  </a:lnTo>
                  <a:lnTo>
                    <a:pt x="26" y="168"/>
                  </a:lnTo>
                  <a:lnTo>
                    <a:pt x="26" y="163"/>
                  </a:lnTo>
                  <a:lnTo>
                    <a:pt x="21" y="163"/>
                  </a:lnTo>
                  <a:lnTo>
                    <a:pt x="19" y="154"/>
                  </a:lnTo>
                  <a:lnTo>
                    <a:pt x="16" y="144"/>
                  </a:lnTo>
                  <a:lnTo>
                    <a:pt x="16" y="130"/>
                  </a:lnTo>
                  <a:lnTo>
                    <a:pt x="19" y="123"/>
                  </a:lnTo>
                  <a:lnTo>
                    <a:pt x="19" y="121"/>
                  </a:lnTo>
                  <a:lnTo>
                    <a:pt x="21" y="121"/>
                  </a:lnTo>
                  <a:lnTo>
                    <a:pt x="21" y="116"/>
                  </a:lnTo>
                  <a:lnTo>
                    <a:pt x="19" y="114"/>
                  </a:lnTo>
                  <a:lnTo>
                    <a:pt x="19" y="104"/>
                  </a:lnTo>
                  <a:lnTo>
                    <a:pt x="16" y="97"/>
                  </a:lnTo>
                  <a:lnTo>
                    <a:pt x="16" y="95"/>
                  </a:lnTo>
                  <a:lnTo>
                    <a:pt x="19" y="76"/>
                  </a:lnTo>
                  <a:lnTo>
                    <a:pt x="21" y="64"/>
                  </a:lnTo>
                  <a:lnTo>
                    <a:pt x="21" y="57"/>
                  </a:lnTo>
                  <a:lnTo>
                    <a:pt x="28" y="33"/>
                  </a:lnTo>
                  <a:lnTo>
                    <a:pt x="28" y="19"/>
                  </a:lnTo>
                  <a:lnTo>
                    <a:pt x="33" y="14"/>
                  </a:lnTo>
                  <a:lnTo>
                    <a:pt x="40" y="10"/>
                  </a:lnTo>
                  <a:lnTo>
                    <a:pt x="42" y="10"/>
                  </a:lnTo>
                  <a:lnTo>
                    <a:pt x="45" y="14"/>
                  </a:lnTo>
                  <a:lnTo>
                    <a:pt x="45" y="24"/>
                  </a:lnTo>
                  <a:lnTo>
                    <a:pt x="49" y="24"/>
                  </a:lnTo>
                  <a:lnTo>
                    <a:pt x="49" y="26"/>
                  </a:lnTo>
                  <a:lnTo>
                    <a:pt x="61" y="26"/>
                  </a:lnTo>
                  <a:lnTo>
                    <a:pt x="66" y="24"/>
                  </a:lnTo>
                  <a:lnTo>
                    <a:pt x="66" y="19"/>
                  </a:lnTo>
                  <a:lnTo>
                    <a:pt x="75" y="14"/>
                  </a:lnTo>
                  <a:lnTo>
                    <a:pt x="82" y="2"/>
                  </a:lnTo>
                  <a:lnTo>
                    <a:pt x="82" y="0"/>
                  </a:lnTo>
                  <a:lnTo>
                    <a:pt x="92" y="0"/>
                  </a:lnTo>
                  <a:lnTo>
                    <a:pt x="113" y="7"/>
                  </a:lnTo>
                  <a:lnTo>
                    <a:pt x="118" y="10"/>
                  </a:lnTo>
                  <a:lnTo>
                    <a:pt x="125" y="14"/>
                  </a:lnTo>
                  <a:lnTo>
                    <a:pt x="130" y="24"/>
                  </a:lnTo>
                  <a:lnTo>
                    <a:pt x="137" y="38"/>
                  </a:lnTo>
                  <a:lnTo>
                    <a:pt x="153" y="76"/>
                  </a:lnTo>
                  <a:lnTo>
                    <a:pt x="165" y="104"/>
                  </a:lnTo>
                  <a:lnTo>
                    <a:pt x="165" y="111"/>
                  </a:lnTo>
                  <a:lnTo>
                    <a:pt x="170" y="121"/>
                  </a:lnTo>
                  <a:lnTo>
                    <a:pt x="172" y="123"/>
                  </a:lnTo>
                  <a:lnTo>
                    <a:pt x="172" y="128"/>
                  </a:lnTo>
                  <a:lnTo>
                    <a:pt x="182" y="130"/>
                  </a:lnTo>
                  <a:lnTo>
                    <a:pt x="189" y="130"/>
                  </a:lnTo>
                  <a:lnTo>
                    <a:pt x="193" y="128"/>
                  </a:lnTo>
                  <a:lnTo>
                    <a:pt x="198" y="128"/>
                  </a:lnTo>
                  <a:lnTo>
                    <a:pt x="198" y="137"/>
                  </a:lnTo>
                  <a:lnTo>
                    <a:pt x="205" y="151"/>
                  </a:lnTo>
                  <a:lnTo>
                    <a:pt x="205" y="154"/>
                  </a:lnTo>
                  <a:lnTo>
                    <a:pt x="210" y="156"/>
                  </a:lnTo>
                  <a:lnTo>
                    <a:pt x="212" y="156"/>
                  </a:lnTo>
                  <a:lnTo>
                    <a:pt x="212" y="161"/>
                  </a:lnTo>
                  <a:lnTo>
                    <a:pt x="219" y="161"/>
                  </a:lnTo>
                  <a:lnTo>
                    <a:pt x="219" y="156"/>
                  </a:lnTo>
                  <a:lnTo>
                    <a:pt x="229" y="156"/>
                  </a:lnTo>
                  <a:lnTo>
                    <a:pt x="233" y="161"/>
                  </a:lnTo>
                  <a:lnTo>
                    <a:pt x="243" y="168"/>
                  </a:lnTo>
                  <a:lnTo>
                    <a:pt x="238" y="170"/>
                  </a:lnTo>
                  <a:lnTo>
                    <a:pt x="238" y="175"/>
                  </a:lnTo>
                  <a:lnTo>
                    <a:pt x="236" y="177"/>
                  </a:lnTo>
                  <a:lnTo>
                    <a:pt x="236" y="180"/>
                  </a:lnTo>
                  <a:lnTo>
                    <a:pt x="243" y="180"/>
                  </a:lnTo>
                  <a:lnTo>
                    <a:pt x="243" y="177"/>
                  </a:lnTo>
                  <a:lnTo>
                    <a:pt x="250" y="177"/>
                  </a:lnTo>
                  <a:lnTo>
                    <a:pt x="250" y="184"/>
                  </a:lnTo>
                  <a:lnTo>
                    <a:pt x="243" y="201"/>
                  </a:lnTo>
                  <a:lnTo>
                    <a:pt x="238" y="203"/>
                  </a:lnTo>
                  <a:lnTo>
                    <a:pt x="233" y="208"/>
                  </a:lnTo>
                  <a:lnTo>
                    <a:pt x="222" y="208"/>
                  </a:lnTo>
                  <a:lnTo>
                    <a:pt x="222" y="210"/>
                  </a:lnTo>
                  <a:lnTo>
                    <a:pt x="226" y="213"/>
                  </a:lnTo>
                  <a:lnTo>
                    <a:pt x="226" y="217"/>
                  </a:lnTo>
                  <a:lnTo>
                    <a:pt x="219" y="225"/>
                  </a:lnTo>
                  <a:lnTo>
                    <a:pt x="217" y="225"/>
                  </a:lnTo>
                  <a:lnTo>
                    <a:pt x="212" y="232"/>
                  </a:lnTo>
                  <a:lnTo>
                    <a:pt x="210" y="236"/>
                  </a:lnTo>
                  <a:lnTo>
                    <a:pt x="210" y="241"/>
                  </a:lnTo>
                  <a:lnTo>
                    <a:pt x="205" y="243"/>
                  </a:lnTo>
                  <a:lnTo>
                    <a:pt x="205" y="248"/>
                  </a:lnTo>
                  <a:lnTo>
                    <a:pt x="203" y="243"/>
                  </a:lnTo>
                  <a:lnTo>
                    <a:pt x="198" y="241"/>
                  </a:lnTo>
                  <a:lnTo>
                    <a:pt x="189" y="243"/>
                  </a:lnTo>
                  <a:lnTo>
                    <a:pt x="186" y="243"/>
                  </a:lnTo>
                  <a:lnTo>
                    <a:pt x="186" y="251"/>
                  </a:lnTo>
                  <a:lnTo>
                    <a:pt x="179" y="253"/>
                  </a:lnTo>
                  <a:lnTo>
                    <a:pt x="177" y="251"/>
                  </a:lnTo>
                  <a:lnTo>
                    <a:pt x="172" y="253"/>
                  </a:lnTo>
                  <a:lnTo>
                    <a:pt x="179" y="260"/>
                  </a:lnTo>
                  <a:lnTo>
                    <a:pt x="177" y="265"/>
                  </a:lnTo>
                  <a:lnTo>
                    <a:pt x="163" y="267"/>
                  </a:lnTo>
                  <a:lnTo>
                    <a:pt x="158" y="258"/>
                  </a:lnTo>
                  <a:lnTo>
                    <a:pt x="158" y="248"/>
                  </a:lnTo>
                  <a:lnTo>
                    <a:pt x="156" y="248"/>
                  </a:lnTo>
                  <a:lnTo>
                    <a:pt x="156" y="258"/>
                  </a:lnTo>
                  <a:lnTo>
                    <a:pt x="153" y="258"/>
                  </a:lnTo>
                  <a:lnTo>
                    <a:pt x="148" y="260"/>
                  </a:lnTo>
                  <a:lnTo>
                    <a:pt x="153" y="277"/>
                  </a:lnTo>
                  <a:lnTo>
                    <a:pt x="153" y="291"/>
                  </a:lnTo>
                  <a:lnTo>
                    <a:pt x="156" y="293"/>
                  </a:lnTo>
                  <a:lnTo>
                    <a:pt x="156" y="298"/>
                  </a:lnTo>
                  <a:lnTo>
                    <a:pt x="153" y="307"/>
                  </a:lnTo>
                  <a:lnTo>
                    <a:pt x="148" y="310"/>
                  </a:lnTo>
                  <a:lnTo>
                    <a:pt x="146" y="307"/>
                  </a:lnTo>
                  <a:lnTo>
                    <a:pt x="139" y="305"/>
                  </a:lnTo>
                  <a:lnTo>
                    <a:pt x="139" y="324"/>
                  </a:lnTo>
                  <a:lnTo>
                    <a:pt x="137" y="324"/>
                  </a:lnTo>
                  <a:lnTo>
                    <a:pt x="132" y="321"/>
                  </a:lnTo>
                  <a:lnTo>
                    <a:pt x="132" y="317"/>
                  </a:lnTo>
                  <a:lnTo>
                    <a:pt x="130" y="314"/>
                  </a:lnTo>
                  <a:lnTo>
                    <a:pt x="130" y="310"/>
                  </a:lnTo>
                  <a:lnTo>
                    <a:pt x="130" y="321"/>
                  </a:lnTo>
                  <a:lnTo>
                    <a:pt x="132" y="324"/>
                  </a:lnTo>
                  <a:lnTo>
                    <a:pt x="130" y="324"/>
                  </a:lnTo>
                  <a:lnTo>
                    <a:pt x="125" y="314"/>
                  </a:lnTo>
                  <a:lnTo>
                    <a:pt x="125" y="310"/>
                  </a:lnTo>
                  <a:lnTo>
                    <a:pt x="122" y="314"/>
                  </a:lnTo>
                  <a:lnTo>
                    <a:pt x="122" y="324"/>
                  </a:lnTo>
                  <a:lnTo>
                    <a:pt x="125" y="328"/>
                  </a:lnTo>
                  <a:lnTo>
                    <a:pt x="125" y="333"/>
                  </a:lnTo>
                  <a:lnTo>
                    <a:pt x="122" y="331"/>
                  </a:lnTo>
                  <a:lnTo>
                    <a:pt x="118" y="321"/>
                  </a:lnTo>
                  <a:lnTo>
                    <a:pt x="115" y="314"/>
                  </a:lnTo>
                  <a:lnTo>
                    <a:pt x="115" y="310"/>
                  </a:lnTo>
                  <a:lnTo>
                    <a:pt x="113" y="321"/>
                  </a:lnTo>
                  <a:lnTo>
                    <a:pt x="113" y="324"/>
                  </a:lnTo>
                  <a:lnTo>
                    <a:pt x="115" y="324"/>
                  </a:lnTo>
                  <a:lnTo>
                    <a:pt x="118" y="328"/>
                  </a:lnTo>
                  <a:lnTo>
                    <a:pt x="118" y="331"/>
                  </a:lnTo>
                  <a:lnTo>
                    <a:pt x="122" y="338"/>
                  </a:lnTo>
                  <a:lnTo>
                    <a:pt x="122" y="345"/>
                  </a:lnTo>
                  <a:lnTo>
                    <a:pt x="118" y="340"/>
                  </a:lnTo>
                  <a:lnTo>
                    <a:pt x="118" y="338"/>
                  </a:lnTo>
                  <a:lnTo>
                    <a:pt x="113" y="333"/>
                  </a:lnTo>
                  <a:lnTo>
                    <a:pt x="108" y="333"/>
                  </a:lnTo>
                  <a:lnTo>
                    <a:pt x="101" y="340"/>
                  </a:lnTo>
                  <a:lnTo>
                    <a:pt x="101" y="347"/>
                  </a:lnTo>
                  <a:lnTo>
                    <a:pt x="99" y="350"/>
                  </a:lnTo>
                  <a:lnTo>
                    <a:pt x="99" y="357"/>
                  </a:lnTo>
                  <a:lnTo>
                    <a:pt x="101" y="357"/>
                  </a:lnTo>
                  <a:lnTo>
                    <a:pt x="106" y="364"/>
                  </a:lnTo>
                  <a:lnTo>
                    <a:pt x="101" y="369"/>
                  </a:lnTo>
                  <a:lnTo>
                    <a:pt x="99" y="378"/>
                  </a:lnTo>
                  <a:lnTo>
                    <a:pt x="101" y="378"/>
                  </a:lnTo>
                  <a:lnTo>
                    <a:pt x="99" y="385"/>
                  </a:lnTo>
                  <a:lnTo>
                    <a:pt x="99" y="388"/>
                  </a:lnTo>
                  <a:lnTo>
                    <a:pt x="96" y="390"/>
                  </a:lnTo>
                  <a:lnTo>
                    <a:pt x="92" y="390"/>
                  </a:lnTo>
                  <a:lnTo>
                    <a:pt x="92" y="402"/>
                  </a:lnTo>
                  <a:lnTo>
                    <a:pt x="96" y="404"/>
                  </a:lnTo>
                  <a:lnTo>
                    <a:pt x="96" y="406"/>
                  </a:lnTo>
                  <a:lnTo>
                    <a:pt x="92" y="418"/>
                  </a:lnTo>
                  <a:lnTo>
                    <a:pt x="89" y="414"/>
                  </a:lnTo>
                  <a:lnTo>
                    <a:pt x="89" y="418"/>
                  </a:lnTo>
                  <a:lnTo>
                    <a:pt x="82" y="414"/>
                  </a:lnTo>
                  <a:lnTo>
                    <a:pt x="73" y="404"/>
                  </a:lnTo>
                  <a:lnTo>
                    <a:pt x="66" y="397"/>
                  </a:lnTo>
                  <a:lnTo>
                    <a:pt x="61" y="390"/>
                  </a:lnTo>
                  <a:lnTo>
                    <a:pt x="61" y="380"/>
                  </a:lnTo>
                  <a:lnTo>
                    <a:pt x="56" y="371"/>
                  </a:lnTo>
                  <a:lnTo>
                    <a:pt x="49" y="350"/>
                  </a:lnTo>
                  <a:lnTo>
                    <a:pt x="33" y="317"/>
                  </a:lnTo>
                  <a:lnTo>
                    <a:pt x="26" y="305"/>
                  </a:lnTo>
                  <a:lnTo>
                    <a:pt x="21" y="291"/>
                  </a:lnTo>
                  <a:lnTo>
                    <a:pt x="11" y="272"/>
                  </a:lnTo>
                  <a:lnTo>
                    <a:pt x="9" y="265"/>
                  </a:lnTo>
                  <a:lnTo>
                    <a:pt x="9" y="258"/>
                  </a:lnTo>
                  <a:lnTo>
                    <a:pt x="4" y="253"/>
                  </a:lnTo>
                  <a:lnTo>
                    <a:pt x="2" y="248"/>
                  </a:lnTo>
                  <a:lnTo>
                    <a:pt x="2" y="241"/>
                  </a:lnTo>
                  <a:lnTo>
                    <a:pt x="0" y="23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5" name="Freeform 169">
              <a:extLst>
                <a:ext uri="{FF2B5EF4-FFF2-40B4-BE49-F238E27FC236}">
                  <a16:creationId xmlns:a16="http://schemas.microsoft.com/office/drawing/2014/main" id="{7690CFDD-B7D9-4FA3-A0BD-944BE6230EC3}"/>
                </a:ext>
              </a:extLst>
            </p:cNvPr>
            <p:cNvSpPr>
              <a:spLocks/>
            </p:cNvSpPr>
            <p:nvPr/>
          </p:nvSpPr>
          <p:spPr bwMode="gray">
            <a:xfrm rot="47099">
              <a:off x="1108532" y="3076056"/>
              <a:ext cx="227106" cy="185247"/>
            </a:xfrm>
            <a:custGeom>
              <a:avLst/>
              <a:gdLst>
                <a:gd name="T0" fmla="*/ 10 w 489"/>
                <a:gd name="T1" fmla="*/ 265 h 397"/>
                <a:gd name="T2" fmla="*/ 14 w 489"/>
                <a:gd name="T3" fmla="*/ 258 h 397"/>
                <a:gd name="T4" fmla="*/ 17 w 489"/>
                <a:gd name="T5" fmla="*/ 217 h 397"/>
                <a:gd name="T6" fmla="*/ 24 w 489"/>
                <a:gd name="T7" fmla="*/ 184 h 397"/>
                <a:gd name="T8" fmla="*/ 24 w 489"/>
                <a:gd name="T9" fmla="*/ 177 h 397"/>
                <a:gd name="T10" fmla="*/ 31 w 489"/>
                <a:gd name="T11" fmla="*/ 135 h 397"/>
                <a:gd name="T12" fmla="*/ 31 w 489"/>
                <a:gd name="T13" fmla="*/ 118 h 397"/>
                <a:gd name="T14" fmla="*/ 33 w 489"/>
                <a:gd name="T15" fmla="*/ 99 h 397"/>
                <a:gd name="T16" fmla="*/ 33 w 489"/>
                <a:gd name="T17" fmla="*/ 90 h 397"/>
                <a:gd name="T18" fmla="*/ 38 w 489"/>
                <a:gd name="T19" fmla="*/ 66 h 397"/>
                <a:gd name="T20" fmla="*/ 38 w 489"/>
                <a:gd name="T21" fmla="*/ 64 h 397"/>
                <a:gd name="T22" fmla="*/ 40 w 489"/>
                <a:gd name="T23" fmla="*/ 47 h 397"/>
                <a:gd name="T24" fmla="*/ 40 w 489"/>
                <a:gd name="T25" fmla="*/ 40 h 397"/>
                <a:gd name="T26" fmla="*/ 43 w 489"/>
                <a:gd name="T27" fmla="*/ 33 h 397"/>
                <a:gd name="T28" fmla="*/ 43 w 489"/>
                <a:gd name="T29" fmla="*/ 17 h 397"/>
                <a:gd name="T30" fmla="*/ 47 w 489"/>
                <a:gd name="T31" fmla="*/ 0 h 397"/>
                <a:gd name="T32" fmla="*/ 78 w 489"/>
                <a:gd name="T33" fmla="*/ 2 h 397"/>
                <a:gd name="T34" fmla="*/ 90 w 489"/>
                <a:gd name="T35" fmla="*/ 2 h 397"/>
                <a:gd name="T36" fmla="*/ 95 w 489"/>
                <a:gd name="T37" fmla="*/ 7 h 397"/>
                <a:gd name="T38" fmla="*/ 121 w 489"/>
                <a:gd name="T39" fmla="*/ 7 h 397"/>
                <a:gd name="T40" fmla="*/ 123 w 489"/>
                <a:gd name="T41" fmla="*/ 10 h 397"/>
                <a:gd name="T42" fmla="*/ 144 w 489"/>
                <a:gd name="T43" fmla="*/ 10 h 397"/>
                <a:gd name="T44" fmla="*/ 151 w 489"/>
                <a:gd name="T45" fmla="*/ 14 h 397"/>
                <a:gd name="T46" fmla="*/ 170 w 489"/>
                <a:gd name="T47" fmla="*/ 14 h 397"/>
                <a:gd name="T48" fmla="*/ 180 w 489"/>
                <a:gd name="T49" fmla="*/ 17 h 397"/>
                <a:gd name="T50" fmla="*/ 194 w 489"/>
                <a:gd name="T51" fmla="*/ 17 h 397"/>
                <a:gd name="T52" fmla="*/ 236 w 489"/>
                <a:gd name="T53" fmla="*/ 21 h 397"/>
                <a:gd name="T54" fmla="*/ 248 w 489"/>
                <a:gd name="T55" fmla="*/ 24 h 397"/>
                <a:gd name="T56" fmla="*/ 267 w 489"/>
                <a:gd name="T57" fmla="*/ 24 h 397"/>
                <a:gd name="T58" fmla="*/ 281 w 489"/>
                <a:gd name="T59" fmla="*/ 26 h 397"/>
                <a:gd name="T60" fmla="*/ 314 w 489"/>
                <a:gd name="T61" fmla="*/ 26 h 397"/>
                <a:gd name="T62" fmla="*/ 317 w 489"/>
                <a:gd name="T63" fmla="*/ 31 h 397"/>
                <a:gd name="T64" fmla="*/ 352 w 489"/>
                <a:gd name="T65" fmla="*/ 31 h 397"/>
                <a:gd name="T66" fmla="*/ 357 w 489"/>
                <a:gd name="T67" fmla="*/ 33 h 397"/>
                <a:gd name="T68" fmla="*/ 385 w 489"/>
                <a:gd name="T69" fmla="*/ 33 h 397"/>
                <a:gd name="T70" fmla="*/ 402 w 489"/>
                <a:gd name="T71" fmla="*/ 38 h 397"/>
                <a:gd name="T72" fmla="*/ 451 w 489"/>
                <a:gd name="T73" fmla="*/ 38 h 397"/>
                <a:gd name="T74" fmla="*/ 454 w 489"/>
                <a:gd name="T75" fmla="*/ 40 h 397"/>
                <a:gd name="T76" fmla="*/ 489 w 489"/>
                <a:gd name="T77" fmla="*/ 40 h 397"/>
                <a:gd name="T78" fmla="*/ 489 w 489"/>
                <a:gd name="T79" fmla="*/ 54 h 397"/>
                <a:gd name="T80" fmla="*/ 484 w 489"/>
                <a:gd name="T81" fmla="*/ 111 h 397"/>
                <a:gd name="T82" fmla="*/ 484 w 489"/>
                <a:gd name="T83" fmla="*/ 144 h 397"/>
                <a:gd name="T84" fmla="*/ 482 w 489"/>
                <a:gd name="T85" fmla="*/ 161 h 397"/>
                <a:gd name="T86" fmla="*/ 482 w 489"/>
                <a:gd name="T87" fmla="*/ 217 h 397"/>
                <a:gd name="T88" fmla="*/ 477 w 489"/>
                <a:gd name="T89" fmla="*/ 227 h 397"/>
                <a:gd name="T90" fmla="*/ 477 w 489"/>
                <a:gd name="T91" fmla="*/ 284 h 397"/>
                <a:gd name="T92" fmla="*/ 475 w 489"/>
                <a:gd name="T93" fmla="*/ 298 h 397"/>
                <a:gd name="T94" fmla="*/ 475 w 489"/>
                <a:gd name="T95" fmla="*/ 357 h 397"/>
                <a:gd name="T96" fmla="*/ 470 w 489"/>
                <a:gd name="T97" fmla="*/ 371 h 397"/>
                <a:gd name="T98" fmla="*/ 470 w 489"/>
                <a:gd name="T99" fmla="*/ 397 h 397"/>
                <a:gd name="T100" fmla="*/ 135 w 489"/>
                <a:gd name="T101" fmla="*/ 371 h 397"/>
                <a:gd name="T102" fmla="*/ 104 w 489"/>
                <a:gd name="T103" fmla="*/ 369 h 397"/>
                <a:gd name="T104" fmla="*/ 95 w 489"/>
                <a:gd name="T105" fmla="*/ 369 h 397"/>
                <a:gd name="T106" fmla="*/ 0 w 489"/>
                <a:gd name="T107" fmla="*/ 354 h 397"/>
                <a:gd name="T108" fmla="*/ 0 w 489"/>
                <a:gd name="T109" fmla="*/ 352 h 397"/>
                <a:gd name="T110" fmla="*/ 2 w 489"/>
                <a:gd name="T111" fmla="*/ 328 h 397"/>
                <a:gd name="T112" fmla="*/ 7 w 489"/>
                <a:gd name="T113" fmla="*/ 298 h 397"/>
                <a:gd name="T114" fmla="*/ 10 w 489"/>
                <a:gd name="T115" fmla="*/ 272 h 397"/>
                <a:gd name="T116" fmla="*/ 10 w 489"/>
                <a:gd name="T117" fmla="*/ 265 h 3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9"/>
                <a:gd name="T178" fmla="*/ 0 h 397"/>
                <a:gd name="T179" fmla="*/ 489 w 489"/>
                <a:gd name="T180" fmla="*/ 397 h 3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9" h="397">
                  <a:moveTo>
                    <a:pt x="10" y="265"/>
                  </a:moveTo>
                  <a:lnTo>
                    <a:pt x="14" y="258"/>
                  </a:lnTo>
                  <a:lnTo>
                    <a:pt x="17" y="217"/>
                  </a:lnTo>
                  <a:lnTo>
                    <a:pt x="24" y="184"/>
                  </a:lnTo>
                  <a:lnTo>
                    <a:pt x="24" y="177"/>
                  </a:lnTo>
                  <a:lnTo>
                    <a:pt x="31" y="135"/>
                  </a:lnTo>
                  <a:lnTo>
                    <a:pt x="31" y="118"/>
                  </a:lnTo>
                  <a:lnTo>
                    <a:pt x="33" y="99"/>
                  </a:lnTo>
                  <a:lnTo>
                    <a:pt x="33" y="90"/>
                  </a:lnTo>
                  <a:lnTo>
                    <a:pt x="38" y="66"/>
                  </a:lnTo>
                  <a:lnTo>
                    <a:pt x="38" y="64"/>
                  </a:lnTo>
                  <a:lnTo>
                    <a:pt x="40" y="47"/>
                  </a:lnTo>
                  <a:lnTo>
                    <a:pt x="40" y="40"/>
                  </a:lnTo>
                  <a:lnTo>
                    <a:pt x="43" y="33"/>
                  </a:lnTo>
                  <a:lnTo>
                    <a:pt x="43" y="17"/>
                  </a:lnTo>
                  <a:lnTo>
                    <a:pt x="47" y="0"/>
                  </a:lnTo>
                  <a:lnTo>
                    <a:pt x="78" y="2"/>
                  </a:lnTo>
                  <a:lnTo>
                    <a:pt x="90" y="2"/>
                  </a:lnTo>
                  <a:lnTo>
                    <a:pt x="95" y="7"/>
                  </a:lnTo>
                  <a:lnTo>
                    <a:pt x="121" y="7"/>
                  </a:lnTo>
                  <a:lnTo>
                    <a:pt x="123" y="10"/>
                  </a:lnTo>
                  <a:lnTo>
                    <a:pt x="144" y="10"/>
                  </a:lnTo>
                  <a:lnTo>
                    <a:pt x="151" y="14"/>
                  </a:lnTo>
                  <a:lnTo>
                    <a:pt x="170" y="14"/>
                  </a:lnTo>
                  <a:lnTo>
                    <a:pt x="180" y="17"/>
                  </a:lnTo>
                  <a:lnTo>
                    <a:pt x="194" y="17"/>
                  </a:lnTo>
                  <a:lnTo>
                    <a:pt x="236" y="21"/>
                  </a:lnTo>
                  <a:lnTo>
                    <a:pt x="248" y="24"/>
                  </a:lnTo>
                  <a:lnTo>
                    <a:pt x="267" y="24"/>
                  </a:lnTo>
                  <a:lnTo>
                    <a:pt x="281" y="26"/>
                  </a:lnTo>
                  <a:lnTo>
                    <a:pt x="314" y="26"/>
                  </a:lnTo>
                  <a:lnTo>
                    <a:pt x="317" y="31"/>
                  </a:lnTo>
                  <a:lnTo>
                    <a:pt x="352" y="31"/>
                  </a:lnTo>
                  <a:lnTo>
                    <a:pt x="357" y="33"/>
                  </a:lnTo>
                  <a:lnTo>
                    <a:pt x="385" y="33"/>
                  </a:lnTo>
                  <a:lnTo>
                    <a:pt x="402" y="38"/>
                  </a:lnTo>
                  <a:lnTo>
                    <a:pt x="451" y="38"/>
                  </a:lnTo>
                  <a:lnTo>
                    <a:pt x="454" y="40"/>
                  </a:lnTo>
                  <a:lnTo>
                    <a:pt x="489" y="40"/>
                  </a:lnTo>
                  <a:lnTo>
                    <a:pt x="489" y="54"/>
                  </a:lnTo>
                  <a:lnTo>
                    <a:pt x="484" y="111"/>
                  </a:lnTo>
                  <a:lnTo>
                    <a:pt x="484" y="144"/>
                  </a:lnTo>
                  <a:lnTo>
                    <a:pt x="482" y="161"/>
                  </a:lnTo>
                  <a:lnTo>
                    <a:pt x="482" y="217"/>
                  </a:lnTo>
                  <a:lnTo>
                    <a:pt x="477" y="227"/>
                  </a:lnTo>
                  <a:lnTo>
                    <a:pt x="477" y="284"/>
                  </a:lnTo>
                  <a:lnTo>
                    <a:pt x="475" y="298"/>
                  </a:lnTo>
                  <a:lnTo>
                    <a:pt x="475" y="357"/>
                  </a:lnTo>
                  <a:lnTo>
                    <a:pt x="470" y="371"/>
                  </a:lnTo>
                  <a:lnTo>
                    <a:pt x="470" y="397"/>
                  </a:lnTo>
                  <a:lnTo>
                    <a:pt x="135" y="371"/>
                  </a:lnTo>
                  <a:lnTo>
                    <a:pt x="104" y="369"/>
                  </a:lnTo>
                  <a:lnTo>
                    <a:pt x="95" y="369"/>
                  </a:lnTo>
                  <a:lnTo>
                    <a:pt x="0" y="354"/>
                  </a:lnTo>
                  <a:lnTo>
                    <a:pt x="0" y="352"/>
                  </a:lnTo>
                  <a:lnTo>
                    <a:pt x="2" y="328"/>
                  </a:lnTo>
                  <a:lnTo>
                    <a:pt x="7" y="298"/>
                  </a:lnTo>
                  <a:lnTo>
                    <a:pt x="10" y="272"/>
                  </a:lnTo>
                  <a:lnTo>
                    <a:pt x="10" y="26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6" name="Freeform 170">
              <a:extLst>
                <a:ext uri="{FF2B5EF4-FFF2-40B4-BE49-F238E27FC236}">
                  <a16:creationId xmlns:a16="http://schemas.microsoft.com/office/drawing/2014/main" id="{2B8A5776-B221-4F7E-A9C9-7195C23F74CB}"/>
                </a:ext>
              </a:extLst>
            </p:cNvPr>
            <p:cNvSpPr>
              <a:spLocks/>
            </p:cNvSpPr>
            <p:nvPr/>
          </p:nvSpPr>
          <p:spPr bwMode="gray">
            <a:xfrm rot="47099">
              <a:off x="1554990" y="3152432"/>
              <a:ext cx="201278" cy="130252"/>
            </a:xfrm>
            <a:custGeom>
              <a:avLst/>
              <a:gdLst>
                <a:gd name="T0" fmla="*/ 11 w 434"/>
                <a:gd name="T1" fmla="*/ 107 h 279"/>
                <a:gd name="T2" fmla="*/ 7 w 434"/>
                <a:gd name="T3" fmla="*/ 97 h 279"/>
                <a:gd name="T4" fmla="*/ 0 w 434"/>
                <a:gd name="T5" fmla="*/ 90 h 279"/>
                <a:gd name="T6" fmla="*/ 7 w 434"/>
                <a:gd name="T7" fmla="*/ 81 h 279"/>
                <a:gd name="T8" fmla="*/ 14 w 434"/>
                <a:gd name="T9" fmla="*/ 59 h 279"/>
                <a:gd name="T10" fmla="*/ 4 w 434"/>
                <a:gd name="T11" fmla="*/ 43 h 279"/>
                <a:gd name="T12" fmla="*/ 4 w 434"/>
                <a:gd name="T13" fmla="*/ 33 h 279"/>
                <a:gd name="T14" fmla="*/ 14 w 434"/>
                <a:gd name="T15" fmla="*/ 26 h 279"/>
                <a:gd name="T16" fmla="*/ 85 w 434"/>
                <a:gd name="T17" fmla="*/ 19 h 279"/>
                <a:gd name="T18" fmla="*/ 177 w 434"/>
                <a:gd name="T19" fmla="*/ 17 h 279"/>
                <a:gd name="T20" fmla="*/ 229 w 434"/>
                <a:gd name="T21" fmla="*/ 10 h 279"/>
                <a:gd name="T22" fmla="*/ 281 w 434"/>
                <a:gd name="T23" fmla="*/ 7 h 279"/>
                <a:gd name="T24" fmla="*/ 347 w 434"/>
                <a:gd name="T25" fmla="*/ 3 h 279"/>
                <a:gd name="T26" fmla="*/ 359 w 434"/>
                <a:gd name="T27" fmla="*/ 17 h 279"/>
                <a:gd name="T28" fmla="*/ 359 w 434"/>
                <a:gd name="T29" fmla="*/ 24 h 279"/>
                <a:gd name="T30" fmla="*/ 354 w 434"/>
                <a:gd name="T31" fmla="*/ 33 h 279"/>
                <a:gd name="T32" fmla="*/ 368 w 434"/>
                <a:gd name="T33" fmla="*/ 64 h 279"/>
                <a:gd name="T34" fmla="*/ 392 w 434"/>
                <a:gd name="T35" fmla="*/ 69 h 279"/>
                <a:gd name="T36" fmla="*/ 399 w 434"/>
                <a:gd name="T37" fmla="*/ 85 h 279"/>
                <a:gd name="T38" fmla="*/ 411 w 434"/>
                <a:gd name="T39" fmla="*/ 97 h 279"/>
                <a:gd name="T40" fmla="*/ 418 w 434"/>
                <a:gd name="T41" fmla="*/ 107 h 279"/>
                <a:gd name="T42" fmla="*/ 427 w 434"/>
                <a:gd name="T43" fmla="*/ 114 h 279"/>
                <a:gd name="T44" fmla="*/ 434 w 434"/>
                <a:gd name="T45" fmla="*/ 137 h 279"/>
                <a:gd name="T46" fmla="*/ 427 w 434"/>
                <a:gd name="T47" fmla="*/ 147 h 279"/>
                <a:gd name="T48" fmla="*/ 418 w 434"/>
                <a:gd name="T49" fmla="*/ 166 h 279"/>
                <a:gd name="T50" fmla="*/ 399 w 434"/>
                <a:gd name="T51" fmla="*/ 180 h 279"/>
                <a:gd name="T52" fmla="*/ 382 w 434"/>
                <a:gd name="T53" fmla="*/ 187 h 279"/>
                <a:gd name="T54" fmla="*/ 382 w 434"/>
                <a:gd name="T55" fmla="*/ 203 h 279"/>
                <a:gd name="T56" fmla="*/ 387 w 434"/>
                <a:gd name="T57" fmla="*/ 211 h 279"/>
                <a:gd name="T58" fmla="*/ 387 w 434"/>
                <a:gd name="T59" fmla="*/ 227 h 279"/>
                <a:gd name="T60" fmla="*/ 385 w 434"/>
                <a:gd name="T61" fmla="*/ 234 h 279"/>
                <a:gd name="T62" fmla="*/ 378 w 434"/>
                <a:gd name="T63" fmla="*/ 251 h 279"/>
                <a:gd name="T64" fmla="*/ 366 w 434"/>
                <a:gd name="T65" fmla="*/ 260 h 279"/>
                <a:gd name="T66" fmla="*/ 368 w 434"/>
                <a:gd name="T67" fmla="*/ 277 h 279"/>
                <a:gd name="T68" fmla="*/ 359 w 434"/>
                <a:gd name="T69" fmla="*/ 274 h 279"/>
                <a:gd name="T70" fmla="*/ 326 w 434"/>
                <a:gd name="T71" fmla="*/ 260 h 279"/>
                <a:gd name="T72" fmla="*/ 281 w 434"/>
                <a:gd name="T73" fmla="*/ 267 h 279"/>
                <a:gd name="T74" fmla="*/ 205 w 434"/>
                <a:gd name="T75" fmla="*/ 274 h 279"/>
                <a:gd name="T76" fmla="*/ 132 w 434"/>
                <a:gd name="T77" fmla="*/ 279 h 279"/>
                <a:gd name="T78" fmla="*/ 61 w 434"/>
                <a:gd name="T79" fmla="*/ 267 h 279"/>
                <a:gd name="T80" fmla="*/ 61 w 434"/>
                <a:gd name="T81" fmla="*/ 229 h 279"/>
                <a:gd name="T82" fmla="*/ 54 w 434"/>
                <a:gd name="T83" fmla="*/ 206 h 279"/>
                <a:gd name="T84" fmla="*/ 40 w 434"/>
                <a:gd name="T85" fmla="*/ 189 h 279"/>
                <a:gd name="T86" fmla="*/ 44 w 434"/>
                <a:gd name="T87" fmla="*/ 177 h 279"/>
                <a:gd name="T88" fmla="*/ 23 w 434"/>
                <a:gd name="T89" fmla="*/ 142 h 279"/>
                <a:gd name="T90" fmla="*/ 21 w 434"/>
                <a:gd name="T91" fmla="*/ 126 h 279"/>
                <a:gd name="T92" fmla="*/ 21 w 434"/>
                <a:gd name="T93" fmla="*/ 116 h 27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4"/>
                <a:gd name="T142" fmla="*/ 0 h 279"/>
                <a:gd name="T143" fmla="*/ 434 w 434"/>
                <a:gd name="T144" fmla="*/ 279 h 27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4" h="279">
                  <a:moveTo>
                    <a:pt x="14" y="114"/>
                  </a:moveTo>
                  <a:lnTo>
                    <a:pt x="14" y="109"/>
                  </a:lnTo>
                  <a:lnTo>
                    <a:pt x="11" y="107"/>
                  </a:lnTo>
                  <a:lnTo>
                    <a:pt x="11" y="100"/>
                  </a:lnTo>
                  <a:lnTo>
                    <a:pt x="7" y="100"/>
                  </a:lnTo>
                  <a:lnTo>
                    <a:pt x="7" y="97"/>
                  </a:lnTo>
                  <a:lnTo>
                    <a:pt x="4" y="97"/>
                  </a:lnTo>
                  <a:lnTo>
                    <a:pt x="0" y="92"/>
                  </a:lnTo>
                  <a:lnTo>
                    <a:pt x="0" y="90"/>
                  </a:lnTo>
                  <a:lnTo>
                    <a:pt x="4" y="85"/>
                  </a:lnTo>
                  <a:lnTo>
                    <a:pt x="7" y="83"/>
                  </a:lnTo>
                  <a:lnTo>
                    <a:pt x="7" y="81"/>
                  </a:lnTo>
                  <a:lnTo>
                    <a:pt x="11" y="74"/>
                  </a:lnTo>
                  <a:lnTo>
                    <a:pt x="14" y="64"/>
                  </a:lnTo>
                  <a:lnTo>
                    <a:pt x="14" y="59"/>
                  </a:lnTo>
                  <a:lnTo>
                    <a:pt x="11" y="50"/>
                  </a:lnTo>
                  <a:lnTo>
                    <a:pt x="4" y="50"/>
                  </a:lnTo>
                  <a:lnTo>
                    <a:pt x="4" y="43"/>
                  </a:lnTo>
                  <a:lnTo>
                    <a:pt x="7" y="43"/>
                  </a:lnTo>
                  <a:lnTo>
                    <a:pt x="7" y="36"/>
                  </a:lnTo>
                  <a:lnTo>
                    <a:pt x="4" y="33"/>
                  </a:lnTo>
                  <a:lnTo>
                    <a:pt x="4" y="29"/>
                  </a:lnTo>
                  <a:lnTo>
                    <a:pt x="0" y="26"/>
                  </a:lnTo>
                  <a:lnTo>
                    <a:pt x="14" y="26"/>
                  </a:lnTo>
                  <a:lnTo>
                    <a:pt x="21" y="24"/>
                  </a:lnTo>
                  <a:lnTo>
                    <a:pt x="80" y="24"/>
                  </a:lnTo>
                  <a:lnTo>
                    <a:pt x="85" y="19"/>
                  </a:lnTo>
                  <a:lnTo>
                    <a:pt x="132" y="19"/>
                  </a:lnTo>
                  <a:lnTo>
                    <a:pt x="141" y="17"/>
                  </a:lnTo>
                  <a:lnTo>
                    <a:pt x="177" y="17"/>
                  </a:lnTo>
                  <a:lnTo>
                    <a:pt x="184" y="12"/>
                  </a:lnTo>
                  <a:lnTo>
                    <a:pt x="222" y="12"/>
                  </a:lnTo>
                  <a:lnTo>
                    <a:pt x="229" y="10"/>
                  </a:lnTo>
                  <a:lnTo>
                    <a:pt x="250" y="10"/>
                  </a:lnTo>
                  <a:lnTo>
                    <a:pt x="264" y="7"/>
                  </a:lnTo>
                  <a:lnTo>
                    <a:pt x="281" y="7"/>
                  </a:lnTo>
                  <a:lnTo>
                    <a:pt x="330" y="0"/>
                  </a:lnTo>
                  <a:lnTo>
                    <a:pt x="347" y="0"/>
                  </a:lnTo>
                  <a:lnTo>
                    <a:pt x="347" y="3"/>
                  </a:lnTo>
                  <a:lnTo>
                    <a:pt x="352" y="12"/>
                  </a:lnTo>
                  <a:lnTo>
                    <a:pt x="359" y="12"/>
                  </a:lnTo>
                  <a:lnTo>
                    <a:pt x="359" y="17"/>
                  </a:lnTo>
                  <a:lnTo>
                    <a:pt x="361" y="17"/>
                  </a:lnTo>
                  <a:lnTo>
                    <a:pt x="361" y="19"/>
                  </a:lnTo>
                  <a:lnTo>
                    <a:pt x="359" y="24"/>
                  </a:lnTo>
                  <a:lnTo>
                    <a:pt x="359" y="26"/>
                  </a:lnTo>
                  <a:lnTo>
                    <a:pt x="354" y="26"/>
                  </a:lnTo>
                  <a:lnTo>
                    <a:pt x="354" y="33"/>
                  </a:lnTo>
                  <a:lnTo>
                    <a:pt x="359" y="50"/>
                  </a:lnTo>
                  <a:lnTo>
                    <a:pt x="361" y="50"/>
                  </a:lnTo>
                  <a:lnTo>
                    <a:pt x="368" y="64"/>
                  </a:lnTo>
                  <a:lnTo>
                    <a:pt x="368" y="66"/>
                  </a:lnTo>
                  <a:lnTo>
                    <a:pt x="370" y="69"/>
                  </a:lnTo>
                  <a:lnTo>
                    <a:pt x="392" y="69"/>
                  </a:lnTo>
                  <a:lnTo>
                    <a:pt x="392" y="74"/>
                  </a:lnTo>
                  <a:lnTo>
                    <a:pt x="399" y="81"/>
                  </a:lnTo>
                  <a:lnTo>
                    <a:pt x="399" y="85"/>
                  </a:lnTo>
                  <a:lnTo>
                    <a:pt x="404" y="92"/>
                  </a:lnTo>
                  <a:lnTo>
                    <a:pt x="408" y="92"/>
                  </a:lnTo>
                  <a:lnTo>
                    <a:pt x="411" y="97"/>
                  </a:lnTo>
                  <a:lnTo>
                    <a:pt x="415" y="100"/>
                  </a:lnTo>
                  <a:lnTo>
                    <a:pt x="415" y="104"/>
                  </a:lnTo>
                  <a:lnTo>
                    <a:pt x="418" y="107"/>
                  </a:lnTo>
                  <a:lnTo>
                    <a:pt x="418" y="109"/>
                  </a:lnTo>
                  <a:lnTo>
                    <a:pt x="422" y="109"/>
                  </a:lnTo>
                  <a:lnTo>
                    <a:pt x="427" y="114"/>
                  </a:lnTo>
                  <a:lnTo>
                    <a:pt x="432" y="114"/>
                  </a:lnTo>
                  <a:lnTo>
                    <a:pt x="434" y="121"/>
                  </a:lnTo>
                  <a:lnTo>
                    <a:pt x="434" y="137"/>
                  </a:lnTo>
                  <a:lnTo>
                    <a:pt x="432" y="140"/>
                  </a:lnTo>
                  <a:lnTo>
                    <a:pt x="432" y="142"/>
                  </a:lnTo>
                  <a:lnTo>
                    <a:pt x="427" y="147"/>
                  </a:lnTo>
                  <a:lnTo>
                    <a:pt x="425" y="149"/>
                  </a:lnTo>
                  <a:lnTo>
                    <a:pt x="425" y="163"/>
                  </a:lnTo>
                  <a:lnTo>
                    <a:pt x="418" y="166"/>
                  </a:lnTo>
                  <a:lnTo>
                    <a:pt x="418" y="170"/>
                  </a:lnTo>
                  <a:lnTo>
                    <a:pt x="408" y="177"/>
                  </a:lnTo>
                  <a:lnTo>
                    <a:pt x="399" y="180"/>
                  </a:lnTo>
                  <a:lnTo>
                    <a:pt x="385" y="180"/>
                  </a:lnTo>
                  <a:lnTo>
                    <a:pt x="382" y="182"/>
                  </a:lnTo>
                  <a:lnTo>
                    <a:pt x="382" y="187"/>
                  </a:lnTo>
                  <a:lnTo>
                    <a:pt x="378" y="196"/>
                  </a:lnTo>
                  <a:lnTo>
                    <a:pt x="378" y="203"/>
                  </a:lnTo>
                  <a:lnTo>
                    <a:pt x="382" y="203"/>
                  </a:lnTo>
                  <a:lnTo>
                    <a:pt x="382" y="206"/>
                  </a:lnTo>
                  <a:lnTo>
                    <a:pt x="387" y="206"/>
                  </a:lnTo>
                  <a:lnTo>
                    <a:pt x="387" y="211"/>
                  </a:lnTo>
                  <a:lnTo>
                    <a:pt x="392" y="213"/>
                  </a:lnTo>
                  <a:lnTo>
                    <a:pt x="392" y="222"/>
                  </a:lnTo>
                  <a:lnTo>
                    <a:pt x="387" y="227"/>
                  </a:lnTo>
                  <a:lnTo>
                    <a:pt x="387" y="229"/>
                  </a:lnTo>
                  <a:lnTo>
                    <a:pt x="385" y="229"/>
                  </a:lnTo>
                  <a:lnTo>
                    <a:pt x="385" y="234"/>
                  </a:lnTo>
                  <a:lnTo>
                    <a:pt x="382" y="237"/>
                  </a:lnTo>
                  <a:lnTo>
                    <a:pt x="382" y="251"/>
                  </a:lnTo>
                  <a:lnTo>
                    <a:pt x="378" y="251"/>
                  </a:lnTo>
                  <a:lnTo>
                    <a:pt x="378" y="253"/>
                  </a:lnTo>
                  <a:lnTo>
                    <a:pt x="370" y="253"/>
                  </a:lnTo>
                  <a:lnTo>
                    <a:pt x="366" y="260"/>
                  </a:lnTo>
                  <a:lnTo>
                    <a:pt x="366" y="263"/>
                  </a:lnTo>
                  <a:lnTo>
                    <a:pt x="368" y="267"/>
                  </a:lnTo>
                  <a:lnTo>
                    <a:pt x="368" y="277"/>
                  </a:lnTo>
                  <a:lnTo>
                    <a:pt x="366" y="279"/>
                  </a:lnTo>
                  <a:lnTo>
                    <a:pt x="359" y="277"/>
                  </a:lnTo>
                  <a:lnTo>
                    <a:pt x="359" y="274"/>
                  </a:lnTo>
                  <a:lnTo>
                    <a:pt x="344" y="263"/>
                  </a:lnTo>
                  <a:lnTo>
                    <a:pt x="337" y="260"/>
                  </a:lnTo>
                  <a:lnTo>
                    <a:pt x="326" y="260"/>
                  </a:lnTo>
                  <a:lnTo>
                    <a:pt x="318" y="263"/>
                  </a:lnTo>
                  <a:lnTo>
                    <a:pt x="304" y="263"/>
                  </a:lnTo>
                  <a:lnTo>
                    <a:pt x="281" y="267"/>
                  </a:lnTo>
                  <a:lnTo>
                    <a:pt x="255" y="270"/>
                  </a:lnTo>
                  <a:lnTo>
                    <a:pt x="245" y="270"/>
                  </a:lnTo>
                  <a:lnTo>
                    <a:pt x="205" y="274"/>
                  </a:lnTo>
                  <a:lnTo>
                    <a:pt x="181" y="277"/>
                  </a:lnTo>
                  <a:lnTo>
                    <a:pt x="153" y="277"/>
                  </a:lnTo>
                  <a:lnTo>
                    <a:pt x="132" y="279"/>
                  </a:lnTo>
                  <a:lnTo>
                    <a:pt x="68" y="279"/>
                  </a:lnTo>
                  <a:lnTo>
                    <a:pt x="68" y="277"/>
                  </a:lnTo>
                  <a:lnTo>
                    <a:pt x="61" y="267"/>
                  </a:lnTo>
                  <a:lnTo>
                    <a:pt x="63" y="263"/>
                  </a:lnTo>
                  <a:lnTo>
                    <a:pt x="63" y="258"/>
                  </a:lnTo>
                  <a:lnTo>
                    <a:pt x="61" y="229"/>
                  </a:lnTo>
                  <a:lnTo>
                    <a:pt x="56" y="222"/>
                  </a:lnTo>
                  <a:lnTo>
                    <a:pt x="54" y="218"/>
                  </a:lnTo>
                  <a:lnTo>
                    <a:pt x="54" y="206"/>
                  </a:lnTo>
                  <a:lnTo>
                    <a:pt x="47" y="203"/>
                  </a:lnTo>
                  <a:lnTo>
                    <a:pt x="44" y="201"/>
                  </a:lnTo>
                  <a:lnTo>
                    <a:pt x="40" y="189"/>
                  </a:lnTo>
                  <a:lnTo>
                    <a:pt x="40" y="187"/>
                  </a:lnTo>
                  <a:lnTo>
                    <a:pt x="44" y="180"/>
                  </a:lnTo>
                  <a:lnTo>
                    <a:pt x="44" y="177"/>
                  </a:lnTo>
                  <a:lnTo>
                    <a:pt x="37" y="163"/>
                  </a:lnTo>
                  <a:lnTo>
                    <a:pt x="30" y="154"/>
                  </a:lnTo>
                  <a:lnTo>
                    <a:pt x="23" y="142"/>
                  </a:lnTo>
                  <a:lnTo>
                    <a:pt x="23" y="133"/>
                  </a:lnTo>
                  <a:lnTo>
                    <a:pt x="21" y="130"/>
                  </a:lnTo>
                  <a:lnTo>
                    <a:pt x="21" y="126"/>
                  </a:lnTo>
                  <a:lnTo>
                    <a:pt x="16" y="126"/>
                  </a:lnTo>
                  <a:lnTo>
                    <a:pt x="21" y="121"/>
                  </a:lnTo>
                  <a:lnTo>
                    <a:pt x="21" y="116"/>
                  </a:lnTo>
                  <a:lnTo>
                    <a:pt x="16" y="114"/>
                  </a:lnTo>
                  <a:lnTo>
                    <a:pt x="14" y="1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7" name="Freeform 171">
              <a:extLst>
                <a:ext uri="{FF2B5EF4-FFF2-40B4-BE49-F238E27FC236}">
                  <a16:creationId xmlns:a16="http://schemas.microsoft.com/office/drawing/2014/main" id="{B1B4D396-6999-4269-A61B-B8415E3DAB00}"/>
                </a:ext>
              </a:extLst>
            </p:cNvPr>
            <p:cNvSpPr>
              <a:spLocks/>
            </p:cNvSpPr>
            <p:nvPr/>
          </p:nvSpPr>
          <p:spPr bwMode="gray">
            <a:xfrm rot="47099">
              <a:off x="2045257" y="3121488"/>
              <a:ext cx="196825" cy="136041"/>
            </a:xfrm>
            <a:custGeom>
              <a:avLst/>
              <a:gdLst>
                <a:gd name="T0" fmla="*/ 123 w 423"/>
                <a:gd name="T1" fmla="*/ 274 h 291"/>
                <a:gd name="T2" fmla="*/ 76 w 423"/>
                <a:gd name="T3" fmla="*/ 283 h 291"/>
                <a:gd name="T4" fmla="*/ 57 w 423"/>
                <a:gd name="T5" fmla="*/ 291 h 291"/>
                <a:gd name="T6" fmla="*/ 36 w 423"/>
                <a:gd name="T7" fmla="*/ 210 h 291"/>
                <a:gd name="T8" fmla="*/ 7 w 423"/>
                <a:gd name="T9" fmla="*/ 92 h 291"/>
                <a:gd name="T10" fmla="*/ 26 w 423"/>
                <a:gd name="T11" fmla="*/ 50 h 291"/>
                <a:gd name="T12" fmla="*/ 57 w 423"/>
                <a:gd name="T13" fmla="*/ 80 h 291"/>
                <a:gd name="T14" fmla="*/ 76 w 423"/>
                <a:gd name="T15" fmla="*/ 73 h 291"/>
                <a:gd name="T16" fmla="*/ 92 w 423"/>
                <a:gd name="T17" fmla="*/ 68 h 291"/>
                <a:gd name="T18" fmla="*/ 140 w 423"/>
                <a:gd name="T19" fmla="*/ 57 h 291"/>
                <a:gd name="T20" fmla="*/ 173 w 423"/>
                <a:gd name="T21" fmla="*/ 47 h 291"/>
                <a:gd name="T22" fmla="*/ 187 w 423"/>
                <a:gd name="T23" fmla="*/ 43 h 291"/>
                <a:gd name="T24" fmla="*/ 196 w 423"/>
                <a:gd name="T25" fmla="*/ 40 h 291"/>
                <a:gd name="T26" fmla="*/ 210 w 423"/>
                <a:gd name="T27" fmla="*/ 35 h 291"/>
                <a:gd name="T28" fmla="*/ 225 w 423"/>
                <a:gd name="T29" fmla="*/ 33 h 291"/>
                <a:gd name="T30" fmla="*/ 236 w 423"/>
                <a:gd name="T31" fmla="*/ 28 h 291"/>
                <a:gd name="T32" fmla="*/ 243 w 423"/>
                <a:gd name="T33" fmla="*/ 26 h 291"/>
                <a:gd name="T34" fmla="*/ 269 w 423"/>
                <a:gd name="T35" fmla="*/ 19 h 291"/>
                <a:gd name="T36" fmla="*/ 286 w 423"/>
                <a:gd name="T37" fmla="*/ 12 h 291"/>
                <a:gd name="T38" fmla="*/ 338 w 423"/>
                <a:gd name="T39" fmla="*/ 0 h 291"/>
                <a:gd name="T40" fmla="*/ 350 w 423"/>
                <a:gd name="T41" fmla="*/ 7 h 291"/>
                <a:gd name="T42" fmla="*/ 357 w 423"/>
                <a:gd name="T43" fmla="*/ 9 h 291"/>
                <a:gd name="T44" fmla="*/ 362 w 423"/>
                <a:gd name="T45" fmla="*/ 17 h 291"/>
                <a:gd name="T46" fmla="*/ 364 w 423"/>
                <a:gd name="T47" fmla="*/ 26 h 291"/>
                <a:gd name="T48" fmla="*/ 371 w 423"/>
                <a:gd name="T49" fmla="*/ 33 h 291"/>
                <a:gd name="T50" fmla="*/ 388 w 423"/>
                <a:gd name="T51" fmla="*/ 35 h 291"/>
                <a:gd name="T52" fmla="*/ 395 w 423"/>
                <a:gd name="T53" fmla="*/ 43 h 291"/>
                <a:gd name="T54" fmla="*/ 388 w 423"/>
                <a:gd name="T55" fmla="*/ 47 h 291"/>
                <a:gd name="T56" fmla="*/ 385 w 423"/>
                <a:gd name="T57" fmla="*/ 68 h 291"/>
                <a:gd name="T58" fmla="*/ 378 w 423"/>
                <a:gd name="T59" fmla="*/ 80 h 291"/>
                <a:gd name="T60" fmla="*/ 381 w 423"/>
                <a:gd name="T61" fmla="*/ 87 h 291"/>
                <a:gd name="T62" fmla="*/ 385 w 423"/>
                <a:gd name="T63" fmla="*/ 92 h 291"/>
                <a:gd name="T64" fmla="*/ 378 w 423"/>
                <a:gd name="T65" fmla="*/ 104 h 291"/>
                <a:gd name="T66" fmla="*/ 381 w 423"/>
                <a:gd name="T67" fmla="*/ 113 h 291"/>
                <a:gd name="T68" fmla="*/ 390 w 423"/>
                <a:gd name="T69" fmla="*/ 123 h 291"/>
                <a:gd name="T70" fmla="*/ 411 w 423"/>
                <a:gd name="T71" fmla="*/ 137 h 291"/>
                <a:gd name="T72" fmla="*/ 423 w 423"/>
                <a:gd name="T73" fmla="*/ 146 h 291"/>
                <a:gd name="T74" fmla="*/ 406 w 423"/>
                <a:gd name="T75" fmla="*/ 163 h 291"/>
                <a:gd name="T76" fmla="*/ 404 w 423"/>
                <a:gd name="T77" fmla="*/ 170 h 291"/>
                <a:gd name="T78" fmla="*/ 402 w 423"/>
                <a:gd name="T79" fmla="*/ 177 h 291"/>
                <a:gd name="T80" fmla="*/ 395 w 423"/>
                <a:gd name="T81" fmla="*/ 184 h 291"/>
                <a:gd name="T82" fmla="*/ 388 w 423"/>
                <a:gd name="T83" fmla="*/ 189 h 291"/>
                <a:gd name="T84" fmla="*/ 381 w 423"/>
                <a:gd name="T85" fmla="*/ 187 h 291"/>
                <a:gd name="T86" fmla="*/ 371 w 423"/>
                <a:gd name="T87" fmla="*/ 189 h 291"/>
                <a:gd name="T88" fmla="*/ 366 w 423"/>
                <a:gd name="T89" fmla="*/ 196 h 291"/>
                <a:gd name="T90" fmla="*/ 243 w 423"/>
                <a:gd name="T91" fmla="*/ 241 h 2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3"/>
                <a:gd name="T139" fmla="*/ 0 h 291"/>
                <a:gd name="T140" fmla="*/ 423 w 423"/>
                <a:gd name="T141" fmla="*/ 291 h 2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3" h="291">
                  <a:moveTo>
                    <a:pt x="243" y="241"/>
                  </a:moveTo>
                  <a:lnTo>
                    <a:pt x="123" y="274"/>
                  </a:lnTo>
                  <a:lnTo>
                    <a:pt x="83" y="283"/>
                  </a:lnTo>
                  <a:lnTo>
                    <a:pt x="76" y="283"/>
                  </a:lnTo>
                  <a:lnTo>
                    <a:pt x="71" y="286"/>
                  </a:lnTo>
                  <a:lnTo>
                    <a:pt x="57" y="291"/>
                  </a:lnTo>
                  <a:lnTo>
                    <a:pt x="52" y="291"/>
                  </a:lnTo>
                  <a:lnTo>
                    <a:pt x="36" y="210"/>
                  </a:lnTo>
                  <a:lnTo>
                    <a:pt x="31" y="184"/>
                  </a:lnTo>
                  <a:lnTo>
                    <a:pt x="7" y="92"/>
                  </a:lnTo>
                  <a:lnTo>
                    <a:pt x="0" y="64"/>
                  </a:lnTo>
                  <a:lnTo>
                    <a:pt x="26" y="50"/>
                  </a:lnTo>
                  <a:lnTo>
                    <a:pt x="43" y="33"/>
                  </a:lnTo>
                  <a:lnTo>
                    <a:pt x="57" y="80"/>
                  </a:lnTo>
                  <a:lnTo>
                    <a:pt x="66" y="76"/>
                  </a:lnTo>
                  <a:lnTo>
                    <a:pt x="76" y="73"/>
                  </a:lnTo>
                  <a:lnTo>
                    <a:pt x="83" y="73"/>
                  </a:lnTo>
                  <a:lnTo>
                    <a:pt x="92" y="68"/>
                  </a:lnTo>
                  <a:lnTo>
                    <a:pt x="106" y="66"/>
                  </a:lnTo>
                  <a:lnTo>
                    <a:pt x="140" y="57"/>
                  </a:lnTo>
                  <a:lnTo>
                    <a:pt x="154" y="52"/>
                  </a:lnTo>
                  <a:lnTo>
                    <a:pt x="173" y="47"/>
                  </a:lnTo>
                  <a:lnTo>
                    <a:pt x="180" y="47"/>
                  </a:lnTo>
                  <a:lnTo>
                    <a:pt x="187" y="43"/>
                  </a:lnTo>
                  <a:lnTo>
                    <a:pt x="194" y="43"/>
                  </a:lnTo>
                  <a:lnTo>
                    <a:pt x="196" y="40"/>
                  </a:lnTo>
                  <a:lnTo>
                    <a:pt x="208" y="40"/>
                  </a:lnTo>
                  <a:lnTo>
                    <a:pt x="210" y="35"/>
                  </a:lnTo>
                  <a:lnTo>
                    <a:pt x="213" y="35"/>
                  </a:lnTo>
                  <a:lnTo>
                    <a:pt x="225" y="33"/>
                  </a:lnTo>
                  <a:lnTo>
                    <a:pt x="229" y="33"/>
                  </a:lnTo>
                  <a:lnTo>
                    <a:pt x="236" y="28"/>
                  </a:lnTo>
                  <a:lnTo>
                    <a:pt x="241" y="28"/>
                  </a:lnTo>
                  <a:lnTo>
                    <a:pt x="243" y="26"/>
                  </a:lnTo>
                  <a:lnTo>
                    <a:pt x="265" y="19"/>
                  </a:lnTo>
                  <a:lnTo>
                    <a:pt x="269" y="19"/>
                  </a:lnTo>
                  <a:lnTo>
                    <a:pt x="274" y="17"/>
                  </a:lnTo>
                  <a:lnTo>
                    <a:pt x="286" y="12"/>
                  </a:lnTo>
                  <a:lnTo>
                    <a:pt x="333" y="0"/>
                  </a:lnTo>
                  <a:lnTo>
                    <a:pt x="338" y="0"/>
                  </a:lnTo>
                  <a:lnTo>
                    <a:pt x="340" y="2"/>
                  </a:lnTo>
                  <a:lnTo>
                    <a:pt x="350" y="7"/>
                  </a:lnTo>
                  <a:lnTo>
                    <a:pt x="355" y="7"/>
                  </a:lnTo>
                  <a:lnTo>
                    <a:pt x="357" y="9"/>
                  </a:lnTo>
                  <a:lnTo>
                    <a:pt x="362" y="12"/>
                  </a:lnTo>
                  <a:lnTo>
                    <a:pt x="362" y="17"/>
                  </a:lnTo>
                  <a:lnTo>
                    <a:pt x="364" y="24"/>
                  </a:lnTo>
                  <a:lnTo>
                    <a:pt x="364" y="26"/>
                  </a:lnTo>
                  <a:lnTo>
                    <a:pt x="366" y="33"/>
                  </a:lnTo>
                  <a:lnTo>
                    <a:pt x="371" y="33"/>
                  </a:lnTo>
                  <a:lnTo>
                    <a:pt x="371" y="35"/>
                  </a:lnTo>
                  <a:lnTo>
                    <a:pt x="388" y="35"/>
                  </a:lnTo>
                  <a:lnTo>
                    <a:pt x="395" y="40"/>
                  </a:lnTo>
                  <a:lnTo>
                    <a:pt x="395" y="43"/>
                  </a:lnTo>
                  <a:lnTo>
                    <a:pt x="390" y="43"/>
                  </a:lnTo>
                  <a:lnTo>
                    <a:pt x="388" y="47"/>
                  </a:lnTo>
                  <a:lnTo>
                    <a:pt x="388" y="59"/>
                  </a:lnTo>
                  <a:lnTo>
                    <a:pt x="385" y="68"/>
                  </a:lnTo>
                  <a:lnTo>
                    <a:pt x="381" y="76"/>
                  </a:lnTo>
                  <a:lnTo>
                    <a:pt x="378" y="80"/>
                  </a:lnTo>
                  <a:lnTo>
                    <a:pt x="378" y="87"/>
                  </a:lnTo>
                  <a:lnTo>
                    <a:pt x="381" y="87"/>
                  </a:lnTo>
                  <a:lnTo>
                    <a:pt x="385" y="90"/>
                  </a:lnTo>
                  <a:lnTo>
                    <a:pt x="385" y="92"/>
                  </a:lnTo>
                  <a:lnTo>
                    <a:pt x="381" y="99"/>
                  </a:lnTo>
                  <a:lnTo>
                    <a:pt x="378" y="104"/>
                  </a:lnTo>
                  <a:lnTo>
                    <a:pt x="378" y="109"/>
                  </a:lnTo>
                  <a:lnTo>
                    <a:pt x="381" y="113"/>
                  </a:lnTo>
                  <a:lnTo>
                    <a:pt x="385" y="120"/>
                  </a:lnTo>
                  <a:lnTo>
                    <a:pt x="390" y="123"/>
                  </a:lnTo>
                  <a:lnTo>
                    <a:pt x="397" y="130"/>
                  </a:lnTo>
                  <a:lnTo>
                    <a:pt x="411" y="137"/>
                  </a:lnTo>
                  <a:lnTo>
                    <a:pt x="418" y="144"/>
                  </a:lnTo>
                  <a:lnTo>
                    <a:pt x="423" y="146"/>
                  </a:lnTo>
                  <a:lnTo>
                    <a:pt x="411" y="161"/>
                  </a:lnTo>
                  <a:lnTo>
                    <a:pt x="406" y="163"/>
                  </a:lnTo>
                  <a:lnTo>
                    <a:pt x="404" y="165"/>
                  </a:lnTo>
                  <a:lnTo>
                    <a:pt x="404" y="170"/>
                  </a:lnTo>
                  <a:lnTo>
                    <a:pt x="402" y="170"/>
                  </a:lnTo>
                  <a:lnTo>
                    <a:pt x="402" y="177"/>
                  </a:lnTo>
                  <a:lnTo>
                    <a:pt x="397" y="180"/>
                  </a:lnTo>
                  <a:lnTo>
                    <a:pt x="395" y="184"/>
                  </a:lnTo>
                  <a:lnTo>
                    <a:pt x="390" y="187"/>
                  </a:lnTo>
                  <a:lnTo>
                    <a:pt x="388" y="189"/>
                  </a:lnTo>
                  <a:lnTo>
                    <a:pt x="385" y="189"/>
                  </a:lnTo>
                  <a:lnTo>
                    <a:pt x="381" y="187"/>
                  </a:lnTo>
                  <a:lnTo>
                    <a:pt x="381" y="189"/>
                  </a:lnTo>
                  <a:lnTo>
                    <a:pt x="371" y="189"/>
                  </a:lnTo>
                  <a:lnTo>
                    <a:pt x="371" y="194"/>
                  </a:lnTo>
                  <a:lnTo>
                    <a:pt x="366" y="196"/>
                  </a:lnTo>
                  <a:lnTo>
                    <a:pt x="366" y="203"/>
                  </a:lnTo>
                  <a:lnTo>
                    <a:pt x="243" y="24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8" name="Freeform 172">
              <a:extLst>
                <a:ext uri="{FF2B5EF4-FFF2-40B4-BE49-F238E27FC236}">
                  <a16:creationId xmlns:a16="http://schemas.microsoft.com/office/drawing/2014/main" id="{874446CA-C973-439E-8268-45D6CF187517}"/>
                </a:ext>
              </a:extLst>
            </p:cNvPr>
            <p:cNvSpPr>
              <a:spLocks/>
            </p:cNvSpPr>
            <p:nvPr/>
          </p:nvSpPr>
          <p:spPr bwMode="gray">
            <a:xfrm rot="47099">
              <a:off x="1325711" y="3180681"/>
              <a:ext cx="276090" cy="128322"/>
            </a:xfrm>
            <a:custGeom>
              <a:avLst/>
              <a:gdLst>
                <a:gd name="T0" fmla="*/ 0 w 593"/>
                <a:gd name="T1" fmla="*/ 154 h 277"/>
                <a:gd name="T2" fmla="*/ 5 w 593"/>
                <a:gd name="T3" fmla="*/ 81 h 277"/>
                <a:gd name="T4" fmla="*/ 7 w 593"/>
                <a:gd name="T5" fmla="*/ 10 h 277"/>
                <a:gd name="T6" fmla="*/ 14 w 593"/>
                <a:gd name="T7" fmla="*/ 3 h 277"/>
                <a:gd name="T8" fmla="*/ 102 w 593"/>
                <a:gd name="T9" fmla="*/ 8 h 277"/>
                <a:gd name="T10" fmla="*/ 376 w 593"/>
                <a:gd name="T11" fmla="*/ 10 h 277"/>
                <a:gd name="T12" fmla="*/ 378 w 593"/>
                <a:gd name="T13" fmla="*/ 15 h 277"/>
                <a:gd name="T14" fmla="*/ 402 w 593"/>
                <a:gd name="T15" fmla="*/ 26 h 277"/>
                <a:gd name="T16" fmla="*/ 409 w 593"/>
                <a:gd name="T17" fmla="*/ 24 h 277"/>
                <a:gd name="T18" fmla="*/ 416 w 593"/>
                <a:gd name="T19" fmla="*/ 17 h 277"/>
                <a:gd name="T20" fmla="*/ 425 w 593"/>
                <a:gd name="T21" fmla="*/ 19 h 277"/>
                <a:gd name="T22" fmla="*/ 456 w 593"/>
                <a:gd name="T23" fmla="*/ 17 h 277"/>
                <a:gd name="T24" fmla="*/ 463 w 593"/>
                <a:gd name="T25" fmla="*/ 24 h 277"/>
                <a:gd name="T26" fmla="*/ 473 w 593"/>
                <a:gd name="T27" fmla="*/ 26 h 277"/>
                <a:gd name="T28" fmla="*/ 482 w 593"/>
                <a:gd name="T29" fmla="*/ 31 h 277"/>
                <a:gd name="T30" fmla="*/ 499 w 593"/>
                <a:gd name="T31" fmla="*/ 48 h 277"/>
                <a:gd name="T32" fmla="*/ 513 w 593"/>
                <a:gd name="T33" fmla="*/ 50 h 277"/>
                <a:gd name="T34" fmla="*/ 508 w 593"/>
                <a:gd name="T35" fmla="*/ 60 h 277"/>
                <a:gd name="T36" fmla="*/ 513 w 593"/>
                <a:gd name="T37" fmla="*/ 64 h 277"/>
                <a:gd name="T38" fmla="*/ 515 w 593"/>
                <a:gd name="T39" fmla="*/ 76 h 277"/>
                <a:gd name="T40" fmla="*/ 529 w 593"/>
                <a:gd name="T41" fmla="*/ 97 h 277"/>
                <a:gd name="T42" fmla="*/ 536 w 593"/>
                <a:gd name="T43" fmla="*/ 114 h 277"/>
                <a:gd name="T44" fmla="*/ 532 w 593"/>
                <a:gd name="T45" fmla="*/ 123 h 277"/>
                <a:gd name="T46" fmla="*/ 539 w 593"/>
                <a:gd name="T47" fmla="*/ 137 h 277"/>
                <a:gd name="T48" fmla="*/ 546 w 593"/>
                <a:gd name="T49" fmla="*/ 152 h 277"/>
                <a:gd name="T50" fmla="*/ 553 w 593"/>
                <a:gd name="T51" fmla="*/ 163 h 277"/>
                <a:gd name="T52" fmla="*/ 555 w 593"/>
                <a:gd name="T53" fmla="*/ 197 h 277"/>
                <a:gd name="T54" fmla="*/ 560 w 593"/>
                <a:gd name="T55" fmla="*/ 211 h 277"/>
                <a:gd name="T56" fmla="*/ 562 w 593"/>
                <a:gd name="T57" fmla="*/ 220 h 277"/>
                <a:gd name="T58" fmla="*/ 570 w 593"/>
                <a:gd name="T59" fmla="*/ 227 h 277"/>
                <a:gd name="T60" fmla="*/ 577 w 593"/>
                <a:gd name="T61" fmla="*/ 244 h 277"/>
                <a:gd name="T62" fmla="*/ 586 w 593"/>
                <a:gd name="T63" fmla="*/ 260 h 277"/>
                <a:gd name="T64" fmla="*/ 593 w 593"/>
                <a:gd name="T65" fmla="*/ 267 h 277"/>
                <a:gd name="T66" fmla="*/ 546 w 593"/>
                <a:gd name="T67" fmla="*/ 272 h 277"/>
                <a:gd name="T68" fmla="*/ 482 w 593"/>
                <a:gd name="T69" fmla="*/ 274 h 277"/>
                <a:gd name="T70" fmla="*/ 355 w 593"/>
                <a:gd name="T71" fmla="*/ 277 h 277"/>
                <a:gd name="T72" fmla="*/ 192 w 593"/>
                <a:gd name="T73" fmla="*/ 274 h 277"/>
                <a:gd name="T74" fmla="*/ 135 w 593"/>
                <a:gd name="T75" fmla="*/ 185 h 277"/>
                <a:gd name="T76" fmla="*/ 36 w 593"/>
                <a:gd name="T77" fmla="*/ 180 h 277"/>
                <a:gd name="T78" fmla="*/ 0 w 593"/>
                <a:gd name="T79" fmla="*/ 178 h 2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93"/>
                <a:gd name="T121" fmla="*/ 0 h 277"/>
                <a:gd name="T122" fmla="*/ 593 w 593"/>
                <a:gd name="T123" fmla="*/ 277 h 2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93" h="277">
                  <a:moveTo>
                    <a:pt x="0" y="178"/>
                  </a:moveTo>
                  <a:lnTo>
                    <a:pt x="0" y="154"/>
                  </a:lnTo>
                  <a:lnTo>
                    <a:pt x="5" y="140"/>
                  </a:lnTo>
                  <a:lnTo>
                    <a:pt x="5" y="81"/>
                  </a:lnTo>
                  <a:lnTo>
                    <a:pt x="7" y="67"/>
                  </a:lnTo>
                  <a:lnTo>
                    <a:pt x="7" y="10"/>
                  </a:lnTo>
                  <a:lnTo>
                    <a:pt x="12" y="0"/>
                  </a:lnTo>
                  <a:lnTo>
                    <a:pt x="14" y="3"/>
                  </a:lnTo>
                  <a:lnTo>
                    <a:pt x="78" y="3"/>
                  </a:lnTo>
                  <a:lnTo>
                    <a:pt x="102" y="8"/>
                  </a:lnTo>
                  <a:lnTo>
                    <a:pt x="371" y="8"/>
                  </a:lnTo>
                  <a:lnTo>
                    <a:pt x="376" y="10"/>
                  </a:lnTo>
                  <a:lnTo>
                    <a:pt x="376" y="15"/>
                  </a:lnTo>
                  <a:lnTo>
                    <a:pt x="378" y="15"/>
                  </a:lnTo>
                  <a:lnTo>
                    <a:pt x="399" y="24"/>
                  </a:lnTo>
                  <a:lnTo>
                    <a:pt x="402" y="26"/>
                  </a:lnTo>
                  <a:lnTo>
                    <a:pt x="409" y="26"/>
                  </a:lnTo>
                  <a:lnTo>
                    <a:pt x="409" y="24"/>
                  </a:lnTo>
                  <a:lnTo>
                    <a:pt x="411" y="19"/>
                  </a:lnTo>
                  <a:lnTo>
                    <a:pt x="416" y="17"/>
                  </a:lnTo>
                  <a:lnTo>
                    <a:pt x="423" y="17"/>
                  </a:lnTo>
                  <a:lnTo>
                    <a:pt x="425" y="19"/>
                  </a:lnTo>
                  <a:lnTo>
                    <a:pt x="442" y="17"/>
                  </a:lnTo>
                  <a:lnTo>
                    <a:pt x="456" y="17"/>
                  </a:lnTo>
                  <a:lnTo>
                    <a:pt x="456" y="19"/>
                  </a:lnTo>
                  <a:lnTo>
                    <a:pt x="463" y="24"/>
                  </a:lnTo>
                  <a:lnTo>
                    <a:pt x="466" y="24"/>
                  </a:lnTo>
                  <a:lnTo>
                    <a:pt x="473" y="26"/>
                  </a:lnTo>
                  <a:lnTo>
                    <a:pt x="480" y="26"/>
                  </a:lnTo>
                  <a:lnTo>
                    <a:pt x="482" y="31"/>
                  </a:lnTo>
                  <a:lnTo>
                    <a:pt x="496" y="43"/>
                  </a:lnTo>
                  <a:lnTo>
                    <a:pt x="499" y="48"/>
                  </a:lnTo>
                  <a:lnTo>
                    <a:pt x="508" y="48"/>
                  </a:lnTo>
                  <a:lnTo>
                    <a:pt x="513" y="50"/>
                  </a:lnTo>
                  <a:lnTo>
                    <a:pt x="513" y="55"/>
                  </a:lnTo>
                  <a:lnTo>
                    <a:pt x="508" y="60"/>
                  </a:lnTo>
                  <a:lnTo>
                    <a:pt x="513" y="60"/>
                  </a:lnTo>
                  <a:lnTo>
                    <a:pt x="513" y="64"/>
                  </a:lnTo>
                  <a:lnTo>
                    <a:pt x="515" y="67"/>
                  </a:lnTo>
                  <a:lnTo>
                    <a:pt x="515" y="76"/>
                  </a:lnTo>
                  <a:lnTo>
                    <a:pt x="522" y="88"/>
                  </a:lnTo>
                  <a:lnTo>
                    <a:pt x="529" y="97"/>
                  </a:lnTo>
                  <a:lnTo>
                    <a:pt x="536" y="111"/>
                  </a:lnTo>
                  <a:lnTo>
                    <a:pt x="536" y="114"/>
                  </a:lnTo>
                  <a:lnTo>
                    <a:pt x="532" y="121"/>
                  </a:lnTo>
                  <a:lnTo>
                    <a:pt x="532" y="123"/>
                  </a:lnTo>
                  <a:lnTo>
                    <a:pt x="536" y="135"/>
                  </a:lnTo>
                  <a:lnTo>
                    <a:pt x="539" y="137"/>
                  </a:lnTo>
                  <a:lnTo>
                    <a:pt x="546" y="140"/>
                  </a:lnTo>
                  <a:lnTo>
                    <a:pt x="546" y="152"/>
                  </a:lnTo>
                  <a:lnTo>
                    <a:pt x="548" y="156"/>
                  </a:lnTo>
                  <a:lnTo>
                    <a:pt x="553" y="163"/>
                  </a:lnTo>
                  <a:lnTo>
                    <a:pt x="555" y="192"/>
                  </a:lnTo>
                  <a:lnTo>
                    <a:pt x="555" y="197"/>
                  </a:lnTo>
                  <a:lnTo>
                    <a:pt x="553" y="201"/>
                  </a:lnTo>
                  <a:lnTo>
                    <a:pt x="560" y="211"/>
                  </a:lnTo>
                  <a:lnTo>
                    <a:pt x="560" y="220"/>
                  </a:lnTo>
                  <a:lnTo>
                    <a:pt x="562" y="220"/>
                  </a:lnTo>
                  <a:lnTo>
                    <a:pt x="565" y="225"/>
                  </a:lnTo>
                  <a:lnTo>
                    <a:pt x="570" y="227"/>
                  </a:lnTo>
                  <a:lnTo>
                    <a:pt x="570" y="237"/>
                  </a:lnTo>
                  <a:lnTo>
                    <a:pt x="577" y="244"/>
                  </a:lnTo>
                  <a:lnTo>
                    <a:pt x="584" y="251"/>
                  </a:lnTo>
                  <a:lnTo>
                    <a:pt x="586" y="260"/>
                  </a:lnTo>
                  <a:lnTo>
                    <a:pt x="588" y="265"/>
                  </a:lnTo>
                  <a:lnTo>
                    <a:pt x="593" y="267"/>
                  </a:lnTo>
                  <a:lnTo>
                    <a:pt x="572" y="267"/>
                  </a:lnTo>
                  <a:lnTo>
                    <a:pt x="546" y="272"/>
                  </a:lnTo>
                  <a:lnTo>
                    <a:pt x="489" y="272"/>
                  </a:lnTo>
                  <a:lnTo>
                    <a:pt x="482" y="274"/>
                  </a:lnTo>
                  <a:lnTo>
                    <a:pt x="359" y="274"/>
                  </a:lnTo>
                  <a:lnTo>
                    <a:pt x="355" y="277"/>
                  </a:lnTo>
                  <a:lnTo>
                    <a:pt x="199" y="277"/>
                  </a:lnTo>
                  <a:lnTo>
                    <a:pt x="192" y="274"/>
                  </a:lnTo>
                  <a:lnTo>
                    <a:pt x="135" y="274"/>
                  </a:lnTo>
                  <a:lnTo>
                    <a:pt x="135" y="185"/>
                  </a:lnTo>
                  <a:lnTo>
                    <a:pt x="45" y="185"/>
                  </a:lnTo>
                  <a:lnTo>
                    <a:pt x="36" y="180"/>
                  </a:lnTo>
                  <a:lnTo>
                    <a:pt x="0" y="180"/>
                  </a:lnTo>
                  <a:lnTo>
                    <a:pt x="0" y="17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89" name="Freeform 173">
              <a:extLst>
                <a:ext uri="{FF2B5EF4-FFF2-40B4-BE49-F238E27FC236}">
                  <a16:creationId xmlns:a16="http://schemas.microsoft.com/office/drawing/2014/main" id="{0C42DCA2-26E5-4516-8E8E-952169733A90}"/>
                </a:ext>
              </a:extLst>
            </p:cNvPr>
            <p:cNvSpPr>
              <a:spLocks/>
            </p:cNvSpPr>
            <p:nvPr/>
          </p:nvSpPr>
          <p:spPr bwMode="gray">
            <a:xfrm rot="47099">
              <a:off x="1722246" y="3178388"/>
              <a:ext cx="133592" cy="236384"/>
            </a:xfrm>
            <a:custGeom>
              <a:avLst/>
              <a:gdLst>
                <a:gd name="T0" fmla="*/ 260 w 288"/>
                <a:gd name="T1" fmla="*/ 418 h 508"/>
                <a:gd name="T2" fmla="*/ 265 w 288"/>
                <a:gd name="T3" fmla="*/ 433 h 508"/>
                <a:gd name="T4" fmla="*/ 258 w 288"/>
                <a:gd name="T5" fmla="*/ 444 h 508"/>
                <a:gd name="T6" fmla="*/ 260 w 288"/>
                <a:gd name="T7" fmla="*/ 456 h 508"/>
                <a:gd name="T8" fmla="*/ 239 w 288"/>
                <a:gd name="T9" fmla="*/ 468 h 508"/>
                <a:gd name="T10" fmla="*/ 239 w 288"/>
                <a:gd name="T11" fmla="*/ 482 h 508"/>
                <a:gd name="T12" fmla="*/ 241 w 288"/>
                <a:gd name="T13" fmla="*/ 492 h 508"/>
                <a:gd name="T14" fmla="*/ 210 w 288"/>
                <a:gd name="T15" fmla="*/ 485 h 508"/>
                <a:gd name="T16" fmla="*/ 191 w 288"/>
                <a:gd name="T17" fmla="*/ 501 h 508"/>
                <a:gd name="T18" fmla="*/ 184 w 288"/>
                <a:gd name="T19" fmla="*/ 508 h 508"/>
                <a:gd name="T20" fmla="*/ 163 w 288"/>
                <a:gd name="T21" fmla="*/ 489 h 508"/>
                <a:gd name="T22" fmla="*/ 170 w 288"/>
                <a:gd name="T23" fmla="*/ 480 h 508"/>
                <a:gd name="T24" fmla="*/ 161 w 288"/>
                <a:gd name="T25" fmla="*/ 466 h 508"/>
                <a:gd name="T26" fmla="*/ 151 w 288"/>
                <a:gd name="T27" fmla="*/ 444 h 508"/>
                <a:gd name="T28" fmla="*/ 128 w 288"/>
                <a:gd name="T29" fmla="*/ 435 h 508"/>
                <a:gd name="T30" fmla="*/ 97 w 288"/>
                <a:gd name="T31" fmla="*/ 411 h 508"/>
                <a:gd name="T32" fmla="*/ 97 w 288"/>
                <a:gd name="T33" fmla="*/ 395 h 508"/>
                <a:gd name="T34" fmla="*/ 106 w 288"/>
                <a:gd name="T35" fmla="*/ 359 h 508"/>
                <a:gd name="T36" fmla="*/ 87 w 288"/>
                <a:gd name="T37" fmla="*/ 345 h 508"/>
                <a:gd name="T38" fmla="*/ 73 w 288"/>
                <a:gd name="T39" fmla="*/ 355 h 508"/>
                <a:gd name="T40" fmla="*/ 66 w 288"/>
                <a:gd name="T41" fmla="*/ 345 h 508"/>
                <a:gd name="T42" fmla="*/ 61 w 288"/>
                <a:gd name="T43" fmla="*/ 322 h 508"/>
                <a:gd name="T44" fmla="*/ 38 w 288"/>
                <a:gd name="T45" fmla="*/ 307 h 508"/>
                <a:gd name="T46" fmla="*/ 21 w 288"/>
                <a:gd name="T47" fmla="*/ 291 h 508"/>
                <a:gd name="T48" fmla="*/ 9 w 288"/>
                <a:gd name="T49" fmla="*/ 274 h 508"/>
                <a:gd name="T50" fmla="*/ 0 w 288"/>
                <a:gd name="T51" fmla="*/ 227 h 508"/>
                <a:gd name="T52" fmla="*/ 5 w 288"/>
                <a:gd name="T53" fmla="*/ 211 h 508"/>
                <a:gd name="T54" fmla="*/ 17 w 288"/>
                <a:gd name="T55" fmla="*/ 199 h 508"/>
                <a:gd name="T56" fmla="*/ 24 w 288"/>
                <a:gd name="T57" fmla="*/ 177 h 508"/>
                <a:gd name="T58" fmla="*/ 31 w 288"/>
                <a:gd name="T59" fmla="*/ 161 h 508"/>
                <a:gd name="T60" fmla="*/ 21 w 288"/>
                <a:gd name="T61" fmla="*/ 151 h 508"/>
                <a:gd name="T62" fmla="*/ 21 w 288"/>
                <a:gd name="T63" fmla="*/ 130 h 508"/>
                <a:gd name="T64" fmla="*/ 57 w 288"/>
                <a:gd name="T65" fmla="*/ 118 h 508"/>
                <a:gd name="T66" fmla="*/ 66 w 288"/>
                <a:gd name="T67" fmla="*/ 95 h 508"/>
                <a:gd name="T68" fmla="*/ 73 w 288"/>
                <a:gd name="T69" fmla="*/ 69 h 508"/>
                <a:gd name="T70" fmla="*/ 57 w 288"/>
                <a:gd name="T71" fmla="*/ 57 h 508"/>
                <a:gd name="T72" fmla="*/ 50 w 288"/>
                <a:gd name="T73" fmla="*/ 45 h 508"/>
                <a:gd name="T74" fmla="*/ 38 w 288"/>
                <a:gd name="T75" fmla="*/ 31 h 508"/>
                <a:gd name="T76" fmla="*/ 111 w 288"/>
                <a:gd name="T77" fmla="*/ 24 h 508"/>
                <a:gd name="T78" fmla="*/ 168 w 288"/>
                <a:gd name="T79" fmla="*/ 14 h 508"/>
                <a:gd name="T80" fmla="*/ 272 w 288"/>
                <a:gd name="T81" fmla="*/ 0 h 508"/>
                <a:gd name="T82" fmla="*/ 248 w 288"/>
                <a:gd name="T83" fmla="*/ 74 h 508"/>
                <a:gd name="T84" fmla="*/ 267 w 288"/>
                <a:gd name="T85" fmla="*/ 201 h 508"/>
                <a:gd name="T86" fmla="*/ 276 w 288"/>
                <a:gd name="T87" fmla="*/ 286 h 508"/>
                <a:gd name="T88" fmla="*/ 283 w 288"/>
                <a:gd name="T89" fmla="*/ 319 h 508"/>
                <a:gd name="T90" fmla="*/ 281 w 288"/>
                <a:gd name="T91" fmla="*/ 345 h 508"/>
                <a:gd name="T92" fmla="*/ 265 w 288"/>
                <a:gd name="T93" fmla="*/ 383 h 508"/>
                <a:gd name="T94" fmla="*/ 260 w 288"/>
                <a:gd name="T95" fmla="*/ 400 h 50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8"/>
                <a:gd name="T145" fmla="*/ 0 h 508"/>
                <a:gd name="T146" fmla="*/ 288 w 288"/>
                <a:gd name="T147" fmla="*/ 508 h 50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8" h="508">
                  <a:moveTo>
                    <a:pt x="260" y="402"/>
                  </a:moveTo>
                  <a:lnTo>
                    <a:pt x="265" y="402"/>
                  </a:lnTo>
                  <a:lnTo>
                    <a:pt x="260" y="404"/>
                  </a:lnTo>
                  <a:lnTo>
                    <a:pt x="260" y="418"/>
                  </a:lnTo>
                  <a:lnTo>
                    <a:pt x="258" y="418"/>
                  </a:lnTo>
                  <a:lnTo>
                    <a:pt x="260" y="426"/>
                  </a:lnTo>
                  <a:lnTo>
                    <a:pt x="265" y="428"/>
                  </a:lnTo>
                  <a:lnTo>
                    <a:pt x="265" y="433"/>
                  </a:lnTo>
                  <a:lnTo>
                    <a:pt x="260" y="433"/>
                  </a:lnTo>
                  <a:lnTo>
                    <a:pt x="260" y="435"/>
                  </a:lnTo>
                  <a:lnTo>
                    <a:pt x="258" y="435"/>
                  </a:lnTo>
                  <a:lnTo>
                    <a:pt x="258" y="444"/>
                  </a:lnTo>
                  <a:lnTo>
                    <a:pt x="260" y="449"/>
                  </a:lnTo>
                  <a:lnTo>
                    <a:pt x="265" y="451"/>
                  </a:lnTo>
                  <a:lnTo>
                    <a:pt x="265" y="456"/>
                  </a:lnTo>
                  <a:lnTo>
                    <a:pt x="260" y="456"/>
                  </a:lnTo>
                  <a:lnTo>
                    <a:pt x="258" y="459"/>
                  </a:lnTo>
                  <a:lnTo>
                    <a:pt x="250" y="459"/>
                  </a:lnTo>
                  <a:lnTo>
                    <a:pt x="239" y="466"/>
                  </a:lnTo>
                  <a:lnTo>
                    <a:pt x="239" y="468"/>
                  </a:lnTo>
                  <a:lnTo>
                    <a:pt x="234" y="473"/>
                  </a:lnTo>
                  <a:lnTo>
                    <a:pt x="234" y="475"/>
                  </a:lnTo>
                  <a:lnTo>
                    <a:pt x="239" y="480"/>
                  </a:lnTo>
                  <a:lnTo>
                    <a:pt x="239" y="482"/>
                  </a:lnTo>
                  <a:lnTo>
                    <a:pt x="241" y="482"/>
                  </a:lnTo>
                  <a:lnTo>
                    <a:pt x="243" y="485"/>
                  </a:lnTo>
                  <a:lnTo>
                    <a:pt x="243" y="489"/>
                  </a:lnTo>
                  <a:lnTo>
                    <a:pt x="241" y="492"/>
                  </a:lnTo>
                  <a:lnTo>
                    <a:pt x="241" y="496"/>
                  </a:lnTo>
                  <a:lnTo>
                    <a:pt x="234" y="496"/>
                  </a:lnTo>
                  <a:lnTo>
                    <a:pt x="220" y="492"/>
                  </a:lnTo>
                  <a:lnTo>
                    <a:pt x="210" y="485"/>
                  </a:lnTo>
                  <a:lnTo>
                    <a:pt x="203" y="485"/>
                  </a:lnTo>
                  <a:lnTo>
                    <a:pt x="201" y="489"/>
                  </a:lnTo>
                  <a:lnTo>
                    <a:pt x="198" y="492"/>
                  </a:lnTo>
                  <a:lnTo>
                    <a:pt x="191" y="501"/>
                  </a:lnTo>
                  <a:lnTo>
                    <a:pt x="191" y="506"/>
                  </a:lnTo>
                  <a:lnTo>
                    <a:pt x="194" y="506"/>
                  </a:lnTo>
                  <a:lnTo>
                    <a:pt x="194" y="508"/>
                  </a:lnTo>
                  <a:lnTo>
                    <a:pt x="184" y="508"/>
                  </a:lnTo>
                  <a:lnTo>
                    <a:pt x="177" y="506"/>
                  </a:lnTo>
                  <a:lnTo>
                    <a:pt x="175" y="499"/>
                  </a:lnTo>
                  <a:lnTo>
                    <a:pt x="170" y="492"/>
                  </a:lnTo>
                  <a:lnTo>
                    <a:pt x="163" y="489"/>
                  </a:lnTo>
                  <a:lnTo>
                    <a:pt x="163" y="482"/>
                  </a:lnTo>
                  <a:lnTo>
                    <a:pt x="168" y="482"/>
                  </a:lnTo>
                  <a:lnTo>
                    <a:pt x="168" y="480"/>
                  </a:lnTo>
                  <a:lnTo>
                    <a:pt x="170" y="480"/>
                  </a:lnTo>
                  <a:lnTo>
                    <a:pt x="168" y="473"/>
                  </a:lnTo>
                  <a:lnTo>
                    <a:pt x="163" y="468"/>
                  </a:lnTo>
                  <a:lnTo>
                    <a:pt x="163" y="466"/>
                  </a:lnTo>
                  <a:lnTo>
                    <a:pt x="161" y="466"/>
                  </a:lnTo>
                  <a:lnTo>
                    <a:pt x="161" y="451"/>
                  </a:lnTo>
                  <a:lnTo>
                    <a:pt x="158" y="449"/>
                  </a:lnTo>
                  <a:lnTo>
                    <a:pt x="154" y="449"/>
                  </a:lnTo>
                  <a:lnTo>
                    <a:pt x="151" y="444"/>
                  </a:lnTo>
                  <a:lnTo>
                    <a:pt x="146" y="442"/>
                  </a:lnTo>
                  <a:lnTo>
                    <a:pt x="144" y="440"/>
                  </a:lnTo>
                  <a:lnTo>
                    <a:pt x="135" y="435"/>
                  </a:lnTo>
                  <a:lnTo>
                    <a:pt x="128" y="435"/>
                  </a:lnTo>
                  <a:lnTo>
                    <a:pt x="113" y="426"/>
                  </a:lnTo>
                  <a:lnTo>
                    <a:pt x="104" y="418"/>
                  </a:lnTo>
                  <a:lnTo>
                    <a:pt x="102" y="411"/>
                  </a:lnTo>
                  <a:lnTo>
                    <a:pt x="97" y="411"/>
                  </a:lnTo>
                  <a:lnTo>
                    <a:pt x="97" y="409"/>
                  </a:lnTo>
                  <a:lnTo>
                    <a:pt x="95" y="409"/>
                  </a:lnTo>
                  <a:lnTo>
                    <a:pt x="95" y="400"/>
                  </a:lnTo>
                  <a:lnTo>
                    <a:pt x="97" y="395"/>
                  </a:lnTo>
                  <a:lnTo>
                    <a:pt x="102" y="385"/>
                  </a:lnTo>
                  <a:lnTo>
                    <a:pt x="104" y="371"/>
                  </a:lnTo>
                  <a:lnTo>
                    <a:pt x="104" y="359"/>
                  </a:lnTo>
                  <a:lnTo>
                    <a:pt x="106" y="359"/>
                  </a:lnTo>
                  <a:lnTo>
                    <a:pt x="106" y="352"/>
                  </a:lnTo>
                  <a:lnTo>
                    <a:pt x="104" y="352"/>
                  </a:lnTo>
                  <a:lnTo>
                    <a:pt x="97" y="348"/>
                  </a:lnTo>
                  <a:lnTo>
                    <a:pt x="87" y="345"/>
                  </a:lnTo>
                  <a:lnTo>
                    <a:pt x="80" y="345"/>
                  </a:lnTo>
                  <a:lnTo>
                    <a:pt x="80" y="348"/>
                  </a:lnTo>
                  <a:lnTo>
                    <a:pt x="78" y="352"/>
                  </a:lnTo>
                  <a:lnTo>
                    <a:pt x="73" y="355"/>
                  </a:lnTo>
                  <a:lnTo>
                    <a:pt x="73" y="352"/>
                  </a:lnTo>
                  <a:lnTo>
                    <a:pt x="71" y="352"/>
                  </a:lnTo>
                  <a:lnTo>
                    <a:pt x="66" y="348"/>
                  </a:lnTo>
                  <a:lnTo>
                    <a:pt x="66" y="345"/>
                  </a:lnTo>
                  <a:lnTo>
                    <a:pt x="64" y="343"/>
                  </a:lnTo>
                  <a:lnTo>
                    <a:pt x="64" y="336"/>
                  </a:lnTo>
                  <a:lnTo>
                    <a:pt x="61" y="329"/>
                  </a:lnTo>
                  <a:lnTo>
                    <a:pt x="61" y="322"/>
                  </a:lnTo>
                  <a:lnTo>
                    <a:pt x="57" y="319"/>
                  </a:lnTo>
                  <a:lnTo>
                    <a:pt x="50" y="312"/>
                  </a:lnTo>
                  <a:lnTo>
                    <a:pt x="43" y="312"/>
                  </a:lnTo>
                  <a:lnTo>
                    <a:pt x="38" y="307"/>
                  </a:lnTo>
                  <a:lnTo>
                    <a:pt x="38" y="305"/>
                  </a:lnTo>
                  <a:lnTo>
                    <a:pt x="31" y="298"/>
                  </a:lnTo>
                  <a:lnTo>
                    <a:pt x="24" y="291"/>
                  </a:lnTo>
                  <a:lnTo>
                    <a:pt x="21" y="291"/>
                  </a:lnTo>
                  <a:lnTo>
                    <a:pt x="17" y="288"/>
                  </a:lnTo>
                  <a:lnTo>
                    <a:pt x="14" y="288"/>
                  </a:lnTo>
                  <a:lnTo>
                    <a:pt x="14" y="286"/>
                  </a:lnTo>
                  <a:lnTo>
                    <a:pt x="9" y="274"/>
                  </a:lnTo>
                  <a:lnTo>
                    <a:pt x="7" y="267"/>
                  </a:lnTo>
                  <a:lnTo>
                    <a:pt x="5" y="263"/>
                  </a:lnTo>
                  <a:lnTo>
                    <a:pt x="0" y="248"/>
                  </a:lnTo>
                  <a:lnTo>
                    <a:pt x="0" y="227"/>
                  </a:lnTo>
                  <a:lnTo>
                    <a:pt x="5" y="227"/>
                  </a:lnTo>
                  <a:lnTo>
                    <a:pt x="7" y="225"/>
                  </a:lnTo>
                  <a:lnTo>
                    <a:pt x="7" y="215"/>
                  </a:lnTo>
                  <a:lnTo>
                    <a:pt x="5" y="211"/>
                  </a:lnTo>
                  <a:lnTo>
                    <a:pt x="5" y="208"/>
                  </a:lnTo>
                  <a:lnTo>
                    <a:pt x="9" y="201"/>
                  </a:lnTo>
                  <a:lnTo>
                    <a:pt x="17" y="201"/>
                  </a:lnTo>
                  <a:lnTo>
                    <a:pt x="17" y="199"/>
                  </a:lnTo>
                  <a:lnTo>
                    <a:pt x="21" y="199"/>
                  </a:lnTo>
                  <a:lnTo>
                    <a:pt x="21" y="185"/>
                  </a:lnTo>
                  <a:lnTo>
                    <a:pt x="24" y="182"/>
                  </a:lnTo>
                  <a:lnTo>
                    <a:pt x="24" y="177"/>
                  </a:lnTo>
                  <a:lnTo>
                    <a:pt x="26" y="177"/>
                  </a:lnTo>
                  <a:lnTo>
                    <a:pt x="26" y="175"/>
                  </a:lnTo>
                  <a:lnTo>
                    <a:pt x="31" y="170"/>
                  </a:lnTo>
                  <a:lnTo>
                    <a:pt x="31" y="161"/>
                  </a:lnTo>
                  <a:lnTo>
                    <a:pt x="26" y="159"/>
                  </a:lnTo>
                  <a:lnTo>
                    <a:pt x="26" y="154"/>
                  </a:lnTo>
                  <a:lnTo>
                    <a:pt x="21" y="154"/>
                  </a:lnTo>
                  <a:lnTo>
                    <a:pt x="21" y="151"/>
                  </a:lnTo>
                  <a:lnTo>
                    <a:pt x="17" y="151"/>
                  </a:lnTo>
                  <a:lnTo>
                    <a:pt x="17" y="144"/>
                  </a:lnTo>
                  <a:lnTo>
                    <a:pt x="21" y="135"/>
                  </a:lnTo>
                  <a:lnTo>
                    <a:pt x="21" y="130"/>
                  </a:lnTo>
                  <a:lnTo>
                    <a:pt x="24" y="128"/>
                  </a:lnTo>
                  <a:lnTo>
                    <a:pt x="38" y="128"/>
                  </a:lnTo>
                  <a:lnTo>
                    <a:pt x="47" y="125"/>
                  </a:lnTo>
                  <a:lnTo>
                    <a:pt x="57" y="118"/>
                  </a:lnTo>
                  <a:lnTo>
                    <a:pt x="57" y="114"/>
                  </a:lnTo>
                  <a:lnTo>
                    <a:pt x="64" y="111"/>
                  </a:lnTo>
                  <a:lnTo>
                    <a:pt x="64" y="97"/>
                  </a:lnTo>
                  <a:lnTo>
                    <a:pt x="66" y="95"/>
                  </a:lnTo>
                  <a:lnTo>
                    <a:pt x="71" y="90"/>
                  </a:lnTo>
                  <a:lnTo>
                    <a:pt x="71" y="88"/>
                  </a:lnTo>
                  <a:lnTo>
                    <a:pt x="73" y="85"/>
                  </a:lnTo>
                  <a:lnTo>
                    <a:pt x="73" y="69"/>
                  </a:lnTo>
                  <a:lnTo>
                    <a:pt x="71" y="62"/>
                  </a:lnTo>
                  <a:lnTo>
                    <a:pt x="66" y="62"/>
                  </a:lnTo>
                  <a:lnTo>
                    <a:pt x="61" y="57"/>
                  </a:lnTo>
                  <a:lnTo>
                    <a:pt x="57" y="57"/>
                  </a:lnTo>
                  <a:lnTo>
                    <a:pt x="57" y="55"/>
                  </a:lnTo>
                  <a:lnTo>
                    <a:pt x="54" y="52"/>
                  </a:lnTo>
                  <a:lnTo>
                    <a:pt x="54" y="48"/>
                  </a:lnTo>
                  <a:lnTo>
                    <a:pt x="50" y="45"/>
                  </a:lnTo>
                  <a:lnTo>
                    <a:pt x="47" y="40"/>
                  </a:lnTo>
                  <a:lnTo>
                    <a:pt x="43" y="40"/>
                  </a:lnTo>
                  <a:lnTo>
                    <a:pt x="38" y="33"/>
                  </a:lnTo>
                  <a:lnTo>
                    <a:pt x="38" y="31"/>
                  </a:lnTo>
                  <a:lnTo>
                    <a:pt x="43" y="31"/>
                  </a:lnTo>
                  <a:lnTo>
                    <a:pt x="71" y="29"/>
                  </a:lnTo>
                  <a:lnTo>
                    <a:pt x="95" y="24"/>
                  </a:lnTo>
                  <a:lnTo>
                    <a:pt x="111" y="24"/>
                  </a:lnTo>
                  <a:lnTo>
                    <a:pt x="128" y="22"/>
                  </a:lnTo>
                  <a:lnTo>
                    <a:pt x="151" y="17"/>
                  </a:lnTo>
                  <a:lnTo>
                    <a:pt x="163" y="17"/>
                  </a:lnTo>
                  <a:lnTo>
                    <a:pt x="168" y="14"/>
                  </a:lnTo>
                  <a:lnTo>
                    <a:pt x="184" y="14"/>
                  </a:lnTo>
                  <a:lnTo>
                    <a:pt x="203" y="12"/>
                  </a:lnTo>
                  <a:lnTo>
                    <a:pt x="220" y="7"/>
                  </a:lnTo>
                  <a:lnTo>
                    <a:pt x="272" y="0"/>
                  </a:lnTo>
                  <a:lnTo>
                    <a:pt x="272" y="31"/>
                  </a:lnTo>
                  <a:lnTo>
                    <a:pt x="267" y="69"/>
                  </a:lnTo>
                  <a:lnTo>
                    <a:pt x="248" y="71"/>
                  </a:lnTo>
                  <a:lnTo>
                    <a:pt x="248" y="74"/>
                  </a:lnTo>
                  <a:lnTo>
                    <a:pt x="255" y="109"/>
                  </a:lnTo>
                  <a:lnTo>
                    <a:pt x="258" y="121"/>
                  </a:lnTo>
                  <a:lnTo>
                    <a:pt x="258" y="125"/>
                  </a:lnTo>
                  <a:lnTo>
                    <a:pt x="267" y="201"/>
                  </a:lnTo>
                  <a:lnTo>
                    <a:pt x="272" y="227"/>
                  </a:lnTo>
                  <a:lnTo>
                    <a:pt x="274" y="251"/>
                  </a:lnTo>
                  <a:lnTo>
                    <a:pt x="276" y="281"/>
                  </a:lnTo>
                  <a:lnTo>
                    <a:pt x="276" y="286"/>
                  </a:lnTo>
                  <a:lnTo>
                    <a:pt x="274" y="286"/>
                  </a:lnTo>
                  <a:lnTo>
                    <a:pt x="274" y="307"/>
                  </a:lnTo>
                  <a:lnTo>
                    <a:pt x="276" y="312"/>
                  </a:lnTo>
                  <a:lnTo>
                    <a:pt x="283" y="319"/>
                  </a:lnTo>
                  <a:lnTo>
                    <a:pt x="288" y="338"/>
                  </a:lnTo>
                  <a:lnTo>
                    <a:pt x="288" y="343"/>
                  </a:lnTo>
                  <a:lnTo>
                    <a:pt x="283" y="345"/>
                  </a:lnTo>
                  <a:lnTo>
                    <a:pt x="281" y="345"/>
                  </a:lnTo>
                  <a:lnTo>
                    <a:pt x="281" y="355"/>
                  </a:lnTo>
                  <a:lnTo>
                    <a:pt x="274" y="371"/>
                  </a:lnTo>
                  <a:lnTo>
                    <a:pt x="272" y="383"/>
                  </a:lnTo>
                  <a:lnTo>
                    <a:pt x="265" y="383"/>
                  </a:lnTo>
                  <a:lnTo>
                    <a:pt x="260" y="388"/>
                  </a:lnTo>
                  <a:lnTo>
                    <a:pt x="265" y="392"/>
                  </a:lnTo>
                  <a:lnTo>
                    <a:pt x="265" y="395"/>
                  </a:lnTo>
                  <a:lnTo>
                    <a:pt x="260" y="400"/>
                  </a:lnTo>
                  <a:lnTo>
                    <a:pt x="260" y="40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0" name="Freeform 174">
              <a:extLst>
                <a:ext uri="{FF2B5EF4-FFF2-40B4-BE49-F238E27FC236}">
                  <a16:creationId xmlns:a16="http://schemas.microsoft.com/office/drawing/2014/main" id="{5B5DAD69-E634-4982-A21C-AC1CD6E2C14A}"/>
                </a:ext>
              </a:extLst>
            </p:cNvPr>
            <p:cNvSpPr>
              <a:spLocks/>
            </p:cNvSpPr>
            <p:nvPr/>
          </p:nvSpPr>
          <p:spPr bwMode="gray">
            <a:xfrm rot="47099">
              <a:off x="2255549" y="3087705"/>
              <a:ext cx="56999" cy="59819"/>
            </a:xfrm>
            <a:custGeom>
              <a:avLst/>
              <a:gdLst>
                <a:gd name="T0" fmla="*/ 121 w 123"/>
                <a:gd name="T1" fmla="*/ 61 h 128"/>
                <a:gd name="T2" fmla="*/ 114 w 123"/>
                <a:gd name="T3" fmla="*/ 61 h 128"/>
                <a:gd name="T4" fmla="*/ 100 w 123"/>
                <a:gd name="T5" fmla="*/ 69 h 128"/>
                <a:gd name="T6" fmla="*/ 100 w 123"/>
                <a:gd name="T7" fmla="*/ 71 h 128"/>
                <a:gd name="T8" fmla="*/ 97 w 123"/>
                <a:gd name="T9" fmla="*/ 73 h 128"/>
                <a:gd name="T10" fmla="*/ 90 w 123"/>
                <a:gd name="T11" fmla="*/ 78 h 128"/>
                <a:gd name="T12" fmla="*/ 81 w 123"/>
                <a:gd name="T13" fmla="*/ 80 h 128"/>
                <a:gd name="T14" fmla="*/ 74 w 123"/>
                <a:gd name="T15" fmla="*/ 80 h 128"/>
                <a:gd name="T16" fmla="*/ 64 w 123"/>
                <a:gd name="T17" fmla="*/ 87 h 128"/>
                <a:gd name="T18" fmla="*/ 59 w 123"/>
                <a:gd name="T19" fmla="*/ 90 h 128"/>
                <a:gd name="T20" fmla="*/ 57 w 123"/>
                <a:gd name="T21" fmla="*/ 87 h 128"/>
                <a:gd name="T22" fmla="*/ 57 w 123"/>
                <a:gd name="T23" fmla="*/ 90 h 128"/>
                <a:gd name="T24" fmla="*/ 50 w 123"/>
                <a:gd name="T25" fmla="*/ 97 h 128"/>
                <a:gd name="T26" fmla="*/ 48 w 123"/>
                <a:gd name="T27" fmla="*/ 102 h 128"/>
                <a:gd name="T28" fmla="*/ 48 w 123"/>
                <a:gd name="T29" fmla="*/ 104 h 128"/>
                <a:gd name="T30" fmla="*/ 43 w 123"/>
                <a:gd name="T31" fmla="*/ 104 h 128"/>
                <a:gd name="T32" fmla="*/ 36 w 123"/>
                <a:gd name="T33" fmla="*/ 106 h 128"/>
                <a:gd name="T34" fmla="*/ 36 w 123"/>
                <a:gd name="T35" fmla="*/ 111 h 128"/>
                <a:gd name="T36" fmla="*/ 33 w 123"/>
                <a:gd name="T37" fmla="*/ 113 h 128"/>
                <a:gd name="T38" fmla="*/ 29 w 123"/>
                <a:gd name="T39" fmla="*/ 118 h 128"/>
                <a:gd name="T40" fmla="*/ 26 w 123"/>
                <a:gd name="T41" fmla="*/ 121 h 128"/>
                <a:gd name="T42" fmla="*/ 24 w 123"/>
                <a:gd name="T43" fmla="*/ 125 h 128"/>
                <a:gd name="T44" fmla="*/ 19 w 123"/>
                <a:gd name="T45" fmla="*/ 128 h 128"/>
                <a:gd name="T46" fmla="*/ 10 w 123"/>
                <a:gd name="T47" fmla="*/ 121 h 128"/>
                <a:gd name="T48" fmla="*/ 24 w 123"/>
                <a:gd name="T49" fmla="*/ 106 h 128"/>
                <a:gd name="T50" fmla="*/ 19 w 123"/>
                <a:gd name="T51" fmla="*/ 104 h 128"/>
                <a:gd name="T52" fmla="*/ 19 w 123"/>
                <a:gd name="T53" fmla="*/ 102 h 128"/>
                <a:gd name="T54" fmla="*/ 17 w 123"/>
                <a:gd name="T55" fmla="*/ 102 h 128"/>
                <a:gd name="T56" fmla="*/ 12 w 123"/>
                <a:gd name="T57" fmla="*/ 85 h 128"/>
                <a:gd name="T58" fmla="*/ 10 w 123"/>
                <a:gd name="T59" fmla="*/ 73 h 128"/>
                <a:gd name="T60" fmla="*/ 3 w 123"/>
                <a:gd name="T61" fmla="*/ 40 h 128"/>
                <a:gd name="T62" fmla="*/ 0 w 123"/>
                <a:gd name="T63" fmla="*/ 38 h 128"/>
                <a:gd name="T64" fmla="*/ 0 w 123"/>
                <a:gd name="T65" fmla="*/ 33 h 128"/>
                <a:gd name="T66" fmla="*/ 17 w 123"/>
                <a:gd name="T67" fmla="*/ 28 h 128"/>
                <a:gd name="T68" fmla="*/ 24 w 123"/>
                <a:gd name="T69" fmla="*/ 28 h 128"/>
                <a:gd name="T70" fmla="*/ 36 w 123"/>
                <a:gd name="T71" fmla="*/ 21 h 128"/>
                <a:gd name="T72" fmla="*/ 57 w 123"/>
                <a:gd name="T73" fmla="*/ 14 h 128"/>
                <a:gd name="T74" fmla="*/ 59 w 123"/>
                <a:gd name="T75" fmla="*/ 14 h 128"/>
                <a:gd name="T76" fmla="*/ 81 w 123"/>
                <a:gd name="T77" fmla="*/ 7 h 128"/>
                <a:gd name="T78" fmla="*/ 90 w 123"/>
                <a:gd name="T79" fmla="*/ 5 h 128"/>
                <a:gd name="T80" fmla="*/ 104 w 123"/>
                <a:gd name="T81" fmla="*/ 0 h 128"/>
                <a:gd name="T82" fmla="*/ 114 w 123"/>
                <a:gd name="T83" fmla="*/ 21 h 128"/>
                <a:gd name="T84" fmla="*/ 116 w 123"/>
                <a:gd name="T85" fmla="*/ 38 h 128"/>
                <a:gd name="T86" fmla="*/ 123 w 123"/>
                <a:gd name="T87" fmla="*/ 50 h 128"/>
                <a:gd name="T88" fmla="*/ 123 w 123"/>
                <a:gd name="T89" fmla="*/ 61 h 128"/>
                <a:gd name="T90" fmla="*/ 121 w 123"/>
                <a:gd name="T91" fmla="*/ 61 h 1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3"/>
                <a:gd name="T139" fmla="*/ 0 h 128"/>
                <a:gd name="T140" fmla="*/ 123 w 123"/>
                <a:gd name="T141" fmla="*/ 128 h 1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3" h="128">
                  <a:moveTo>
                    <a:pt x="121" y="61"/>
                  </a:moveTo>
                  <a:lnTo>
                    <a:pt x="114" y="61"/>
                  </a:lnTo>
                  <a:lnTo>
                    <a:pt x="100" y="69"/>
                  </a:lnTo>
                  <a:lnTo>
                    <a:pt x="100" y="71"/>
                  </a:lnTo>
                  <a:lnTo>
                    <a:pt x="97" y="73"/>
                  </a:lnTo>
                  <a:lnTo>
                    <a:pt x="90" y="78"/>
                  </a:lnTo>
                  <a:lnTo>
                    <a:pt x="81" y="80"/>
                  </a:lnTo>
                  <a:lnTo>
                    <a:pt x="74" y="80"/>
                  </a:lnTo>
                  <a:lnTo>
                    <a:pt x="64" y="87"/>
                  </a:lnTo>
                  <a:lnTo>
                    <a:pt x="59" y="90"/>
                  </a:lnTo>
                  <a:lnTo>
                    <a:pt x="57" y="87"/>
                  </a:lnTo>
                  <a:lnTo>
                    <a:pt x="57" y="90"/>
                  </a:lnTo>
                  <a:lnTo>
                    <a:pt x="50" y="97"/>
                  </a:lnTo>
                  <a:lnTo>
                    <a:pt x="48" y="102"/>
                  </a:lnTo>
                  <a:lnTo>
                    <a:pt x="48" y="104"/>
                  </a:lnTo>
                  <a:lnTo>
                    <a:pt x="43" y="104"/>
                  </a:lnTo>
                  <a:lnTo>
                    <a:pt x="36" y="106"/>
                  </a:lnTo>
                  <a:lnTo>
                    <a:pt x="36" y="111"/>
                  </a:lnTo>
                  <a:lnTo>
                    <a:pt x="33" y="113"/>
                  </a:lnTo>
                  <a:lnTo>
                    <a:pt x="29" y="118"/>
                  </a:lnTo>
                  <a:lnTo>
                    <a:pt x="26" y="121"/>
                  </a:lnTo>
                  <a:lnTo>
                    <a:pt x="24" y="125"/>
                  </a:lnTo>
                  <a:lnTo>
                    <a:pt x="19" y="128"/>
                  </a:lnTo>
                  <a:lnTo>
                    <a:pt x="10" y="121"/>
                  </a:lnTo>
                  <a:lnTo>
                    <a:pt x="24" y="106"/>
                  </a:lnTo>
                  <a:lnTo>
                    <a:pt x="19" y="104"/>
                  </a:lnTo>
                  <a:lnTo>
                    <a:pt x="19" y="102"/>
                  </a:lnTo>
                  <a:lnTo>
                    <a:pt x="17" y="102"/>
                  </a:lnTo>
                  <a:lnTo>
                    <a:pt x="12" y="85"/>
                  </a:lnTo>
                  <a:lnTo>
                    <a:pt x="10" y="73"/>
                  </a:lnTo>
                  <a:lnTo>
                    <a:pt x="3" y="40"/>
                  </a:lnTo>
                  <a:lnTo>
                    <a:pt x="0" y="38"/>
                  </a:lnTo>
                  <a:lnTo>
                    <a:pt x="0" y="33"/>
                  </a:lnTo>
                  <a:lnTo>
                    <a:pt x="17" y="28"/>
                  </a:lnTo>
                  <a:lnTo>
                    <a:pt x="24" y="28"/>
                  </a:lnTo>
                  <a:lnTo>
                    <a:pt x="36" y="21"/>
                  </a:lnTo>
                  <a:lnTo>
                    <a:pt x="57" y="14"/>
                  </a:lnTo>
                  <a:lnTo>
                    <a:pt x="59" y="14"/>
                  </a:lnTo>
                  <a:lnTo>
                    <a:pt x="81" y="7"/>
                  </a:lnTo>
                  <a:lnTo>
                    <a:pt x="90" y="5"/>
                  </a:lnTo>
                  <a:lnTo>
                    <a:pt x="104" y="0"/>
                  </a:lnTo>
                  <a:lnTo>
                    <a:pt x="114" y="21"/>
                  </a:lnTo>
                  <a:lnTo>
                    <a:pt x="116" y="38"/>
                  </a:lnTo>
                  <a:lnTo>
                    <a:pt x="123" y="50"/>
                  </a:lnTo>
                  <a:lnTo>
                    <a:pt x="123" y="61"/>
                  </a:lnTo>
                  <a:lnTo>
                    <a:pt x="121" y="6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1" name="Freeform 175">
              <a:extLst>
                <a:ext uri="{FF2B5EF4-FFF2-40B4-BE49-F238E27FC236}">
                  <a16:creationId xmlns:a16="http://schemas.microsoft.com/office/drawing/2014/main" id="{97880166-B7CD-43EF-9A19-DDD24ED5A44B}"/>
                </a:ext>
              </a:extLst>
            </p:cNvPr>
            <p:cNvSpPr>
              <a:spLocks/>
            </p:cNvSpPr>
            <p:nvPr/>
          </p:nvSpPr>
          <p:spPr bwMode="gray">
            <a:xfrm rot="47099">
              <a:off x="1921699" y="3149312"/>
              <a:ext cx="138935" cy="173669"/>
            </a:xfrm>
            <a:custGeom>
              <a:avLst/>
              <a:gdLst>
                <a:gd name="T0" fmla="*/ 0 w 300"/>
                <a:gd name="T1" fmla="*/ 113 h 373"/>
                <a:gd name="T2" fmla="*/ 26 w 300"/>
                <a:gd name="T3" fmla="*/ 106 h 373"/>
                <a:gd name="T4" fmla="*/ 63 w 300"/>
                <a:gd name="T5" fmla="*/ 99 h 373"/>
                <a:gd name="T6" fmla="*/ 89 w 300"/>
                <a:gd name="T7" fmla="*/ 92 h 373"/>
                <a:gd name="T8" fmla="*/ 111 w 300"/>
                <a:gd name="T9" fmla="*/ 75 h 373"/>
                <a:gd name="T10" fmla="*/ 153 w 300"/>
                <a:gd name="T11" fmla="*/ 85 h 373"/>
                <a:gd name="T12" fmla="*/ 167 w 300"/>
                <a:gd name="T13" fmla="*/ 73 h 373"/>
                <a:gd name="T14" fmla="*/ 200 w 300"/>
                <a:gd name="T15" fmla="*/ 40 h 373"/>
                <a:gd name="T16" fmla="*/ 219 w 300"/>
                <a:gd name="T17" fmla="*/ 19 h 373"/>
                <a:gd name="T18" fmla="*/ 264 w 300"/>
                <a:gd name="T19" fmla="*/ 0 h 373"/>
                <a:gd name="T20" fmla="*/ 295 w 300"/>
                <a:gd name="T21" fmla="*/ 120 h 373"/>
                <a:gd name="T22" fmla="*/ 295 w 300"/>
                <a:gd name="T23" fmla="*/ 149 h 373"/>
                <a:gd name="T24" fmla="*/ 297 w 300"/>
                <a:gd name="T25" fmla="*/ 163 h 373"/>
                <a:gd name="T26" fmla="*/ 300 w 300"/>
                <a:gd name="T27" fmla="*/ 179 h 373"/>
                <a:gd name="T28" fmla="*/ 297 w 300"/>
                <a:gd name="T29" fmla="*/ 219 h 373"/>
                <a:gd name="T30" fmla="*/ 297 w 300"/>
                <a:gd name="T31" fmla="*/ 229 h 373"/>
                <a:gd name="T32" fmla="*/ 295 w 300"/>
                <a:gd name="T33" fmla="*/ 238 h 373"/>
                <a:gd name="T34" fmla="*/ 288 w 300"/>
                <a:gd name="T35" fmla="*/ 250 h 373"/>
                <a:gd name="T36" fmla="*/ 278 w 300"/>
                <a:gd name="T37" fmla="*/ 267 h 373"/>
                <a:gd name="T38" fmla="*/ 267 w 300"/>
                <a:gd name="T39" fmla="*/ 274 h 373"/>
                <a:gd name="T40" fmla="*/ 259 w 300"/>
                <a:gd name="T41" fmla="*/ 269 h 373"/>
                <a:gd name="T42" fmla="*/ 248 w 300"/>
                <a:gd name="T43" fmla="*/ 286 h 373"/>
                <a:gd name="T44" fmla="*/ 250 w 300"/>
                <a:gd name="T45" fmla="*/ 316 h 373"/>
                <a:gd name="T46" fmla="*/ 241 w 300"/>
                <a:gd name="T47" fmla="*/ 316 h 373"/>
                <a:gd name="T48" fmla="*/ 231 w 300"/>
                <a:gd name="T49" fmla="*/ 309 h 373"/>
                <a:gd name="T50" fmla="*/ 226 w 300"/>
                <a:gd name="T51" fmla="*/ 316 h 373"/>
                <a:gd name="T52" fmla="*/ 224 w 300"/>
                <a:gd name="T53" fmla="*/ 333 h 373"/>
                <a:gd name="T54" fmla="*/ 226 w 300"/>
                <a:gd name="T55" fmla="*/ 349 h 373"/>
                <a:gd name="T56" fmla="*/ 219 w 300"/>
                <a:gd name="T57" fmla="*/ 354 h 373"/>
                <a:gd name="T58" fmla="*/ 207 w 300"/>
                <a:gd name="T59" fmla="*/ 373 h 373"/>
                <a:gd name="T60" fmla="*/ 193 w 300"/>
                <a:gd name="T61" fmla="*/ 364 h 373"/>
                <a:gd name="T62" fmla="*/ 179 w 300"/>
                <a:gd name="T63" fmla="*/ 359 h 373"/>
                <a:gd name="T64" fmla="*/ 177 w 300"/>
                <a:gd name="T65" fmla="*/ 349 h 373"/>
                <a:gd name="T66" fmla="*/ 167 w 300"/>
                <a:gd name="T67" fmla="*/ 356 h 373"/>
                <a:gd name="T68" fmla="*/ 151 w 300"/>
                <a:gd name="T69" fmla="*/ 366 h 373"/>
                <a:gd name="T70" fmla="*/ 144 w 300"/>
                <a:gd name="T71" fmla="*/ 364 h 373"/>
                <a:gd name="T72" fmla="*/ 130 w 300"/>
                <a:gd name="T73" fmla="*/ 364 h 373"/>
                <a:gd name="T74" fmla="*/ 127 w 300"/>
                <a:gd name="T75" fmla="*/ 371 h 373"/>
                <a:gd name="T76" fmla="*/ 113 w 300"/>
                <a:gd name="T77" fmla="*/ 364 h 373"/>
                <a:gd name="T78" fmla="*/ 101 w 300"/>
                <a:gd name="T79" fmla="*/ 359 h 373"/>
                <a:gd name="T80" fmla="*/ 94 w 300"/>
                <a:gd name="T81" fmla="*/ 364 h 373"/>
                <a:gd name="T82" fmla="*/ 82 w 300"/>
                <a:gd name="T83" fmla="*/ 359 h 373"/>
                <a:gd name="T84" fmla="*/ 78 w 300"/>
                <a:gd name="T85" fmla="*/ 342 h 373"/>
                <a:gd name="T86" fmla="*/ 66 w 300"/>
                <a:gd name="T87" fmla="*/ 340 h 373"/>
                <a:gd name="T88" fmla="*/ 54 w 300"/>
                <a:gd name="T89" fmla="*/ 342 h 373"/>
                <a:gd name="T90" fmla="*/ 47 w 300"/>
                <a:gd name="T91" fmla="*/ 340 h 373"/>
                <a:gd name="T92" fmla="*/ 40 w 300"/>
                <a:gd name="T93" fmla="*/ 342 h 373"/>
                <a:gd name="T94" fmla="*/ 30 w 300"/>
                <a:gd name="T95" fmla="*/ 295 h 373"/>
                <a:gd name="T96" fmla="*/ 9 w 300"/>
                <a:gd name="T97" fmla="*/ 172 h 373"/>
                <a:gd name="T98" fmla="*/ 7 w 300"/>
                <a:gd name="T99" fmla="*/ 149 h 373"/>
                <a:gd name="T100" fmla="*/ 0 w 300"/>
                <a:gd name="T101" fmla="*/ 113 h 3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373"/>
                <a:gd name="T155" fmla="*/ 300 w 300"/>
                <a:gd name="T156" fmla="*/ 373 h 3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373">
                  <a:moveTo>
                    <a:pt x="0" y="113"/>
                  </a:moveTo>
                  <a:lnTo>
                    <a:pt x="0" y="113"/>
                  </a:lnTo>
                  <a:lnTo>
                    <a:pt x="23" y="108"/>
                  </a:lnTo>
                  <a:lnTo>
                    <a:pt x="26" y="106"/>
                  </a:lnTo>
                  <a:lnTo>
                    <a:pt x="40" y="101"/>
                  </a:lnTo>
                  <a:lnTo>
                    <a:pt x="63" y="99"/>
                  </a:lnTo>
                  <a:lnTo>
                    <a:pt x="80" y="92"/>
                  </a:lnTo>
                  <a:lnTo>
                    <a:pt x="89" y="92"/>
                  </a:lnTo>
                  <a:lnTo>
                    <a:pt x="106" y="68"/>
                  </a:lnTo>
                  <a:lnTo>
                    <a:pt x="111" y="75"/>
                  </a:lnTo>
                  <a:lnTo>
                    <a:pt x="137" y="85"/>
                  </a:lnTo>
                  <a:lnTo>
                    <a:pt x="153" y="85"/>
                  </a:lnTo>
                  <a:lnTo>
                    <a:pt x="153" y="82"/>
                  </a:lnTo>
                  <a:lnTo>
                    <a:pt x="167" y="73"/>
                  </a:lnTo>
                  <a:lnTo>
                    <a:pt x="186" y="49"/>
                  </a:lnTo>
                  <a:lnTo>
                    <a:pt x="200" y="40"/>
                  </a:lnTo>
                  <a:lnTo>
                    <a:pt x="210" y="28"/>
                  </a:lnTo>
                  <a:lnTo>
                    <a:pt x="219" y="19"/>
                  </a:lnTo>
                  <a:lnTo>
                    <a:pt x="243" y="9"/>
                  </a:lnTo>
                  <a:lnTo>
                    <a:pt x="264" y="0"/>
                  </a:lnTo>
                  <a:lnTo>
                    <a:pt x="271" y="28"/>
                  </a:lnTo>
                  <a:lnTo>
                    <a:pt x="295" y="120"/>
                  </a:lnTo>
                  <a:lnTo>
                    <a:pt x="300" y="146"/>
                  </a:lnTo>
                  <a:lnTo>
                    <a:pt x="295" y="149"/>
                  </a:lnTo>
                  <a:lnTo>
                    <a:pt x="295" y="156"/>
                  </a:lnTo>
                  <a:lnTo>
                    <a:pt x="297" y="163"/>
                  </a:lnTo>
                  <a:lnTo>
                    <a:pt x="300" y="177"/>
                  </a:lnTo>
                  <a:lnTo>
                    <a:pt x="300" y="179"/>
                  </a:lnTo>
                  <a:lnTo>
                    <a:pt x="297" y="189"/>
                  </a:lnTo>
                  <a:lnTo>
                    <a:pt x="297" y="219"/>
                  </a:lnTo>
                  <a:lnTo>
                    <a:pt x="295" y="227"/>
                  </a:lnTo>
                  <a:lnTo>
                    <a:pt x="297" y="229"/>
                  </a:lnTo>
                  <a:lnTo>
                    <a:pt x="297" y="234"/>
                  </a:lnTo>
                  <a:lnTo>
                    <a:pt x="295" y="238"/>
                  </a:lnTo>
                  <a:lnTo>
                    <a:pt x="295" y="243"/>
                  </a:lnTo>
                  <a:lnTo>
                    <a:pt x="288" y="250"/>
                  </a:lnTo>
                  <a:lnTo>
                    <a:pt x="283" y="257"/>
                  </a:lnTo>
                  <a:lnTo>
                    <a:pt x="278" y="267"/>
                  </a:lnTo>
                  <a:lnTo>
                    <a:pt x="271" y="274"/>
                  </a:lnTo>
                  <a:lnTo>
                    <a:pt x="267" y="274"/>
                  </a:lnTo>
                  <a:lnTo>
                    <a:pt x="267" y="269"/>
                  </a:lnTo>
                  <a:lnTo>
                    <a:pt x="259" y="269"/>
                  </a:lnTo>
                  <a:lnTo>
                    <a:pt x="257" y="276"/>
                  </a:lnTo>
                  <a:lnTo>
                    <a:pt x="248" y="286"/>
                  </a:lnTo>
                  <a:lnTo>
                    <a:pt x="248" y="307"/>
                  </a:lnTo>
                  <a:lnTo>
                    <a:pt x="250" y="316"/>
                  </a:lnTo>
                  <a:lnTo>
                    <a:pt x="241" y="323"/>
                  </a:lnTo>
                  <a:lnTo>
                    <a:pt x="241" y="316"/>
                  </a:lnTo>
                  <a:lnTo>
                    <a:pt x="238" y="314"/>
                  </a:lnTo>
                  <a:lnTo>
                    <a:pt x="231" y="309"/>
                  </a:lnTo>
                  <a:lnTo>
                    <a:pt x="231" y="314"/>
                  </a:lnTo>
                  <a:lnTo>
                    <a:pt x="226" y="316"/>
                  </a:lnTo>
                  <a:lnTo>
                    <a:pt x="226" y="319"/>
                  </a:lnTo>
                  <a:lnTo>
                    <a:pt x="224" y="333"/>
                  </a:lnTo>
                  <a:lnTo>
                    <a:pt x="224" y="340"/>
                  </a:lnTo>
                  <a:lnTo>
                    <a:pt x="226" y="349"/>
                  </a:lnTo>
                  <a:lnTo>
                    <a:pt x="226" y="354"/>
                  </a:lnTo>
                  <a:lnTo>
                    <a:pt x="219" y="354"/>
                  </a:lnTo>
                  <a:lnTo>
                    <a:pt x="219" y="366"/>
                  </a:lnTo>
                  <a:lnTo>
                    <a:pt x="207" y="373"/>
                  </a:lnTo>
                  <a:lnTo>
                    <a:pt x="200" y="373"/>
                  </a:lnTo>
                  <a:lnTo>
                    <a:pt x="193" y="364"/>
                  </a:lnTo>
                  <a:lnTo>
                    <a:pt x="184" y="364"/>
                  </a:lnTo>
                  <a:lnTo>
                    <a:pt x="179" y="359"/>
                  </a:lnTo>
                  <a:lnTo>
                    <a:pt x="177" y="354"/>
                  </a:lnTo>
                  <a:lnTo>
                    <a:pt x="177" y="349"/>
                  </a:lnTo>
                  <a:lnTo>
                    <a:pt x="167" y="354"/>
                  </a:lnTo>
                  <a:lnTo>
                    <a:pt x="167" y="356"/>
                  </a:lnTo>
                  <a:lnTo>
                    <a:pt x="160" y="364"/>
                  </a:lnTo>
                  <a:lnTo>
                    <a:pt x="151" y="366"/>
                  </a:lnTo>
                  <a:lnTo>
                    <a:pt x="146" y="364"/>
                  </a:lnTo>
                  <a:lnTo>
                    <a:pt x="144" y="364"/>
                  </a:lnTo>
                  <a:lnTo>
                    <a:pt x="134" y="359"/>
                  </a:lnTo>
                  <a:lnTo>
                    <a:pt x="130" y="364"/>
                  </a:lnTo>
                  <a:lnTo>
                    <a:pt x="127" y="366"/>
                  </a:lnTo>
                  <a:lnTo>
                    <a:pt x="127" y="371"/>
                  </a:lnTo>
                  <a:lnTo>
                    <a:pt x="120" y="371"/>
                  </a:lnTo>
                  <a:lnTo>
                    <a:pt x="113" y="364"/>
                  </a:lnTo>
                  <a:lnTo>
                    <a:pt x="111" y="359"/>
                  </a:lnTo>
                  <a:lnTo>
                    <a:pt x="101" y="359"/>
                  </a:lnTo>
                  <a:lnTo>
                    <a:pt x="96" y="364"/>
                  </a:lnTo>
                  <a:lnTo>
                    <a:pt x="94" y="364"/>
                  </a:lnTo>
                  <a:lnTo>
                    <a:pt x="89" y="359"/>
                  </a:lnTo>
                  <a:lnTo>
                    <a:pt x="82" y="359"/>
                  </a:lnTo>
                  <a:lnTo>
                    <a:pt x="82" y="354"/>
                  </a:lnTo>
                  <a:lnTo>
                    <a:pt x="78" y="342"/>
                  </a:lnTo>
                  <a:lnTo>
                    <a:pt x="73" y="342"/>
                  </a:lnTo>
                  <a:lnTo>
                    <a:pt x="66" y="340"/>
                  </a:lnTo>
                  <a:lnTo>
                    <a:pt x="61" y="340"/>
                  </a:lnTo>
                  <a:lnTo>
                    <a:pt x="54" y="342"/>
                  </a:lnTo>
                  <a:lnTo>
                    <a:pt x="49" y="340"/>
                  </a:lnTo>
                  <a:lnTo>
                    <a:pt x="47" y="340"/>
                  </a:lnTo>
                  <a:lnTo>
                    <a:pt x="44" y="342"/>
                  </a:lnTo>
                  <a:lnTo>
                    <a:pt x="40" y="342"/>
                  </a:lnTo>
                  <a:lnTo>
                    <a:pt x="37" y="333"/>
                  </a:lnTo>
                  <a:lnTo>
                    <a:pt x="30" y="295"/>
                  </a:lnTo>
                  <a:lnTo>
                    <a:pt x="14" y="179"/>
                  </a:lnTo>
                  <a:lnTo>
                    <a:pt x="9" y="172"/>
                  </a:lnTo>
                  <a:lnTo>
                    <a:pt x="7" y="156"/>
                  </a:lnTo>
                  <a:lnTo>
                    <a:pt x="7" y="149"/>
                  </a:lnTo>
                  <a:lnTo>
                    <a:pt x="4" y="139"/>
                  </a:lnTo>
                  <a:lnTo>
                    <a:pt x="0" y="11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2" name="Freeform 176">
              <a:extLst>
                <a:ext uri="{FF2B5EF4-FFF2-40B4-BE49-F238E27FC236}">
                  <a16:creationId xmlns:a16="http://schemas.microsoft.com/office/drawing/2014/main" id="{7BB4F3AD-C43D-4CA8-86F1-EE6A8DAEA146}"/>
                </a:ext>
              </a:extLst>
            </p:cNvPr>
            <p:cNvSpPr>
              <a:spLocks/>
            </p:cNvSpPr>
            <p:nvPr/>
          </p:nvSpPr>
          <p:spPr bwMode="gray">
            <a:xfrm rot="47099">
              <a:off x="987418" y="3183123"/>
              <a:ext cx="181685" cy="227700"/>
            </a:xfrm>
            <a:custGeom>
              <a:avLst/>
              <a:gdLst>
                <a:gd name="T0" fmla="*/ 271 w 392"/>
                <a:gd name="T1" fmla="*/ 482 h 491"/>
                <a:gd name="T2" fmla="*/ 186 w 392"/>
                <a:gd name="T3" fmla="*/ 470 h 491"/>
                <a:gd name="T4" fmla="*/ 170 w 392"/>
                <a:gd name="T5" fmla="*/ 470 h 491"/>
                <a:gd name="T6" fmla="*/ 163 w 392"/>
                <a:gd name="T7" fmla="*/ 468 h 491"/>
                <a:gd name="T8" fmla="*/ 151 w 392"/>
                <a:gd name="T9" fmla="*/ 468 h 491"/>
                <a:gd name="T10" fmla="*/ 141 w 392"/>
                <a:gd name="T11" fmla="*/ 465 h 491"/>
                <a:gd name="T12" fmla="*/ 127 w 392"/>
                <a:gd name="T13" fmla="*/ 465 h 491"/>
                <a:gd name="T14" fmla="*/ 120 w 392"/>
                <a:gd name="T15" fmla="*/ 461 h 491"/>
                <a:gd name="T16" fmla="*/ 101 w 392"/>
                <a:gd name="T17" fmla="*/ 461 h 491"/>
                <a:gd name="T18" fmla="*/ 101 w 392"/>
                <a:gd name="T19" fmla="*/ 458 h 491"/>
                <a:gd name="T20" fmla="*/ 87 w 392"/>
                <a:gd name="T21" fmla="*/ 458 h 491"/>
                <a:gd name="T22" fmla="*/ 63 w 392"/>
                <a:gd name="T23" fmla="*/ 454 h 491"/>
                <a:gd name="T24" fmla="*/ 61 w 392"/>
                <a:gd name="T25" fmla="*/ 454 h 491"/>
                <a:gd name="T26" fmla="*/ 49 w 392"/>
                <a:gd name="T27" fmla="*/ 451 h 491"/>
                <a:gd name="T28" fmla="*/ 40 w 392"/>
                <a:gd name="T29" fmla="*/ 451 h 491"/>
                <a:gd name="T30" fmla="*/ 37 w 392"/>
                <a:gd name="T31" fmla="*/ 449 h 491"/>
                <a:gd name="T32" fmla="*/ 21 w 392"/>
                <a:gd name="T33" fmla="*/ 449 h 491"/>
                <a:gd name="T34" fmla="*/ 16 w 392"/>
                <a:gd name="T35" fmla="*/ 444 h 491"/>
                <a:gd name="T36" fmla="*/ 0 w 392"/>
                <a:gd name="T37" fmla="*/ 444 h 491"/>
                <a:gd name="T38" fmla="*/ 4 w 392"/>
                <a:gd name="T39" fmla="*/ 435 h 491"/>
                <a:gd name="T40" fmla="*/ 9 w 392"/>
                <a:gd name="T41" fmla="*/ 385 h 491"/>
                <a:gd name="T42" fmla="*/ 9 w 392"/>
                <a:gd name="T43" fmla="*/ 378 h 491"/>
                <a:gd name="T44" fmla="*/ 14 w 392"/>
                <a:gd name="T45" fmla="*/ 371 h 491"/>
                <a:gd name="T46" fmla="*/ 14 w 392"/>
                <a:gd name="T47" fmla="*/ 361 h 491"/>
                <a:gd name="T48" fmla="*/ 16 w 392"/>
                <a:gd name="T49" fmla="*/ 352 h 491"/>
                <a:gd name="T50" fmla="*/ 16 w 392"/>
                <a:gd name="T51" fmla="*/ 345 h 491"/>
                <a:gd name="T52" fmla="*/ 21 w 392"/>
                <a:gd name="T53" fmla="*/ 328 h 491"/>
                <a:gd name="T54" fmla="*/ 23 w 392"/>
                <a:gd name="T55" fmla="*/ 312 h 491"/>
                <a:gd name="T56" fmla="*/ 47 w 392"/>
                <a:gd name="T57" fmla="*/ 146 h 491"/>
                <a:gd name="T58" fmla="*/ 49 w 392"/>
                <a:gd name="T59" fmla="*/ 139 h 491"/>
                <a:gd name="T60" fmla="*/ 54 w 392"/>
                <a:gd name="T61" fmla="*/ 123 h 491"/>
                <a:gd name="T62" fmla="*/ 54 w 392"/>
                <a:gd name="T63" fmla="*/ 111 h 491"/>
                <a:gd name="T64" fmla="*/ 56 w 392"/>
                <a:gd name="T65" fmla="*/ 106 h 491"/>
                <a:gd name="T66" fmla="*/ 56 w 392"/>
                <a:gd name="T67" fmla="*/ 97 h 491"/>
                <a:gd name="T68" fmla="*/ 61 w 392"/>
                <a:gd name="T69" fmla="*/ 83 h 491"/>
                <a:gd name="T70" fmla="*/ 63 w 392"/>
                <a:gd name="T71" fmla="*/ 59 h 491"/>
                <a:gd name="T72" fmla="*/ 71 w 392"/>
                <a:gd name="T73" fmla="*/ 9 h 491"/>
                <a:gd name="T74" fmla="*/ 73 w 392"/>
                <a:gd name="T75" fmla="*/ 2 h 491"/>
                <a:gd name="T76" fmla="*/ 73 w 392"/>
                <a:gd name="T77" fmla="*/ 0 h 491"/>
                <a:gd name="T78" fmla="*/ 267 w 392"/>
                <a:gd name="T79" fmla="*/ 31 h 491"/>
                <a:gd name="T80" fmla="*/ 267 w 392"/>
                <a:gd name="T81" fmla="*/ 38 h 491"/>
                <a:gd name="T82" fmla="*/ 264 w 392"/>
                <a:gd name="T83" fmla="*/ 64 h 491"/>
                <a:gd name="T84" fmla="*/ 259 w 392"/>
                <a:gd name="T85" fmla="*/ 94 h 491"/>
                <a:gd name="T86" fmla="*/ 257 w 392"/>
                <a:gd name="T87" fmla="*/ 118 h 491"/>
                <a:gd name="T88" fmla="*/ 257 w 392"/>
                <a:gd name="T89" fmla="*/ 120 h 491"/>
                <a:gd name="T90" fmla="*/ 352 w 392"/>
                <a:gd name="T91" fmla="*/ 135 h 491"/>
                <a:gd name="T92" fmla="*/ 361 w 392"/>
                <a:gd name="T93" fmla="*/ 135 h 491"/>
                <a:gd name="T94" fmla="*/ 392 w 392"/>
                <a:gd name="T95" fmla="*/ 137 h 491"/>
                <a:gd name="T96" fmla="*/ 392 w 392"/>
                <a:gd name="T97" fmla="*/ 144 h 491"/>
                <a:gd name="T98" fmla="*/ 387 w 392"/>
                <a:gd name="T99" fmla="*/ 161 h 491"/>
                <a:gd name="T100" fmla="*/ 387 w 392"/>
                <a:gd name="T101" fmla="*/ 177 h 491"/>
                <a:gd name="T102" fmla="*/ 375 w 392"/>
                <a:gd name="T103" fmla="*/ 288 h 491"/>
                <a:gd name="T104" fmla="*/ 371 w 392"/>
                <a:gd name="T105" fmla="*/ 317 h 491"/>
                <a:gd name="T106" fmla="*/ 368 w 392"/>
                <a:gd name="T107" fmla="*/ 347 h 491"/>
                <a:gd name="T108" fmla="*/ 363 w 392"/>
                <a:gd name="T109" fmla="*/ 378 h 491"/>
                <a:gd name="T110" fmla="*/ 361 w 392"/>
                <a:gd name="T111" fmla="*/ 411 h 491"/>
                <a:gd name="T112" fmla="*/ 356 w 392"/>
                <a:gd name="T113" fmla="*/ 475 h 491"/>
                <a:gd name="T114" fmla="*/ 354 w 392"/>
                <a:gd name="T115" fmla="*/ 489 h 491"/>
                <a:gd name="T116" fmla="*/ 354 w 392"/>
                <a:gd name="T117" fmla="*/ 491 h 491"/>
                <a:gd name="T118" fmla="*/ 271 w 392"/>
                <a:gd name="T119" fmla="*/ 482 h 49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2"/>
                <a:gd name="T181" fmla="*/ 0 h 491"/>
                <a:gd name="T182" fmla="*/ 392 w 392"/>
                <a:gd name="T183" fmla="*/ 491 h 49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2" h="491">
                  <a:moveTo>
                    <a:pt x="271" y="482"/>
                  </a:moveTo>
                  <a:lnTo>
                    <a:pt x="186" y="470"/>
                  </a:lnTo>
                  <a:lnTo>
                    <a:pt x="170" y="470"/>
                  </a:lnTo>
                  <a:lnTo>
                    <a:pt x="163" y="468"/>
                  </a:lnTo>
                  <a:lnTo>
                    <a:pt x="151" y="468"/>
                  </a:lnTo>
                  <a:lnTo>
                    <a:pt x="141" y="465"/>
                  </a:lnTo>
                  <a:lnTo>
                    <a:pt x="127" y="465"/>
                  </a:lnTo>
                  <a:lnTo>
                    <a:pt x="120" y="461"/>
                  </a:lnTo>
                  <a:lnTo>
                    <a:pt x="101" y="461"/>
                  </a:lnTo>
                  <a:lnTo>
                    <a:pt x="101" y="458"/>
                  </a:lnTo>
                  <a:lnTo>
                    <a:pt x="87" y="458"/>
                  </a:lnTo>
                  <a:lnTo>
                    <a:pt x="63" y="454"/>
                  </a:lnTo>
                  <a:lnTo>
                    <a:pt x="61" y="454"/>
                  </a:lnTo>
                  <a:lnTo>
                    <a:pt x="49" y="451"/>
                  </a:lnTo>
                  <a:lnTo>
                    <a:pt x="40" y="451"/>
                  </a:lnTo>
                  <a:lnTo>
                    <a:pt x="37" y="449"/>
                  </a:lnTo>
                  <a:lnTo>
                    <a:pt x="21" y="449"/>
                  </a:lnTo>
                  <a:lnTo>
                    <a:pt x="16" y="444"/>
                  </a:lnTo>
                  <a:lnTo>
                    <a:pt x="0" y="444"/>
                  </a:lnTo>
                  <a:lnTo>
                    <a:pt x="4" y="435"/>
                  </a:lnTo>
                  <a:lnTo>
                    <a:pt x="9" y="385"/>
                  </a:lnTo>
                  <a:lnTo>
                    <a:pt x="9" y="378"/>
                  </a:lnTo>
                  <a:lnTo>
                    <a:pt x="14" y="371"/>
                  </a:lnTo>
                  <a:lnTo>
                    <a:pt x="14" y="361"/>
                  </a:lnTo>
                  <a:lnTo>
                    <a:pt x="16" y="352"/>
                  </a:lnTo>
                  <a:lnTo>
                    <a:pt x="16" y="345"/>
                  </a:lnTo>
                  <a:lnTo>
                    <a:pt x="21" y="328"/>
                  </a:lnTo>
                  <a:lnTo>
                    <a:pt x="23" y="312"/>
                  </a:lnTo>
                  <a:lnTo>
                    <a:pt x="47" y="146"/>
                  </a:lnTo>
                  <a:lnTo>
                    <a:pt x="49" y="139"/>
                  </a:lnTo>
                  <a:lnTo>
                    <a:pt x="54" y="123"/>
                  </a:lnTo>
                  <a:lnTo>
                    <a:pt x="54" y="111"/>
                  </a:lnTo>
                  <a:lnTo>
                    <a:pt x="56" y="106"/>
                  </a:lnTo>
                  <a:lnTo>
                    <a:pt x="56" y="97"/>
                  </a:lnTo>
                  <a:lnTo>
                    <a:pt x="61" y="83"/>
                  </a:lnTo>
                  <a:lnTo>
                    <a:pt x="63" y="59"/>
                  </a:lnTo>
                  <a:lnTo>
                    <a:pt x="71" y="9"/>
                  </a:lnTo>
                  <a:lnTo>
                    <a:pt x="73" y="2"/>
                  </a:lnTo>
                  <a:lnTo>
                    <a:pt x="73" y="0"/>
                  </a:lnTo>
                  <a:lnTo>
                    <a:pt x="267" y="31"/>
                  </a:lnTo>
                  <a:lnTo>
                    <a:pt x="267" y="38"/>
                  </a:lnTo>
                  <a:lnTo>
                    <a:pt x="264" y="64"/>
                  </a:lnTo>
                  <a:lnTo>
                    <a:pt x="259" y="94"/>
                  </a:lnTo>
                  <a:lnTo>
                    <a:pt x="257" y="118"/>
                  </a:lnTo>
                  <a:lnTo>
                    <a:pt x="257" y="120"/>
                  </a:lnTo>
                  <a:lnTo>
                    <a:pt x="352" y="135"/>
                  </a:lnTo>
                  <a:lnTo>
                    <a:pt x="361" y="135"/>
                  </a:lnTo>
                  <a:lnTo>
                    <a:pt x="392" y="137"/>
                  </a:lnTo>
                  <a:lnTo>
                    <a:pt x="392" y="144"/>
                  </a:lnTo>
                  <a:lnTo>
                    <a:pt x="387" y="161"/>
                  </a:lnTo>
                  <a:lnTo>
                    <a:pt x="387" y="177"/>
                  </a:lnTo>
                  <a:lnTo>
                    <a:pt x="375" y="288"/>
                  </a:lnTo>
                  <a:lnTo>
                    <a:pt x="371" y="317"/>
                  </a:lnTo>
                  <a:lnTo>
                    <a:pt x="368" y="347"/>
                  </a:lnTo>
                  <a:lnTo>
                    <a:pt x="363" y="378"/>
                  </a:lnTo>
                  <a:lnTo>
                    <a:pt x="361" y="411"/>
                  </a:lnTo>
                  <a:lnTo>
                    <a:pt x="356" y="475"/>
                  </a:lnTo>
                  <a:lnTo>
                    <a:pt x="354" y="489"/>
                  </a:lnTo>
                  <a:lnTo>
                    <a:pt x="354" y="491"/>
                  </a:lnTo>
                  <a:lnTo>
                    <a:pt x="271" y="48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3" name="Freeform 177">
              <a:extLst>
                <a:ext uri="{FF2B5EF4-FFF2-40B4-BE49-F238E27FC236}">
                  <a16:creationId xmlns:a16="http://schemas.microsoft.com/office/drawing/2014/main" id="{9E6E8784-359E-41F9-93AF-4F047D6D2149}"/>
                </a:ext>
              </a:extLst>
            </p:cNvPr>
            <p:cNvSpPr>
              <a:spLocks/>
            </p:cNvSpPr>
            <p:nvPr/>
          </p:nvSpPr>
          <p:spPr bwMode="gray">
            <a:xfrm rot="47099">
              <a:off x="813625" y="3143285"/>
              <a:ext cx="206622" cy="323218"/>
            </a:xfrm>
            <a:custGeom>
              <a:avLst/>
              <a:gdLst>
                <a:gd name="T0" fmla="*/ 374 w 447"/>
                <a:gd name="T1" fmla="*/ 531 h 694"/>
                <a:gd name="T2" fmla="*/ 364 w 447"/>
                <a:gd name="T3" fmla="*/ 595 h 694"/>
                <a:gd name="T4" fmla="*/ 355 w 447"/>
                <a:gd name="T5" fmla="*/ 607 h 694"/>
                <a:gd name="T6" fmla="*/ 348 w 447"/>
                <a:gd name="T7" fmla="*/ 604 h 694"/>
                <a:gd name="T8" fmla="*/ 343 w 447"/>
                <a:gd name="T9" fmla="*/ 597 h 694"/>
                <a:gd name="T10" fmla="*/ 326 w 447"/>
                <a:gd name="T11" fmla="*/ 590 h 694"/>
                <a:gd name="T12" fmla="*/ 317 w 447"/>
                <a:gd name="T13" fmla="*/ 595 h 694"/>
                <a:gd name="T14" fmla="*/ 310 w 447"/>
                <a:gd name="T15" fmla="*/ 604 h 694"/>
                <a:gd name="T16" fmla="*/ 315 w 447"/>
                <a:gd name="T17" fmla="*/ 612 h 694"/>
                <a:gd name="T18" fmla="*/ 310 w 447"/>
                <a:gd name="T19" fmla="*/ 628 h 694"/>
                <a:gd name="T20" fmla="*/ 315 w 447"/>
                <a:gd name="T21" fmla="*/ 659 h 694"/>
                <a:gd name="T22" fmla="*/ 310 w 447"/>
                <a:gd name="T23" fmla="*/ 682 h 694"/>
                <a:gd name="T24" fmla="*/ 307 w 447"/>
                <a:gd name="T25" fmla="*/ 694 h 694"/>
                <a:gd name="T26" fmla="*/ 284 w 447"/>
                <a:gd name="T27" fmla="*/ 661 h 694"/>
                <a:gd name="T28" fmla="*/ 267 w 447"/>
                <a:gd name="T29" fmla="*/ 642 h 694"/>
                <a:gd name="T30" fmla="*/ 237 w 447"/>
                <a:gd name="T31" fmla="*/ 597 h 694"/>
                <a:gd name="T32" fmla="*/ 220 w 447"/>
                <a:gd name="T33" fmla="*/ 578 h 694"/>
                <a:gd name="T34" fmla="*/ 194 w 447"/>
                <a:gd name="T35" fmla="*/ 538 h 694"/>
                <a:gd name="T36" fmla="*/ 178 w 447"/>
                <a:gd name="T37" fmla="*/ 515 h 694"/>
                <a:gd name="T38" fmla="*/ 161 w 447"/>
                <a:gd name="T39" fmla="*/ 489 h 694"/>
                <a:gd name="T40" fmla="*/ 140 w 447"/>
                <a:gd name="T41" fmla="*/ 465 h 694"/>
                <a:gd name="T42" fmla="*/ 123 w 447"/>
                <a:gd name="T43" fmla="*/ 437 h 694"/>
                <a:gd name="T44" fmla="*/ 97 w 447"/>
                <a:gd name="T45" fmla="*/ 401 h 694"/>
                <a:gd name="T46" fmla="*/ 59 w 447"/>
                <a:gd name="T47" fmla="*/ 347 h 694"/>
                <a:gd name="T48" fmla="*/ 26 w 447"/>
                <a:gd name="T49" fmla="*/ 297 h 694"/>
                <a:gd name="T50" fmla="*/ 0 w 447"/>
                <a:gd name="T51" fmla="*/ 260 h 694"/>
                <a:gd name="T52" fmla="*/ 10 w 447"/>
                <a:gd name="T53" fmla="*/ 224 h 694"/>
                <a:gd name="T54" fmla="*/ 17 w 447"/>
                <a:gd name="T55" fmla="*/ 186 h 694"/>
                <a:gd name="T56" fmla="*/ 59 w 447"/>
                <a:gd name="T57" fmla="*/ 0 h 694"/>
                <a:gd name="T58" fmla="*/ 109 w 447"/>
                <a:gd name="T59" fmla="*/ 9 h 694"/>
                <a:gd name="T60" fmla="*/ 123 w 447"/>
                <a:gd name="T61" fmla="*/ 14 h 694"/>
                <a:gd name="T62" fmla="*/ 137 w 447"/>
                <a:gd name="T63" fmla="*/ 16 h 694"/>
                <a:gd name="T64" fmla="*/ 154 w 447"/>
                <a:gd name="T65" fmla="*/ 23 h 694"/>
                <a:gd name="T66" fmla="*/ 170 w 447"/>
                <a:gd name="T67" fmla="*/ 26 h 694"/>
                <a:gd name="T68" fmla="*/ 185 w 447"/>
                <a:gd name="T69" fmla="*/ 30 h 694"/>
                <a:gd name="T70" fmla="*/ 201 w 447"/>
                <a:gd name="T71" fmla="*/ 33 h 694"/>
                <a:gd name="T72" fmla="*/ 213 w 447"/>
                <a:gd name="T73" fmla="*/ 37 h 694"/>
                <a:gd name="T74" fmla="*/ 246 w 447"/>
                <a:gd name="T75" fmla="*/ 42 h 694"/>
                <a:gd name="T76" fmla="*/ 267 w 447"/>
                <a:gd name="T77" fmla="*/ 47 h 694"/>
                <a:gd name="T78" fmla="*/ 282 w 447"/>
                <a:gd name="T79" fmla="*/ 49 h 694"/>
                <a:gd name="T80" fmla="*/ 307 w 447"/>
                <a:gd name="T81" fmla="*/ 54 h 694"/>
                <a:gd name="T82" fmla="*/ 322 w 447"/>
                <a:gd name="T83" fmla="*/ 56 h 694"/>
                <a:gd name="T84" fmla="*/ 350 w 447"/>
                <a:gd name="T85" fmla="*/ 63 h 694"/>
                <a:gd name="T86" fmla="*/ 364 w 447"/>
                <a:gd name="T87" fmla="*/ 66 h 694"/>
                <a:gd name="T88" fmla="*/ 378 w 447"/>
                <a:gd name="T89" fmla="*/ 71 h 694"/>
                <a:gd name="T90" fmla="*/ 447 w 447"/>
                <a:gd name="T91" fmla="*/ 80 h 694"/>
                <a:gd name="T92" fmla="*/ 445 w 447"/>
                <a:gd name="T93" fmla="*/ 89 h 694"/>
                <a:gd name="T94" fmla="*/ 435 w 447"/>
                <a:gd name="T95" fmla="*/ 163 h 694"/>
                <a:gd name="T96" fmla="*/ 430 w 447"/>
                <a:gd name="T97" fmla="*/ 186 h 694"/>
                <a:gd name="T98" fmla="*/ 428 w 447"/>
                <a:gd name="T99" fmla="*/ 203 h 694"/>
                <a:gd name="T100" fmla="*/ 421 w 447"/>
                <a:gd name="T101" fmla="*/ 226 h 694"/>
                <a:gd name="T102" fmla="*/ 395 w 447"/>
                <a:gd name="T103" fmla="*/ 408 h 694"/>
                <a:gd name="T104" fmla="*/ 390 w 447"/>
                <a:gd name="T105" fmla="*/ 432 h 694"/>
                <a:gd name="T106" fmla="*/ 388 w 447"/>
                <a:gd name="T107" fmla="*/ 451 h 694"/>
                <a:gd name="T108" fmla="*/ 383 w 447"/>
                <a:gd name="T109" fmla="*/ 465 h 694"/>
                <a:gd name="T110" fmla="*/ 374 w 447"/>
                <a:gd name="T111" fmla="*/ 524 h 6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47"/>
                <a:gd name="T169" fmla="*/ 0 h 694"/>
                <a:gd name="T170" fmla="*/ 447 w 447"/>
                <a:gd name="T171" fmla="*/ 694 h 6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47" h="694">
                  <a:moveTo>
                    <a:pt x="374" y="524"/>
                  </a:moveTo>
                  <a:lnTo>
                    <a:pt x="374" y="531"/>
                  </a:lnTo>
                  <a:lnTo>
                    <a:pt x="371" y="555"/>
                  </a:lnTo>
                  <a:lnTo>
                    <a:pt x="364" y="595"/>
                  </a:lnTo>
                  <a:lnTo>
                    <a:pt x="357" y="604"/>
                  </a:lnTo>
                  <a:lnTo>
                    <a:pt x="355" y="607"/>
                  </a:lnTo>
                  <a:lnTo>
                    <a:pt x="348" y="607"/>
                  </a:lnTo>
                  <a:lnTo>
                    <a:pt x="348" y="604"/>
                  </a:lnTo>
                  <a:lnTo>
                    <a:pt x="343" y="602"/>
                  </a:lnTo>
                  <a:lnTo>
                    <a:pt x="343" y="597"/>
                  </a:lnTo>
                  <a:lnTo>
                    <a:pt x="341" y="595"/>
                  </a:lnTo>
                  <a:lnTo>
                    <a:pt x="326" y="590"/>
                  </a:lnTo>
                  <a:lnTo>
                    <a:pt x="322" y="590"/>
                  </a:lnTo>
                  <a:lnTo>
                    <a:pt x="317" y="595"/>
                  </a:lnTo>
                  <a:lnTo>
                    <a:pt x="315" y="595"/>
                  </a:lnTo>
                  <a:lnTo>
                    <a:pt x="310" y="604"/>
                  </a:lnTo>
                  <a:lnTo>
                    <a:pt x="310" y="607"/>
                  </a:lnTo>
                  <a:lnTo>
                    <a:pt x="315" y="612"/>
                  </a:lnTo>
                  <a:lnTo>
                    <a:pt x="315" y="621"/>
                  </a:lnTo>
                  <a:lnTo>
                    <a:pt x="310" y="628"/>
                  </a:lnTo>
                  <a:lnTo>
                    <a:pt x="310" y="642"/>
                  </a:lnTo>
                  <a:lnTo>
                    <a:pt x="315" y="659"/>
                  </a:lnTo>
                  <a:lnTo>
                    <a:pt x="315" y="675"/>
                  </a:lnTo>
                  <a:lnTo>
                    <a:pt x="310" y="682"/>
                  </a:lnTo>
                  <a:lnTo>
                    <a:pt x="307" y="682"/>
                  </a:lnTo>
                  <a:lnTo>
                    <a:pt x="307" y="694"/>
                  </a:lnTo>
                  <a:lnTo>
                    <a:pt x="303" y="692"/>
                  </a:lnTo>
                  <a:lnTo>
                    <a:pt x="284" y="661"/>
                  </a:lnTo>
                  <a:lnTo>
                    <a:pt x="274" y="652"/>
                  </a:lnTo>
                  <a:lnTo>
                    <a:pt x="267" y="642"/>
                  </a:lnTo>
                  <a:lnTo>
                    <a:pt x="251" y="614"/>
                  </a:lnTo>
                  <a:lnTo>
                    <a:pt x="237" y="597"/>
                  </a:lnTo>
                  <a:lnTo>
                    <a:pt x="230" y="590"/>
                  </a:lnTo>
                  <a:lnTo>
                    <a:pt x="220" y="578"/>
                  </a:lnTo>
                  <a:lnTo>
                    <a:pt x="211" y="562"/>
                  </a:lnTo>
                  <a:lnTo>
                    <a:pt x="194" y="538"/>
                  </a:lnTo>
                  <a:lnTo>
                    <a:pt x="187" y="524"/>
                  </a:lnTo>
                  <a:lnTo>
                    <a:pt x="178" y="515"/>
                  </a:lnTo>
                  <a:lnTo>
                    <a:pt x="166" y="500"/>
                  </a:lnTo>
                  <a:lnTo>
                    <a:pt x="161" y="489"/>
                  </a:lnTo>
                  <a:lnTo>
                    <a:pt x="149" y="475"/>
                  </a:lnTo>
                  <a:lnTo>
                    <a:pt x="140" y="465"/>
                  </a:lnTo>
                  <a:lnTo>
                    <a:pt x="133" y="451"/>
                  </a:lnTo>
                  <a:lnTo>
                    <a:pt x="123" y="437"/>
                  </a:lnTo>
                  <a:lnTo>
                    <a:pt x="114" y="425"/>
                  </a:lnTo>
                  <a:lnTo>
                    <a:pt x="97" y="401"/>
                  </a:lnTo>
                  <a:lnTo>
                    <a:pt x="88" y="387"/>
                  </a:lnTo>
                  <a:lnTo>
                    <a:pt x="59" y="347"/>
                  </a:lnTo>
                  <a:lnTo>
                    <a:pt x="52" y="337"/>
                  </a:lnTo>
                  <a:lnTo>
                    <a:pt x="26" y="297"/>
                  </a:lnTo>
                  <a:lnTo>
                    <a:pt x="10" y="274"/>
                  </a:lnTo>
                  <a:lnTo>
                    <a:pt x="0" y="260"/>
                  </a:lnTo>
                  <a:lnTo>
                    <a:pt x="7" y="234"/>
                  </a:lnTo>
                  <a:lnTo>
                    <a:pt x="10" y="224"/>
                  </a:lnTo>
                  <a:lnTo>
                    <a:pt x="10" y="215"/>
                  </a:lnTo>
                  <a:lnTo>
                    <a:pt x="17" y="186"/>
                  </a:lnTo>
                  <a:lnTo>
                    <a:pt x="29" y="137"/>
                  </a:lnTo>
                  <a:lnTo>
                    <a:pt x="59" y="0"/>
                  </a:lnTo>
                  <a:lnTo>
                    <a:pt x="100" y="9"/>
                  </a:lnTo>
                  <a:lnTo>
                    <a:pt x="109" y="9"/>
                  </a:lnTo>
                  <a:lnTo>
                    <a:pt x="114" y="14"/>
                  </a:lnTo>
                  <a:lnTo>
                    <a:pt x="123" y="14"/>
                  </a:lnTo>
                  <a:lnTo>
                    <a:pt x="130" y="16"/>
                  </a:lnTo>
                  <a:lnTo>
                    <a:pt x="137" y="16"/>
                  </a:lnTo>
                  <a:lnTo>
                    <a:pt x="149" y="21"/>
                  </a:lnTo>
                  <a:lnTo>
                    <a:pt x="154" y="23"/>
                  </a:lnTo>
                  <a:lnTo>
                    <a:pt x="166" y="23"/>
                  </a:lnTo>
                  <a:lnTo>
                    <a:pt x="170" y="26"/>
                  </a:lnTo>
                  <a:lnTo>
                    <a:pt x="173" y="26"/>
                  </a:lnTo>
                  <a:lnTo>
                    <a:pt x="185" y="30"/>
                  </a:lnTo>
                  <a:lnTo>
                    <a:pt x="194" y="30"/>
                  </a:lnTo>
                  <a:lnTo>
                    <a:pt x="201" y="33"/>
                  </a:lnTo>
                  <a:lnTo>
                    <a:pt x="206" y="33"/>
                  </a:lnTo>
                  <a:lnTo>
                    <a:pt x="213" y="37"/>
                  </a:lnTo>
                  <a:lnTo>
                    <a:pt x="218" y="37"/>
                  </a:lnTo>
                  <a:lnTo>
                    <a:pt x="246" y="42"/>
                  </a:lnTo>
                  <a:lnTo>
                    <a:pt x="258" y="42"/>
                  </a:lnTo>
                  <a:lnTo>
                    <a:pt x="267" y="47"/>
                  </a:lnTo>
                  <a:lnTo>
                    <a:pt x="277" y="49"/>
                  </a:lnTo>
                  <a:lnTo>
                    <a:pt x="282" y="49"/>
                  </a:lnTo>
                  <a:lnTo>
                    <a:pt x="300" y="54"/>
                  </a:lnTo>
                  <a:lnTo>
                    <a:pt x="307" y="54"/>
                  </a:lnTo>
                  <a:lnTo>
                    <a:pt x="310" y="56"/>
                  </a:lnTo>
                  <a:lnTo>
                    <a:pt x="322" y="56"/>
                  </a:lnTo>
                  <a:lnTo>
                    <a:pt x="333" y="61"/>
                  </a:lnTo>
                  <a:lnTo>
                    <a:pt x="350" y="63"/>
                  </a:lnTo>
                  <a:lnTo>
                    <a:pt x="357" y="63"/>
                  </a:lnTo>
                  <a:lnTo>
                    <a:pt x="364" y="66"/>
                  </a:lnTo>
                  <a:lnTo>
                    <a:pt x="367" y="66"/>
                  </a:lnTo>
                  <a:lnTo>
                    <a:pt x="378" y="71"/>
                  </a:lnTo>
                  <a:lnTo>
                    <a:pt x="388" y="71"/>
                  </a:lnTo>
                  <a:lnTo>
                    <a:pt x="447" y="80"/>
                  </a:lnTo>
                  <a:lnTo>
                    <a:pt x="447" y="82"/>
                  </a:lnTo>
                  <a:lnTo>
                    <a:pt x="445" y="89"/>
                  </a:lnTo>
                  <a:lnTo>
                    <a:pt x="437" y="139"/>
                  </a:lnTo>
                  <a:lnTo>
                    <a:pt x="435" y="163"/>
                  </a:lnTo>
                  <a:lnTo>
                    <a:pt x="430" y="177"/>
                  </a:lnTo>
                  <a:lnTo>
                    <a:pt x="430" y="186"/>
                  </a:lnTo>
                  <a:lnTo>
                    <a:pt x="428" y="191"/>
                  </a:lnTo>
                  <a:lnTo>
                    <a:pt x="428" y="203"/>
                  </a:lnTo>
                  <a:lnTo>
                    <a:pt x="423" y="219"/>
                  </a:lnTo>
                  <a:lnTo>
                    <a:pt x="421" y="226"/>
                  </a:lnTo>
                  <a:lnTo>
                    <a:pt x="397" y="392"/>
                  </a:lnTo>
                  <a:lnTo>
                    <a:pt x="395" y="408"/>
                  </a:lnTo>
                  <a:lnTo>
                    <a:pt x="390" y="425"/>
                  </a:lnTo>
                  <a:lnTo>
                    <a:pt x="390" y="432"/>
                  </a:lnTo>
                  <a:lnTo>
                    <a:pt x="388" y="441"/>
                  </a:lnTo>
                  <a:lnTo>
                    <a:pt x="388" y="451"/>
                  </a:lnTo>
                  <a:lnTo>
                    <a:pt x="383" y="458"/>
                  </a:lnTo>
                  <a:lnTo>
                    <a:pt x="383" y="465"/>
                  </a:lnTo>
                  <a:lnTo>
                    <a:pt x="378" y="515"/>
                  </a:lnTo>
                  <a:lnTo>
                    <a:pt x="374" y="52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4" name="Freeform 178">
              <a:extLst>
                <a:ext uri="{FF2B5EF4-FFF2-40B4-BE49-F238E27FC236}">
                  <a16:creationId xmlns:a16="http://schemas.microsoft.com/office/drawing/2014/main" id="{69B761E5-0F3A-4C2F-9317-03CAE7246CD9}"/>
                </a:ext>
              </a:extLst>
            </p:cNvPr>
            <p:cNvSpPr>
              <a:spLocks/>
            </p:cNvSpPr>
            <p:nvPr/>
          </p:nvSpPr>
          <p:spPr bwMode="gray">
            <a:xfrm rot="47099">
              <a:off x="2325251" y="3096012"/>
              <a:ext cx="3563" cy="9649"/>
            </a:xfrm>
            <a:custGeom>
              <a:avLst/>
              <a:gdLst>
                <a:gd name="T0" fmla="*/ 5 w 7"/>
                <a:gd name="T1" fmla="*/ 7 h 21"/>
                <a:gd name="T2" fmla="*/ 5 w 7"/>
                <a:gd name="T3" fmla="*/ 11 h 21"/>
                <a:gd name="T4" fmla="*/ 7 w 7"/>
                <a:gd name="T5" fmla="*/ 14 h 21"/>
                <a:gd name="T6" fmla="*/ 5 w 7"/>
                <a:gd name="T7" fmla="*/ 21 h 21"/>
                <a:gd name="T8" fmla="*/ 0 w 7"/>
                <a:gd name="T9" fmla="*/ 21 h 21"/>
                <a:gd name="T10" fmla="*/ 0 w 7"/>
                <a:gd name="T11" fmla="*/ 0 h 21"/>
                <a:gd name="T12" fmla="*/ 5 w 7"/>
                <a:gd name="T13" fmla="*/ 4 h 21"/>
                <a:gd name="T14" fmla="*/ 5 w 7"/>
                <a:gd name="T15" fmla="*/ 7 h 21"/>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1"/>
                <a:gd name="T26" fmla="*/ 7 w 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1">
                  <a:moveTo>
                    <a:pt x="5" y="7"/>
                  </a:moveTo>
                  <a:lnTo>
                    <a:pt x="5" y="11"/>
                  </a:lnTo>
                  <a:lnTo>
                    <a:pt x="7" y="14"/>
                  </a:lnTo>
                  <a:lnTo>
                    <a:pt x="5" y="21"/>
                  </a:lnTo>
                  <a:lnTo>
                    <a:pt x="0" y="21"/>
                  </a:lnTo>
                  <a:lnTo>
                    <a:pt x="0" y="0"/>
                  </a:lnTo>
                  <a:lnTo>
                    <a:pt x="5" y="4"/>
                  </a:lnTo>
                  <a:lnTo>
                    <a:pt x="5"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5" name="Freeform 179">
              <a:extLst>
                <a:ext uri="{FF2B5EF4-FFF2-40B4-BE49-F238E27FC236}">
                  <a16:creationId xmlns:a16="http://schemas.microsoft.com/office/drawing/2014/main" id="{31B8C38B-E341-4D8F-BA7D-32E9C85AD2B9}"/>
                </a:ext>
              </a:extLst>
            </p:cNvPr>
            <p:cNvSpPr>
              <a:spLocks/>
            </p:cNvSpPr>
            <p:nvPr/>
          </p:nvSpPr>
          <p:spPr bwMode="gray">
            <a:xfrm rot="47099">
              <a:off x="2327936" y="3096048"/>
              <a:ext cx="3563" cy="7718"/>
            </a:xfrm>
            <a:custGeom>
              <a:avLst/>
              <a:gdLst>
                <a:gd name="T0" fmla="*/ 0 w 7"/>
                <a:gd name="T1" fmla="*/ 0 h 16"/>
                <a:gd name="T2" fmla="*/ 2 w 7"/>
                <a:gd name="T3" fmla="*/ 0 h 16"/>
                <a:gd name="T4" fmla="*/ 2 w 7"/>
                <a:gd name="T5" fmla="*/ 4 h 16"/>
                <a:gd name="T6" fmla="*/ 7 w 7"/>
                <a:gd name="T7" fmla="*/ 11 h 16"/>
                <a:gd name="T8" fmla="*/ 7 w 7"/>
                <a:gd name="T9" fmla="*/ 16 h 16"/>
                <a:gd name="T10" fmla="*/ 2 w 7"/>
                <a:gd name="T11" fmla="*/ 14 h 16"/>
                <a:gd name="T12" fmla="*/ 2 w 7"/>
                <a:gd name="T13" fmla="*/ 11 h 16"/>
                <a:gd name="T14" fmla="*/ 0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6"/>
                <a:gd name="T26" fmla="*/ 7 w 7"/>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6">
                  <a:moveTo>
                    <a:pt x="0" y="0"/>
                  </a:moveTo>
                  <a:lnTo>
                    <a:pt x="2" y="0"/>
                  </a:lnTo>
                  <a:lnTo>
                    <a:pt x="2" y="4"/>
                  </a:lnTo>
                  <a:lnTo>
                    <a:pt x="7" y="11"/>
                  </a:lnTo>
                  <a:lnTo>
                    <a:pt x="7" y="16"/>
                  </a:lnTo>
                  <a:lnTo>
                    <a:pt x="2" y="14"/>
                  </a:lnTo>
                  <a:lnTo>
                    <a:pt x="2" y="11"/>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6" name="Freeform 180">
              <a:extLst>
                <a:ext uri="{FF2B5EF4-FFF2-40B4-BE49-F238E27FC236}">
                  <a16:creationId xmlns:a16="http://schemas.microsoft.com/office/drawing/2014/main" id="{4DAEF4A2-7DF4-4E52-9876-FDEFAEBC99F9}"/>
                </a:ext>
              </a:extLst>
            </p:cNvPr>
            <p:cNvSpPr>
              <a:spLocks/>
            </p:cNvSpPr>
            <p:nvPr/>
          </p:nvSpPr>
          <p:spPr bwMode="gray">
            <a:xfrm rot="47099">
              <a:off x="2303884" y="3084262"/>
              <a:ext cx="21374" cy="31839"/>
            </a:xfrm>
            <a:custGeom>
              <a:avLst/>
              <a:gdLst>
                <a:gd name="T0" fmla="*/ 45 w 45"/>
                <a:gd name="T1" fmla="*/ 23 h 70"/>
                <a:gd name="T2" fmla="*/ 45 w 45"/>
                <a:gd name="T3" fmla="*/ 26 h 70"/>
                <a:gd name="T4" fmla="*/ 43 w 45"/>
                <a:gd name="T5" fmla="*/ 30 h 70"/>
                <a:gd name="T6" fmla="*/ 43 w 45"/>
                <a:gd name="T7" fmla="*/ 26 h 70"/>
                <a:gd name="T8" fmla="*/ 33 w 45"/>
                <a:gd name="T9" fmla="*/ 16 h 70"/>
                <a:gd name="T10" fmla="*/ 36 w 45"/>
                <a:gd name="T11" fmla="*/ 37 h 70"/>
                <a:gd name="T12" fmla="*/ 40 w 45"/>
                <a:gd name="T13" fmla="*/ 47 h 70"/>
                <a:gd name="T14" fmla="*/ 40 w 45"/>
                <a:gd name="T15" fmla="*/ 56 h 70"/>
                <a:gd name="T16" fmla="*/ 36 w 45"/>
                <a:gd name="T17" fmla="*/ 56 h 70"/>
                <a:gd name="T18" fmla="*/ 33 w 45"/>
                <a:gd name="T19" fmla="*/ 59 h 70"/>
                <a:gd name="T20" fmla="*/ 29 w 45"/>
                <a:gd name="T21" fmla="*/ 63 h 70"/>
                <a:gd name="T22" fmla="*/ 26 w 45"/>
                <a:gd name="T23" fmla="*/ 66 h 70"/>
                <a:gd name="T24" fmla="*/ 24 w 45"/>
                <a:gd name="T25" fmla="*/ 66 h 70"/>
                <a:gd name="T26" fmla="*/ 19 w 45"/>
                <a:gd name="T27" fmla="*/ 70 h 70"/>
                <a:gd name="T28" fmla="*/ 19 w 45"/>
                <a:gd name="T29" fmla="*/ 59 h 70"/>
                <a:gd name="T30" fmla="*/ 12 w 45"/>
                <a:gd name="T31" fmla="*/ 47 h 70"/>
                <a:gd name="T32" fmla="*/ 10 w 45"/>
                <a:gd name="T33" fmla="*/ 30 h 70"/>
                <a:gd name="T34" fmla="*/ 0 w 45"/>
                <a:gd name="T35" fmla="*/ 9 h 70"/>
                <a:gd name="T36" fmla="*/ 10 w 45"/>
                <a:gd name="T37" fmla="*/ 7 h 70"/>
                <a:gd name="T38" fmla="*/ 12 w 45"/>
                <a:gd name="T39" fmla="*/ 7 h 70"/>
                <a:gd name="T40" fmla="*/ 26 w 45"/>
                <a:gd name="T41" fmla="*/ 0 h 70"/>
                <a:gd name="T42" fmla="*/ 29 w 45"/>
                <a:gd name="T43" fmla="*/ 7 h 70"/>
                <a:gd name="T44" fmla="*/ 29 w 45"/>
                <a:gd name="T45" fmla="*/ 9 h 70"/>
                <a:gd name="T46" fmla="*/ 36 w 45"/>
                <a:gd name="T47" fmla="*/ 18 h 70"/>
                <a:gd name="T48" fmla="*/ 43 w 45"/>
                <a:gd name="T49" fmla="*/ 23 h 70"/>
                <a:gd name="T50" fmla="*/ 45 w 45"/>
                <a:gd name="T51" fmla="*/ 23 h 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5"/>
                <a:gd name="T79" fmla="*/ 0 h 70"/>
                <a:gd name="T80" fmla="*/ 45 w 45"/>
                <a:gd name="T81" fmla="*/ 70 h 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5" h="70">
                  <a:moveTo>
                    <a:pt x="45" y="23"/>
                  </a:moveTo>
                  <a:lnTo>
                    <a:pt x="45" y="26"/>
                  </a:lnTo>
                  <a:lnTo>
                    <a:pt x="43" y="30"/>
                  </a:lnTo>
                  <a:lnTo>
                    <a:pt x="43" y="26"/>
                  </a:lnTo>
                  <a:lnTo>
                    <a:pt x="33" y="16"/>
                  </a:lnTo>
                  <a:lnTo>
                    <a:pt x="36" y="37"/>
                  </a:lnTo>
                  <a:lnTo>
                    <a:pt x="40" y="47"/>
                  </a:lnTo>
                  <a:lnTo>
                    <a:pt x="40" y="56"/>
                  </a:lnTo>
                  <a:lnTo>
                    <a:pt x="36" y="56"/>
                  </a:lnTo>
                  <a:lnTo>
                    <a:pt x="33" y="59"/>
                  </a:lnTo>
                  <a:lnTo>
                    <a:pt x="29" y="63"/>
                  </a:lnTo>
                  <a:lnTo>
                    <a:pt x="26" y="66"/>
                  </a:lnTo>
                  <a:lnTo>
                    <a:pt x="24" y="66"/>
                  </a:lnTo>
                  <a:lnTo>
                    <a:pt x="19" y="70"/>
                  </a:lnTo>
                  <a:lnTo>
                    <a:pt x="19" y="59"/>
                  </a:lnTo>
                  <a:lnTo>
                    <a:pt x="12" y="47"/>
                  </a:lnTo>
                  <a:lnTo>
                    <a:pt x="10" y="30"/>
                  </a:lnTo>
                  <a:lnTo>
                    <a:pt x="0" y="9"/>
                  </a:lnTo>
                  <a:lnTo>
                    <a:pt x="10" y="7"/>
                  </a:lnTo>
                  <a:lnTo>
                    <a:pt x="12" y="7"/>
                  </a:lnTo>
                  <a:lnTo>
                    <a:pt x="26" y="0"/>
                  </a:lnTo>
                  <a:lnTo>
                    <a:pt x="29" y="7"/>
                  </a:lnTo>
                  <a:lnTo>
                    <a:pt x="29" y="9"/>
                  </a:lnTo>
                  <a:lnTo>
                    <a:pt x="36" y="18"/>
                  </a:lnTo>
                  <a:lnTo>
                    <a:pt x="43" y="23"/>
                  </a:lnTo>
                  <a:lnTo>
                    <a:pt x="45" y="2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7" name="Freeform 181">
              <a:extLst>
                <a:ext uri="{FF2B5EF4-FFF2-40B4-BE49-F238E27FC236}">
                  <a16:creationId xmlns:a16="http://schemas.microsoft.com/office/drawing/2014/main" id="{7A3F59CF-BA19-4704-B8BD-B4FC5D89A2A7}"/>
                </a:ext>
              </a:extLst>
            </p:cNvPr>
            <p:cNvSpPr>
              <a:spLocks/>
            </p:cNvSpPr>
            <p:nvPr/>
          </p:nvSpPr>
          <p:spPr bwMode="gray">
            <a:xfrm rot="47099">
              <a:off x="1837257" y="3198099"/>
              <a:ext cx="105092" cy="180423"/>
            </a:xfrm>
            <a:custGeom>
              <a:avLst/>
              <a:gdLst>
                <a:gd name="T0" fmla="*/ 17 w 227"/>
                <a:gd name="T1" fmla="*/ 355 h 388"/>
                <a:gd name="T2" fmla="*/ 12 w 227"/>
                <a:gd name="T3" fmla="*/ 348 h 388"/>
                <a:gd name="T4" fmla="*/ 24 w 227"/>
                <a:gd name="T5" fmla="*/ 343 h 388"/>
                <a:gd name="T6" fmla="*/ 33 w 227"/>
                <a:gd name="T7" fmla="*/ 315 h 388"/>
                <a:gd name="T8" fmla="*/ 35 w 227"/>
                <a:gd name="T9" fmla="*/ 305 h 388"/>
                <a:gd name="T10" fmla="*/ 40 w 227"/>
                <a:gd name="T11" fmla="*/ 298 h 388"/>
                <a:gd name="T12" fmla="*/ 28 w 227"/>
                <a:gd name="T13" fmla="*/ 272 h 388"/>
                <a:gd name="T14" fmla="*/ 26 w 227"/>
                <a:gd name="T15" fmla="*/ 246 h 388"/>
                <a:gd name="T16" fmla="*/ 28 w 227"/>
                <a:gd name="T17" fmla="*/ 241 h 388"/>
                <a:gd name="T18" fmla="*/ 24 w 227"/>
                <a:gd name="T19" fmla="*/ 187 h 388"/>
                <a:gd name="T20" fmla="*/ 10 w 227"/>
                <a:gd name="T21" fmla="*/ 85 h 388"/>
                <a:gd name="T22" fmla="*/ 7 w 227"/>
                <a:gd name="T23" fmla="*/ 69 h 388"/>
                <a:gd name="T24" fmla="*/ 0 w 227"/>
                <a:gd name="T25" fmla="*/ 31 h 388"/>
                <a:gd name="T26" fmla="*/ 47 w 227"/>
                <a:gd name="T27" fmla="*/ 24 h 388"/>
                <a:gd name="T28" fmla="*/ 66 w 227"/>
                <a:gd name="T29" fmla="*/ 22 h 388"/>
                <a:gd name="T30" fmla="*/ 87 w 227"/>
                <a:gd name="T31" fmla="*/ 17 h 388"/>
                <a:gd name="T32" fmla="*/ 106 w 227"/>
                <a:gd name="T33" fmla="*/ 15 h 388"/>
                <a:gd name="T34" fmla="*/ 139 w 227"/>
                <a:gd name="T35" fmla="*/ 8 h 388"/>
                <a:gd name="T36" fmla="*/ 163 w 227"/>
                <a:gd name="T37" fmla="*/ 5 h 388"/>
                <a:gd name="T38" fmla="*/ 180 w 227"/>
                <a:gd name="T39" fmla="*/ 0 h 388"/>
                <a:gd name="T40" fmla="*/ 184 w 227"/>
                <a:gd name="T41" fmla="*/ 31 h 388"/>
                <a:gd name="T42" fmla="*/ 187 w 227"/>
                <a:gd name="T43" fmla="*/ 48 h 388"/>
                <a:gd name="T44" fmla="*/ 194 w 227"/>
                <a:gd name="T45" fmla="*/ 71 h 388"/>
                <a:gd name="T46" fmla="*/ 217 w 227"/>
                <a:gd name="T47" fmla="*/ 225 h 388"/>
                <a:gd name="T48" fmla="*/ 217 w 227"/>
                <a:gd name="T49" fmla="*/ 239 h 388"/>
                <a:gd name="T50" fmla="*/ 220 w 227"/>
                <a:gd name="T51" fmla="*/ 246 h 388"/>
                <a:gd name="T52" fmla="*/ 224 w 227"/>
                <a:gd name="T53" fmla="*/ 263 h 388"/>
                <a:gd name="T54" fmla="*/ 213 w 227"/>
                <a:gd name="T55" fmla="*/ 265 h 388"/>
                <a:gd name="T56" fmla="*/ 206 w 227"/>
                <a:gd name="T57" fmla="*/ 272 h 388"/>
                <a:gd name="T58" fmla="*/ 201 w 227"/>
                <a:gd name="T59" fmla="*/ 274 h 388"/>
                <a:gd name="T60" fmla="*/ 184 w 227"/>
                <a:gd name="T61" fmla="*/ 274 h 388"/>
                <a:gd name="T62" fmla="*/ 187 w 227"/>
                <a:gd name="T63" fmla="*/ 291 h 388"/>
                <a:gd name="T64" fmla="*/ 177 w 227"/>
                <a:gd name="T65" fmla="*/ 303 h 388"/>
                <a:gd name="T66" fmla="*/ 173 w 227"/>
                <a:gd name="T67" fmla="*/ 315 h 388"/>
                <a:gd name="T68" fmla="*/ 163 w 227"/>
                <a:gd name="T69" fmla="*/ 319 h 388"/>
                <a:gd name="T70" fmla="*/ 161 w 227"/>
                <a:gd name="T71" fmla="*/ 343 h 388"/>
                <a:gd name="T72" fmla="*/ 154 w 227"/>
                <a:gd name="T73" fmla="*/ 348 h 388"/>
                <a:gd name="T74" fmla="*/ 137 w 227"/>
                <a:gd name="T75" fmla="*/ 345 h 388"/>
                <a:gd name="T76" fmla="*/ 132 w 227"/>
                <a:gd name="T77" fmla="*/ 338 h 388"/>
                <a:gd name="T78" fmla="*/ 125 w 227"/>
                <a:gd name="T79" fmla="*/ 343 h 388"/>
                <a:gd name="T80" fmla="*/ 121 w 227"/>
                <a:gd name="T81" fmla="*/ 348 h 388"/>
                <a:gd name="T82" fmla="*/ 121 w 227"/>
                <a:gd name="T83" fmla="*/ 355 h 388"/>
                <a:gd name="T84" fmla="*/ 113 w 227"/>
                <a:gd name="T85" fmla="*/ 364 h 388"/>
                <a:gd name="T86" fmla="*/ 104 w 227"/>
                <a:gd name="T87" fmla="*/ 362 h 388"/>
                <a:gd name="T88" fmla="*/ 97 w 227"/>
                <a:gd name="T89" fmla="*/ 360 h 388"/>
                <a:gd name="T90" fmla="*/ 83 w 227"/>
                <a:gd name="T91" fmla="*/ 364 h 388"/>
                <a:gd name="T92" fmla="*/ 80 w 227"/>
                <a:gd name="T93" fmla="*/ 378 h 388"/>
                <a:gd name="T94" fmla="*/ 73 w 227"/>
                <a:gd name="T95" fmla="*/ 376 h 388"/>
                <a:gd name="T96" fmla="*/ 52 w 227"/>
                <a:gd name="T97" fmla="*/ 369 h 388"/>
                <a:gd name="T98" fmla="*/ 47 w 227"/>
                <a:gd name="T99" fmla="*/ 378 h 388"/>
                <a:gd name="T100" fmla="*/ 33 w 227"/>
                <a:gd name="T101" fmla="*/ 376 h 388"/>
                <a:gd name="T102" fmla="*/ 24 w 227"/>
                <a:gd name="T103" fmla="*/ 383 h 388"/>
                <a:gd name="T104" fmla="*/ 19 w 227"/>
                <a:gd name="T105" fmla="*/ 386 h 388"/>
                <a:gd name="T106" fmla="*/ 10 w 227"/>
                <a:gd name="T107" fmla="*/ 378 h 388"/>
                <a:gd name="T108" fmla="*/ 12 w 227"/>
                <a:gd name="T109" fmla="*/ 364 h 388"/>
                <a:gd name="T110" fmla="*/ 12 w 227"/>
                <a:gd name="T111" fmla="*/ 362 h 3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388"/>
                <a:gd name="T170" fmla="*/ 227 w 227"/>
                <a:gd name="T171" fmla="*/ 388 h 3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388">
                  <a:moveTo>
                    <a:pt x="12" y="360"/>
                  </a:moveTo>
                  <a:lnTo>
                    <a:pt x="17" y="355"/>
                  </a:lnTo>
                  <a:lnTo>
                    <a:pt x="17" y="352"/>
                  </a:lnTo>
                  <a:lnTo>
                    <a:pt x="12" y="348"/>
                  </a:lnTo>
                  <a:lnTo>
                    <a:pt x="17" y="343"/>
                  </a:lnTo>
                  <a:lnTo>
                    <a:pt x="24" y="343"/>
                  </a:lnTo>
                  <a:lnTo>
                    <a:pt x="26" y="331"/>
                  </a:lnTo>
                  <a:lnTo>
                    <a:pt x="33" y="315"/>
                  </a:lnTo>
                  <a:lnTo>
                    <a:pt x="33" y="305"/>
                  </a:lnTo>
                  <a:lnTo>
                    <a:pt x="35" y="305"/>
                  </a:lnTo>
                  <a:lnTo>
                    <a:pt x="40" y="303"/>
                  </a:lnTo>
                  <a:lnTo>
                    <a:pt x="40" y="298"/>
                  </a:lnTo>
                  <a:lnTo>
                    <a:pt x="35" y="279"/>
                  </a:lnTo>
                  <a:lnTo>
                    <a:pt x="28" y="272"/>
                  </a:lnTo>
                  <a:lnTo>
                    <a:pt x="26" y="267"/>
                  </a:lnTo>
                  <a:lnTo>
                    <a:pt x="26" y="246"/>
                  </a:lnTo>
                  <a:lnTo>
                    <a:pt x="28" y="246"/>
                  </a:lnTo>
                  <a:lnTo>
                    <a:pt x="28" y="241"/>
                  </a:lnTo>
                  <a:lnTo>
                    <a:pt x="26" y="211"/>
                  </a:lnTo>
                  <a:lnTo>
                    <a:pt x="24" y="187"/>
                  </a:lnTo>
                  <a:lnTo>
                    <a:pt x="19" y="161"/>
                  </a:lnTo>
                  <a:lnTo>
                    <a:pt x="10" y="85"/>
                  </a:lnTo>
                  <a:lnTo>
                    <a:pt x="10" y="81"/>
                  </a:lnTo>
                  <a:lnTo>
                    <a:pt x="7" y="69"/>
                  </a:lnTo>
                  <a:lnTo>
                    <a:pt x="0" y="34"/>
                  </a:lnTo>
                  <a:lnTo>
                    <a:pt x="0" y="31"/>
                  </a:lnTo>
                  <a:lnTo>
                    <a:pt x="19" y="29"/>
                  </a:lnTo>
                  <a:lnTo>
                    <a:pt x="47" y="24"/>
                  </a:lnTo>
                  <a:lnTo>
                    <a:pt x="57" y="22"/>
                  </a:lnTo>
                  <a:lnTo>
                    <a:pt x="66" y="22"/>
                  </a:lnTo>
                  <a:lnTo>
                    <a:pt x="76" y="17"/>
                  </a:lnTo>
                  <a:lnTo>
                    <a:pt x="87" y="17"/>
                  </a:lnTo>
                  <a:lnTo>
                    <a:pt x="90" y="15"/>
                  </a:lnTo>
                  <a:lnTo>
                    <a:pt x="106" y="15"/>
                  </a:lnTo>
                  <a:lnTo>
                    <a:pt x="125" y="8"/>
                  </a:lnTo>
                  <a:lnTo>
                    <a:pt x="139" y="8"/>
                  </a:lnTo>
                  <a:lnTo>
                    <a:pt x="147" y="5"/>
                  </a:lnTo>
                  <a:lnTo>
                    <a:pt x="163" y="5"/>
                  </a:lnTo>
                  <a:lnTo>
                    <a:pt x="170" y="0"/>
                  </a:lnTo>
                  <a:lnTo>
                    <a:pt x="180" y="0"/>
                  </a:lnTo>
                  <a:lnTo>
                    <a:pt x="180" y="5"/>
                  </a:lnTo>
                  <a:lnTo>
                    <a:pt x="184" y="31"/>
                  </a:lnTo>
                  <a:lnTo>
                    <a:pt x="187" y="41"/>
                  </a:lnTo>
                  <a:lnTo>
                    <a:pt x="187" y="48"/>
                  </a:lnTo>
                  <a:lnTo>
                    <a:pt x="189" y="64"/>
                  </a:lnTo>
                  <a:lnTo>
                    <a:pt x="194" y="71"/>
                  </a:lnTo>
                  <a:lnTo>
                    <a:pt x="210" y="187"/>
                  </a:lnTo>
                  <a:lnTo>
                    <a:pt x="217" y="225"/>
                  </a:lnTo>
                  <a:lnTo>
                    <a:pt x="220" y="234"/>
                  </a:lnTo>
                  <a:lnTo>
                    <a:pt x="217" y="239"/>
                  </a:lnTo>
                  <a:lnTo>
                    <a:pt x="217" y="241"/>
                  </a:lnTo>
                  <a:lnTo>
                    <a:pt x="220" y="246"/>
                  </a:lnTo>
                  <a:lnTo>
                    <a:pt x="227" y="256"/>
                  </a:lnTo>
                  <a:lnTo>
                    <a:pt x="224" y="263"/>
                  </a:lnTo>
                  <a:lnTo>
                    <a:pt x="220" y="263"/>
                  </a:lnTo>
                  <a:lnTo>
                    <a:pt x="213" y="265"/>
                  </a:lnTo>
                  <a:lnTo>
                    <a:pt x="210" y="267"/>
                  </a:lnTo>
                  <a:lnTo>
                    <a:pt x="206" y="272"/>
                  </a:lnTo>
                  <a:lnTo>
                    <a:pt x="203" y="274"/>
                  </a:lnTo>
                  <a:lnTo>
                    <a:pt x="201" y="274"/>
                  </a:lnTo>
                  <a:lnTo>
                    <a:pt x="194" y="272"/>
                  </a:lnTo>
                  <a:lnTo>
                    <a:pt x="184" y="274"/>
                  </a:lnTo>
                  <a:lnTo>
                    <a:pt x="184" y="282"/>
                  </a:lnTo>
                  <a:lnTo>
                    <a:pt x="187" y="291"/>
                  </a:lnTo>
                  <a:lnTo>
                    <a:pt x="180" y="298"/>
                  </a:lnTo>
                  <a:lnTo>
                    <a:pt x="177" y="303"/>
                  </a:lnTo>
                  <a:lnTo>
                    <a:pt x="173" y="305"/>
                  </a:lnTo>
                  <a:lnTo>
                    <a:pt x="173" y="315"/>
                  </a:lnTo>
                  <a:lnTo>
                    <a:pt x="170" y="319"/>
                  </a:lnTo>
                  <a:lnTo>
                    <a:pt x="163" y="319"/>
                  </a:lnTo>
                  <a:lnTo>
                    <a:pt x="161" y="329"/>
                  </a:lnTo>
                  <a:lnTo>
                    <a:pt x="161" y="343"/>
                  </a:lnTo>
                  <a:lnTo>
                    <a:pt x="156" y="345"/>
                  </a:lnTo>
                  <a:lnTo>
                    <a:pt x="154" y="348"/>
                  </a:lnTo>
                  <a:lnTo>
                    <a:pt x="139" y="345"/>
                  </a:lnTo>
                  <a:lnTo>
                    <a:pt x="137" y="345"/>
                  </a:lnTo>
                  <a:lnTo>
                    <a:pt x="132" y="343"/>
                  </a:lnTo>
                  <a:lnTo>
                    <a:pt x="132" y="338"/>
                  </a:lnTo>
                  <a:lnTo>
                    <a:pt x="125" y="336"/>
                  </a:lnTo>
                  <a:lnTo>
                    <a:pt x="125" y="343"/>
                  </a:lnTo>
                  <a:lnTo>
                    <a:pt x="123" y="345"/>
                  </a:lnTo>
                  <a:lnTo>
                    <a:pt x="121" y="348"/>
                  </a:lnTo>
                  <a:lnTo>
                    <a:pt x="116" y="352"/>
                  </a:lnTo>
                  <a:lnTo>
                    <a:pt x="121" y="355"/>
                  </a:lnTo>
                  <a:lnTo>
                    <a:pt x="121" y="360"/>
                  </a:lnTo>
                  <a:lnTo>
                    <a:pt x="113" y="364"/>
                  </a:lnTo>
                  <a:lnTo>
                    <a:pt x="113" y="369"/>
                  </a:lnTo>
                  <a:lnTo>
                    <a:pt x="104" y="362"/>
                  </a:lnTo>
                  <a:lnTo>
                    <a:pt x="99" y="360"/>
                  </a:lnTo>
                  <a:lnTo>
                    <a:pt x="97" y="360"/>
                  </a:lnTo>
                  <a:lnTo>
                    <a:pt x="87" y="364"/>
                  </a:lnTo>
                  <a:lnTo>
                    <a:pt x="83" y="364"/>
                  </a:lnTo>
                  <a:lnTo>
                    <a:pt x="83" y="376"/>
                  </a:lnTo>
                  <a:lnTo>
                    <a:pt x="80" y="378"/>
                  </a:lnTo>
                  <a:lnTo>
                    <a:pt x="76" y="376"/>
                  </a:lnTo>
                  <a:lnTo>
                    <a:pt x="73" y="376"/>
                  </a:lnTo>
                  <a:lnTo>
                    <a:pt x="57" y="369"/>
                  </a:lnTo>
                  <a:lnTo>
                    <a:pt x="52" y="369"/>
                  </a:lnTo>
                  <a:lnTo>
                    <a:pt x="50" y="371"/>
                  </a:lnTo>
                  <a:lnTo>
                    <a:pt x="47" y="378"/>
                  </a:lnTo>
                  <a:lnTo>
                    <a:pt x="40" y="378"/>
                  </a:lnTo>
                  <a:lnTo>
                    <a:pt x="33" y="376"/>
                  </a:lnTo>
                  <a:lnTo>
                    <a:pt x="26" y="376"/>
                  </a:lnTo>
                  <a:lnTo>
                    <a:pt x="24" y="383"/>
                  </a:lnTo>
                  <a:lnTo>
                    <a:pt x="24" y="388"/>
                  </a:lnTo>
                  <a:lnTo>
                    <a:pt x="19" y="386"/>
                  </a:lnTo>
                  <a:lnTo>
                    <a:pt x="12" y="386"/>
                  </a:lnTo>
                  <a:lnTo>
                    <a:pt x="10" y="378"/>
                  </a:lnTo>
                  <a:lnTo>
                    <a:pt x="12" y="378"/>
                  </a:lnTo>
                  <a:lnTo>
                    <a:pt x="12" y="364"/>
                  </a:lnTo>
                  <a:lnTo>
                    <a:pt x="17" y="362"/>
                  </a:lnTo>
                  <a:lnTo>
                    <a:pt x="12" y="362"/>
                  </a:lnTo>
                  <a:lnTo>
                    <a:pt x="12" y="36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8" name="Freeform 182">
              <a:extLst>
                <a:ext uri="{FF2B5EF4-FFF2-40B4-BE49-F238E27FC236}">
                  <a16:creationId xmlns:a16="http://schemas.microsoft.com/office/drawing/2014/main" id="{090A84B3-E864-4776-91F7-C6B99DBF5D07}"/>
                </a:ext>
              </a:extLst>
            </p:cNvPr>
            <p:cNvSpPr>
              <a:spLocks/>
            </p:cNvSpPr>
            <p:nvPr/>
          </p:nvSpPr>
          <p:spPr bwMode="gray">
            <a:xfrm rot="47099">
              <a:off x="2220671" y="3143115"/>
              <a:ext cx="45421" cy="99377"/>
            </a:xfrm>
            <a:custGeom>
              <a:avLst/>
              <a:gdLst>
                <a:gd name="T0" fmla="*/ 76 w 97"/>
                <a:gd name="T1" fmla="*/ 40 h 214"/>
                <a:gd name="T2" fmla="*/ 69 w 97"/>
                <a:gd name="T3" fmla="*/ 47 h 214"/>
                <a:gd name="T4" fmla="*/ 69 w 97"/>
                <a:gd name="T5" fmla="*/ 44 h 214"/>
                <a:gd name="T6" fmla="*/ 66 w 97"/>
                <a:gd name="T7" fmla="*/ 66 h 214"/>
                <a:gd name="T8" fmla="*/ 80 w 97"/>
                <a:gd name="T9" fmla="*/ 63 h 214"/>
                <a:gd name="T10" fmla="*/ 90 w 97"/>
                <a:gd name="T11" fmla="*/ 66 h 214"/>
                <a:gd name="T12" fmla="*/ 92 w 97"/>
                <a:gd name="T13" fmla="*/ 101 h 214"/>
                <a:gd name="T14" fmla="*/ 92 w 97"/>
                <a:gd name="T15" fmla="*/ 113 h 214"/>
                <a:gd name="T16" fmla="*/ 90 w 97"/>
                <a:gd name="T17" fmla="*/ 96 h 214"/>
                <a:gd name="T18" fmla="*/ 92 w 97"/>
                <a:gd name="T19" fmla="*/ 127 h 214"/>
                <a:gd name="T20" fmla="*/ 85 w 97"/>
                <a:gd name="T21" fmla="*/ 146 h 214"/>
                <a:gd name="T22" fmla="*/ 85 w 97"/>
                <a:gd name="T23" fmla="*/ 153 h 214"/>
                <a:gd name="T24" fmla="*/ 83 w 97"/>
                <a:gd name="T25" fmla="*/ 158 h 214"/>
                <a:gd name="T26" fmla="*/ 85 w 97"/>
                <a:gd name="T27" fmla="*/ 167 h 214"/>
                <a:gd name="T28" fmla="*/ 76 w 97"/>
                <a:gd name="T29" fmla="*/ 170 h 214"/>
                <a:gd name="T30" fmla="*/ 76 w 97"/>
                <a:gd name="T31" fmla="*/ 177 h 214"/>
                <a:gd name="T32" fmla="*/ 73 w 97"/>
                <a:gd name="T33" fmla="*/ 193 h 214"/>
                <a:gd name="T34" fmla="*/ 69 w 97"/>
                <a:gd name="T35" fmla="*/ 207 h 214"/>
                <a:gd name="T36" fmla="*/ 66 w 97"/>
                <a:gd name="T37" fmla="*/ 210 h 214"/>
                <a:gd name="T38" fmla="*/ 59 w 97"/>
                <a:gd name="T39" fmla="*/ 214 h 214"/>
                <a:gd name="T40" fmla="*/ 64 w 97"/>
                <a:gd name="T41" fmla="*/ 198 h 214"/>
                <a:gd name="T42" fmla="*/ 59 w 97"/>
                <a:gd name="T43" fmla="*/ 191 h 214"/>
                <a:gd name="T44" fmla="*/ 45 w 97"/>
                <a:gd name="T45" fmla="*/ 193 h 214"/>
                <a:gd name="T46" fmla="*/ 28 w 97"/>
                <a:gd name="T47" fmla="*/ 186 h 214"/>
                <a:gd name="T48" fmla="*/ 19 w 97"/>
                <a:gd name="T49" fmla="*/ 184 h 214"/>
                <a:gd name="T50" fmla="*/ 10 w 97"/>
                <a:gd name="T51" fmla="*/ 177 h 214"/>
                <a:gd name="T52" fmla="*/ 10 w 97"/>
                <a:gd name="T53" fmla="*/ 153 h 214"/>
                <a:gd name="T54" fmla="*/ 12 w 97"/>
                <a:gd name="T55" fmla="*/ 144 h 214"/>
                <a:gd name="T56" fmla="*/ 24 w 97"/>
                <a:gd name="T57" fmla="*/ 137 h 214"/>
                <a:gd name="T58" fmla="*/ 26 w 97"/>
                <a:gd name="T59" fmla="*/ 134 h 214"/>
                <a:gd name="T60" fmla="*/ 28 w 97"/>
                <a:gd name="T61" fmla="*/ 120 h 214"/>
                <a:gd name="T62" fmla="*/ 45 w 97"/>
                <a:gd name="T63" fmla="*/ 103 h 214"/>
                <a:gd name="T64" fmla="*/ 33 w 97"/>
                <a:gd name="T65" fmla="*/ 94 h 214"/>
                <a:gd name="T66" fmla="*/ 12 w 97"/>
                <a:gd name="T67" fmla="*/ 80 h 214"/>
                <a:gd name="T68" fmla="*/ 3 w 97"/>
                <a:gd name="T69" fmla="*/ 70 h 214"/>
                <a:gd name="T70" fmla="*/ 0 w 97"/>
                <a:gd name="T71" fmla="*/ 61 h 214"/>
                <a:gd name="T72" fmla="*/ 7 w 97"/>
                <a:gd name="T73" fmla="*/ 49 h 214"/>
                <a:gd name="T74" fmla="*/ 3 w 97"/>
                <a:gd name="T75" fmla="*/ 44 h 214"/>
                <a:gd name="T76" fmla="*/ 0 w 97"/>
                <a:gd name="T77" fmla="*/ 37 h 214"/>
                <a:gd name="T78" fmla="*/ 7 w 97"/>
                <a:gd name="T79" fmla="*/ 25 h 214"/>
                <a:gd name="T80" fmla="*/ 10 w 97"/>
                <a:gd name="T81" fmla="*/ 4 h 214"/>
                <a:gd name="T82" fmla="*/ 26 w 97"/>
                <a:gd name="T83" fmla="*/ 0 h 214"/>
                <a:gd name="T84" fmla="*/ 43 w 97"/>
                <a:gd name="T85" fmla="*/ 7 h 214"/>
                <a:gd name="T86" fmla="*/ 66 w 97"/>
                <a:gd name="T87" fmla="*/ 9 h 214"/>
                <a:gd name="T88" fmla="*/ 76 w 97"/>
                <a:gd name="T89" fmla="*/ 14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7"/>
                <a:gd name="T136" fmla="*/ 0 h 214"/>
                <a:gd name="T137" fmla="*/ 97 w 97"/>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7" h="214">
                  <a:moveTo>
                    <a:pt x="76" y="14"/>
                  </a:moveTo>
                  <a:lnTo>
                    <a:pt x="76" y="40"/>
                  </a:lnTo>
                  <a:lnTo>
                    <a:pt x="73" y="44"/>
                  </a:lnTo>
                  <a:lnTo>
                    <a:pt x="69" y="47"/>
                  </a:lnTo>
                  <a:lnTo>
                    <a:pt x="69" y="40"/>
                  </a:lnTo>
                  <a:lnTo>
                    <a:pt x="69" y="44"/>
                  </a:lnTo>
                  <a:lnTo>
                    <a:pt x="66" y="49"/>
                  </a:lnTo>
                  <a:lnTo>
                    <a:pt x="66" y="66"/>
                  </a:lnTo>
                  <a:lnTo>
                    <a:pt x="73" y="66"/>
                  </a:lnTo>
                  <a:lnTo>
                    <a:pt x="80" y="63"/>
                  </a:lnTo>
                  <a:lnTo>
                    <a:pt x="83" y="61"/>
                  </a:lnTo>
                  <a:lnTo>
                    <a:pt x="90" y="66"/>
                  </a:lnTo>
                  <a:lnTo>
                    <a:pt x="90" y="73"/>
                  </a:lnTo>
                  <a:lnTo>
                    <a:pt x="92" y="101"/>
                  </a:lnTo>
                  <a:lnTo>
                    <a:pt x="97" y="122"/>
                  </a:lnTo>
                  <a:lnTo>
                    <a:pt x="92" y="113"/>
                  </a:lnTo>
                  <a:lnTo>
                    <a:pt x="92" y="96"/>
                  </a:lnTo>
                  <a:lnTo>
                    <a:pt x="90" y="96"/>
                  </a:lnTo>
                  <a:lnTo>
                    <a:pt x="90" y="127"/>
                  </a:lnTo>
                  <a:lnTo>
                    <a:pt x="92" y="127"/>
                  </a:lnTo>
                  <a:lnTo>
                    <a:pt x="92" y="137"/>
                  </a:lnTo>
                  <a:lnTo>
                    <a:pt x="85" y="146"/>
                  </a:lnTo>
                  <a:lnTo>
                    <a:pt x="83" y="151"/>
                  </a:lnTo>
                  <a:lnTo>
                    <a:pt x="85" y="153"/>
                  </a:lnTo>
                  <a:lnTo>
                    <a:pt x="85" y="158"/>
                  </a:lnTo>
                  <a:lnTo>
                    <a:pt x="83" y="158"/>
                  </a:lnTo>
                  <a:lnTo>
                    <a:pt x="83" y="163"/>
                  </a:lnTo>
                  <a:lnTo>
                    <a:pt x="85" y="167"/>
                  </a:lnTo>
                  <a:lnTo>
                    <a:pt x="80" y="170"/>
                  </a:lnTo>
                  <a:lnTo>
                    <a:pt x="76" y="170"/>
                  </a:lnTo>
                  <a:lnTo>
                    <a:pt x="73" y="177"/>
                  </a:lnTo>
                  <a:lnTo>
                    <a:pt x="76" y="177"/>
                  </a:lnTo>
                  <a:lnTo>
                    <a:pt x="76" y="184"/>
                  </a:lnTo>
                  <a:lnTo>
                    <a:pt x="73" y="193"/>
                  </a:lnTo>
                  <a:lnTo>
                    <a:pt x="73" y="200"/>
                  </a:lnTo>
                  <a:lnTo>
                    <a:pt x="69" y="207"/>
                  </a:lnTo>
                  <a:lnTo>
                    <a:pt x="69" y="210"/>
                  </a:lnTo>
                  <a:lnTo>
                    <a:pt x="66" y="210"/>
                  </a:lnTo>
                  <a:lnTo>
                    <a:pt x="66" y="214"/>
                  </a:lnTo>
                  <a:lnTo>
                    <a:pt x="59" y="214"/>
                  </a:lnTo>
                  <a:lnTo>
                    <a:pt x="59" y="200"/>
                  </a:lnTo>
                  <a:lnTo>
                    <a:pt x="64" y="198"/>
                  </a:lnTo>
                  <a:lnTo>
                    <a:pt x="59" y="193"/>
                  </a:lnTo>
                  <a:lnTo>
                    <a:pt x="59" y="191"/>
                  </a:lnTo>
                  <a:lnTo>
                    <a:pt x="50" y="191"/>
                  </a:lnTo>
                  <a:lnTo>
                    <a:pt x="45" y="193"/>
                  </a:lnTo>
                  <a:lnTo>
                    <a:pt x="40" y="191"/>
                  </a:lnTo>
                  <a:lnTo>
                    <a:pt x="28" y="186"/>
                  </a:lnTo>
                  <a:lnTo>
                    <a:pt x="24" y="186"/>
                  </a:lnTo>
                  <a:lnTo>
                    <a:pt x="19" y="184"/>
                  </a:lnTo>
                  <a:lnTo>
                    <a:pt x="10" y="179"/>
                  </a:lnTo>
                  <a:lnTo>
                    <a:pt x="10" y="177"/>
                  </a:lnTo>
                  <a:lnTo>
                    <a:pt x="7" y="167"/>
                  </a:lnTo>
                  <a:lnTo>
                    <a:pt x="10" y="153"/>
                  </a:lnTo>
                  <a:lnTo>
                    <a:pt x="10" y="146"/>
                  </a:lnTo>
                  <a:lnTo>
                    <a:pt x="12" y="144"/>
                  </a:lnTo>
                  <a:lnTo>
                    <a:pt x="17" y="141"/>
                  </a:lnTo>
                  <a:lnTo>
                    <a:pt x="24" y="137"/>
                  </a:lnTo>
                  <a:lnTo>
                    <a:pt x="26" y="137"/>
                  </a:lnTo>
                  <a:lnTo>
                    <a:pt x="26" y="134"/>
                  </a:lnTo>
                  <a:lnTo>
                    <a:pt x="28" y="127"/>
                  </a:lnTo>
                  <a:lnTo>
                    <a:pt x="28" y="120"/>
                  </a:lnTo>
                  <a:lnTo>
                    <a:pt x="33" y="118"/>
                  </a:lnTo>
                  <a:lnTo>
                    <a:pt x="45" y="103"/>
                  </a:lnTo>
                  <a:lnTo>
                    <a:pt x="40" y="101"/>
                  </a:lnTo>
                  <a:lnTo>
                    <a:pt x="33" y="94"/>
                  </a:lnTo>
                  <a:lnTo>
                    <a:pt x="19" y="87"/>
                  </a:lnTo>
                  <a:lnTo>
                    <a:pt x="12" y="80"/>
                  </a:lnTo>
                  <a:lnTo>
                    <a:pt x="7" y="77"/>
                  </a:lnTo>
                  <a:lnTo>
                    <a:pt x="3" y="70"/>
                  </a:lnTo>
                  <a:lnTo>
                    <a:pt x="0" y="66"/>
                  </a:lnTo>
                  <a:lnTo>
                    <a:pt x="0" y="61"/>
                  </a:lnTo>
                  <a:lnTo>
                    <a:pt x="3" y="56"/>
                  </a:lnTo>
                  <a:lnTo>
                    <a:pt x="7" y="49"/>
                  </a:lnTo>
                  <a:lnTo>
                    <a:pt x="7" y="47"/>
                  </a:lnTo>
                  <a:lnTo>
                    <a:pt x="3" y="44"/>
                  </a:lnTo>
                  <a:lnTo>
                    <a:pt x="0" y="44"/>
                  </a:lnTo>
                  <a:lnTo>
                    <a:pt x="0" y="37"/>
                  </a:lnTo>
                  <a:lnTo>
                    <a:pt x="3" y="33"/>
                  </a:lnTo>
                  <a:lnTo>
                    <a:pt x="7" y="25"/>
                  </a:lnTo>
                  <a:lnTo>
                    <a:pt x="10" y="16"/>
                  </a:lnTo>
                  <a:lnTo>
                    <a:pt x="10" y="4"/>
                  </a:lnTo>
                  <a:lnTo>
                    <a:pt x="12" y="0"/>
                  </a:lnTo>
                  <a:lnTo>
                    <a:pt x="26" y="0"/>
                  </a:lnTo>
                  <a:lnTo>
                    <a:pt x="28" y="4"/>
                  </a:lnTo>
                  <a:lnTo>
                    <a:pt x="43" y="7"/>
                  </a:lnTo>
                  <a:lnTo>
                    <a:pt x="45" y="7"/>
                  </a:lnTo>
                  <a:lnTo>
                    <a:pt x="66" y="9"/>
                  </a:lnTo>
                  <a:lnTo>
                    <a:pt x="73" y="14"/>
                  </a:lnTo>
                  <a:lnTo>
                    <a:pt x="76"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099" name="Freeform 183">
              <a:extLst>
                <a:ext uri="{FF2B5EF4-FFF2-40B4-BE49-F238E27FC236}">
                  <a16:creationId xmlns:a16="http://schemas.microsoft.com/office/drawing/2014/main" id="{A3B3BF9B-9CD6-41DA-9FCA-35CAF226EAF1}"/>
                </a:ext>
              </a:extLst>
            </p:cNvPr>
            <p:cNvSpPr>
              <a:spLocks/>
            </p:cNvSpPr>
            <p:nvPr/>
          </p:nvSpPr>
          <p:spPr bwMode="gray">
            <a:xfrm rot="47099">
              <a:off x="2360912" y="3095559"/>
              <a:ext cx="7125" cy="5789"/>
            </a:xfrm>
            <a:custGeom>
              <a:avLst/>
              <a:gdLst>
                <a:gd name="T0" fmla="*/ 9 w 16"/>
                <a:gd name="T1" fmla="*/ 0 h 14"/>
                <a:gd name="T2" fmla="*/ 12 w 16"/>
                <a:gd name="T3" fmla="*/ 3 h 14"/>
                <a:gd name="T4" fmla="*/ 16 w 16"/>
                <a:gd name="T5" fmla="*/ 7 h 14"/>
                <a:gd name="T6" fmla="*/ 16 w 16"/>
                <a:gd name="T7" fmla="*/ 10 h 14"/>
                <a:gd name="T8" fmla="*/ 12 w 16"/>
                <a:gd name="T9" fmla="*/ 10 h 14"/>
                <a:gd name="T10" fmla="*/ 9 w 16"/>
                <a:gd name="T11" fmla="*/ 14 h 14"/>
                <a:gd name="T12" fmla="*/ 0 w 16"/>
                <a:gd name="T13" fmla="*/ 14 h 14"/>
                <a:gd name="T14" fmla="*/ 0 w 16"/>
                <a:gd name="T15" fmla="*/ 10 h 14"/>
                <a:gd name="T16" fmla="*/ 2 w 16"/>
                <a:gd name="T17" fmla="*/ 10 h 14"/>
                <a:gd name="T18" fmla="*/ 5 w 16"/>
                <a:gd name="T19" fmla="*/ 7 h 14"/>
                <a:gd name="T20" fmla="*/ 9 w 16"/>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4"/>
                <a:gd name="T35" fmla="*/ 16 w 1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4">
                  <a:moveTo>
                    <a:pt x="9" y="0"/>
                  </a:moveTo>
                  <a:lnTo>
                    <a:pt x="12" y="3"/>
                  </a:lnTo>
                  <a:lnTo>
                    <a:pt x="16" y="7"/>
                  </a:lnTo>
                  <a:lnTo>
                    <a:pt x="16" y="10"/>
                  </a:lnTo>
                  <a:lnTo>
                    <a:pt x="12" y="10"/>
                  </a:lnTo>
                  <a:lnTo>
                    <a:pt x="9" y="14"/>
                  </a:lnTo>
                  <a:lnTo>
                    <a:pt x="0" y="14"/>
                  </a:lnTo>
                  <a:lnTo>
                    <a:pt x="0" y="10"/>
                  </a:lnTo>
                  <a:lnTo>
                    <a:pt x="2" y="10"/>
                  </a:lnTo>
                  <a:lnTo>
                    <a:pt x="5" y="7"/>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0" name="Freeform 184">
              <a:extLst>
                <a:ext uri="{FF2B5EF4-FFF2-40B4-BE49-F238E27FC236}">
                  <a16:creationId xmlns:a16="http://schemas.microsoft.com/office/drawing/2014/main" id="{0E127D4E-83A9-46F9-B398-B9E5CD9A06A7}"/>
                </a:ext>
              </a:extLst>
            </p:cNvPr>
            <p:cNvSpPr>
              <a:spLocks/>
            </p:cNvSpPr>
            <p:nvPr/>
          </p:nvSpPr>
          <p:spPr bwMode="gray">
            <a:xfrm rot="47099">
              <a:off x="2342170" y="3096280"/>
              <a:ext cx="8906" cy="9649"/>
            </a:xfrm>
            <a:custGeom>
              <a:avLst/>
              <a:gdLst>
                <a:gd name="T0" fmla="*/ 11 w 19"/>
                <a:gd name="T1" fmla="*/ 0 h 21"/>
                <a:gd name="T2" fmla="*/ 16 w 19"/>
                <a:gd name="T3" fmla="*/ 0 h 21"/>
                <a:gd name="T4" fmla="*/ 16 w 19"/>
                <a:gd name="T5" fmla="*/ 4 h 21"/>
                <a:gd name="T6" fmla="*/ 19 w 19"/>
                <a:gd name="T7" fmla="*/ 4 h 21"/>
                <a:gd name="T8" fmla="*/ 19 w 19"/>
                <a:gd name="T9" fmla="*/ 11 h 21"/>
                <a:gd name="T10" fmla="*/ 11 w 19"/>
                <a:gd name="T11" fmla="*/ 11 h 21"/>
                <a:gd name="T12" fmla="*/ 11 w 19"/>
                <a:gd name="T13" fmla="*/ 14 h 21"/>
                <a:gd name="T14" fmla="*/ 9 w 19"/>
                <a:gd name="T15" fmla="*/ 14 h 21"/>
                <a:gd name="T16" fmla="*/ 4 w 19"/>
                <a:gd name="T17" fmla="*/ 16 h 21"/>
                <a:gd name="T18" fmla="*/ 4 w 19"/>
                <a:gd name="T19" fmla="*/ 21 h 21"/>
                <a:gd name="T20" fmla="*/ 2 w 19"/>
                <a:gd name="T21" fmla="*/ 21 h 21"/>
                <a:gd name="T22" fmla="*/ 2 w 19"/>
                <a:gd name="T23" fmla="*/ 16 h 21"/>
                <a:gd name="T24" fmla="*/ 0 w 19"/>
                <a:gd name="T25" fmla="*/ 16 h 21"/>
                <a:gd name="T26" fmla="*/ 9 w 19"/>
                <a:gd name="T27" fmla="*/ 4 h 21"/>
                <a:gd name="T28" fmla="*/ 11 w 19"/>
                <a:gd name="T29" fmla="*/ 0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1"/>
                <a:gd name="T47" fmla="*/ 19 w 19"/>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1">
                  <a:moveTo>
                    <a:pt x="11" y="0"/>
                  </a:moveTo>
                  <a:lnTo>
                    <a:pt x="16" y="0"/>
                  </a:lnTo>
                  <a:lnTo>
                    <a:pt x="16" y="4"/>
                  </a:lnTo>
                  <a:lnTo>
                    <a:pt x="19" y="4"/>
                  </a:lnTo>
                  <a:lnTo>
                    <a:pt x="19" y="11"/>
                  </a:lnTo>
                  <a:lnTo>
                    <a:pt x="11" y="11"/>
                  </a:lnTo>
                  <a:lnTo>
                    <a:pt x="11" y="14"/>
                  </a:lnTo>
                  <a:lnTo>
                    <a:pt x="9" y="14"/>
                  </a:lnTo>
                  <a:lnTo>
                    <a:pt x="4" y="16"/>
                  </a:lnTo>
                  <a:lnTo>
                    <a:pt x="4" y="21"/>
                  </a:lnTo>
                  <a:lnTo>
                    <a:pt x="2" y="21"/>
                  </a:lnTo>
                  <a:lnTo>
                    <a:pt x="2" y="16"/>
                  </a:lnTo>
                  <a:lnTo>
                    <a:pt x="0" y="16"/>
                  </a:lnTo>
                  <a:lnTo>
                    <a:pt x="9" y="4"/>
                  </a:lnTo>
                  <a:lnTo>
                    <a:pt x="11"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1" name="Freeform 185">
              <a:extLst>
                <a:ext uri="{FF2B5EF4-FFF2-40B4-BE49-F238E27FC236}">
                  <a16:creationId xmlns:a16="http://schemas.microsoft.com/office/drawing/2014/main" id="{80F43B14-ACDE-4DB6-BB68-5D5C501336F3}"/>
                </a:ext>
              </a:extLst>
            </p:cNvPr>
            <p:cNvSpPr>
              <a:spLocks/>
            </p:cNvSpPr>
            <p:nvPr/>
          </p:nvSpPr>
          <p:spPr bwMode="gray">
            <a:xfrm rot="47099">
              <a:off x="2253489" y="3042686"/>
              <a:ext cx="109546" cy="60784"/>
            </a:xfrm>
            <a:custGeom>
              <a:avLst/>
              <a:gdLst>
                <a:gd name="T0" fmla="*/ 161 w 237"/>
                <a:gd name="T1" fmla="*/ 102 h 130"/>
                <a:gd name="T2" fmla="*/ 156 w 237"/>
                <a:gd name="T3" fmla="*/ 111 h 130"/>
                <a:gd name="T4" fmla="*/ 147 w 237"/>
                <a:gd name="T5" fmla="*/ 106 h 130"/>
                <a:gd name="T6" fmla="*/ 140 w 237"/>
                <a:gd name="T7" fmla="*/ 95 h 130"/>
                <a:gd name="T8" fmla="*/ 123 w 237"/>
                <a:gd name="T9" fmla="*/ 95 h 130"/>
                <a:gd name="T10" fmla="*/ 111 w 237"/>
                <a:gd name="T11" fmla="*/ 97 h 130"/>
                <a:gd name="T12" fmla="*/ 88 w 237"/>
                <a:gd name="T13" fmla="*/ 104 h 130"/>
                <a:gd name="T14" fmla="*/ 64 w 237"/>
                <a:gd name="T15" fmla="*/ 111 h 130"/>
                <a:gd name="T16" fmla="*/ 31 w 237"/>
                <a:gd name="T17" fmla="*/ 125 h 130"/>
                <a:gd name="T18" fmla="*/ 7 w 237"/>
                <a:gd name="T19" fmla="*/ 130 h 130"/>
                <a:gd name="T20" fmla="*/ 3 w 237"/>
                <a:gd name="T21" fmla="*/ 121 h 130"/>
                <a:gd name="T22" fmla="*/ 0 w 237"/>
                <a:gd name="T23" fmla="*/ 69 h 130"/>
                <a:gd name="T24" fmla="*/ 14 w 237"/>
                <a:gd name="T25" fmla="*/ 62 h 130"/>
                <a:gd name="T26" fmla="*/ 48 w 237"/>
                <a:gd name="T27" fmla="*/ 50 h 130"/>
                <a:gd name="T28" fmla="*/ 71 w 237"/>
                <a:gd name="T29" fmla="*/ 45 h 130"/>
                <a:gd name="T30" fmla="*/ 123 w 237"/>
                <a:gd name="T31" fmla="*/ 29 h 130"/>
                <a:gd name="T32" fmla="*/ 137 w 237"/>
                <a:gd name="T33" fmla="*/ 5 h 130"/>
                <a:gd name="T34" fmla="*/ 144 w 237"/>
                <a:gd name="T35" fmla="*/ 5 h 130"/>
                <a:gd name="T36" fmla="*/ 147 w 237"/>
                <a:gd name="T37" fmla="*/ 0 h 130"/>
                <a:gd name="T38" fmla="*/ 151 w 237"/>
                <a:gd name="T39" fmla="*/ 14 h 130"/>
                <a:gd name="T40" fmla="*/ 161 w 237"/>
                <a:gd name="T41" fmla="*/ 17 h 130"/>
                <a:gd name="T42" fmla="*/ 163 w 237"/>
                <a:gd name="T43" fmla="*/ 10 h 130"/>
                <a:gd name="T44" fmla="*/ 168 w 237"/>
                <a:gd name="T45" fmla="*/ 21 h 130"/>
                <a:gd name="T46" fmla="*/ 154 w 237"/>
                <a:gd name="T47" fmla="*/ 31 h 130"/>
                <a:gd name="T48" fmla="*/ 147 w 237"/>
                <a:gd name="T49" fmla="*/ 50 h 130"/>
                <a:gd name="T50" fmla="*/ 156 w 237"/>
                <a:gd name="T51" fmla="*/ 57 h 130"/>
                <a:gd name="T52" fmla="*/ 170 w 237"/>
                <a:gd name="T53" fmla="*/ 54 h 130"/>
                <a:gd name="T54" fmla="*/ 180 w 237"/>
                <a:gd name="T55" fmla="*/ 73 h 130"/>
                <a:gd name="T56" fmla="*/ 194 w 237"/>
                <a:gd name="T57" fmla="*/ 80 h 130"/>
                <a:gd name="T58" fmla="*/ 196 w 237"/>
                <a:gd name="T59" fmla="*/ 85 h 130"/>
                <a:gd name="T60" fmla="*/ 213 w 237"/>
                <a:gd name="T61" fmla="*/ 88 h 130"/>
                <a:gd name="T62" fmla="*/ 220 w 237"/>
                <a:gd name="T63" fmla="*/ 80 h 130"/>
                <a:gd name="T64" fmla="*/ 225 w 237"/>
                <a:gd name="T65" fmla="*/ 78 h 130"/>
                <a:gd name="T66" fmla="*/ 227 w 237"/>
                <a:gd name="T67" fmla="*/ 64 h 130"/>
                <a:gd name="T68" fmla="*/ 211 w 237"/>
                <a:gd name="T69" fmla="*/ 57 h 130"/>
                <a:gd name="T70" fmla="*/ 208 w 237"/>
                <a:gd name="T71" fmla="*/ 54 h 130"/>
                <a:gd name="T72" fmla="*/ 220 w 237"/>
                <a:gd name="T73" fmla="*/ 57 h 130"/>
                <a:gd name="T74" fmla="*/ 225 w 237"/>
                <a:gd name="T75" fmla="*/ 62 h 130"/>
                <a:gd name="T76" fmla="*/ 232 w 237"/>
                <a:gd name="T77" fmla="*/ 69 h 130"/>
                <a:gd name="T78" fmla="*/ 237 w 237"/>
                <a:gd name="T79" fmla="*/ 85 h 130"/>
                <a:gd name="T80" fmla="*/ 227 w 237"/>
                <a:gd name="T81" fmla="*/ 88 h 130"/>
                <a:gd name="T82" fmla="*/ 211 w 237"/>
                <a:gd name="T83" fmla="*/ 97 h 130"/>
                <a:gd name="T84" fmla="*/ 208 w 237"/>
                <a:gd name="T85" fmla="*/ 104 h 130"/>
                <a:gd name="T86" fmla="*/ 194 w 237"/>
                <a:gd name="T87" fmla="*/ 106 h 130"/>
                <a:gd name="T88" fmla="*/ 187 w 237"/>
                <a:gd name="T89" fmla="*/ 97 h 130"/>
                <a:gd name="T90" fmla="*/ 180 w 237"/>
                <a:gd name="T91" fmla="*/ 118 h 130"/>
                <a:gd name="T92" fmla="*/ 168 w 237"/>
                <a:gd name="T93" fmla="*/ 125 h 130"/>
                <a:gd name="T94" fmla="*/ 163 w 237"/>
                <a:gd name="T95" fmla="*/ 114 h 130"/>
                <a:gd name="T96" fmla="*/ 161 w 237"/>
                <a:gd name="T97" fmla="*/ 111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7"/>
                <a:gd name="T148" fmla="*/ 0 h 130"/>
                <a:gd name="T149" fmla="*/ 237 w 237"/>
                <a:gd name="T150" fmla="*/ 130 h 1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7" h="130">
                  <a:moveTo>
                    <a:pt x="161" y="111"/>
                  </a:moveTo>
                  <a:lnTo>
                    <a:pt x="161" y="102"/>
                  </a:lnTo>
                  <a:lnTo>
                    <a:pt x="156" y="106"/>
                  </a:lnTo>
                  <a:lnTo>
                    <a:pt x="156" y="111"/>
                  </a:lnTo>
                  <a:lnTo>
                    <a:pt x="154" y="111"/>
                  </a:lnTo>
                  <a:lnTo>
                    <a:pt x="147" y="106"/>
                  </a:lnTo>
                  <a:lnTo>
                    <a:pt x="140" y="97"/>
                  </a:lnTo>
                  <a:lnTo>
                    <a:pt x="140" y="95"/>
                  </a:lnTo>
                  <a:lnTo>
                    <a:pt x="137" y="88"/>
                  </a:lnTo>
                  <a:lnTo>
                    <a:pt x="123" y="95"/>
                  </a:lnTo>
                  <a:lnTo>
                    <a:pt x="121" y="95"/>
                  </a:lnTo>
                  <a:lnTo>
                    <a:pt x="111" y="97"/>
                  </a:lnTo>
                  <a:lnTo>
                    <a:pt x="97" y="102"/>
                  </a:lnTo>
                  <a:lnTo>
                    <a:pt x="88" y="104"/>
                  </a:lnTo>
                  <a:lnTo>
                    <a:pt x="66" y="111"/>
                  </a:lnTo>
                  <a:lnTo>
                    <a:pt x="64" y="111"/>
                  </a:lnTo>
                  <a:lnTo>
                    <a:pt x="43" y="118"/>
                  </a:lnTo>
                  <a:lnTo>
                    <a:pt x="31" y="125"/>
                  </a:lnTo>
                  <a:lnTo>
                    <a:pt x="24" y="125"/>
                  </a:lnTo>
                  <a:lnTo>
                    <a:pt x="7" y="130"/>
                  </a:lnTo>
                  <a:lnTo>
                    <a:pt x="3" y="130"/>
                  </a:lnTo>
                  <a:lnTo>
                    <a:pt x="3" y="121"/>
                  </a:lnTo>
                  <a:lnTo>
                    <a:pt x="0" y="78"/>
                  </a:lnTo>
                  <a:lnTo>
                    <a:pt x="0" y="69"/>
                  </a:lnTo>
                  <a:lnTo>
                    <a:pt x="3" y="64"/>
                  </a:lnTo>
                  <a:lnTo>
                    <a:pt x="14" y="62"/>
                  </a:lnTo>
                  <a:lnTo>
                    <a:pt x="36" y="54"/>
                  </a:lnTo>
                  <a:lnTo>
                    <a:pt x="48" y="50"/>
                  </a:lnTo>
                  <a:lnTo>
                    <a:pt x="50" y="50"/>
                  </a:lnTo>
                  <a:lnTo>
                    <a:pt x="71" y="45"/>
                  </a:lnTo>
                  <a:lnTo>
                    <a:pt x="90" y="38"/>
                  </a:lnTo>
                  <a:lnTo>
                    <a:pt x="123" y="29"/>
                  </a:lnTo>
                  <a:lnTo>
                    <a:pt x="128" y="14"/>
                  </a:lnTo>
                  <a:lnTo>
                    <a:pt x="137" y="5"/>
                  </a:lnTo>
                  <a:lnTo>
                    <a:pt x="140" y="0"/>
                  </a:lnTo>
                  <a:lnTo>
                    <a:pt x="144" y="5"/>
                  </a:lnTo>
                  <a:lnTo>
                    <a:pt x="144" y="0"/>
                  </a:lnTo>
                  <a:lnTo>
                    <a:pt x="147" y="0"/>
                  </a:lnTo>
                  <a:lnTo>
                    <a:pt x="151" y="10"/>
                  </a:lnTo>
                  <a:lnTo>
                    <a:pt x="151" y="14"/>
                  </a:lnTo>
                  <a:lnTo>
                    <a:pt x="156" y="17"/>
                  </a:lnTo>
                  <a:lnTo>
                    <a:pt x="161" y="17"/>
                  </a:lnTo>
                  <a:lnTo>
                    <a:pt x="161" y="14"/>
                  </a:lnTo>
                  <a:lnTo>
                    <a:pt x="163" y="10"/>
                  </a:lnTo>
                  <a:lnTo>
                    <a:pt x="168" y="14"/>
                  </a:lnTo>
                  <a:lnTo>
                    <a:pt x="168" y="21"/>
                  </a:lnTo>
                  <a:lnTo>
                    <a:pt x="156" y="29"/>
                  </a:lnTo>
                  <a:lnTo>
                    <a:pt x="154" y="31"/>
                  </a:lnTo>
                  <a:lnTo>
                    <a:pt x="154" y="33"/>
                  </a:lnTo>
                  <a:lnTo>
                    <a:pt x="147" y="50"/>
                  </a:lnTo>
                  <a:lnTo>
                    <a:pt x="151" y="54"/>
                  </a:lnTo>
                  <a:lnTo>
                    <a:pt x="156" y="57"/>
                  </a:lnTo>
                  <a:lnTo>
                    <a:pt x="161" y="54"/>
                  </a:lnTo>
                  <a:lnTo>
                    <a:pt x="170" y="54"/>
                  </a:lnTo>
                  <a:lnTo>
                    <a:pt x="180" y="69"/>
                  </a:lnTo>
                  <a:lnTo>
                    <a:pt x="180" y="73"/>
                  </a:lnTo>
                  <a:lnTo>
                    <a:pt x="192" y="73"/>
                  </a:lnTo>
                  <a:lnTo>
                    <a:pt x="194" y="80"/>
                  </a:lnTo>
                  <a:lnTo>
                    <a:pt x="194" y="85"/>
                  </a:lnTo>
                  <a:lnTo>
                    <a:pt x="196" y="85"/>
                  </a:lnTo>
                  <a:lnTo>
                    <a:pt x="203" y="88"/>
                  </a:lnTo>
                  <a:lnTo>
                    <a:pt x="213" y="88"/>
                  </a:lnTo>
                  <a:lnTo>
                    <a:pt x="218" y="85"/>
                  </a:lnTo>
                  <a:lnTo>
                    <a:pt x="220" y="80"/>
                  </a:lnTo>
                  <a:lnTo>
                    <a:pt x="225" y="80"/>
                  </a:lnTo>
                  <a:lnTo>
                    <a:pt x="225" y="78"/>
                  </a:lnTo>
                  <a:lnTo>
                    <a:pt x="227" y="73"/>
                  </a:lnTo>
                  <a:lnTo>
                    <a:pt x="227" y="64"/>
                  </a:lnTo>
                  <a:lnTo>
                    <a:pt x="213" y="54"/>
                  </a:lnTo>
                  <a:lnTo>
                    <a:pt x="211" y="57"/>
                  </a:lnTo>
                  <a:lnTo>
                    <a:pt x="203" y="57"/>
                  </a:lnTo>
                  <a:lnTo>
                    <a:pt x="208" y="54"/>
                  </a:lnTo>
                  <a:lnTo>
                    <a:pt x="220" y="54"/>
                  </a:lnTo>
                  <a:lnTo>
                    <a:pt x="220" y="57"/>
                  </a:lnTo>
                  <a:lnTo>
                    <a:pt x="225" y="57"/>
                  </a:lnTo>
                  <a:lnTo>
                    <a:pt x="225" y="62"/>
                  </a:lnTo>
                  <a:lnTo>
                    <a:pt x="227" y="62"/>
                  </a:lnTo>
                  <a:lnTo>
                    <a:pt x="232" y="69"/>
                  </a:lnTo>
                  <a:lnTo>
                    <a:pt x="234" y="78"/>
                  </a:lnTo>
                  <a:lnTo>
                    <a:pt x="237" y="85"/>
                  </a:lnTo>
                  <a:lnTo>
                    <a:pt x="232" y="85"/>
                  </a:lnTo>
                  <a:lnTo>
                    <a:pt x="227" y="88"/>
                  </a:lnTo>
                  <a:lnTo>
                    <a:pt x="220" y="90"/>
                  </a:lnTo>
                  <a:lnTo>
                    <a:pt x="211" y="97"/>
                  </a:lnTo>
                  <a:lnTo>
                    <a:pt x="208" y="97"/>
                  </a:lnTo>
                  <a:lnTo>
                    <a:pt x="208" y="104"/>
                  </a:lnTo>
                  <a:lnTo>
                    <a:pt x="196" y="111"/>
                  </a:lnTo>
                  <a:lnTo>
                    <a:pt x="194" y="106"/>
                  </a:lnTo>
                  <a:lnTo>
                    <a:pt x="194" y="97"/>
                  </a:lnTo>
                  <a:lnTo>
                    <a:pt x="187" y="97"/>
                  </a:lnTo>
                  <a:lnTo>
                    <a:pt x="185" y="106"/>
                  </a:lnTo>
                  <a:lnTo>
                    <a:pt x="180" y="118"/>
                  </a:lnTo>
                  <a:lnTo>
                    <a:pt x="170" y="125"/>
                  </a:lnTo>
                  <a:lnTo>
                    <a:pt x="168" y="125"/>
                  </a:lnTo>
                  <a:lnTo>
                    <a:pt x="163" y="118"/>
                  </a:lnTo>
                  <a:lnTo>
                    <a:pt x="163" y="114"/>
                  </a:lnTo>
                  <a:lnTo>
                    <a:pt x="161" y="114"/>
                  </a:lnTo>
                  <a:lnTo>
                    <a:pt x="161" y="11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2" name="Freeform 186">
              <a:extLst>
                <a:ext uri="{FF2B5EF4-FFF2-40B4-BE49-F238E27FC236}">
                  <a16:creationId xmlns:a16="http://schemas.microsoft.com/office/drawing/2014/main" id="{B885BC7A-3078-422B-B406-BA3621B71796}"/>
                </a:ext>
              </a:extLst>
            </p:cNvPr>
            <p:cNvSpPr>
              <a:spLocks/>
            </p:cNvSpPr>
            <p:nvPr/>
          </p:nvSpPr>
          <p:spPr bwMode="gray">
            <a:xfrm rot="47099">
              <a:off x="2015335" y="3219134"/>
              <a:ext cx="143389" cy="147619"/>
            </a:xfrm>
            <a:custGeom>
              <a:avLst/>
              <a:gdLst>
                <a:gd name="T0" fmla="*/ 45 w 309"/>
                <a:gd name="T1" fmla="*/ 291 h 317"/>
                <a:gd name="T2" fmla="*/ 23 w 309"/>
                <a:gd name="T3" fmla="*/ 277 h 317"/>
                <a:gd name="T4" fmla="*/ 16 w 309"/>
                <a:gd name="T5" fmla="*/ 265 h 317"/>
                <a:gd name="T6" fmla="*/ 0 w 309"/>
                <a:gd name="T7" fmla="*/ 251 h 317"/>
                <a:gd name="T8" fmla="*/ 4 w 309"/>
                <a:gd name="T9" fmla="*/ 234 h 317"/>
                <a:gd name="T10" fmla="*/ 4 w 309"/>
                <a:gd name="T11" fmla="*/ 227 h 317"/>
                <a:gd name="T12" fmla="*/ 23 w 309"/>
                <a:gd name="T13" fmla="*/ 208 h 317"/>
                <a:gd name="T14" fmla="*/ 21 w 309"/>
                <a:gd name="T15" fmla="*/ 187 h 317"/>
                <a:gd name="T16" fmla="*/ 28 w 309"/>
                <a:gd name="T17" fmla="*/ 168 h 317"/>
                <a:gd name="T18" fmla="*/ 38 w 309"/>
                <a:gd name="T19" fmla="*/ 170 h 317"/>
                <a:gd name="T20" fmla="*/ 45 w 309"/>
                <a:gd name="T21" fmla="*/ 161 h 317"/>
                <a:gd name="T22" fmla="*/ 56 w 309"/>
                <a:gd name="T23" fmla="*/ 123 h 317"/>
                <a:gd name="T24" fmla="*/ 68 w 309"/>
                <a:gd name="T25" fmla="*/ 128 h 317"/>
                <a:gd name="T26" fmla="*/ 85 w 309"/>
                <a:gd name="T27" fmla="*/ 104 h 317"/>
                <a:gd name="T28" fmla="*/ 94 w 309"/>
                <a:gd name="T29" fmla="*/ 88 h 317"/>
                <a:gd name="T30" fmla="*/ 94 w 309"/>
                <a:gd name="T31" fmla="*/ 73 h 317"/>
                <a:gd name="T32" fmla="*/ 97 w 309"/>
                <a:gd name="T33" fmla="*/ 31 h 317"/>
                <a:gd name="T34" fmla="*/ 92 w 309"/>
                <a:gd name="T35" fmla="*/ 3 h 317"/>
                <a:gd name="T36" fmla="*/ 118 w 309"/>
                <a:gd name="T37" fmla="*/ 81 h 317"/>
                <a:gd name="T38" fmla="*/ 144 w 309"/>
                <a:gd name="T39" fmla="*/ 73 h 317"/>
                <a:gd name="T40" fmla="*/ 193 w 309"/>
                <a:gd name="T41" fmla="*/ 107 h 317"/>
                <a:gd name="T42" fmla="*/ 215 w 309"/>
                <a:gd name="T43" fmla="*/ 81 h 317"/>
                <a:gd name="T44" fmla="*/ 229 w 309"/>
                <a:gd name="T45" fmla="*/ 71 h 317"/>
                <a:gd name="T46" fmla="*/ 257 w 309"/>
                <a:gd name="T47" fmla="*/ 59 h 317"/>
                <a:gd name="T48" fmla="*/ 257 w 309"/>
                <a:gd name="T49" fmla="*/ 52 h 317"/>
                <a:gd name="T50" fmla="*/ 290 w 309"/>
                <a:gd name="T51" fmla="*/ 47 h 317"/>
                <a:gd name="T52" fmla="*/ 309 w 309"/>
                <a:gd name="T53" fmla="*/ 73 h 317"/>
                <a:gd name="T54" fmla="*/ 290 w 309"/>
                <a:gd name="T55" fmla="*/ 81 h 317"/>
                <a:gd name="T56" fmla="*/ 264 w 309"/>
                <a:gd name="T57" fmla="*/ 90 h 317"/>
                <a:gd name="T58" fmla="*/ 257 w 309"/>
                <a:gd name="T59" fmla="*/ 114 h 317"/>
                <a:gd name="T60" fmla="*/ 248 w 309"/>
                <a:gd name="T61" fmla="*/ 128 h 317"/>
                <a:gd name="T62" fmla="*/ 234 w 309"/>
                <a:gd name="T63" fmla="*/ 130 h 317"/>
                <a:gd name="T64" fmla="*/ 229 w 309"/>
                <a:gd name="T65" fmla="*/ 154 h 317"/>
                <a:gd name="T66" fmla="*/ 224 w 309"/>
                <a:gd name="T67" fmla="*/ 173 h 317"/>
                <a:gd name="T68" fmla="*/ 205 w 309"/>
                <a:gd name="T69" fmla="*/ 168 h 317"/>
                <a:gd name="T70" fmla="*/ 191 w 309"/>
                <a:gd name="T71" fmla="*/ 194 h 317"/>
                <a:gd name="T72" fmla="*/ 184 w 309"/>
                <a:gd name="T73" fmla="*/ 220 h 317"/>
                <a:gd name="T74" fmla="*/ 177 w 309"/>
                <a:gd name="T75" fmla="*/ 229 h 317"/>
                <a:gd name="T76" fmla="*/ 172 w 309"/>
                <a:gd name="T77" fmla="*/ 258 h 317"/>
                <a:gd name="T78" fmla="*/ 165 w 309"/>
                <a:gd name="T79" fmla="*/ 281 h 317"/>
                <a:gd name="T80" fmla="*/ 158 w 309"/>
                <a:gd name="T81" fmla="*/ 277 h 317"/>
                <a:gd name="T82" fmla="*/ 144 w 309"/>
                <a:gd name="T83" fmla="*/ 291 h 317"/>
                <a:gd name="T84" fmla="*/ 125 w 309"/>
                <a:gd name="T85" fmla="*/ 300 h 317"/>
                <a:gd name="T86" fmla="*/ 118 w 309"/>
                <a:gd name="T87" fmla="*/ 307 h 317"/>
                <a:gd name="T88" fmla="*/ 97 w 309"/>
                <a:gd name="T89" fmla="*/ 310 h 317"/>
                <a:gd name="T90" fmla="*/ 71 w 309"/>
                <a:gd name="T91" fmla="*/ 314 h 317"/>
                <a:gd name="T92" fmla="*/ 56 w 309"/>
                <a:gd name="T93" fmla="*/ 293 h 3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9"/>
                <a:gd name="T142" fmla="*/ 0 h 317"/>
                <a:gd name="T143" fmla="*/ 309 w 309"/>
                <a:gd name="T144" fmla="*/ 317 h 3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9" h="317">
                  <a:moveTo>
                    <a:pt x="56" y="293"/>
                  </a:moveTo>
                  <a:lnTo>
                    <a:pt x="45" y="293"/>
                  </a:lnTo>
                  <a:lnTo>
                    <a:pt x="45" y="291"/>
                  </a:lnTo>
                  <a:lnTo>
                    <a:pt x="40" y="291"/>
                  </a:lnTo>
                  <a:lnTo>
                    <a:pt x="30" y="281"/>
                  </a:lnTo>
                  <a:lnTo>
                    <a:pt x="23" y="277"/>
                  </a:lnTo>
                  <a:lnTo>
                    <a:pt x="21" y="274"/>
                  </a:lnTo>
                  <a:lnTo>
                    <a:pt x="21" y="270"/>
                  </a:lnTo>
                  <a:lnTo>
                    <a:pt x="16" y="265"/>
                  </a:lnTo>
                  <a:lnTo>
                    <a:pt x="14" y="260"/>
                  </a:lnTo>
                  <a:lnTo>
                    <a:pt x="12" y="258"/>
                  </a:lnTo>
                  <a:lnTo>
                    <a:pt x="0" y="251"/>
                  </a:lnTo>
                  <a:lnTo>
                    <a:pt x="0" y="246"/>
                  </a:lnTo>
                  <a:lnTo>
                    <a:pt x="4" y="246"/>
                  </a:lnTo>
                  <a:lnTo>
                    <a:pt x="4" y="234"/>
                  </a:lnTo>
                  <a:lnTo>
                    <a:pt x="0" y="229"/>
                  </a:lnTo>
                  <a:lnTo>
                    <a:pt x="0" y="227"/>
                  </a:lnTo>
                  <a:lnTo>
                    <a:pt x="4" y="227"/>
                  </a:lnTo>
                  <a:lnTo>
                    <a:pt x="16" y="220"/>
                  </a:lnTo>
                  <a:lnTo>
                    <a:pt x="16" y="208"/>
                  </a:lnTo>
                  <a:lnTo>
                    <a:pt x="23" y="208"/>
                  </a:lnTo>
                  <a:lnTo>
                    <a:pt x="23" y="203"/>
                  </a:lnTo>
                  <a:lnTo>
                    <a:pt x="21" y="194"/>
                  </a:lnTo>
                  <a:lnTo>
                    <a:pt x="21" y="187"/>
                  </a:lnTo>
                  <a:lnTo>
                    <a:pt x="23" y="173"/>
                  </a:lnTo>
                  <a:lnTo>
                    <a:pt x="23" y="170"/>
                  </a:lnTo>
                  <a:lnTo>
                    <a:pt x="28" y="168"/>
                  </a:lnTo>
                  <a:lnTo>
                    <a:pt x="28" y="163"/>
                  </a:lnTo>
                  <a:lnTo>
                    <a:pt x="35" y="168"/>
                  </a:lnTo>
                  <a:lnTo>
                    <a:pt x="38" y="170"/>
                  </a:lnTo>
                  <a:lnTo>
                    <a:pt x="38" y="177"/>
                  </a:lnTo>
                  <a:lnTo>
                    <a:pt x="47" y="170"/>
                  </a:lnTo>
                  <a:lnTo>
                    <a:pt x="45" y="161"/>
                  </a:lnTo>
                  <a:lnTo>
                    <a:pt x="45" y="140"/>
                  </a:lnTo>
                  <a:lnTo>
                    <a:pt x="54" y="130"/>
                  </a:lnTo>
                  <a:lnTo>
                    <a:pt x="56" y="123"/>
                  </a:lnTo>
                  <a:lnTo>
                    <a:pt x="64" y="123"/>
                  </a:lnTo>
                  <a:lnTo>
                    <a:pt x="64" y="128"/>
                  </a:lnTo>
                  <a:lnTo>
                    <a:pt x="68" y="128"/>
                  </a:lnTo>
                  <a:lnTo>
                    <a:pt x="75" y="121"/>
                  </a:lnTo>
                  <a:lnTo>
                    <a:pt x="80" y="111"/>
                  </a:lnTo>
                  <a:lnTo>
                    <a:pt x="85" y="104"/>
                  </a:lnTo>
                  <a:lnTo>
                    <a:pt x="92" y="97"/>
                  </a:lnTo>
                  <a:lnTo>
                    <a:pt x="92" y="92"/>
                  </a:lnTo>
                  <a:lnTo>
                    <a:pt x="94" y="88"/>
                  </a:lnTo>
                  <a:lnTo>
                    <a:pt x="94" y="83"/>
                  </a:lnTo>
                  <a:lnTo>
                    <a:pt x="92" y="81"/>
                  </a:lnTo>
                  <a:lnTo>
                    <a:pt x="94" y="73"/>
                  </a:lnTo>
                  <a:lnTo>
                    <a:pt x="94" y="43"/>
                  </a:lnTo>
                  <a:lnTo>
                    <a:pt x="97" y="33"/>
                  </a:lnTo>
                  <a:lnTo>
                    <a:pt x="97" y="31"/>
                  </a:lnTo>
                  <a:lnTo>
                    <a:pt x="94" y="17"/>
                  </a:lnTo>
                  <a:lnTo>
                    <a:pt x="92" y="10"/>
                  </a:lnTo>
                  <a:lnTo>
                    <a:pt x="92" y="3"/>
                  </a:lnTo>
                  <a:lnTo>
                    <a:pt x="97" y="0"/>
                  </a:lnTo>
                  <a:lnTo>
                    <a:pt x="113" y="81"/>
                  </a:lnTo>
                  <a:lnTo>
                    <a:pt x="118" y="81"/>
                  </a:lnTo>
                  <a:lnTo>
                    <a:pt x="132" y="76"/>
                  </a:lnTo>
                  <a:lnTo>
                    <a:pt x="137" y="73"/>
                  </a:lnTo>
                  <a:lnTo>
                    <a:pt x="144" y="73"/>
                  </a:lnTo>
                  <a:lnTo>
                    <a:pt x="184" y="64"/>
                  </a:lnTo>
                  <a:lnTo>
                    <a:pt x="191" y="92"/>
                  </a:lnTo>
                  <a:lnTo>
                    <a:pt x="193" y="107"/>
                  </a:lnTo>
                  <a:lnTo>
                    <a:pt x="210" y="88"/>
                  </a:lnTo>
                  <a:lnTo>
                    <a:pt x="215" y="83"/>
                  </a:lnTo>
                  <a:lnTo>
                    <a:pt x="215" y="81"/>
                  </a:lnTo>
                  <a:lnTo>
                    <a:pt x="217" y="76"/>
                  </a:lnTo>
                  <a:lnTo>
                    <a:pt x="224" y="76"/>
                  </a:lnTo>
                  <a:lnTo>
                    <a:pt x="229" y="71"/>
                  </a:lnTo>
                  <a:lnTo>
                    <a:pt x="234" y="64"/>
                  </a:lnTo>
                  <a:lnTo>
                    <a:pt x="255" y="64"/>
                  </a:lnTo>
                  <a:lnTo>
                    <a:pt x="257" y="59"/>
                  </a:lnTo>
                  <a:lnTo>
                    <a:pt x="255" y="57"/>
                  </a:lnTo>
                  <a:lnTo>
                    <a:pt x="255" y="52"/>
                  </a:lnTo>
                  <a:lnTo>
                    <a:pt x="257" y="52"/>
                  </a:lnTo>
                  <a:lnTo>
                    <a:pt x="271" y="43"/>
                  </a:lnTo>
                  <a:lnTo>
                    <a:pt x="274" y="43"/>
                  </a:lnTo>
                  <a:lnTo>
                    <a:pt x="290" y="47"/>
                  </a:lnTo>
                  <a:lnTo>
                    <a:pt x="304" y="64"/>
                  </a:lnTo>
                  <a:lnTo>
                    <a:pt x="309" y="66"/>
                  </a:lnTo>
                  <a:lnTo>
                    <a:pt x="309" y="73"/>
                  </a:lnTo>
                  <a:lnTo>
                    <a:pt x="304" y="81"/>
                  </a:lnTo>
                  <a:lnTo>
                    <a:pt x="304" y="83"/>
                  </a:lnTo>
                  <a:lnTo>
                    <a:pt x="290" y="81"/>
                  </a:lnTo>
                  <a:lnTo>
                    <a:pt x="281" y="73"/>
                  </a:lnTo>
                  <a:lnTo>
                    <a:pt x="264" y="66"/>
                  </a:lnTo>
                  <a:lnTo>
                    <a:pt x="264" y="90"/>
                  </a:lnTo>
                  <a:lnTo>
                    <a:pt x="262" y="111"/>
                  </a:lnTo>
                  <a:lnTo>
                    <a:pt x="257" y="111"/>
                  </a:lnTo>
                  <a:lnTo>
                    <a:pt x="257" y="114"/>
                  </a:lnTo>
                  <a:lnTo>
                    <a:pt x="255" y="121"/>
                  </a:lnTo>
                  <a:lnTo>
                    <a:pt x="248" y="121"/>
                  </a:lnTo>
                  <a:lnTo>
                    <a:pt x="248" y="128"/>
                  </a:lnTo>
                  <a:lnTo>
                    <a:pt x="245" y="133"/>
                  </a:lnTo>
                  <a:lnTo>
                    <a:pt x="238" y="133"/>
                  </a:lnTo>
                  <a:lnTo>
                    <a:pt x="234" y="130"/>
                  </a:lnTo>
                  <a:lnTo>
                    <a:pt x="231" y="137"/>
                  </a:lnTo>
                  <a:lnTo>
                    <a:pt x="231" y="140"/>
                  </a:lnTo>
                  <a:lnTo>
                    <a:pt x="229" y="154"/>
                  </a:lnTo>
                  <a:lnTo>
                    <a:pt x="229" y="163"/>
                  </a:lnTo>
                  <a:lnTo>
                    <a:pt x="224" y="170"/>
                  </a:lnTo>
                  <a:lnTo>
                    <a:pt x="224" y="173"/>
                  </a:lnTo>
                  <a:lnTo>
                    <a:pt x="215" y="173"/>
                  </a:lnTo>
                  <a:lnTo>
                    <a:pt x="208" y="170"/>
                  </a:lnTo>
                  <a:lnTo>
                    <a:pt x="205" y="168"/>
                  </a:lnTo>
                  <a:lnTo>
                    <a:pt x="193" y="163"/>
                  </a:lnTo>
                  <a:lnTo>
                    <a:pt x="193" y="187"/>
                  </a:lnTo>
                  <a:lnTo>
                    <a:pt x="191" y="194"/>
                  </a:lnTo>
                  <a:lnTo>
                    <a:pt x="184" y="208"/>
                  </a:lnTo>
                  <a:lnTo>
                    <a:pt x="189" y="213"/>
                  </a:lnTo>
                  <a:lnTo>
                    <a:pt x="184" y="220"/>
                  </a:lnTo>
                  <a:lnTo>
                    <a:pt x="184" y="225"/>
                  </a:lnTo>
                  <a:lnTo>
                    <a:pt x="182" y="227"/>
                  </a:lnTo>
                  <a:lnTo>
                    <a:pt x="177" y="229"/>
                  </a:lnTo>
                  <a:lnTo>
                    <a:pt x="177" y="234"/>
                  </a:lnTo>
                  <a:lnTo>
                    <a:pt x="175" y="241"/>
                  </a:lnTo>
                  <a:lnTo>
                    <a:pt x="172" y="258"/>
                  </a:lnTo>
                  <a:lnTo>
                    <a:pt x="175" y="258"/>
                  </a:lnTo>
                  <a:lnTo>
                    <a:pt x="175" y="270"/>
                  </a:lnTo>
                  <a:lnTo>
                    <a:pt x="165" y="281"/>
                  </a:lnTo>
                  <a:lnTo>
                    <a:pt x="160" y="281"/>
                  </a:lnTo>
                  <a:lnTo>
                    <a:pt x="160" y="277"/>
                  </a:lnTo>
                  <a:lnTo>
                    <a:pt x="158" y="277"/>
                  </a:lnTo>
                  <a:lnTo>
                    <a:pt x="158" y="281"/>
                  </a:lnTo>
                  <a:lnTo>
                    <a:pt x="151" y="284"/>
                  </a:lnTo>
                  <a:lnTo>
                    <a:pt x="144" y="291"/>
                  </a:lnTo>
                  <a:lnTo>
                    <a:pt x="134" y="298"/>
                  </a:lnTo>
                  <a:lnTo>
                    <a:pt x="132" y="300"/>
                  </a:lnTo>
                  <a:lnTo>
                    <a:pt x="125" y="300"/>
                  </a:lnTo>
                  <a:lnTo>
                    <a:pt x="120" y="305"/>
                  </a:lnTo>
                  <a:lnTo>
                    <a:pt x="118" y="305"/>
                  </a:lnTo>
                  <a:lnTo>
                    <a:pt x="118" y="307"/>
                  </a:lnTo>
                  <a:lnTo>
                    <a:pt x="113" y="307"/>
                  </a:lnTo>
                  <a:lnTo>
                    <a:pt x="104" y="305"/>
                  </a:lnTo>
                  <a:lnTo>
                    <a:pt x="97" y="310"/>
                  </a:lnTo>
                  <a:lnTo>
                    <a:pt x="94" y="317"/>
                  </a:lnTo>
                  <a:lnTo>
                    <a:pt x="85" y="317"/>
                  </a:lnTo>
                  <a:lnTo>
                    <a:pt x="71" y="314"/>
                  </a:lnTo>
                  <a:lnTo>
                    <a:pt x="64" y="307"/>
                  </a:lnTo>
                  <a:lnTo>
                    <a:pt x="61" y="298"/>
                  </a:lnTo>
                  <a:lnTo>
                    <a:pt x="56" y="29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3" name="Freeform 187">
              <a:extLst>
                <a:ext uri="{FF2B5EF4-FFF2-40B4-BE49-F238E27FC236}">
                  <a16:creationId xmlns:a16="http://schemas.microsoft.com/office/drawing/2014/main" id="{A0391A71-29C0-4256-A5CB-B281B6E4C5BD}"/>
                </a:ext>
              </a:extLst>
            </p:cNvPr>
            <p:cNvSpPr>
              <a:spLocks/>
            </p:cNvSpPr>
            <p:nvPr/>
          </p:nvSpPr>
          <p:spPr bwMode="gray">
            <a:xfrm rot="47099">
              <a:off x="1151615" y="3249427"/>
              <a:ext cx="236012" cy="180423"/>
            </a:xfrm>
            <a:custGeom>
              <a:avLst/>
              <a:gdLst>
                <a:gd name="T0" fmla="*/ 0 w 508"/>
                <a:gd name="T1" fmla="*/ 354 h 387"/>
                <a:gd name="T2" fmla="*/ 0 w 508"/>
                <a:gd name="T3" fmla="*/ 352 h 387"/>
                <a:gd name="T4" fmla="*/ 2 w 508"/>
                <a:gd name="T5" fmla="*/ 338 h 387"/>
                <a:gd name="T6" fmla="*/ 7 w 508"/>
                <a:gd name="T7" fmla="*/ 274 h 387"/>
                <a:gd name="T8" fmla="*/ 9 w 508"/>
                <a:gd name="T9" fmla="*/ 241 h 387"/>
                <a:gd name="T10" fmla="*/ 14 w 508"/>
                <a:gd name="T11" fmla="*/ 210 h 387"/>
                <a:gd name="T12" fmla="*/ 17 w 508"/>
                <a:gd name="T13" fmla="*/ 180 h 387"/>
                <a:gd name="T14" fmla="*/ 21 w 508"/>
                <a:gd name="T15" fmla="*/ 151 h 387"/>
                <a:gd name="T16" fmla="*/ 33 w 508"/>
                <a:gd name="T17" fmla="*/ 40 h 387"/>
                <a:gd name="T18" fmla="*/ 33 w 508"/>
                <a:gd name="T19" fmla="*/ 24 h 387"/>
                <a:gd name="T20" fmla="*/ 38 w 508"/>
                <a:gd name="T21" fmla="*/ 7 h 387"/>
                <a:gd name="T22" fmla="*/ 38 w 508"/>
                <a:gd name="T23" fmla="*/ 0 h 387"/>
                <a:gd name="T24" fmla="*/ 373 w 508"/>
                <a:gd name="T25" fmla="*/ 26 h 387"/>
                <a:gd name="T26" fmla="*/ 409 w 508"/>
                <a:gd name="T27" fmla="*/ 26 h 387"/>
                <a:gd name="T28" fmla="*/ 418 w 508"/>
                <a:gd name="T29" fmla="*/ 31 h 387"/>
                <a:gd name="T30" fmla="*/ 508 w 508"/>
                <a:gd name="T31" fmla="*/ 31 h 387"/>
                <a:gd name="T32" fmla="*/ 508 w 508"/>
                <a:gd name="T33" fmla="*/ 175 h 387"/>
                <a:gd name="T34" fmla="*/ 506 w 508"/>
                <a:gd name="T35" fmla="*/ 180 h 387"/>
                <a:gd name="T36" fmla="*/ 506 w 508"/>
                <a:gd name="T37" fmla="*/ 305 h 387"/>
                <a:gd name="T38" fmla="*/ 501 w 508"/>
                <a:gd name="T39" fmla="*/ 387 h 387"/>
                <a:gd name="T40" fmla="*/ 418 w 508"/>
                <a:gd name="T41" fmla="*/ 387 h 387"/>
                <a:gd name="T42" fmla="*/ 411 w 508"/>
                <a:gd name="T43" fmla="*/ 385 h 387"/>
                <a:gd name="T44" fmla="*/ 354 w 508"/>
                <a:gd name="T45" fmla="*/ 385 h 387"/>
                <a:gd name="T46" fmla="*/ 331 w 508"/>
                <a:gd name="T47" fmla="*/ 380 h 387"/>
                <a:gd name="T48" fmla="*/ 298 w 508"/>
                <a:gd name="T49" fmla="*/ 380 h 387"/>
                <a:gd name="T50" fmla="*/ 257 w 508"/>
                <a:gd name="T51" fmla="*/ 378 h 387"/>
                <a:gd name="T52" fmla="*/ 241 w 508"/>
                <a:gd name="T53" fmla="*/ 378 h 387"/>
                <a:gd name="T54" fmla="*/ 231 w 508"/>
                <a:gd name="T55" fmla="*/ 373 h 387"/>
                <a:gd name="T56" fmla="*/ 187 w 508"/>
                <a:gd name="T57" fmla="*/ 373 h 387"/>
                <a:gd name="T58" fmla="*/ 184 w 508"/>
                <a:gd name="T59" fmla="*/ 371 h 387"/>
                <a:gd name="T60" fmla="*/ 177 w 508"/>
                <a:gd name="T61" fmla="*/ 371 h 387"/>
                <a:gd name="T62" fmla="*/ 144 w 508"/>
                <a:gd name="T63" fmla="*/ 369 h 387"/>
                <a:gd name="T64" fmla="*/ 118 w 508"/>
                <a:gd name="T65" fmla="*/ 369 h 387"/>
                <a:gd name="T66" fmla="*/ 90 w 508"/>
                <a:gd name="T67" fmla="*/ 364 h 387"/>
                <a:gd name="T68" fmla="*/ 78 w 508"/>
                <a:gd name="T69" fmla="*/ 364 h 387"/>
                <a:gd name="T70" fmla="*/ 71 w 508"/>
                <a:gd name="T71" fmla="*/ 361 h 387"/>
                <a:gd name="T72" fmla="*/ 42 w 508"/>
                <a:gd name="T73" fmla="*/ 361 h 387"/>
                <a:gd name="T74" fmla="*/ 0 w 508"/>
                <a:gd name="T75" fmla="*/ 354 h 38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8"/>
                <a:gd name="T115" fmla="*/ 0 h 387"/>
                <a:gd name="T116" fmla="*/ 508 w 508"/>
                <a:gd name="T117" fmla="*/ 387 h 38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8" h="387">
                  <a:moveTo>
                    <a:pt x="0" y="354"/>
                  </a:moveTo>
                  <a:lnTo>
                    <a:pt x="0" y="352"/>
                  </a:lnTo>
                  <a:lnTo>
                    <a:pt x="2" y="338"/>
                  </a:lnTo>
                  <a:lnTo>
                    <a:pt x="7" y="274"/>
                  </a:lnTo>
                  <a:lnTo>
                    <a:pt x="9" y="241"/>
                  </a:lnTo>
                  <a:lnTo>
                    <a:pt x="14" y="210"/>
                  </a:lnTo>
                  <a:lnTo>
                    <a:pt x="17" y="180"/>
                  </a:lnTo>
                  <a:lnTo>
                    <a:pt x="21" y="151"/>
                  </a:lnTo>
                  <a:lnTo>
                    <a:pt x="33" y="40"/>
                  </a:lnTo>
                  <a:lnTo>
                    <a:pt x="33" y="24"/>
                  </a:lnTo>
                  <a:lnTo>
                    <a:pt x="38" y="7"/>
                  </a:lnTo>
                  <a:lnTo>
                    <a:pt x="38" y="0"/>
                  </a:lnTo>
                  <a:lnTo>
                    <a:pt x="373" y="26"/>
                  </a:lnTo>
                  <a:lnTo>
                    <a:pt x="409" y="26"/>
                  </a:lnTo>
                  <a:lnTo>
                    <a:pt x="418" y="31"/>
                  </a:lnTo>
                  <a:lnTo>
                    <a:pt x="508" y="31"/>
                  </a:lnTo>
                  <a:lnTo>
                    <a:pt x="508" y="175"/>
                  </a:lnTo>
                  <a:lnTo>
                    <a:pt x="506" y="180"/>
                  </a:lnTo>
                  <a:lnTo>
                    <a:pt x="506" y="305"/>
                  </a:lnTo>
                  <a:lnTo>
                    <a:pt x="501" y="387"/>
                  </a:lnTo>
                  <a:lnTo>
                    <a:pt x="418" y="387"/>
                  </a:lnTo>
                  <a:lnTo>
                    <a:pt x="411" y="385"/>
                  </a:lnTo>
                  <a:lnTo>
                    <a:pt x="354" y="385"/>
                  </a:lnTo>
                  <a:lnTo>
                    <a:pt x="331" y="380"/>
                  </a:lnTo>
                  <a:lnTo>
                    <a:pt x="298" y="380"/>
                  </a:lnTo>
                  <a:lnTo>
                    <a:pt x="257" y="378"/>
                  </a:lnTo>
                  <a:lnTo>
                    <a:pt x="241" y="378"/>
                  </a:lnTo>
                  <a:lnTo>
                    <a:pt x="231" y="373"/>
                  </a:lnTo>
                  <a:lnTo>
                    <a:pt x="187" y="373"/>
                  </a:lnTo>
                  <a:lnTo>
                    <a:pt x="184" y="371"/>
                  </a:lnTo>
                  <a:lnTo>
                    <a:pt x="177" y="371"/>
                  </a:lnTo>
                  <a:lnTo>
                    <a:pt x="144" y="369"/>
                  </a:lnTo>
                  <a:lnTo>
                    <a:pt x="118" y="369"/>
                  </a:lnTo>
                  <a:lnTo>
                    <a:pt x="90" y="364"/>
                  </a:lnTo>
                  <a:lnTo>
                    <a:pt x="78" y="364"/>
                  </a:lnTo>
                  <a:lnTo>
                    <a:pt x="71" y="361"/>
                  </a:lnTo>
                  <a:lnTo>
                    <a:pt x="42" y="361"/>
                  </a:lnTo>
                  <a:lnTo>
                    <a:pt x="0" y="35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4" name="Freeform 188">
              <a:extLst>
                <a:ext uri="{FF2B5EF4-FFF2-40B4-BE49-F238E27FC236}">
                  <a16:creationId xmlns:a16="http://schemas.microsoft.com/office/drawing/2014/main" id="{BC79922A-4BFE-4538-B4EB-E1125B216059}"/>
                </a:ext>
              </a:extLst>
            </p:cNvPr>
            <p:cNvSpPr>
              <a:spLocks/>
            </p:cNvSpPr>
            <p:nvPr/>
          </p:nvSpPr>
          <p:spPr bwMode="gray">
            <a:xfrm rot="47099">
              <a:off x="1585005" y="3273645"/>
              <a:ext cx="227997" cy="187177"/>
            </a:xfrm>
            <a:custGeom>
              <a:avLst/>
              <a:gdLst>
                <a:gd name="T0" fmla="*/ 487 w 491"/>
                <a:gd name="T1" fmla="*/ 317 h 402"/>
                <a:gd name="T2" fmla="*/ 484 w 491"/>
                <a:gd name="T3" fmla="*/ 338 h 402"/>
                <a:gd name="T4" fmla="*/ 473 w 491"/>
                <a:gd name="T5" fmla="*/ 333 h 402"/>
                <a:gd name="T6" fmla="*/ 468 w 491"/>
                <a:gd name="T7" fmla="*/ 350 h 402"/>
                <a:gd name="T8" fmla="*/ 463 w 491"/>
                <a:gd name="T9" fmla="*/ 345 h 402"/>
                <a:gd name="T10" fmla="*/ 463 w 491"/>
                <a:gd name="T11" fmla="*/ 350 h 402"/>
                <a:gd name="T12" fmla="*/ 463 w 491"/>
                <a:gd name="T13" fmla="*/ 362 h 402"/>
                <a:gd name="T14" fmla="*/ 456 w 491"/>
                <a:gd name="T15" fmla="*/ 395 h 402"/>
                <a:gd name="T16" fmla="*/ 411 w 491"/>
                <a:gd name="T17" fmla="*/ 402 h 402"/>
                <a:gd name="T18" fmla="*/ 413 w 491"/>
                <a:gd name="T19" fmla="*/ 388 h 402"/>
                <a:gd name="T20" fmla="*/ 430 w 491"/>
                <a:gd name="T21" fmla="*/ 371 h 402"/>
                <a:gd name="T22" fmla="*/ 404 w 491"/>
                <a:gd name="T23" fmla="*/ 355 h 402"/>
                <a:gd name="T24" fmla="*/ 366 w 491"/>
                <a:gd name="T25" fmla="*/ 362 h 402"/>
                <a:gd name="T26" fmla="*/ 310 w 491"/>
                <a:gd name="T27" fmla="*/ 364 h 402"/>
                <a:gd name="T28" fmla="*/ 250 w 491"/>
                <a:gd name="T29" fmla="*/ 371 h 402"/>
                <a:gd name="T30" fmla="*/ 196 w 491"/>
                <a:gd name="T31" fmla="*/ 373 h 402"/>
                <a:gd name="T32" fmla="*/ 137 w 491"/>
                <a:gd name="T33" fmla="*/ 381 h 402"/>
                <a:gd name="T34" fmla="*/ 97 w 491"/>
                <a:gd name="T35" fmla="*/ 329 h 402"/>
                <a:gd name="T36" fmla="*/ 92 w 491"/>
                <a:gd name="T37" fmla="*/ 260 h 402"/>
                <a:gd name="T38" fmla="*/ 80 w 491"/>
                <a:gd name="T39" fmla="*/ 144 h 402"/>
                <a:gd name="T40" fmla="*/ 66 w 491"/>
                <a:gd name="T41" fmla="*/ 135 h 402"/>
                <a:gd name="T42" fmla="*/ 57 w 491"/>
                <a:gd name="T43" fmla="*/ 121 h 402"/>
                <a:gd name="T44" fmla="*/ 59 w 491"/>
                <a:gd name="T45" fmla="*/ 97 h 402"/>
                <a:gd name="T46" fmla="*/ 66 w 491"/>
                <a:gd name="T47" fmla="*/ 95 h 402"/>
                <a:gd name="T48" fmla="*/ 57 w 491"/>
                <a:gd name="T49" fmla="*/ 80 h 402"/>
                <a:gd name="T50" fmla="*/ 36 w 491"/>
                <a:gd name="T51" fmla="*/ 78 h 402"/>
                <a:gd name="T52" fmla="*/ 28 w 491"/>
                <a:gd name="T53" fmla="*/ 71 h 402"/>
                <a:gd name="T54" fmla="*/ 17 w 491"/>
                <a:gd name="T55" fmla="*/ 50 h 402"/>
                <a:gd name="T56" fmla="*/ 5 w 491"/>
                <a:gd name="T57" fmla="*/ 31 h 402"/>
                <a:gd name="T58" fmla="*/ 0 w 491"/>
                <a:gd name="T59" fmla="*/ 19 h 402"/>
                <a:gd name="T60" fmla="*/ 113 w 491"/>
                <a:gd name="T61" fmla="*/ 17 h 402"/>
                <a:gd name="T62" fmla="*/ 187 w 491"/>
                <a:gd name="T63" fmla="*/ 10 h 402"/>
                <a:gd name="T64" fmla="*/ 250 w 491"/>
                <a:gd name="T65" fmla="*/ 3 h 402"/>
                <a:gd name="T66" fmla="*/ 276 w 491"/>
                <a:gd name="T67" fmla="*/ 3 h 402"/>
                <a:gd name="T68" fmla="*/ 298 w 491"/>
                <a:gd name="T69" fmla="*/ 19 h 402"/>
                <a:gd name="T70" fmla="*/ 298 w 491"/>
                <a:gd name="T71" fmla="*/ 55 h 402"/>
                <a:gd name="T72" fmla="*/ 307 w 491"/>
                <a:gd name="T73" fmla="*/ 78 h 402"/>
                <a:gd name="T74" fmla="*/ 314 w 491"/>
                <a:gd name="T75" fmla="*/ 83 h 402"/>
                <a:gd name="T76" fmla="*/ 331 w 491"/>
                <a:gd name="T77" fmla="*/ 97 h 402"/>
                <a:gd name="T78" fmla="*/ 343 w 491"/>
                <a:gd name="T79" fmla="*/ 104 h 402"/>
                <a:gd name="T80" fmla="*/ 354 w 491"/>
                <a:gd name="T81" fmla="*/ 121 h 402"/>
                <a:gd name="T82" fmla="*/ 359 w 491"/>
                <a:gd name="T83" fmla="*/ 137 h 402"/>
                <a:gd name="T84" fmla="*/ 366 w 491"/>
                <a:gd name="T85" fmla="*/ 144 h 402"/>
                <a:gd name="T86" fmla="*/ 373 w 491"/>
                <a:gd name="T87" fmla="*/ 140 h 402"/>
                <a:gd name="T88" fmla="*/ 390 w 491"/>
                <a:gd name="T89" fmla="*/ 140 h 402"/>
                <a:gd name="T90" fmla="*/ 399 w 491"/>
                <a:gd name="T91" fmla="*/ 151 h 402"/>
                <a:gd name="T92" fmla="*/ 395 w 491"/>
                <a:gd name="T93" fmla="*/ 177 h 402"/>
                <a:gd name="T94" fmla="*/ 388 w 491"/>
                <a:gd name="T95" fmla="*/ 201 h 402"/>
                <a:gd name="T96" fmla="*/ 395 w 491"/>
                <a:gd name="T97" fmla="*/ 203 h 402"/>
                <a:gd name="T98" fmla="*/ 421 w 491"/>
                <a:gd name="T99" fmla="*/ 227 h 402"/>
                <a:gd name="T100" fmla="*/ 439 w 491"/>
                <a:gd name="T101" fmla="*/ 234 h 402"/>
                <a:gd name="T102" fmla="*/ 451 w 491"/>
                <a:gd name="T103" fmla="*/ 241 h 402"/>
                <a:gd name="T104" fmla="*/ 456 w 491"/>
                <a:gd name="T105" fmla="*/ 258 h 402"/>
                <a:gd name="T106" fmla="*/ 463 w 491"/>
                <a:gd name="T107" fmla="*/ 272 h 402"/>
                <a:gd name="T108" fmla="*/ 456 w 491"/>
                <a:gd name="T109" fmla="*/ 274 h 402"/>
                <a:gd name="T110" fmla="*/ 468 w 491"/>
                <a:gd name="T111" fmla="*/ 291 h 402"/>
                <a:gd name="T112" fmla="*/ 491 w 491"/>
                <a:gd name="T113" fmla="*/ 300 h 4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1"/>
                <a:gd name="T172" fmla="*/ 0 h 402"/>
                <a:gd name="T173" fmla="*/ 491 w 491"/>
                <a:gd name="T174" fmla="*/ 402 h 40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1" h="402">
                  <a:moveTo>
                    <a:pt x="491" y="300"/>
                  </a:moveTo>
                  <a:lnTo>
                    <a:pt x="491" y="314"/>
                  </a:lnTo>
                  <a:lnTo>
                    <a:pt x="487" y="317"/>
                  </a:lnTo>
                  <a:lnTo>
                    <a:pt x="487" y="338"/>
                  </a:lnTo>
                  <a:lnTo>
                    <a:pt x="484" y="340"/>
                  </a:lnTo>
                  <a:lnTo>
                    <a:pt x="484" y="338"/>
                  </a:lnTo>
                  <a:lnTo>
                    <a:pt x="480" y="338"/>
                  </a:lnTo>
                  <a:lnTo>
                    <a:pt x="477" y="333"/>
                  </a:lnTo>
                  <a:lnTo>
                    <a:pt x="473" y="333"/>
                  </a:lnTo>
                  <a:lnTo>
                    <a:pt x="473" y="347"/>
                  </a:lnTo>
                  <a:lnTo>
                    <a:pt x="470" y="350"/>
                  </a:lnTo>
                  <a:lnTo>
                    <a:pt x="468" y="350"/>
                  </a:lnTo>
                  <a:lnTo>
                    <a:pt x="468" y="345"/>
                  </a:lnTo>
                  <a:lnTo>
                    <a:pt x="463" y="340"/>
                  </a:lnTo>
                  <a:lnTo>
                    <a:pt x="463" y="345"/>
                  </a:lnTo>
                  <a:lnTo>
                    <a:pt x="461" y="347"/>
                  </a:lnTo>
                  <a:lnTo>
                    <a:pt x="463" y="347"/>
                  </a:lnTo>
                  <a:lnTo>
                    <a:pt x="463" y="350"/>
                  </a:lnTo>
                  <a:lnTo>
                    <a:pt x="468" y="357"/>
                  </a:lnTo>
                  <a:lnTo>
                    <a:pt x="468" y="362"/>
                  </a:lnTo>
                  <a:lnTo>
                    <a:pt x="463" y="362"/>
                  </a:lnTo>
                  <a:lnTo>
                    <a:pt x="461" y="364"/>
                  </a:lnTo>
                  <a:lnTo>
                    <a:pt x="461" y="385"/>
                  </a:lnTo>
                  <a:lnTo>
                    <a:pt x="456" y="395"/>
                  </a:lnTo>
                  <a:lnTo>
                    <a:pt x="444" y="395"/>
                  </a:lnTo>
                  <a:lnTo>
                    <a:pt x="416" y="402"/>
                  </a:lnTo>
                  <a:lnTo>
                    <a:pt x="411" y="402"/>
                  </a:lnTo>
                  <a:lnTo>
                    <a:pt x="411" y="395"/>
                  </a:lnTo>
                  <a:lnTo>
                    <a:pt x="413" y="390"/>
                  </a:lnTo>
                  <a:lnTo>
                    <a:pt x="413" y="388"/>
                  </a:lnTo>
                  <a:lnTo>
                    <a:pt x="421" y="381"/>
                  </a:lnTo>
                  <a:lnTo>
                    <a:pt x="423" y="378"/>
                  </a:lnTo>
                  <a:lnTo>
                    <a:pt x="430" y="371"/>
                  </a:lnTo>
                  <a:lnTo>
                    <a:pt x="428" y="364"/>
                  </a:lnTo>
                  <a:lnTo>
                    <a:pt x="421" y="355"/>
                  </a:lnTo>
                  <a:lnTo>
                    <a:pt x="404" y="355"/>
                  </a:lnTo>
                  <a:lnTo>
                    <a:pt x="390" y="357"/>
                  </a:lnTo>
                  <a:lnTo>
                    <a:pt x="376" y="357"/>
                  </a:lnTo>
                  <a:lnTo>
                    <a:pt x="366" y="362"/>
                  </a:lnTo>
                  <a:lnTo>
                    <a:pt x="347" y="362"/>
                  </a:lnTo>
                  <a:lnTo>
                    <a:pt x="336" y="364"/>
                  </a:lnTo>
                  <a:lnTo>
                    <a:pt x="310" y="364"/>
                  </a:lnTo>
                  <a:lnTo>
                    <a:pt x="300" y="369"/>
                  </a:lnTo>
                  <a:lnTo>
                    <a:pt x="274" y="369"/>
                  </a:lnTo>
                  <a:lnTo>
                    <a:pt x="250" y="371"/>
                  </a:lnTo>
                  <a:lnTo>
                    <a:pt x="239" y="371"/>
                  </a:lnTo>
                  <a:lnTo>
                    <a:pt x="222" y="373"/>
                  </a:lnTo>
                  <a:lnTo>
                    <a:pt x="196" y="373"/>
                  </a:lnTo>
                  <a:lnTo>
                    <a:pt x="194" y="378"/>
                  </a:lnTo>
                  <a:lnTo>
                    <a:pt x="154" y="378"/>
                  </a:lnTo>
                  <a:lnTo>
                    <a:pt x="137" y="381"/>
                  </a:lnTo>
                  <a:lnTo>
                    <a:pt x="99" y="381"/>
                  </a:lnTo>
                  <a:lnTo>
                    <a:pt x="99" y="338"/>
                  </a:lnTo>
                  <a:lnTo>
                    <a:pt x="97" y="329"/>
                  </a:lnTo>
                  <a:lnTo>
                    <a:pt x="97" y="293"/>
                  </a:lnTo>
                  <a:lnTo>
                    <a:pt x="92" y="274"/>
                  </a:lnTo>
                  <a:lnTo>
                    <a:pt x="92" y="260"/>
                  </a:lnTo>
                  <a:lnTo>
                    <a:pt x="90" y="215"/>
                  </a:lnTo>
                  <a:lnTo>
                    <a:pt x="85" y="151"/>
                  </a:lnTo>
                  <a:lnTo>
                    <a:pt x="80" y="144"/>
                  </a:lnTo>
                  <a:lnTo>
                    <a:pt x="76" y="144"/>
                  </a:lnTo>
                  <a:lnTo>
                    <a:pt x="73" y="140"/>
                  </a:lnTo>
                  <a:lnTo>
                    <a:pt x="66" y="135"/>
                  </a:lnTo>
                  <a:lnTo>
                    <a:pt x="66" y="130"/>
                  </a:lnTo>
                  <a:lnTo>
                    <a:pt x="64" y="128"/>
                  </a:lnTo>
                  <a:lnTo>
                    <a:pt x="57" y="121"/>
                  </a:lnTo>
                  <a:lnTo>
                    <a:pt x="52" y="114"/>
                  </a:lnTo>
                  <a:lnTo>
                    <a:pt x="50" y="111"/>
                  </a:lnTo>
                  <a:lnTo>
                    <a:pt x="59" y="97"/>
                  </a:lnTo>
                  <a:lnTo>
                    <a:pt x="64" y="95"/>
                  </a:lnTo>
                  <a:lnTo>
                    <a:pt x="64" y="97"/>
                  </a:lnTo>
                  <a:lnTo>
                    <a:pt x="66" y="95"/>
                  </a:lnTo>
                  <a:lnTo>
                    <a:pt x="66" y="88"/>
                  </a:lnTo>
                  <a:lnTo>
                    <a:pt x="59" y="80"/>
                  </a:lnTo>
                  <a:lnTo>
                    <a:pt x="57" y="80"/>
                  </a:lnTo>
                  <a:lnTo>
                    <a:pt x="52" y="83"/>
                  </a:lnTo>
                  <a:lnTo>
                    <a:pt x="50" y="83"/>
                  </a:lnTo>
                  <a:lnTo>
                    <a:pt x="36" y="78"/>
                  </a:lnTo>
                  <a:lnTo>
                    <a:pt x="36" y="73"/>
                  </a:lnTo>
                  <a:lnTo>
                    <a:pt x="33" y="73"/>
                  </a:lnTo>
                  <a:lnTo>
                    <a:pt x="28" y="71"/>
                  </a:lnTo>
                  <a:lnTo>
                    <a:pt x="26" y="66"/>
                  </a:lnTo>
                  <a:lnTo>
                    <a:pt x="24" y="57"/>
                  </a:lnTo>
                  <a:lnTo>
                    <a:pt x="17" y="50"/>
                  </a:lnTo>
                  <a:lnTo>
                    <a:pt x="10" y="43"/>
                  </a:lnTo>
                  <a:lnTo>
                    <a:pt x="10" y="33"/>
                  </a:lnTo>
                  <a:lnTo>
                    <a:pt x="5" y="31"/>
                  </a:lnTo>
                  <a:lnTo>
                    <a:pt x="2" y="26"/>
                  </a:lnTo>
                  <a:lnTo>
                    <a:pt x="0" y="26"/>
                  </a:lnTo>
                  <a:lnTo>
                    <a:pt x="0" y="19"/>
                  </a:lnTo>
                  <a:lnTo>
                    <a:pt x="64" y="19"/>
                  </a:lnTo>
                  <a:lnTo>
                    <a:pt x="85" y="17"/>
                  </a:lnTo>
                  <a:lnTo>
                    <a:pt x="113" y="17"/>
                  </a:lnTo>
                  <a:lnTo>
                    <a:pt x="137" y="14"/>
                  </a:lnTo>
                  <a:lnTo>
                    <a:pt x="177" y="10"/>
                  </a:lnTo>
                  <a:lnTo>
                    <a:pt x="187" y="10"/>
                  </a:lnTo>
                  <a:lnTo>
                    <a:pt x="213" y="7"/>
                  </a:lnTo>
                  <a:lnTo>
                    <a:pt x="236" y="3"/>
                  </a:lnTo>
                  <a:lnTo>
                    <a:pt x="250" y="3"/>
                  </a:lnTo>
                  <a:lnTo>
                    <a:pt x="258" y="0"/>
                  </a:lnTo>
                  <a:lnTo>
                    <a:pt x="269" y="0"/>
                  </a:lnTo>
                  <a:lnTo>
                    <a:pt x="276" y="3"/>
                  </a:lnTo>
                  <a:lnTo>
                    <a:pt x="291" y="14"/>
                  </a:lnTo>
                  <a:lnTo>
                    <a:pt x="291" y="17"/>
                  </a:lnTo>
                  <a:lnTo>
                    <a:pt x="298" y="19"/>
                  </a:lnTo>
                  <a:lnTo>
                    <a:pt x="293" y="19"/>
                  </a:lnTo>
                  <a:lnTo>
                    <a:pt x="293" y="40"/>
                  </a:lnTo>
                  <a:lnTo>
                    <a:pt x="298" y="55"/>
                  </a:lnTo>
                  <a:lnTo>
                    <a:pt x="300" y="59"/>
                  </a:lnTo>
                  <a:lnTo>
                    <a:pt x="302" y="66"/>
                  </a:lnTo>
                  <a:lnTo>
                    <a:pt x="307" y="78"/>
                  </a:lnTo>
                  <a:lnTo>
                    <a:pt x="307" y="80"/>
                  </a:lnTo>
                  <a:lnTo>
                    <a:pt x="310" y="80"/>
                  </a:lnTo>
                  <a:lnTo>
                    <a:pt x="314" y="83"/>
                  </a:lnTo>
                  <a:lnTo>
                    <a:pt x="317" y="83"/>
                  </a:lnTo>
                  <a:lnTo>
                    <a:pt x="324" y="90"/>
                  </a:lnTo>
                  <a:lnTo>
                    <a:pt x="331" y="97"/>
                  </a:lnTo>
                  <a:lnTo>
                    <a:pt x="331" y="99"/>
                  </a:lnTo>
                  <a:lnTo>
                    <a:pt x="336" y="104"/>
                  </a:lnTo>
                  <a:lnTo>
                    <a:pt x="343" y="104"/>
                  </a:lnTo>
                  <a:lnTo>
                    <a:pt x="350" y="111"/>
                  </a:lnTo>
                  <a:lnTo>
                    <a:pt x="354" y="114"/>
                  </a:lnTo>
                  <a:lnTo>
                    <a:pt x="354" y="121"/>
                  </a:lnTo>
                  <a:lnTo>
                    <a:pt x="357" y="128"/>
                  </a:lnTo>
                  <a:lnTo>
                    <a:pt x="357" y="135"/>
                  </a:lnTo>
                  <a:lnTo>
                    <a:pt x="359" y="137"/>
                  </a:lnTo>
                  <a:lnTo>
                    <a:pt x="359" y="140"/>
                  </a:lnTo>
                  <a:lnTo>
                    <a:pt x="364" y="144"/>
                  </a:lnTo>
                  <a:lnTo>
                    <a:pt x="366" y="144"/>
                  </a:lnTo>
                  <a:lnTo>
                    <a:pt x="366" y="147"/>
                  </a:lnTo>
                  <a:lnTo>
                    <a:pt x="371" y="144"/>
                  </a:lnTo>
                  <a:lnTo>
                    <a:pt x="373" y="140"/>
                  </a:lnTo>
                  <a:lnTo>
                    <a:pt x="373" y="137"/>
                  </a:lnTo>
                  <a:lnTo>
                    <a:pt x="380" y="137"/>
                  </a:lnTo>
                  <a:lnTo>
                    <a:pt x="390" y="140"/>
                  </a:lnTo>
                  <a:lnTo>
                    <a:pt x="397" y="144"/>
                  </a:lnTo>
                  <a:lnTo>
                    <a:pt x="399" y="144"/>
                  </a:lnTo>
                  <a:lnTo>
                    <a:pt x="399" y="151"/>
                  </a:lnTo>
                  <a:lnTo>
                    <a:pt x="397" y="151"/>
                  </a:lnTo>
                  <a:lnTo>
                    <a:pt x="397" y="163"/>
                  </a:lnTo>
                  <a:lnTo>
                    <a:pt x="395" y="177"/>
                  </a:lnTo>
                  <a:lnTo>
                    <a:pt x="390" y="187"/>
                  </a:lnTo>
                  <a:lnTo>
                    <a:pt x="388" y="192"/>
                  </a:lnTo>
                  <a:lnTo>
                    <a:pt x="388" y="201"/>
                  </a:lnTo>
                  <a:lnTo>
                    <a:pt x="390" y="201"/>
                  </a:lnTo>
                  <a:lnTo>
                    <a:pt x="390" y="203"/>
                  </a:lnTo>
                  <a:lnTo>
                    <a:pt x="395" y="203"/>
                  </a:lnTo>
                  <a:lnTo>
                    <a:pt x="397" y="210"/>
                  </a:lnTo>
                  <a:lnTo>
                    <a:pt x="406" y="218"/>
                  </a:lnTo>
                  <a:lnTo>
                    <a:pt x="421" y="227"/>
                  </a:lnTo>
                  <a:lnTo>
                    <a:pt x="428" y="227"/>
                  </a:lnTo>
                  <a:lnTo>
                    <a:pt x="437" y="232"/>
                  </a:lnTo>
                  <a:lnTo>
                    <a:pt x="439" y="234"/>
                  </a:lnTo>
                  <a:lnTo>
                    <a:pt x="444" y="236"/>
                  </a:lnTo>
                  <a:lnTo>
                    <a:pt x="447" y="241"/>
                  </a:lnTo>
                  <a:lnTo>
                    <a:pt x="451" y="241"/>
                  </a:lnTo>
                  <a:lnTo>
                    <a:pt x="454" y="243"/>
                  </a:lnTo>
                  <a:lnTo>
                    <a:pt x="454" y="258"/>
                  </a:lnTo>
                  <a:lnTo>
                    <a:pt x="456" y="258"/>
                  </a:lnTo>
                  <a:lnTo>
                    <a:pt x="456" y="260"/>
                  </a:lnTo>
                  <a:lnTo>
                    <a:pt x="461" y="265"/>
                  </a:lnTo>
                  <a:lnTo>
                    <a:pt x="463" y="272"/>
                  </a:lnTo>
                  <a:lnTo>
                    <a:pt x="461" y="272"/>
                  </a:lnTo>
                  <a:lnTo>
                    <a:pt x="461" y="274"/>
                  </a:lnTo>
                  <a:lnTo>
                    <a:pt x="456" y="274"/>
                  </a:lnTo>
                  <a:lnTo>
                    <a:pt x="456" y="281"/>
                  </a:lnTo>
                  <a:lnTo>
                    <a:pt x="463" y="284"/>
                  </a:lnTo>
                  <a:lnTo>
                    <a:pt x="468" y="291"/>
                  </a:lnTo>
                  <a:lnTo>
                    <a:pt x="470" y="298"/>
                  </a:lnTo>
                  <a:lnTo>
                    <a:pt x="477" y="300"/>
                  </a:lnTo>
                  <a:lnTo>
                    <a:pt x="491" y="30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5" name="Freeform 189">
              <a:extLst>
                <a:ext uri="{FF2B5EF4-FFF2-40B4-BE49-F238E27FC236}">
                  <a16:creationId xmlns:a16="http://schemas.microsoft.com/office/drawing/2014/main" id="{3CA26BA4-1157-4002-8672-234C7EB0BE8B}"/>
                </a:ext>
              </a:extLst>
            </p:cNvPr>
            <p:cNvSpPr>
              <a:spLocks/>
            </p:cNvSpPr>
            <p:nvPr/>
          </p:nvSpPr>
          <p:spPr bwMode="gray">
            <a:xfrm rot="47099">
              <a:off x="2250858" y="3262870"/>
              <a:ext cx="890" cy="3860"/>
            </a:xfrm>
            <a:custGeom>
              <a:avLst/>
              <a:gdLst>
                <a:gd name="T0" fmla="*/ 3 w 3"/>
                <a:gd name="T1" fmla="*/ 0 h 9"/>
                <a:gd name="T2" fmla="*/ 3 w 3"/>
                <a:gd name="T3" fmla="*/ 9 h 9"/>
                <a:gd name="T4" fmla="*/ 0 w 3"/>
                <a:gd name="T5" fmla="*/ 2 h 9"/>
                <a:gd name="T6" fmla="*/ 0 w 3"/>
                <a:gd name="T7" fmla="*/ 0 h 9"/>
                <a:gd name="T8" fmla="*/ 3 w 3"/>
                <a:gd name="T9" fmla="*/ 0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0"/>
                  </a:moveTo>
                  <a:lnTo>
                    <a:pt x="3" y="9"/>
                  </a:lnTo>
                  <a:lnTo>
                    <a:pt x="0" y="2"/>
                  </a:lnTo>
                  <a:lnTo>
                    <a:pt x="0" y="0"/>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6" name="Freeform 190">
              <a:extLst>
                <a:ext uri="{FF2B5EF4-FFF2-40B4-BE49-F238E27FC236}">
                  <a16:creationId xmlns:a16="http://schemas.microsoft.com/office/drawing/2014/main" id="{C69F912F-50A4-4452-8E55-2405C7875888}"/>
                </a:ext>
              </a:extLst>
            </p:cNvPr>
            <p:cNvSpPr>
              <a:spLocks/>
            </p:cNvSpPr>
            <p:nvPr/>
          </p:nvSpPr>
          <p:spPr bwMode="gray">
            <a:xfrm rot="47099">
              <a:off x="2100497" y="3216486"/>
              <a:ext cx="150513" cy="73328"/>
            </a:xfrm>
            <a:custGeom>
              <a:avLst/>
              <a:gdLst>
                <a:gd name="T0" fmla="*/ 250 w 321"/>
                <a:gd name="T1" fmla="*/ 128 h 156"/>
                <a:gd name="T2" fmla="*/ 243 w 321"/>
                <a:gd name="T3" fmla="*/ 128 h 156"/>
                <a:gd name="T4" fmla="*/ 241 w 321"/>
                <a:gd name="T5" fmla="*/ 118 h 156"/>
                <a:gd name="T6" fmla="*/ 241 w 321"/>
                <a:gd name="T7" fmla="*/ 111 h 156"/>
                <a:gd name="T8" fmla="*/ 255 w 321"/>
                <a:gd name="T9" fmla="*/ 106 h 156"/>
                <a:gd name="T10" fmla="*/ 258 w 321"/>
                <a:gd name="T11" fmla="*/ 99 h 156"/>
                <a:gd name="T12" fmla="*/ 241 w 321"/>
                <a:gd name="T13" fmla="*/ 99 h 156"/>
                <a:gd name="T14" fmla="*/ 232 w 321"/>
                <a:gd name="T15" fmla="*/ 90 h 156"/>
                <a:gd name="T16" fmla="*/ 241 w 321"/>
                <a:gd name="T17" fmla="*/ 95 h 156"/>
                <a:gd name="T18" fmla="*/ 241 w 321"/>
                <a:gd name="T19" fmla="*/ 80 h 156"/>
                <a:gd name="T20" fmla="*/ 227 w 321"/>
                <a:gd name="T21" fmla="*/ 88 h 156"/>
                <a:gd name="T22" fmla="*/ 234 w 321"/>
                <a:gd name="T23" fmla="*/ 73 h 156"/>
                <a:gd name="T24" fmla="*/ 234 w 321"/>
                <a:gd name="T25" fmla="*/ 59 h 156"/>
                <a:gd name="T26" fmla="*/ 227 w 321"/>
                <a:gd name="T27" fmla="*/ 43 h 156"/>
                <a:gd name="T28" fmla="*/ 243 w 321"/>
                <a:gd name="T29" fmla="*/ 19 h 156"/>
                <a:gd name="T30" fmla="*/ 227 w 321"/>
                <a:gd name="T31" fmla="*/ 24 h 156"/>
                <a:gd name="T32" fmla="*/ 232 w 321"/>
                <a:gd name="T33" fmla="*/ 33 h 156"/>
                <a:gd name="T34" fmla="*/ 222 w 321"/>
                <a:gd name="T35" fmla="*/ 38 h 156"/>
                <a:gd name="T36" fmla="*/ 215 w 321"/>
                <a:gd name="T37" fmla="*/ 43 h 156"/>
                <a:gd name="T38" fmla="*/ 210 w 321"/>
                <a:gd name="T39" fmla="*/ 54 h 156"/>
                <a:gd name="T40" fmla="*/ 215 w 321"/>
                <a:gd name="T41" fmla="*/ 59 h 156"/>
                <a:gd name="T42" fmla="*/ 201 w 321"/>
                <a:gd name="T43" fmla="*/ 57 h 156"/>
                <a:gd name="T44" fmla="*/ 210 w 321"/>
                <a:gd name="T45" fmla="*/ 64 h 156"/>
                <a:gd name="T46" fmla="*/ 222 w 321"/>
                <a:gd name="T47" fmla="*/ 78 h 156"/>
                <a:gd name="T48" fmla="*/ 217 w 321"/>
                <a:gd name="T49" fmla="*/ 104 h 156"/>
                <a:gd name="T50" fmla="*/ 227 w 321"/>
                <a:gd name="T51" fmla="*/ 123 h 156"/>
                <a:gd name="T52" fmla="*/ 239 w 321"/>
                <a:gd name="T53" fmla="*/ 130 h 156"/>
                <a:gd name="T54" fmla="*/ 222 w 321"/>
                <a:gd name="T55" fmla="*/ 130 h 156"/>
                <a:gd name="T56" fmla="*/ 210 w 321"/>
                <a:gd name="T57" fmla="*/ 114 h 156"/>
                <a:gd name="T58" fmla="*/ 217 w 321"/>
                <a:gd name="T59" fmla="*/ 130 h 156"/>
                <a:gd name="T60" fmla="*/ 239 w 321"/>
                <a:gd name="T61" fmla="*/ 137 h 156"/>
                <a:gd name="T62" fmla="*/ 241 w 321"/>
                <a:gd name="T63" fmla="*/ 147 h 156"/>
                <a:gd name="T64" fmla="*/ 248 w 321"/>
                <a:gd name="T65" fmla="*/ 156 h 156"/>
                <a:gd name="T66" fmla="*/ 217 w 321"/>
                <a:gd name="T67" fmla="*/ 147 h 156"/>
                <a:gd name="T68" fmla="*/ 201 w 321"/>
                <a:gd name="T69" fmla="*/ 147 h 156"/>
                <a:gd name="T70" fmla="*/ 187 w 321"/>
                <a:gd name="T71" fmla="*/ 140 h 156"/>
                <a:gd name="T72" fmla="*/ 175 w 321"/>
                <a:gd name="T73" fmla="*/ 137 h 156"/>
                <a:gd name="T74" fmla="*/ 182 w 321"/>
                <a:gd name="T75" fmla="*/ 118 h 156"/>
                <a:gd name="T76" fmla="*/ 187 w 321"/>
                <a:gd name="T77" fmla="*/ 97 h 156"/>
                <a:gd name="T78" fmla="*/ 161 w 321"/>
                <a:gd name="T79" fmla="*/ 90 h 156"/>
                <a:gd name="T80" fmla="*/ 144 w 321"/>
                <a:gd name="T81" fmla="*/ 78 h 156"/>
                <a:gd name="T82" fmla="*/ 120 w 321"/>
                <a:gd name="T83" fmla="*/ 71 h 156"/>
                <a:gd name="T84" fmla="*/ 87 w 321"/>
                <a:gd name="T85" fmla="*/ 50 h 156"/>
                <a:gd name="T86" fmla="*/ 71 w 321"/>
                <a:gd name="T87" fmla="*/ 64 h 156"/>
                <a:gd name="T88" fmla="*/ 50 w 321"/>
                <a:gd name="T89" fmla="*/ 71 h 156"/>
                <a:gd name="T90" fmla="*/ 33 w 321"/>
                <a:gd name="T91" fmla="*/ 83 h 156"/>
                <a:gd name="T92" fmla="*/ 26 w 321"/>
                <a:gd name="T93" fmla="*/ 95 h 156"/>
                <a:gd name="T94" fmla="*/ 0 w 321"/>
                <a:gd name="T95" fmla="*/ 71 h 156"/>
                <a:gd name="T96" fmla="*/ 243 w 321"/>
                <a:gd name="T97" fmla="*/ 7 h 156"/>
                <a:gd name="T98" fmla="*/ 262 w 321"/>
                <a:gd name="T99" fmla="*/ 50 h 156"/>
                <a:gd name="T100" fmla="*/ 267 w 321"/>
                <a:gd name="T101" fmla="*/ 71 h 156"/>
                <a:gd name="T102" fmla="*/ 283 w 321"/>
                <a:gd name="T103" fmla="*/ 106 h 156"/>
                <a:gd name="T104" fmla="*/ 312 w 321"/>
                <a:gd name="T105" fmla="*/ 99 h 156"/>
                <a:gd name="T106" fmla="*/ 321 w 321"/>
                <a:gd name="T107" fmla="*/ 118 h 156"/>
                <a:gd name="T108" fmla="*/ 312 w 321"/>
                <a:gd name="T109" fmla="*/ 140 h 156"/>
                <a:gd name="T110" fmla="*/ 295 w 321"/>
                <a:gd name="T111" fmla="*/ 151 h 156"/>
                <a:gd name="T112" fmla="*/ 283 w 321"/>
                <a:gd name="T113" fmla="*/ 154 h 156"/>
                <a:gd name="T114" fmla="*/ 279 w 321"/>
                <a:gd name="T115" fmla="*/ 154 h 156"/>
                <a:gd name="T116" fmla="*/ 272 w 321"/>
                <a:gd name="T117" fmla="*/ 118 h 156"/>
                <a:gd name="T118" fmla="*/ 262 w 321"/>
                <a:gd name="T119" fmla="*/ 135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1"/>
                <a:gd name="T181" fmla="*/ 0 h 156"/>
                <a:gd name="T182" fmla="*/ 321 w 321"/>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1" h="156">
                  <a:moveTo>
                    <a:pt x="262" y="135"/>
                  </a:moveTo>
                  <a:lnTo>
                    <a:pt x="258" y="135"/>
                  </a:lnTo>
                  <a:lnTo>
                    <a:pt x="250" y="128"/>
                  </a:lnTo>
                  <a:lnTo>
                    <a:pt x="248" y="128"/>
                  </a:lnTo>
                  <a:lnTo>
                    <a:pt x="248" y="130"/>
                  </a:lnTo>
                  <a:lnTo>
                    <a:pt x="243" y="128"/>
                  </a:lnTo>
                  <a:lnTo>
                    <a:pt x="239" y="121"/>
                  </a:lnTo>
                  <a:lnTo>
                    <a:pt x="239" y="118"/>
                  </a:lnTo>
                  <a:lnTo>
                    <a:pt x="241" y="118"/>
                  </a:lnTo>
                  <a:lnTo>
                    <a:pt x="243" y="114"/>
                  </a:lnTo>
                  <a:lnTo>
                    <a:pt x="243" y="111"/>
                  </a:lnTo>
                  <a:lnTo>
                    <a:pt x="241" y="111"/>
                  </a:lnTo>
                  <a:lnTo>
                    <a:pt x="239" y="114"/>
                  </a:lnTo>
                  <a:lnTo>
                    <a:pt x="239" y="106"/>
                  </a:lnTo>
                  <a:lnTo>
                    <a:pt x="255" y="106"/>
                  </a:lnTo>
                  <a:lnTo>
                    <a:pt x="258" y="104"/>
                  </a:lnTo>
                  <a:lnTo>
                    <a:pt x="258" y="97"/>
                  </a:lnTo>
                  <a:lnTo>
                    <a:pt x="258" y="99"/>
                  </a:lnTo>
                  <a:lnTo>
                    <a:pt x="255" y="104"/>
                  </a:lnTo>
                  <a:lnTo>
                    <a:pt x="250" y="104"/>
                  </a:lnTo>
                  <a:lnTo>
                    <a:pt x="241" y="99"/>
                  </a:lnTo>
                  <a:lnTo>
                    <a:pt x="239" y="95"/>
                  </a:lnTo>
                  <a:lnTo>
                    <a:pt x="232" y="104"/>
                  </a:lnTo>
                  <a:lnTo>
                    <a:pt x="232" y="90"/>
                  </a:lnTo>
                  <a:lnTo>
                    <a:pt x="234" y="88"/>
                  </a:lnTo>
                  <a:lnTo>
                    <a:pt x="239" y="90"/>
                  </a:lnTo>
                  <a:lnTo>
                    <a:pt x="241" y="95"/>
                  </a:lnTo>
                  <a:lnTo>
                    <a:pt x="243" y="90"/>
                  </a:lnTo>
                  <a:lnTo>
                    <a:pt x="243" y="88"/>
                  </a:lnTo>
                  <a:lnTo>
                    <a:pt x="241" y="80"/>
                  </a:lnTo>
                  <a:lnTo>
                    <a:pt x="232" y="78"/>
                  </a:lnTo>
                  <a:lnTo>
                    <a:pt x="227" y="80"/>
                  </a:lnTo>
                  <a:lnTo>
                    <a:pt x="227" y="88"/>
                  </a:lnTo>
                  <a:lnTo>
                    <a:pt x="224" y="88"/>
                  </a:lnTo>
                  <a:lnTo>
                    <a:pt x="224" y="73"/>
                  </a:lnTo>
                  <a:lnTo>
                    <a:pt x="234" y="73"/>
                  </a:lnTo>
                  <a:lnTo>
                    <a:pt x="234" y="71"/>
                  </a:lnTo>
                  <a:lnTo>
                    <a:pt x="239" y="57"/>
                  </a:lnTo>
                  <a:lnTo>
                    <a:pt x="234" y="59"/>
                  </a:lnTo>
                  <a:lnTo>
                    <a:pt x="232" y="66"/>
                  </a:lnTo>
                  <a:lnTo>
                    <a:pt x="224" y="59"/>
                  </a:lnTo>
                  <a:lnTo>
                    <a:pt x="227" y="43"/>
                  </a:lnTo>
                  <a:lnTo>
                    <a:pt x="232" y="40"/>
                  </a:lnTo>
                  <a:lnTo>
                    <a:pt x="239" y="33"/>
                  </a:lnTo>
                  <a:lnTo>
                    <a:pt x="243" y="19"/>
                  </a:lnTo>
                  <a:lnTo>
                    <a:pt x="243" y="17"/>
                  </a:lnTo>
                  <a:lnTo>
                    <a:pt x="234" y="14"/>
                  </a:lnTo>
                  <a:lnTo>
                    <a:pt x="227" y="24"/>
                  </a:lnTo>
                  <a:lnTo>
                    <a:pt x="227" y="31"/>
                  </a:lnTo>
                  <a:lnTo>
                    <a:pt x="232" y="31"/>
                  </a:lnTo>
                  <a:lnTo>
                    <a:pt x="232" y="33"/>
                  </a:lnTo>
                  <a:lnTo>
                    <a:pt x="224" y="40"/>
                  </a:lnTo>
                  <a:lnTo>
                    <a:pt x="222" y="40"/>
                  </a:lnTo>
                  <a:lnTo>
                    <a:pt x="222" y="38"/>
                  </a:lnTo>
                  <a:lnTo>
                    <a:pt x="217" y="33"/>
                  </a:lnTo>
                  <a:lnTo>
                    <a:pt x="215" y="40"/>
                  </a:lnTo>
                  <a:lnTo>
                    <a:pt x="215" y="43"/>
                  </a:lnTo>
                  <a:lnTo>
                    <a:pt x="210" y="50"/>
                  </a:lnTo>
                  <a:lnTo>
                    <a:pt x="208" y="50"/>
                  </a:lnTo>
                  <a:lnTo>
                    <a:pt x="210" y="54"/>
                  </a:lnTo>
                  <a:lnTo>
                    <a:pt x="210" y="57"/>
                  </a:lnTo>
                  <a:lnTo>
                    <a:pt x="215" y="57"/>
                  </a:lnTo>
                  <a:lnTo>
                    <a:pt x="215" y="59"/>
                  </a:lnTo>
                  <a:lnTo>
                    <a:pt x="210" y="59"/>
                  </a:lnTo>
                  <a:lnTo>
                    <a:pt x="208" y="57"/>
                  </a:lnTo>
                  <a:lnTo>
                    <a:pt x="201" y="57"/>
                  </a:lnTo>
                  <a:lnTo>
                    <a:pt x="201" y="59"/>
                  </a:lnTo>
                  <a:lnTo>
                    <a:pt x="208" y="59"/>
                  </a:lnTo>
                  <a:lnTo>
                    <a:pt x="210" y="64"/>
                  </a:lnTo>
                  <a:lnTo>
                    <a:pt x="215" y="64"/>
                  </a:lnTo>
                  <a:lnTo>
                    <a:pt x="215" y="66"/>
                  </a:lnTo>
                  <a:lnTo>
                    <a:pt x="222" y="78"/>
                  </a:lnTo>
                  <a:lnTo>
                    <a:pt x="217" y="83"/>
                  </a:lnTo>
                  <a:lnTo>
                    <a:pt x="215" y="90"/>
                  </a:lnTo>
                  <a:lnTo>
                    <a:pt x="217" y="104"/>
                  </a:lnTo>
                  <a:lnTo>
                    <a:pt x="224" y="118"/>
                  </a:lnTo>
                  <a:lnTo>
                    <a:pt x="224" y="121"/>
                  </a:lnTo>
                  <a:lnTo>
                    <a:pt x="227" y="123"/>
                  </a:lnTo>
                  <a:lnTo>
                    <a:pt x="232" y="123"/>
                  </a:lnTo>
                  <a:lnTo>
                    <a:pt x="234" y="128"/>
                  </a:lnTo>
                  <a:lnTo>
                    <a:pt x="239" y="130"/>
                  </a:lnTo>
                  <a:lnTo>
                    <a:pt x="234" y="135"/>
                  </a:lnTo>
                  <a:lnTo>
                    <a:pt x="232" y="135"/>
                  </a:lnTo>
                  <a:lnTo>
                    <a:pt x="222" y="130"/>
                  </a:lnTo>
                  <a:lnTo>
                    <a:pt x="217" y="128"/>
                  </a:lnTo>
                  <a:lnTo>
                    <a:pt x="210" y="118"/>
                  </a:lnTo>
                  <a:lnTo>
                    <a:pt x="210" y="114"/>
                  </a:lnTo>
                  <a:lnTo>
                    <a:pt x="208" y="111"/>
                  </a:lnTo>
                  <a:lnTo>
                    <a:pt x="215" y="128"/>
                  </a:lnTo>
                  <a:lnTo>
                    <a:pt x="217" y="130"/>
                  </a:lnTo>
                  <a:lnTo>
                    <a:pt x="222" y="135"/>
                  </a:lnTo>
                  <a:lnTo>
                    <a:pt x="232" y="137"/>
                  </a:lnTo>
                  <a:lnTo>
                    <a:pt x="239" y="137"/>
                  </a:lnTo>
                  <a:lnTo>
                    <a:pt x="239" y="140"/>
                  </a:lnTo>
                  <a:lnTo>
                    <a:pt x="241" y="144"/>
                  </a:lnTo>
                  <a:lnTo>
                    <a:pt x="241" y="147"/>
                  </a:lnTo>
                  <a:lnTo>
                    <a:pt x="243" y="147"/>
                  </a:lnTo>
                  <a:lnTo>
                    <a:pt x="243" y="151"/>
                  </a:lnTo>
                  <a:lnTo>
                    <a:pt x="248" y="156"/>
                  </a:lnTo>
                  <a:lnTo>
                    <a:pt x="227" y="151"/>
                  </a:lnTo>
                  <a:lnTo>
                    <a:pt x="224" y="147"/>
                  </a:lnTo>
                  <a:lnTo>
                    <a:pt x="217" y="147"/>
                  </a:lnTo>
                  <a:lnTo>
                    <a:pt x="215" y="151"/>
                  </a:lnTo>
                  <a:lnTo>
                    <a:pt x="203" y="151"/>
                  </a:lnTo>
                  <a:lnTo>
                    <a:pt x="201" y="147"/>
                  </a:lnTo>
                  <a:lnTo>
                    <a:pt x="198" y="144"/>
                  </a:lnTo>
                  <a:lnTo>
                    <a:pt x="191" y="137"/>
                  </a:lnTo>
                  <a:lnTo>
                    <a:pt x="187" y="140"/>
                  </a:lnTo>
                  <a:lnTo>
                    <a:pt x="182" y="147"/>
                  </a:lnTo>
                  <a:lnTo>
                    <a:pt x="177" y="144"/>
                  </a:lnTo>
                  <a:lnTo>
                    <a:pt x="175" y="137"/>
                  </a:lnTo>
                  <a:lnTo>
                    <a:pt x="175" y="130"/>
                  </a:lnTo>
                  <a:lnTo>
                    <a:pt x="177" y="128"/>
                  </a:lnTo>
                  <a:lnTo>
                    <a:pt x="182" y="118"/>
                  </a:lnTo>
                  <a:lnTo>
                    <a:pt x="184" y="118"/>
                  </a:lnTo>
                  <a:lnTo>
                    <a:pt x="184" y="106"/>
                  </a:lnTo>
                  <a:lnTo>
                    <a:pt x="187" y="97"/>
                  </a:lnTo>
                  <a:lnTo>
                    <a:pt x="177" y="90"/>
                  </a:lnTo>
                  <a:lnTo>
                    <a:pt x="175" y="95"/>
                  </a:lnTo>
                  <a:lnTo>
                    <a:pt x="161" y="90"/>
                  </a:lnTo>
                  <a:lnTo>
                    <a:pt x="146" y="90"/>
                  </a:lnTo>
                  <a:lnTo>
                    <a:pt x="144" y="88"/>
                  </a:lnTo>
                  <a:lnTo>
                    <a:pt x="144" y="78"/>
                  </a:lnTo>
                  <a:lnTo>
                    <a:pt x="137" y="73"/>
                  </a:lnTo>
                  <a:lnTo>
                    <a:pt x="125" y="73"/>
                  </a:lnTo>
                  <a:lnTo>
                    <a:pt x="120" y="71"/>
                  </a:lnTo>
                  <a:lnTo>
                    <a:pt x="106" y="54"/>
                  </a:lnTo>
                  <a:lnTo>
                    <a:pt x="90" y="50"/>
                  </a:lnTo>
                  <a:lnTo>
                    <a:pt x="87" y="50"/>
                  </a:lnTo>
                  <a:lnTo>
                    <a:pt x="73" y="59"/>
                  </a:lnTo>
                  <a:lnTo>
                    <a:pt x="71" y="59"/>
                  </a:lnTo>
                  <a:lnTo>
                    <a:pt x="71" y="64"/>
                  </a:lnTo>
                  <a:lnTo>
                    <a:pt x="73" y="66"/>
                  </a:lnTo>
                  <a:lnTo>
                    <a:pt x="71" y="71"/>
                  </a:lnTo>
                  <a:lnTo>
                    <a:pt x="50" y="71"/>
                  </a:lnTo>
                  <a:lnTo>
                    <a:pt x="45" y="78"/>
                  </a:lnTo>
                  <a:lnTo>
                    <a:pt x="40" y="83"/>
                  </a:lnTo>
                  <a:lnTo>
                    <a:pt x="33" y="83"/>
                  </a:lnTo>
                  <a:lnTo>
                    <a:pt x="31" y="88"/>
                  </a:lnTo>
                  <a:lnTo>
                    <a:pt x="31" y="90"/>
                  </a:lnTo>
                  <a:lnTo>
                    <a:pt x="26" y="95"/>
                  </a:lnTo>
                  <a:lnTo>
                    <a:pt x="9" y="114"/>
                  </a:lnTo>
                  <a:lnTo>
                    <a:pt x="7" y="99"/>
                  </a:lnTo>
                  <a:lnTo>
                    <a:pt x="0" y="71"/>
                  </a:lnTo>
                  <a:lnTo>
                    <a:pt x="243" y="0"/>
                  </a:lnTo>
                  <a:lnTo>
                    <a:pt x="241" y="3"/>
                  </a:lnTo>
                  <a:lnTo>
                    <a:pt x="243" y="7"/>
                  </a:lnTo>
                  <a:lnTo>
                    <a:pt x="250" y="31"/>
                  </a:lnTo>
                  <a:lnTo>
                    <a:pt x="258" y="43"/>
                  </a:lnTo>
                  <a:lnTo>
                    <a:pt x="262" y="50"/>
                  </a:lnTo>
                  <a:lnTo>
                    <a:pt x="262" y="57"/>
                  </a:lnTo>
                  <a:lnTo>
                    <a:pt x="265" y="59"/>
                  </a:lnTo>
                  <a:lnTo>
                    <a:pt x="267" y="71"/>
                  </a:lnTo>
                  <a:lnTo>
                    <a:pt x="267" y="78"/>
                  </a:lnTo>
                  <a:lnTo>
                    <a:pt x="279" y="111"/>
                  </a:lnTo>
                  <a:lnTo>
                    <a:pt x="283" y="106"/>
                  </a:lnTo>
                  <a:lnTo>
                    <a:pt x="295" y="104"/>
                  </a:lnTo>
                  <a:lnTo>
                    <a:pt x="298" y="104"/>
                  </a:lnTo>
                  <a:lnTo>
                    <a:pt x="312" y="99"/>
                  </a:lnTo>
                  <a:lnTo>
                    <a:pt x="319" y="97"/>
                  </a:lnTo>
                  <a:lnTo>
                    <a:pt x="321" y="97"/>
                  </a:lnTo>
                  <a:lnTo>
                    <a:pt x="321" y="118"/>
                  </a:lnTo>
                  <a:lnTo>
                    <a:pt x="319" y="121"/>
                  </a:lnTo>
                  <a:lnTo>
                    <a:pt x="312" y="135"/>
                  </a:lnTo>
                  <a:lnTo>
                    <a:pt x="312" y="140"/>
                  </a:lnTo>
                  <a:lnTo>
                    <a:pt x="305" y="144"/>
                  </a:lnTo>
                  <a:lnTo>
                    <a:pt x="295" y="147"/>
                  </a:lnTo>
                  <a:lnTo>
                    <a:pt x="295" y="151"/>
                  </a:lnTo>
                  <a:lnTo>
                    <a:pt x="291" y="151"/>
                  </a:lnTo>
                  <a:lnTo>
                    <a:pt x="288" y="154"/>
                  </a:lnTo>
                  <a:lnTo>
                    <a:pt x="283" y="154"/>
                  </a:lnTo>
                  <a:lnTo>
                    <a:pt x="283" y="156"/>
                  </a:lnTo>
                  <a:lnTo>
                    <a:pt x="281" y="156"/>
                  </a:lnTo>
                  <a:lnTo>
                    <a:pt x="279" y="154"/>
                  </a:lnTo>
                  <a:lnTo>
                    <a:pt x="279" y="144"/>
                  </a:lnTo>
                  <a:lnTo>
                    <a:pt x="272" y="140"/>
                  </a:lnTo>
                  <a:lnTo>
                    <a:pt x="272" y="118"/>
                  </a:lnTo>
                  <a:lnTo>
                    <a:pt x="265" y="135"/>
                  </a:lnTo>
                  <a:lnTo>
                    <a:pt x="262" y="137"/>
                  </a:lnTo>
                  <a:lnTo>
                    <a:pt x="262" y="13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7" name="Freeform 191">
              <a:extLst>
                <a:ext uri="{FF2B5EF4-FFF2-40B4-BE49-F238E27FC236}">
                  <a16:creationId xmlns:a16="http://schemas.microsoft.com/office/drawing/2014/main" id="{4E510C9F-07E7-43E7-B64E-EA62A74567AC}"/>
                </a:ext>
              </a:extLst>
            </p:cNvPr>
            <p:cNvSpPr>
              <a:spLocks/>
            </p:cNvSpPr>
            <p:nvPr/>
          </p:nvSpPr>
          <p:spPr bwMode="gray">
            <a:xfrm rot="47099">
              <a:off x="2182307" y="3259066"/>
              <a:ext cx="5343" cy="6754"/>
            </a:xfrm>
            <a:custGeom>
              <a:avLst/>
              <a:gdLst>
                <a:gd name="T0" fmla="*/ 9 w 12"/>
                <a:gd name="T1" fmla="*/ 16 h 16"/>
                <a:gd name="T2" fmla="*/ 9 w 12"/>
                <a:gd name="T3" fmla="*/ 14 h 16"/>
                <a:gd name="T4" fmla="*/ 7 w 12"/>
                <a:gd name="T5" fmla="*/ 9 h 16"/>
                <a:gd name="T6" fmla="*/ 2 w 12"/>
                <a:gd name="T7" fmla="*/ 7 h 16"/>
                <a:gd name="T8" fmla="*/ 0 w 12"/>
                <a:gd name="T9" fmla="*/ 7 h 16"/>
                <a:gd name="T10" fmla="*/ 0 w 12"/>
                <a:gd name="T11" fmla="*/ 5 h 16"/>
                <a:gd name="T12" fmla="*/ 2 w 12"/>
                <a:gd name="T13" fmla="*/ 0 h 16"/>
                <a:gd name="T14" fmla="*/ 12 w 12"/>
                <a:gd name="T15" fmla="*/ 7 h 16"/>
                <a:gd name="T16" fmla="*/ 9 w 12"/>
                <a:gd name="T17" fmla="*/ 16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6"/>
                <a:gd name="T29" fmla="*/ 12 w 12"/>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6">
                  <a:moveTo>
                    <a:pt x="9" y="16"/>
                  </a:moveTo>
                  <a:lnTo>
                    <a:pt x="9" y="14"/>
                  </a:lnTo>
                  <a:lnTo>
                    <a:pt x="7" y="9"/>
                  </a:lnTo>
                  <a:lnTo>
                    <a:pt x="2" y="7"/>
                  </a:lnTo>
                  <a:lnTo>
                    <a:pt x="0" y="7"/>
                  </a:lnTo>
                  <a:lnTo>
                    <a:pt x="0" y="5"/>
                  </a:lnTo>
                  <a:lnTo>
                    <a:pt x="2" y="0"/>
                  </a:lnTo>
                  <a:lnTo>
                    <a:pt x="12" y="7"/>
                  </a:lnTo>
                  <a:lnTo>
                    <a:pt x="9" y="1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8" name="Freeform 192">
              <a:extLst>
                <a:ext uri="{FF2B5EF4-FFF2-40B4-BE49-F238E27FC236}">
                  <a16:creationId xmlns:a16="http://schemas.microsoft.com/office/drawing/2014/main" id="{074165C8-204E-4BB2-92B0-A2AC95882F9C}"/>
                </a:ext>
              </a:extLst>
            </p:cNvPr>
            <p:cNvSpPr>
              <a:spLocks/>
            </p:cNvSpPr>
            <p:nvPr/>
          </p:nvSpPr>
          <p:spPr bwMode="gray">
            <a:xfrm rot="47099">
              <a:off x="2213790" y="3210515"/>
              <a:ext cx="38297" cy="58855"/>
            </a:xfrm>
            <a:custGeom>
              <a:avLst/>
              <a:gdLst>
                <a:gd name="T0" fmla="*/ 24 w 83"/>
                <a:gd name="T1" fmla="*/ 2 h 127"/>
                <a:gd name="T2" fmla="*/ 21 w 83"/>
                <a:gd name="T3" fmla="*/ 7 h 127"/>
                <a:gd name="T4" fmla="*/ 17 w 83"/>
                <a:gd name="T5" fmla="*/ 19 h 127"/>
                <a:gd name="T6" fmla="*/ 17 w 83"/>
                <a:gd name="T7" fmla="*/ 23 h 127"/>
                <a:gd name="T8" fmla="*/ 24 w 83"/>
                <a:gd name="T9" fmla="*/ 35 h 127"/>
                <a:gd name="T10" fmla="*/ 26 w 83"/>
                <a:gd name="T11" fmla="*/ 40 h 127"/>
                <a:gd name="T12" fmla="*/ 33 w 83"/>
                <a:gd name="T13" fmla="*/ 47 h 127"/>
                <a:gd name="T14" fmla="*/ 40 w 83"/>
                <a:gd name="T15" fmla="*/ 49 h 127"/>
                <a:gd name="T16" fmla="*/ 40 w 83"/>
                <a:gd name="T17" fmla="*/ 59 h 127"/>
                <a:gd name="T18" fmla="*/ 42 w 83"/>
                <a:gd name="T19" fmla="*/ 66 h 127"/>
                <a:gd name="T20" fmla="*/ 54 w 83"/>
                <a:gd name="T21" fmla="*/ 75 h 127"/>
                <a:gd name="T22" fmla="*/ 64 w 83"/>
                <a:gd name="T23" fmla="*/ 82 h 127"/>
                <a:gd name="T24" fmla="*/ 71 w 83"/>
                <a:gd name="T25" fmla="*/ 94 h 127"/>
                <a:gd name="T26" fmla="*/ 66 w 83"/>
                <a:gd name="T27" fmla="*/ 104 h 127"/>
                <a:gd name="T28" fmla="*/ 78 w 83"/>
                <a:gd name="T29" fmla="*/ 104 h 127"/>
                <a:gd name="T30" fmla="*/ 80 w 83"/>
                <a:gd name="T31" fmla="*/ 111 h 127"/>
                <a:gd name="T32" fmla="*/ 83 w 83"/>
                <a:gd name="T33" fmla="*/ 113 h 127"/>
                <a:gd name="T34" fmla="*/ 78 w 83"/>
                <a:gd name="T35" fmla="*/ 113 h 127"/>
                <a:gd name="T36" fmla="*/ 71 w 83"/>
                <a:gd name="T37" fmla="*/ 115 h 127"/>
                <a:gd name="T38" fmla="*/ 57 w 83"/>
                <a:gd name="T39" fmla="*/ 120 h 127"/>
                <a:gd name="T40" fmla="*/ 54 w 83"/>
                <a:gd name="T41" fmla="*/ 120 h 127"/>
                <a:gd name="T42" fmla="*/ 42 w 83"/>
                <a:gd name="T43" fmla="*/ 122 h 127"/>
                <a:gd name="T44" fmla="*/ 38 w 83"/>
                <a:gd name="T45" fmla="*/ 127 h 127"/>
                <a:gd name="T46" fmla="*/ 26 w 83"/>
                <a:gd name="T47" fmla="*/ 94 h 127"/>
                <a:gd name="T48" fmla="*/ 26 w 83"/>
                <a:gd name="T49" fmla="*/ 87 h 127"/>
                <a:gd name="T50" fmla="*/ 24 w 83"/>
                <a:gd name="T51" fmla="*/ 75 h 127"/>
                <a:gd name="T52" fmla="*/ 21 w 83"/>
                <a:gd name="T53" fmla="*/ 73 h 127"/>
                <a:gd name="T54" fmla="*/ 21 w 83"/>
                <a:gd name="T55" fmla="*/ 66 h 127"/>
                <a:gd name="T56" fmla="*/ 17 w 83"/>
                <a:gd name="T57" fmla="*/ 59 h 127"/>
                <a:gd name="T58" fmla="*/ 9 w 83"/>
                <a:gd name="T59" fmla="*/ 47 h 127"/>
                <a:gd name="T60" fmla="*/ 2 w 83"/>
                <a:gd name="T61" fmla="*/ 23 h 127"/>
                <a:gd name="T62" fmla="*/ 0 w 83"/>
                <a:gd name="T63" fmla="*/ 19 h 127"/>
                <a:gd name="T64" fmla="*/ 2 w 83"/>
                <a:gd name="T65" fmla="*/ 16 h 127"/>
                <a:gd name="T66" fmla="*/ 2 w 83"/>
                <a:gd name="T67" fmla="*/ 9 h 127"/>
                <a:gd name="T68" fmla="*/ 7 w 83"/>
                <a:gd name="T69" fmla="*/ 7 h 127"/>
                <a:gd name="T70" fmla="*/ 7 w 83"/>
                <a:gd name="T71" fmla="*/ 2 h 127"/>
                <a:gd name="T72" fmla="*/ 17 w 83"/>
                <a:gd name="T73" fmla="*/ 2 h 127"/>
                <a:gd name="T74" fmla="*/ 17 w 83"/>
                <a:gd name="T75" fmla="*/ 0 h 127"/>
                <a:gd name="T76" fmla="*/ 21 w 83"/>
                <a:gd name="T77" fmla="*/ 2 h 127"/>
                <a:gd name="T78" fmla="*/ 24 w 83"/>
                <a:gd name="T79" fmla="*/ 2 h 12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3"/>
                <a:gd name="T121" fmla="*/ 0 h 127"/>
                <a:gd name="T122" fmla="*/ 83 w 83"/>
                <a:gd name="T123" fmla="*/ 127 h 12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3" h="127">
                  <a:moveTo>
                    <a:pt x="24" y="2"/>
                  </a:moveTo>
                  <a:lnTo>
                    <a:pt x="21" y="7"/>
                  </a:lnTo>
                  <a:lnTo>
                    <a:pt x="17" y="19"/>
                  </a:lnTo>
                  <a:lnTo>
                    <a:pt x="17" y="23"/>
                  </a:lnTo>
                  <a:lnTo>
                    <a:pt x="24" y="35"/>
                  </a:lnTo>
                  <a:lnTo>
                    <a:pt x="26" y="40"/>
                  </a:lnTo>
                  <a:lnTo>
                    <a:pt x="33" y="47"/>
                  </a:lnTo>
                  <a:lnTo>
                    <a:pt x="40" y="49"/>
                  </a:lnTo>
                  <a:lnTo>
                    <a:pt x="40" y="59"/>
                  </a:lnTo>
                  <a:lnTo>
                    <a:pt x="42" y="66"/>
                  </a:lnTo>
                  <a:lnTo>
                    <a:pt x="54" y="75"/>
                  </a:lnTo>
                  <a:lnTo>
                    <a:pt x="64" y="82"/>
                  </a:lnTo>
                  <a:lnTo>
                    <a:pt x="71" y="94"/>
                  </a:lnTo>
                  <a:lnTo>
                    <a:pt x="66" y="104"/>
                  </a:lnTo>
                  <a:lnTo>
                    <a:pt x="78" y="104"/>
                  </a:lnTo>
                  <a:lnTo>
                    <a:pt x="80" y="111"/>
                  </a:lnTo>
                  <a:lnTo>
                    <a:pt x="83" y="113"/>
                  </a:lnTo>
                  <a:lnTo>
                    <a:pt x="78" y="113"/>
                  </a:lnTo>
                  <a:lnTo>
                    <a:pt x="71" y="115"/>
                  </a:lnTo>
                  <a:lnTo>
                    <a:pt x="57" y="120"/>
                  </a:lnTo>
                  <a:lnTo>
                    <a:pt x="54" y="120"/>
                  </a:lnTo>
                  <a:lnTo>
                    <a:pt x="42" y="122"/>
                  </a:lnTo>
                  <a:lnTo>
                    <a:pt x="38" y="127"/>
                  </a:lnTo>
                  <a:lnTo>
                    <a:pt x="26" y="94"/>
                  </a:lnTo>
                  <a:lnTo>
                    <a:pt x="26" y="87"/>
                  </a:lnTo>
                  <a:lnTo>
                    <a:pt x="24" y="75"/>
                  </a:lnTo>
                  <a:lnTo>
                    <a:pt x="21" y="73"/>
                  </a:lnTo>
                  <a:lnTo>
                    <a:pt x="21" y="66"/>
                  </a:lnTo>
                  <a:lnTo>
                    <a:pt x="17" y="59"/>
                  </a:lnTo>
                  <a:lnTo>
                    <a:pt x="9" y="47"/>
                  </a:lnTo>
                  <a:lnTo>
                    <a:pt x="2" y="23"/>
                  </a:lnTo>
                  <a:lnTo>
                    <a:pt x="0" y="19"/>
                  </a:lnTo>
                  <a:lnTo>
                    <a:pt x="2" y="16"/>
                  </a:lnTo>
                  <a:lnTo>
                    <a:pt x="2" y="9"/>
                  </a:lnTo>
                  <a:lnTo>
                    <a:pt x="7" y="7"/>
                  </a:lnTo>
                  <a:lnTo>
                    <a:pt x="7" y="2"/>
                  </a:lnTo>
                  <a:lnTo>
                    <a:pt x="17" y="2"/>
                  </a:lnTo>
                  <a:lnTo>
                    <a:pt x="17" y="0"/>
                  </a:lnTo>
                  <a:lnTo>
                    <a:pt x="21" y="2"/>
                  </a:lnTo>
                  <a:lnTo>
                    <a:pt x="2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09" name="Freeform 193">
              <a:extLst>
                <a:ext uri="{FF2B5EF4-FFF2-40B4-BE49-F238E27FC236}">
                  <a16:creationId xmlns:a16="http://schemas.microsoft.com/office/drawing/2014/main" id="{C5CDF3E1-218D-417D-B793-EC47C2167C74}"/>
                </a:ext>
              </a:extLst>
            </p:cNvPr>
            <p:cNvSpPr>
              <a:spLocks/>
            </p:cNvSpPr>
            <p:nvPr/>
          </p:nvSpPr>
          <p:spPr bwMode="gray">
            <a:xfrm rot="47099">
              <a:off x="1383672" y="3305749"/>
              <a:ext cx="246700" cy="128322"/>
            </a:xfrm>
            <a:custGeom>
              <a:avLst/>
              <a:gdLst>
                <a:gd name="T0" fmla="*/ 501 w 531"/>
                <a:gd name="T1" fmla="*/ 267 h 277"/>
                <a:gd name="T2" fmla="*/ 458 w 531"/>
                <a:gd name="T3" fmla="*/ 267 h 277"/>
                <a:gd name="T4" fmla="*/ 449 w 531"/>
                <a:gd name="T5" fmla="*/ 272 h 277"/>
                <a:gd name="T6" fmla="*/ 392 w 531"/>
                <a:gd name="T7" fmla="*/ 272 h 277"/>
                <a:gd name="T8" fmla="*/ 375 w 531"/>
                <a:gd name="T9" fmla="*/ 274 h 277"/>
                <a:gd name="T10" fmla="*/ 274 w 531"/>
                <a:gd name="T11" fmla="*/ 274 h 277"/>
                <a:gd name="T12" fmla="*/ 257 w 531"/>
                <a:gd name="T13" fmla="*/ 277 h 277"/>
                <a:gd name="T14" fmla="*/ 33 w 531"/>
                <a:gd name="T15" fmla="*/ 277 h 277"/>
                <a:gd name="T16" fmla="*/ 30 w 531"/>
                <a:gd name="T17" fmla="*/ 274 h 277"/>
                <a:gd name="T18" fmla="*/ 0 w 531"/>
                <a:gd name="T19" fmla="*/ 274 h 277"/>
                <a:gd name="T20" fmla="*/ 5 w 531"/>
                <a:gd name="T21" fmla="*/ 192 h 277"/>
                <a:gd name="T22" fmla="*/ 5 w 531"/>
                <a:gd name="T23" fmla="*/ 67 h 277"/>
                <a:gd name="T24" fmla="*/ 7 w 531"/>
                <a:gd name="T25" fmla="*/ 62 h 277"/>
                <a:gd name="T26" fmla="*/ 7 w 531"/>
                <a:gd name="T27" fmla="*/ 7 h 277"/>
                <a:gd name="T28" fmla="*/ 64 w 531"/>
                <a:gd name="T29" fmla="*/ 7 h 277"/>
                <a:gd name="T30" fmla="*/ 71 w 531"/>
                <a:gd name="T31" fmla="*/ 10 h 277"/>
                <a:gd name="T32" fmla="*/ 227 w 531"/>
                <a:gd name="T33" fmla="*/ 10 h 277"/>
                <a:gd name="T34" fmla="*/ 231 w 531"/>
                <a:gd name="T35" fmla="*/ 7 h 277"/>
                <a:gd name="T36" fmla="*/ 354 w 531"/>
                <a:gd name="T37" fmla="*/ 7 h 277"/>
                <a:gd name="T38" fmla="*/ 361 w 531"/>
                <a:gd name="T39" fmla="*/ 5 h 277"/>
                <a:gd name="T40" fmla="*/ 418 w 531"/>
                <a:gd name="T41" fmla="*/ 5 h 277"/>
                <a:gd name="T42" fmla="*/ 444 w 531"/>
                <a:gd name="T43" fmla="*/ 0 h 277"/>
                <a:gd name="T44" fmla="*/ 468 w 531"/>
                <a:gd name="T45" fmla="*/ 0 h 277"/>
                <a:gd name="T46" fmla="*/ 468 w 531"/>
                <a:gd name="T47" fmla="*/ 5 h 277"/>
                <a:gd name="T48" fmla="*/ 482 w 531"/>
                <a:gd name="T49" fmla="*/ 10 h 277"/>
                <a:gd name="T50" fmla="*/ 484 w 531"/>
                <a:gd name="T51" fmla="*/ 10 h 277"/>
                <a:gd name="T52" fmla="*/ 489 w 531"/>
                <a:gd name="T53" fmla="*/ 7 h 277"/>
                <a:gd name="T54" fmla="*/ 491 w 531"/>
                <a:gd name="T55" fmla="*/ 7 h 277"/>
                <a:gd name="T56" fmla="*/ 498 w 531"/>
                <a:gd name="T57" fmla="*/ 15 h 277"/>
                <a:gd name="T58" fmla="*/ 498 w 531"/>
                <a:gd name="T59" fmla="*/ 22 h 277"/>
                <a:gd name="T60" fmla="*/ 496 w 531"/>
                <a:gd name="T61" fmla="*/ 24 h 277"/>
                <a:gd name="T62" fmla="*/ 496 w 531"/>
                <a:gd name="T63" fmla="*/ 22 h 277"/>
                <a:gd name="T64" fmla="*/ 491 w 531"/>
                <a:gd name="T65" fmla="*/ 24 h 277"/>
                <a:gd name="T66" fmla="*/ 482 w 531"/>
                <a:gd name="T67" fmla="*/ 38 h 277"/>
                <a:gd name="T68" fmla="*/ 484 w 531"/>
                <a:gd name="T69" fmla="*/ 41 h 277"/>
                <a:gd name="T70" fmla="*/ 489 w 531"/>
                <a:gd name="T71" fmla="*/ 48 h 277"/>
                <a:gd name="T72" fmla="*/ 496 w 531"/>
                <a:gd name="T73" fmla="*/ 55 h 277"/>
                <a:gd name="T74" fmla="*/ 498 w 531"/>
                <a:gd name="T75" fmla="*/ 57 h 277"/>
                <a:gd name="T76" fmla="*/ 498 w 531"/>
                <a:gd name="T77" fmla="*/ 62 h 277"/>
                <a:gd name="T78" fmla="*/ 505 w 531"/>
                <a:gd name="T79" fmla="*/ 67 h 277"/>
                <a:gd name="T80" fmla="*/ 508 w 531"/>
                <a:gd name="T81" fmla="*/ 71 h 277"/>
                <a:gd name="T82" fmla="*/ 512 w 531"/>
                <a:gd name="T83" fmla="*/ 71 h 277"/>
                <a:gd name="T84" fmla="*/ 517 w 531"/>
                <a:gd name="T85" fmla="*/ 78 h 277"/>
                <a:gd name="T86" fmla="*/ 522 w 531"/>
                <a:gd name="T87" fmla="*/ 142 h 277"/>
                <a:gd name="T88" fmla="*/ 524 w 531"/>
                <a:gd name="T89" fmla="*/ 187 h 277"/>
                <a:gd name="T90" fmla="*/ 524 w 531"/>
                <a:gd name="T91" fmla="*/ 201 h 277"/>
                <a:gd name="T92" fmla="*/ 529 w 531"/>
                <a:gd name="T93" fmla="*/ 220 h 277"/>
                <a:gd name="T94" fmla="*/ 529 w 531"/>
                <a:gd name="T95" fmla="*/ 256 h 277"/>
                <a:gd name="T96" fmla="*/ 531 w 531"/>
                <a:gd name="T97" fmla="*/ 265 h 277"/>
                <a:gd name="T98" fmla="*/ 501 w 531"/>
                <a:gd name="T99" fmla="*/ 267 h 2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31"/>
                <a:gd name="T151" fmla="*/ 0 h 277"/>
                <a:gd name="T152" fmla="*/ 531 w 531"/>
                <a:gd name="T153" fmla="*/ 277 h 2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31" h="277">
                  <a:moveTo>
                    <a:pt x="501" y="267"/>
                  </a:moveTo>
                  <a:lnTo>
                    <a:pt x="458" y="267"/>
                  </a:lnTo>
                  <a:lnTo>
                    <a:pt x="449" y="272"/>
                  </a:lnTo>
                  <a:lnTo>
                    <a:pt x="392" y="272"/>
                  </a:lnTo>
                  <a:lnTo>
                    <a:pt x="375" y="274"/>
                  </a:lnTo>
                  <a:lnTo>
                    <a:pt x="274" y="274"/>
                  </a:lnTo>
                  <a:lnTo>
                    <a:pt x="257" y="277"/>
                  </a:lnTo>
                  <a:lnTo>
                    <a:pt x="33" y="277"/>
                  </a:lnTo>
                  <a:lnTo>
                    <a:pt x="30" y="274"/>
                  </a:lnTo>
                  <a:lnTo>
                    <a:pt x="0" y="274"/>
                  </a:lnTo>
                  <a:lnTo>
                    <a:pt x="5" y="192"/>
                  </a:lnTo>
                  <a:lnTo>
                    <a:pt x="5" y="67"/>
                  </a:lnTo>
                  <a:lnTo>
                    <a:pt x="7" y="62"/>
                  </a:lnTo>
                  <a:lnTo>
                    <a:pt x="7" y="7"/>
                  </a:lnTo>
                  <a:lnTo>
                    <a:pt x="64" y="7"/>
                  </a:lnTo>
                  <a:lnTo>
                    <a:pt x="71" y="10"/>
                  </a:lnTo>
                  <a:lnTo>
                    <a:pt x="227" y="10"/>
                  </a:lnTo>
                  <a:lnTo>
                    <a:pt x="231" y="7"/>
                  </a:lnTo>
                  <a:lnTo>
                    <a:pt x="354" y="7"/>
                  </a:lnTo>
                  <a:lnTo>
                    <a:pt x="361" y="5"/>
                  </a:lnTo>
                  <a:lnTo>
                    <a:pt x="418" y="5"/>
                  </a:lnTo>
                  <a:lnTo>
                    <a:pt x="444" y="0"/>
                  </a:lnTo>
                  <a:lnTo>
                    <a:pt x="468" y="0"/>
                  </a:lnTo>
                  <a:lnTo>
                    <a:pt x="468" y="5"/>
                  </a:lnTo>
                  <a:lnTo>
                    <a:pt x="482" y="10"/>
                  </a:lnTo>
                  <a:lnTo>
                    <a:pt x="484" y="10"/>
                  </a:lnTo>
                  <a:lnTo>
                    <a:pt x="489" y="7"/>
                  </a:lnTo>
                  <a:lnTo>
                    <a:pt x="491" y="7"/>
                  </a:lnTo>
                  <a:lnTo>
                    <a:pt x="498" y="15"/>
                  </a:lnTo>
                  <a:lnTo>
                    <a:pt x="498" y="22"/>
                  </a:lnTo>
                  <a:lnTo>
                    <a:pt x="496" y="24"/>
                  </a:lnTo>
                  <a:lnTo>
                    <a:pt x="496" y="22"/>
                  </a:lnTo>
                  <a:lnTo>
                    <a:pt x="491" y="24"/>
                  </a:lnTo>
                  <a:lnTo>
                    <a:pt x="482" y="38"/>
                  </a:lnTo>
                  <a:lnTo>
                    <a:pt x="484" y="41"/>
                  </a:lnTo>
                  <a:lnTo>
                    <a:pt x="489" y="48"/>
                  </a:lnTo>
                  <a:lnTo>
                    <a:pt x="496" y="55"/>
                  </a:lnTo>
                  <a:lnTo>
                    <a:pt x="498" y="57"/>
                  </a:lnTo>
                  <a:lnTo>
                    <a:pt x="498" y="62"/>
                  </a:lnTo>
                  <a:lnTo>
                    <a:pt x="505" y="67"/>
                  </a:lnTo>
                  <a:lnTo>
                    <a:pt x="508" y="71"/>
                  </a:lnTo>
                  <a:lnTo>
                    <a:pt x="512" y="71"/>
                  </a:lnTo>
                  <a:lnTo>
                    <a:pt x="517" y="78"/>
                  </a:lnTo>
                  <a:lnTo>
                    <a:pt x="522" y="142"/>
                  </a:lnTo>
                  <a:lnTo>
                    <a:pt x="524" y="187"/>
                  </a:lnTo>
                  <a:lnTo>
                    <a:pt x="524" y="201"/>
                  </a:lnTo>
                  <a:lnTo>
                    <a:pt x="529" y="220"/>
                  </a:lnTo>
                  <a:lnTo>
                    <a:pt x="529" y="256"/>
                  </a:lnTo>
                  <a:lnTo>
                    <a:pt x="531" y="265"/>
                  </a:lnTo>
                  <a:lnTo>
                    <a:pt x="501" y="26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0" name="Freeform 194">
              <a:extLst>
                <a:ext uri="{FF2B5EF4-FFF2-40B4-BE49-F238E27FC236}">
                  <a16:creationId xmlns:a16="http://schemas.microsoft.com/office/drawing/2014/main" id="{DC96D167-1A07-429D-B204-E58614E12A7B}"/>
                </a:ext>
              </a:extLst>
            </p:cNvPr>
            <p:cNvSpPr>
              <a:spLocks/>
            </p:cNvSpPr>
            <p:nvPr/>
          </p:nvSpPr>
          <p:spPr bwMode="gray">
            <a:xfrm rot="47099">
              <a:off x="930074" y="3389088"/>
              <a:ext cx="219091" cy="255680"/>
            </a:xfrm>
            <a:custGeom>
              <a:avLst/>
              <a:gdLst>
                <a:gd name="T0" fmla="*/ 19 w 470"/>
                <a:gd name="T1" fmla="*/ 371 h 551"/>
                <a:gd name="T2" fmla="*/ 33 w 470"/>
                <a:gd name="T3" fmla="*/ 352 h 551"/>
                <a:gd name="T4" fmla="*/ 19 w 470"/>
                <a:gd name="T5" fmla="*/ 340 h 551"/>
                <a:gd name="T6" fmla="*/ 19 w 470"/>
                <a:gd name="T7" fmla="*/ 331 h 551"/>
                <a:gd name="T8" fmla="*/ 19 w 470"/>
                <a:gd name="T9" fmla="*/ 307 h 551"/>
                <a:gd name="T10" fmla="*/ 40 w 470"/>
                <a:gd name="T11" fmla="*/ 284 h 551"/>
                <a:gd name="T12" fmla="*/ 45 w 470"/>
                <a:gd name="T13" fmla="*/ 260 h 551"/>
                <a:gd name="T14" fmla="*/ 52 w 470"/>
                <a:gd name="T15" fmla="*/ 251 h 551"/>
                <a:gd name="T16" fmla="*/ 66 w 470"/>
                <a:gd name="T17" fmla="*/ 243 h 551"/>
                <a:gd name="T18" fmla="*/ 73 w 470"/>
                <a:gd name="T19" fmla="*/ 232 h 551"/>
                <a:gd name="T20" fmla="*/ 66 w 470"/>
                <a:gd name="T21" fmla="*/ 225 h 551"/>
                <a:gd name="T22" fmla="*/ 59 w 470"/>
                <a:gd name="T23" fmla="*/ 210 h 551"/>
                <a:gd name="T24" fmla="*/ 52 w 470"/>
                <a:gd name="T25" fmla="*/ 191 h 551"/>
                <a:gd name="T26" fmla="*/ 49 w 470"/>
                <a:gd name="T27" fmla="*/ 170 h 551"/>
                <a:gd name="T28" fmla="*/ 57 w 470"/>
                <a:gd name="T29" fmla="*/ 151 h 551"/>
                <a:gd name="T30" fmla="*/ 52 w 470"/>
                <a:gd name="T31" fmla="*/ 104 h 551"/>
                <a:gd name="T32" fmla="*/ 52 w 470"/>
                <a:gd name="T33" fmla="*/ 83 h 551"/>
                <a:gd name="T34" fmla="*/ 59 w 470"/>
                <a:gd name="T35" fmla="*/ 71 h 551"/>
                <a:gd name="T36" fmla="*/ 83 w 470"/>
                <a:gd name="T37" fmla="*/ 71 h 551"/>
                <a:gd name="T38" fmla="*/ 90 w 470"/>
                <a:gd name="T39" fmla="*/ 80 h 551"/>
                <a:gd name="T40" fmla="*/ 99 w 470"/>
                <a:gd name="T41" fmla="*/ 80 h 551"/>
                <a:gd name="T42" fmla="*/ 116 w 470"/>
                <a:gd name="T43" fmla="*/ 7 h 551"/>
                <a:gd name="T44" fmla="*/ 137 w 470"/>
                <a:gd name="T45" fmla="*/ 5 h 551"/>
                <a:gd name="T46" fmla="*/ 165 w 470"/>
                <a:gd name="T47" fmla="*/ 7 h 551"/>
                <a:gd name="T48" fmla="*/ 203 w 470"/>
                <a:gd name="T49" fmla="*/ 14 h 551"/>
                <a:gd name="T50" fmla="*/ 236 w 470"/>
                <a:gd name="T51" fmla="*/ 17 h 551"/>
                <a:gd name="T52" fmla="*/ 267 w 470"/>
                <a:gd name="T53" fmla="*/ 24 h 551"/>
                <a:gd name="T54" fmla="*/ 302 w 470"/>
                <a:gd name="T55" fmla="*/ 26 h 551"/>
                <a:gd name="T56" fmla="*/ 468 w 470"/>
                <a:gd name="T57" fmla="*/ 73 h 551"/>
                <a:gd name="T58" fmla="*/ 461 w 470"/>
                <a:gd name="T59" fmla="*/ 154 h 551"/>
                <a:gd name="T60" fmla="*/ 453 w 470"/>
                <a:gd name="T61" fmla="*/ 203 h 551"/>
                <a:gd name="T62" fmla="*/ 446 w 470"/>
                <a:gd name="T63" fmla="*/ 279 h 551"/>
                <a:gd name="T64" fmla="*/ 439 w 470"/>
                <a:gd name="T65" fmla="*/ 371 h 551"/>
                <a:gd name="T66" fmla="*/ 435 w 470"/>
                <a:gd name="T67" fmla="*/ 435 h 551"/>
                <a:gd name="T68" fmla="*/ 427 w 470"/>
                <a:gd name="T69" fmla="*/ 489 h 551"/>
                <a:gd name="T70" fmla="*/ 423 w 470"/>
                <a:gd name="T71" fmla="*/ 551 h 551"/>
                <a:gd name="T72" fmla="*/ 359 w 470"/>
                <a:gd name="T73" fmla="*/ 546 h 551"/>
                <a:gd name="T74" fmla="*/ 269 w 470"/>
                <a:gd name="T75" fmla="*/ 532 h 551"/>
                <a:gd name="T76" fmla="*/ 163 w 470"/>
                <a:gd name="T77" fmla="*/ 477 h 551"/>
                <a:gd name="T78" fmla="*/ 104 w 470"/>
                <a:gd name="T79" fmla="*/ 444 h 551"/>
                <a:gd name="T80" fmla="*/ 52 w 470"/>
                <a:gd name="T81" fmla="*/ 414 h 551"/>
                <a:gd name="T82" fmla="*/ 2 w 470"/>
                <a:gd name="T83" fmla="*/ 388 h 551"/>
                <a:gd name="T84" fmla="*/ 9 w 470"/>
                <a:gd name="T85" fmla="*/ 371 h 5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0"/>
                <a:gd name="T130" fmla="*/ 0 h 551"/>
                <a:gd name="T131" fmla="*/ 470 w 470"/>
                <a:gd name="T132" fmla="*/ 551 h 5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0" h="551">
                  <a:moveTo>
                    <a:pt x="9" y="369"/>
                  </a:moveTo>
                  <a:lnTo>
                    <a:pt x="19" y="369"/>
                  </a:lnTo>
                  <a:lnTo>
                    <a:pt x="19" y="371"/>
                  </a:lnTo>
                  <a:lnTo>
                    <a:pt x="24" y="371"/>
                  </a:lnTo>
                  <a:lnTo>
                    <a:pt x="28" y="357"/>
                  </a:lnTo>
                  <a:lnTo>
                    <a:pt x="33" y="352"/>
                  </a:lnTo>
                  <a:lnTo>
                    <a:pt x="28" y="345"/>
                  </a:lnTo>
                  <a:lnTo>
                    <a:pt x="24" y="345"/>
                  </a:lnTo>
                  <a:lnTo>
                    <a:pt x="19" y="340"/>
                  </a:lnTo>
                  <a:lnTo>
                    <a:pt x="16" y="338"/>
                  </a:lnTo>
                  <a:lnTo>
                    <a:pt x="16" y="336"/>
                  </a:lnTo>
                  <a:lnTo>
                    <a:pt x="19" y="331"/>
                  </a:lnTo>
                  <a:lnTo>
                    <a:pt x="19" y="321"/>
                  </a:lnTo>
                  <a:lnTo>
                    <a:pt x="16" y="314"/>
                  </a:lnTo>
                  <a:lnTo>
                    <a:pt x="19" y="307"/>
                  </a:lnTo>
                  <a:lnTo>
                    <a:pt x="26" y="307"/>
                  </a:lnTo>
                  <a:lnTo>
                    <a:pt x="35" y="298"/>
                  </a:lnTo>
                  <a:lnTo>
                    <a:pt x="40" y="284"/>
                  </a:lnTo>
                  <a:lnTo>
                    <a:pt x="40" y="265"/>
                  </a:lnTo>
                  <a:lnTo>
                    <a:pt x="42" y="260"/>
                  </a:lnTo>
                  <a:lnTo>
                    <a:pt x="45" y="260"/>
                  </a:lnTo>
                  <a:lnTo>
                    <a:pt x="45" y="258"/>
                  </a:lnTo>
                  <a:lnTo>
                    <a:pt x="49" y="258"/>
                  </a:lnTo>
                  <a:lnTo>
                    <a:pt x="52" y="251"/>
                  </a:lnTo>
                  <a:lnTo>
                    <a:pt x="57" y="251"/>
                  </a:lnTo>
                  <a:lnTo>
                    <a:pt x="59" y="248"/>
                  </a:lnTo>
                  <a:lnTo>
                    <a:pt x="66" y="243"/>
                  </a:lnTo>
                  <a:lnTo>
                    <a:pt x="75" y="239"/>
                  </a:lnTo>
                  <a:lnTo>
                    <a:pt x="73" y="234"/>
                  </a:lnTo>
                  <a:lnTo>
                    <a:pt x="73" y="232"/>
                  </a:lnTo>
                  <a:lnTo>
                    <a:pt x="68" y="232"/>
                  </a:lnTo>
                  <a:lnTo>
                    <a:pt x="68" y="227"/>
                  </a:lnTo>
                  <a:lnTo>
                    <a:pt x="66" y="225"/>
                  </a:lnTo>
                  <a:lnTo>
                    <a:pt x="64" y="220"/>
                  </a:lnTo>
                  <a:lnTo>
                    <a:pt x="59" y="215"/>
                  </a:lnTo>
                  <a:lnTo>
                    <a:pt x="59" y="210"/>
                  </a:lnTo>
                  <a:lnTo>
                    <a:pt x="57" y="203"/>
                  </a:lnTo>
                  <a:lnTo>
                    <a:pt x="57" y="199"/>
                  </a:lnTo>
                  <a:lnTo>
                    <a:pt x="52" y="191"/>
                  </a:lnTo>
                  <a:lnTo>
                    <a:pt x="49" y="187"/>
                  </a:lnTo>
                  <a:lnTo>
                    <a:pt x="45" y="182"/>
                  </a:lnTo>
                  <a:lnTo>
                    <a:pt x="49" y="170"/>
                  </a:lnTo>
                  <a:lnTo>
                    <a:pt x="49" y="158"/>
                  </a:lnTo>
                  <a:lnTo>
                    <a:pt x="52" y="158"/>
                  </a:lnTo>
                  <a:lnTo>
                    <a:pt x="57" y="151"/>
                  </a:lnTo>
                  <a:lnTo>
                    <a:pt x="57" y="135"/>
                  </a:lnTo>
                  <a:lnTo>
                    <a:pt x="52" y="118"/>
                  </a:lnTo>
                  <a:lnTo>
                    <a:pt x="52" y="104"/>
                  </a:lnTo>
                  <a:lnTo>
                    <a:pt x="57" y="97"/>
                  </a:lnTo>
                  <a:lnTo>
                    <a:pt x="57" y="88"/>
                  </a:lnTo>
                  <a:lnTo>
                    <a:pt x="52" y="83"/>
                  </a:lnTo>
                  <a:lnTo>
                    <a:pt x="52" y="80"/>
                  </a:lnTo>
                  <a:lnTo>
                    <a:pt x="57" y="71"/>
                  </a:lnTo>
                  <a:lnTo>
                    <a:pt x="59" y="71"/>
                  </a:lnTo>
                  <a:lnTo>
                    <a:pt x="64" y="66"/>
                  </a:lnTo>
                  <a:lnTo>
                    <a:pt x="68" y="66"/>
                  </a:lnTo>
                  <a:lnTo>
                    <a:pt x="83" y="71"/>
                  </a:lnTo>
                  <a:lnTo>
                    <a:pt x="85" y="73"/>
                  </a:lnTo>
                  <a:lnTo>
                    <a:pt x="85" y="78"/>
                  </a:lnTo>
                  <a:lnTo>
                    <a:pt x="90" y="80"/>
                  </a:lnTo>
                  <a:lnTo>
                    <a:pt x="90" y="83"/>
                  </a:lnTo>
                  <a:lnTo>
                    <a:pt x="97" y="83"/>
                  </a:lnTo>
                  <a:lnTo>
                    <a:pt x="99" y="80"/>
                  </a:lnTo>
                  <a:lnTo>
                    <a:pt x="106" y="71"/>
                  </a:lnTo>
                  <a:lnTo>
                    <a:pt x="113" y="31"/>
                  </a:lnTo>
                  <a:lnTo>
                    <a:pt x="116" y="7"/>
                  </a:lnTo>
                  <a:lnTo>
                    <a:pt x="116" y="0"/>
                  </a:lnTo>
                  <a:lnTo>
                    <a:pt x="132" y="0"/>
                  </a:lnTo>
                  <a:lnTo>
                    <a:pt x="137" y="5"/>
                  </a:lnTo>
                  <a:lnTo>
                    <a:pt x="153" y="5"/>
                  </a:lnTo>
                  <a:lnTo>
                    <a:pt x="156" y="7"/>
                  </a:lnTo>
                  <a:lnTo>
                    <a:pt x="165" y="7"/>
                  </a:lnTo>
                  <a:lnTo>
                    <a:pt x="177" y="10"/>
                  </a:lnTo>
                  <a:lnTo>
                    <a:pt x="179" y="10"/>
                  </a:lnTo>
                  <a:lnTo>
                    <a:pt x="203" y="14"/>
                  </a:lnTo>
                  <a:lnTo>
                    <a:pt x="217" y="14"/>
                  </a:lnTo>
                  <a:lnTo>
                    <a:pt x="217" y="17"/>
                  </a:lnTo>
                  <a:lnTo>
                    <a:pt x="236" y="17"/>
                  </a:lnTo>
                  <a:lnTo>
                    <a:pt x="243" y="21"/>
                  </a:lnTo>
                  <a:lnTo>
                    <a:pt x="257" y="21"/>
                  </a:lnTo>
                  <a:lnTo>
                    <a:pt x="267" y="24"/>
                  </a:lnTo>
                  <a:lnTo>
                    <a:pt x="279" y="24"/>
                  </a:lnTo>
                  <a:lnTo>
                    <a:pt x="286" y="26"/>
                  </a:lnTo>
                  <a:lnTo>
                    <a:pt x="302" y="26"/>
                  </a:lnTo>
                  <a:lnTo>
                    <a:pt x="470" y="47"/>
                  </a:lnTo>
                  <a:lnTo>
                    <a:pt x="470" y="57"/>
                  </a:lnTo>
                  <a:lnTo>
                    <a:pt x="468" y="73"/>
                  </a:lnTo>
                  <a:lnTo>
                    <a:pt x="468" y="90"/>
                  </a:lnTo>
                  <a:lnTo>
                    <a:pt x="463" y="104"/>
                  </a:lnTo>
                  <a:lnTo>
                    <a:pt x="461" y="154"/>
                  </a:lnTo>
                  <a:lnTo>
                    <a:pt x="456" y="184"/>
                  </a:lnTo>
                  <a:lnTo>
                    <a:pt x="456" y="194"/>
                  </a:lnTo>
                  <a:lnTo>
                    <a:pt x="453" y="203"/>
                  </a:lnTo>
                  <a:lnTo>
                    <a:pt x="453" y="234"/>
                  </a:lnTo>
                  <a:lnTo>
                    <a:pt x="451" y="251"/>
                  </a:lnTo>
                  <a:lnTo>
                    <a:pt x="446" y="279"/>
                  </a:lnTo>
                  <a:lnTo>
                    <a:pt x="444" y="321"/>
                  </a:lnTo>
                  <a:lnTo>
                    <a:pt x="439" y="345"/>
                  </a:lnTo>
                  <a:lnTo>
                    <a:pt x="439" y="371"/>
                  </a:lnTo>
                  <a:lnTo>
                    <a:pt x="437" y="402"/>
                  </a:lnTo>
                  <a:lnTo>
                    <a:pt x="435" y="414"/>
                  </a:lnTo>
                  <a:lnTo>
                    <a:pt x="435" y="435"/>
                  </a:lnTo>
                  <a:lnTo>
                    <a:pt x="430" y="451"/>
                  </a:lnTo>
                  <a:lnTo>
                    <a:pt x="430" y="473"/>
                  </a:lnTo>
                  <a:lnTo>
                    <a:pt x="427" y="489"/>
                  </a:lnTo>
                  <a:lnTo>
                    <a:pt x="427" y="515"/>
                  </a:lnTo>
                  <a:lnTo>
                    <a:pt x="423" y="534"/>
                  </a:lnTo>
                  <a:lnTo>
                    <a:pt x="423" y="551"/>
                  </a:lnTo>
                  <a:lnTo>
                    <a:pt x="420" y="551"/>
                  </a:lnTo>
                  <a:lnTo>
                    <a:pt x="387" y="548"/>
                  </a:lnTo>
                  <a:lnTo>
                    <a:pt x="359" y="546"/>
                  </a:lnTo>
                  <a:lnTo>
                    <a:pt x="331" y="541"/>
                  </a:lnTo>
                  <a:lnTo>
                    <a:pt x="326" y="541"/>
                  </a:lnTo>
                  <a:lnTo>
                    <a:pt x="269" y="532"/>
                  </a:lnTo>
                  <a:lnTo>
                    <a:pt x="203" y="499"/>
                  </a:lnTo>
                  <a:lnTo>
                    <a:pt x="179" y="484"/>
                  </a:lnTo>
                  <a:lnTo>
                    <a:pt x="163" y="477"/>
                  </a:lnTo>
                  <a:lnTo>
                    <a:pt x="139" y="461"/>
                  </a:lnTo>
                  <a:lnTo>
                    <a:pt x="125" y="454"/>
                  </a:lnTo>
                  <a:lnTo>
                    <a:pt x="104" y="444"/>
                  </a:lnTo>
                  <a:lnTo>
                    <a:pt x="80" y="432"/>
                  </a:lnTo>
                  <a:lnTo>
                    <a:pt x="66" y="425"/>
                  </a:lnTo>
                  <a:lnTo>
                    <a:pt x="52" y="414"/>
                  </a:lnTo>
                  <a:lnTo>
                    <a:pt x="33" y="404"/>
                  </a:lnTo>
                  <a:lnTo>
                    <a:pt x="16" y="395"/>
                  </a:lnTo>
                  <a:lnTo>
                    <a:pt x="2" y="388"/>
                  </a:lnTo>
                  <a:lnTo>
                    <a:pt x="0" y="388"/>
                  </a:lnTo>
                  <a:lnTo>
                    <a:pt x="2" y="380"/>
                  </a:lnTo>
                  <a:lnTo>
                    <a:pt x="9" y="371"/>
                  </a:lnTo>
                  <a:lnTo>
                    <a:pt x="9" y="36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1" name="Freeform 195">
              <a:extLst>
                <a:ext uri="{FF2B5EF4-FFF2-40B4-BE49-F238E27FC236}">
                  <a16:creationId xmlns:a16="http://schemas.microsoft.com/office/drawing/2014/main" id="{7A7D9CFA-D595-40DA-AE39-031A3CB627A4}"/>
                </a:ext>
              </a:extLst>
            </p:cNvPr>
            <p:cNvSpPr>
              <a:spLocks/>
            </p:cNvSpPr>
            <p:nvPr/>
          </p:nvSpPr>
          <p:spPr bwMode="gray">
            <a:xfrm rot="47099">
              <a:off x="1349859" y="3428136"/>
              <a:ext cx="291230" cy="138935"/>
            </a:xfrm>
            <a:custGeom>
              <a:avLst/>
              <a:gdLst>
                <a:gd name="T0" fmla="*/ 0 w 626"/>
                <a:gd name="T1" fmla="*/ 9 h 300"/>
                <a:gd name="T2" fmla="*/ 102 w 626"/>
                <a:gd name="T3" fmla="*/ 12 h 300"/>
                <a:gd name="T4" fmla="*/ 343 w 626"/>
                <a:gd name="T5" fmla="*/ 9 h 300"/>
                <a:gd name="T6" fmla="*/ 461 w 626"/>
                <a:gd name="T7" fmla="*/ 7 h 300"/>
                <a:gd name="T8" fmla="*/ 527 w 626"/>
                <a:gd name="T9" fmla="*/ 2 h 300"/>
                <a:gd name="T10" fmla="*/ 600 w 626"/>
                <a:gd name="T11" fmla="*/ 0 h 300"/>
                <a:gd name="T12" fmla="*/ 603 w 626"/>
                <a:gd name="T13" fmla="*/ 59 h 300"/>
                <a:gd name="T14" fmla="*/ 610 w 626"/>
                <a:gd name="T15" fmla="*/ 92 h 300"/>
                <a:gd name="T16" fmla="*/ 622 w 626"/>
                <a:gd name="T17" fmla="*/ 130 h 300"/>
                <a:gd name="T18" fmla="*/ 624 w 626"/>
                <a:gd name="T19" fmla="*/ 189 h 300"/>
                <a:gd name="T20" fmla="*/ 626 w 626"/>
                <a:gd name="T21" fmla="*/ 281 h 300"/>
                <a:gd name="T22" fmla="*/ 622 w 626"/>
                <a:gd name="T23" fmla="*/ 298 h 300"/>
                <a:gd name="T24" fmla="*/ 598 w 626"/>
                <a:gd name="T25" fmla="*/ 291 h 300"/>
                <a:gd name="T26" fmla="*/ 586 w 626"/>
                <a:gd name="T27" fmla="*/ 281 h 300"/>
                <a:gd name="T28" fmla="*/ 570 w 626"/>
                <a:gd name="T29" fmla="*/ 274 h 300"/>
                <a:gd name="T30" fmla="*/ 565 w 626"/>
                <a:gd name="T31" fmla="*/ 281 h 300"/>
                <a:gd name="T32" fmla="*/ 553 w 626"/>
                <a:gd name="T33" fmla="*/ 283 h 300"/>
                <a:gd name="T34" fmla="*/ 546 w 626"/>
                <a:gd name="T35" fmla="*/ 276 h 300"/>
                <a:gd name="T36" fmla="*/ 529 w 626"/>
                <a:gd name="T37" fmla="*/ 281 h 300"/>
                <a:gd name="T38" fmla="*/ 513 w 626"/>
                <a:gd name="T39" fmla="*/ 283 h 300"/>
                <a:gd name="T40" fmla="*/ 501 w 626"/>
                <a:gd name="T41" fmla="*/ 291 h 300"/>
                <a:gd name="T42" fmla="*/ 489 w 626"/>
                <a:gd name="T43" fmla="*/ 300 h 300"/>
                <a:gd name="T44" fmla="*/ 466 w 626"/>
                <a:gd name="T45" fmla="*/ 286 h 300"/>
                <a:gd name="T46" fmla="*/ 456 w 626"/>
                <a:gd name="T47" fmla="*/ 291 h 300"/>
                <a:gd name="T48" fmla="*/ 447 w 626"/>
                <a:gd name="T49" fmla="*/ 286 h 300"/>
                <a:gd name="T50" fmla="*/ 440 w 626"/>
                <a:gd name="T51" fmla="*/ 281 h 300"/>
                <a:gd name="T52" fmla="*/ 433 w 626"/>
                <a:gd name="T53" fmla="*/ 298 h 300"/>
                <a:gd name="T54" fmla="*/ 428 w 626"/>
                <a:gd name="T55" fmla="*/ 300 h 300"/>
                <a:gd name="T56" fmla="*/ 423 w 626"/>
                <a:gd name="T57" fmla="*/ 291 h 300"/>
                <a:gd name="T58" fmla="*/ 409 w 626"/>
                <a:gd name="T59" fmla="*/ 291 h 300"/>
                <a:gd name="T60" fmla="*/ 404 w 626"/>
                <a:gd name="T61" fmla="*/ 291 h 300"/>
                <a:gd name="T62" fmla="*/ 392 w 626"/>
                <a:gd name="T63" fmla="*/ 281 h 300"/>
                <a:gd name="T64" fmla="*/ 388 w 626"/>
                <a:gd name="T65" fmla="*/ 281 h 300"/>
                <a:gd name="T66" fmla="*/ 383 w 626"/>
                <a:gd name="T67" fmla="*/ 283 h 300"/>
                <a:gd name="T68" fmla="*/ 374 w 626"/>
                <a:gd name="T69" fmla="*/ 291 h 300"/>
                <a:gd name="T70" fmla="*/ 366 w 626"/>
                <a:gd name="T71" fmla="*/ 281 h 300"/>
                <a:gd name="T72" fmla="*/ 357 w 626"/>
                <a:gd name="T73" fmla="*/ 276 h 300"/>
                <a:gd name="T74" fmla="*/ 350 w 626"/>
                <a:gd name="T75" fmla="*/ 267 h 300"/>
                <a:gd name="T76" fmla="*/ 333 w 626"/>
                <a:gd name="T77" fmla="*/ 269 h 300"/>
                <a:gd name="T78" fmla="*/ 326 w 626"/>
                <a:gd name="T79" fmla="*/ 274 h 300"/>
                <a:gd name="T80" fmla="*/ 319 w 626"/>
                <a:gd name="T81" fmla="*/ 267 h 300"/>
                <a:gd name="T82" fmla="*/ 312 w 626"/>
                <a:gd name="T83" fmla="*/ 267 h 300"/>
                <a:gd name="T84" fmla="*/ 300 w 626"/>
                <a:gd name="T85" fmla="*/ 265 h 300"/>
                <a:gd name="T86" fmla="*/ 277 w 626"/>
                <a:gd name="T87" fmla="*/ 260 h 300"/>
                <a:gd name="T88" fmla="*/ 272 w 626"/>
                <a:gd name="T89" fmla="*/ 250 h 300"/>
                <a:gd name="T90" fmla="*/ 262 w 626"/>
                <a:gd name="T91" fmla="*/ 241 h 300"/>
                <a:gd name="T92" fmla="*/ 239 w 626"/>
                <a:gd name="T93" fmla="*/ 246 h 300"/>
                <a:gd name="T94" fmla="*/ 234 w 626"/>
                <a:gd name="T95" fmla="*/ 241 h 300"/>
                <a:gd name="T96" fmla="*/ 229 w 626"/>
                <a:gd name="T97" fmla="*/ 234 h 300"/>
                <a:gd name="T98" fmla="*/ 220 w 626"/>
                <a:gd name="T99" fmla="*/ 229 h 300"/>
                <a:gd name="T100" fmla="*/ 215 w 626"/>
                <a:gd name="T101" fmla="*/ 229 h 300"/>
                <a:gd name="T102" fmla="*/ 213 w 626"/>
                <a:gd name="T103" fmla="*/ 57 h 300"/>
                <a:gd name="T104" fmla="*/ 38 w 626"/>
                <a:gd name="T105" fmla="*/ 52 h 300"/>
                <a:gd name="T106" fmla="*/ 0 w 626"/>
                <a:gd name="T107" fmla="*/ 50 h 3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6"/>
                <a:gd name="T163" fmla="*/ 0 h 300"/>
                <a:gd name="T164" fmla="*/ 626 w 626"/>
                <a:gd name="T165" fmla="*/ 300 h 3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6" h="300">
                  <a:moveTo>
                    <a:pt x="0" y="50"/>
                  </a:moveTo>
                  <a:lnTo>
                    <a:pt x="0" y="9"/>
                  </a:lnTo>
                  <a:lnTo>
                    <a:pt x="99" y="9"/>
                  </a:lnTo>
                  <a:lnTo>
                    <a:pt x="102" y="12"/>
                  </a:lnTo>
                  <a:lnTo>
                    <a:pt x="326" y="12"/>
                  </a:lnTo>
                  <a:lnTo>
                    <a:pt x="343" y="9"/>
                  </a:lnTo>
                  <a:lnTo>
                    <a:pt x="444" y="9"/>
                  </a:lnTo>
                  <a:lnTo>
                    <a:pt x="461" y="7"/>
                  </a:lnTo>
                  <a:lnTo>
                    <a:pt x="518" y="7"/>
                  </a:lnTo>
                  <a:lnTo>
                    <a:pt x="527" y="2"/>
                  </a:lnTo>
                  <a:lnTo>
                    <a:pt x="541" y="2"/>
                  </a:lnTo>
                  <a:lnTo>
                    <a:pt x="600" y="0"/>
                  </a:lnTo>
                  <a:lnTo>
                    <a:pt x="600" y="47"/>
                  </a:lnTo>
                  <a:lnTo>
                    <a:pt x="603" y="59"/>
                  </a:lnTo>
                  <a:lnTo>
                    <a:pt x="607" y="76"/>
                  </a:lnTo>
                  <a:lnTo>
                    <a:pt x="610" y="92"/>
                  </a:lnTo>
                  <a:lnTo>
                    <a:pt x="617" y="128"/>
                  </a:lnTo>
                  <a:lnTo>
                    <a:pt x="622" y="130"/>
                  </a:lnTo>
                  <a:lnTo>
                    <a:pt x="622" y="146"/>
                  </a:lnTo>
                  <a:lnTo>
                    <a:pt x="624" y="189"/>
                  </a:lnTo>
                  <a:lnTo>
                    <a:pt x="624" y="269"/>
                  </a:lnTo>
                  <a:lnTo>
                    <a:pt x="626" y="281"/>
                  </a:lnTo>
                  <a:lnTo>
                    <a:pt x="626" y="298"/>
                  </a:lnTo>
                  <a:lnTo>
                    <a:pt x="622" y="298"/>
                  </a:lnTo>
                  <a:lnTo>
                    <a:pt x="610" y="293"/>
                  </a:lnTo>
                  <a:lnTo>
                    <a:pt x="598" y="291"/>
                  </a:lnTo>
                  <a:lnTo>
                    <a:pt x="591" y="283"/>
                  </a:lnTo>
                  <a:lnTo>
                    <a:pt x="586" y="281"/>
                  </a:lnTo>
                  <a:lnTo>
                    <a:pt x="574" y="274"/>
                  </a:lnTo>
                  <a:lnTo>
                    <a:pt x="570" y="274"/>
                  </a:lnTo>
                  <a:lnTo>
                    <a:pt x="567" y="276"/>
                  </a:lnTo>
                  <a:lnTo>
                    <a:pt x="565" y="281"/>
                  </a:lnTo>
                  <a:lnTo>
                    <a:pt x="560" y="281"/>
                  </a:lnTo>
                  <a:lnTo>
                    <a:pt x="553" y="283"/>
                  </a:lnTo>
                  <a:lnTo>
                    <a:pt x="546" y="281"/>
                  </a:lnTo>
                  <a:lnTo>
                    <a:pt x="546" y="276"/>
                  </a:lnTo>
                  <a:lnTo>
                    <a:pt x="544" y="276"/>
                  </a:lnTo>
                  <a:lnTo>
                    <a:pt x="529" y="281"/>
                  </a:lnTo>
                  <a:lnTo>
                    <a:pt x="529" y="283"/>
                  </a:lnTo>
                  <a:lnTo>
                    <a:pt x="513" y="283"/>
                  </a:lnTo>
                  <a:lnTo>
                    <a:pt x="503" y="286"/>
                  </a:lnTo>
                  <a:lnTo>
                    <a:pt x="501" y="291"/>
                  </a:lnTo>
                  <a:lnTo>
                    <a:pt x="501" y="293"/>
                  </a:lnTo>
                  <a:lnTo>
                    <a:pt x="489" y="300"/>
                  </a:lnTo>
                  <a:lnTo>
                    <a:pt x="477" y="293"/>
                  </a:lnTo>
                  <a:lnTo>
                    <a:pt x="466" y="286"/>
                  </a:lnTo>
                  <a:lnTo>
                    <a:pt x="461" y="286"/>
                  </a:lnTo>
                  <a:lnTo>
                    <a:pt x="456" y="291"/>
                  </a:lnTo>
                  <a:lnTo>
                    <a:pt x="449" y="286"/>
                  </a:lnTo>
                  <a:lnTo>
                    <a:pt x="447" y="286"/>
                  </a:lnTo>
                  <a:lnTo>
                    <a:pt x="447" y="281"/>
                  </a:lnTo>
                  <a:lnTo>
                    <a:pt x="440" y="281"/>
                  </a:lnTo>
                  <a:lnTo>
                    <a:pt x="433" y="291"/>
                  </a:lnTo>
                  <a:lnTo>
                    <a:pt x="433" y="298"/>
                  </a:lnTo>
                  <a:lnTo>
                    <a:pt x="430" y="300"/>
                  </a:lnTo>
                  <a:lnTo>
                    <a:pt x="428" y="300"/>
                  </a:lnTo>
                  <a:lnTo>
                    <a:pt x="423" y="298"/>
                  </a:lnTo>
                  <a:lnTo>
                    <a:pt x="423" y="291"/>
                  </a:lnTo>
                  <a:lnTo>
                    <a:pt x="421" y="286"/>
                  </a:lnTo>
                  <a:lnTo>
                    <a:pt x="409" y="291"/>
                  </a:lnTo>
                  <a:lnTo>
                    <a:pt x="407" y="293"/>
                  </a:lnTo>
                  <a:lnTo>
                    <a:pt x="404" y="291"/>
                  </a:lnTo>
                  <a:lnTo>
                    <a:pt x="400" y="286"/>
                  </a:lnTo>
                  <a:lnTo>
                    <a:pt x="392" y="281"/>
                  </a:lnTo>
                  <a:lnTo>
                    <a:pt x="390" y="276"/>
                  </a:lnTo>
                  <a:lnTo>
                    <a:pt x="388" y="281"/>
                  </a:lnTo>
                  <a:lnTo>
                    <a:pt x="383" y="281"/>
                  </a:lnTo>
                  <a:lnTo>
                    <a:pt x="383" y="283"/>
                  </a:lnTo>
                  <a:lnTo>
                    <a:pt x="381" y="286"/>
                  </a:lnTo>
                  <a:lnTo>
                    <a:pt x="374" y="291"/>
                  </a:lnTo>
                  <a:lnTo>
                    <a:pt x="366" y="291"/>
                  </a:lnTo>
                  <a:lnTo>
                    <a:pt x="366" y="281"/>
                  </a:lnTo>
                  <a:lnTo>
                    <a:pt x="364" y="276"/>
                  </a:lnTo>
                  <a:lnTo>
                    <a:pt x="357" y="276"/>
                  </a:lnTo>
                  <a:lnTo>
                    <a:pt x="357" y="274"/>
                  </a:lnTo>
                  <a:lnTo>
                    <a:pt x="350" y="267"/>
                  </a:lnTo>
                  <a:lnTo>
                    <a:pt x="343" y="267"/>
                  </a:lnTo>
                  <a:lnTo>
                    <a:pt x="333" y="269"/>
                  </a:lnTo>
                  <a:lnTo>
                    <a:pt x="331" y="274"/>
                  </a:lnTo>
                  <a:lnTo>
                    <a:pt x="326" y="274"/>
                  </a:lnTo>
                  <a:lnTo>
                    <a:pt x="324" y="269"/>
                  </a:lnTo>
                  <a:lnTo>
                    <a:pt x="319" y="267"/>
                  </a:lnTo>
                  <a:lnTo>
                    <a:pt x="317" y="265"/>
                  </a:lnTo>
                  <a:lnTo>
                    <a:pt x="312" y="267"/>
                  </a:lnTo>
                  <a:lnTo>
                    <a:pt x="300" y="267"/>
                  </a:lnTo>
                  <a:lnTo>
                    <a:pt x="300" y="265"/>
                  </a:lnTo>
                  <a:lnTo>
                    <a:pt x="286" y="260"/>
                  </a:lnTo>
                  <a:lnTo>
                    <a:pt x="277" y="260"/>
                  </a:lnTo>
                  <a:lnTo>
                    <a:pt x="272" y="257"/>
                  </a:lnTo>
                  <a:lnTo>
                    <a:pt x="272" y="250"/>
                  </a:lnTo>
                  <a:lnTo>
                    <a:pt x="270" y="243"/>
                  </a:lnTo>
                  <a:lnTo>
                    <a:pt x="262" y="241"/>
                  </a:lnTo>
                  <a:lnTo>
                    <a:pt x="255" y="246"/>
                  </a:lnTo>
                  <a:lnTo>
                    <a:pt x="239" y="246"/>
                  </a:lnTo>
                  <a:lnTo>
                    <a:pt x="237" y="243"/>
                  </a:lnTo>
                  <a:lnTo>
                    <a:pt x="234" y="241"/>
                  </a:lnTo>
                  <a:lnTo>
                    <a:pt x="234" y="236"/>
                  </a:lnTo>
                  <a:lnTo>
                    <a:pt x="229" y="234"/>
                  </a:lnTo>
                  <a:lnTo>
                    <a:pt x="222" y="229"/>
                  </a:lnTo>
                  <a:lnTo>
                    <a:pt x="220" y="229"/>
                  </a:lnTo>
                  <a:lnTo>
                    <a:pt x="220" y="227"/>
                  </a:lnTo>
                  <a:lnTo>
                    <a:pt x="215" y="229"/>
                  </a:lnTo>
                  <a:lnTo>
                    <a:pt x="213" y="227"/>
                  </a:lnTo>
                  <a:lnTo>
                    <a:pt x="213" y="57"/>
                  </a:lnTo>
                  <a:lnTo>
                    <a:pt x="52" y="57"/>
                  </a:lnTo>
                  <a:lnTo>
                    <a:pt x="38" y="52"/>
                  </a:lnTo>
                  <a:lnTo>
                    <a:pt x="0" y="52"/>
                  </a:lnTo>
                  <a:lnTo>
                    <a:pt x="0" y="5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2" name="Freeform 196">
              <a:extLst>
                <a:ext uri="{FF2B5EF4-FFF2-40B4-BE49-F238E27FC236}">
                  <a16:creationId xmlns:a16="http://schemas.microsoft.com/office/drawing/2014/main" id="{ECB2EA23-C556-4387-97A6-5DBA84B0AFB4}"/>
                </a:ext>
              </a:extLst>
            </p:cNvPr>
            <p:cNvSpPr>
              <a:spLocks/>
            </p:cNvSpPr>
            <p:nvPr/>
          </p:nvSpPr>
          <p:spPr bwMode="gray">
            <a:xfrm rot="47099">
              <a:off x="1125818" y="3413040"/>
              <a:ext cx="225325" cy="238313"/>
            </a:xfrm>
            <a:custGeom>
              <a:avLst/>
              <a:gdLst>
                <a:gd name="T0" fmla="*/ 0 w 482"/>
                <a:gd name="T1" fmla="*/ 504 h 511"/>
                <a:gd name="T2" fmla="*/ 4 w 482"/>
                <a:gd name="T3" fmla="*/ 468 h 511"/>
                <a:gd name="T4" fmla="*/ 7 w 482"/>
                <a:gd name="T5" fmla="*/ 426 h 511"/>
                <a:gd name="T6" fmla="*/ 12 w 482"/>
                <a:gd name="T7" fmla="*/ 388 h 511"/>
                <a:gd name="T8" fmla="*/ 14 w 482"/>
                <a:gd name="T9" fmla="*/ 355 h 511"/>
                <a:gd name="T10" fmla="*/ 16 w 482"/>
                <a:gd name="T11" fmla="*/ 298 h 511"/>
                <a:gd name="T12" fmla="*/ 23 w 482"/>
                <a:gd name="T13" fmla="*/ 232 h 511"/>
                <a:gd name="T14" fmla="*/ 30 w 482"/>
                <a:gd name="T15" fmla="*/ 187 h 511"/>
                <a:gd name="T16" fmla="*/ 33 w 482"/>
                <a:gd name="T17" fmla="*/ 147 h 511"/>
                <a:gd name="T18" fmla="*/ 38 w 482"/>
                <a:gd name="T19" fmla="*/ 107 h 511"/>
                <a:gd name="T20" fmla="*/ 45 w 482"/>
                <a:gd name="T21" fmla="*/ 43 h 511"/>
                <a:gd name="T22" fmla="*/ 47 w 482"/>
                <a:gd name="T23" fmla="*/ 10 h 511"/>
                <a:gd name="T24" fmla="*/ 89 w 482"/>
                <a:gd name="T25" fmla="*/ 7 h 511"/>
                <a:gd name="T26" fmla="*/ 125 w 482"/>
                <a:gd name="T27" fmla="*/ 10 h 511"/>
                <a:gd name="T28" fmla="*/ 165 w 482"/>
                <a:gd name="T29" fmla="*/ 15 h 511"/>
                <a:gd name="T30" fmla="*/ 224 w 482"/>
                <a:gd name="T31" fmla="*/ 17 h 511"/>
                <a:gd name="T32" fmla="*/ 234 w 482"/>
                <a:gd name="T33" fmla="*/ 19 h 511"/>
                <a:gd name="T34" fmla="*/ 288 w 482"/>
                <a:gd name="T35" fmla="*/ 24 h 511"/>
                <a:gd name="T36" fmla="*/ 345 w 482"/>
                <a:gd name="T37" fmla="*/ 26 h 511"/>
                <a:gd name="T38" fmla="*/ 401 w 482"/>
                <a:gd name="T39" fmla="*/ 31 h 511"/>
                <a:gd name="T40" fmla="*/ 465 w 482"/>
                <a:gd name="T41" fmla="*/ 33 h 511"/>
                <a:gd name="T42" fmla="*/ 479 w 482"/>
                <a:gd name="T43" fmla="*/ 33 h 511"/>
                <a:gd name="T44" fmla="*/ 475 w 482"/>
                <a:gd name="T45" fmla="*/ 76 h 511"/>
                <a:gd name="T46" fmla="*/ 472 w 482"/>
                <a:gd name="T47" fmla="*/ 201 h 511"/>
                <a:gd name="T48" fmla="*/ 467 w 482"/>
                <a:gd name="T49" fmla="*/ 300 h 511"/>
                <a:gd name="T50" fmla="*/ 465 w 482"/>
                <a:gd name="T51" fmla="*/ 345 h 511"/>
                <a:gd name="T52" fmla="*/ 460 w 482"/>
                <a:gd name="T53" fmla="*/ 459 h 511"/>
                <a:gd name="T54" fmla="*/ 439 w 482"/>
                <a:gd name="T55" fmla="*/ 478 h 511"/>
                <a:gd name="T56" fmla="*/ 359 w 482"/>
                <a:gd name="T57" fmla="*/ 470 h 511"/>
                <a:gd name="T58" fmla="*/ 297 w 482"/>
                <a:gd name="T59" fmla="*/ 468 h 511"/>
                <a:gd name="T60" fmla="*/ 245 w 482"/>
                <a:gd name="T61" fmla="*/ 463 h 511"/>
                <a:gd name="T62" fmla="*/ 186 w 482"/>
                <a:gd name="T63" fmla="*/ 461 h 511"/>
                <a:gd name="T64" fmla="*/ 186 w 482"/>
                <a:gd name="T65" fmla="*/ 470 h 511"/>
                <a:gd name="T66" fmla="*/ 193 w 482"/>
                <a:gd name="T67" fmla="*/ 482 h 511"/>
                <a:gd name="T68" fmla="*/ 153 w 482"/>
                <a:gd name="T69" fmla="*/ 478 h 511"/>
                <a:gd name="T70" fmla="*/ 125 w 482"/>
                <a:gd name="T71" fmla="*/ 475 h 511"/>
                <a:gd name="T72" fmla="*/ 89 w 482"/>
                <a:gd name="T73" fmla="*/ 470 h 511"/>
                <a:gd name="T74" fmla="*/ 68 w 482"/>
                <a:gd name="T75" fmla="*/ 478 h 511"/>
                <a:gd name="T76" fmla="*/ 64 w 482"/>
                <a:gd name="T77" fmla="*/ 511 h 511"/>
                <a:gd name="T78" fmla="*/ 14 w 482"/>
                <a:gd name="T79" fmla="*/ 504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2"/>
                <a:gd name="T121" fmla="*/ 0 h 511"/>
                <a:gd name="T122" fmla="*/ 482 w 482"/>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2" h="511">
                  <a:moveTo>
                    <a:pt x="14" y="504"/>
                  </a:moveTo>
                  <a:lnTo>
                    <a:pt x="0" y="504"/>
                  </a:lnTo>
                  <a:lnTo>
                    <a:pt x="0" y="487"/>
                  </a:lnTo>
                  <a:lnTo>
                    <a:pt x="4" y="468"/>
                  </a:lnTo>
                  <a:lnTo>
                    <a:pt x="4" y="442"/>
                  </a:lnTo>
                  <a:lnTo>
                    <a:pt x="7" y="426"/>
                  </a:lnTo>
                  <a:lnTo>
                    <a:pt x="7" y="404"/>
                  </a:lnTo>
                  <a:lnTo>
                    <a:pt x="12" y="388"/>
                  </a:lnTo>
                  <a:lnTo>
                    <a:pt x="12" y="367"/>
                  </a:lnTo>
                  <a:lnTo>
                    <a:pt x="14" y="355"/>
                  </a:lnTo>
                  <a:lnTo>
                    <a:pt x="16" y="324"/>
                  </a:lnTo>
                  <a:lnTo>
                    <a:pt x="16" y="298"/>
                  </a:lnTo>
                  <a:lnTo>
                    <a:pt x="21" y="274"/>
                  </a:lnTo>
                  <a:lnTo>
                    <a:pt x="23" y="232"/>
                  </a:lnTo>
                  <a:lnTo>
                    <a:pt x="28" y="204"/>
                  </a:lnTo>
                  <a:lnTo>
                    <a:pt x="30" y="187"/>
                  </a:lnTo>
                  <a:lnTo>
                    <a:pt x="30" y="156"/>
                  </a:lnTo>
                  <a:lnTo>
                    <a:pt x="33" y="147"/>
                  </a:lnTo>
                  <a:lnTo>
                    <a:pt x="33" y="137"/>
                  </a:lnTo>
                  <a:lnTo>
                    <a:pt x="38" y="107"/>
                  </a:lnTo>
                  <a:lnTo>
                    <a:pt x="40" y="57"/>
                  </a:lnTo>
                  <a:lnTo>
                    <a:pt x="45" y="43"/>
                  </a:lnTo>
                  <a:lnTo>
                    <a:pt x="45" y="26"/>
                  </a:lnTo>
                  <a:lnTo>
                    <a:pt x="47" y="10"/>
                  </a:lnTo>
                  <a:lnTo>
                    <a:pt x="47" y="0"/>
                  </a:lnTo>
                  <a:lnTo>
                    <a:pt x="89" y="7"/>
                  </a:lnTo>
                  <a:lnTo>
                    <a:pt x="118" y="7"/>
                  </a:lnTo>
                  <a:lnTo>
                    <a:pt x="125" y="10"/>
                  </a:lnTo>
                  <a:lnTo>
                    <a:pt x="137" y="10"/>
                  </a:lnTo>
                  <a:lnTo>
                    <a:pt x="165" y="15"/>
                  </a:lnTo>
                  <a:lnTo>
                    <a:pt x="191" y="15"/>
                  </a:lnTo>
                  <a:lnTo>
                    <a:pt x="224" y="17"/>
                  </a:lnTo>
                  <a:lnTo>
                    <a:pt x="231" y="17"/>
                  </a:lnTo>
                  <a:lnTo>
                    <a:pt x="234" y="19"/>
                  </a:lnTo>
                  <a:lnTo>
                    <a:pt x="278" y="19"/>
                  </a:lnTo>
                  <a:lnTo>
                    <a:pt x="288" y="24"/>
                  </a:lnTo>
                  <a:lnTo>
                    <a:pt x="304" y="24"/>
                  </a:lnTo>
                  <a:lnTo>
                    <a:pt x="345" y="26"/>
                  </a:lnTo>
                  <a:lnTo>
                    <a:pt x="378" y="26"/>
                  </a:lnTo>
                  <a:lnTo>
                    <a:pt x="401" y="31"/>
                  </a:lnTo>
                  <a:lnTo>
                    <a:pt x="458" y="31"/>
                  </a:lnTo>
                  <a:lnTo>
                    <a:pt x="465" y="33"/>
                  </a:lnTo>
                  <a:lnTo>
                    <a:pt x="482" y="33"/>
                  </a:lnTo>
                  <a:lnTo>
                    <a:pt x="479" y="33"/>
                  </a:lnTo>
                  <a:lnTo>
                    <a:pt x="479" y="76"/>
                  </a:lnTo>
                  <a:lnTo>
                    <a:pt x="475" y="76"/>
                  </a:lnTo>
                  <a:lnTo>
                    <a:pt x="475" y="97"/>
                  </a:lnTo>
                  <a:lnTo>
                    <a:pt x="472" y="201"/>
                  </a:lnTo>
                  <a:lnTo>
                    <a:pt x="467" y="258"/>
                  </a:lnTo>
                  <a:lnTo>
                    <a:pt x="467" y="300"/>
                  </a:lnTo>
                  <a:lnTo>
                    <a:pt x="465" y="324"/>
                  </a:lnTo>
                  <a:lnTo>
                    <a:pt x="465" y="345"/>
                  </a:lnTo>
                  <a:lnTo>
                    <a:pt x="460" y="367"/>
                  </a:lnTo>
                  <a:lnTo>
                    <a:pt x="460" y="459"/>
                  </a:lnTo>
                  <a:lnTo>
                    <a:pt x="458" y="478"/>
                  </a:lnTo>
                  <a:lnTo>
                    <a:pt x="439" y="478"/>
                  </a:lnTo>
                  <a:lnTo>
                    <a:pt x="394" y="475"/>
                  </a:lnTo>
                  <a:lnTo>
                    <a:pt x="359" y="470"/>
                  </a:lnTo>
                  <a:lnTo>
                    <a:pt x="314" y="470"/>
                  </a:lnTo>
                  <a:lnTo>
                    <a:pt x="297" y="468"/>
                  </a:lnTo>
                  <a:lnTo>
                    <a:pt x="255" y="468"/>
                  </a:lnTo>
                  <a:lnTo>
                    <a:pt x="245" y="463"/>
                  </a:lnTo>
                  <a:lnTo>
                    <a:pt x="231" y="463"/>
                  </a:lnTo>
                  <a:lnTo>
                    <a:pt x="186" y="461"/>
                  </a:lnTo>
                  <a:lnTo>
                    <a:pt x="184" y="461"/>
                  </a:lnTo>
                  <a:lnTo>
                    <a:pt x="186" y="470"/>
                  </a:lnTo>
                  <a:lnTo>
                    <a:pt x="191" y="478"/>
                  </a:lnTo>
                  <a:lnTo>
                    <a:pt x="193" y="482"/>
                  </a:lnTo>
                  <a:lnTo>
                    <a:pt x="186" y="482"/>
                  </a:lnTo>
                  <a:lnTo>
                    <a:pt x="153" y="478"/>
                  </a:lnTo>
                  <a:lnTo>
                    <a:pt x="130" y="478"/>
                  </a:lnTo>
                  <a:lnTo>
                    <a:pt x="125" y="475"/>
                  </a:lnTo>
                  <a:lnTo>
                    <a:pt x="104" y="475"/>
                  </a:lnTo>
                  <a:lnTo>
                    <a:pt x="89" y="470"/>
                  </a:lnTo>
                  <a:lnTo>
                    <a:pt x="68" y="470"/>
                  </a:lnTo>
                  <a:lnTo>
                    <a:pt x="68" y="478"/>
                  </a:lnTo>
                  <a:lnTo>
                    <a:pt x="64" y="487"/>
                  </a:lnTo>
                  <a:lnTo>
                    <a:pt x="64" y="511"/>
                  </a:lnTo>
                  <a:lnTo>
                    <a:pt x="21" y="504"/>
                  </a:lnTo>
                  <a:lnTo>
                    <a:pt x="14" y="50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3" name="Freeform 197">
              <a:extLst>
                <a:ext uri="{FF2B5EF4-FFF2-40B4-BE49-F238E27FC236}">
                  <a16:creationId xmlns:a16="http://schemas.microsoft.com/office/drawing/2014/main" id="{BBF39492-7A90-43EA-8FC9-E93DEC55D118}"/>
                </a:ext>
              </a:extLst>
            </p:cNvPr>
            <p:cNvSpPr>
              <a:spLocks/>
            </p:cNvSpPr>
            <p:nvPr/>
          </p:nvSpPr>
          <p:spPr bwMode="gray">
            <a:xfrm rot="47099">
              <a:off x="1780766" y="3389554"/>
              <a:ext cx="276980" cy="113850"/>
            </a:xfrm>
            <a:custGeom>
              <a:avLst/>
              <a:gdLst>
                <a:gd name="T0" fmla="*/ 142 w 598"/>
                <a:gd name="T1" fmla="*/ 229 h 246"/>
                <a:gd name="T2" fmla="*/ 90 w 598"/>
                <a:gd name="T3" fmla="*/ 236 h 246"/>
                <a:gd name="T4" fmla="*/ 47 w 598"/>
                <a:gd name="T5" fmla="*/ 241 h 246"/>
                <a:gd name="T6" fmla="*/ 0 w 598"/>
                <a:gd name="T7" fmla="*/ 246 h 246"/>
                <a:gd name="T8" fmla="*/ 14 w 598"/>
                <a:gd name="T9" fmla="*/ 234 h 246"/>
                <a:gd name="T10" fmla="*/ 7 w 598"/>
                <a:gd name="T11" fmla="*/ 210 h 246"/>
                <a:gd name="T12" fmla="*/ 24 w 598"/>
                <a:gd name="T13" fmla="*/ 187 h 246"/>
                <a:gd name="T14" fmla="*/ 28 w 598"/>
                <a:gd name="T15" fmla="*/ 173 h 246"/>
                <a:gd name="T16" fmla="*/ 38 w 598"/>
                <a:gd name="T17" fmla="*/ 144 h 246"/>
                <a:gd name="T18" fmla="*/ 45 w 598"/>
                <a:gd name="T19" fmla="*/ 121 h 246"/>
                <a:gd name="T20" fmla="*/ 40 w 598"/>
                <a:gd name="T21" fmla="*/ 106 h 246"/>
                <a:gd name="T22" fmla="*/ 47 w 598"/>
                <a:gd name="T23" fmla="*/ 109 h 246"/>
                <a:gd name="T24" fmla="*/ 68 w 598"/>
                <a:gd name="T25" fmla="*/ 104 h 246"/>
                <a:gd name="T26" fmla="*/ 109 w 598"/>
                <a:gd name="T27" fmla="*/ 99 h 246"/>
                <a:gd name="T28" fmla="*/ 142 w 598"/>
                <a:gd name="T29" fmla="*/ 92 h 246"/>
                <a:gd name="T30" fmla="*/ 144 w 598"/>
                <a:gd name="T31" fmla="*/ 80 h 246"/>
                <a:gd name="T32" fmla="*/ 182 w 598"/>
                <a:gd name="T33" fmla="*/ 73 h 246"/>
                <a:gd name="T34" fmla="*/ 215 w 598"/>
                <a:gd name="T35" fmla="*/ 71 h 246"/>
                <a:gd name="T36" fmla="*/ 265 w 598"/>
                <a:gd name="T37" fmla="*/ 59 h 246"/>
                <a:gd name="T38" fmla="*/ 331 w 598"/>
                <a:gd name="T39" fmla="*/ 52 h 246"/>
                <a:gd name="T40" fmla="*/ 378 w 598"/>
                <a:gd name="T41" fmla="*/ 47 h 246"/>
                <a:gd name="T42" fmla="*/ 411 w 598"/>
                <a:gd name="T43" fmla="*/ 40 h 246"/>
                <a:gd name="T44" fmla="*/ 456 w 598"/>
                <a:gd name="T45" fmla="*/ 33 h 246"/>
                <a:gd name="T46" fmla="*/ 484 w 598"/>
                <a:gd name="T47" fmla="*/ 26 h 246"/>
                <a:gd name="T48" fmla="*/ 524 w 598"/>
                <a:gd name="T49" fmla="*/ 17 h 246"/>
                <a:gd name="T50" fmla="*/ 576 w 598"/>
                <a:gd name="T51" fmla="*/ 7 h 246"/>
                <a:gd name="T52" fmla="*/ 598 w 598"/>
                <a:gd name="T53" fmla="*/ 0 h 246"/>
                <a:gd name="T54" fmla="*/ 593 w 598"/>
                <a:gd name="T55" fmla="*/ 24 h 246"/>
                <a:gd name="T56" fmla="*/ 586 w 598"/>
                <a:gd name="T57" fmla="*/ 33 h 246"/>
                <a:gd name="T58" fmla="*/ 572 w 598"/>
                <a:gd name="T59" fmla="*/ 52 h 246"/>
                <a:gd name="T60" fmla="*/ 555 w 598"/>
                <a:gd name="T61" fmla="*/ 57 h 246"/>
                <a:gd name="T62" fmla="*/ 548 w 598"/>
                <a:gd name="T63" fmla="*/ 66 h 246"/>
                <a:gd name="T64" fmla="*/ 541 w 598"/>
                <a:gd name="T65" fmla="*/ 66 h 246"/>
                <a:gd name="T66" fmla="*/ 529 w 598"/>
                <a:gd name="T67" fmla="*/ 71 h 246"/>
                <a:gd name="T68" fmla="*/ 522 w 598"/>
                <a:gd name="T69" fmla="*/ 88 h 246"/>
                <a:gd name="T70" fmla="*/ 501 w 598"/>
                <a:gd name="T71" fmla="*/ 104 h 246"/>
                <a:gd name="T72" fmla="*/ 477 w 598"/>
                <a:gd name="T73" fmla="*/ 121 h 246"/>
                <a:gd name="T74" fmla="*/ 458 w 598"/>
                <a:gd name="T75" fmla="*/ 130 h 246"/>
                <a:gd name="T76" fmla="*/ 449 w 598"/>
                <a:gd name="T77" fmla="*/ 147 h 246"/>
                <a:gd name="T78" fmla="*/ 435 w 598"/>
                <a:gd name="T79" fmla="*/ 156 h 246"/>
                <a:gd name="T80" fmla="*/ 432 w 598"/>
                <a:gd name="T81" fmla="*/ 168 h 246"/>
                <a:gd name="T82" fmla="*/ 402 w 598"/>
                <a:gd name="T83" fmla="*/ 187 h 246"/>
                <a:gd name="T84" fmla="*/ 368 w 598"/>
                <a:gd name="T85" fmla="*/ 194 h 246"/>
                <a:gd name="T86" fmla="*/ 302 w 598"/>
                <a:gd name="T87" fmla="*/ 203 h 246"/>
                <a:gd name="T88" fmla="*/ 274 w 598"/>
                <a:gd name="T89" fmla="*/ 210 h 246"/>
                <a:gd name="T90" fmla="*/ 234 w 598"/>
                <a:gd name="T91" fmla="*/ 213 h 246"/>
                <a:gd name="T92" fmla="*/ 205 w 598"/>
                <a:gd name="T93" fmla="*/ 220 h 246"/>
                <a:gd name="T94" fmla="*/ 153 w 598"/>
                <a:gd name="T95" fmla="*/ 225 h 2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8"/>
                <a:gd name="T145" fmla="*/ 0 h 246"/>
                <a:gd name="T146" fmla="*/ 598 w 598"/>
                <a:gd name="T147" fmla="*/ 246 h 2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8" h="246">
                  <a:moveTo>
                    <a:pt x="153" y="227"/>
                  </a:moveTo>
                  <a:lnTo>
                    <a:pt x="146" y="227"/>
                  </a:lnTo>
                  <a:lnTo>
                    <a:pt x="142" y="229"/>
                  </a:lnTo>
                  <a:lnTo>
                    <a:pt x="111" y="234"/>
                  </a:lnTo>
                  <a:lnTo>
                    <a:pt x="97" y="234"/>
                  </a:lnTo>
                  <a:lnTo>
                    <a:pt x="90" y="236"/>
                  </a:lnTo>
                  <a:lnTo>
                    <a:pt x="68" y="236"/>
                  </a:lnTo>
                  <a:lnTo>
                    <a:pt x="54" y="241"/>
                  </a:lnTo>
                  <a:lnTo>
                    <a:pt x="47" y="241"/>
                  </a:lnTo>
                  <a:lnTo>
                    <a:pt x="38" y="243"/>
                  </a:lnTo>
                  <a:lnTo>
                    <a:pt x="14" y="243"/>
                  </a:lnTo>
                  <a:lnTo>
                    <a:pt x="0" y="246"/>
                  </a:lnTo>
                  <a:lnTo>
                    <a:pt x="0" y="243"/>
                  </a:lnTo>
                  <a:lnTo>
                    <a:pt x="7" y="243"/>
                  </a:lnTo>
                  <a:lnTo>
                    <a:pt x="14" y="234"/>
                  </a:lnTo>
                  <a:lnTo>
                    <a:pt x="16" y="229"/>
                  </a:lnTo>
                  <a:lnTo>
                    <a:pt x="9" y="210"/>
                  </a:lnTo>
                  <a:lnTo>
                    <a:pt x="7" y="210"/>
                  </a:lnTo>
                  <a:lnTo>
                    <a:pt x="7" y="208"/>
                  </a:lnTo>
                  <a:lnTo>
                    <a:pt x="14" y="196"/>
                  </a:lnTo>
                  <a:lnTo>
                    <a:pt x="24" y="187"/>
                  </a:lnTo>
                  <a:lnTo>
                    <a:pt x="24" y="177"/>
                  </a:lnTo>
                  <a:lnTo>
                    <a:pt x="28" y="177"/>
                  </a:lnTo>
                  <a:lnTo>
                    <a:pt x="28" y="173"/>
                  </a:lnTo>
                  <a:lnTo>
                    <a:pt x="33" y="170"/>
                  </a:lnTo>
                  <a:lnTo>
                    <a:pt x="33" y="154"/>
                  </a:lnTo>
                  <a:lnTo>
                    <a:pt x="38" y="144"/>
                  </a:lnTo>
                  <a:lnTo>
                    <a:pt x="38" y="123"/>
                  </a:lnTo>
                  <a:lnTo>
                    <a:pt x="40" y="121"/>
                  </a:lnTo>
                  <a:lnTo>
                    <a:pt x="45" y="121"/>
                  </a:lnTo>
                  <a:lnTo>
                    <a:pt x="45" y="116"/>
                  </a:lnTo>
                  <a:lnTo>
                    <a:pt x="40" y="109"/>
                  </a:lnTo>
                  <a:lnTo>
                    <a:pt x="40" y="106"/>
                  </a:lnTo>
                  <a:lnTo>
                    <a:pt x="45" y="106"/>
                  </a:lnTo>
                  <a:lnTo>
                    <a:pt x="45" y="109"/>
                  </a:lnTo>
                  <a:lnTo>
                    <a:pt x="47" y="109"/>
                  </a:lnTo>
                  <a:lnTo>
                    <a:pt x="50" y="106"/>
                  </a:lnTo>
                  <a:lnTo>
                    <a:pt x="57" y="106"/>
                  </a:lnTo>
                  <a:lnTo>
                    <a:pt x="68" y="104"/>
                  </a:lnTo>
                  <a:lnTo>
                    <a:pt x="80" y="104"/>
                  </a:lnTo>
                  <a:lnTo>
                    <a:pt x="87" y="99"/>
                  </a:lnTo>
                  <a:lnTo>
                    <a:pt x="109" y="99"/>
                  </a:lnTo>
                  <a:lnTo>
                    <a:pt x="113" y="97"/>
                  </a:lnTo>
                  <a:lnTo>
                    <a:pt x="120" y="97"/>
                  </a:lnTo>
                  <a:lnTo>
                    <a:pt x="142" y="92"/>
                  </a:lnTo>
                  <a:lnTo>
                    <a:pt x="146" y="92"/>
                  </a:lnTo>
                  <a:lnTo>
                    <a:pt x="146" y="88"/>
                  </a:lnTo>
                  <a:lnTo>
                    <a:pt x="144" y="80"/>
                  </a:lnTo>
                  <a:lnTo>
                    <a:pt x="144" y="76"/>
                  </a:lnTo>
                  <a:lnTo>
                    <a:pt x="161" y="76"/>
                  </a:lnTo>
                  <a:lnTo>
                    <a:pt x="182" y="73"/>
                  </a:lnTo>
                  <a:lnTo>
                    <a:pt x="191" y="73"/>
                  </a:lnTo>
                  <a:lnTo>
                    <a:pt x="201" y="71"/>
                  </a:lnTo>
                  <a:lnTo>
                    <a:pt x="215" y="71"/>
                  </a:lnTo>
                  <a:lnTo>
                    <a:pt x="250" y="64"/>
                  </a:lnTo>
                  <a:lnTo>
                    <a:pt x="255" y="64"/>
                  </a:lnTo>
                  <a:lnTo>
                    <a:pt x="265" y="59"/>
                  </a:lnTo>
                  <a:lnTo>
                    <a:pt x="288" y="59"/>
                  </a:lnTo>
                  <a:lnTo>
                    <a:pt x="324" y="52"/>
                  </a:lnTo>
                  <a:lnTo>
                    <a:pt x="331" y="52"/>
                  </a:lnTo>
                  <a:lnTo>
                    <a:pt x="338" y="50"/>
                  </a:lnTo>
                  <a:lnTo>
                    <a:pt x="352" y="47"/>
                  </a:lnTo>
                  <a:lnTo>
                    <a:pt x="378" y="47"/>
                  </a:lnTo>
                  <a:lnTo>
                    <a:pt x="399" y="43"/>
                  </a:lnTo>
                  <a:lnTo>
                    <a:pt x="404" y="40"/>
                  </a:lnTo>
                  <a:lnTo>
                    <a:pt x="411" y="40"/>
                  </a:lnTo>
                  <a:lnTo>
                    <a:pt x="418" y="36"/>
                  </a:lnTo>
                  <a:lnTo>
                    <a:pt x="428" y="36"/>
                  </a:lnTo>
                  <a:lnTo>
                    <a:pt x="456" y="33"/>
                  </a:lnTo>
                  <a:lnTo>
                    <a:pt x="456" y="31"/>
                  </a:lnTo>
                  <a:lnTo>
                    <a:pt x="465" y="31"/>
                  </a:lnTo>
                  <a:lnTo>
                    <a:pt x="484" y="26"/>
                  </a:lnTo>
                  <a:lnTo>
                    <a:pt x="508" y="19"/>
                  </a:lnTo>
                  <a:lnTo>
                    <a:pt x="515" y="19"/>
                  </a:lnTo>
                  <a:lnTo>
                    <a:pt x="524" y="17"/>
                  </a:lnTo>
                  <a:lnTo>
                    <a:pt x="536" y="17"/>
                  </a:lnTo>
                  <a:lnTo>
                    <a:pt x="546" y="12"/>
                  </a:lnTo>
                  <a:lnTo>
                    <a:pt x="576" y="7"/>
                  </a:lnTo>
                  <a:lnTo>
                    <a:pt x="579" y="2"/>
                  </a:lnTo>
                  <a:lnTo>
                    <a:pt x="595" y="0"/>
                  </a:lnTo>
                  <a:lnTo>
                    <a:pt x="598" y="0"/>
                  </a:lnTo>
                  <a:lnTo>
                    <a:pt x="595" y="7"/>
                  </a:lnTo>
                  <a:lnTo>
                    <a:pt x="595" y="19"/>
                  </a:lnTo>
                  <a:lnTo>
                    <a:pt x="593" y="24"/>
                  </a:lnTo>
                  <a:lnTo>
                    <a:pt x="588" y="26"/>
                  </a:lnTo>
                  <a:lnTo>
                    <a:pt x="586" y="31"/>
                  </a:lnTo>
                  <a:lnTo>
                    <a:pt x="586" y="33"/>
                  </a:lnTo>
                  <a:lnTo>
                    <a:pt x="579" y="50"/>
                  </a:lnTo>
                  <a:lnTo>
                    <a:pt x="576" y="52"/>
                  </a:lnTo>
                  <a:lnTo>
                    <a:pt x="572" y="52"/>
                  </a:lnTo>
                  <a:lnTo>
                    <a:pt x="572" y="50"/>
                  </a:lnTo>
                  <a:lnTo>
                    <a:pt x="565" y="50"/>
                  </a:lnTo>
                  <a:lnTo>
                    <a:pt x="555" y="57"/>
                  </a:lnTo>
                  <a:lnTo>
                    <a:pt x="553" y="59"/>
                  </a:lnTo>
                  <a:lnTo>
                    <a:pt x="553" y="64"/>
                  </a:lnTo>
                  <a:lnTo>
                    <a:pt x="548" y="66"/>
                  </a:lnTo>
                  <a:lnTo>
                    <a:pt x="546" y="71"/>
                  </a:lnTo>
                  <a:lnTo>
                    <a:pt x="541" y="71"/>
                  </a:lnTo>
                  <a:lnTo>
                    <a:pt x="541" y="66"/>
                  </a:lnTo>
                  <a:lnTo>
                    <a:pt x="539" y="64"/>
                  </a:lnTo>
                  <a:lnTo>
                    <a:pt x="531" y="71"/>
                  </a:lnTo>
                  <a:lnTo>
                    <a:pt x="529" y="71"/>
                  </a:lnTo>
                  <a:lnTo>
                    <a:pt x="524" y="76"/>
                  </a:lnTo>
                  <a:lnTo>
                    <a:pt x="522" y="83"/>
                  </a:lnTo>
                  <a:lnTo>
                    <a:pt x="522" y="88"/>
                  </a:lnTo>
                  <a:lnTo>
                    <a:pt x="513" y="92"/>
                  </a:lnTo>
                  <a:lnTo>
                    <a:pt x="505" y="97"/>
                  </a:lnTo>
                  <a:lnTo>
                    <a:pt x="501" y="104"/>
                  </a:lnTo>
                  <a:lnTo>
                    <a:pt x="496" y="109"/>
                  </a:lnTo>
                  <a:lnTo>
                    <a:pt x="484" y="121"/>
                  </a:lnTo>
                  <a:lnTo>
                    <a:pt x="477" y="121"/>
                  </a:lnTo>
                  <a:lnTo>
                    <a:pt x="475" y="123"/>
                  </a:lnTo>
                  <a:lnTo>
                    <a:pt x="465" y="123"/>
                  </a:lnTo>
                  <a:lnTo>
                    <a:pt x="458" y="130"/>
                  </a:lnTo>
                  <a:lnTo>
                    <a:pt x="451" y="137"/>
                  </a:lnTo>
                  <a:lnTo>
                    <a:pt x="451" y="140"/>
                  </a:lnTo>
                  <a:lnTo>
                    <a:pt x="449" y="147"/>
                  </a:lnTo>
                  <a:lnTo>
                    <a:pt x="449" y="154"/>
                  </a:lnTo>
                  <a:lnTo>
                    <a:pt x="442" y="156"/>
                  </a:lnTo>
                  <a:lnTo>
                    <a:pt x="435" y="156"/>
                  </a:lnTo>
                  <a:lnTo>
                    <a:pt x="435" y="161"/>
                  </a:lnTo>
                  <a:lnTo>
                    <a:pt x="432" y="163"/>
                  </a:lnTo>
                  <a:lnTo>
                    <a:pt x="432" y="168"/>
                  </a:lnTo>
                  <a:lnTo>
                    <a:pt x="435" y="184"/>
                  </a:lnTo>
                  <a:lnTo>
                    <a:pt x="416" y="184"/>
                  </a:lnTo>
                  <a:lnTo>
                    <a:pt x="402" y="187"/>
                  </a:lnTo>
                  <a:lnTo>
                    <a:pt x="392" y="189"/>
                  </a:lnTo>
                  <a:lnTo>
                    <a:pt x="380" y="189"/>
                  </a:lnTo>
                  <a:lnTo>
                    <a:pt x="368" y="194"/>
                  </a:lnTo>
                  <a:lnTo>
                    <a:pt x="342" y="196"/>
                  </a:lnTo>
                  <a:lnTo>
                    <a:pt x="312" y="203"/>
                  </a:lnTo>
                  <a:lnTo>
                    <a:pt x="302" y="203"/>
                  </a:lnTo>
                  <a:lnTo>
                    <a:pt x="298" y="208"/>
                  </a:lnTo>
                  <a:lnTo>
                    <a:pt x="279" y="208"/>
                  </a:lnTo>
                  <a:lnTo>
                    <a:pt x="274" y="210"/>
                  </a:lnTo>
                  <a:lnTo>
                    <a:pt x="262" y="210"/>
                  </a:lnTo>
                  <a:lnTo>
                    <a:pt x="257" y="213"/>
                  </a:lnTo>
                  <a:lnTo>
                    <a:pt x="234" y="213"/>
                  </a:lnTo>
                  <a:lnTo>
                    <a:pt x="227" y="217"/>
                  </a:lnTo>
                  <a:lnTo>
                    <a:pt x="208" y="217"/>
                  </a:lnTo>
                  <a:lnTo>
                    <a:pt x="205" y="220"/>
                  </a:lnTo>
                  <a:lnTo>
                    <a:pt x="177" y="220"/>
                  </a:lnTo>
                  <a:lnTo>
                    <a:pt x="175" y="225"/>
                  </a:lnTo>
                  <a:lnTo>
                    <a:pt x="153" y="225"/>
                  </a:lnTo>
                  <a:lnTo>
                    <a:pt x="153" y="22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4" name="Freeform 198">
              <a:extLst>
                <a:ext uri="{FF2B5EF4-FFF2-40B4-BE49-F238E27FC236}">
                  <a16:creationId xmlns:a16="http://schemas.microsoft.com/office/drawing/2014/main" id="{D299DDE9-0EE5-4B4D-AB38-39E1F1CB3694}"/>
                </a:ext>
              </a:extLst>
            </p:cNvPr>
            <p:cNvSpPr>
              <a:spLocks/>
            </p:cNvSpPr>
            <p:nvPr/>
          </p:nvSpPr>
          <p:spPr bwMode="gray">
            <a:xfrm rot="47099">
              <a:off x="2264324" y="3375022"/>
              <a:ext cx="6235" cy="24121"/>
            </a:xfrm>
            <a:custGeom>
              <a:avLst/>
              <a:gdLst>
                <a:gd name="T0" fmla="*/ 10 w 15"/>
                <a:gd name="T1" fmla="*/ 50 h 52"/>
                <a:gd name="T2" fmla="*/ 7 w 15"/>
                <a:gd name="T3" fmla="*/ 50 h 52"/>
                <a:gd name="T4" fmla="*/ 3 w 15"/>
                <a:gd name="T5" fmla="*/ 52 h 52"/>
                <a:gd name="T6" fmla="*/ 15 w 15"/>
                <a:gd name="T7" fmla="*/ 47 h 52"/>
                <a:gd name="T8" fmla="*/ 15 w 15"/>
                <a:gd name="T9" fmla="*/ 40 h 52"/>
                <a:gd name="T10" fmla="*/ 10 w 15"/>
                <a:gd name="T11" fmla="*/ 31 h 52"/>
                <a:gd name="T12" fmla="*/ 10 w 15"/>
                <a:gd name="T13" fmla="*/ 17 h 52"/>
                <a:gd name="T14" fmla="*/ 7 w 15"/>
                <a:gd name="T15" fmla="*/ 14 h 52"/>
                <a:gd name="T16" fmla="*/ 7 w 15"/>
                <a:gd name="T17" fmla="*/ 9 h 52"/>
                <a:gd name="T18" fmla="*/ 3 w 15"/>
                <a:gd name="T19" fmla="*/ 7 h 52"/>
                <a:gd name="T20" fmla="*/ 3 w 15"/>
                <a:gd name="T21" fmla="*/ 2 h 52"/>
                <a:gd name="T22" fmla="*/ 0 w 15"/>
                <a:gd name="T23" fmla="*/ 2 h 52"/>
                <a:gd name="T24" fmla="*/ 0 w 15"/>
                <a:gd name="T25" fmla="*/ 0 h 52"/>
                <a:gd name="T26" fmla="*/ 3 w 15"/>
                <a:gd name="T27" fmla="*/ 2 h 52"/>
                <a:gd name="T28" fmla="*/ 7 w 15"/>
                <a:gd name="T29" fmla="*/ 7 h 52"/>
                <a:gd name="T30" fmla="*/ 10 w 15"/>
                <a:gd name="T31" fmla="*/ 14 h 52"/>
                <a:gd name="T32" fmla="*/ 10 w 15"/>
                <a:gd name="T33" fmla="*/ 17 h 52"/>
                <a:gd name="T34" fmla="*/ 15 w 15"/>
                <a:gd name="T35" fmla="*/ 35 h 52"/>
                <a:gd name="T36" fmla="*/ 15 w 15"/>
                <a:gd name="T37" fmla="*/ 47 h 52"/>
                <a:gd name="T38" fmla="*/ 10 w 15"/>
                <a:gd name="T39" fmla="*/ 50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52"/>
                <a:gd name="T62" fmla="*/ 15 w 15"/>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52">
                  <a:moveTo>
                    <a:pt x="10" y="50"/>
                  </a:moveTo>
                  <a:lnTo>
                    <a:pt x="7" y="50"/>
                  </a:lnTo>
                  <a:lnTo>
                    <a:pt x="3" y="52"/>
                  </a:lnTo>
                  <a:lnTo>
                    <a:pt x="15" y="47"/>
                  </a:lnTo>
                  <a:lnTo>
                    <a:pt x="15" y="40"/>
                  </a:lnTo>
                  <a:lnTo>
                    <a:pt x="10" y="31"/>
                  </a:lnTo>
                  <a:lnTo>
                    <a:pt x="10" y="17"/>
                  </a:lnTo>
                  <a:lnTo>
                    <a:pt x="7" y="14"/>
                  </a:lnTo>
                  <a:lnTo>
                    <a:pt x="7" y="9"/>
                  </a:lnTo>
                  <a:lnTo>
                    <a:pt x="3" y="7"/>
                  </a:lnTo>
                  <a:lnTo>
                    <a:pt x="3" y="2"/>
                  </a:lnTo>
                  <a:lnTo>
                    <a:pt x="0" y="2"/>
                  </a:lnTo>
                  <a:lnTo>
                    <a:pt x="0" y="0"/>
                  </a:lnTo>
                  <a:lnTo>
                    <a:pt x="3" y="2"/>
                  </a:lnTo>
                  <a:lnTo>
                    <a:pt x="7" y="7"/>
                  </a:lnTo>
                  <a:lnTo>
                    <a:pt x="10" y="14"/>
                  </a:lnTo>
                  <a:lnTo>
                    <a:pt x="10" y="17"/>
                  </a:lnTo>
                  <a:lnTo>
                    <a:pt x="15" y="35"/>
                  </a:lnTo>
                  <a:lnTo>
                    <a:pt x="15" y="47"/>
                  </a:lnTo>
                  <a:lnTo>
                    <a:pt x="10" y="5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5" name="Freeform 199">
              <a:extLst>
                <a:ext uri="{FF2B5EF4-FFF2-40B4-BE49-F238E27FC236}">
                  <a16:creationId xmlns:a16="http://schemas.microsoft.com/office/drawing/2014/main" id="{D2E8FC6E-49D2-4E2B-A1EC-2CE3AB4F3B49}"/>
                </a:ext>
              </a:extLst>
            </p:cNvPr>
            <p:cNvSpPr>
              <a:spLocks/>
            </p:cNvSpPr>
            <p:nvPr/>
          </p:nvSpPr>
          <p:spPr bwMode="gray">
            <a:xfrm rot="47099">
              <a:off x="2245096" y="3345904"/>
              <a:ext cx="19593" cy="28945"/>
            </a:xfrm>
            <a:custGeom>
              <a:avLst/>
              <a:gdLst>
                <a:gd name="T0" fmla="*/ 2 w 42"/>
                <a:gd name="T1" fmla="*/ 0 h 61"/>
                <a:gd name="T2" fmla="*/ 2 w 42"/>
                <a:gd name="T3" fmla="*/ 4 h 61"/>
                <a:gd name="T4" fmla="*/ 7 w 42"/>
                <a:gd name="T5" fmla="*/ 11 h 61"/>
                <a:gd name="T6" fmla="*/ 9 w 42"/>
                <a:gd name="T7" fmla="*/ 16 h 61"/>
                <a:gd name="T8" fmla="*/ 12 w 42"/>
                <a:gd name="T9" fmla="*/ 23 h 61"/>
                <a:gd name="T10" fmla="*/ 23 w 42"/>
                <a:gd name="T11" fmla="*/ 37 h 61"/>
                <a:gd name="T12" fmla="*/ 28 w 42"/>
                <a:gd name="T13" fmla="*/ 40 h 61"/>
                <a:gd name="T14" fmla="*/ 28 w 42"/>
                <a:gd name="T15" fmla="*/ 44 h 61"/>
                <a:gd name="T16" fmla="*/ 35 w 42"/>
                <a:gd name="T17" fmla="*/ 52 h 61"/>
                <a:gd name="T18" fmla="*/ 40 w 42"/>
                <a:gd name="T19" fmla="*/ 54 h 61"/>
                <a:gd name="T20" fmla="*/ 42 w 42"/>
                <a:gd name="T21" fmla="*/ 61 h 61"/>
                <a:gd name="T22" fmla="*/ 40 w 42"/>
                <a:gd name="T23" fmla="*/ 61 h 61"/>
                <a:gd name="T24" fmla="*/ 35 w 42"/>
                <a:gd name="T25" fmla="*/ 56 h 61"/>
                <a:gd name="T26" fmla="*/ 35 w 42"/>
                <a:gd name="T27" fmla="*/ 54 h 61"/>
                <a:gd name="T28" fmla="*/ 33 w 42"/>
                <a:gd name="T29" fmla="*/ 47 h 61"/>
                <a:gd name="T30" fmla="*/ 26 w 42"/>
                <a:gd name="T31" fmla="*/ 47 h 61"/>
                <a:gd name="T32" fmla="*/ 26 w 42"/>
                <a:gd name="T33" fmla="*/ 44 h 61"/>
                <a:gd name="T34" fmla="*/ 23 w 42"/>
                <a:gd name="T35" fmla="*/ 40 h 61"/>
                <a:gd name="T36" fmla="*/ 19 w 42"/>
                <a:gd name="T37" fmla="*/ 37 h 61"/>
                <a:gd name="T38" fmla="*/ 19 w 42"/>
                <a:gd name="T39" fmla="*/ 30 h 61"/>
                <a:gd name="T40" fmla="*/ 16 w 42"/>
                <a:gd name="T41" fmla="*/ 30 h 61"/>
                <a:gd name="T42" fmla="*/ 16 w 42"/>
                <a:gd name="T43" fmla="*/ 28 h 61"/>
                <a:gd name="T44" fmla="*/ 9 w 42"/>
                <a:gd name="T45" fmla="*/ 21 h 61"/>
                <a:gd name="T46" fmla="*/ 2 w 42"/>
                <a:gd name="T47" fmla="*/ 7 h 61"/>
                <a:gd name="T48" fmla="*/ 2 w 42"/>
                <a:gd name="T49" fmla="*/ 4 h 61"/>
                <a:gd name="T50" fmla="*/ 0 w 42"/>
                <a:gd name="T51" fmla="*/ 0 h 61"/>
                <a:gd name="T52" fmla="*/ 2 w 42"/>
                <a:gd name="T53" fmla="*/ 0 h 6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61"/>
                <a:gd name="T83" fmla="*/ 42 w 42"/>
                <a:gd name="T84" fmla="*/ 61 h 6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61">
                  <a:moveTo>
                    <a:pt x="2" y="0"/>
                  </a:moveTo>
                  <a:lnTo>
                    <a:pt x="2" y="4"/>
                  </a:lnTo>
                  <a:lnTo>
                    <a:pt x="7" y="11"/>
                  </a:lnTo>
                  <a:lnTo>
                    <a:pt x="9" y="16"/>
                  </a:lnTo>
                  <a:lnTo>
                    <a:pt x="12" y="23"/>
                  </a:lnTo>
                  <a:lnTo>
                    <a:pt x="23" y="37"/>
                  </a:lnTo>
                  <a:lnTo>
                    <a:pt x="28" y="40"/>
                  </a:lnTo>
                  <a:lnTo>
                    <a:pt x="28" y="44"/>
                  </a:lnTo>
                  <a:lnTo>
                    <a:pt x="35" y="52"/>
                  </a:lnTo>
                  <a:lnTo>
                    <a:pt x="40" y="54"/>
                  </a:lnTo>
                  <a:lnTo>
                    <a:pt x="42" y="61"/>
                  </a:lnTo>
                  <a:lnTo>
                    <a:pt x="40" y="61"/>
                  </a:lnTo>
                  <a:lnTo>
                    <a:pt x="35" y="56"/>
                  </a:lnTo>
                  <a:lnTo>
                    <a:pt x="35" y="54"/>
                  </a:lnTo>
                  <a:lnTo>
                    <a:pt x="33" y="47"/>
                  </a:lnTo>
                  <a:lnTo>
                    <a:pt x="26" y="47"/>
                  </a:lnTo>
                  <a:lnTo>
                    <a:pt x="26" y="44"/>
                  </a:lnTo>
                  <a:lnTo>
                    <a:pt x="23" y="40"/>
                  </a:lnTo>
                  <a:lnTo>
                    <a:pt x="19" y="37"/>
                  </a:lnTo>
                  <a:lnTo>
                    <a:pt x="19" y="30"/>
                  </a:lnTo>
                  <a:lnTo>
                    <a:pt x="16" y="30"/>
                  </a:lnTo>
                  <a:lnTo>
                    <a:pt x="16" y="28"/>
                  </a:lnTo>
                  <a:lnTo>
                    <a:pt x="9" y="21"/>
                  </a:lnTo>
                  <a:lnTo>
                    <a:pt x="2" y="7"/>
                  </a:lnTo>
                  <a:lnTo>
                    <a:pt x="2" y="4"/>
                  </a:lnTo>
                  <a:lnTo>
                    <a:pt x="0" y="0"/>
                  </a:lnTo>
                  <a:lnTo>
                    <a:pt x="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6" name="Freeform 200">
              <a:extLst>
                <a:ext uri="{FF2B5EF4-FFF2-40B4-BE49-F238E27FC236}">
                  <a16:creationId xmlns:a16="http://schemas.microsoft.com/office/drawing/2014/main" id="{CF614F70-8C40-428F-8093-218DBDA16246}"/>
                </a:ext>
              </a:extLst>
            </p:cNvPr>
            <p:cNvSpPr>
              <a:spLocks/>
            </p:cNvSpPr>
            <p:nvPr/>
          </p:nvSpPr>
          <p:spPr bwMode="gray">
            <a:xfrm rot="47099">
              <a:off x="2241673" y="3348640"/>
              <a:ext cx="3563" cy="2894"/>
            </a:xfrm>
            <a:custGeom>
              <a:avLst/>
              <a:gdLst>
                <a:gd name="T0" fmla="*/ 2 w 7"/>
                <a:gd name="T1" fmla="*/ 0 h 7"/>
                <a:gd name="T2" fmla="*/ 7 w 7"/>
                <a:gd name="T3" fmla="*/ 0 h 7"/>
                <a:gd name="T4" fmla="*/ 7 w 7"/>
                <a:gd name="T5" fmla="*/ 3 h 7"/>
                <a:gd name="T6" fmla="*/ 2 w 7"/>
                <a:gd name="T7" fmla="*/ 7 h 7"/>
                <a:gd name="T8" fmla="*/ 0 w 7"/>
                <a:gd name="T9" fmla="*/ 0 h 7"/>
                <a:gd name="T10" fmla="*/ 2 w 7"/>
                <a:gd name="T11" fmla="*/ 0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2" y="0"/>
                  </a:moveTo>
                  <a:lnTo>
                    <a:pt x="7" y="0"/>
                  </a:lnTo>
                  <a:lnTo>
                    <a:pt x="7" y="3"/>
                  </a:lnTo>
                  <a:lnTo>
                    <a:pt x="2" y="7"/>
                  </a:lnTo>
                  <a:lnTo>
                    <a:pt x="0" y="0"/>
                  </a:lnTo>
                  <a:lnTo>
                    <a:pt x="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7" name="Freeform 201">
              <a:extLst>
                <a:ext uri="{FF2B5EF4-FFF2-40B4-BE49-F238E27FC236}">
                  <a16:creationId xmlns:a16="http://schemas.microsoft.com/office/drawing/2014/main" id="{936EFF96-1E2A-4392-BCDE-F177AECA3E1F}"/>
                </a:ext>
              </a:extLst>
            </p:cNvPr>
            <p:cNvSpPr>
              <a:spLocks/>
            </p:cNvSpPr>
            <p:nvPr/>
          </p:nvSpPr>
          <p:spPr bwMode="gray">
            <a:xfrm rot="47099">
              <a:off x="1980740" y="3346956"/>
              <a:ext cx="278762" cy="132183"/>
            </a:xfrm>
            <a:custGeom>
              <a:avLst/>
              <a:gdLst>
                <a:gd name="T0" fmla="*/ 558 w 598"/>
                <a:gd name="T1" fmla="*/ 144 h 284"/>
                <a:gd name="T2" fmla="*/ 572 w 598"/>
                <a:gd name="T3" fmla="*/ 144 h 284"/>
                <a:gd name="T4" fmla="*/ 572 w 598"/>
                <a:gd name="T5" fmla="*/ 154 h 284"/>
                <a:gd name="T6" fmla="*/ 553 w 598"/>
                <a:gd name="T7" fmla="*/ 173 h 284"/>
                <a:gd name="T8" fmla="*/ 520 w 598"/>
                <a:gd name="T9" fmla="*/ 185 h 284"/>
                <a:gd name="T10" fmla="*/ 508 w 598"/>
                <a:gd name="T11" fmla="*/ 194 h 284"/>
                <a:gd name="T12" fmla="*/ 508 w 598"/>
                <a:gd name="T13" fmla="*/ 201 h 284"/>
                <a:gd name="T14" fmla="*/ 494 w 598"/>
                <a:gd name="T15" fmla="*/ 220 h 284"/>
                <a:gd name="T16" fmla="*/ 485 w 598"/>
                <a:gd name="T17" fmla="*/ 234 h 284"/>
                <a:gd name="T18" fmla="*/ 475 w 598"/>
                <a:gd name="T19" fmla="*/ 246 h 284"/>
                <a:gd name="T20" fmla="*/ 456 w 598"/>
                <a:gd name="T21" fmla="*/ 274 h 284"/>
                <a:gd name="T22" fmla="*/ 421 w 598"/>
                <a:gd name="T23" fmla="*/ 274 h 284"/>
                <a:gd name="T24" fmla="*/ 350 w 598"/>
                <a:gd name="T25" fmla="*/ 229 h 284"/>
                <a:gd name="T26" fmla="*/ 286 w 598"/>
                <a:gd name="T27" fmla="*/ 234 h 284"/>
                <a:gd name="T28" fmla="*/ 258 w 598"/>
                <a:gd name="T29" fmla="*/ 227 h 284"/>
                <a:gd name="T30" fmla="*/ 196 w 598"/>
                <a:gd name="T31" fmla="*/ 220 h 284"/>
                <a:gd name="T32" fmla="*/ 123 w 598"/>
                <a:gd name="T33" fmla="*/ 241 h 284"/>
                <a:gd name="T34" fmla="*/ 90 w 598"/>
                <a:gd name="T35" fmla="*/ 260 h 284"/>
                <a:gd name="T36" fmla="*/ 43 w 598"/>
                <a:gd name="T37" fmla="*/ 270 h 284"/>
                <a:gd name="T38" fmla="*/ 3 w 598"/>
                <a:gd name="T39" fmla="*/ 258 h 284"/>
                <a:gd name="T40" fmla="*/ 19 w 598"/>
                <a:gd name="T41" fmla="*/ 237 h 284"/>
                <a:gd name="T42" fmla="*/ 45 w 598"/>
                <a:gd name="T43" fmla="*/ 218 h 284"/>
                <a:gd name="T44" fmla="*/ 81 w 598"/>
                <a:gd name="T45" fmla="*/ 189 h 284"/>
                <a:gd name="T46" fmla="*/ 99 w 598"/>
                <a:gd name="T47" fmla="*/ 168 h 284"/>
                <a:gd name="T48" fmla="*/ 116 w 598"/>
                <a:gd name="T49" fmla="*/ 163 h 284"/>
                <a:gd name="T50" fmla="*/ 140 w 598"/>
                <a:gd name="T51" fmla="*/ 147 h 284"/>
                <a:gd name="T52" fmla="*/ 154 w 598"/>
                <a:gd name="T53" fmla="*/ 128 h 284"/>
                <a:gd name="T54" fmla="*/ 166 w 598"/>
                <a:gd name="T55" fmla="*/ 97 h 284"/>
                <a:gd name="T56" fmla="*/ 201 w 598"/>
                <a:gd name="T57" fmla="*/ 92 h 284"/>
                <a:gd name="T58" fmla="*/ 399 w 598"/>
                <a:gd name="T59" fmla="*/ 48 h 284"/>
                <a:gd name="T60" fmla="*/ 475 w 598"/>
                <a:gd name="T61" fmla="*/ 26 h 284"/>
                <a:gd name="T62" fmla="*/ 503 w 598"/>
                <a:gd name="T63" fmla="*/ 17 h 284"/>
                <a:gd name="T64" fmla="*/ 527 w 598"/>
                <a:gd name="T65" fmla="*/ 10 h 284"/>
                <a:gd name="T66" fmla="*/ 553 w 598"/>
                <a:gd name="T67" fmla="*/ 3 h 284"/>
                <a:gd name="T68" fmla="*/ 572 w 598"/>
                <a:gd name="T69" fmla="*/ 19 h 284"/>
                <a:gd name="T70" fmla="*/ 565 w 598"/>
                <a:gd name="T71" fmla="*/ 19 h 284"/>
                <a:gd name="T72" fmla="*/ 560 w 598"/>
                <a:gd name="T73" fmla="*/ 31 h 284"/>
                <a:gd name="T74" fmla="*/ 553 w 598"/>
                <a:gd name="T75" fmla="*/ 31 h 284"/>
                <a:gd name="T76" fmla="*/ 541 w 598"/>
                <a:gd name="T77" fmla="*/ 48 h 284"/>
                <a:gd name="T78" fmla="*/ 520 w 598"/>
                <a:gd name="T79" fmla="*/ 57 h 284"/>
                <a:gd name="T80" fmla="*/ 518 w 598"/>
                <a:gd name="T81" fmla="*/ 57 h 284"/>
                <a:gd name="T82" fmla="*/ 536 w 598"/>
                <a:gd name="T83" fmla="*/ 59 h 284"/>
                <a:gd name="T84" fmla="*/ 567 w 598"/>
                <a:gd name="T85" fmla="*/ 50 h 284"/>
                <a:gd name="T86" fmla="*/ 567 w 598"/>
                <a:gd name="T87" fmla="*/ 76 h 284"/>
                <a:gd name="T88" fmla="*/ 574 w 598"/>
                <a:gd name="T89" fmla="*/ 57 h 284"/>
                <a:gd name="T90" fmla="*/ 591 w 598"/>
                <a:gd name="T91" fmla="*/ 52 h 284"/>
                <a:gd name="T92" fmla="*/ 593 w 598"/>
                <a:gd name="T93" fmla="*/ 83 h 284"/>
                <a:gd name="T94" fmla="*/ 581 w 598"/>
                <a:gd name="T95" fmla="*/ 92 h 284"/>
                <a:gd name="T96" fmla="*/ 551 w 598"/>
                <a:gd name="T97" fmla="*/ 114 h 284"/>
                <a:gd name="T98" fmla="*/ 536 w 598"/>
                <a:gd name="T99" fmla="*/ 99 h 284"/>
                <a:gd name="T100" fmla="*/ 518 w 598"/>
                <a:gd name="T101" fmla="*/ 114 h 284"/>
                <a:gd name="T102" fmla="*/ 553 w 598"/>
                <a:gd name="T103" fmla="*/ 121 h 284"/>
                <a:gd name="T104" fmla="*/ 551 w 598"/>
                <a:gd name="T105" fmla="*/ 140 h 284"/>
                <a:gd name="T106" fmla="*/ 525 w 598"/>
                <a:gd name="T107" fmla="*/ 149 h 284"/>
                <a:gd name="T108" fmla="*/ 544 w 598"/>
                <a:gd name="T109" fmla="*/ 161 h 2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8"/>
                <a:gd name="T166" fmla="*/ 0 h 284"/>
                <a:gd name="T167" fmla="*/ 598 w 598"/>
                <a:gd name="T168" fmla="*/ 284 h 2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8" h="284">
                  <a:moveTo>
                    <a:pt x="544" y="156"/>
                  </a:moveTo>
                  <a:lnTo>
                    <a:pt x="544" y="154"/>
                  </a:lnTo>
                  <a:lnTo>
                    <a:pt x="551" y="149"/>
                  </a:lnTo>
                  <a:lnTo>
                    <a:pt x="558" y="147"/>
                  </a:lnTo>
                  <a:lnTo>
                    <a:pt x="558" y="144"/>
                  </a:lnTo>
                  <a:lnTo>
                    <a:pt x="560" y="140"/>
                  </a:lnTo>
                  <a:lnTo>
                    <a:pt x="565" y="147"/>
                  </a:lnTo>
                  <a:lnTo>
                    <a:pt x="560" y="147"/>
                  </a:lnTo>
                  <a:lnTo>
                    <a:pt x="565" y="149"/>
                  </a:lnTo>
                  <a:lnTo>
                    <a:pt x="572" y="144"/>
                  </a:lnTo>
                  <a:lnTo>
                    <a:pt x="567" y="140"/>
                  </a:lnTo>
                  <a:lnTo>
                    <a:pt x="572" y="140"/>
                  </a:lnTo>
                  <a:lnTo>
                    <a:pt x="574" y="144"/>
                  </a:lnTo>
                  <a:lnTo>
                    <a:pt x="574" y="147"/>
                  </a:lnTo>
                  <a:lnTo>
                    <a:pt x="572" y="154"/>
                  </a:lnTo>
                  <a:lnTo>
                    <a:pt x="567" y="156"/>
                  </a:lnTo>
                  <a:lnTo>
                    <a:pt x="565" y="163"/>
                  </a:lnTo>
                  <a:lnTo>
                    <a:pt x="565" y="168"/>
                  </a:lnTo>
                  <a:lnTo>
                    <a:pt x="558" y="173"/>
                  </a:lnTo>
                  <a:lnTo>
                    <a:pt x="553" y="173"/>
                  </a:lnTo>
                  <a:lnTo>
                    <a:pt x="551" y="170"/>
                  </a:lnTo>
                  <a:lnTo>
                    <a:pt x="551" y="168"/>
                  </a:lnTo>
                  <a:lnTo>
                    <a:pt x="544" y="170"/>
                  </a:lnTo>
                  <a:lnTo>
                    <a:pt x="525" y="187"/>
                  </a:lnTo>
                  <a:lnTo>
                    <a:pt x="520" y="185"/>
                  </a:lnTo>
                  <a:lnTo>
                    <a:pt x="518" y="189"/>
                  </a:lnTo>
                  <a:lnTo>
                    <a:pt x="515" y="196"/>
                  </a:lnTo>
                  <a:lnTo>
                    <a:pt x="511" y="201"/>
                  </a:lnTo>
                  <a:lnTo>
                    <a:pt x="508" y="201"/>
                  </a:lnTo>
                  <a:lnTo>
                    <a:pt x="508" y="194"/>
                  </a:lnTo>
                  <a:lnTo>
                    <a:pt x="501" y="187"/>
                  </a:lnTo>
                  <a:lnTo>
                    <a:pt x="496" y="187"/>
                  </a:lnTo>
                  <a:lnTo>
                    <a:pt x="501" y="189"/>
                  </a:lnTo>
                  <a:lnTo>
                    <a:pt x="503" y="196"/>
                  </a:lnTo>
                  <a:lnTo>
                    <a:pt x="508" y="201"/>
                  </a:lnTo>
                  <a:lnTo>
                    <a:pt x="508" y="203"/>
                  </a:lnTo>
                  <a:lnTo>
                    <a:pt x="503" y="206"/>
                  </a:lnTo>
                  <a:lnTo>
                    <a:pt x="501" y="206"/>
                  </a:lnTo>
                  <a:lnTo>
                    <a:pt x="494" y="218"/>
                  </a:lnTo>
                  <a:lnTo>
                    <a:pt x="494" y="220"/>
                  </a:lnTo>
                  <a:lnTo>
                    <a:pt x="492" y="220"/>
                  </a:lnTo>
                  <a:lnTo>
                    <a:pt x="492" y="225"/>
                  </a:lnTo>
                  <a:lnTo>
                    <a:pt x="487" y="225"/>
                  </a:lnTo>
                  <a:lnTo>
                    <a:pt x="487" y="227"/>
                  </a:lnTo>
                  <a:lnTo>
                    <a:pt x="485" y="234"/>
                  </a:lnTo>
                  <a:lnTo>
                    <a:pt x="480" y="244"/>
                  </a:lnTo>
                  <a:lnTo>
                    <a:pt x="480" y="267"/>
                  </a:lnTo>
                  <a:lnTo>
                    <a:pt x="480" y="260"/>
                  </a:lnTo>
                  <a:lnTo>
                    <a:pt x="477" y="251"/>
                  </a:lnTo>
                  <a:lnTo>
                    <a:pt x="475" y="246"/>
                  </a:lnTo>
                  <a:lnTo>
                    <a:pt x="475" y="253"/>
                  </a:lnTo>
                  <a:lnTo>
                    <a:pt x="477" y="258"/>
                  </a:lnTo>
                  <a:lnTo>
                    <a:pt x="477" y="267"/>
                  </a:lnTo>
                  <a:lnTo>
                    <a:pt x="475" y="274"/>
                  </a:lnTo>
                  <a:lnTo>
                    <a:pt x="456" y="274"/>
                  </a:lnTo>
                  <a:lnTo>
                    <a:pt x="444" y="281"/>
                  </a:lnTo>
                  <a:lnTo>
                    <a:pt x="440" y="284"/>
                  </a:lnTo>
                  <a:lnTo>
                    <a:pt x="435" y="284"/>
                  </a:lnTo>
                  <a:lnTo>
                    <a:pt x="423" y="277"/>
                  </a:lnTo>
                  <a:lnTo>
                    <a:pt x="421" y="274"/>
                  </a:lnTo>
                  <a:lnTo>
                    <a:pt x="411" y="267"/>
                  </a:lnTo>
                  <a:lnTo>
                    <a:pt x="395" y="258"/>
                  </a:lnTo>
                  <a:lnTo>
                    <a:pt x="388" y="253"/>
                  </a:lnTo>
                  <a:lnTo>
                    <a:pt x="378" y="246"/>
                  </a:lnTo>
                  <a:lnTo>
                    <a:pt x="350" y="229"/>
                  </a:lnTo>
                  <a:lnTo>
                    <a:pt x="340" y="225"/>
                  </a:lnTo>
                  <a:lnTo>
                    <a:pt x="333" y="225"/>
                  </a:lnTo>
                  <a:lnTo>
                    <a:pt x="300" y="229"/>
                  </a:lnTo>
                  <a:lnTo>
                    <a:pt x="293" y="234"/>
                  </a:lnTo>
                  <a:lnTo>
                    <a:pt x="286" y="234"/>
                  </a:lnTo>
                  <a:lnTo>
                    <a:pt x="277" y="237"/>
                  </a:lnTo>
                  <a:lnTo>
                    <a:pt x="270" y="237"/>
                  </a:lnTo>
                  <a:lnTo>
                    <a:pt x="262" y="241"/>
                  </a:lnTo>
                  <a:lnTo>
                    <a:pt x="258" y="241"/>
                  </a:lnTo>
                  <a:lnTo>
                    <a:pt x="258" y="227"/>
                  </a:lnTo>
                  <a:lnTo>
                    <a:pt x="246" y="220"/>
                  </a:lnTo>
                  <a:lnTo>
                    <a:pt x="244" y="218"/>
                  </a:lnTo>
                  <a:lnTo>
                    <a:pt x="234" y="218"/>
                  </a:lnTo>
                  <a:lnTo>
                    <a:pt x="206" y="220"/>
                  </a:lnTo>
                  <a:lnTo>
                    <a:pt x="196" y="220"/>
                  </a:lnTo>
                  <a:lnTo>
                    <a:pt x="180" y="225"/>
                  </a:lnTo>
                  <a:lnTo>
                    <a:pt x="173" y="227"/>
                  </a:lnTo>
                  <a:lnTo>
                    <a:pt x="147" y="229"/>
                  </a:lnTo>
                  <a:lnTo>
                    <a:pt x="140" y="229"/>
                  </a:lnTo>
                  <a:lnTo>
                    <a:pt x="123" y="241"/>
                  </a:lnTo>
                  <a:lnTo>
                    <a:pt x="114" y="246"/>
                  </a:lnTo>
                  <a:lnTo>
                    <a:pt x="109" y="251"/>
                  </a:lnTo>
                  <a:lnTo>
                    <a:pt x="99" y="258"/>
                  </a:lnTo>
                  <a:lnTo>
                    <a:pt x="92" y="260"/>
                  </a:lnTo>
                  <a:lnTo>
                    <a:pt x="90" y="260"/>
                  </a:lnTo>
                  <a:lnTo>
                    <a:pt x="81" y="265"/>
                  </a:lnTo>
                  <a:lnTo>
                    <a:pt x="76" y="265"/>
                  </a:lnTo>
                  <a:lnTo>
                    <a:pt x="66" y="267"/>
                  </a:lnTo>
                  <a:lnTo>
                    <a:pt x="52" y="270"/>
                  </a:lnTo>
                  <a:lnTo>
                    <a:pt x="43" y="270"/>
                  </a:lnTo>
                  <a:lnTo>
                    <a:pt x="19" y="277"/>
                  </a:lnTo>
                  <a:lnTo>
                    <a:pt x="3" y="281"/>
                  </a:lnTo>
                  <a:lnTo>
                    <a:pt x="0" y="265"/>
                  </a:lnTo>
                  <a:lnTo>
                    <a:pt x="0" y="260"/>
                  </a:lnTo>
                  <a:lnTo>
                    <a:pt x="3" y="258"/>
                  </a:lnTo>
                  <a:lnTo>
                    <a:pt x="3" y="253"/>
                  </a:lnTo>
                  <a:lnTo>
                    <a:pt x="10" y="253"/>
                  </a:lnTo>
                  <a:lnTo>
                    <a:pt x="17" y="251"/>
                  </a:lnTo>
                  <a:lnTo>
                    <a:pt x="17" y="244"/>
                  </a:lnTo>
                  <a:lnTo>
                    <a:pt x="19" y="237"/>
                  </a:lnTo>
                  <a:lnTo>
                    <a:pt x="19" y="234"/>
                  </a:lnTo>
                  <a:lnTo>
                    <a:pt x="26" y="227"/>
                  </a:lnTo>
                  <a:lnTo>
                    <a:pt x="33" y="220"/>
                  </a:lnTo>
                  <a:lnTo>
                    <a:pt x="43" y="220"/>
                  </a:lnTo>
                  <a:lnTo>
                    <a:pt x="45" y="218"/>
                  </a:lnTo>
                  <a:lnTo>
                    <a:pt x="52" y="218"/>
                  </a:lnTo>
                  <a:lnTo>
                    <a:pt x="64" y="206"/>
                  </a:lnTo>
                  <a:lnTo>
                    <a:pt x="69" y="201"/>
                  </a:lnTo>
                  <a:lnTo>
                    <a:pt x="73" y="194"/>
                  </a:lnTo>
                  <a:lnTo>
                    <a:pt x="81" y="189"/>
                  </a:lnTo>
                  <a:lnTo>
                    <a:pt x="90" y="185"/>
                  </a:lnTo>
                  <a:lnTo>
                    <a:pt x="90" y="180"/>
                  </a:lnTo>
                  <a:lnTo>
                    <a:pt x="92" y="173"/>
                  </a:lnTo>
                  <a:lnTo>
                    <a:pt x="97" y="168"/>
                  </a:lnTo>
                  <a:lnTo>
                    <a:pt x="99" y="168"/>
                  </a:lnTo>
                  <a:lnTo>
                    <a:pt x="107" y="161"/>
                  </a:lnTo>
                  <a:lnTo>
                    <a:pt x="109" y="163"/>
                  </a:lnTo>
                  <a:lnTo>
                    <a:pt x="109" y="168"/>
                  </a:lnTo>
                  <a:lnTo>
                    <a:pt x="114" y="168"/>
                  </a:lnTo>
                  <a:lnTo>
                    <a:pt x="116" y="163"/>
                  </a:lnTo>
                  <a:lnTo>
                    <a:pt x="121" y="161"/>
                  </a:lnTo>
                  <a:lnTo>
                    <a:pt x="121" y="156"/>
                  </a:lnTo>
                  <a:lnTo>
                    <a:pt x="123" y="154"/>
                  </a:lnTo>
                  <a:lnTo>
                    <a:pt x="133" y="147"/>
                  </a:lnTo>
                  <a:lnTo>
                    <a:pt x="140" y="147"/>
                  </a:lnTo>
                  <a:lnTo>
                    <a:pt x="140" y="149"/>
                  </a:lnTo>
                  <a:lnTo>
                    <a:pt x="144" y="149"/>
                  </a:lnTo>
                  <a:lnTo>
                    <a:pt x="147" y="147"/>
                  </a:lnTo>
                  <a:lnTo>
                    <a:pt x="154" y="130"/>
                  </a:lnTo>
                  <a:lnTo>
                    <a:pt x="154" y="128"/>
                  </a:lnTo>
                  <a:lnTo>
                    <a:pt x="156" y="123"/>
                  </a:lnTo>
                  <a:lnTo>
                    <a:pt x="161" y="121"/>
                  </a:lnTo>
                  <a:lnTo>
                    <a:pt x="163" y="116"/>
                  </a:lnTo>
                  <a:lnTo>
                    <a:pt x="163" y="104"/>
                  </a:lnTo>
                  <a:lnTo>
                    <a:pt x="166" y="97"/>
                  </a:lnTo>
                  <a:lnTo>
                    <a:pt x="166" y="99"/>
                  </a:lnTo>
                  <a:lnTo>
                    <a:pt x="177" y="97"/>
                  </a:lnTo>
                  <a:lnTo>
                    <a:pt x="182" y="97"/>
                  </a:lnTo>
                  <a:lnTo>
                    <a:pt x="196" y="92"/>
                  </a:lnTo>
                  <a:lnTo>
                    <a:pt x="201" y="92"/>
                  </a:lnTo>
                  <a:lnTo>
                    <a:pt x="241" y="83"/>
                  </a:lnTo>
                  <a:lnTo>
                    <a:pt x="262" y="81"/>
                  </a:lnTo>
                  <a:lnTo>
                    <a:pt x="381" y="50"/>
                  </a:lnTo>
                  <a:lnTo>
                    <a:pt x="390" y="48"/>
                  </a:lnTo>
                  <a:lnTo>
                    <a:pt x="399" y="48"/>
                  </a:lnTo>
                  <a:lnTo>
                    <a:pt x="430" y="36"/>
                  </a:lnTo>
                  <a:lnTo>
                    <a:pt x="454" y="31"/>
                  </a:lnTo>
                  <a:lnTo>
                    <a:pt x="461" y="31"/>
                  </a:lnTo>
                  <a:lnTo>
                    <a:pt x="463" y="26"/>
                  </a:lnTo>
                  <a:lnTo>
                    <a:pt x="475" y="26"/>
                  </a:lnTo>
                  <a:lnTo>
                    <a:pt x="477" y="24"/>
                  </a:lnTo>
                  <a:lnTo>
                    <a:pt x="485" y="24"/>
                  </a:lnTo>
                  <a:lnTo>
                    <a:pt x="492" y="19"/>
                  </a:lnTo>
                  <a:lnTo>
                    <a:pt x="496" y="19"/>
                  </a:lnTo>
                  <a:lnTo>
                    <a:pt x="503" y="17"/>
                  </a:lnTo>
                  <a:lnTo>
                    <a:pt x="508" y="17"/>
                  </a:lnTo>
                  <a:lnTo>
                    <a:pt x="511" y="12"/>
                  </a:lnTo>
                  <a:lnTo>
                    <a:pt x="520" y="12"/>
                  </a:lnTo>
                  <a:lnTo>
                    <a:pt x="525" y="10"/>
                  </a:lnTo>
                  <a:lnTo>
                    <a:pt x="527" y="10"/>
                  </a:lnTo>
                  <a:lnTo>
                    <a:pt x="532" y="7"/>
                  </a:lnTo>
                  <a:lnTo>
                    <a:pt x="544" y="3"/>
                  </a:lnTo>
                  <a:lnTo>
                    <a:pt x="551" y="3"/>
                  </a:lnTo>
                  <a:lnTo>
                    <a:pt x="553" y="0"/>
                  </a:lnTo>
                  <a:lnTo>
                    <a:pt x="553" y="3"/>
                  </a:lnTo>
                  <a:lnTo>
                    <a:pt x="558" y="7"/>
                  </a:lnTo>
                  <a:lnTo>
                    <a:pt x="560" y="12"/>
                  </a:lnTo>
                  <a:lnTo>
                    <a:pt x="565" y="17"/>
                  </a:lnTo>
                  <a:lnTo>
                    <a:pt x="567" y="17"/>
                  </a:lnTo>
                  <a:lnTo>
                    <a:pt x="572" y="19"/>
                  </a:lnTo>
                  <a:lnTo>
                    <a:pt x="581" y="33"/>
                  </a:lnTo>
                  <a:lnTo>
                    <a:pt x="584" y="36"/>
                  </a:lnTo>
                  <a:lnTo>
                    <a:pt x="577" y="36"/>
                  </a:lnTo>
                  <a:lnTo>
                    <a:pt x="567" y="24"/>
                  </a:lnTo>
                  <a:lnTo>
                    <a:pt x="565" y="19"/>
                  </a:lnTo>
                  <a:lnTo>
                    <a:pt x="567" y="31"/>
                  </a:lnTo>
                  <a:lnTo>
                    <a:pt x="572" y="33"/>
                  </a:lnTo>
                  <a:lnTo>
                    <a:pt x="565" y="33"/>
                  </a:lnTo>
                  <a:lnTo>
                    <a:pt x="565" y="31"/>
                  </a:lnTo>
                  <a:lnTo>
                    <a:pt x="560" y="31"/>
                  </a:lnTo>
                  <a:lnTo>
                    <a:pt x="553" y="26"/>
                  </a:lnTo>
                  <a:lnTo>
                    <a:pt x="551" y="24"/>
                  </a:lnTo>
                  <a:lnTo>
                    <a:pt x="548" y="26"/>
                  </a:lnTo>
                  <a:lnTo>
                    <a:pt x="551" y="31"/>
                  </a:lnTo>
                  <a:lnTo>
                    <a:pt x="553" y="31"/>
                  </a:lnTo>
                  <a:lnTo>
                    <a:pt x="560" y="33"/>
                  </a:lnTo>
                  <a:lnTo>
                    <a:pt x="560" y="36"/>
                  </a:lnTo>
                  <a:lnTo>
                    <a:pt x="553" y="43"/>
                  </a:lnTo>
                  <a:lnTo>
                    <a:pt x="541" y="43"/>
                  </a:lnTo>
                  <a:lnTo>
                    <a:pt x="541" y="48"/>
                  </a:lnTo>
                  <a:lnTo>
                    <a:pt x="544" y="50"/>
                  </a:lnTo>
                  <a:lnTo>
                    <a:pt x="536" y="57"/>
                  </a:lnTo>
                  <a:lnTo>
                    <a:pt x="534" y="57"/>
                  </a:lnTo>
                  <a:lnTo>
                    <a:pt x="525" y="59"/>
                  </a:lnTo>
                  <a:lnTo>
                    <a:pt x="520" y="57"/>
                  </a:lnTo>
                  <a:lnTo>
                    <a:pt x="518" y="52"/>
                  </a:lnTo>
                  <a:lnTo>
                    <a:pt x="518" y="40"/>
                  </a:lnTo>
                  <a:lnTo>
                    <a:pt x="515" y="43"/>
                  </a:lnTo>
                  <a:lnTo>
                    <a:pt x="515" y="50"/>
                  </a:lnTo>
                  <a:lnTo>
                    <a:pt x="518" y="57"/>
                  </a:lnTo>
                  <a:lnTo>
                    <a:pt x="518" y="59"/>
                  </a:lnTo>
                  <a:lnTo>
                    <a:pt x="520" y="71"/>
                  </a:lnTo>
                  <a:lnTo>
                    <a:pt x="527" y="66"/>
                  </a:lnTo>
                  <a:lnTo>
                    <a:pt x="534" y="64"/>
                  </a:lnTo>
                  <a:lnTo>
                    <a:pt x="536" y="59"/>
                  </a:lnTo>
                  <a:lnTo>
                    <a:pt x="553" y="59"/>
                  </a:lnTo>
                  <a:lnTo>
                    <a:pt x="551" y="59"/>
                  </a:lnTo>
                  <a:lnTo>
                    <a:pt x="558" y="52"/>
                  </a:lnTo>
                  <a:lnTo>
                    <a:pt x="565" y="50"/>
                  </a:lnTo>
                  <a:lnTo>
                    <a:pt x="567" y="50"/>
                  </a:lnTo>
                  <a:lnTo>
                    <a:pt x="572" y="52"/>
                  </a:lnTo>
                  <a:lnTo>
                    <a:pt x="572" y="66"/>
                  </a:lnTo>
                  <a:lnTo>
                    <a:pt x="574" y="71"/>
                  </a:lnTo>
                  <a:lnTo>
                    <a:pt x="574" y="76"/>
                  </a:lnTo>
                  <a:lnTo>
                    <a:pt x="567" y="76"/>
                  </a:lnTo>
                  <a:lnTo>
                    <a:pt x="572" y="81"/>
                  </a:lnTo>
                  <a:lnTo>
                    <a:pt x="577" y="81"/>
                  </a:lnTo>
                  <a:lnTo>
                    <a:pt x="577" y="66"/>
                  </a:lnTo>
                  <a:lnTo>
                    <a:pt x="574" y="64"/>
                  </a:lnTo>
                  <a:lnTo>
                    <a:pt x="574" y="57"/>
                  </a:lnTo>
                  <a:lnTo>
                    <a:pt x="577" y="52"/>
                  </a:lnTo>
                  <a:lnTo>
                    <a:pt x="581" y="48"/>
                  </a:lnTo>
                  <a:lnTo>
                    <a:pt x="584" y="48"/>
                  </a:lnTo>
                  <a:lnTo>
                    <a:pt x="588" y="50"/>
                  </a:lnTo>
                  <a:lnTo>
                    <a:pt x="591" y="52"/>
                  </a:lnTo>
                  <a:lnTo>
                    <a:pt x="593" y="59"/>
                  </a:lnTo>
                  <a:lnTo>
                    <a:pt x="598" y="71"/>
                  </a:lnTo>
                  <a:lnTo>
                    <a:pt x="598" y="76"/>
                  </a:lnTo>
                  <a:lnTo>
                    <a:pt x="593" y="81"/>
                  </a:lnTo>
                  <a:lnTo>
                    <a:pt x="593" y="83"/>
                  </a:lnTo>
                  <a:lnTo>
                    <a:pt x="591" y="83"/>
                  </a:lnTo>
                  <a:lnTo>
                    <a:pt x="591" y="81"/>
                  </a:lnTo>
                  <a:lnTo>
                    <a:pt x="588" y="83"/>
                  </a:lnTo>
                  <a:lnTo>
                    <a:pt x="584" y="90"/>
                  </a:lnTo>
                  <a:lnTo>
                    <a:pt x="581" y="92"/>
                  </a:lnTo>
                  <a:lnTo>
                    <a:pt x="581" y="99"/>
                  </a:lnTo>
                  <a:lnTo>
                    <a:pt x="574" y="107"/>
                  </a:lnTo>
                  <a:lnTo>
                    <a:pt x="574" y="109"/>
                  </a:lnTo>
                  <a:lnTo>
                    <a:pt x="553" y="114"/>
                  </a:lnTo>
                  <a:lnTo>
                    <a:pt x="551" y="114"/>
                  </a:lnTo>
                  <a:lnTo>
                    <a:pt x="548" y="109"/>
                  </a:lnTo>
                  <a:lnTo>
                    <a:pt x="544" y="104"/>
                  </a:lnTo>
                  <a:lnTo>
                    <a:pt x="541" y="104"/>
                  </a:lnTo>
                  <a:lnTo>
                    <a:pt x="544" y="99"/>
                  </a:lnTo>
                  <a:lnTo>
                    <a:pt x="536" y="99"/>
                  </a:lnTo>
                  <a:lnTo>
                    <a:pt x="536" y="104"/>
                  </a:lnTo>
                  <a:lnTo>
                    <a:pt x="541" y="107"/>
                  </a:lnTo>
                  <a:lnTo>
                    <a:pt x="541" y="109"/>
                  </a:lnTo>
                  <a:lnTo>
                    <a:pt x="536" y="114"/>
                  </a:lnTo>
                  <a:lnTo>
                    <a:pt x="518" y="114"/>
                  </a:lnTo>
                  <a:lnTo>
                    <a:pt x="508" y="109"/>
                  </a:lnTo>
                  <a:lnTo>
                    <a:pt x="511" y="114"/>
                  </a:lnTo>
                  <a:lnTo>
                    <a:pt x="527" y="116"/>
                  </a:lnTo>
                  <a:lnTo>
                    <a:pt x="551" y="121"/>
                  </a:lnTo>
                  <a:lnTo>
                    <a:pt x="553" y="121"/>
                  </a:lnTo>
                  <a:lnTo>
                    <a:pt x="553" y="128"/>
                  </a:lnTo>
                  <a:lnTo>
                    <a:pt x="548" y="128"/>
                  </a:lnTo>
                  <a:lnTo>
                    <a:pt x="544" y="133"/>
                  </a:lnTo>
                  <a:lnTo>
                    <a:pt x="551" y="133"/>
                  </a:lnTo>
                  <a:lnTo>
                    <a:pt x="551" y="140"/>
                  </a:lnTo>
                  <a:lnTo>
                    <a:pt x="548" y="144"/>
                  </a:lnTo>
                  <a:lnTo>
                    <a:pt x="541" y="149"/>
                  </a:lnTo>
                  <a:lnTo>
                    <a:pt x="541" y="154"/>
                  </a:lnTo>
                  <a:lnTo>
                    <a:pt x="534" y="154"/>
                  </a:lnTo>
                  <a:lnTo>
                    <a:pt x="525" y="149"/>
                  </a:lnTo>
                  <a:lnTo>
                    <a:pt x="515" y="144"/>
                  </a:lnTo>
                  <a:lnTo>
                    <a:pt x="525" y="154"/>
                  </a:lnTo>
                  <a:lnTo>
                    <a:pt x="527" y="156"/>
                  </a:lnTo>
                  <a:lnTo>
                    <a:pt x="541" y="156"/>
                  </a:lnTo>
                  <a:lnTo>
                    <a:pt x="544" y="161"/>
                  </a:lnTo>
                  <a:lnTo>
                    <a:pt x="544" y="15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8" name="Rectangle 202">
              <a:extLst>
                <a:ext uri="{FF2B5EF4-FFF2-40B4-BE49-F238E27FC236}">
                  <a16:creationId xmlns:a16="http://schemas.microsoft.com/office/drawing/2014/main" id="{3B81EEB5-7E28-45E7-90FF-DCB5EEB18A59}"/>
                </a:ext>
              </a:extLst>
            </p:cNvPr>
            <p:cNvSpPr>
              <a:spLocks noChangeArrowheads="1"/>
            </p:cNvSpPr>
            <p:nvPr/>
          </p:nvSpPr>
          <p:spPr bwMode="gray">
            <a:xfrm rot="47099">
              <a:off x="2242604" y="3345751"/>
              <a:ext cx="2672" cy="2894"/>
            </a:xfrm>
            <a:prstGeom prst="rect">
              <a:avLst/>
            </a:prstGeom>
            <a:grpFill/>
            <a:ln w="3175" algn="ctr">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19" name="Freeform 203">
              <a:extLst>
                <a:ext uri="{FF2B5EF4-FFF2-40B4-BE49-F238E27FC236}">
                  <a16:creationId xmlns:a16="http://schemas.microsoft.com/office/drawing/2014/main" id="{958752F4-A5C3-4802-BDA2-945C4E4B6050}"/>
                </a:ext>
              </a:extLst>
            </p:cNvPr>
            <p:cNvSpPr>
              <a:spLocks/>
            </p:cNvSpPr>
            <p:nvPr/>
          </p:nvSpPr>
          <p:spPr bwMode="gray">
            <a:xfrm rot="47099">
              <a:off x="2232518" y="3282969"/>
              <a:ext cx="13360" cy="40523"/>
            </a:xfrm>
            <a:custGeom>
              <a:avLst/>
              <a:gdLst>
                <a:gd name="T0" fmla="*/ 29 w 29"/>
                <a:gd name="T1" fmla="*/ 4 h 87"/>
                <a:gd name="T2" fmla="*/ 29 w 29"/>
                <a:gd name="T3" fmla="*/ 11 h 87"/>
                <a:gd name="T4" fmla="*/ 24 w 29"/>
                <a:gd name="T5" fmla="*/ 21 h 87"/>
                <a:gd name="T6" fmla="*/ 24 w 29"/>
                <a:gd name="T7" fmla="*/ 47 h 87"/>
                <a:gd name="T8" fmla="*/ 22 w 29"/>
                <a:gd name="T9" fmla="*/ 52 h 87"/>
                <a:gd name="T10" fmla="*/ 17 w 29"/>
                <a:gd name="T11" fmla="*/ 52 h 87"/>
                <a:gd name="T12" fmla="*/ 17 w 29"/>
                <a:gd name="T13" fmla="*/ 47 h 87"/>
                <a:gd name="T14" fmla="*/ 17 w 29"/>
                <a:gd name="T15" fmla="*/ 52 h 87"/>
                <a:gd name="T16" fmla="*/ 15 w 29"/>
                <a:gd name="T17" fmla="*/ 61 h 87"/>
                <a:gd name="T18" fmla="*/ 12 w 29"/>
                <a:gd name="T19" fmla="*/ 68 h 87"/>
                <a:gd name="T20" fmla="*/ 15 w 29"/>
                <a:gd name="T21" fmla="*/ 70 h 87"/>
                <a:gd name="T22" fmla="*/ 15 w 29"/>
                <a:gd name="T23" fmla="*/ 80 h 87"/>
                <a:gd name="T24" fmla="*/ 12 w 29"/>
                <a:gd name="T25" fmla="*/ 87 h 87"/>
                <a:gd name="T26" fmla="*/ 5 w 29"/>
                <a:gd name="T27" fmla="*/ 85 h 87"/>
                <a:gd name="T28" fmla="*/ 5 w 29"/>
                <a:gd name="T29" fmla="*/ 80 h 87"/>
                <a:gd name="T30" fmla="*/ 0 w 29"/>
                <a:gd name="T31" fmla="*/ 75 h 87"/>
                <a:gd name="T32" fmla="*/ 0 w 29"/>
                <a:gd name="T33" fmla="*/ 47 h 87"/>
                <a:gd name="T34" fmla="*/ 5 w 29"/>
                <a:gd name="T35" fmla="*/ 44 h 87"/>
                <a:gd name="T36" fmla="*/ 8 w 29"/>
                <a:gd name="T37" fmla="*/ 35 h 87"/>
                <a:gd name="T38" fmla="*/ 12 w 29"/>
                <a:gd name="T39" fmla="*/ 28 h 87"/>
                <a:gd name="T40" fmla="*/ 15 w 29"/>
                <a:gd name="T41" fmla="*/ 23 h 87"/>
                <a:gd name="T42" fmla="*/ 12 w 29"/>
                <a:gd name="T43" fmla="*/ 14 h 87"/>
                <a:gd name="T44" fmla="*/ 12 w 29"/>
                <a:gd name="T45" fmla="*/ 7 h 87"/>
                <a:gd name="T46" fmla="*/ 22 w 29"/>
                <a:gd name="T47" fmla="*/ 4 h 87"/>
                <a:gd name="T48" fmla="*/ 29 w 29"/>
                <a:gd name="T49" fmla="*/ 0 h 87"/>
                <a:gd name="T50" fmla="*/ 29 w 29"/>
                <a:gd name="T51" fmla="*/ 4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9"/>
                <a:gd name="T79" fmla="*/ 0 h 87"/>
                <a:gd name="T80" fmla="*/ 29 w 29"/>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9" h="87">
                  <a:moveTo>
                    <a:pt x="29" y="4"/>
                  </a:moveTo>
                  <a:lnTo>
                    <a:pt x="29" y="11"/>
                  </a:lnTo>
                  <a:lnTo>
                    <a:pt x="24" y="21"/>
                  </a:lnTo>
                  <a:lnTo>
                    <a:pt x="24" y="47"/>
                  </a:lnTo>
                  <a:lnTo>
                    <a:pt x="22" y="52"/>
                  </a:lnTo>
                  <a:lnTo>
                    <a:pt x="17" y="52"/>
                  </a:lnTo>
                  <a:lnTo>
                    <a:pt x="17" y="47"/>
                  </a:lnTo>
                  <a:lnTo>
                    <a:pt x="17" y="52"/>
                  </a:lnTo>
                  <a:lnTo>
                    <a:pt x="15" y="61"/>
                  </a:lnTo>
                  <a:lnTo>
                    <a:pt x="12" y="68"/>
                  </a:lnTo>
                  <a:lnTo>
                    <a:pt x="15" y="70"/>
                  </a:lnTo>
                  <a:lnTo>
                    <a:pt x="15" y="80"/>
                  </a:lnTo>
                  <a:lnTo>
                    <a:pt x="12" y="87"/>
                  </a:lnTo>
                  <a:lnTo>
                    <a:pt x="5" y="85"/>
                  </a:lnTo>
                  <a:lnTo>
                    <a:pt x="5" y="80"/>
                  </a:lnTo>
                  <a:lnTo>
                    <a:pt x="0" y="75"/>
                  </a:lnTo>
                  <a:lnTo>
                    <a:pt x="0" y="47"/>
                  </a:lnTo>
                  <a:lnTo>
                    <a:pt x="5" y="44"/>
                  </a:lnTo>
                  <a:lnTo>
                    <a:pt x="8" y="35"/>
                  </a:lnTo>
                  <a:lnTo>
                    <a:pt x="12" y="28"/>
                  </a:lnTo>
                  <a:lnTo>
                    <a:pt x="15" y="23"/>
                  </a:lnTo>
                  <a:lnTo>
                    <a:pt x="12" y="14"/>
                  </a:lnTo>
                  <a:lnTo>
                    <a:pt x="12" y="7"/>
                  </a:lnTo>
                  <a:lnTo>
                    <a:pt x="22" y="4"/>
                  </a:lnTo>
                  <a:lnTo>
                    <a:pt x="29" y="0"/>
                  </a:lnTo>
                  <a:lnTo>
                    <a:pt x="29"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0" name="Freeform 205">
              <a:extLst>
                <a:ext uri="{FF2B5EF4-FFF2-40B4-BE49-F238E27FC236}">
                  <a16:creationId xmlns:a16="http://schemas.microsoft.com/office/drawing/2014/main" id="{A20815D7-7E80-4C3A-A18B-6A68121A1021}"/>
                </a:ext>
              </a:extLst>
            </p:cNvPr>
            <p:cNvSpPr>
              <a:spLocks/>
            </p:cNvSpPr>
            <p:nvPr/>
          </p:nvSpPr>
          <p:spPr bwMode="gray">
            <a:xfrm rot="47099">
              <a:off x="1993903" y="3249694"/>
              <a:ext cx="252516" cy="156234"/>
            </a:xfrm>
            <a:custGeom>
              <a:avLst/>
              <a:gdLst>
                <a:gd name="T0" fmla="*/ 19 w 543"/>
                <a:gd name="T1" fmla="*/ 324 h 336"/>
                <a:gd name="T2" fmla="*/ 52 w 543"/>
                <a:gd name="T3" fmla="*/ 298 h 336"/>
                <a:gd name="T4" fmla="*/ 73 w 543"/>
                <a:gd name="T5" fmla="*/ 265 h 336"/>
                <a:gd name="T6" fmla="*/ 101 w 543"/>
                <a:gd name="T7" fmla="*/ 227 h 336"/>
                <a:gd name="T8" fmla="*/ 130 w 543"/>
                <a:gd name="T9" fmla="*/ 251 h 336"/>
                <a:gd name="T10" fmla="*/ 158 w 543"/>
                <a:gd name="T11" fmla="*/ 241 h 336"/>
                <a:gd name="T12" fmla="*/ 170 w 543"/>
                <a:gd name="T13" fmla="*/ 234 h 336"/>
                <a:gd name="T14" fmla="*/ 196 w 543"/>
                <a:gd name="T15" fmla="*/ 218 h 336"/>
                <a:gd name="T16" fmla="*/ 205 w 543"/>
                <a:gd name="T17" fmla="*/ 215 h 336"/>
                <a:gd name="T18" fmla="*/ 217 w 543"/>
                <a:gd name="T19" fmla="*/ 192 h 336"/>
                <a:gd name="T20" fmla="*/ 227 w 543"/>
                <a:gd name="T21" fmla="*/ 161 h 336"/>
                <a:gd name="T22" fmla="*/ 229 w 543"/>
                <a:gd name="T23" fmla="*/ 142 h 336"/>
                <a:gd name="T24" fmla="*/ 250 w 543"/>
                <a:gd name="T25" fmla="*/ 102 h 336"/>
                <a:gd name="T26" fmla="*/ 269 w 543"/>
                <a:gd name="T27" fmla="*/ 104 h 336"/>
                <a:gd name="T28" fmla="*/ 276 w 543"/>
                <a:gd name="T29" fmla="*/ 71 h 336"/>
                <a:gd name="T30" fmla="*/ 293 w 543"/>
                <a:gd name="T31" fmla="*/ 62 h 336"/>
                <a:gd name="T32" fmla="*/ 302 w 543"/>
                <a:gd name="T33" fmla="*/ 45 h 336"/>
                <a:gd name="T34" fmla="*/ 326 w 543"/>
                <a:gd name="T35" fmla="*/ 7 h 336"/>
                <a:gd name="T36" fmla="*/ 354 w 543"/>
                <a:gd name="T37" fmla="*/ 7 h 336"/>
                <a:gd name="T38" fmla="*/ 373 w 543"/>
                <a:gd name="T39" fmla="*/ 15 h 336"/>
                <a:gd name="T40" fmla="*/ 404 w 543"/>
                <a:gd name="T41" fmla="*/ 24 h 336"/>
                <a:gd name="T42" fmla="*/ 413 w 543"/>
                <a:gd name="T43" fmla="*/ 41 h 336"/>
                <a:gd name="T44" fmla="*/ 399 w 543"/>
                <a:gd name="T45" fmla="*/ 64 h 336"/>
                <a:gd name="T46" fmla="*/ 413 w 543"/>
                <a:gd name="T47" fmla="*/ 74 h 336"/>
                <a:gd name="T48" fmla="*/ 456 w 543"/>
                <a:gd name="T49" fmla="*/ 83 h 336"/>
                <a:gd name="T50" fmla="*/ 487 w 543"/>
                <a:gd name="T51" fmla="*/ 121 h 336"/>
                <a:gd name="T52" fmla="*/ 456 w 543"/>
                <a:gd name="T53" fmla="*/ 111 h 336"/>
                <a:gd name="T54" fmla="*/ 432 w 543"/>
                <a:gd name="T55" fmla="*/ 95 h 336"/>
                <a:gd name="T56" fmla="*/ 432 w 543"/>
                <a:gd name="T57" fmla="*/ 95 h 336"/>
                <a:gd name="T58" fmla="*/ 456 w 543"/>
                <a:gd name="T59" fmla="*/ 114 h 336"/>
                <a:gd name="T60" fmla="*/ 470 w 543"/>
                <a:gd name="T61" fmla="*/ 123 h 336"/>
                <a:gd name="T62" fmla="*/ 496 w 543"/>
                <a:gd name="T63" fmla="*/ 147 h 336"/>
                <a:gd name="T64" fmla="*/ 487 w 543"/>
                <a:gd name="T65" fmla="*/ 154 h 336"/>
                <a:gd name="T66" fmla="*/ 472 w 543"/>
                <a:gd name="T67" fmla="*/ 154 h 336"/>
                <a:gd name="T68" fmla="*/ 501 w 543"/>
                <a:gd name="T69" fmla="*/ 163 h 336"/>
                <a:gd name="T70" fmla="*/ 494 w 543"/>
                <a:gd name="T71" fmla="*/ 178 h 336"/>
                <a:gd name="T72" fmla="*/ 451 w 543"/>
                <a:gd name="T73" fmla="*/ 163 h 336"/>
                <a:gd name="T74" fmla="*/ 437 w 543"/>
                <a:gd name="T75" fmla="*/ 168 h 336"/>
                <a:gd name="T76" fmla="*/ 477 w 543"/>
                <a:gd name="T77" fmla="*/ 178 h 336"/>
                <a:gd name="T78" fmla="*/ 508 w 543"/>
                <a:gd name="T79" fmla="*/ 187 h 336"/>
                <a:gd name="T80" fmla="*/ 510 w 543"/>
                <a:gd name="T81" fmla="*/ 180 h 336"/>
                <a:gd name="T82" fmla="*/ 529 w 543"/>
                <a:gd name="T83" fmla="*/ 180 h 336"/>
                <a:gd name="T84" fmla="*/ 536 w 543"/>
                <a:gd name="T85" fmla="*/ 199 h 336"/>
                <a:gd name="T86" fmla="*/ 529 w 543"/>
                <a:gd name="T87" fmla="*/ 208 h 336"/>
                <a:gd name="T88" fmla="*/ 503 w 543"/>
                <a:gd name="T89" fmla="*/ 218 h 336"/>
                <a:gd name="T90" fmla="*/ 484 w 543"/>
                <a:gd name="T91" fmla="*/ 225 h 336"/>
                <a:gd name="T92" fmla="*/ 461 w 543"/>
                <a:gd name="T93" fmla="*/ 232 h 336"/>
                <a:gd name="T94" fmla="*/ 437 w 543"/>
                <a:gd name="T95" fmla="*/ 239 h 336"/>
                <a:gd name="T96" fmla="*/ 366 w 543"/>
                <a:gd name="T97" fmla="*/ 256 h 336"/>
                <a:gd name="T98" fmla="*/ 177 w 543"/>
                <a:gd name="T99" fmla="*/ 300 h 336"/>
                <a:gd name="T100" fmla="*/ 142 w 543"/>
                <a:gd name="T101" fmla="*/ 307 h 336"/>
                <a:gd name="T102" fmla="*/ 120 w 543"/>
                <a:gd name="T103" fmla="*/ 312 h 336"/>
                <a:gd name="T104" fmla="*/ 59 w 543"/>
                <a:gd name="T105" fmla="*/ 324 h 336"/>
                <a:gd name="T106" fmla="*/ 0 w 543"/>
                <a:gd name="T107" fmla="*/ 336 h 3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43"/>
                <a:gd name="T163" fmla="*/ 0 h 336"/>
                <a:gd name="T164" fmla="*/ 543 w 543"/>
                <a:gd name="T165" fmla="*/ 336 h 3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43" h="336">
                  <a:moveTo>
                    <a:pt x="0" y="336"/>
                  </a:moveTo>
                  <a:lnTo>
                    <a:pt x="0" y="336"/>
                  </a:lnTo>
                  <a:lnTo>
                    <a:pt x="2" y="331"/>
                  </a:lnTo>
                  <a:lnTo>
                    <a:pt x="19" y="324"/>
                  </a:lnTo>
                  <a:lnTo>
                    <a:pt x="28" y="317"/>
                  </a:lnTo>
                  <a:lnTo>
                    <a:pt x="35" y="312"/>
                  </a:lnTo>
                  <a:lnTo>
                    <a:pt x="49" y="298"/>
                  </a:lnTo>
                  <a:lnTo>
                    <a:pt x="52" y="298"/>
                  </a:lnTo>
                  <a:lnTo>
                    <a:pt x="57" y="284"/>
                  </a:lnTo>
                  <a:lnTo>
                    <a:pt x="59" y="274"/>
                  </a:lnTo>
                  <a:lnTo>
                    <a:pt x="61" y="272"/>
                  </a:lnTo>
                  <a:lnTo>
                    <a:pt x="73" y="265"/>
                  </a:lnTo>
                  <a:lnTo>
                    <a:pt x="73" y="260"/>
                  </a:lnTo>
                  <a:lnTo>
                    <a:pt x="85" y="251"/>
                  </a:lnTo>
                  <a:lnTo>
                    <a:pt x="92" y="241"/>
                  </a:lnTo>
                  <a:lnTo>
                    <a:pt x="101" y="227"/>
                  </a:lnTo>
                  <a:lnTo>
                    <a:pt x="106" y="232"/>
                  </a:lnTo>
                  <a:lnTo>
                    <a:pt x="109" y="241"/>
                  </a:lnTo>
                  <a:lnTo>
                    <a:pt x="116" y="248"/>
                  </a:lnTo>
                  <a:lnTo>
                    <a:pt x="130" y="251"/>
                  </a:lnTo>
                  <a:lnTo>
                    <a:pt x="139" y="251"/>
                  </a:lnTo>
                  <a:lnTo>
                    <a:pt x="142" y="244"/>
                  </a:lnTo>
                  <a:lnTo>
                    <a:pt x="149" y="239"/>
                  </a:lnTo>
                  <a:lnTo>
                    <a:pt x="158" y="241"/>
                  </a:lnTo>
                  <a:lnTo>
                    <a:pt x="163" y="241"/>
                  </a:lnTo>
                  <a:lnTo>
                    <a:pt x="163" y="239"/>
                  </a:lnTo>
                  <a:lnTo>
                    <a:pt x="165" y="239"/>
                  </a:lnTo>
                  <a:lnTo>
                    <a:pt x="170" y="234"/>
                  </a:lnTo>
                  <a:lnTo>
                    <a:pt x="177" y="234"/>
                  </a:lnTo>
                  <a:lnTo>
                    <a:pt x="179" y="232"/>
                  </a:lnTo>
                  <a:lnTo>
                    <a:pt x="189" y="225"/>
                  </a:lnTo>
                  <a:lnTo>
                    <a:pt x="196" y="218"/>
                  </a:lnTo>
                  <a:lnTo>
                    <a:pt x="203" y="215"/>
                  </a:lnTo>
                  <a:lnTo>
                    <a:pt x="203" y="211"/>
                  </a:lnTo>
                  <a:lnTo>
                    <a:pt x="205" y="211"/>
                  </a:lnTo>
                  <a:lnTo>
                    <a:pt x="205" y="215"/>
                  </a:lnTo>
                  <a:lnTo>
                    <a:pt x="210" y="215"/>
                  </a:lnTo>
                  <a:lnTo>
                    <a:pt x="220" y="204"/>
                  </a:lnTo>
                  <a:lnTo>
                    <a:pt x="220" y="192"/>
                  </a:lnTo>
                  <a:lnTo>
                    <a:pt x="217" y="192"/>
                  </a:lnTo>
                  <a:lnTo>
                    <a:pt x="220" y="175"/>
                  </a:lnTo>
                  <a:lnTo>
                    <a:pt x="222" y="168"/>
                  </a:lnTo>
                  <a:lnTo>
                    <a:pt x="222" y="163"/>
                  </a:lnTo>
                  <a:lnTo>
                    <a:pt x="227" y="161"/>
                  </a:lnTo>
                  <a:lnTo>
                    <a:pt x="229" y="159"/>
                  </a:lnTo>
                  <a:lnTo>
                    <a:pt x="229" y="154"/>
                  </a:lnTo>
                  <a:lnTo>
                    <a:pt x="234" y="147"/>
                  </a:lnTo>
                  <a:lnTo>
                    <a:pt x="229" y="142"/>
                  </a:lnTo>
                  <a:lnTo>
                    <a:pt x="236" y="128"/>
                  </a:lnTo>
                  <a:lnTo>
                    <a:pt x="238" y="121"/>
                  </a:lnTo>
                  <a:lnTo>
                    <a:pt x="238" y="97"/>
                  </a:lnTo>
                  <a:lnTo>
                    <a:pt x="250" y="102"/>
                  </a:lnTo>
                  <a:lnTo>
                    <a:pt x="253" y="104"/>
                  </a:lnTo>
                  <a:lnTo>
                    <a:pt x="260" y="107"/>
                  </a:lnTo>
                  <a:lnTo>
                    <a:pt x="269" y="107"/>
                  </a:lnTo>
                  <a:lnTo>
                    <a:pt x="269" y="104"/>
                  </a:lnTo>
                  <a:lnTo>
                    <a:pt x="274" y="97"/>
                  </a:lnTo>
                  <a:lnTo>
                    <a:pt x="274" y="88"/>
                  </a:lnTo>
                  <a:lnTo>
                    <a:pt x="276" y="74"/>
                  </a:lnTo>
                  <a:lnTo>
                    <a:pt x="276" y="71"/>
                  </a:lnTo>
                  <a:lnTo>
                    <a:pt x="279" y="64"/>
                  </a:lnTo>
                  <a:lnTo>
                    <a:pt x="283" y="67"/>
                  </a:lnTo>
                  <a:lnTo>
                    <a:pt x="290" y="67"/>
                  </a:lnTo>
                  <a:lnTo>
                    <a:pt x="293" y="62"/>
                  </a:lnTo>
                  <a:lnTo>
                    <a:pt x="293" y="55"/>
                  </a:lnTo>
                  <a:lnTo>
                    <a:pt x="300" y="55"/>
                  </a:lnTo>
                  <a:lnTo>
                    <a:pt x="302" y="48"/>
                  </a:lnTo>
                  <a:lnTo>
                    <a:pt x="302" y="45"/>
                  </a:lnTo>
                  <a:lnTo>
                    <a:pt x="307" y="45"/>
                  </a:lnTo>
                  <a:lnTo>
                    <a:pt x="309" y="24"/>
                  </a:lnTo>
                  <a:lnTo>
                    <a:pt x="309" y="0"/>
                  </a:lnTo>
                  <a:lnTo>
                    <a:pt x="326" y="7"/>
                  </a:lnTo>
                  <a:lnTo>
                    <a:pt x="335" y="15"/>
                  </a:lnTo>
                  <a:lnTo>
                    <a:pt x="349" y="17"/>
                  </a:lnTo>
                  <a:lnTo>
                    <a:pt x="349" y="15"/>
                  </a:lnTo>
                  <a:lnTo>
                    <a:pt x="354" y="7"/>
                  </a:lnTo>
                  <a:lnTo>
                    <a:pt x="354" y="0"/>
                  </a:lnTo>
                  <a:lnTo>
                    <a:pt x="366" y="0"/>
                  </a:lnTo>
                  <a:lnTo>
                    <a:pt x="373" y="5"/>
                  </a:lnTo>
                  <a:lnTo>
                    <a:pt x="373" y="15"/>
                  </a:lnTo>
                  <a:lnTo>
                    <a:pt x="375" y="17"/>
                  </a:lnTo>
                  <a:lnTo>
                    <a:pt x="390" y="17"/>
                  </a:lnTo>
                  <a:lnTo>
                    <a:pt x="404" y="22"/>
                  </a:lnTo>
                  <a:lnTo>
                    <a:pt x="404" y="24"/>
                  </a:lnTo>
                  <a:lnTo>
                    <a:pt x="406" y="24"/>
                  </a:lnTo>
                  <a:lnTo>
                    <a:pt x="411" y="26"/>
                  </a:lnTo>
                  <a:lnTo>
                    <a:pt x="411" y="31"/>
                  </a:lnTo>
                  <a:lnTo>
                    <a:pt x="413" y="41"/>
                  </a:lnTo>
                  <a:lnTo>
                    <a:pt x="411" y="45"/>
                  </a:lnTo>
                  <a:lnTo>
                    <a:pt x="406" y="45"/>
                  </a:lnTo>
                  <a:lnTo>
                    <a:pt x="404" y="55"/>
                  </a:lnTo>
                  <a:lnTo>
                    <a:pt x="399" y="64"/>
                  </a:lnTo>
                  <a:lnTo>
                    <a:pt x="399" y="74"/>
                  </a:lnTo>
                  <a:lnTo>
                    <a:pt x="404" y="78"/>
                  </a:lnTo>
                  <a:lnTo>
                    <a:pt x="411" y="78"/>
                  </a:lnTo>
                  <a:lnTo>
                    <a:pt x="413" y="74"/>
                  </a:lnTo>
                  <a:lnTo>
                    <a:pt x="420" y="71"/>
                  </a:lnTo>
                  <a:lnTo>
                    <a:pt x="423" y="74"/>
                  </a:lnTo>
                  <a:lnTo>
                    <a:pt x="432" y="83"/>
                  </a:lnTo>
                  <a:lnTo>
                    <a:pt x="456" y="83"/>
                  </a:lnTo>
                  <a:lnTo>
                    <a:pt x="468" y="90"/>
                  </a:lnTo>
                  <a:lnTo>
                    <a:pt x="472" y="95"/>
                  </a:lnTo>
                  <a:lnTo>
                    <a:pt x="487" y="95"/>
                  </a:lnTo>
                  <a:lnTo>
                    <a:pt x="487" y="121"/>
                  </a:lnTo>
                  <a:lnTo>
                    <a:pt x="484" y="123"/>
                  </a:lnTo>
                  <a:lnTo>
                    <a:pt x="484" y="121"/>
                  </a:lnTo>
                  <a:lnTo>
                    <a:pt x="472" y="121"/>
                  </a:lnTo>
                  <a:lnTo>
                    <a:pt x="456" y="111"/>
                  </a:lnTo>
                  <a:lnTo>
                    <a:pt x="444" y="104"/>
                  </a:lnTo>
                  <a:lnTo>
                    <a:pt x="439" y="97"/>
                  </a:lnTo>
                  <a:lnTo>
                    <a:pt x="437" y="95"/>
                  </a:lnTo>
                  <a:lnTo>
                    <a:pt x="432" y="95"/>
                  </a:lnTo>
                  <a:lnTo>
                    <a:pt x="423" y="90"/>
                  </a:lnTo>
                  <a:lnTo>
                    <a:pt x="420" y="90"/>
                  </a:lnTo>
                  <a:lnTo>
                    <a:pt x="430" y="95"/>
                  </a:lnTo>
                  <a:lnTo>
                    <a:pt x="432" y="95"/>
                  </a:lnTo>
                  <a:lnTo>
                    <a:pt x="437" y="97"/>
                  </a:lnTo>
                  <a:lnTo>
                    <a:pt x="439" y="102"/>
                  </a:lnTo>
                  <a:lnTo>
                    <a:pt x="444" y="104"/>
                  </a:lnTo>
                  <a:lnTo>
                    <a:pt x="456" y="114"/>
                  </a:lnTo>
                  <a:lnTo>
                    <a:pt x="461" y="119"/>
                  </a:lnTo>
                  <a:lnTo>
                    <a:pt x="468" y="119"/>
                  </a:lnTo>
                  <a:lnTo>
                    <a:pt x="468" y="121"/>
                  </a:lnTo>
                  <a:lnTo>
                    <a:pt x="470" y="123"/>
                  </a:lnTo>
                  <a:lnTo>
                    <a:pt x="491" y="123"/>
                  </a:lnTo>
                  <a:lnTo>
                    <a:pt x="494" y="130"/>
                  </a:lnTo>
                  <a:lnTo>
                    <a:pt x="496" y="137"/>
                  </a:lnTo>
                  <a:lnTo>
                    <a:pt x="496" y="147"/>
                  </a:lnTo>
                  <a:lnTo>
                    <a:pt x="491" y="144"/>
                  </a:lnTo>
                  <a:lnTo>
                    <a:pt x="487" y="147"/>
                  </a:lnTo>
                  <a:lnTo>
                    <a:pt x="491" y="152"/>
                  </a:lnTo>
                  <a:lnTo>
                    <a:pt x="487" y="154"/>
                  </a:lnTo>
                  <a:lnTo>
                    <a:pt x="477" y="154"/>
                  </a:lnTo>
                  <a:lnTo>
                    <a:pt x="468" y="144"/>
                  </a:lnTo>
                  <a:lnTo>
                    <a:pt x="470" y="147"/>
                  </a:lnTo>
                  <a:lnTo>
                    <a:pt x="472" y="154"/>
                  </a:lnTo>
                  <a:lnTo>
                    <a:pt x="477" y="154"/>
                  </a:lnTo>
                  <a:lnTo>
                    <a:pt x="479" y="159"/>
                  </a:lnTo>
                  <a:lnTo>
                    <a:pt x="494" y="159"/>
                  </a:lnTo>
                  <a:lnTo>
                    <a:pt x="501" y="163"/>
                  </a:lnTo>
                  <a:lnTo>
                    <a:pt x="503" y="168"/>
                  </a:lnTo>
                  <a:lnTo>
                    <a:pt x="503" y="175"/>
                  </a:lnTo>
                  <a:lnTo>
                    <a:pt x="496" y="180"/>
                  </a:lnTo>
                  <a:lnTo>
                    <a:pt x="494" y="178"/>
                  </a:lnTo>
                  <a:lnTo>
                    <a:pt x="484" y="175"/>
                  </a:lnTo>
                  <a:lnTo>
                    <a:pt x="477" y="170"/>
                  </a:lnTo>
                  <a:lnTo>
                    <a:pt x="477" y="163"/>
                  </a:lnTo>
                  <a:lnTo>
                    <a:pt x="451" y="163"/>
                  </a:lnTo>
                  <a:lnTo>
                    <a:pt x="451" y="161"/>
                  </a:lnTo>
                  <a:lnTo>
                    <a:pt x="430" y="163"/>
                  </a:lnTo>
                  <a:lnTo>
                    <a:pt x="432" y="168"/>
                  </a:lnTo>
                  <a:lnTo>
                    <a:pt x="437" y="168"/>
                  </a:lnTo>
                  <a:lnTo>
                    <a:pt x="446" y="163"/>
                  </a:lnTo>
                  <a:lnTo>
                    <a:pt x="461" y="168"/>
                  </a:lnTo>
                  <a:lnTo>
                    <a:pt x="470" y="170"/>
                  </a:lnTo>
                  <a:lnTo>
                    <a:pt x="477" y="178"/>
                  </a:lnTo>
                  <a:lnTo>
                    <a:pt x="484" y="180"/>
                  </a:lnTo>
                  <a:lnTo>
                    <a:pt x="491" y="180"/>
                  </a:lnTo>
                  <a:lnTo>
                    <a:pt x="494" y="187"/>
                  </a:lnTo>
                  <a:lnTo>
                    <a:pt x="508" y="187"/>
                  </a:lnTo>
                  <a:lnTo>
                    <a:pt x="503" y="187"/>
                  </a:lnTo>
                  <a:lnTo>
                    <a:pt x="503" y="180"/>
                  </a:lnTo>
                  <a:lnTo>
                    <a:pt x="508" y="178"/>
                  </a:lnTo>
                  <a:lnTo>
                    <a:pt x="510" y="180"/>
                  </a:lnTo>
                  <a:lnTo>
                    <a:pt x="512" y="180"/>
                  </a:lnTo>
                  <a:lnTo>
                    <a:pt x="520" y="178"/>
                  </a:lnTo>
                  <a:lnTo>
                    <a:pt x="527" y="178"/>
                  </a:lnTo>
                  <a:lnTo>
                    <a:pt x="529" y="180"/>
                  </a:lnTo>
                  <a:lnTo>
                    <a:pt x="541" y="199"/>
                  </a:lnTo>
                  <a:lnTo>
                    <a:pt x="543" y="204"/>
                  </a:lnTo>
                  <a:lnTo>
                    <a:pt x="541" y="204"/>
                  </a:lnTo>
                  <a:lnTo>
                    <a:pt x="536" y="199"/>
                  </a:lnTo>
                  <a:lnTo>
                    <a:pt x="534" y="194"/>
                  </a:lnTo>
                  <a:lnTo>
                    <a:pt x="534" y="208"/>
                  </a:lnTo>
                  <a:lnTo>
                    <a:pt x="536" y="208"/>
                  </a:lnTo>
                  <a:lnTo>
                    <a:pt x="529" y="208"/>
                  </a:lnTo>
                  <a:lnTo>
                    <a:pt x="527" y="211"/>
                  </a:lnTo>
                  <a:lnTo>
                    <a:pt x="520" y="211"/>
                  </a:lnTo>
                  <a:lnTo>
                    <a:pt x="508" y="215"/>
                  </a:lnTo>
                  <a:lnTo>
                    <a:pt x="503" y="218"/>
                  </a:lnTo>
                  <a:lnTo>
                    <a:pt x="501" y="218"/>
                  </a:lnTo>
                  <a:lnTo>
                    <a:pt x="496" y="220"/>
                  </a:lnTo>
                  <a:lnTo>
                    <a:pt x="487" y="220"/>
                  </a:lnTo>
                  <a:lnTo>
                    <a:pt x="484" y="225"/>
                  </a:lnTo>
                  <a:lnTo>
                    <a:pt x="479" y="225"/>
                  </a:lnTo>
                  <a:lnTo>
                    <a:pt x="472" y="227"/>
                  </a:lnTo>
                  <a:lnTo>
                    <a:pt x="468" y="227"/>
                  </a:lnTo>
                  <a:lnTo>
                    <a:pt x="461" y="232"/>
                  </a:lnTo>
                  <a:lnTo>
                    <a:pt x="453" y="232"/>
                  </a:lnTo>
                  <a:lnTo>
                    <a:pt x="451" y="234"/>
                  </a:lnTo>
                  <a:lnTo>
                    <a:pt x="439" y="234"/>
                  </a:lnTo>
                  <a:lnTo>
                    <a:pt x="437" y="239"/>
                  </a:lnTo>
                  <a:lnTo>
                    <a:pt x="430" y="239"/>
                  </a:lnTo>
                  <a:lnTo>
                    <a:pt x="406" y="244"/>
                  </a:lnTo>
                  <a:lnTo>
                    <a:pt x="375" y="256"/>
                  </a:lnTo>
                  <a:lnTo>
                    <a:pt x="366" y="256"/>
                  </a:lnTo>
                  <a:lnTo>
                    <a:pt x="357" y="258"/>
                  </a:lnTo>
                  <a:lnTo>
                    <a:pt x="238" y="289"/>
                  </a:lnTo>
                  <a:lnTo>
                    <a:pt x="217" y="291"/>
                  </a:lnTo>
                  <a:lnTo>
                    <a:pt x="177" y="300"/>
                  </a:lnTo>
                  <a:lnTo>
                    <a:pt x="172" y="300"/>
                  </a:lnTo>
                  <a:lnTo>
                    <a:pt x="158" y="305"/>
                  </a:lnTo>
                  <a:lnTo>
                    <a:pt x="153" y="305"/>
                  </a:lnTo>
                  <a:lnTo>
                    <a:pt x="142" y="307"/>
                  </a:lnTo>
                  <a:lnTo>
                    <a:pt x="142" y="305"/>
                  </a:lnTo>
                  <a:lnTo>
                    <a:pt x="139" y="305"/>
                  </a:lnTo>
                  <a:lnTo>
                    <a:pt x="123" y="307"/>
                  </a:lnTo>
                  <a:lnTo>
                    <a:pt x="120" y="312"/>
                  </a:lnTo>
                  <a:lnTo>
                    <a:pt x="90" y="317"/>
                  </a:lnTo>
                  <a:lnTo>
                    <a:pt x="80" y="322"/>
                  </a:lnTo>
                  <a:lnTo>
                    <a:pt x="68" y="322"/>
                  </a:lnTo>
                  <a:lnTo>
                    <a:pt x="59" y="324"/>
                  </a:lnTo>
                  <a:lnTo>
                    <a:pt x="52" y="324"/>
                  </a:lnTo>
                  <a:lnTo>
                    <a:pt x="28" y="331"/>
                  </a:lnTo>
                  <a:lnTo>
                    <a:pt x="9" y="336"/>
                  </a:lnTo>
                  <a:lnTo>
                    <a:pt x="0" y="33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1" name="Freeform 206">
              <a:extLst>
                <a:ext uri="{FF2B5EF4-FFF2-40B4-BE49-F238E27FC236}">
                  <a16:creationId xmlns:a16="http://schemas.microsoft.com/office/drawing/2014/main" id="{0EAEC648-B167-42F2-91C2-FF065BF9CD13}"/>
                </a:ext>
              </a:extLst>
            </p:cNvPr>
            <p:cNvSpPr>
              <a:spLocks/>
            </p:cNvSpPr>
            <p:nvPr/>
          </p:nvSpPr>
          <p:spPr bwMode="gray">
            <a:xfrm rot="47099">
              <a:off x="1798022" y="3433165"/>
              <a:ext cx="3255" cy="3255"/>
            </a:xfrm>
            <a:custGeom>
              <a:avLst/>
              <a:gdLst>
                <a:gd name="T0" fmla="*/ 2 w 7"/>
                <a:gd name="T1" fmla="*/ 7 h 7"/>
                <a:gd name="T2" fmla="*/ 0 w 7"/>
                <a:gd name="T3" fmla="*/ 7 h 7"/>
                <a:gd name="T4" fmla="*/ 2 w 7"/>
                <a:gd name="T5" fmla="*/ 5 h 7"/>
                <a:gd name="T6" fmla="*/ 2 w 7"/>
                <a:gd name="T7" fmla="*/ 0 h 7"/>
                <a:gd name="T8" fmla="*/ 7 w 7"/>
                <a:gd name="T9" fmla="*/ 5 h 7"/>
                <a:gd name="T10" fmla="*/ 7 w 7"/>
                <a:gd name="T11" fmla="*/ 7 h 7"/>
                <a:gd name="T12" fmla="*/ 2 w 7"/>
                <a:gd name="T13" fmla="*/ 7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2" y="7"/>
                  </a:moveTo>
                  <a:lnTo>
                    <a:pt x="0" y="7"/>
                  </a:lnTo>
                  <a:lnTo>
                    <a:pt x="2" y="5"/>
                  </a:lnTo>
                  <a:lnTo>
                    <a:pt x="2" y="0"/>
                  </a:lnTo>
                  <a:lnTo>
                    <a:pt x="7" y="5"/>
                  </a:lnTo>
                  <a:lnTo>
                    <a:pt x="7" y="7"/>
                  </a:lnTo>
                  <a:lnTo>
                    <a:pt x="2"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2" name="Freeform 207">
              <a:extLst>
                <a:ext uri="{FF2B5EF4-FFF2-40B4-BE49-F238E27FC236}">
                  <a16:creationId xmlns:a16="http://schemas.microsoft.com/office/drawing/2014/main" id="{14C2FD1C-D5B9-43CB-B3F7-7FF641FD7244}"/>
                </a:ext>
              </a:extLst>
            </p:cNvPr>
            <p:cNvSpPr>
              <a:spLocks/>
            </p:cNvSpPr>
            <p:nvPr/>
          </p:nvSpPr>
          <p:spPr bwMode="gray">
            <a:xfrm rot="47099">
              <a:off x="1804470" y="3306505"/>
              <a:ext cx="235775" cy="131590"/>
            </a:xfrm>
            <a:custGeom>
              <a:avLst/>
              <a:gdLst>
                <a:gd name="T0" fmla="*/ 479 w 507"/>
                <a:gd name="T1" fmla="*/ 132 h 283"/>
                <a:gd name="T2" fmla="*/ 463 w 507"/>
                <a:gd name="T3" fmla="*/ 156 h 283"/>
                <a:gd name="T4" fmla="*/ 434 w 507"/>
                <a:gd name="T5" fmla="*/ 189 h 283"/>
                <a:gd name="T6" fmla="*/ 406 w 507"/>
                <a:gd name="T7" fmla="*/ 210 h 283"/>
                <a:gd name="T8" fmla="*/ 354 w 507"/>
                <a:gd name="T9" fmla="*/ 217 h 283"/>
                <a:gd name="T10" fmla="*/ 288 w 507"/>
                <a:gd name="T11" fmla="*/ 227 h 283"/>
                <a:gd name="T12" fmla="*/ 215 w 507"/>
                <a:gd name="T13" fmla="*/ 236 h 283"/>
                <a:gd name="T14" fmla="*/ 151 w 507"/>
                <a:gd name="T15" fmla="*/ 248 h 283"/>
                <a:gd name="T16" fmla="*/ 94 w 507"/>
                <a:gd name="T17" fmla="*/ 253 h 283"/>
                <a:gd name="T18" fmla="*/ 92 w 507"/>
                <a:gd name="T19" fmla="*/ 269 h 283"/>
                <a:gd name="T20" fmla="*/ 37 w 507"/>
                <a:gd name="T21" fmla="*/ 276 h 283"/>
                <a:gd name="T22" fmla="*/ 0 w 507"/>
                <a:gd name="T23" fmla="*/ 283 h 283"/>
                <a:gd name="T24" fmla="*/ 11 w 507"/>
                <a:gd name="T25" fmla="*/ 274 h 283"/>
                <a:gd name="T26" fmla="*/ 18 w 507"/>
                <a:gd name="T27" fmla="*/ 250 h 283"/>
                <a:gd name="T28" fmla="*/ 11 w 507"/>
                <a:gd name="T29" fmla="*/ 234 h 283"/>
                <a:gd name="T30" fmla="*/ 23 w 507"/>
                <a:gd name="T31" fmla="*/ 213 h 283"/>
                <a:gd name="T32" fmla="*/ 61 w 507"/>
                <a:gd name="T33" fmla="*/ 224 h 283"/>
                <a:gd name="T34" fmla="*/ 61 w 507"/>
                <a:gd name="T35" fmla="*/ 210 h 283"/>
                <a:gd name="T36" fmla="*/ 54 w 507"/>
                <a:gd name="T37" fmla="*/ 201 h 283"/>
                <a:gd name="T38" fmla="*/ 78 w 507"/>
                <a:gd name="T39" fmla="*/ 187 h 283"/>
                <a:gd name="T40" fmla="*/ 80 w 507"/>
                <a:gd name="T41" fmla="*/ 177 h 283"/>
                <a:gd name="T42" fmla="*/ 80 w 507"/>
                <a:gd name="T43" fmla="*/ 161 h 283"/>
                <a:gd name="T44" fmla="*/ 87 w 507"/>
                <a:gd name="T45" fmla="*/ 154 h 283"/>
                <a:gd name="T46" fmla="*/ 101 w 507"/>
                <a:gd name="T47" fmla="*/ 144 h 283"/>
                <a:gd name="T48" fmla="*/ 120 w 507"/>
                <a:gd name="T49" fmla="*/ 137 h 283"/>
                <a:gd name="T50" fmla="*/ 148 w 507"/>
                <a:gd name="T51" fmla="*/ 146 h 283"/>
                <a:gd name="T52" fmla="*/ 165 w 507"/>
                <a:gd name="T53" fmla="*/ 128 h 283"/>
                <a:gd name="T54" fmla="*/ 181 w 507"/>
                <a:gd name="T55" fmla="*/ 132 h 283"/>
                <a:gd name="T56" fmla="*/ 189 w 507"/>
                <a:gd name="T57" fmla="*/ 116 h 283"/>
                <a:gd name="T58" fmla="*/ 200 w 507"/>
                <a:gd name="T59" fmla="*/ 106 h 283"/>
                <a:gd name="T60" fmla="*/ 222 w 507"/>
                <a:gd name="T61" fmla="*/ 116 h 283"/>
                <a:gd name="T62" fmla="*/ 231 w 507"/>
                <a:gd name="T63" fmla="*/ 87 h 283"/>
                <a:gd name="T64" fmla="*/ 245 w 507"/>
                <a:gd name="T65" fmla="*/ 71 h 283"/>
                <a:gd name="T66" fmla="*/ 252 w 507"/>
                <a:gd name="T67" fmla="*/ 42 h 283"/>
                <a:gd name="T68" fmla="*/ 274 w 507"/>
                <a:gd name="T69" fmla="*/ 40 h 283"/>
                <a:gd name="T70" fmla="*/ 292 w 507"/>
                <a:gd name="T71" fmla="*/ 31 h 283"/>
                <a:gd name="T72" fmla="*/ 285 w 507"/>
                <a:gd name="T73" fmla="*/ 7 h 283"/>
                <a:gd name="T74" fmla="*/ 297 w 507"/>
                <a:gd name="T75" fmla="*/ 0 h 283"/>
                <a:gd name="T76" fmla="*/ 321 w 507"/>
                <a:gd name="T77" fmla="*/ 2 h 283"/>
                <a:gd name="T78" fmla="*/ 337 w 507"/>
                <a:gd name="T79" fmla="*/ 19 h 283"/>
                <a:gd name="T80" fmla="*/ 359 w 507"/>
                <a:gd name="T81" fmla="*/ 19 h 283"/>
                <a:gd name="T82" fmla="*/ 375 w 507"/>
                <a:gd name="T83" fmla="*/ 26 h 283"/>
                <a:gd name="T84" fmla="*/ 394 w 507"/>
                <a:gd name="T85" fmla="*/ 24 h 283"/>
                <a:gd name="T86" fmla="*/ 415 w 507"/>
                <a:gd name="T87" fmla="*/ 14 h 283"/>
                <a:gd name="T88" fmla="*/ 432 w 507"/>
                <a:gd name="T89" fmla="*/ 24 h 283"/>
                <a:gd name="T90" fmla="*/ 451 w 507"/>
                <a:gd name="T91" fmla="*/ 35 h 283"/>
                <a:gd name="T92" fmla="*/ 451 w 507"/>
                <a:gd name="T93" fmla="*/ 57 h 283"/>
                <a:gd name="T94" fmla="*/ 472 w 507"/>
                <a:gd name="T95" fmla="*/ 76 h 283"/>
                <a:gd name="T96" fmla="*/ 491 w 507"/>
                <a:gd name="T97" fmla="*/ 97 h 283"/>
                <a:gd name="T98" fmla="*/ 505 w 507"/>
                <a:gd name="T99" fmla="*/ 106 h 2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7"/>
                <a:gd name="T151" fmla="*/ 0 h 283"/>
                <a:gd name="T152" fmla="*/ 507 w 507"/>
                <a:gd name="T153" fmla="*/ 283 h 2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7" h="283">
                  <a:moveTo>
                    <a:pt x="505" y="106"/>
                  </a:moveTo>
                  <a:lnTo>
                    <a:pt x="498" y="113"/>
                  </a:lnTo>
                  <a:lnTo>
                    <a:pt x="491" y="123"/>
                  </a:lnTo>
                  <a:lnTo>
                    <a:pt x="479" y="132"/>
                  </a:lnTo>
                  <a:lnTo>
                    <a:pt x="479" y="137"/>
                  </a:lnTo>
                  <a:lnTo>
                    <a:pt x="467" y="144"/>
                  </a:lnTo>
                  <a:lnTo>
                    <a:pt x="465" y="146"/>
                  </a:lnTo>
                  <a:lnTo>
                    <a:pt x="463" y="156"/>
                  </a:lnTo>
                  <a:lnTo>
                    <a:pt x="458" y="170"/>
                  </a:lnTo>
                  <a:lnTo>
                    <a:pt x="455" y="170"/>
                  </a:lnTo>
                  <a:lnTo>
                    <a:pt x="441" y="184"/>
                  </a:lnTo>
                  <a:lnTo>
                    <a:pt x="434" y="189"/>
                  </a:lnTo>
                  <a:lnTo>
                    <a:pt x="425" y="196"/>
                  </a:lnTo>
                  <a:lnTo>
                    <a:pt x="408" y="203"/>
                  </a:lnTo>
                  <a:lnTo>
                    <a:pt x="406" y="208"/>
                  </a:lnTo>
                  <a:lnTo>
                    <a:pt x="406" y="210"/>
                  </a:lnTo>
                  <a:lnTo>
                    <a:pt x="378" y="213"/>
                  </a:lnTo>
                  <a:lnTo>
                    <a:pt x="368" y="213"/>
                  </a:lnTo>
                  <a:lnTo>
                    <a:pt x="361" y="217"/>
                  </a:lnTo>
                  <a:lnTo>
                    <a:pt x="354" y="217"/>
                  </a:lnTo>
                  <a:lnTo>
                    <a:pt x="349" y="220"/>
                  </a:lnTo>
                  <a:lnTo>
                    <a:pt x="328" y="224"/>
                  </a:lnTo>
                  <a:lnTo>
                    <a:pt x="302" y="224"/>
                  </a:lnTo>
                  <a:lnTo>
                    <a:pt x="288" y="227"/>
                  </a:lnTo>
                  <a:lnTo>
                    <a:pt x="281" y="229"/>
                  </a:lnTo>
                  <a:lnTo>
                    <a:pt x="274" y="229"/>
                  </a:lnTo>
                  <a:lnTo>
                    <a:pt x="238" y="236"/>
                  </a:lnTo>
                  <a:lnTo>
                    <a:pt x="215" y="236"/>
                  </a:lnTo>
                  <a:lnTo>
                    <a:pt x="205" y="241"/>
                  </a:lnTo>
                  <a:lnTo>
                    <a:pt x="200" y="241"/>
                  </a:lnTo>
                  <a:lnTo>
                    <a:pt x="165" y="248"/>
                  </a:lnTo>
                  <a:lnTo>
                    <a:pt x="151" y="248"/>
                  </a:lnTo>
                  <a:lnTo>
                    <a:pt x="141" y="250"/>
                  </a:lnTo>
                  <a:lnTo>
                    <a:pt x="132" y="250"/>
                  </a:lnTo>
                  <a:lnTo>
                    <a:pt x="111" y="253"/>
                  </a:lnTo>
                  <a:lnTo>
                    <a:pt x="94" y="253"/>
                  </a:lnTo>
                  <a:lnTo>
                    <a:pt x="94" y="257"/>
                  </a:lnTo>
                  <a:lnTo>
                    <a:pt x="96" y="265"/>
                  </a:lnTo>
                  <a:lnTo>
                    <a:pt x="96" y="269"/>
                  </a:lnTo>
                  <a:lnTo>
                    <a:pt x="92" y="269"/>
                  </a:lnTo>
                  <a:lnTo>
                    <a:pt x="70" y="274"/>
                  </a:lnTo>
                  <a:lnTo>
                    <a:pt x="63" y="274"/>
                  </a:lnTo>
                  <a:lnTo>
                    <a:pt x="59" y="276"/>
                  </a:lnTo>
                  <a:lnTo>
                    <a:pt x="37" y="276"/>
                  </a:lnTo>
                  <a:lnTo>
                    <a:pt x="30" y="281"/>
                  </a:lnTo>
                  <a:lnTo>
                    <a:pt x="18" y="281"/>
                  </a:lnTo>
                  <a:lnTo>
                    <a:pt x="7" y="283"/>
                  </a:lnTo>
                  <a:lnTo>
                    <a:pt x="0" y="283"/>
                  </a:lnTo>
                  <a:lnTo>
                    <a:pt x="0" y="269"/>
                  </a:lnTo>
                  <a:lnTo>
                    <a:pt x="4" y="269"/>
                  </a:lnTo>
                  <a:lnTo>
                    <a:pt x="7" y="274"/>
                  </a:lnTo>
                  <a:lnTo>
                    <a:pt x="11" y="274"/>
                  </a:lnTo>
                  <a:lnTo>
                    <a:pt x="11" y="276"/>
                  </a:lnTo>
                  <a:lnTo>
                    <a:pt x="14" y="274"/>
                  </a:lnTo>
                  <a:lnTo>
                    <a:pt x="14" y="253"/>
                  </a:lnTo>
                  <a:lnTo>
                    <a:pt x="18" y="250"/>
                  </a:lnTo>
                  <a:lnTo>
                    <a:pt x="18" y="241"/>
                  </a:lnTo>
                  <a:lnTo>
                    <a:pt x="14" y="236"/>
                  </a:lnTo>
                  <a:lnTo>
                    <a:pt x="14" y="234"/>
                  </a:lnTo>
                  <a:lnTo>
                    <a:pt x="11" y="234"/>
                  </a:lnTo>
                  <a:lnTo>
                    <a:pt x="11" y="229"/>
                  </a:lnTo>
                  <a:lnTo>
                    <a:pt x="18" y="220"/>
                  </a:lnTo>
                  <a:lnTo>
                    <a:pt x="21" y="217"/>
                  </a:lnTo>
                  <a:lnTo>
                    <a:pt x="23" y="213"/>
                  </a:lnTo>
                  <a:lnTo>
                    <a:pt x="30" y="213"/>
                  </a:lnTo>
                  <a:lnTo>
                    <a:pt x="40" y="220"/>
                  </a:lnTo>
                  <a:lnTo>
                    <a:pt x="54" y="224"/>
                  </a:lnTo>
                  <a:lnTo>
                    <a:pt x="61" y="224"/>
                  </a:lnTo>
                  <a:lnTo>
                    <a:pt x="61" y="220"/>
                  </a:lnTo>
                  <a:lnTo>
                    <a:pt x="63" y="217"/>
                  </a:lnTo>
                  <a:lnTo>
                    <a:pt x="63" y="213"/>
                  </a:lnTo>
                  <a:lnTo>
                    <a:pt x="61" y="210"/>
                  </a:lnTo>
                  <a:lnTo>
                    <a:pt x="59" y="210"/>
                  </a:lnTo>
                  <a:lnTo>
                    <a:pt x="59" y="208"/>
                  </a:lnTo>
                  <a:lnTo>
                    <a:pt x="54" y="203"/>
                  </a:lnTo>
                  <a:lnTo>
                    <a:pt x="54" y="201"/>
                  </a:lnTo>
                  <a:lnTo>
                    <a:pt x="59" y="196"/>
                  </a:lnTo>
                  <a:lnTo>
                    <a:pt x="59" y="194"/>
                  </a:lnTo>
                  <a:lnTo>
                    <a:pt x="70" y="187"/>
                  </a:lnTo>
                  <a:lnTo>
                    <a:pt x="78" y="187"/>
                  </a:lnTo>
                  <a:lnTo>
                    <a:pt x="80" y="184"/>
                  </a:lnTo>
                  <a:lnTo>
                    <a:pt x="85" y="184"/>
                  </a:lnTo>
                  <a:lnTo>
                    <a:pt x="85" y="179"/>
                  </a:lnTo>
                  <a:lnTo>
                    <a:pt x="80" y="177"/>
                  </a:lnTo>
                  <a:lnTo>
                    <a:pt x="78" y="172"/>
                  </a:lnTo>
                  <a:lnTo>
                    <a:pt x="78" y="163"/>
                  </a:lnTo>
                  <a:lnTo>
                    <a:pt x="80" y="163"/>
                  </a:lnTo>
                  <a:lnTo>
                    <a:pt x="80" y="161"/>
                  </a:lnTo>
                  <a:lnTo>
                    <a:pt x="85" y="161"/>
                  </a:lnTo>
                  <a:lnTo>
                    <a:pt x="85" y="156"/>
                  </a:lnTo>
                  <a:lnTo>
                    <a:pt x="80" y="154"/>
                  </a:lnTo>
                  <a:lnTo>
                    <a:pt x="87" y="154"/>
                  </a:lnTo>
                  <a:lnTo>
                    <a:pt x="92" y="156"/>
                  </a:lnTo>
                  <a:lnTo>
                    <a:pt x="92" y="151"/>
                  </a:lnTo>
                  <a:lnTo>
                    <a:pt x="94" y="144"/>
                  </a:lnTo>
                  <a:lnTo>
                    <a:pt x="101" y="144"/>
                  </a:lnTo>
                  <a:lnTo>
                    <a:pt x="108" y="146"/>
                  </a:lnTo>
                  <a:lnTo>
                    <a:pt x="115" y="146"/>
                  </a:lnTo>
                  <a:lnTo>
                    <a:pt x="118" y="139"/>
                  </a:lnTo>
                  <a:lnTo>
                    <a:pt x="120" y="137"/>
                  </a:lnTo>
                  <a:lnTo>
                    <a:pt x="125" y="137"/>
                  </a:lnTo>
                  <a:lnTo>
                    <a:pt x="141" y="144"/>
                  </a:lnTo>
                  <a:lnTo>
                    <a:pt x="144" y="144"/>
                  </a:lnTo>
                  <a:lnTo>
                    <a:pt x="148" y="146"/>
                  </a:lnTo>
                  <a:lnTo>
                    <a:pt x="151" y="144"/>
                  </a:lnTo>
                  <a:lnTo>
                    <a:pt x="151" y="132"/>
                  </a:lnTo>
                  <a:lnTo>
                    <a:pt x="155" y="132"/>
                  </a:lnTo>
                  <a:lnTo>
                    <a:pt x="165" y="128"/>
                  </a:lnTo>
                  <a:lnTo>
                    <a:pt x="167" y="128"/>
                  </a:lnTo>
                  <a:lnTo>
                    <a:pt x="172" y="130"/>
                  </a:lnTo>
                  <a:lnTo>
                    <a:pt x="181" y="137"/>
                  </a:lnTo>
                  <a:lnTo>
                    <a:pt x="181" y="132"/>
                  </a:lnTo>
                  <a:lnTo>
                    <a:pt x="189" y="128"/>
                  </a:lnTo>
                  <a:lnTo>
                    <a:pt x="189" y="123"/>
                  </a:lnTo>
                  <a:lnTo>
                    <a:pt x="184" y="120"/>
                  </a:lnTo>
                  <a:lnTo>
                    <a:pt x="189" y="116"/>
                  </a:lnTo>
                  <a:lnTo>
                    <a:pt x="191" y="113"/>
                  </a:lnTo>
                  <a:lnTo>
                    <a:pt x="193" y="111"/>
                  </a:lnTo>
                  <a:lnTo>
                    <a:pt x="193" y="104"/>
                  </a:lnTo>
                  <a:lnTo>
                    <a:pt x="200" y="106"/>
                  </a:lnTo>
                  <a:lnTo>
                    <a:pt x="200" y="111"/>
                  </a:lnTo>
                  <a:lnTo>
                    <a:pt x="205" y="113"/>
                  </a:lnTo>
                  <a:lnTo>
                    <a:pt x="207" y="113"/>
                  </a:lnTo>
                  <a:lnTo>
                    <a:pt x="222" y="116"/>
                  </a:lnTo>
                  <a:lnTo>
                    <a:pt x="224" y="113"/>
                  </a:lnTo>
                  <a:lnTo>
                    <a:pt x="229" y="111"/>
                  </a:lnTo>
                  <a:lnTo>
                    <a:pt x="229" y="97"/>
                  </a:lnTo>
                  <a:lnTo>
                    <a:pt x="231" y="87"/>
                  </a:lnTo>
                  <a:lnTo>
                    <a:pt x="238" y="87"/>
                  </a:lnTo>
                  <a:lnTo>
                    <a:pt x="241" y="83"/>
                  </a:lnTo>
                  <a:lnTo>
                    <a:pt x="241" y="73"/>
                  </a:lnTo>
                  <a:lnTo>
                    <a:pt x="245" y="71"/>
                  </a:lnTo>
                  <a:lnTo>
                    <a:pt x="248" y="66"/>
                  </a:lnTo>
                  <a:lnTo>
                    <a:pt x="255" y="59"/>
                  </a:lnTo>
                  <a:lnTo>
                    <a:pt x="252" y="50"/>
                  </a:lnTo>
                  <a:lnTo>
                    <a:pt x="252" y="42"/>
                  </a:lnTo>
                  <a:lnTo>
                    <a:pt x="262" y="40"/>
                  </a:lnTo>
                  <a:lnTo>
                    <a:pt x="269" y="42"/>
                  </a:lnTo>
                  <a:lnTo>
                    <a:pt x="271" y="42"/>
                  </a:lnTo>
                  <a:lnTo>
                    <a:pt x="274" y="40"/>
                  </a:lnTo>
                  <a:lnTo>
                    <a:pt x="278" y="35"/>
                  </a:lnTo>
                  <a:lnTo>
                    <a:pt x="281" y="33"/>
                  </a:lnTo>
                  <a:lnTo>
                    <a:pt x="288" y="31"/>
                  </a:lnTo>
                  <a:lnTo>
                    <a:pt x="292" y="31"/>
                  </a:lnTo>
                  <a:lnTo>
                    <a:pt x="295" y="24"/>
                  </a:lnTo>
                  <a:lnTo>
                    <a:pt x="288" y="14"/>
                  </a:lnTo>
                  <a:lnTo>
                    <a:pt x="285" y="9"/>
                  </a:lnTo>
                  <a:lnTo>
                    <a:pt x="285" y="7"/>
                  </a:lnTo>
                  <a:lnTo>
                    <a:pt x="288" y="2"/>
                  </a:lnTo>
                  <a:lnTo>
                    <a:pt x="292" y="2"/>
                  </a:lnTo>
                  <a:lnTo>
                    <a:pt x="295" y="0"/>
                  </a:lnTo>
                  <a:lnTo>
                    <a:pt x="297" y="0"/>
                  </a:lnTo>
                  <a:lnTo>
                    <a:pt x="302" y="2"/>
                  </a:lnTo>
                  <a:lnTo>
                    <a:pt x="309" y="0"/>
                  </a:lnTo>
                  <a:lnTo>
                    <a:pt x="314" y="0"/>
                  </a:lnTo>
                  <a:lnTo>
                    <a:pt x="321" y="2"/>
                  </a:lnTo>
                  <a:lnTo>
                    <a:pt x="326" y="2"/>
                  </a:lnTo>
                  <a:lnTo>
                    <a:pt x="330" y="14"/>
                  </a:lnTo>
                  <a:lnTo>
                    <a:pt x="330" y="19"/>
                  </a:lnTo>
                  <a:lnTo>
                    <a:pt x="337" y="19"/>
                  </a:lnTo>
                  <a:lnTo>
                    <a:pt x="342" y="24"/>
                  </a:lnTo>
                  <a:lnTo>
                    <a:pt x="344" y="24"/>
                  </a:lnTo>
                  <a:lnTo>
                    <a:pt x="349" y="19"/>
                  </a:lnTo>
                  <a:lnTo>
                    <a:pt x="359" y="19"/>
                  </a:lnTo>
                  <a:lnTo>
                    <a:pt x="361" y="24"/>
                  </a:lnTo>
                  <a:lnTo>
                    <a:pt x="368" y="31"/>
                  </a:lnTo>
                  <a:lnTo>
                    <a:pt x="375" y="31"/>
                  </a:lnTo>
                  <a:lnTo>
                    <a:pt x="375" y="26"/>
                  </a:lnTo>
                  <a:lnTo>
                    <a:pt x="378" y="24"/>
                  </a:lnTo>
                  <a:lnTo>
                    <a:pt x="382" y="19"/>
                  </a:lnTo>
                  <a:lnTo>
                    <a:pt x="392" y="24"/>
                  </a:lnTo>
                  <a:lnTo>
                    <a:pt x="394" y="24"/>
                  </a:lnTo>
                  <a:lnTo>
                    <a:pt x="399" y="26"/>
                  </a:lnTo>
                  <a:lnTo>
                    <a:pt x="408" y="24"/>
                  </a:lnTo>
                  <a:lnTo>
                    <a:pt x="415" y="16"/>
                  </a:lnTo>
                  <a:lnTo>
                    <a:pt x="415" y="14"/>
                  </a:lnTo>
                  <a:lnTo>
                    <a:pt x="425" y="9"/>
                  </a:lnTo>
                  <a:lnTo>
                    <a:pt x="425" y="14"/>
                  </a:lnTo>
                  <a:lnTo>
                    <a:pt x="427" y="19"/>
                  </a:lnTo>
                  <a:lnTo>
                    <a:pt x="432" y="24"/>
                  </a:lnTo>
                  <a:lnTo>
                    <a:pt x="441" y="24"/>
                  </a:lnTo>
                  <a:lnTo>
                    <a:pt x="448" y="33"/>
                  </a:lnTo>
                  <a:lnTo>
                    <a:pt x="451" y="33"/>
                  </a:lnTo>
                  <a:lnTo>
                    <a:pt x="451" y="35"/>
                  </a:lnTo>
                  <a:lnTo>
                    <a:pt x="455" y="40"/>
                  </a:lnTo>
                  <a:lnTo>
                    <a:pt x="455" y="52"/>
                  </a:lnTo>
                  <a:lnTo>
                    <a:pt x="451" y="52"/>
                  </a:lnTo>
                  <a:lnTo>
                    <a:pt x="451" y="57"/>
                  </a:lnTo>
                  <a:lnTo>
                    <a:pt x="463" y="64"/>
                  </a:lnTo>
                  <a:lnTo>
                    <a:pt x="465" y="66"/>
                  </a:lnTo>
                  <a:lnTo>
                    <a:pt x="467" y="71"/>
                  </a:lnTo>
                  <a:lnTo>
                    <a:pt x="472" y="76"/>
                  </a:lnTo>
                  <a:lnTo>
                    <a:pt x="472" y="80"/>
                  </a:lnTo>
                  <a:lnTo>
                    <a:pt x="474" y="83"/>
                  </a:lnTo>
                  <a:lnTo>
                    <a:pt x="481" y="87"/>
                  </a:lnTo>
                  <a:lnTo>
                    <a:pt x="491" y="97"/>
                  </a:lnTo>
                  <a:lnTo>
                    <a:pt x="496" y="97"/>
                  </a:lnTo>
                  <a:lnTo>
                    <a:pt x="496" y="99"/>
                  </a:lnTo>
                  <a:lnTo>
                    <a:pt x="507" y="99"/>
                  </a:lnTo>
                  <a:lnTo>
                    <a:pt x="505" y="10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3" name="Freeform 208">
              <a:extLst>
                <a:ext uri="{FF2B5EF4-FFF2-40B4-BE49-F238E27FC236}">
                  <a16:creationId xmlns:a16="http://schemas.microsoft.com/office/drawing/2014/main" id="{671774E2-2C3F-48D7-8CF4-F1C2F5642663}"/>
                </a:ext>
              </a:extLst>
            </p:cNvPr>
            <p:cNvSpPr>
              <a:spLocks/>
            </p:cNvSpPr>
            <p:nvPr/>
          </p:nvSpPr>
          <p:spPr bwMode="gray">
            <a:xfrm rot="47099">
              <a:off x="2015587" y="3447504"/>
              <a:ext cx="166948" cy="125080"/>
            </a:xfrm>
            <a:custGeom>
              <a:avLst/>
              <a:gdLst>
                <a:gd name="T0" fmla="*/ 234 w 359"/>
                <a:gd name="T1" fmla="*/ 222 h 269"/>
                <a:gd name="T2" fmla="*/ 250 w 359"/>
                <a:gd name="T3" fmla="*/ 229 h 269"/>
                <a:gd name="T4" fmla="*/ 238 w 359"/>
                <a:gd name="T5" fmla="*/ 243 h 269"/>
                <a:gd name="T6" fmla="*/ 234 w 359"/>
                <a:gd name="T7" fmla="*/ 241 h 269"/>
                <a:gd name="T8" fmla="*/ 224 w 359"/>
                <a:gd name="T9" fmla="*/ 226 h 269"/>
                <a:gd name="T10" fmla="*/ 224 w 359"/>
                <a:gd name="T11" fmla="*/ 233 h 269"/>
                <a:gd name="T12" fmla="*/ 231 w 359"/>
                <a:gd name="T13" fmla="*/ 245 h 269"/>
                <a:gd name="T14" fmla="*/ 234 w 359"/>
                <a:gd name="T15" fmla="*/ 257 h 269"/>
                <a:gd name="T16" fmla="*/ 227 w 359"/>
                <a:gd name="T17" fmla="*/ 257 h 269"/>
                <a:gd name="T18" fmla="*/ 215 w 359"/>
                <a:gd name="T19" fmla="*/ 267 h 269"/>
                <a:gd name="T20" fmla="*/ 201 w 359"/>
                <a:gd name="T21" fmla="*/ 259 h 269"/>
                <a:gd name="T22" fmla="*/ 191 w 359"/>
                <a:gd name="T23" fmla="*/ 229 h 269"/>
                <a:gd name="T24" fmla="*/ 175 w 359"/>
                <a:gd name="T25" fmla="*/ 219 h 269"/>
                <a:gd name="T26" fmla="*/ 160 w 359"/>
                <a:gd name="T27" fmla="*/ 189 h 269"/>
                <a:gd name="T28" fmla="*/ 142 w 359"/>
                <a:gd name="T29" fmla="*/ 184 h 269"/>
                <a:gd name="T30" fmla="*/ 125 w 359"/>
                <a:gd name="T31" fmla="*/ 165 h 269"/>
                <a:gd name="T32" fmla="*/ 106 w 359"/>
                <a:gd name="T33" fmla="*/ 153 h 269"/>
                <a:gd name="T34" fmla="*/ 97 w 359"/>
                <a:gd name="T35" fmla="*/ 144 h 269"/>
                <a:gd name="T36" fmla="*/ 90 w 359"/>
                <a:gd name="T37" fmla="*/ 137 h 269"/>
                <a:gd name="T38" fmla="*/ 78 w 359"/>
                <a:gd name="T39" fmla="*/ 130 h 269"/>
                <a:gd name="T40" fmla="*/ 61 w 359"/>
                <a:gd name="T41" fmla="*/ 115 h 269"/>
                <a:gd name="T42" fmla="*/ 54 w 359"/>
                <a:gd name="T43" fmla="*/ 108 h 269"/>
                <a:gd name="T44" fmla="*/ 40 w 359"/>
                <a:gd name="T45" fmla="*/ 87 h 269"/>
                <a:gd name="T46" fmla="*/ 0 w 359"/>
                <a:gd name="T47" fmla="*/ 73 h 269"/>
                <a:gd name="T48" fmla="*/ 9 w 359"/>
                <a:gd name="T49" fmla="*/ 52 h 269"/>
                <a:gd name="T50" fmla="*/ 14 w 359"/>
                <a:gd name="T51" fmla="*/ 42 h 269"/>
                <a:gd name="T52" fmla="*/ 33 w 359"/>
                <a:gd name="T53" fmla="*/ 33 h 269"/>
                <a:gd name="T54" fmla="*/ 64 w 359"/>
                <a:gd name="T55" fmla="*/ 11 h 269"/>
                <a:gd name="T56" fmla="*/ 104 w 359"/>
                <a:gd name="T57" fmla="*/ 7 h 269"/>
                <a:gd name="T58" fmla="*/ 158 w 359"/>
                <a:gd name="T59" fmla="*/ 0 h 269"/>
                <a:gd name="T60" fmla="*/ 182 w 359"/>
                <a:gd name="T61" fmla="*/ 9 h 269"/>
                <a:gd name="T62" fmla="*/ 194 w 359"/>
                <a:gd name="T63" fmla="*/ 19 h 269"/>
                <a:gd name="T64" fmla="*/ 217 w 359"/>
                <a:gd name="T65" fmla="*/ 16 h 269"/>
                <a:gd name="T66" fmla="*/ 264 w 359"/>
                <a:gd name="T67" fmla="*/ 7 h 269"/>
                <a:gd name="T68" fmla="*/ 312 w 359"/>
                <a:gd name="T69" fmla="*/ 35 h 269"/>
                <a:gd name="T70" fmla="*/ 345 w 359"/>
                <a:gd name="T71" fmla="*/ 56 h 269"/>
                <a:gd name="T72" fmla="*/ 345 w 359"/>
                <a:gd name="T73" fmla="*/ 82 h 269"/>
                <a:gd name="T74" fmla="*/ 338 w 359"/>
                <a:gd name="T75" fmla="*/ 92 h 269"/>
                <a:gd name="T76" fmla="*/ 328 w 359"/>
                <a:gd name="T77" fmla="*/ 125 h 269"/>
                <a:gd name="T78" fmla="*/ 321 w 359"/>
                <a:gd name="T79" fmla="*/ 122 h 269"/>
                <a:gd name="T80" fmla="*/ 319 w 359"/>
                <a:gd name="T81" fmla="*/ 132 h 269"/>
                <a:gd name="T82" fmla="*/ 323 w 359"/>
                <a:gd name="T83" fmla="*/ 144 h 269"/>
                <a:gd name="T84" fmla="*/ 319 w 359"/>
                <a:gd name="T85" fmla="*/ 156 h 269"/>
                <a:gd name="T86" fmla="*/ 307 w 359"/>
                <a:gd name="T87" fmla="*/ 156 h 269"/>
                <a:gd name="T88" fmla="*/ 302 w 359"/>
                <a:gd name="T89" fmla="*/ 165 h 269"/>
                <a:gd name="T90" fmla="*/ 290 w 359"/>
                <a:gd name="T91" fmla="*/ 186 h 269"/>
                <a:gd name="T92" fmla="*/ 281 w 359"/>
                <a:gd name="T93" fmla="*/ 179 h 269"/>
                <a:gd name="T94" fmla="*/ 288 w 359"/>
                <a:gd name="T95" fmla="*/ 189 h 269"/>
                <a:gd name="T96" fmla="*/ 281 w 359"/>
                <a:gd name="T97" fmla="*/ 203 h 269"/>
                <a:gd name="T98" fmla="*/ 257 w 359"/>
                <a:gd name="T99" fmla="*/ 219 h 2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59"/>
                <a:gd name="T151" fmla="*/ 0 h 269"/>
                <a:gd name="T152" fmla="*/ 359 w 359"/>
                <a:gd name="T153" fmla="*/ 269 h 2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59" h="269">
                  <a:moveTo>
                    <a:pt x="250" y="219"/>
                  </a:moveTo>
                  <a:lnTo>
                    <a:pt x="238" y="219"/>
                  </a:lnTo>
                  <a:lnTo>
                    <a:pt x="234" y="222"/>
                  </a:lnTo>
                  <a:lnTo>
                    <a:pt x="231" y="222"/>
                  </a:lnTo>
                  <a:lnTo>
                    <a:pt x="248" y="222"/>
                  </a:lnTo>
                  <a:lnTo>
                    <a:pt x="250" y="229"/>
                  </a:lnTo>
                  <a:lnTo>
                    <a:pt x="250" y="236"/>
                  </a:lnTo>
                  <a:lnTo>
                    <a:pt x="243" y="243"/>
                  </a:lnTo>
                  <a:lnTo>
                    <a:pt x="238" y="243"/>
                  </a:lnTo>
                  <a:lnTo>
                    <a:pt x="238" y="236"/>
                  </a:lnTo>
                  <a:lnTo>
                    <a:pt x="234" y="229"/>
                  </a:lnTo>
                  <a:lnTo>
                    <a:pt x="234" y="241"/>
                  </a:lnTo>
                  <a:lnTo>
                    <a:pt x="227" y="236"/>
                  </a:lnTo>
                  <a:lnTo>
                    <a:pt x="224" y="229"/>
                  </a:lnTo>
                  <a:lnTo>
                    <a:pt x="224" y="226"/>
                  </a:lnTo>
                  <a:lnTo>
                    <a:pt x="222" y="226"/>
                  </a:lnTo>
                  <a:lnTo>
                    <a:pt x="222" y="229"/>
                  </a:lnTo>
                  <a:lnTo>
                    <a:pt x="224" y="233"/>
                  </a:lnTo>
                  <a:lnTo>
                    <a:pt x="227" y="243"/>
                  </a:lnTo>
                  <a:lnTo>
                    <a:pt x="231" y="243"/>
                  </a:lnTo>
                  <a:lnTo>
                    <a:pt x="231" y="245"/>
                  </a:lnTo>
                  <a:lnTo>
                    <a:pt x="234" y="245"/>
                  </a:lnTo>
                  <a:lnTo>
                    <a:pt x="238" y="250"/>
                  </a:lnTo>
                  <a:lnTo>
                    <a:pt x="234" y="257"/>
                  </a:lnTo>
                  <a:lnTo>
                    <a:pt x="227" y="259"/>
                  </a:lnTo>
                  <a:lnTo>
                    <a:pt x="231" y="257"/>
                  </a:lnTo>
                  <a:lnTo>
                    <a:pt x="227" y="257"/>
                  </a:lnTo>
                  <a:lnTo>
                    <a:pt x="224" y="262"/>
                  </a:lnTo>
                  <a:lnTo>
                    <a:pt x="224" y="269"/>
                  </a:lnTo>
                  <a:lnTo>
                    <a:pt x="215" y="267"/>
                  </a:lnTo>
                  <a:lnTo>
                    <a:pt x="210" y="267"/>
                  </a:lnTo>
                  <a:lnTo>
                    <a:pt x="203" y="262"/>
                  </a:lnTo>
                  <a:lnTo>
                    <a:pt x="201" y="259"/>
                  </a:lnTo>
                  <a:lnTo>
                    <a:pt x="201" y="245"/>
                  </a:lnTo>
                  <a:lnTo>
                    <a:pt x="194" y="236"/>
                  </a:lnTo>
                  <a:lnTo>
                    <a:pt x="191" y="229"/>
                  </a:lnTo>
                  <a:lnTo>
                    <a:pt x="182" y="229"/>
                  </a:lnTo>
                  <a:lnTo>
                    <a:pt x="177" y="226"/>
                  </a:lnTo>
                  <a:lnTo>
                    <a:pt x="175" y="219"/>
                  </a:lnTo>
                  <a:lnTo>
                    <a:pt x="175" y="217"/>
                  </a:lnTo>
                  <a:lnTo>
                    <a:pt x="165" y="193"/>
                  </a:lnTo>
                  <a:lnTo>
                    <a:pt x="160" y="189"/>
                  </a:lnTo>
                  <a:lnTo>
                    <a:pt x="153" y="186"/>
                  </a:lnTo>
                  <a:lnTo>
                    <a:pt x="144" y="186"/>
                  </a:lnTo>
                  <a:lnTo>
                    <a:pt x="142" y="184"/>
                  </a:lnTo>
                  <a:lnTo>
                    <a:pt x="134" y="179"/>
                  </a:lnTo>
                  <a:lnTo>
                    <a:pt x="130" y="172"/>
                  </a:lnTo>
                  <a:lnTo>
                    <a:pt x="125" y="165"/>
                  </a:lnTo>
                  <a:lnTo>
                    <a:pt x="125" y="160"/>
                  </a:lnTo>
                  <a:lnTo>
                    <a:pt x="113" y="153"/>
                  </a:lnTo>
                  <a:lnTo>
                    <a:pt x="106" y="153"/>
                  </a:lnTo>
                  <a:lnTo>
                    <a:pt x="104" y="148"/>
                  </a:lnTo>
                  <a:lnTo>
                    <a:pt x="101" y="146"/>
                  </a:lnTo>
                  <a:lnTo>
                    <a:pt x="97" y="144"/>
                  </a:lnTo>
                  <a:lnTo>
                    <a:pt x="97" y="139"/>
                  </a:lnTo>
                  <a:lnTo>
                    <a:pt x="94" y="139"/>
                  </a:lnTo>
                  <a:lnTo>
                    <a:pt x="90" y="137"/>
                  </a:lnTo>
                  <a:lnTo>
                    <a:pt x="87" y="132"/>
                  </a:lnTo>
                  <a:lnTo>
                    <a:pt x="80" y="132"/>
                  </a:lnTo>
                  <a:lnTo>
                    <a:pt x="78" y="130"/>
                  </a:lnTo>
                  <a:lnTo>
                    <a:pt x="71" y="125"/>
                  </a:lnTo>
                  <a:lnTo>
                    <a:pt x="64" y="120"/>
                  </a:lnTo>
                  <a:lnTo>
                    <a:pt x="61" y="115"/>
                  </a:lnTo>
                  <a:lnTo>
                    <a:pt x="61" y="113"/>
                  </a:lnTo>
                  <a:lnTo>
                    <a:pt x="57" y="113"/>
                  </a:lnTo>
                  <a:lnTo>
                    <a:pt x="54" y="108"/>
                  </a:lnTo>
                  <a:lnTo>
                    <a:pt x="54" y="106"/>
                  </a:lnTo>
                  <a:lnTo>
                    <a:pt x="47" y="99"/>
                  </a:lnTo>
                  <a:lnTo>
                    <a:pt x="40" y="87"/>
                  </a:lnTo>
                  <a:lnTo>
                    <a:pt x="28" y="87"/>
                  </a:lnTo>
                  <a:lnTo>
                    <a:pt x="5" y="75"/>
                  </a:lnTo>
                  <a:lnTo>
                    <a:pt x="0" y="73"/>
                  </a:lnTo>
                  <a:lnTo>
                    <a:pt x="5" y="63"/>
                  </a:lnTo>
                  <a:lnTo>
                    <a:pt x="7" y="56"/>
                  </a:lnTo>
                  <a:lnTo>
                    <a:pt x="9" y="52"/>
                  </a:lnTo>
                  <a:lnTo>
                    <a:pt x="9" y="49"/>
                  </a:lnTo>
                  <a:lnTo>
                    <a:pt x="14" y="49"/>
                  </a:lnTo>
                  <a:lnTo>
                    <a:pt x="14" y="42"/>
                  </a:lnTo>
                  <a:lnTo>
                    <a:pt x="16" y="42"/>
                  </a:lnTo>
                  <a:lnTo>
                    <a:pt x="23" y="40"/>
                  </a:lnTo>
                  <a:lnTo>
                    <a:pt x="33" y="33"/>
                  </a:lnTo>
                  <a:lnTo>
                    <a:pt x="38" y="28"/>
                  </a:lnTo>
                  <a:lnTo>
                    <a:pt x="47" y="23"/>
                  </a:lnTo>
                  <a:lnTo>
                    <a:pt x="64" y="11"/>
                  </a:lnTo>
                  <a:lnTo>
                    <a:pt x="71" y="11"/>
                  </a:lnTo>
                  <a:lnTo>
                    <a:pt x="97" y="9"/>
                  </a:lnTo>
                  <a:lnTo>
                    <a:pt x="104" y="7"/>
                  </a:lnTo>
                  <a:lnTo>
                    <a:pt x="120" y="2"/>
                  </a:lnTo>
                  <a:lnTo>
                    <a:pt x="130" y="2"/>
                  </a:lnTo>
                  <a:lnTo>
                    <a:pt x="158" y="0"/>
                  </a:lnTo>
                  <a:lnTo>
                    <a:pt x="168" y="0"/>
                  </a:lnTo>
                  <a:lnTo>
                    <a:pt x="170" y="2"/>
                  </a:lnTo>
                  <a:lnTo>
                    <a:pt x="182" y="9"/>
                  </a:lnTo>
                  <a:lnTo>
                    <a:pt x="182" y="23"/>
                  </a:lnTo>
                  <a:lnTo>
                    <a:pt x="186" y="23"/>
                  </a:lnTo>
                  <a:lnTo>
                    <a:pt x="194" y="19"/>
                  </a:lnTo>
                  <a:lnTo>
                    <a:pt x="201" y="19"/>
                  </a:lnTo>
                  <a:lnTo>
                    <a:pt x="210" y="16"/>
                  </a:lnTo>
                  <a:lnTo>
                    <a:pt x="217" y="16"/>
                  </a:lnTo>
                  <a:lnTo>
                    <a:pt x="224" y="11"/>
                  </a:lnTo>
                  <a:lnTo>
                    <a:pt x="257" y="7"/>
                  </a:lnTo>
                  <a:lnTo>
                    <a:pt x="264" y="7"/>
                  </a:lnTo>
                  <a:lnTo>
                    <a:pt x="274" y="11"/>
                  </a:lnTo>
                  <a:lnTo>
                    <a:pt x="302" y="28"/>
                  </a:lnTo>
                  <a:lnTo>
                    <a:pt x="312" y="35"/>
                  </a:lnTo>
                  <a:lnTo>
                    <a:pt x="319" y="40"/>
                  </a:lnTo>
                  <a:lnTo>
                    <a:pt x="335" y="49"/>
                  </a:lnTo>
                  <a:lnTo>
                    <a:pt x="345" y="56"/>
                  </a:lnTo>
                  <a:lnTo>
                    <a:pt x="347" y="59"/>
                  </a:lnTo>
                  <a:lnTo>
                    <a:pt x="359" y="66"/>
                  </a:lnTo>
                  <a:lnTo>
                    <a:pt x="345" y="82"/>
                  </a:lnTo>
                  <a:lnTo>
                    <a:pt x="340" y="87"/>
                  </a:lnTo>
                  <a:lnTo>
                    <a:pt x="340" y="89"/>
                  </a:lnTo>
                  <a:lnTo>
                    <a:pt x="338" y="92"/>
                  </a:lnTo>
                  <a:lnTo>
                    <a:pt x="335" y="99"/>
                  </a:lnTo>
                  <a:lnTo>
                    <a:pt x="328" y="115"/>
                  </a:lnTo>
                  <a:lnTo>
                    <a:pt x="328" y="125"/>
                  </a:lnTo>
                  <a:lnTo>
                    <a:pt x="323" y="130"/>
                  </a:lnTo>
                  <a:lnTo>
                    <a:pt x="321" y="130"/>
                  </a:lnTo>
                  <a:lnTo>
                    <a:pt x="321" y="122"/>
                  </a:lnTo>
                  <a:lnTo>
                    <a:pt x="323" y="115"/>
                  </a:lnTo>
                  <a:lnTo>
                    <a:pt x="319" y="122"/>
                  </a:lnTo>
                  <a:lnTo>
                    <a:pt x="319" y="132"/>
                  </a:lnTo>
                  <a:lnTo>
                    <a:pt x="323" y="132"/>
                  </a:lnTo>
                  <a:lnTo>
                    <a:pt x="328" y="139"/>
                  </a:lnTo>
                  <a:lnTo>
                    <a:pt x="323" y="144"/>
                  </a:lnTo>
                  <a:lnTo>
                    <a:pt x="321" y="146"/>
                  </a:lnTo>
                  <a:lnTo>
                    <a:pt x="319" y="148"/>
                  </a:lnTo>
                  <a:lnTo>
                    <a:pt x="319" y="156"/>
                  </a:lnTo>
                  <a:lnTo>
                    <a:pt x="314" y="160"/>
                  </a:lnTo>
                  <a:lnTo>
                    <a:pt x="312" y="160"/>
                  </a:lnTo>
                  <a:lnTo>
                    <a:pt x="307" y="156"/>
                  </a:lnTo>
                  <a:lnTo>
                    <a:pt x="305" y="160"/>
                  </a:lnTo>
                  <a:lnTo>
                    <a:pt x="302" y="163"/>
                  </a:lnTo>
                  <a:lnTo>
                    <a:pt x="302" y="165"/>
                  </a:lnTo>
                  <a:lnTo>
                    <a:pt x="305" y="170"/>
                  </a:lnTo>
                  <a:lnTo>
                    <a:pt x="297" y="179"/>
                  </a:lnTo>
                  <a:lnTo>
                    <a:pt x="290" y="186"/>
                  </a:lnTo>
                  <a:lnTo>
                    <a:pt x="283" y="186"/>
                  </a:lnTo>
                  <a:lnTo>
                    <a:pt x="283" y="179"/>
                  </a:lnTo>
                  <a:lnTo>
                    <a:pt x="281" y="179"/>
                  </a:lnTo>
                  <a:lnTo>
                    <a:pt x="279" y="186"/>
                  </a:lnTo>
                  <a:lnTo>
                    <a:pt x="281" y="189"/>
                  </a:lnTo>
                  <a:lnTo>
                    <a:pt x="288" y="189"/>
                  </a:lnTo>
                  <a:lnTo>
                    <a:pt x="288" y="196"/>
                  </a:lnTo>
                  <a:lnTo>
                    <a:pt x="283" y="196"/>
                  </a:lnTo>
                  <a:lnTo>
                    <a:pt x="281" y="203"/>
                  </a:lnTo>
                  <a:lnTo>
                    <a:pt x="279" y="203"/>
                  </a:lnTo>
                  <a:lnTo>
                    <a:pt x="264" y="212"/>
                  </a:lnTo>
                  <a:lnTo>
                    <a:pt x="257" y="219"/>
                  </a:lnTo>
                  <a:lnTo>
                    <a:pt x="255" y="222"/>
                  </a:lnTo>
                  <a:lnTo>
                    <a:pt x="250" y="21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4" name="Freeform 209">
              <a:extLst>
                <a:ext uri="{FF2B5EF4-FFF2-40B4-BE49-F238E27FC236}">
                  <a16:creationId xmlns:a16="http://schemas.microsoft.com/office/drawing/2014/main" id="{02209AC1-8770-472E-BE79-68DCE12AFE44}"/>
                </a:ext>
              </a:extLst>
            </p:cNvPr>
            <p:cNvSpPr>
              <a:spLocks/>
            </p:cNvSpPr>
            <p:nvPr/>
          </p:nvSpPr>
          <p:spPr bwMode="gray">
            <a:xfrm rot="47099">
              <a:off x="1628552" y="3438940"/>
              <a:ext cx="166019" cy="154839"/>
            </a:xfrm>
            <a:custGeom>
              <a:avLst/>
              <a:gdLst>
                <a:gd name="T0" fmla="*/ 281 w 357"/>
                <a:gd name="T1" fmla="*/ 292 h 333"/>
                <a:gd name="T2" fmla="*/ 281 w 357"/>
                <a:gd name="T3" fmla="*/ 314 h 333"/>
                <a:gd name="T4" fmla="*/ 258 w 357"/>
                <a:gd name="T5" fmla="*/ 316 h 333"/>
                <a:gd name="T6" fmla="*/ 244 w 357"/>
                <a:gd name="T7" fmla="*/ 321 h 333"/>
                <a:gd name="T8" fmla="*/ 187 w 357"/>
                <a:gd name="T9" fmla="*/ 323 h 333"/>
                <a:gd name="T10" fmla="*/ 159 w 357"/>
                <a:gd name="T11" fmla="*/ 326 h 333"/>
                <a:gd name="T12" fmla="*/ 104 w 357"/>
                <a:gd name="T13" fmla="*/ 333 h 333"/>
                <a:gd name="T14" fmla="*/ 62 w 357"/>
                <a:gd name="T15" fmla="*/ 307 h 333"/>
                <a:gd name="T16" fmla="*/ 57 w 357"/>
                <a:gd name="T17" fmla="*/ 288 h 333"/>
                <a:gd name="T18" fmla="*/ 40 w 357"/>
                <a:gd name="T19" fmla="*/ 283 h 333"/>
                <a:gd name="T20" fmla="*/ 33 w 357"/>
                <a:gd name="T21" fmla="*/ 288 h 333"/>
                <a:gd name="T22" fmla="*/ 26 w 357"/>
                <a:gd name="T23" fmla="*/ 281 h 333"/>
                <a:gd name="T24" fmla="*/ 24 w 357"/>
                <a:gd name="T25" fmla="*/ 252 h 333"/>
                <a:gd name="T26" fmla="*/ 22 w 357"/>
                <a:gd name="T27" fmla="*/ 129 h 333"/>
                <a:gd name="T28" fmla="*/ 17 w 357"/>
                <a:gd name="T29" fmla="*/ 111 h 333"/>
                <a:gd name="T30" fmla="*/ 7 w 357"/>
                <a:gd name="T31" fmla="*/ 59 h 333"/>
                <a:gd name="T32" fmla="*/ 0 w 357"/>
                <a:gd name="T33" fmla="*/ 30 h 333"/>
                <a:gd name="T34" fmla="*/ 38 w 357"/>
                <a:gd name="T35" fmla="*/ 26 h 333"/>
                <a:gd name="T36" fmla="*/ 95 w 357"/>
                <a:gd name="T37" fmla="*/ 23 h 333"/>
                <a:gd name="T38" fmla="*/ 123 w 357"/>
                <a:gd name="T39" fmla="*/ 18 h 333"/>
                <a:gd name="T40" fmla="*/ 151 w 357"/>
                <a:gd name="T41" fmla="*/ 16 h 333"/>
                <a:gd name="T42" fmla="*/ 201 w 357"/>
                <a:gd name="T43" fmla="*/ 14 h 333"/>
                <a:gd name="T44" fmla="*/ 237 w 357"/>
                <a:gd name="T45" fmla="*/ 9 h 333"/>
                <a:gd name="T46" fmla="*/ 267 w 357"/>
                <a:gd name="T47" fmla="*/ 7 h 333"/>
                <a:gd name="T48" fmla="*/ 291 w 357"/>
                <a:gd name="T49" fmla="*/ 2 h 333"/>
                <a:gd name="T50" fmla="*/ 322 w 357"/>
                <a:gd name="T51" fmla="*/ 0 h 333"/>
                <a:gd name="T52" fmla="*/ 331 w 357"/>
                <a:gd name="T53" fmla="*/ 16 h 333"/>
                <a:gd name="T54" fmla="*/ 322 w 357"/>
                <a:gd name="T55" fmla="*/ 26 h 333"/>
                <a:gd name="T56" fmla="*/ 314 w 357"/>
                <a:gd name="T57" fmla="*/ 35 h 333"/>
                <a:gd name="T58" fmla="*/ 312 w 357"/>
                <a:gd name="T59" fmla="*/ 47 h 333"/>
                <a:gd name="T60" fmla="*/ 345 w 357"/>
                <a:gd name="T61" fmla="*/ 40 h 333"/>
                <a:gd name="T62" fmla="*/ 357 w 357"/>
                <a:gd name="T63" fmla="*/ 56 h 333"/>
                <a:gd name="T64" fmla="*/ 352 w 357"/>
                <a:gd name="T65" fmla="*/ 63 h 333"/>
                <a:gd name="T66" fmla="*/ 348 w 357"/>
                <a:gd name="T67" fmla="*/ 73 h 333"/>
                <a:gd name="T68" fmla="*/ 331 w 357"/>
                <a:gd name="T69" fmla="*/ 94 h 333"/>
                <a:gd name="T70" fmla="*/ 333 w 357"/>
                <a:gd name="T71" fmla="*/ 96 h 333"/>
                <a:gd name="T72" fmla="*/ 338 w 357"/>
                <a:gd name="T73" fmla="*/ 120 h 333"/>
                <a:gd name="T74" fmla="*/ 324 w 357"/>
                <a:gd name="T75" fmla="*/ 129 h 333"/>
                <a:gd name="T76" fmla="*/ 329 w 357"/>
                <a:gd name="T77" fmla="*/ 132 h 333"/>
                <a:gd name="T78" fmla="*/ 324 w 357"/>
                <a:gd name="T79" fmla="*/ 146 h 333"/>
                <a:gd name="T80" fmla="*/ 314 w 357"/>
                <a:gd name="T81" fmla="*/ 144 h 333"/>
                <a:gd name="T82" fmla="*/ 307 w 357"/>
                <a:gd name="T83" fmla="*/ 160 h 333"/>
                <a:gd name="T84" fmla="*/ 314 w 357"/>
                <a:gd name="T85" fmla="*/ 167 h 333"/>
                <a:gd name="T86" fmla="*/ 312 w 357"/>
                <a:gd name="T87" fmla="*/ 186 h 333"/>
                <a:gd name="T88" fmla="*/ 298 w 357"/>
                <a:gd name="T89" fmla="*/ 200 h 333"/>
                <a:gd name="T90" fmla="*/ 284 w 357"/>
                <a:gd name="T91" fmla="*/ 212 h 333"/>
                <a:gd name="T92" fmla="*/ 291 w 357"/>
                <a:gd name="T93" fmla="*/ 217 h 333"/>
                <a:gd name="T94" fmla="*/ 289 w 357"/>
                <a:gd name="T95" fmla="*/ 224 h 333"/>
                <a:gd name="T96" fmla="*/ 277 w 357"/>
                <a:gd name="T97" fmla="*/ 226 h 333"/>
                <a:gd name="T98" fmla="*/ 281 w 357"/>
                <a:gd name="T99" fmla="*/ 233 h 333"/>
                <a:gd name="T100" fmla="*/ 274 w 357"/>
                <a:gd name="T101" fmla="*/ 252 h 333"/>
                <a:gd name="T102" fmla="*/ 272 w 357"/>
                <a:gd name="T103" fmla="*/ 281 h 3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7"/>
                <a:gd name="T157" fmla="*/ 0 h 333"/>
                <a:gd name="T158" fmla="*/ 357 w 357"/>
                <a:gd name="T159" fmla="*/ 333 h 3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7" h="333">
                  <a:moveTo>
                    <a:pt x="277" y="288"/>
                  </a:moveTo>
                  <a:lnTo>
                    <a:pt x="281" y="292"/>
                  </a:lnTo>
                  <a:lnTo>
                    <a:pt x="284" y="292"/>
                  </a:lnTo>
                  <a:lnTo>
                    <a:pt x="281" y="314"/>
                  </a:lnTo>
                  <a:lnTo>
                    <a:pt x="277" y="316"/>
                  </a:lnTo>
                  <a:lnTo>
                    <a:pt x="258" y="316"/>
                  </a:lnTo>
                  <a:lnTo>
                    <a:pt x="255" y="321"/>
                  </a:lnTo>
                  <a:lnTo>
                    <a:pt x="244" y="321"/>
                  </a:lnTo>
                  <a:lnTo>
                    <a:pt x="211" y="323"/>
                  </a:lnTo>
                  <a:lnTo>
                    <a:pt x="187" y="323"/>
                  </a:lnTo>
                  <a:lnTo>
                    <a:pt x="185" y="326"/>
                  </a:lnTo>
                  <a:lnTo>
                    <a:pt x="159" y="326"/>
                  </a:lnTo>
                  <a:lnTo>
                    <a:pt x="130" y="330"/>
                  </a:lnTo>
                  <a:lnTo>
                    <a:pt x="104" y="333"/>
                  </a:lnTo>
                  <a:lnTo>
                    <a:pt x="64" y="333"/>
                  </a:lnTo>
                  <a:lnTo>
                    <a:pt x="62" y="307"/>
                  </a:lnTo>
                  <a:lnTo>
                    <a:pt x="62" y="288"/>
                  </a:lnTo>
                  <a:lnTo>
                    <a:pt x="57" y="288"/>
                  </a:lnTo>
                  <a:lnTo>
                    <a:pt x="48" y="283"/>
                  </a:lnTo>
                  <a:lnTo>
                    <a:pt x="40" y="283"/>
                  </a:lnTo>
                  <a:lnTo>
                    <a:pt x="40" y="288"/>
                  </a:lnTo>
                  <a:lnTo>
                    <a:pt x="33" y="288"/>
                  </a:lnTo>
                  <a:lnTo>
                    <a:pt x="31" y="283"/>
                  </a:lnTo>
                  <a:lnTo>
                    <a:pt x="26" y="281"/>
                  </a:lnTo>
                  <a:lnTo>
                    <a:pt x="26" y="264"/>
                  </a:lnTo>
                  <a:lnTo>
                    <a:pt x="24" y="252"/>
                  </a:lnTo>
                  <a:lnTo>
                    <a:pt x="24" y="172"/>
                  </a:lnTo>
                  <a:lnTo>
                    <a:pt x="22" y="129"/>
                  </a:lnTo>
                  <a:lnTo>
                    <a:pt x="22" y="113"/>
                  </a:lnTo>
                  <a:lnTo>
                    <a:pt x="17" y="111"/>
                  </a:lnTo>
                  <a:lnTo>
                    <a:pt x="10" y="75"/>
                  </a:lnTo>
                  <a:lnTo>
                    <a:pt x="7" y="59"/>
                  </a:lnTo>
                  <a:lnTo>
                    <a:pt x="3" y="42"/>
                  </a:lnTo>
                  <a:lnTo>
                    <a:pt x="0" y="30"/>
                  </a:lnTo>
                  <a:lnTo>
                    <a:pt x="0" y="26"/>
                  </a:lnTo>
                  <a:lnTo>
                    <a:pt x="38" y="26"/>
                  </a:lnTo>
                  <a:lnTo>
                    <a:pt x="55" y="23"/>
                  </a:lnTo>
                  <a:lnTo>
                    <a:pt x="95" y="23"/>
                  </a:lnTo>
                  <a:lnTo>
                    <a:pt x="97" y="18"/>
                  </a:lnTo>
                  <a:lnTo>
                    <a:pt x="123" y="18"/>
                  </a:lnTo>
                  <a:lnTo>
                    <a:pt x="140" y="16"/>
                  </a:lnTo>
                  <a:lnTo>
                    <a:pt x="151" y="16"/>
                  </a:lnTo>
                  <a:lnTo>
                    <a:pt x="175" y="14"/>
                  </a:lnTo>
                  <a:lnTo>
                    <a:pt x="201" y="14"/>
                  </a:lnTo>
                  <a:lnTo>
                    <a:pt x="211" y="9"/>
                  </a:lnTo>
                  <a:lnTo>
                    <a:pt x="237" y="9"/>
                  </a:lnTo>
                  <a:lnTo>
                    <a:pt x="248" y="7"/>
                  </a:lnTo>
                  <a:lnTo>
                    <a:pt x="267" y="7"/>
                  </a:lnTo>
                  <a:lnTo>
                    <a:pt x="277" y="2"/>
                  </a:lnTo>
                  <a:lnTo>
                    <a:pt x="291" y="2"/>
                  </a:lnTo>
                  <a:lnTo>
                    <a:pt x="305" y="0"/>
                  </a:lnTo>
                  <a:lnTo>
                    <a:pt x="322" y="0"/>
                  </a:lnTo>
                  <a:lnTo>
                    <a:pt x="329" y="9"/>
                  </a:lnTo>
                  <a:lnTo>
                    <a:pt x="331" y="16"/>
                  </a:lnTo>
                  <a:lnTo>
                    <a:pt x="324" y="23"/>
                  </a:lnTo>
                  <a:lnTo>
                    <a:pt x="322" y="26"/>
                  </a:lnTo>
                  <a:lnTo>
                    <a:pt x="314" y="33"/>
                  </a:lnTo>
                  <a:lnTo>
                    <a:pt x="314" y="35"/>
                  </a:lnTo>
                  <a:lnTo>
                    <a:pt x="312" y="40"/>
                  </a:lnTo>
                  <a:lnTo>
                    <a:pt x="312" y="47"/>
                  </a:lnTo>
                  <a:lnTo>
                    <a:pt x="317" y="47"/>
                  </a:lnTo>
                  <a:lnTo>
                    <a:pt x="345" y="40"/>
                  </a:lnTo>
                  <a:lnTo>
                    <a:pt x="357" y="40"/>
                  </a:lnTo>
                  <a:lnTo>
                    <a:pt x="357" y="56"/>
                  </a:lnTo>
                  <a:lnTo>
                    <a:pt x="352" y="59"/>
                  </a:lnTo>
                  <a:lnTo>
                    <a:pt x="352" y="63"/>
                  </a:lnTo>
                  <a:lnTo>
                    <a:pt x="348" y="63"/>
                  </a:lnTo>
                  <a:lnTo>
                    <a:pt x="348" y="73"/>
                  </a:lnTo>
                  <a:lnTo>
                    <a:pt x="338" y="82"/>
                  </a:lnTo>
                  <a:lnTo>
                    <a:pt x="331" y="94"/>
                  </a:lnTo>
                  <a:lnTo>
                    <a:pt x="331" y="96"/>
                  </a:lnTo>
                  <a:lnTo>
                    <a:pt x="333" y="96"/>
                  </a:lnTo>
                  <a:lnTo>
                    <a:pt x="340" y="115"/>
                  </a:lnTo>
                  <a:lnTo>
                    <a:pt x="338" y="120"/>
                  </a:lnTo>
                  <a:lnTo>
                    <a:pt x="331" y="129"/>
                  </a:lnTo>
                  <a:lnTo>
                    <a:pt x="324" y="129"/>
                  </a:lnTo>
                  <a:lnTo>
                    <a:pt x="324" y="132"/>
                  </a:lnTo>
                  <a:lnTo>
                    <a:pt x="329" y="132"/>
                  </a:lnTo>
                  <a:lnTo>
                    <a:pt x="329" y="139"/>
                  </a:lnTo>
                  <a:lnTo>
                    <a:pt x="324" y="146"/>
                  </a:lnTo>
                  <a:lnTo>
                    <a:pt x="317" y="146"/>
                  </a:lnTo>
                  <a:lnTo>
                    <a:pt x="314" y="144"/>
                  </a:lnTo>
                  <a:lnTo>
                    <a:pt x="307" y="153"/>
                  </a:lnTo>
                  <a:lnTo>
                    <a:pt x="307" y="160"/>
                  </a:lnTo>
                  <a:lnTo>
                    <a:pt x="312" y="160"/>
                  </a:lnTo>
                  <a:lnTo>
                    <a:pt x="314" y="167"/>
                  </a:lnTo>
                  <a:lnTo>
                    <a:pt x="312" y="172"/>
                  </a:lnTo>
                  <a:lnTo>
                    <a:pt x="312" y="186"/>
                  </a:lnTo>
                  <a:lnTo>
                    <a:pt x="307" y="186"/>
                  </a:lnTo>
                  <a:lnTo>
                    <a:pt x="298" y="200"/>
                  </a:lnTo>
                  <a:lnTo>
                    <a:pt x="291" y="207"/>
                  </a:lnTo>
                  <a:lnTo>
                    <a:pt x="284" y="212"/>
                  </a:lnTo>
                  <a:lnTo>
                    <a:pt x="284" y="217"/>
                  </a:lnTo>
                  <a:lnTo>
                    <a:pt x="291" y="217"/>
                  </a:lnTo>
                  <a:lnTo>
                    <a:pt x="291" y="219"/>
                  </a:lnTo>
                  <a:lnTo>
                    <a:pt x="289" y="224"/>
                  </a:lnTo>
                  <a:lnTo>
                    <a:pt x="284" y="226"/>
                  </a:lnTo>
                  <a:lnTo>
                    <a:pt x="277" y="226"/>
                  </a:lnTo>
                  <a:lnTo>
                    <a:pt x="277" y="229"/>
                  </a:lnTo>
                  <a:lnTo>
                    <a:pt x="281" y="233"/>
                  </a:lnTo>
                  <a:lnTo>
                    <a:pt x="277" y="248"/>
                  </a:lnTo>
                  <a:lnTo>
                    <a:pt x="274" y="252"/>
                  </a:lnTo>
                  <a:lnTo>
                    <a:pt x="272" y="266"/>
                  </a:lnTo>
                  <a:lnTo>
                    <a:pt x="272" y="281"/>
                  </a:lnTo>
                  <a:lnTo>
                    <a:pt x="277" y="28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5" name="Freeform 210">
              <a:extLst>
                <a:ext uri="{FF2B5EF4-FFF2-40B4-BE49-F238E27FC236}">
                  <a16:creationId xmlns:a16="http://schemas.microsoft.com/office/drawing/2014/main" id="{A8D9E28C-DD2A-4C58-B794-10F397D8BCCE}"/>
                </a:ext>
              </a:extLst>
            </p:cNvPr>
            <p:cNvSpPr>
              <a:spLocks/>
            </p:cNvSpPr>
            <p:nvPr/>
          </p:nvSpPr>
          <p:spPr bwMode="gray">
            <a:xfrm rot="47099">
              <a:off x="1746077" y="3492779"/>
              <a:ext cx="119050" cy="203196"/>
            </a:xfrm>
            <a:custGeom>
              <a:avLst/>
              <a:gdLst>
                <a:gd name="T0" fmla="*/ 230 w 256"/>
                <a:gd name="T1" fmla="*/ 7 h 437"/>
                <a:gd name="T2" fmla="*/ 237 w 256"/>
                <a:gd name="T3" fmla="*/ 250 h 437"/>
                <a:gd name="T4" fmla="*/ 244 w 256"/>
                <a:gd name="T5" fmla="*/ 333 h 437"/>
                <a:gd name="T6" fmla="*/ 253 w 256"/>
                <a:gd name="T7" fmla="*/ 387 h 437"/>
                <a:gd name="T8" fmla="*/ 253 w 256"/>
                <a:gd name="T9" fmla="*/ 418 h 437"/>
                <a:gd name="T10" fmla="*/ 237 w 256"/>
                <a:gd name="T11" fmla="*/ 418 h 437"/>
                <a:gd name="T12" fmla="*/ 222 w 256"/>
                <a:gd name="T13" fmla="*/ 411 h 437"/>
                <a:gd name="T14" fmla="*/ 197 w 256"/>
                <a:gd name="T15" fmla="*/ 425 h 437"/>
                <a:gd name="T16" fmla="*/ 180 w 256"/>
                <a:gd name="T17" fmla="*/ 437 h 437"/>
                <a:gd name="T18" fmla="*/ 159 w 256"/>
                <a:gd name="T19" fmla="*/ 420 h 437"/>
                <a:gd name="T20" fmla="*/ 149 w 256"/>
                <a:gd name="T21" fmla="*/ 409 h 437"/>
                <a:gd name="T22" fmla="*/ 147 w 256"/>
                <a:gd name="T23" fmla="*/ 390 h 437"/>
                <a:gd name="T24" fmla="*/ 149 w 256"/>
                <a:gd name="T25" fmla="*/ 371 h 437"/>
                <a:gd name="T26" fmla="*/ 100 w 256"/>
                <a:gd name="T27" fmla="*/ 373 h 437"/>
                <a:gd name="T28" fmla="*/ 5 w 256"/>
                <a:gd name="T29" fmla="*/ 378 h 437"/>
                <a:gd name="T30" fmla="*/ 10 w 256"/>
                <a:gd name="T31" fmla="*/ 361 h 437"/>
                <a:gd name="T32" fmla="*/ 5 w 256"/>
                <a:gd name="T33" fmla="*/ 347 h 437"/>
                <a:gd name="T34" fmla="*/ 17 w 256"/>
                <a:gd name="T35" fmla="*/ 321 h 437"/>
                <a:gd name="T36" fmla="*/ 26 w 256"/>
                <a:gd name="T37" fmla="*/ 305 h 437"/>
                <a:gd name="T38" fmla="*/ 36 w 256"/>
                <a:gd name="T39" fmla="*/ 283 h 437"/>
                <a:gd name="T40" fmla="*/ 36 w 256"/>
                <a:gd name="T41" fmla="*/ 276 h 437"/>
                <a:gd name="T42" fmla="*/ 29 w 256"/>
                <a:gd name="T43" fmla="*/ 274 h 437"/>
                <a:gd name="T44" fmla="*/ 41 w 256"/>
                <a:gd name="T45" fmla="*/ 253 h 437"/>
                <a:gd name="T46" fmla="*/ 26 w 256"/>
                <a:gd name="T47" fmla="*/ 236 h 437"/>
                <a:gd name="T48" fmla="*/ 34 w 256"/>
                <a:gd name="T49" fmla="*/ 227 h 437"/>
                <a:gd name="T50" fmla="*/ 26 w 256"/>
                <a:gd name="T51" fmla="*/ 217 h 437"/>
                <a:gd name="T52" fmla="*/ 26 w 256"/>
                <a:gd name="T53" fmla="*/ 203 h 437"/>
                <a:gd name="T54" fmla="*/ 19 w 256"/>
                <a:gd name="T55" fmla="*/ 210 h 437"/>
                <a:gd name="T56" fmla="*/ 26 w 256"/>
                <a:gd name="T57" fmla="*/ 201 h 437"/>
                <a:gd name="T58" fmla="*/ 19 w 256"/>
                <a:gd name="T59" fmla="*/ 170 h 437"/>
                <a:gd name="T60" fmla="*/ 19 w 256"/>
                <a:gd name="T61" fmla="*/ 139 h 437"/>
                <a:gd name="T62" fmla="*/ 22 w 256"/>
                <a:gd name="T63" fmla="*/ 116 h 437"/>
                <a:gd name="T64" fmla="*/ 34 w 256"/>
                <a:gd name="T65" fmla="*/ 111 h 437"/>
                <a:gd name="T66" fmla="*/ 29 w 256"/>
                <a:gd name="T67" fmla="*/ 104 h 437"/>
                <a:gd name="T68" fmla="*/ 43 w 256"/>
                <a:gd name="T69" fmla="*/ 87 h 437"/>
                <a:gd name="T70" fmla="*/ 57 w 256"/>
                <a:gd name="T71" fmla="*/ 59 h 437"/>
                <a:gd name="T72" fmla="*/ 52 w 256"/>
                <a:gd name="T73" fmla="*/ 47 h 437"/>
                <a:gd name="T74" fmla="*/ 62 w 256"/>
                <a:gd name="T75" fmla="*/ 33 h 437"/>
                <a:gd name="T76" fmla="*/ 74 w 256"/>
                <a:gd name="T77" fmla="*/ 19 h 437"/>
                <a:gd name="T78" fmla="*/ 107 w 256"/>
                <a:gd name="T79" fmla="*/ 16 h 437"/>
                <a:gd name="T80" fmla="*/ 137 w 256"/>
                <a:gd name="T81" fmla="*/ 9 h 437"/>
                <a:gd name="T82" fmla="*/ 180 w 256"/>
                <a:gd name="T83" fmla="*/ 7 h 437"/>
                <a:gd name="T84" fmla="*/ 222 w 256"/>
                <a:gd name="T85" fmla="*/ 0 h 4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6"/>
                <a:gd name="T130" fmla="*/ 0 h 437"/>
                <a:gd name="T131" fmla="*/ 256 w 256"/>
                <a:gd name="T132" fmla="*/ 437 h 4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6" h="437">
                  <a:moveTo>
                    <a:pt x="227" y="2"/>
                  </a:moveTo>
                  <a:lnTo>
                    <a:pt x="227" y="2"/>
                  </a:lnTo>
                  <a:lnTo>
                    <a:pt x="230" y="7"/>
                  </a:lnTo>
                  <a:lnTo>
                    <a:pt x="234" y="19"/>
                  </a:lnTo>
                  <a:lnTo>
                    <a:pt x="234" y="163"/>
                  </a:lnTo>
                  <a:lnTo>
                    <a:pt x="237" y="250"/>
                  </a:lnTo>
                  <a:lnTo>
                    <a:pt x="237" y="290"/>
                  </a:lnTo>
                  <a:lnTo>
                    <a:pt x="244" y="321"/>
                  </a:lnTo>
                  <a:lnTo>
                    <a:pt x="244" y="333"/>
                  </a:lnTo>
                  <a:lnTo>
                    <a:pt x="246" y="338"/>
                  </a:lnTo>
                  <a:lnTo>
                    <a:pt x="246" y="345"/>
                  </a:lnTo>
                  <a:lnTo>
                    <a:pt x="253" y="387"/>
                  </a:lnTo>
                  <a:lnTo>
                    <a:pt x="256" y="404"/>
                  </a:lnTo>
                  <a:lnTo>
                    <a:pt x="256" y="413"/>
                  </a:lnTo>
                  <a:lnTo>
                    <a:pt x="253" y="418"/>
                  </a:lnTo>
                  <a:lnTo>
                    <a:pt x="246" y="413"/>
                  </a:lnTo>
                  <a:lnTo>
                    <a:pt x="239" y="413"/>
                  </a:lnTo>
                  <a:lnTo>
                    <a:pt x="237" y="418"/>
                  </a:lnTo>
                  <a:lnTo>
                    <a:pt x="230" y="418"/>
                  </a:lnTo>
                  <a:lnTo>
                    <a:pt x="227" y="413"/>
                  </a:lnTo>
                  <a:lnTo>
                    <a:pt x="222" y="411"/>
                  </a:lnTo>
                  <a:lnTo>
                    <a:pt x="213" y="413"/>
                  </a:lnTo>
                  <a:lnTo>
                    <a:pt x="213" y="418"/>
                  </a:lnTo>
                  <a:lnTo>
                    <a:pt x="197" y="425"/>
                  </a:lnTo>
                  <a:lnTo>
                    <a:pt x="194" y="425"/>
                  </a:lnTo>
                  <a:lnTo>
                    <a:pt x="189" y="428"/>
                  </a:lnTo>
                  <a:lnTo>
                    <a:pt x="180" y="437"/>
                  </a:lnTo>
                  <a:lnTo>
                    <a:pt x="166" y="437"/>
                  </a:lnTo>
                  <a:lnTo>
                    <a:pt x="166" y="435"/>
                  </a:lnTo>
                  <a:lnTo>
                    <a:pt x="159" y="420"/>
                  </a:lnTo>
                  <a:lnTo>
                    <a:pt x="159" y="418"/>
                  </a:lnTo>
                  <a:lnTo>
                    <a:pt x="154" y="411"/>
                  </a:lnTo>
                  <a:lnTo>
                    <a:pt x="149" y="409"/>
                  </a:lnTo>
                  <a:lnTo>
                    <a:pt x="147" y="409"/>
                  </a:lnTo>
                  <a:lnTo>
                    <a:pt x="142" y="397"/>
                  </a:lnTo>
                  <a:lnTo>
                    <a:pt x="147" y="390"/>
                  </a:lnTo>
                  <a:lnTo>
                    <a:pt x="147" y="385"/>
                  </a:lnTo>
                  <a:lnTo>
                    <a:pt x="149" y="378"/>
                  </a:lnTo>
                  <a:lnTo>
                    <a:pt x="149" y="371"/>
                  </a:lnTo>
                  <a:lnTo>
                    <a:pt x="126" y="371"/>
                  </a:lnTo>
                  <a:lnTo>
                    <a:pt x="119" y="373"/>
                  </a:lnTo>
                  <a:lnTo>
                    <a:pt x="100" y="373"/>
                  </a:lnTo>
                  <a:lnTo>
                    <a:pt x="85" y="378"/>
                  </a:lnTo>
                  <a:lnTo>
                    <a:pt x="3" y="385"/>
                  </a:lnTo>
                  <a:lnTo>
                    <a:pt x="5" y="378"/>
                  </a:lnTo>
                  <a:lnTo>
                    <a:pt x="3" y="371"/>
                  </a:lnTo>
                  <a:lnTo>
                    <a:pt x="0" y="361"/>
                  </a:lnTo>
                  <a:lnTo>
                    <a:pt x="10" y="361"/>
                  </a:lnTo>
                  <a:lnTo>
                    <a:pt x="10" y="357"/>
                  </a:lnTo>
                  <a:lnTo>
                    <a:pt x="5" y="354"/>
                  </a:lnTo>
                  <a:lnTo>
                    <a:pt x="5" y="347"/>
                  </a:lnTo>
                  <a:lnTo>
                    <a:pt x="12" y="333"/>
                  </a:lnTo>
                  <a:lnTo>
                    <a:pt x="17" y="331"/>
                  </a:lnTo>
                  <a:lnTo>
                    <a:pt x="17" y="321"/>
                  </a:lnTo>
                  <a:lnTo>
                    <a:pt x="19" y="309"/>
                  </a:lnTo>
                  <a:lnTo>
                    <a:pt x="19" y="307"/>
                  </a:lnTo>
                  <a:lnTo>
                    <a:pt x="26" y="305"/>
                  </a:lnTo>
                  <a:lnTo>
                    <a:pt x="34" y="293"/>
                  </a:lnTo>
                  <a:lnTo>
                    <a:pt x="36" y="288"/>
                  </a:lnTo>
                  <a:lnTo>
                    <a:pt x="36" y="283"/>
                  </a:lnTo>
                  <a:lnTo>
                    <a:pt x="43" y="281"/>
                  </a:lnTo>
                  <a:lnTo>
                    <a:pt x="43" y="276"/>
                  </a:lnTo>
                  <a:lnTo>
                    <a:pt x="36" y="276"/>
                  </a:lnTo>
                  <a:lnTo>
                    <a:pt x="34" y="281"/>
                  </a:lnTo>
                  <a:lnTo>
                    <a:pt x="29" y="276"/>
                  </a:lnTo>
                  <a:lnTo>
                    <a:pt x="29" y="274"/>
                  </a:lnTo>
                  <a:lnTo>
                    <a:pt x="36" y="272"/>
                  </a:lnTo>
                  <a:lnTo>
                    <a:pt x="45" y="265"/>
                  </a:lnTo>
                  <a:lnTo>
                    <a:pt x="41" y="253"/>
                  </a:lnTo>
                  <a:lnTo>
                    <a:pt x="36" y="253"/>
                  </a:lnTo>
                  <a:lnTo>
                    <a:pt x="34" y="250"/>
                  </a:lnTo>
                  <a:lnTo>
                    <a:pt x="26" y="236"/>
                  </a:lnTo>
                  <a:lnTo>
                    <a:pt x="26" y="234"/>
                  </a:lnTo>
                  <a:lnTo>
                    <a:pt x="29" y="231"/>
                  </a:lnTo>
                  <a:lnTo>
                    <a:pt x="34" y="227"/>
                  </a:lnTo>
                  <a:lnTo>
                    <a:pt x="34" y="224"/>
                  </a:lnTo>
                  <a:lnTo>
                    <a:pt x="26" y="224"/>
                  </a:lnTo>
                  <a:lnTo>
                    <a:pt x="26" y="217"/>
                  </a:lnTo>
                  <a:lnTo>
                    <a:pt x="29" y="213"/>
                  </a:lnTo>
                  <a:lnTo>
                    <a:pt x="29" y="208"/>
                  </a:lnTo>
                  <a:lnTo>
                    <a:pt x="26" y="203"/>
                  </a:lnTo>
                  <a:lnTo>
                    <a:pt x="26" y="210"/>
                  </a:lnTo>
                  <a:lnTo>
                    <a:pt x="22" y="213"/>
                  </a:lnTo>
                  <a:lnTo>
                    <a:pt x="19" y="210"/>
                  </a:lnTo>
                  <a:lnTo>
                    <a:pt x="19" y="208"/>
                  </a:lnTo>
                  <a:lnTo>
                    <a:pt x="22" y="203"/>
                  </a:lnTo>
                  <a:lnTo>
                    <a:pt x="26" y="201"/>
                  </a:lnTo>
                  <a:lnTo>
                    <a:pt x="29" y="179"/>
                  </a:lnTo>
                  <a:lnTo>
                    <a:pt x="26" y="179"/>
                  </a:lnTo>
                  <a:lnTo>
                    <a:pt x="19" y="170"/>
                  </a:lnTo>
                  <a:lnTo>
                    <a:pt x="17" y="168"/>
                  </a:lnTo>
                  <a:lnTo>
                    <a:pt x="17" y="153"/>
                  </a:lnTo>
                  <a:lnTo>
                    <a:pt x="19" y="139"/>
                  </a:lnTo>
                  <a:lnTo>
                    <a:pt x="22" y="135"/>
                  </a:lnTo>
                  <a:lnTo>
                    <a:pt x="26" y="120"/>
                  </a:lnTo>
                  <a:lnTo>
                    <a:pt x="22" y="116"/>
                  </a:lnTo>
                  <a:lnTo>
                    <a:pt x="22" y="113"/>
                  </a:lnTo>
                  <a:lnTo>
                    <a:pt x="29" y="113"/>
                  </a:lnTo>
                  <a:lnTo>
                    <a:pt x="34" y="111"/>
                  </a:lnTo>
                  <a:lnTo>
                    <a:pt x="36" y="106"/>
                  </a:lnTo>
                  <a:lnTo>
                    <a:pt x="36" y="104"/>
                  </a:lnTo>
                  <a:lnTo>
                    <a:pt x="29" y="104"/>
                  </a:lnTo>
                  <a:lnTo>
                    <a:pt x="29" y="99"/>
                  </a:lnTo>
                  <a:lnTo>
                    <a:pt x="36" y="94"/>
                  </a:lnTo>
                  <a:lnTo>
                    <a:pt x="43" y="87"/>
                  </a:lnTo>
                  <a:lnTo>
                    <a:pt x="52" y="73"/>
                  </a:lnTo>
                  <a:lnTo>
                    <a:pt x="57" y="73"/>
                  </a:lnTo>
                  <a:lnTo>
                    <a:pt x="57" y="59"/>
                  </a:lnTo>
                  <a:lnTo>
                    <a:pt x="59" y="54"/>
                  </a:lnTo>
                  <a:lnTo>
                    <a:pt x="57" y="47"/>
                  </a:lnTo>
                  <a:lnTo>
                    <a:pt x="52" y="47"/>
                  </a:lnTo>
                  <a:lnTo>
                    <a:pt x="52" y="40"/>
                  </a:lnTo>
                  <a:lnTo>
                    <a:pt x="59" y="31"/>
                  </a:lnTo>
                  <a:lnTo>
                    <a:pt x="62" y="33"/>
                  </a:lnTo>
                  <a:lnTo>
                    <a:pt x="69" y="33"/>
                  </a:lnTo>
                  <a:lnTo>
                    <a:pt x="74" y="26"/>
                  </a:lnTo>
                  <a:lnTo>
                    <a:pt x="74" y="19"/>
                  </a:lnTo>
                  <a:lnTo>
                    <a:pt x="69" y="19"/>
                  </a:lnTo>
                  <a:lnTo>
                    <a:pt x="83" y="16"/>
                  </a:lnTo>
                  <a:lnTo>
                    <a:pt x="107" y="16"/>
                  </a:lnTo>
                  <a:lnTo>
                    <a:pt x="116" y="14"/>
                  </a:lnTo>
                  <a:lnTo>
                    <a:pt x="123" y="14"/>
                  </a:lnTo>
                  <a:lnTo>
                    <a:pt x="137" y="9"/>
                  </a:lnTo>
                  <a:lnTo>
                    <a:pt x="159" y="9"/>
                  </a:lnTo>
                  <a:lnTo>
                    <a:pt x="166" y="7"/>
                  </a:lnTo>
                  <a:lnTo>
                    <a:pt x="180" y="7"/>
                  </a:lnTo>
                  <a:lnTo>
                    <a:pt x="211" y="2"/>
                  </a:lnTo>
                  <a:lnTo>
                    <a:pt x="215" y="0"/>
                  </a:lnTo>
                  <a:lnTo>
                    <a:pt x="222" y="0"/>
                  </a:lnTo>
                  <a:lnTo>
                    <a:pt x="22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6" name="Freeform 211">
              <a:extLst>
                <a:ext uri="{FF2B5EF4-FFF2-40B4-BE49-F238E27FC236}">
                  <a16:creationId xmlns:a16="http://schemas.microsoft.com/office/drawing/2014/main" id="{FE0353EF-46A2-4D67-97F5-3C595598C06A}"/>
                </a:ext>
              </a:extLst>
            </p:cNvPr>
            <p:cNvSpPr>
              <a:spLocks/>
            </p:cNvSpPr>
            <p:nvPr/>
          </p:nvSpPr>
          <p:spPr bwMode="gray">
            <a:xfrm rot="47099">
              <a:off x="1849458" y="3479885"/>
              <a:ext cx="134396" cy="209706"/>
            </a:xfrm>
            <a:custGeom>
              <a:avLst/>
              <a:gdLst>
                <a:gd name="T0" fmla="*/ 0 w 289"/>
                <a:gd name="T1" fmla="*/ 29 h 451"/>
                <a:gd name="T2" fmla="*/ 24 w 289"/>
                <a:gd name="T3" fmla="*/ 24 h 451"/>
                <a:gd name="T4" fmla="*/ 55 w 289"/>
                <a:gd name="T5" fmla="*/ 21 h 451"/>
                <a:gd name="T6" fmla="*/ 81 w 289"/>
                <a:gd name="T7" fmla="*/ 17 h 451"/>
                <a:gd name="T8" fmla="*/ 109 w 289"/>
                <a:gd name="T9" fmla="*/ 14 h 451"/>
                <a:gd name="T10" fmla="*/ 126 w 289"/>
                <a:gd name="T11" fmla="*/ 12 h 451"/>
                <a:gd name="T12" fmla="*/ 149 w 289"/>
                <a:gd name="T13" fmla="*/ 7 h 451"/>
                <a:gd name="T14" fmla="*/ 189 w 289"/>
                <a:gd name="T15" fmla="*/ 0 h 451"/>
                <a:gd name="T16" fmla="*/ 199 w 289"/>
                <a:gd name="T17" fmla="*/ 31 h 451"/>
                <a:gd name="T18" fmla="*/ 211 w 289"/>
                <a:gd name="T19" fmla="*/ 71 h 451"/>
                <a:gd name="T20" fmla="*/ 218 w 289"/>
                <a:gd name="T21" fmla="*/ 88 h 451"/>
                <a:gd name="T22" fmla="*/ 234 w 289"/>
                <a:gd name="T23" fmla="*/ 137 h 451"/>
                <a:gd name="T24" fmla="*/ 239 w 289"/>
                <a:gd name="T25" fmla="*/ 147 h 451"/>
                <a:gd name="T26" fmla="*/ 246 w 289"/>
                <a:gd name="T27" fmla="*/ 177 h 451"/>
                <a:gd name="T28" fmla="*/ 251 w 289"/>
                <a:gd name="T29" fmla="*/ 184 h 451"/>
                <a:gd name="T30" fmla="*/ 258 w 289"/>
                <a:gd name="T31" fmla="*/ 199 h 451"/>
                <a:gd name="T32" fmla="*/ 263 w 289"/>
                <a:gd name="T33" fmla="*/ 208 h 451"/>
                <a:gd name="T34" fmla="*/ 267 w 289"/>
                <a:gd name="T35" fmla="*/ 215 h 451"/>
                <a:gd name="T36" fmla="*/ 272 w 289"/>
                <a:gd name="T37" fmla="*/ 225 h 451"/>
                <a:gd name="T38" fmla="*/ 279 w 289"/>
                <a:gd name="T39" fmla="*/ 234 h 451"/>
                <a:gd name="T40" fmla="*/ 275 w 289"/>
                <a:gd name="T41" fmla="*/ 241 h 451"/>
                <a:gd name="T42" fmla="*/ 272 w 289"/>
                <a:gd name="T43" fmla="*/ 244 h 451"/>
                <a:gd name="T44" fmla="*/ 265 w 289"/>
                <a:gd name="T45" fmla="*/ 267 h 451"/>
                <a:gd name="T46" fmla="*/ 267 w 289"/>
                <a:gd name="T47" fmla="*/ 281 h 451"/>
                <a:gd name="T48" fmla="*/ 272 w 289"/>
                <a:gd name="T49" fmla="*/ 288 h 451"/>
                <a:gd name="T50" fmla="*/ 275 w 289"/>
                <a:gd name="T51" fmla="*/ 296 h 451"/>
                <a:gd name="T52" fmla="*/ 279 w 289"/>
                <a:gd name="T53" fmla="*/ 319 h 451"/>
                <a:gd name="T54" fmla="*/ 279 w 289"/>
                <a:gd name="T55" fmla="*/ 331 h 451"/>
                <a:gd name="T56" fmla="*/ 286 w 289"/>
                <a:gd name="T57" fmla="*/ 338 h 451"/>
                <a:gd name="T58" fmla="*/ 289 w 289"/>
                <a:gd name="T59" fmla="*/ 345 h 451"/>
                <a:gd name="T60" fmla="*/ 267 w 289"/>
                <a:gd name="T61" fmla="*/ 352 h 451"/>
                <a:gd name="T62" fmla="*/ 241 w 289"/>
                <a:gd name="T63" fmla="*/ 355 h 451"/>
                <a:gd name="T64" fmla="*/ 218 w 289"/>
                <a:gd name="T65" fmla="*/ 359 h 451"/>
                <a:gd name="T66" fmla="*/ 161 w 289"/>
                <a:gd name="T67" fmla="*/ 369 h 451"/>
                <a:gd name="T68" fmla="*/ 130 w 289"/>
                <a:gd name="T69" fmla="*/ 371 h 451"/>
                <a:gd name="T70" fmla="*/ 119 w 289"/>
                <a:gd name="T71" fmla="*/ 376 h 451"/>
                <a:gd name="T72" fmla="*/ 97 w 289"/>
                <a:gd name="T73" fmla="*/ 378 h 451"/>
                <a:gd name="T74" fmla="*/ 90 w 289"/>
                <a:gd name="T75" fmla="*/ 392 h 451"/>
                <a:gd name="T76" fmla="*/ 102 w 289"/>
                <a:gd name="T77" fmla="*/ 402 h 451"/>
                <a:gd name="T78" fmla="*/ 109 w 289"/>
                <a:gd name="T79" fmla="*/ 404 h 451"/>
                <a:gd name="T80" fmla="*/ 109 w 289"/>
                <a:gd name="T81" fmla="*/ 411 h 451"/>
                <a:gd name="T82" fmla="*/ 112 w 289"/>
                <a:gd name="T83" fmla="*/ 421 h 451"/>
                <a:gd name="T84" fmla="*/ 109 w 289"/>
                <a:gd name="T85" fmla="*/ 433 h 451"/>
                <a:gd name="T86" fmla="*/ 95 w 289"/>
                <a:gd name="T87" fmla="*/ 444 h 451"/>
                <a:gd name="T88" fmla="*/ 86 w 289"/>
                <a:gd name="T89" fmla="*/ 449 h 451"/>
                <a:gd name="T90" fmla="*/ 71 w 289"/>
                <a:gd name="T91" fmla="*/ 449 h 451"/>
                <a:gd name="T92" fmla="*/ 86 w 289"/>
                <a:gd name="T93" fmla="*/ 444 h 451"/>
                <a:gd name="T94" fmla="*/ 78 w 289"/>
                <a:gd name="T95" fmla="*/ 440 h 451"/>
                <a:gd name="T96" fmla="*/ 71 w 289"/>
                <a:gd name="T97" fmla="*/ 425 h 451"/>
                <a:gd name="T98" fmla="*/ 69 w 289"/>
                <a:gd name="T99" fmla="*/ 416 h 451"/>
                <a:gd name="T100" fmla="*/ 62 w 289"/>
                <a:gd name="T101" fmla="*/ 409 h 451"/>
                <a:gd name="T102" fmla="*/ 57 w 289"/>
                <a:gd name="T103" fmla="*/ 444 h 451"/>
                <a:gd name="T104" fmla="*/ 52 w 289"/>
                <a:gd name="T105" fmla="*/ 442 h 451"/>
                <a:gd name="T106" fmla="*/ 34 w 289"/>
                <a:gd name="T107" fmla="*/ 442 h 451"/>
                <a:gd name="T108" fmla="*/ 31 w 289"/>
                <a:gd name="T109" fmla="*/ 418 h 451"/>
                <a:gd name="T110" fmla="*/ 24 w 289"/>
                <a:gd name="T111" fmla="*/ 369 h 451"/>
                <a:gd name="T112" fmla="*/ 22 w 289"/>
                <a:gd name="T113" fmla="*/ 352 h 451"/>
                <a:gd name="T114" fmla="*/ 15 w 289"/>
                <a:gd name="T115" fmla="*/ 281 h 451"/>
                <a:gd name="T116" fmla="*/ 12 w 289"/>
                <a:gd name="T117" fmla="*/ 50 h 451"/>
                <a:gd name="T118" fmla="*/ 5 w 289"/>
                <a:gd name="T119" fmla="*/ 33 h 45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9"/>
                <a:gd name="T181" fmla="*/ 0 h 451"/>
                <a:gd name="T182" fmla="*/ 289 w 289"/>
                <a:gd name="T183" fmla="*/ 451 h 45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9" h="451">
                  <a:moveTo>
                    <a:pt x="0" y="31"/>
                  </a:moveTo>
                  <a:lnTo>
                    <a:pt x="0" y="29"/>
                  </a:lnTo>
                  <a:lnTo>
                    <a:pt x="22" y="29"/>
                  </a:lnTo>
                  <a:lnTo>
                    <a:pt x="24" y="24"/>
                  </a:lnTo>
                  <a:lnTo>
                    <a:pt x="52" y="24"/>
                  </a:lnTo>
                  <a:lnTo>
                    <a:pt x="55" y="21"/>
                  </a:lnTo>
                  <a:lnTo>
                    <a:pt x="74" y="21"/>
                  </a:lnTo>
                  <a:lnTo>
                    <a:pt x="81" y="17"/>
                  </a:lnTo>
                  <a:lnTo>
                    <a:pt x="104" y="17"/>
                  </a:lnTo>
                  <a:lnTo>
                    <a:pt x="109" y="14"/>
                  </a:lnTo>
                  <a:lnTo>
                    <a:pt x="121" y="14"/>
                  </a:lnTo>
                  <a:lnTo>
                    <a:pt x="126" y="12"/>
                  </a:lnTo>
                  <a:lnTo>
                    <a:pt x="145" y="12"/>
                  </a:lnTo>
                  <a:lnTo>
                    <a:pt x="149" y="7"/>
                  </a:lnTo>
                  <a:lnTo>
                    <a:pt x="159" y="7"/>
                  </a:lnTo>
                  <a:lnTo>
                    <a:pt x="189" y="0"/>
                  </a:lnTo>
                  <a:lnTo>
                    <a:pt x="189" y="7"/>
                  </a:lnTo>
                  <a:lnTo>
                    <a:pt x="199" y="31"/>
                  </a:lnTo>
                  <a:lnTo>
                    <a:pt x="211" y="69"/>
                  </a:lnTo>
                  <a:lnTo>
                    <a:pt x="211" y="71"/>
                  </a:lnTo>
                  <a:lnTo>
                    <a:pt x="215" y="78"/>
                  </a:lnTo>
                  <a:lnTo>
                    <a:pt x="218" y="88"/>
                  </a:lnTo>
                  <a:lnTo>
                    <a:pt x="227" y="121"/>
                  </a:lnTo>
                  <a:lnTo>
                    <a:pt x="234" y="137"/>
                  </a:lnTo>
                  <a:lnTo>
                    <a:pt x="234" y="144"/>
                  </a:lnTo>
                  <a:lnTo>
                    <a:pt x="239" y="147"/>
                  </a:lnTo>
                  <a:lnTo>
                    <a:pt x="246" y="168"/>
                  </a:lnTo>
                  <a:lnTo>
                    <a:pt x="246" y="177"/>
                  </a:lnTo>
                  <a:lnTo>
                    <a:pt x="249" y="182"/>
                  </a:lnTo>
                  <a:lnTo>
                    <a:pt x="251" y="184"/>
                  </a:lnTo>
                  <a:lnTo>
                    <a:pt x="256" y="194"/>
                  </a:lnTo>
                  <a:lnTo>
                    <a:pt x="258" y="199"/>
                  </a:lnTo>
                  <a:lnTo>
                    <a:pt x="258" y="201"/>
                  </a:lnTo>
                  <a:lnTo>
                    <a:pt x="263" y="208"/>
                  </a:lnTo>
                  <a:lnTo>
                    <a:pt x="265" y="210"/>
                  </a:lnTo>
                  <a:lnTo>
                    <a:pt x="267" y="215"/>
                  </a:lnTo>
                  <a:lnTo>
                    <a:pt x="272" y="222"/>
                  </a:lnTo>
                  <a:lnTo>
                    <a:pt x="272" y="225"/>
                  </a:lnTo>
                  <a:lnTo>
                    <a:pt x="275" y="232"/>
                  </a:lnTo>
                  <a:lnTo>
                    <a:pt x="279" y="234"/>
                  </a:lnTo>
                  <a:lnTo>
                    <a:pt x="279" y="239"/>
                  </a:lnTo>
                  <a:lnTo>
                    <a:pt x="275" y="241"/>
                  </a:lnTo>
                  <a:lnTo>
                    <a:pt x="272" y="241"/>
                  </a:lnTo>
                  <a:lnTo>
                    <a:pt x="272" y="244"/>
                  </a:lnTo>
                  <a:lnTo>
                    <a:pt x="267" y="248"/>
                  </a:lnTo>
                  <a:lnTo>
                    <a:pt x="265" y="267"/>
                  </a:lnTo>
                  <a:lnTo>
                    <a:pt x="265" y="279"/>
                  </a:lnTo>
                  <a:lnTo>
                    <a:pt x="267" y="281"/>
                  </a:lnTo>
                  <a:lnTo>
                    <a:pt x="267" y="284"/>
                  </a:lnTo>
                  <a:lnTo>
                    <a:pt x="272" y="288"/>
                  </a:lnTo>
                  <a:lnTo>
                    <a:pt x="275" y="291"/>
                  </a:lnTo>
                  <a:lnTo>
                    <a:pt x="275" y="296"/>
                  </a:lnTo>
                  <a:lnTo>
                    <a:pt x="279" y="298"/>
                  </a:lnTo>
                  <a:lnTo>
                    <a:pt x="279" y="319"/>
                  </a:lnTo>
                  <a:lnTo>
                    <a:pt x="275" y="324"/>
                  </a:lnTo>
                  <a:lnTo>
                    <a:pt x="279" y="331"/>
                  </a:lnTo>
                  <a:lnTo>
                    <a:pt x="282" y="336"/>
                  </a:lnTo>
                  <a:lnTo>
                    <a:pt x="286" y="338"/>
                  </a:lnTo>
                  <a:lnTo>
                    <a:pt x="286" y="340"/>
                  </a:lnTo>
                  <a:lnTo>
                    <a:pt x="289" y="345"/>
                  </a:lnTo>
                  <a:lnTo>
                    <a:pt x="286" y="347"/>
                  </a:lnTo>
                  <a:lnTo>
                    <a:pt x="267" y="352"/>
                  </a:lnTo>
                  <a:lnTo>
                    <a:pt x="251" y="352"/>
                  </a:lnTo>
                  <a:lnTo>
                    <a:pt x="241" y="355"/>
                  </a:lnTo>
                  <a:lnTo>
                    <a:pt x="234" y="355"/>
                  </a:lnTo>
                  <a:lnTo>
                    <a:pt x="218" y="359"/>
                  </a:lnTo>
                  <a:lnTo>
                    <a:pt x="178" y="364"/>
                  </a:lnTo>
                  <a:lnTo>
                    <a:pt x="161" y="369"/>
                  </a:lnTo>
                  <a:lnTo>
                    <a:pt x="152" y="369"/>
                  </a:lnTo>
                  <a:lnTo>
                    <a:pt x="130" y="371"/>
                  </a:lnTo>
                  <a:lnTo>
                    <a:pt x="126" y="371"/>
                  </a:lnTo>
                  <a:lnTo>
                    <a:pt x="119" y="376"/>
                  </a:lnTo>
                  <a:lnTo>
                    <a:pt x="109" y="376"/>
                  </a:lnTo>
                  <a:lnTo>
                    <a:pt x="97" y="378"/>
                  </a:lnTo>
                  <a:lnTo>
                    <a:pt x="90" y="378"/>
                  </a:lnTo>
                  <a:lnTo>
                    <a:pt x="90" y="392"/>
                  </a:lnTo>
                  <a:lnTo>
                    <a:pt x="97" y="399"/>
                  </a:lnTo>
                  <a:lnTo>
                    <a:pt x="102" y="402"/>
                  </a:lnTo>
                  <a:lnTo>
                    <a:pt x="104" y="402"/>
                  </a:lnTo>
                  <a:lnTo>
                    <a:pt x="109" y="404"/>
                  </a:lnTo>
                  <a:lnTo>
                    <a:pt x="112" y="409"/>
                  </a:lnTo>
                  <a:lnTo>
                    <a:pt x="109" y="411"/>
                  </a:lnTo>
                  <a:lnTo>
                    <a:pt x="109" y="418"/>
                  </a:lnTo>
                  <a:lnTo>
                    <a:pt x="112" y="421"/>
                  </a:lnTo>
                  <a:lnTo>
                    <a:pt x="112" y="428"/>
                  </a:lnTo>
                  <a:lnTo>
                    <a:pt x="109" y="433"/>
                  </a:lnTo>
                  <a:lnTo>
                    <a:pt x="102" y="442"/>
                  </a:lnTo>
                  <a:lnTo>
                    <a:pt x="95" y="444"/>
                  </a:lnTo>
                  <a:lnTo>
                    <a:pt x="88" y="449"/>
                  </a:lnTo>
                  <a:lnTo>
                    <a:pt x="86" y="449"/>
                  </a:lnTo>
                  <a:lnTo>
                    <a:pt x="69" y="451"/>
                  </a:lnTo>
                  <a:lnTo>
                    <a:pt x="71" y="449"/>
                  </a:lnTo>
                  <a:lnTo>
                    <a:pt x="78" y="449"/>
                  </a:lnTo>
                  <a:lnTo>
                    <a:pt x="86" y="444"/>
                  </a:lnTo>
                  <a:lnTo>
                    <a:pt x="86" y="442"/>
                  </a:lnTo>
                  <a:lnTo>
                    <a:pt x="78" y="440"/>
                  </a:lnTo>
                  <a:lnTo>
                    <a:pt x="74" y="435"/>
                  </a:lnTo>
                  <a:lnTo>
                    <a:pt x="71" y="425"/>
                  </a:lnTo>
                  <a:lnTo>
                    <a:pt x="71" y="418"/>
                  </a:lnTo>
                  <a:lnTo>
                    <a:pt x="69" y="416"/>
                  </a:lnTo>
                  <a:lnTo>
                    <a:pt x="69" y="411"/>
                  </a:lnTo>
                  <a:lnTo>
                    <a:pt x="62" y="409"/>
                  </a:lnTo>
                  <a:lnTo>
                    <a:pt x="57" y="421"/>
                  </a:lnTo>
                  <a:lnTo>
                    <a:pt x="57" y="444"/>
                  </a:lnTo>
                  <a:lnTo>
                    <a:pt x="52" y="444"/>
                  </a:lnTo>
                  <a:lnTo>
                    <a:pt x="52" y="442"/>
                  </a:lnTo>
                  <a:lnTo>
                    <a:pt x="38" y="440"/>
                  </a:lnTo>
                  <a:lnTo>
                    <a:pt x="34" y="442"/>
                  </a:lnTo>
                  <a:lnTo>
                    <a:pt x="34" y="435"/>
                  </a:lnTo>
                  <a:lnTo>
                    <a:pt x="31" y="418"/>
                  </a:lnTo>
                  <a:lnTo>
                    <a:pt x="24" y="376"/>
                  </a:lnTo>
                  <a:lnTo>
                    <a:pt x="24" y="369"/>
                  </a:lnTo>
                  <a:lnTo>
                    <a:pt x="22" y="364"/>
                  </a:lnTo>
                  <a:lnTo>
                    <a:pt x="22" y="352"/>
                  </a:lnTo>
                  <a:lnTo>
                    <a:pt x="15" y="321"/>
                  </a:lnTo>
                  <a:lnTo>
                    <a:pt x="15" y="281"/>
                  </a:lnTo>
                  <a:lnTo>
                    <a:pt x="12" y="194"/>
                  </a:lnTo>
                  <a:lnTo>
                    <a:pt x="12" y="50"/>
                  </a:lnTo>
                  <a:lnTo>
                    <a:pt x="8" y="38"/>
                  </a:lnTo>
                  <a:lnTo>
                    <a:pt x="5" y="33"/>
                  </a:lnTo>
                  <a:lnTo>
                    <a:pt x="0" y="3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7" name="Freeform 212">
              <a:extLst>
                <a:ext uri="{FF2B5EF4-FFF2-40B4-BE49-F238E27FC236}">
                  <a16:creationId xmlns:a16="http://schemas.microsoft.com/office/drawing/2014/main" id="{434E6D86-9FF1-426A-893B-5D92B94B0662}"/>
                </a:ext>
              </a:extLst>
            </p:cNvPr>
            <p:cNvSpPr>
              <a:spLocks/>
            </p:cNvSpPr>
            <p:nvPr/>
          </p:nvSpPr>
          <p:spPr bwMode="gray">
            <a:xfrm rot="47099">
              <a:off x="1937705" y="3466092"/>
              <a:ext cx="184620" cy="186922"/>
            </a:xfrm>
            <a:custGeom>
              <a:avLst/>
              <a:gdLst>
                <a:gd name="T0" fmla="*/ 38 w 397"/>
                <a:gd name="T1" fmla="*/ 26 h 402"/>
                <a:gd name="T2" fmla="*/ 74 w 397"/>
                <a:gd name="T3" fmla="*/ 21 h 402"/>
                <a:gd name="T4" fmla="*/ 133 w 397"/>
                <a:gd name="T5" fmla="*/ 10 h 402"/>
                <a:gd name="T6" fmla="*/ 166 w 397"/>
                <a:gd name="T7" fmla="*/ 5 h 402"/>
                <a:gd name="T8" fmla="*/ 180 w 397"/>
                <a:gd name="T9" fmla="*/ 7 h 402"/>
                <a:gd name="T10" fmla="*/ 173 w 397"/>
                <a:gd name="T11" fmla="*/ 14 h 402"/>
                <a:gd name="T12" fmla="*/ 171 w 397"/>
                <a:gd name="T13" fmla="*/ 33 h 402"/>
                <a:gd name="T14" fmla="*/ 213 w 397"/>
                <a:gd name="T15" fmla="*/ 57 h 402"/>
                <a:gd name="T16" fmla="*/ 223 w 397"/>
                <a:gd name="T17" fmla="*/ 71 h 402"/>
                <a:gd name="T18" fmla="*/ 230 w 397"/>
                <a:gd name="T19" fmla="*/ 78 h 402"/>
                <a:gd name="T20" fmla="*/ 246 w 397"/>
                <a:gd name="T21" fmla="*/ 90 h 402"/>
                <a:gd name="T22" fmla="*/ 260 w 397"/>
                <a:gd name="T23" fmla="*/ 97 h 402"/>
                <a:gd name="T24" fmla="*/ 267 w 397"/>
                <a:gd name="T25" fmla="*/ 104 h 402"/>
                <a:gd name="T26" fmla="*/ 279 w 397"/>
                <a:gd name="T27" fmla="*/ 111 h 402"/>
                <a:gd name="T28" fmla="*/ 296 w 397"/>
                <a:gd name="T29" fmla="*/ 130 h 402"/>
                <a:gd name="T30" fmla="*/ 310 w 397"/>
                <a:gd name="T31" fmla="*/ 144 h 402"/>
                <a:gd name="T32" fmla="*/ 331 w 397"/>
                <a:gd name="T33" fmla="*/ 151 h 402"/>
                <a:gd name="T34" fmla="*/ 343 w 397"/>
                <a:gd name="T35" fmla="*/ 184 h 402"/>
                <a:gd name="T36" fmla="*/ 360 w 397"/>
                <a:gd name="T37" fmla="*/ 194 h 402"/>
                <a:gd name="T38" fmla="*/ 369 w 397"/>
                <a:gd name="T39" fmla="*/ 220 h 402"/>
                <a:gd name="T40" fmla="*/ 390 w 397"/>
                <a:gd name="T41" fmla="*/ 227 h 402"/>
                <a:gd name="T42" fmla="*/ 390 w 397"/>
                <a:gd name="T43" fmla="*/ 241 h 402"/>
                <a:gd name="T44" fmla="*/ 381 w 397"/>
                <a:gd name="T45" fmla="*/ 258 h 402"/>
                <a:gd name="T46" fmla="*/ 374 w 397"/>
                <a:gd name="T47" fmla="*/ 274 h 402"/>
                <a:gd name="T48" fmla="*/ 374 w 397"/>
                <a:gd name="T49" fmla="*/ 277 h 402"/>
                <a:gd name="T50" fmla="*/ 374 w 397"/>
                <a:gd name="T51" fmla="*/ 295 h 402"/>
                <a:gd name="T52" fmla="*/ 369 w 397"/>
                <a:gd name="T53" fmla="*/ 312 h 402"/>
                <a:gd name="T54" fmla="*/ 364 w 397"/>
                <a:gd name="T55" fmla="*/ 307 h 402"/>
                <a:gd name="T56" fmla="*/ 369 w 397"/>
                <a:gd name="T57" fmla="*/ 324 h 402"/>
                <a:gd name="T58" fmla="*/ 364 w 397"/>
                <a:gd name="T59" fmla="*/ 336 h 402"/>
                <a:gd name="T60" fmla="*/ 367 w 397"/>
                <a:gd name="T61" fmla="*/ 352 h 402"/>
                <a:gd name="T62" fmla="*/ 348 w 397"/>
                <a:gd name="T63" fmla="*/ 352 h 402"/>
                <a:gd name="T64" fmla="*/ 331 w 397"/>
                <a:gd name="T65" fmla="*/ 352 h 402"/>
                <a:gd name="T66" fmla="*/ 331 w 397"/>
                <a:gd name="T67" fmla="*/ 369 h 402"/>
                <a:gd name="T68" fmla="*/ 331 w 397"/>
                <a:gd name="T69" fmla="*/ 392 h 402"/>
                <a:gd name="T70" fmla="*/ 319 w 397"/>
                <a:gd name="T71" fmla="*/ 388 h 402"/>
                <a:gd name="T72" fmla="*/ 312 w 397"/>
                <a:gd name="T73" fmla="*/ 378 h 402"/>
                <a:gd name="T74" fmla="*/ 263 w 397"/>
                <a:gd name="T75" fmla="*/ 385 h 402"/>
                <a:gd name="T76" fmla="*/ 163 w 397"/>
                <a:gd name="T77" fmla="*/ 397 h 402"/>
                <a:gd name="T78" fmla="*/ 109 w 397"/>
                <a:gd name="T79" fmla="*/ 402 h 402"/>
                <a:gd name="T80" fmla="*/ 100 w 397"/>
                <a:gd name="T81" fmla="*/ 380 h 402"/>
                <a:gd name="T82" fmla="*/ 97 w 397"/>
                <a:gd name="T83" fmla="*/ 371 h 402"/>
                <a:gd name="T84" fmla="*/ 86 w 397"/>
                <a:gd name="T85" fmla="*/ 357 h 402"/>
                <a:gd name="T86" fmla="*/ 86 w 397"/>
                <a:gd name="T87" fmla="*/ 329 h 402"/>
                <a:gd name="T88" fmla="*/ 78 w 397"/>
                <a:gd name="T89" fmla="*/ 317 h 402"/>
                <a:gd name="T90" fmla="*/ 76 w 397"/>
                <a:gd name="T91" fmla="*/ 300 h 402"/>
                <a:gd name="T92" fmla="*/ 83 w 397"/>
                <a:gd name="T93" fmla="*/ 274 h 402"/>
                <a:gd name="T94" fmla="*/ 90 w 397"/>
                <a:gd name="T95" fmla="*/ 267 h 402"/>
                <a:gd name="T96" fmla="*/ 83 w 397"/>
                <a:gd name="T97" fmla="*/ 255 h 402"/>
                <a:gd name="T98" fmla="*/ 74 w 397"/>
                <a:gd name="T99" fmla="*/ 241 h 402"/>
                <a:gd name="T100" fmla="*/ 67 w 397"/>
                <a:gd name="T101" fmla="*/ 227 h 402"/>
                <a:gd name="T102" fmla="*/ 57 w 397"/>
                <a:gd name="T103" fmla="*/ 210 h 402"/>
                <a:gd name="T104" fmla="*/ 45 w 397"/>
                <a:gd name="T105" fmla="*/ 177 h 402"/>
                <a:gd name="T106" fmla="*/ 29 w 397"/>
                <a:gd name="T107" fmla="*/ 121 h 402"/>
                <a:gd name="T108" fmla="*/ 22 w 397"/>
                <a:gd name="T109" fmla="*/ 102 h 402"/>
                <a:gd name="T110" fmla="*/ 0 w 397"/>
                <a:gd name="T111" fmla="*/ 33 h 4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97"/>
                <a:gd name="T169" fmla="*/ 0 h 402"/>
                <a:gd name="T170" fmla="*/ 397 w 397"/>
                <a:gd name="T171" fmla="*/ 402 h 4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97" h="402">
                  <a:moveTo>
                    <a:pt x="12" y="33"/>
                  </a:moveTo>
                  <a:lnTo>
                    <a:pt x="26" y="31"/>
                  </a:lnTo>
                  <a:lnTo>
                    <a:pt x="38" y="26"/>
                  </a:lnTo>
                  <a:lnTo>
                    <a:pt x="50" y="26"/>
                  </a:lnTo>
                  <a:lnTo>
                    <a:pt x="60" y="24"/>
                  </a:lnTo>
                  <a:lnTo>
                    <a:pt x="74" y="21"/>
                  </a:lnTo>
                  <a:lnTo>
                    <a:pt x="93" y="21"/>
                  </a:lnTo>
                  <a:lnTo>
                    <a:pt x="109" y="17"/>
                  </a:lnTo>
                  <a:lnTo>
                    <a:pt x="133" y="10"/>
                  </a:lnTo>
                  <a:lnTo>
                    <a:pt x="142" y="10"/>
                  </a:lnTo>
                  <a:lnTo>
                    <a:pt x="156" y="7"/>
                  </a:lnTo>
                  <a:lnTo>
                    <a:pt x="166" y="5"/>
                  </a:lnTo>
                  <a:lnTo>
                    <a:pt x="171" y="5"/>
                  </a:lnTo>
                  <a:lnTo>
                    <a:pt x="180" y="0"/>
                  </a:lnTo>
                  <a:lnTo>
                    <a:pt x="180" y="7"/>
                  </a:lnTo>
                  <a:lnTo>
                    <a:pt x="175" y="7"/>
                  </a:lnTo>
                  <a:lnTo>
                    <a:pt x="175" y="10"/>
                  </a:lnTo>
                  <a:lnTo>
                    <a:pt x="173" y="14"/>
                  </a:lnTo>
                  <a:lnTo>
                    <a:pt x="171" y="21"/>
                  </a:lnTo>
                  <a:lnTo>
                    <a:pt x="166" y="31"/>
                  </a:lnTo>
                  <a:lnTo>
                    <a:pt x="171" y="33"/>
                  </a:lnTo>
                  <a:lnTo>
                    <a:pt x="194" y="45"/>
                  </a:lnTo>
                  <a:lnTo>
                    <a:pt x="206" y="45"/>
                  </a:lnTo>
                  <a:lnTo>
                    <a:pt x="213" y="57"/>
                  </a:lnTo>
                  <a:lnTo>
                    <a:pt x="220" y="64"/>
                  </a:lnTo>
                  <a:lnTo>
                    <a:pt x="220" y="66"/>
                  </a:lnTo>
                  <a:lnTo>
                    <a:pt x="223" y="71"/>
                  </a:lnTo>
                  <a:lnTo>
                    <a:pt x="227" y="71"/>
                  </a:lnTo>
                  <a:lnTo>
                    <a:pt x="227" y="73"/>
                  </a:lnTo>
                  <a:lnTo>
                    <a:pt x="230" y="78"/>
                  </a:lnTo>
                  <a:lnTo>
                    <a:pt x="237" y="83"/>
                  </a:lnTo>
                  <a:lnTo>
                    <a:pt x="244" y="88"/>
                  </a:lnTo>
                  <a:lnTo>
                    <a:pt x="246" y="90"/>
                  </a:lnTo>
                  <a:lnTo>
                    <a:pt x="253" y="90"/>
                  </a:lnTo>
                  <a:lnTo>
                    <a:pt x="256" y="95"/>
                  </a:lnTo>
                  <a:lnTo>
                    <a:pt x="260" y="97"/>
                  </a:lnTo>
                  <a:lnTo>
                    <a:pt x="263" y="97"/>
                  </a:lnTo>
                  <a:lnTo>
                    <a:pt x="263" y="102"/>
                  </a:lnTo>
                  <a:lnTo>
                    <a:pt x="267" y="104"/>
                  </a:lnTo>
                  <a:lnTo>
                    <a:pt x="270" y="106"/>
                  </a:lnTo>
                  <a:lnTo>
                    <a:pt x="272" y="111"/>
                  </a:lnTo>
                  <a:lnTo>
                    <a:pt x="279" y="111"/>
                  </a:lnTo>
                  <a:lnTo>
                    <a:pt x="291" y="118"/>
                  </a:lnTo>
                  <a:lnTo>
                    <a:pt x="291" y="123"/>
                  </a:lnTo>
                  <a:lnTo>
                    <a:pt x="296" y="130"/>
                  </a:lnTo>
                  <a:lnTo>
                    <a:pt x="300" y="137"/>
                  </a:lnTo>
                  <a:lnTo>
                    <a:pt x="308" y="142"/>
                  </a:lnTo>
                  <a:lnTo>
                    <a:pt x="310" y="144"/>
                  </a:lnTo>
                  <a:lnTo>
                    <a:pt x="319" y="144"/>
                  </a:lnTo>
                  <a:lnTo>
                    <a:pt x="326" y="147"/>
                  </a:lnTo>
                  <a:lnTo>
                    <a:pt x="331" y="151"/>
                  </a:lnTo>
                  <a:lnTo>
                    <a:pt x="341" y="175"/>
                  </a:lnTo>
                  <a:lnTo>
                    <a:pt x="341" y="177"/>
                  </a:lnTo>
                  <a:lnTo>
                    <a:pt x="343" y="184"/>
                  </a:lnTo>
                  <a:lnTo>
                    <a:pt x="348" y="187"/>
                  </a:lnTo>
                  <a:lnTo>
                    <a:pt x="357" y="187"/>
                  </a:lnTo>
                  <a:lnTo>
                    <a:pt x="360" y="194"/>
                  </a:lnTo>
                  <a:lnTo>
                    <a:pt x="367" y="203"/>
                  </a:lnTo>
                  <a:lnTo>
                    <a:pt x="367" y="217"/>
                  </a:lnTo>
                  <a:lnTo>
                    <a:pt x="369" y="220"/>
                  </a:lnTo>
                  <a:lnTo>
                    <a:pt x="376" y="225"/>
                  </a:lnTo>
                  <a:lnTo>
                    <a:pt x="381" y="225"/>
                  </a:lnTo>
                  <a:lnTo>
                    <a:pt x="390" y="227"/>
                  </a:lnTo>
                  <a:lnTo>
                    <a:pt x="397" y="227"/>
                  </a:lnTo>
                  <a:lnTo>
                    <a:pt x="393" y="232"/>
                  </a:lnTo>
                  <a:lnTo>
                    <a:pt x="390" y="241"/>
                  </a:lnTo>
                  <a:lnTo>
                    <a:pt x="388" y="243"/>
                  </a:lnTo>
                  <a:lnTo>
                    <a:pt x="383" y="251"/>
                  </a:lnTo>
                  <a:lnTo>
                    <a:pt x="381" y="258"/>
                  </a:lnTo>
                  <a:lnTo>
                    <a:pt x="381" y="267"/>
                  </a:lnTo>
                  <a:lnTo>
                    <a:pt x="376" y="272"/>
                  </a:lnTo>
                  <a:lnTo>
                    <a:pt x="374" y="274"/>
                  </a:lnTo>
                  <a:lnTo>
                    <a:pt x="367" y="274"/>
                  </a:lnTo>
                  <a:lnTo>
                    <a:pt x="369" y="281"/>
                  </a:lnTo>
                  <a:lnTo>
                    <a:pt x="374" y="277"/>
                  </a:lnTo>
                  <a:lnTo>
                    <a:pt x="376" y="281"/>
                  </a:lnTo>
                  <a:lnTo>
                    <a:pt x="374" y="291"/>
                  </a:lnTo>
                  <a:lnTo>
                    <a:pt x="374" y="295"/>
                  </a:lnTo>
                  <a:lnTo>
                    <a:pt x="376" y="300"/>
                  </a:lnTo>
                  <a:lnTo>
                    <a:pt x="376" y="305"/>
                  </a:lnTo>
                  <a:lnTo>
                    <a:pt x="369" y="312"/>
                  </a:lnTo>
                  <a:lnTo>
                    <a:pt x="367" y="312"/>
                  </a:lnTo>
                  <a:lnTo>
                    <a:pt x="367" y="307"/>
                  </a:lnTo>
                  <a:lnTo>
                    <a:pt x="364" y="307"/>
                  </a:lnTo>
                  <a:lnTo>
                    <a:pt x="364" y="317"/>
                  </a:lnTo>
                  <a:lnTo>
                    <a:pt x="367" y="317"/>
                  </a:lnTo>
                  <a:lnTo>
                    <a:pt x="369" y="324"/>
                  </a:lnTo>
                  <a:lnTo>
                    <a:pt x="367" y="331"/>
                  </a:lnTo>
                  <a:lnTo>
                    <a:pt x="367" y="336"/>
                  </a:lnTo>
                  <a:lnTo>
                    <a:pt x="364" y="336"/>
                  </a:lnTo>
                  <a:lnTo>
                    <a:pt x="364" y="340"/>
                  </a:lnTo>
                  <a:lnTo>
                    <a:pt x="367" y="345"/>
                  </a:lnTo>
                  <a:lnTo>
                    <a:pt x="367" y="352"/>
                  </a:lnTo>
                  <a:lnTo>
                    <a:pt x="364" y="354"/>
                  </a:lnTo>
                  <a:lnTo>
                    <a:pt x="350" y="354"/>
                  </a:lnTo>
                  <a:lnTo>
                    <a:pt x="348" y="352"/>
                  </a:lnTo>
                  <a:lnTo>
                    <a:pt x="343" y="352"/>
                  </a:lnTo>
                  <a:lnTo>
                    <a:pt x="336" y="347"/>
                  </a:lnTo>
                  <a:lnTo>
                    <a:pt x="331" y="352"/>
                  </a:lnTo>
                  <a:lnTo>
                    <a:pt x="326" y="354"/>
                  </a:lnTo>
                  <a:lnTo>
                    <a:pt x="326" y="369"/>
                  </a:lnTo>
                  <a:lnTo>
                    <a:pt x="331" y="369"/>
                  </a:lnTo>
                  <a:lnTo>
                    <a:pt x="331" y="378"/>
                  </a:lnTo>
                  <a:lnTo>
                    <a:pt x="334" y="392"/>
                  </a:lnTo>
                  <a:lnTo>
                    <a:pt x="331" y="392"/>
                  </a:lnTo>
                  <a:lnTo>
                    <a:pt x="324" y="395"/>
                  </a:lnTo>
                  <a:lnTo>
                    <a:pt x="319" y="392"/>
                  </a:lnTo>
                  <a:lnTo>
                    <a:pt x="319" y="388"/>
                  </a:lnTo>
                  <a:lnTo>
                    <a:pt x="317" y="388"/>
                  </a:lnTo>
                  <a:lnTo>
                    <a:pt x="317" y="385"/>
                  </a:lnTo>
                  <a:lnTo>
                    <a:pt x="312" y="378"/>
                  </a:lnTo>
                  <a:lnTo>
                    <a:pt x="296" y="378"/>
                  </a:lnTo>
                  <a:lnTo>
                    <a:pt x="291" y="380"/>
                  </a:lnTo>
                  <a:lnTo>
                    <a:pt x="263" y="385"/>
                  </a:lnTo>
                  <a:lnTo>
                    <a:pt x="253" y="385"/>
                  </a:lnTo>
                  <a:lnTo>
                    <a:pt x="199" y="392"/>
                  </a:lnTo>
                  <a:lnTo>
                    <a:pt x="163" y="397"/>
                  </a:lnTo>
                  <a:lnTo>
                    <a:pt x="142" y="397"/>
                  </a:lnTo>
                  <a:lnTo>
                    <a:pt x="114" y="402"/>
                  </a:lnTo>
                  <a:lnTo>
                    <a:pt x="109" y="402"/>
                  </a:lnTo>
                  <a:lnTo>
                    <a:pt x="107" y="395"/>
                  </a:lnTo>
                  <a:lnTo>
                    <a:pt x="102" y="385"/>
                  </a:lnTo>
                  <a:lnTo>
                    <a:pt x="100" y="380"/>
                  </a:lnTo>
                  <a:lnTo>
                    <a:pt x="100" y="378"/>
                  </a:lnTo>
                  <a:lnTo>
                    <a:pt x="97" y="373"/>
                  </a:lnTo>
                  <a:lnTo>
                    <a:pt x="97" y="371"/>
                  </a:lnTo>
                  <a:lnTo>
                    <a:pt x="93" y="369"/>
                  </a:lnTo>
                  <a:lnTo>
                    <a:pt x="90" y="364"/>
                  </a:lnTo>
                  <a:lnTo>
                    <a:pt x="86" y="357"/>
                  </a:lnTo>
                  <a:lnTo>
                    <a:pt x="90" y="352"/>
                  </a:lnTo>
                  <a:lnTo>
                    <a:pt x="90" y="331"/>
                  </a:lnTo>
                  <a:lnTo>
                    <a:pt x="86" y="329"/>
                  </a:lnTo>
                  <a:lnTo>
                    <a:pt x="86" y="324"/>
                  </a:lnTo>
                  <a:lnTo>
                    <a:pt x="83" y="321"/>
                  </a:lnTo>
                  <a:lnTo>
                    <a:pt x="78" y="317"/>
                  </a:lnTo>
                  <a:lnTo>
                    <a:pt x="78" y="314"/>
                  </a:lnTo>
                  <a:lnTo>
                    <a:pt x="76" y="312"/>
                  </a:lnTo>
                  <a:lnTo>
                    <a:pt x="76" y="300"/>
                  </a:lnTo>
                  <a:lnTo>
                    <a:pt x="78" y="281"/>
                  </a:lnTo>
                  <a:lnTo>
                    <a:pt x="83" y="277"/>
                  </a:lnTo>
                  <a:lnTo>
                    <a:pt x="83" y="274"/>
                  </a:lnTo>
                  <a:lnTo>
                    <a:pt x="86" y="274"/>
                  </a:lnTo>
                  <a:lnTo>
                    <a:pt x="90" y="272"/>
                  </a:lnTo>
                  <a:lnTo>
                    <a:pt x="90" y="267"/>
                  </a:lnTo>
                  <a:lnTo>
                    <a:pt x="86" y="265"/>
                  </a:lnTo>
                  <a:lnTo>
                    <a:pt x="83" y="258"/>
                  </a:lnTo>
                  <a:lnTo>
                    <a:pt x="83" y="255"/>
                  </a:lnTo>
                  <a:lnTo>
                    <a:pt x="78" y="248"/>
                  </a:lnTo>
                  <a:lnTo>
                    <a:pt x="76" y="243"/>
                  </a:lnTo>
                  <a:lnTo>
                    <a:pt x="74" y="241"/>
                  </a:lnTo>
                  <a:lnTo>
                    <a:pt x="69" y="234"/>
                  </a:lnTo>
                  <a:lnTo>
                    <a:pt x="69" y="232"/>
                  </a:lnTo>
                  <a:lnTo>
                    <a:pt x="67" y="227"/>
                  </a:lnTo>
                  <a:lnTo>
                    <a:pt x="62" y="217"/>
                  </a:lnTo>
                  <a:lnTo>
                    <a:pt x="60" y="215"/>
                  </a:lnTo>
                  <a:lnTo>
                    <a:pt x="57" y="210"/>
                  </a:lnTo>
                  <a:lnTo>
                    <a:pt x="57" y="201"/>
                  </a:lnTo>
                  <a:lnTo>
                    <a:pt x="50" y="180"/>
                  </a:lnTo>
                  <a:lnTo>
                    <a:pt x="45" y="177"/>
                  </a:lnTo>
                  <a:lnTo>
                    <a:pt x="45" y="170"/>
                  </a:lnTo>
                  <a:lnTo>
                    <a:pt x="38" y="154"/>
                  </a:lnTo>
                  <a:lnTo>
                    <a:pt x="29" y="121"/>
                  </a:lnTo>
                  <a:lnTo>
                    <a:pt x="26" y="111"/>
                  </a:lnTo>
                  <a:lnTo>
                    <a:pt x="22" y="104"/>
                  </a:lnTo>
                  <a:lnTo>
                    <a:pt x="22" y="102"/>
                  </a:lnTo>
                  <a:lnTo>
                    <a:pt x="10" y="64"/>
                  </a:lnTo>
                  <a:lnTo>
                    <a:pt x="0" y="40"/>
                  </a:lnTo>
                  <a:lnTo>
                    <a:pt x="0" y="33"/>
                  </a:lnTo>
                  <a:lnTo>
                    <a:pt x="12" y="3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8" name="Freeform 213">
              <a:extLst>
                <a:ext uri="{FF2B5EF4-FFF2-40B4-BE49-F238E27FC236}">
                  <a16:creationId xmlns:a16="http://schemas.microsoft.com/office/drawing/2014/main" id="{1F8DD2ED-69AF-4689-9D8F-61DB5958622F}"/>
                </a:ext>
              </a:extLst>
            </p:cNvPr>
            <p:cNvSpPr>
              <a:spLocks/>
            </p:cNvSpPr>
            <p:nvPr/>
          </p:nvSpPr>
          <p:spPr bwMode="gray">
            <a:xfrm rot="47099">
              <a:off x="803398" y="3517680"/>
              <a:ext cx="6510" cy="10695"/>
            </a:xfrm>
            <a:custGeom>
              <a:avLst/>
              <a:gdLst>
                <a:gd name="T0" fmla="*/ 5 w 14"/>
                <a:gd name="T1" fmla="*/ 4 h 23"/>
                <a:gd name="T2" fmla="*/ 5 w 14"/>
                <a:gd name="T3" fmla="*/ 7 h 23"/>
                <a:gd name="T4" fmla="*/ 7 w 14"/>
                <a:gd name="T5" fmla="*/ 7 h 23"/>
                <a:gd name="T6" fmla="*/ 7 w 14"/>
                <a:gd name="T7" fmla="*/ 11 h 23"/>
                <a:gd name="T8" fmla="*/ 10 w 14"/>
                <a:gd name="T9" fmla="*/ 16 h 23"/>
                <a:gd name="T10" fmla="*/ 14 w 14"/>
                <a:gd name="T11" fmla="*/ 21 h 23"/>
                <a:gd name="T12" fmla="*/ 10 w 14"/>
                <a:gd name="T13" fmla="*/ 23 h 23"/>
                <a:gd name="T14" fmla="*/ 7 w 14"/>
                <a:gd name="T15" fmla="*/ 16 h 23"/>
                <a:gd name="T16" fmla="*/ 5 w 14"/>
                <a:gd name="T17" fmla="*/ 16 h 23"/>
                <a:gd name="T18" fmla="*/ 5 w 14"/>
                <a:gd name="T19" fmla="*/ 11 h 23"/>
                <a:gd name="T20" fmla="*/ 0 w 14"/>
                <a:gd name="T21" fmla="*/ 4 h 23"/>
                <a:gd name="T22" fmla="*/ 0 w 14"/>
                <a:gd name="T23" fmla="*/ 0 h 23"/>
                <a:gd name="T24" fmla="*/ 5 w 14"/>
                <a:gd name="T25" fmla="*/ 0 h 23"/>
                <a:gd name="T26" fmla="*/ 5 w 14"/>
                <a:gd name="T27" fmla="*/ 4 h 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3"/>
                <a:gd name="T44" fmla="*/ 14 w 14"/>
                <a:gd name="T45" fmla="*/ 23 h 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3">
                  <a:moveTo>
                    <a:pt x="5" y="4"/>
                  </a:moveTo>
                  <a:lnTo>
                    <a:pt x="5" y="7"/>
                  </a:lnTo>
                  <a:lnTo>
                    <a:pt x="7" y="7"/>
                  </a:lnTo>
                  <a:lnTo>
                    <a:pt x="7" y="11"/>
                  </a:lnTo>
                  <a:lnTo>
                    <a:pt x="10" y="16"/>
                  </a:lnTo>
                  <a:lnTo>
                    <a:pt x="14" y="21"/>
                  </a:lnTo>
                  <a:lnTo>
                    <a:pt x="10" y="23"/>
                  </a:lnTo>
                  <a:lnTo>
                    <a:pt x="7" y="16"/>
                  </a:lnTo>
                  <a:lnTo>
                    <a:pt x="5" y="16"/>
                  </a:lnTo>
                  <a:lnTo>
                    <a:pt x="5" y="11"/>
                  </a:lnTo>
                  <a:lnTo>
                    <a:pt x="0" y="4"/>
                  </a:lnTo>
                  <a:lnTo>
                    <a:pt x="0" y="0"/>
                  </a:lnTo>
                  <a:lnTo>
                    <a:pt x="5" y="0"/>
                  </a:lnTo>
                  <a:lnTo>
                    <a:pt x="5"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29" name="Freeform 214">
              <a:extLst>
                <a:ext uri="{FF2B5EF4-FFF2-40B4-BE49-F238E27FC236}">
                  <a16:creationId xmlns:a16="http://schemas.microsoft.com/office/drawing/2014/main" id="{D827D322-BE19-4B8D-999A-715B3002C9D8}"/>
                </a:ext>
              </a:extLst>
            </p:cNvPr>
            <p:cNvSpPr>
              <a:spLocks/>
            </p:cNvSpPr>
            <p:nvPr/>
          </p:nvSpPr>
          <p:spPr bwMode="gray">
            <a:xfrm rot="47099">
              <a:off x="806916" y="3498678"/>
              <a:ext cx="8835" cy="10230"/>
            </a:xfrm>
            <a:custGeom>
              <a:avLst/>
              <a:gdLst>
                <a:gd name="T0" fmla="*/ 10 w 19"/>
                <a:gd name="T1" fmla="*/ 5 h 22"/>
                <a:gd name="T2" fmla="*/ 10 w 19"/>
                <a:gd name="T3" fmla="*/ 8 h 22"/>
                <a:gd name="T4" fmla="*/ 14 w 19"/>
                <a:gd name="T5" fmla="*/ 12 h 22"/>
                <a:gd name="T6" fmla="*/ 17 w 19"/>
                <a:gd name="T7" fmla="*/ 15 h 22"/>
                <a:gd name="T8" fmla="*/ 19 w 19"/>
                <a:gd name="T9" fmla="*/ 17 h 22"/>
                <a:gd name="T10" fmla="*/ 19 w 19"/>
                <a:gd name="T11" fmla="*/ 22 h 22"/>
                <a:gd name="T12" fmla="*/ 10 w 19"/>
                <a:gd name="T13" fmla="*/ 17 h 22"/>
                <a:gd name="T14" fmla="*/ 0 w 19"/>
                <a:gd name="T15" fmla="*/ 0 h 22"/>
                <a:gd name="T16" fmla="*/ 7 w 19"/>
                <a:gd name="T17" fmla="*/ 0 h 22"/>
                <a:gd name="T18" fmla="*/ 7 w 19"/>
                <a:gd name="T19" fmla="*/ 5 h 22"/>
                <a:gd name="T20" fmla="*/ 10 w 19"/>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22"/>
                <a:gd name="T35" fmla="*/ 19 w 19"/>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22">
                  <a:moveTo>
                    <a:pt x="10" y="5"/>
                  </a:moveTo>
                  <a:lnTo>
                    <a:pt x="10" y="8"/>
                  </a:lnTo>
                  <a:lnTo>
                    <a:pt x="14" y="12"/>
                  </a:lnTo>
                  <a:lnTo>
                    <a:pt x="17" y="15"/>
                  </a:lnTo>
                  <a:lnTo>
                    <a:pt x="19" y="17"/>
                  </a:lnTo>
                  <a:lnTo>
                    <a:pt x="19" y="22"/>
                  </a:lnTo>
                  <a:lnTo>
                    <a:pt x="10" y="17"/>
                  </a:lnTo>
                  <a:lnTo>
                    <a:pt x="0" y="0"/>
                  </a:lnTo>
                  <a:lnTo>
                    <a:pt x="7" y="0"/>
                  </a:lnTo>
                  <a:lnTo>
                    <a:pt x="7" y="5"/>
                  </a:lnTo>
                  <a:lnTo>
                    <a:pt x="10"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0" name="Freeform 215">
              <a:extLst>
                <a:ext uri="{FF2B5EF4-FFF2-40B4-BE49-F238E27FC236}">
                  <a16:creationId xmlns:a16="http://schemas.microsoft.com/office/drawing/2014/main" id="{330480BA-C9E6-4F90-A64C-65CC51586F54}"/>
                </a:ext>
              </a:extLst>
            </p:cNvPr>
            <p:cNvSpPr>
              <a:spLocks/>
            </p:cNvSpPr>
            <p:nvPr/>
          </p:nvSpPr>
          <p:spPr bwMode="gray">
            <a:xfrm rot="47099">
              <a:off x="758124" y="3464056"/>
              <a:ext cx="7906" cy="5579"/>
            </a:xfrm>
            <a:custGeom>
              <a:avLst/>
              <a:gdLst>
                <a:gd name="T0" fmla="*/ 17 w 17"/>
                <a:gd name="T1" fmla="*/ 7 h 12"/>
                <a:gd name="T2" fmla="*/ 17 w 17"/>
                <a:gd name="T3" fmla="*/ 12 h 12"/>
                <a:gd name="T4" fmla="*/ 2 w 17"/>
                <a:gd name="T5" fmla="*/ 12 h 12"/>
                <a:gd name="T6" fmla="*/ 2 w 17"/>
                <a:gd name="T7" fmla="*/ 7 h 12"/>
                <a:gd name="T8" fmla="*/ 0 w 17"/>
                <a:gd name="T9" fmla="*/ 7 h 12"/>
                <a:gd name="T10" fmla="*/ 0 w 17"/>
                <a:gd name="T11" fmla="*/ 0 h 12"/>
                <a:gd name="T12" fmla="*/ 12 w 17"/>
                <a:gd name="T13" fmla="*/ 0 h 12"/>
                <a:gd name="T14" fmla="*/ 12 w 17"/>
                <a:gd name="T15" fmla="*/ 5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7" y="12"/>
                  </a:lnTo>
                  <a:lnTo>
                    <a:pt x="2" y="12"/>
                  </a:lnTo>
                  <a:lnTo>
                    <a:pt x="2" y="7"/>
                  </a:lnTo>
                  <a:lnTo>
                    <a:pt x="0" y="7"/>
                  </a:lnTo>
                  <a:lnTo>
                    <a:pt x="0" y="0"/>
                  </a:lnTo>
                  <a:lnTo>
                    <a:pt x="12" y="0"/>
                  </a:lnTo>
                  <a:lnTo>
                    <a:pt x="12" y="5"/>
                  </a:lnTo>
                  <a:lnTo>
                    <a:pt x="1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1" name="Freeform 216">
              <a:extLst>
                <a:ext uri="{FF2B5EF4-FFF2-40B4-BE49-F238E27FC236}">
                  <a16:creationId xmlns:a16="http://schemas.microsoft.com/office/drawing/2014/main" id="{0DE32090-7742-4AFF-80EB-96F739108F22}"/>
                </a:ext>
              </a:extLst>
            </p:cNvPr>
            <p:cNvSpPr>
              <a:spLocks/>
            </p:cNvSpPr>
            <p:nvPr/>
          </p:nvSpPr>
          <p:spPr bwMode="gray">
            <a:xfrm rot="47099">
              <a:off x="769278" y="3464238"/>
              <a:ext cx="12091" cy="6510"/>
            </a:xfrm>
            <a:custGeom>
              <a:avLst/>
              <a:gdLst>
                <a:gd name="T0" fmla="*/ 9 w 26"/>
                <a:gd name="T1" fmla="*/ 5 h 14"/>
                <a:gd name="T2" fmla="*/ 11 w 26"/>
                <a:gd name="T3" fmla="*/ 7 h 14"/>
                <a:gd name="T4" fmla="*/ 26 w 26"/>
                <a:gd name="T5" fmla="*/ 7 h 14"/>
                <a:gd name="T6" fmla="*/ 26 w 26"/>
                <a:gd name="T7" fmla="*/ 14 h 14"/>
                <a:gd name="T8" fmla="*/ 4 w 26"/>
                <a:gd name="T9" fmla="*/ 14 h 14"/>
                <a:gd name="T10" fmla="*/ 4 w 26"/>
                <a:gd name="T11" fmla="*/ 12 h 14"/>
                <a:gd name="T12" fmla="*/ 2 w 26"/>
                <a:gd name="T13" fmla="*/ 12 h 14"/>
                <a:gd name="T14" fmla="*/ 0 w 26"/>
                <a:gd name="T15" fmla="*/ 7 h 14"/>
                <a:gd name="T16" fmla="*/ 0 w 26"/>
                <a:gd name="T17" fmla="*/ 0 h 14"/>
                <a:gd name="T18" fmla="*/ 2 w 26"/>
                <a:gd name="T19" fmla="*/ 0 h 14"/>
                <a:gd name="T20" fmla="*/ 9 w 26"/>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4"/>
                <a:gd name="T35" fmla="*/ 26 w 2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4">
                  <a:moveTo>
                    <a:pt x="9" y="5"/>
                  </a:moveTo>
                  <a:lnTo>
                    <a:pt x="11" y="7"/>
                  </a:lnTo>
                  <a:lnTo>
                    <a:pt x="26" y="7"/>
                  </a:lnTo>
                  <a:lnTo>
                    <a:pt x="26" y="14"/>
                  </a:lnTo>
                  <a:lnTo>
                    <a:pt x="4" y="14"/>
                  </a:lnTo>
                  <a:lnTo>
                    <a:pt x="4" y="12"/>
                  </a:lnTo>
                  <a:lnTo>
                    <a:pt x="2" y="12"/>
                  </a:lnTo>
                  <a:lnTo>
                    <a:pt x="0" y="7"/>
                  </a:lnTo>
                  <a:lnTo>
                    <a:pt x="0" y="0"/>
                  </a:lnTo>
                  <a:lnTo>
                    <a:pt x="2" y="0"/>
                  </a:lnTo>
                  <a:lnTo>
                    <a:pt x="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2" name="Freeform 217">
              <a:extLst>
                <a:ext uri="{FF2B5EF4-FFF2-40B4-BE49-F238E27FC236}">
                  <a16:creationId xmlns:a16="http://schemas.microsoft.com/office/drawing/2014/main" id="{D5C7B749-DCF7-4A7D-AADC-F73C29A45D53}"/>
                </a:ext>
              </a:extLst>
            </p:cNvPr>
            <p:cNvSpPr>
              <a:spLocks/>
            </p:cNvSpPr>
            <p:nvPr/>
          </p:nvSpPr>
          <p:spPr bwMode="gray">
            <a:xfrm rot="47099">
              <a:off x="692996" y="3107872"/>
              <a:ext cx="274372" cy="450567"/>
            </a:xfrm>
            <a:custGeom>
              <a:avLst/>
              <a:gdLst>
                <a:gd name="T0" fmla="*/ 345 w 590"/>
                <a:gd name="T1" fmla="*/ 943 h 969"/>
                <a:gd name="T2" fmla="*/ 338 w 590"/>
                <a:gd name="T3" fmla="*/ 936 h 969"/>
                <a:gd name="T4" fmla="*/ 338 w 590"/>
                <a:gd name="T5" fmla="*/ 896 h 969"/>
                <a:gd name="T6" fmla="*/ 316 w 590"/>
                <a:gd name="T7" fmla="*/ 858 h 969"/>
                <a:gd name="T8" fmla="*/ 298 w 590"/>
                <a:gd name="T9" fmla="*/ 837 h 969"/>
                <a:gd name="T10" fmla="*/ 281 w 590"/>
                <a:gd name="T11" fmla="*/ 825 h 969"/>
                <a:gd name="T12" fmla="*/ 269 w 590"/>
                <a:gd name="T13" fmla="*/ 801 h 969"/>
                <a:gd name="T14" fmla="*/ 224 w 590"/>
                <a:gd name="T15" fmla="*/ 780 h 969"/>
                <a:gd name="T16" fmla="*/ 201 w 590"/>
                <a:gd name="T17" fmla="*/ 745 h 969"/>
                <a:gd name="T18" fmla="*/ 151 w 590"/>
                <a:gd name="T19" fmla="*/ 728 h 969"/>
                <a:gd name="T20" fmla="*/ 127 w 590"/>
                <a:gd name="T21" fmla="*/ 716 h 969"/>
                <a:gd name="T22" fmla="*/ 132 w 590"/>
                <a:gd name="T23" fmla="*/ 676 h 969"/>
                <a:gd name="T24" fmla="*/ 120 w 590"/>
                <a:gd name="T25" fmla="*/ 648 h 969"/>
                <a:gd name="T26" fmla="*/ 113 w 590"/>
                <a:gd name="T27" fmla="*/ 622 h 969"/>
                <a:gd name="T28" fmla="*/ 97 w 590"/>
                <a:gd name="T29" fmla="*/ 579 h 969"/>
                <a:gd name="T30" fmla="*/ 73 w 590"/>
                <a:gd name="T31" fmla="*/ 539 h 969"/>
                <a:gd name="T32" fmla="*/ 87 w 590"/>
                <a:gd name="T33" fmla="*/ 508 h 969"/>
                <a:gd name="T34" fmla="*/ 71 w 590"/>
                <a:gd name="T35" fmla="*/ 471 h 969"/>
                <a:gd name="T36" fmla="*/ 57 w 590"/>
                <a:gd name="T37" fmla="*/ 421 h 969"/>
                <a:gd name="T38" fmla="*/ 71 w 590"/>
                <a:gd name="T39" fmla="*/ 404 h 969"/>
                <a:gd name="T40" fmla="*/ 83 w 590"/>
                <a:gd name="T41" fmla="*/ 428 h 969"/>
                <a:gd name="T42" fmla="*/ 87 w 590"/>
                <a:gd name="T43" fmla="*/ 378 h 969"/>
                <a:gd name="T44" fmla="*/ 123 w 590"/>
                <a:gd name="T45" fmla="*/ 390 h 969"/>
                <a:gd name="T46" fmla="*/ 137 w 590"/>
                <a:gd name="T47" fmla="*/ 395 h 969"/>
                <a:gd name="T48" fmla="*/ 113 w 590"/>
                <a:gd name="T49" fmla="*/ 386 h 969"/>
                <a:gd name="T50" fmla="*/ 87 w 590"/>
                <a:gd name="T51" fmla="*/ 374 h 969"/>
                <a:gd name="T52" fmla="*/ 71 w 590"/>
                <a:gd name="T53" fmla="*/ 390 h 969"/>
                <a:gd name="T54" fmla="*/ 42 w 590"/>
                <a:gd name="T55" fmla="*/ 369 h 969"/>
                <a:gd name="T56" fmla="*/ 47 w 590"/>
                <a:gd name="T57" fmla="*/ 362 h 969"/>
                <a:gd name="T58" fmla="*/ 26 w 590"/>
                <a:gd name="T59" fmla="*/ 317 h 969"/>
                <a:gd name="T60" fmla="*/ 9 w 590"/>
                <a:gd name="T61" fmla="*/ 274 h 969"/>
                <a:gd name="T62" fmla="*/ 24 w 590"/>
                <a:gd name="T63" fmla="*/ 204 h 969"/>
                <a:gd name="T64" fmla="*/ 9 w 590"/>
                <a:gd name="T65" fmla="*/ 161 h 969"/>
                <a:gd name="T66" fmla="*/ 7 w 590"/>
                <a:gd name="T67" fmla="*/ 123 h 969"/>
                <a:gd name="T68" fmla="*/ 33 w 590"/>
                <a:gd name="T69" fmla="*/ 88 h 969"/>
                <a:gd name="T70" fmla="*/ 50 w 590"/>
                <a:gd name="T71" fmla="*/ 48 h 969"/>
                <a:gd name="T72" fmla="*/ 54 w 590"/>
                <a:gd name="T73" fmla="*/ 0 h 969"/>
                <a:gd name="T74" fmla="*/ 106 w 590"/>
                <a:gd name="T75" fmla="*/ 17 h 969"/>
                <a:gd name="T76" fmla="*/ 144 w 590"/>
                <a:gd name="T77" fmla="*/ 26 h 969"/>
                <a:gd name="T78" fmla="*/ 196 w 590"/>
                <a:gd name="T79" fmla="*/ 41 h 969"/>
                <a:gd name="T80" fmla="*/ 236 w 590"/>
                <a:gd name="T81" fmla="*/ 50 h 969"/>
                <a:gd name="T82" fmla="*/ 274 w 590"/>
                <a:gd name="T83" fmla="*/ 59 h 969"/>
                <a:gd name="T84" fmla="*/ 267 w 590"/>
                <a:gd name="T85" fmla="*/ 298 h 969"/>
                <a:gd name="T86" fmla="*/ 316 w 590"/>
                <a:gd name="T87" fmla="*/ 421 h 969"/>
                <a:gd name="T88" fmla="*/ 397 w 590"/>
                <a:gd name="T89" fmla="*/ 539 h 969"/>
                <a:gd name="T90" fmla="*/ 451 w 590"/>
                <a:gd name="T91" fmla="*/ 612 h 969"/>
                <a:gd name="T92" fmla="*/ 524 w 590"/>
                <a:gd name="T93" fmla="*/ 716 h 969"/>
                <a:gd name="T94" fmla="*/ 564 w 590"/>
                <a:gd name="T95" fmla="*/ 785 h 969"/>
                <a:gd name="T96" fmla="*/ 579 w 590"/>
                <a:gd name="T97" fmla="*/ 818 h 969"/>
                <a:gd name="T98" fmla="*/ 590 w 590"/>
                <a:gd name="T99" fmla="*/ 837 h 969"/>
                <a:gd name="T100" fmla="*/ 560 w 590"/>
                <a:gd name="T101" fmla="*/ 856 h 969"/>
                <a:gd name="T102" fmla="*/ 541 w 590"/>
                <a:gd name="T103" fmla="*/ 905 h 969"/>
                <a:gd name="T104" fmla="*/ 531 w 590"/>
                <a:gd name="T105" fmla="*/ 936 h 969"/>
                <a:gd name="T106" fmla="*/ 539 w 590"/>
                <a:gd name="T107" fmla="*/ 969 h 969"/>
                <a:gd name="T108" fmla="*/ 458 w 590"/>
                <a:gd name="T109" fmla="*/ 960 h 969"/>
                <a:gd name="T110" fmla="*/ 345 w 590"/>
                <a:gd name="T111" fmla="*/ 950 h 96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0"/>
                <a:gd name="T169" fmla="*/ 0 h 969"/>
                <a:gd name="T170" fmla="*/ 590 w 590"/>
                <a:gd name="T171" fmla="*/ 969 h 96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0" h="969">
                  <a:moveTo>
                    <a:pt x="345" y="950"/>
                  </a:moveTo>
                  <a:lnTo>
                    <a:pt x="345" y="945"/>
                  </a:lnTo>
                  <a:lnTo>
                    <a:pt x="340" y="936"/>
                  </a:lnTo>
                  <a:lnTo>
                    <a:pt x="340" y="934"/>
                  </a:lnTo>
                  <a:lnTo>
                    <a:pt x="340" y="936"/>
                  </a:lnTo>
                  <a:lnTo>
                    <a:pt x="345" y="943"/>
                  </a:lnTo>
                  <a:lnTo>
                    <a:pt x="347" y="943"/>
                  </a:lnTo>
                  <a:lnTo>
                    <a:pt x="347" y="938"/>
                  </a:lnTo>
                  <a:lnTo>
                    <a:pt x="345" y="936"/>
                  </a:lnTo>
                  <a:lnTo>
                    <a:pt x="340" y="934"/>
                  </a:lnTo>
                  <a:lnTo>
                    <a:pt x="338" y="934"/>
                  </a:lnTo>
                  <a:lnTo>
                    <a:pt x="338" y="936"/>
                  </a:lnTo>
                  <a:lnTo>
                    <a:pt x="333" y="934"/>
                  </a:lnTo>
                  <a:lnTo>
                    <a:pt x="338" y="934"/>
                  </a:lnTo>
                  <a:lnTo>
                    <a:pt x="338" y="922"/>
                  </a:lnTo>
                  <a:lnTo>
                    <a:pt x="340" y="919"/>
                  </a:lnTo>
                  <a:lnTo>
                    <a:pt x="340" y="910"/>
                  </a:lnTo>
                  <a:lnTo>
                    <a:pt x="338" y="896"/>
                  </a:lnTo>
                  <a:lnTo>
                    <a:pt x="338" y="893"/>
                  </a:lnTo>
                  <a:lnTo>
                    <a:pt x="333" y="882"/>
                  </a:lnTo>
                  <a:lnTo>
                    <a:pt x="331" y="877"/>
                  </a:lnTo>
                  <a:lnTo>
                    <a:pt x="331" y="872"/>
                  </a:lnTo>
                  <a:lnTo>
                    <a:pt x="321" y="863"/>
                  </a:lnTo>
                  <a:lnTo>
                    <a:pt x="316" y="858"/>
                  </a:lnTo>
                  <a:lnTo>
                    <a:pt x="309" y="853"/>
                  </a:lnTo>
                  <a:lnTo>
                    <a:pt x="307" y="846"/>
                  </a:lnTo>
                  <a:lnTo>
                    <a:pt x="305" y="841"/>
                  </a:lnTo>
                  <a:lnTo>
                    <a:pt x="300" y="841"/>
                  </a:lnTo>
                  <a:lnTo>
                    <a:pt x="300" y="839"/>
                  </a:lnTo>
                  <a:lnTo>
                    <a:pt x="298" y="837"/>
                  </a:lnTo>
                  <a:lnTo>
                    <a:pt x="298" y="832"/>
                  </a:lnTo>
                  <a:lnTo>
                    <a:pt x="293" y="832"/>
                  </a:lnTo>
                  <a:lnTo>
                    <a:pt x="293" y="830"/>
                  </a:lnTo>
                  <a:lnTo>
                    <a:pt x="290" y="825"/>
                  </a:lnTo>
                  <a:lnTo>
                    <a:pt x="283" y="823"/>
                  </a:lnTo>
                  <a:lnTo>
                    <a:pt x="281" y="825"/>
                  </a:lnTo>
                  <a:lnTo>
                    <a:pt x="276" y="825"/>
                  </a:lnTo>
                  <a:lnTo>
                    <a:pt x="269" y="823"/>
                  </a:lnTo>
                  <a:lnTo>
                    <a:pt x="269" y="818"/>
                  </a:lnTo>
                  <a:lnTo>
                    <a:pt x="274" y="815"/>
                  </a:lnTo>
                  <a:lnTo>
                    <a:pt x="269" y="808"/>
                  </a:lnTo>
                  <a:lnTo>
                    <a:pt x="269" y="801"/>
                  </a:lnTo>
                  <a:lnTo>
                    <a:pt x="267" y="797"/>
                  </a:lnTo>
                  <a:lnTo>
                    <a:pt x="264" y="792"/>
                  </a:lnTo>
                  <a:lnTo>
                    <a:pt x="243" y="792"/>
                  </a:lnTo>
                  <a:lnTo>
                    <a:pt x="236" y="785"/>
                  </a:lnTo>
                  <a:lnTo>
                    <a:pt x="234" y="785"/>
                  </a:lnTo>
                  <a:lnTo>
                    <a:pt x="224" y="780"/>
                  </a:lnTo>
                  <a:lnTo>
                    <a:pt x="220" y="775"/>
                  </a:lnTo>
                  <a:lnTo>
                    <a:pt x="217" y="773"/>
                  </a:lnTo>
                  <a:lnTo>
                    <a:pt x="217" y="766"/>
                  </a:lnTo>
                  <a:lnTo>
                    <a:pt x="213" y="761"/>
                  </a:lnTo>
                  <a:lnTo>
                    <a:pt x="208" y="752"/>
                  </a:lnTo>
                  <a:lnTo>
                    <a:pt x="201" y="745"/>
                  </a:lnTo>
                  <a:lnTo>
                    <a:pt x="196" y="745"/>
                  </a:lnTo>
                  <a:lnTo>
                    <a:pt x="196" y="742"/>
                  </a:lnTo>
                  <a:lnTo>
                    <a:pt x="194" y="742"/>
                  </a:lnTo>
                  <a:lnTo>
                    <a:pt x="179" y="740"/>
                  </a:lnTo>
                  <a:lnTo>
                    <a:pt x="161" y="728"/>
                  </a:lnTo>
                  <a:lnTo>
                    <a:pt x="151" y="728"/>
                  </a:lnTo>
                  <a:lnTo>
                    <a:pt x="144" y="726"/>
                  </a:lnTo>
                  <a:lnTo>
                    <a:pt x="137" y="726"/>
                  </a:lnTo>
                  <a:lnTo>
                    <a:pt x="132" y="721"/>
                  </a:lnTo>
                  <a:lnTo>
                    <a:pt x="132" y="719"/>
                  </a:lnTo>
                  <a:lnTo>
                    <a:pt x="130" y="716"/>
                  </a:lnTo>
                  <a:lnTo>
                    <a:pt x="127" y="716"/>
                  </a:lnTo>
                  <a:lnTo>
                    <a:pt x="127" y="704"/>
                  </a:lnTo>
                  <a:lnTo>
                    <a:pt x="130" y="704"/>
                  </a:lnTo>
                  <a:lnTo>
                    <a:pt x="130" y="702"/>
                  </a:lnTo>
                  <a:lnTo>
                    <a:pt x="132" y="688"/>
                  </a:lnTo>
                  <a:lnTo>
                    <a:pt x="130" y="686"/>
                  </a:lnTo>
                  <a:lnTo>
                    <a:pt x="132" y="676"/>
                  </a:lnTo>
                  <a:lnTo>
                    <a:pt x="137" y="669"/>
                  </a:lnTo>
                  <a:lnTo>
                    <a:pt x="137" y="662"/>
                  </a:lnTo>
                  <a:lnTo>
                    <a:pt x="132" y="660"/>
                  </a:lnTo>
                  <a:lnTo>
                    <a:pt x="130" y="660"/>
                  </a:lnTo>
                  <a:lnTo>
                    <a:pt x="123" y="652"/>
                  </a:lnTo>
                  <a:lnTo>
                    <a:pt x="120" y="648"/>
                  </a:lnTo>
                  <a:lnTo>
                    <a:pt x="123" y="645"/>
                  </a:lnTo>
                  <a:lnTo>
                    <a:pt x="127" y="643"/>
                  </a:lnTo>
                  <a:lnTo>
                    <a:pt x="123" y="631"/>
                  </a:lnTo>
                  <a:lnTo>
                    <a:pt x="116" y="629"/>
                  </a:lnTo>
                  <a:lnTo>
                    <a:pt x="116" y="624"/>
                  </a:lnTo>
                  <a:lnTo>
                    <a:pt x="113" y="622"/>
                  </a:lnTo>
                  <a:lnTo>
                    <a:pt x="111" y="608"/>
                  </a:lnTo>
                  <a:lnTo>
                    <a:pt x="104" y="603"/>
                  </a:lnTo>
                  <a:lnTo>
                    <a:pt x="104" y="596"/>
                  </a:lnTo>
                  <a:lnTo>
                    <a:pt x="97" y="589"/>
                  </a:lnTo>
                  <a:lnTo>
                    <a:pt x="92" y="582"/>
                  </a:lnTo>
                  <a:lnTo>
                    <a:pt x="97" y="579"/>
                  </a:lnTo>
                  <a:lnTo>
                    <a:pt x="92" y="574"/>
                  </a:lnTo>
                  <a:lnTo>
                    <a:pt x="92" y="572"/>
                  </a:lnTo>
                  <a:lnTo>
                    <a:pt x="83" y="551"/>
                  </a:lnTo>
                  <a:lnTo>
                    <a:pt x="80" y="549"/>
                  </a:lnTo>
                  <a:lnTo>
                    <a:pt x="75" y="546"/>
                  </a:lnTo>
                  <a:lnTo>
                    <a:pt x="73" y="539"/>
                  </a:lnTo>
                  <a:lnTo>
                    <a:pt x="73" y="511"/>
                  </a:lnTo>
                  <a:lnTo>
                    <a:pt x="80" y="508"/>
                  </a:lnTo>
                  <a:lnTo>
                    <a:pt x="80" y="511"/>
                  </a:lnTo>
                  <a:lnTo>
                    <a:pt x="83" y="511"/>
                  </a:lnTo>
                  <a:lnTo>
                    <a:pt x="83" y="508"/>
                  </a:lnTo>
                  <a:lnTo>
                    <a:pt x="87" y="508"/>
                  </a:lnTo>
                  <a:lnTo>
                    <a:pt x="90" y="501"/>
                  </a:lnTo>
                  <a:lnTo>
                    <a:pt x="90" y="487"/>
                  </a:lnTo>
                  <a:lnTo>
                    <a:pt x="87" y="482"/>
                  </a:lnTo>
                  <a:lnTo>
                    <a:pt x="83" y="478"/>
                  </a:lnTo>
                  <a:lnTo>
                    <a:pt x="73" y="478"/>
                  </a:lnTo>
                  <a:lnTo>
                    <a:pt x="71" y="471"/>
                  </a:lnTo>
                  <a:lnTo>
                    <a:pt x="66" y="471"/>
                  </a:lnTo>
                  <a:lnTo>
                    <a:pt x="57" y="452"/>
                  </a:lnTo>
                  <a:lnTo>
                    <a:pt x="57" y="445"/>
                  </a:lnTo>
                  <a:lnTo>
                    <a:pt x="59" y="442"/>
                  </a:lnTo>
                  <a:lnTo>
                    <a:pt x="59" y="426"/>
                  </a:lnTo>
                  <a:lnTo>
                    <a:pt x="57" y="421"/>
                  </a:lnTo>
                  <a:lnTo>
                    <a:pt x="57" y="414"/>
                  </a:lnTo>
                  <a:lnTo>
                    <a:pt x="64" y="402"/>
                  </a:lnTo>
                  <a:lnTo>
                    <a:pt x="64" y="397"/>
                  </a:lnTo>
                  <a:lnTo>
                    <a:pt x="71" y="397"/>
                  </a:lnTo>
                  <a:lnTo>
                    <a:pt x="73" y="402"/>
                  </a:lnTo>
                  <a:lnTo>
                    <a:pt x="71" y="404"/>
                  </a:lnTo>
                  <a:lnTo>
                    <a:pt x="71" y="411"/>
                  </a:lnTo>
                  <a:lnTo>
                    <a:pt x="66" y="414"/>
                  </a:lnTo>
                  <a:lnTo>
                    <a:pt x="83" y="435"/>
                  </a:lnTo>
                  <a:lnTo>
                    <a:pt x="90" y="435"/>
                  </a:lnTo>
                  <a:lnTo>
                    <a:pt x="87" y="435"/>
                  </a:lnTo>
                  <a:lnTo>
                    <a:pt x="83" y="428"/>
                  </a:lnTo>
                  <a:lnTo>
                    <a:pt x="83" y="411"/>
                  </a:lnTo>
                  <a:lnTo>
                    <a:pt x="80" y="404"/>
                  </a:lnTo>
                  <a:lnTo>
                    <a:pt x="75" y="397"/>
                  </a:lnTo>
                  <a:lnTo>
                    <a:pt x="73" y="386"/>
                  </a:lnTo>
                  <a:lnTo>
                    <a:pt x="75" y="381"/>
                  </a:lnTo>
                  <a:lnTo>
                    <a:pt x="87" y="378"/>
                  </a:lnTo>
                  <a:lnTo>
                    <a:pt x="90" y="381"/>
                  </a:lnTo>
                  <a:lnTo>
                    <a:pt x="104" y="381"/>
                  </a:lnTo>
                  <a:lnTo>
                    <a:pt x="106" y="386"/>
                  </a:lnTo>
                  <a:lnTo>
                    <a:pt x="111" y="388"/>
                  </a:lnTo>
                  <a:lnTo>
                    <a:pt x="113" y="388"/>
                  </a:lnTo>
                  <a:lnTo>
                    <a:pt x="123" y="390"/>
                  </a:lnTo>
                  <a:lnTo>
                    <a:pt x="127" y="390"/>
                  </a:lnTo>
                  <a:lnTo>
                    <a:pt x="127" y="388"/>
                  </a:lnTo>
                  <a:lnTo>
                    <a:pt x="130" y="388"/>
                  </a:lnTo>
                  <a:lnTo>
                    <a:pt x="137" y="395"/>
                  </a:lnTo>
                  <a:lnTo>
                    <a:pt x="139" y="397"/>
                  </a:lnTo>
                  <a:lnTo>
                    <a:pt x="137" y="395"/>
                  </a:lnTo>
                  <a:lnTo>
                    <a:pt x="132" y="388"/>
                  </a:lnTo>
                  <a:lnTo>
                    <a:pt x="130" y="386"/>
                  </a:lnTo>
                  <a:lnTo>
                    <a:pt x="127" y="386"/>
                  </a:lnTo>
                  <a:lnTo>
                    <a:pt x="123" y="388"/>
                  </a:lnTo>
                  <a:lnTo>
                    <a:pt x="120" y="388"/>
                  </a:lnTo>
                  <a:lnTo>
                    <a:pt x="113" y="386"/>
                  </a:lnTo>
                  <a:lnTo>
                    <a:pt x="111" y="386"/>
                  </a:lnTo>
                  <a:lnTo>
                    <a:pt x="104" y="381"/>
                  </a:lnTo>
                  <a:lnTo>
                    <a:pt x="104" y="374"/>
                  </a:lnTo>
                  <a:lnTo>
                    <a:pt x="99" y="378"/>
                  </a:lnTo>
                  <a:lnTo>
                    <a:pt x="92" y="381"/>
                  </a:lnTo>
                  <a:lnTo>
                    <a:pt x="87" y="374"/>
                  </a:lnTo>
                  <a:lnTo>
                    <a:pt x="83" y="371"/>
                  </a:lnTo>
                  <a:lnTo>
                    <a:pt x="80" y="369"/>
                  </a:lnTo>
                  <a:lnTo>
                    <a:pt x="71" y="369"/>
                  </a:lnTo>
                  <a:lnTo>
                    <a:pt x="66" y="386"/>
                  </a:lnTo>
                  <a:lnTo>
                    <a:pt x="71" y="388"/>
                  </a:lnTo>
                  <a:lnTo>
                    <a:pt x="71" y="390"/>
                  </a:lnTo>
                  <a:lnTo>
                    <a:pt x="66" y="395"/>
                  </a:lnTo>
                  <a:lnTo>
                    <a:pt x="64" y="395"/>
                  </a:lnTo>
                  <a:lnTo>
                    <a:pt x="54" y="386"/>
                  </a:lnTo>
                  <a:lnTo>
                    <a:pt x="47" y="374"/>
                  </a:lnTo>
                  <a:lnTo>
                    <a:pt x="47" y="371"/>
                  </a:lnTo>
                  <a:lnTo>
                    <a:pt x="42" y="369"/>
                  </a:lnTo>
                  <a:lnTo>
                    <a:pt x="40" y="364"/>
                  </a:lnTo>
                  <a:lnTo>
                    <a:pt x="35" y="364"/>
                  </a:lnTo>
                  <a:lnTo>
                    <a:pt x="42" y="357"/>
                  </a:lnTo>
                  <a:lnTo>
                    <a:pt x="47" y="364"/>
                  </a:lnTo>
                  <a:lnTo>
                    <a:pt x="50" y="364"/>
                  </a:lnTo>
                  <a:lnTo>
                    <a:pt x="47" y="362"/>
                  </a:lnTo>
                  <a:lnTo>
                    <a:pt x="42" y="345"/>
                  </a:lnTo>
                  <a:lnTo>
                    <a:pt x="35" y="329"/>
                  </a:lnTo>
                  <a:lnTo>
                    <a:pt x="35" y="324"/>
                  </a:lnTo>
                  <a:lnTo>
                    <a:pt x="33" y="324"/>
                  </a:lnTo>
                  <a:lnTo>
                    <a:pt x="31" y="317"/>
                  </a:lnTo>
                  <a:lnTo>
                    <a:pt x="26" y="317"/>
                  </a:lnTo>
                  <a:lnTo>
                    <a:pt x="26" y="315"/>
                  </a:lnTo>
                  <a:lnTo>
                    <a:pt x="24" y="308"/>
                  </a:lnTo>
                  <a:lnTo>
                    <a:pt x="19" y="298"/>
                  </a:lnTo>
                  <a:lnTo>
                    <a:pt x="16" y="291"/>
                  </a:lnTo>
                  <a:lnTo>
                    <a:pt x="14" y="282"/>
                  </a:lnTo>
                  <a:lnTo>
                    <a:pt x="9" y="274"/>
                  </a:lnTo>
                  <a:lnTo>
                    <a:pt x="9" y="272"/>
                  </a:lnTo>
                  <a:lnTo>
                    <a:pt x="14" y="267"/>
                  </a:lnTo>
                  <a:lnTo>
                    <a:pt x="14" y="234"/>
                  </a:lnTo>
                  <a:lnTo>
                    <a:pt x="16" y="225"/>
                  </a:lnTo>
                  <a:lnTo>
                    <a:pt x="19" y="220"/>
                  </a:lnTo>
                  <a:lnTo>
                    <a:pt x="24" y="204"/>
                  </a:lnTo>
                  <a:lnTo>
                    <a:pt x="19" y="197"/>
                  </a:lnTo>
                  <a:lnTo>
                    <a:pt x="19" y="192"/>
                  </a:lnTo>
                  <a:lnTo>
                    <a:pt x="16" y="180"/>
                  </a:lnTo>
                  <a:lnTo>
                    <a:pt x="14" y="168"/>
                  </a:lnTo>
                  <a:lnTo>
                    <a:pt x="14" y="163"/>
                  </a:lnTo>
                  <a:lnTo>
                    <a:pt x="9" y="161"/>
                  </a:lnTo>
                  <a:lnTo>
                    <a:pt x="7" y="156"/>
                  </a:lnTo>
                  <a:lnTo>
                    <a:pt x="2" y="152"/>
                  </a:lnTo>
                  <a:lnTo>
                    <a:pt x="0" y="145"/>
                  </a:lnTo>
                  <a:lnTo>
                    <a:pt x="2" y="145"/>
                  </a:lnTo>
                  <a:lnTo>
                    <a:pt x="2" y="130"/>
                  </a:lnTo>
                  <a:lnTo>
                    <a:pt x="7" y="123"/>
                  </a:lnTo>
                  <a:lnTo>
                    <a:pt x="7" y="116"/>
                  </a:lnTo>
                  <a:lnTo>
                    <a:pt x="14" y="111"/>
                  </a:lnTo>
                  <a:lnTo>
                    <a:pt x="16" y="107"/>
                  </a:lnTo>
                  <a:lnTo>
                    <a:pt x="19" y="107"/>
                  </a:lnTo>
                  <a:lnTo>
                    <a:pt x="26" y="104"/>
                  </a:lnTo>
                  <a:lnTo>
                    <a:pt x="33" y="88"/>
                  </a:lnTo>
                  <a:lnTo>
                    <a:pt x="33" y="81"/>
                  </a:lnTo>
                  <a:lnTo>
                    <a:pt x="40" y="67"/>
                  </a:lnTo>
                  <a:lnTo>
                    <a:pt x="42" y="57"/>
                  </a:lnTo>
                  <a:lnTo>
                    <a:pt x="47" y="55"/>
                  </a:lnTo>
                  <a:lnTo>
                    <a:pt x="47" y="50"/>
                  </a:lnTo>
                  <a:lnTo>
                    <a:pt x="50" y="48"/>
                  </a:lnTo>
                  <a:lnTo>
                    <a:pt x="50" y="26"/>
                  </a:lnTo>
                  <a:lnTo>
                    <a:pt x="47" y="19"/>
                  </a:lnTo>
                  <a:lnTo>
                    <a:pt x="47" y="15"/>
                  </a:lnTo>
                  <a:lnTo>
                    <a:pt x="50" y="10"/>
                  </a:lnTo>
                  <a:lnTo>
                    <a:pt x="54" y="3"/>
                  </a:lnTo>
                  <a:lnTo>
                    <a:pt x="54" y="0"/>
                  </a:lnTo>
                  <a:lnTo>
                    <a:pt x="66" y="3"/>
                  </a:lnTo>
                  <a:lnTo>
                    <a:pt x="73" y="3"/>
                  </a:lnTo>
                  <a:lnTo>
                    <a:pt x="92" y="10"/>
                  </a:lnTo>
                  <a:lnTo>
                    <a:pt x="97" y="15"/>
                  </a:lnTo>
                  <a:lnTo>
                    <a:pt x="104" y="15"/>
                  </a:lnTo>
                  <a:lnTo>
                    <a:pt x="106" y="17"/>
                  </a:lnTo>
                  <a:lnTo>
                    <a:pt x="116" y="17"/>
                  </a:lnTo>
                  <a:lnTo>
                    <a:pt x="120" y="19"/>
                  </a:lnTo>
                  <a:lnTo>
                    <a:pt x="123" y="19"/>
                  </a:lnTo>
                  <a:lnTo>
                    <a:pt x="132" y="24"/>
                  </a:lnTo>
                  <a:lnTo>
                    <a:pt x="139" y="24"/>
                  </a:lnTo>
                  <a:lnTo>
                    <a:pt x="144" y="26"/>
                  </a:lnTo>
                  <a:lnTo>
                    <a:pt x="153" y="26"/>
                  </a:lnTo>
                  <a:lnTo>
                    <a:pt x="156" y="31"/>
                  </a:lnTo>
                  <a:lnTo>
                    <a:pt x="177" y="38"/>
                  </a:lnTo>
                  <a:lnTo>
                    <a:pt x="184" y="38"/>
                  </a:lnTo>
                  <a:lnTo>
                    <a:pt x="189" y="41"/>
                  </a:lnTo>
                  <a:lnTo>
                    <a:pt x="196" y="41"/>
                  </a:lnTo>
                  <a:lnTo>
                    <a:pt x="203" y="43"/>
                  </a:lnTo>
                  <a:lnTo>
                    <a:pt x="213" y="43"/>
                  </a:lnTo>
                  <a:lnTo>
                    <a:pt x="220" y="48"/>
                  </a:lnTo>
                  <a:lnTo>
                    <a:pt x="224" y="48"/>
                  </a:lnTo>
                  <a:lnTo>
                    <a:pt x="227" y="50"/>
                  </a:lnTo>
                  <a:lnTo>
                    <a:pt x="236" y="50"/>
                  </a:lnTo>
                  <a:lnTo>
                    <a:pt x="243" y="55"/>
                  </a:lnTo>
                  <a:lnTo>
                    <a:pt x="248" y="55"/>
                  </a:lnTo>
                  <a:lnTo>
                    <a:pt x="250" y="57"/>
                  </a:lnTo>
                  <a:lnTo>
                    <a:pt x="260" y="57"/>
                  </a:lnTo>
                  <a:lnTo>
                    <a:pt x="264" y="59"/>
                  </a:lnTo>
                  <a:lnTo>
                    <a:pt x="274" y="59"/>
                  </a:lnTo>
                  <a:lnTo>
                    <a:pt x="298" y="67"/>
                  </a:lnTo>
                  <a:lnTo>
                    <a:pt x="316" y="74"/>
                  </a:lnTo>
                  <a:lnTo>
                    <a:pt x="286" y="211"/>
                  </a:lnTo>
                  <a:lnTo>
                    <a:pt x="274" y="260"/>
                  </a:lnTo>
                  <a:lnTo>
                    <a:pt x="267" y="289"/>
                  </a:lnTo>
                  <a:lnTo>
                    <a:pt x="267" y="298"/>
                  </a:lnTo>
                  <a:lnTo>
                    <a:pt x="264" y="308"/>
                  </a:lnTo>
                  <a:lnTo>
                    <a:pt x="257" y="334"/>
                  </a:lnTo>
                  <a:lnTo>
                    <a:pt x="267" y="348"/>
                  </a:lnTo>
                  <a:lnTo>
                    <a:pt x="283" y="371"/>
                  </a:lnTo>
                  <a:lnTo>
                    <a:pt x="309" y="411"/>
                  </a:lnTo>
                  <a:lnTo>
                    <a:pt x="316" y="421"/>
                  </a:lnTo>
                  <a:lnTo>
                    <a:pt x="345" y="461"/>
                  </a:lnTo>
                  <a:lnTo>
                    <a:pt x="354" y="475"/>
                  </a:lnTo>
                  <a:lnTo>
                    <a:pt x="371" y="499"/>
                  </a:lnTo>
                  <a:lnTo>
                    <a:pt x="380" y="511"/>
                  </a:lnTo>
                  <a:lnTo>
                    <a:pt x="390" y="525"/>
                  </a:lnTo>
                  <a:lnTo>
                    <a:pt x="397" y="539"/>
                  </a:lnTo>
                  <a:lnTo>
                    <a:pt x="406" y="549"/>
                  </a:lnTo>
                  <a:lnTo>
                    <a:pt x="418" y="563"/>
                  </a:lnTo>
                  <a:lnTo>
                    <a:pt x="423" y="574"/>
                  </a:lnTo>
                  <a:lnTo>
                    <a:pt x="435" y="589"/>
                  </a:lnTo>
                  <a:lnTo>
                    <a:pt x="444" y="598"/>
                  </a:lnTo>
                  <a:lnTo>
                    <a:pt x="451" y="612"/>
                  </a:lnTo>
                  <a:lnTo>
                    <a:pt x="468" y="636"/>
                  </a:lnTo>
                  <a:lnTo>
                    <a:pt x="477" y="652"/>
                  </a:lnTo>
                  <a:lnTo>
                    <a:pt x="487" y="664"/>
                  </a:lnTo>
                  <a:lnTo>
                    <a:pt x="494" y="671"/>
                  </a:lnTo>
                  <a:lnTo>
                    <a:pt x="508" y="688"/>
                  </a:lnTo>
                  <a:lnTo>
                    <a:pt x="524" y="716"/>
                  </a:lnTo>
                  <a:lnTo>
                    <a:pt x="531" y="726"/>
                  </a:lnTo>
                  <a:lnTo>
                    <a:pt x="541" y="735"/>
                  </a:lnTo>
                  <a:lnTo>
                    <a:pt x="560" y="766"/>
                  </a:lnTo>
                  <a:lnTo>
                    <a:pt x="564" y="768"/>
                  </a:lnTo>
                  <a:lnTo>
                    <a:pt x="560" y="780"/>
                  </a:lnTo>
                  <a:lnTo>
                    <a:pt x="564" y="785"/>
                  </a:lnTo>
                  <a:lnTo>
                    <a:pt x="567" y="789"/>
                  </a:lnTo>
                  <a:lnTo>
                    <a:pt x="572" y="797"/>
                  </a:lnTo>
                  <a:lnTo>
                    <a:pt x="572" y="801"/>
                  </a:lnTo>
                  <a:lnTo>
                    <a:pt x="574" y="808"/>
                  </a:lnTo>
                  <a:lnTo>
                    <a:pt x="574" y="813"/>
                  </a:lnTo>
                  <a:lnTo>
                    <a:pt x="579" y="818"/>
                  </a:lnTo>
                  <a:lnTo>
                    <a:pt x="581" y="823"/>
                  </a:lnTo>
                  <a:lnTo>
                    <a:pt x="583" y="825"/>
                  </a:lnTo>
                  <a:lnTo>
                    <a:pt x="583" y="830"/>
                  </a:lnTo>
                  <a:lnTo>
                    <a:pt x="588" y="830"/>
                  </a:lnTo>
                  <a:lnTo>
                    <a:pt x="588" y="832"/>
                  </a:lnTo>
                  <a:lnTo>
                    <a:pt x="590" y="837"/>
                  </a:lnTo>
                  <a:lnTo>
                    <a:pt x="581" y="841"/>
                  </a:lnTo>
                  <a:lnTo>
                    <a:pt x="574" y="846"/>
                  </a:lnTo>
                  <a:lnTo>
                    <a:pt x="572" y="849"/>
                  </a:lnTo>
                  <a:lnTo>
                    <a:pt x="567" y="849"/>
                  </a:lnTo>
                  <a:lnTo>
                    <a:pt x="564" y="856"/>
                  </a:lnTo>
                  <a:lnTo>
                    <a:pt x="560" y="856"/>
                  </a:lnTo>
                  <a:lnTo>
                    <a:pt x="560" y="858"/>
                  </a:lnTo>
                  <a:lnTo>
                    <a:pt x="557" y="858"/>
                  </a:lnTo>
                  <a:lnTo>
                    <a:pt x="555" y="863"/>
                  </a:lnTo>
                  <a:lnTo>
                    <a:pt x="555" y="882"/>
                  </a:lnTo>
                  <a:lnTo>
                    <a:pt x="550" y="896"/>
                  </a:lnTo>
                  <a:lnTo>
                    <a:pt x="541" y="905"/>
                  </a:lnTo>
                  <a:lnTo>
                    <a:pt x="534" y="905"/>
                  </a:lnTo>
                  <a:lnTo>
                    <a:pt x="531" y="912"/>
                  </a:lnTo>
                  <a:lnTo>
                    <a:pt x="534" y="919"/>
                  </a:lnTo>
                  <a:lnTo>
                    <a:pt x="534" y="929"/>
                  </a:lnTo>
                  <a:lnTo>
                    <a:pt x="531" y="934"/>
                  </a:lnTo>
                  <a:lnTo>
                    <a:pt x="531" y="936"/>
                  </a:lnTo>
                  <a:lnTo>
                    <a:pt x="534" y="938"/>
                  </a:lnTo>
                  <a:lnTo>
                    <a:pt x="539" y="943"/>
                  </a:lnTo>
                  <a:lnTo>
                    <a:pt x="543" y="943"/>
                  </a:lnTo>
                  <a:lnTo>
                    <a:pt x="548" y="950"/>
                  </a:lnTo>
                  <a:lnTo>
                    <a:pt x="543" y="955"/>
                  </a:lnTo>
                  <a:lnTo>
                    <a:pt x="539" y="969"/>
                  </a:lnTo>
                  <a:lnTo>
                    <a:pt x="534" y="969"/>
                  </a:lnTo>
                  <a:lnTo>
                    <a:pt x="534" y="967"/>
                  </a:lnTo>
                  <a:lnTo>
                    <a:pt x="501" y="967"/>
                  </a:lnTo>
                  <a:lnTo>
                    <a:pt x="487" y="962"/>
                  </a:lnTo>
                  <a:lnTo>
                    <a:pt x="475" y="962"/>
                  </a:lnTo>
                  <a:lnTo>
                    <a:pt x="458" y="960"/>
                  </a:lnTo>
                  <a:lnTo>
                    <a:pt x="435" y="960"/>
                  </a:lnTo>
                  <a:lnTo>
                    <a:pt x="411" y="955"/>
                  </a:lnTo>
                  <a:lnTo>
                    <a:pt x="390" y="952"/>
                  </a:lnTo>
                  <a:lnTo>
                    <a:pt x="361" y="952"/>
                  </a:lnTo>
                  <a:lnTo>
                    <a:pt x="347" y="950"/>
                  </a:lnTo>
                  <a:lnTo>
                    <a:pt x="345" y="95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3" name="Rectangle 218">
              <a:extLst>
                <a:ext uri="{FF2B5EF4-FFF2-40B4-BE49-F238E27FC236}">
                  <a16:creationId xmlns:a16="http://schemas.microsoft.com/office/drawing/2014/main" id="{28BCAC5F-EAED-4654-B4B6-D871FE6868DA}"/>
                </a:ext>
              </a:extLst>
            </p:cNvPr>
            <p:cNvSpPr>
              <a:spLocks noChangeArrowheads="1"/>
            </p:cNvSpPr>
            <p:nvPr/>
          </p:nvSpPr>
          <p:spPr bwMode="gray">
            <a:xfrm rot="47099">
              <a:off x="921144" y="3754102"/>
              <a:ext cx="2325" cy="1394"/>
            </a:xfrm>
            <a:prstGeom prst="rect">
              <a:avLst/>
            </a:prstGeom>
            <a:grpFill/>
            <a:ln w="3175" algn="ctr">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4" name="Freeform 219">
              <a:extLst>
                <a:ext uri="{FF2B5EF4-FFF2-40B4-BE49-F238E27FC236}">
                  <a16:creationId xmlns:a16="http://schemas.microsoft.com/office/drawing/2014/main" id="{36CAD59D-B942-4C94-A86C-33F6DAD524E3}"/>
                </a:ext>
              </a:extLst>
            </p:cNvPr>
            <p:cNvSpPr>
              <a:spLocks/>
            </p:cNvSpPr>
            <p:nvPr/>
          </p:nvSpPr>
          <p:spPr bwMode="gray">
            <a:xfrm rot="47099">
              <a:off x="881807" y="3734054"/>
              <a:ext cx="5580" cy="13019"/>
            </a:xfrm>
            <a:custGeom>
              <a:avLst/>
              <a:gdLst>
                <a:gd name="T0" fmla="*/ 5 w 12"/>
                <a:gd name="T1" fmla="*/ 26 h 28"/>
                <a:gd name="T2" fmla="*/ 2 w 12"/>
                <a:gd name="T3" fmla="*/ 21 h 28"/>
                <a:gd name="T4" fmla="*/ 0 w 12"/>
                <a:gd name="T5" fmla="*/ 21 h 28"/>
                <a:gd name="T6" fmla="*/ 0 w 12"/>
                <a:gd name="T7" fmla="*/ 16 h 28"/>
                <a:gd name="T8" fmla="*/ 2 w 12"/>
                <a:gd name="T9" fmla="*/ 16 h 28"/>
                <a:gd name="T10" fmla="*/ 5 w 12"/>
                <a:gd name="T11" fmla="*/ 11 h 28"/>
                <a:gd name="T12" fmla="*/ 5 w 12"/>
                <a:gd name="T13" fmla="*/ 0 h 28"/>
                <a:gd name="T14" fmla="*/ 12 w 12"/>
                <a:gd name="T15" fmla="*/ 0 h 28"/>
                <a:gd name="T16" fmla="*/ 12 w 12"/>
                <a:gd name="T17" fmla="*/ 19 h 28"/>
                <a:gd name="T18" fmla="*/ 9 w 12"/>
                <a:gd name="T19" fmla="*/ 28 h 28"/>
                <a:gd name="T20" fmla="*/ 5 w 12"/>
                <a:gd name="T21" fmla="*/ 26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28"/>
                <a:gd name="T35" fmla="*/ 12 w 12"/>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28">
                  <a:moveTo>
                    <a:pt x="5" y="26"/>
                  </a:moveTo>
                  <a:lnTo>
                    <a:pt x="2" y="21"/>
                  </a:lnTo>
                  <a:lnTo>
                    <a:pt x="0" y="21"/>
                  </a:lnTo>
                  <a:lnTo>
                    <a:pt x="0" y="16"/>
                  </a:lnTo>
                  <a:lnTo>
                    <a:pt x="2" y="16"/>
                  </a:lnTo>
                  <a:lnTo>
                    <a:pt x="5" y="11"/>
                  </a:lnTo>
                  <a:lnTo>
                    <a:pt x="5" y="0"/>
                  </a:lnTo>
                  <a:lnTo>
                    <a:pt x="12" y="0"/>
                  </a:lnTo>
                  <a:lnTo>
                    <a:pt x="12" y="19"/>
                  </a:lnTo>
                  <a:lnTo>
                    <a:pt x="9" y="28"/>
                  </a:lnTo>
                  <a:lnTo>
                    <a:pt x="5" y="2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5" name="Freeform 220">
              <a:extLst>
                <a:ext uri="{FF2B5EF4-FFF2-40B4-BE49-F238E27FC236}">
                  <a16:creationId xmlns:a16="http://schemas.microsoft.com/office/drawing/2014/main" id="{8111A1BD-D430-4182-80E9-41278B4B270F}"/>
                </a:ext>
              </a:extLst>
            </p:cNvPr>
            <p:cNvSpPr>
              <a:spLocks/>
            </p:cNvSpPr>
            <p:nvPr/>
          </p:nvSpPr>
          <p:spPr bwMode="gray">
            <a:xfrm rot="47099">
              <a:off x="778425" y="3676360"/>
              <a:ext cx="4186" cy="12089"/>
            </a:xfrm>
            <a:custGeom>
              <a:avLst/>
              <a:gdLst>
                <a:gd name="T0" fmla="*/ 2 w 9"/>
                <a:gd name="T1" fmla="*/ 21 h 26"/>
                <a:gd name="T2" fmla="*/ 2 w 9"/>
                <a:gd name="T3" fmla="*/ 10 h 26"/>
                <a:gd name="T4" fmla="*/ 0 w 9"/>
                <a:gd name="T5" fmla="*/ 10 h 26"/>
                <a:gd name="T6" fmla="*/ 0 w 9"/>
                <a:gd name="T7" fmla="*/ 3 h 26"/>
                <a:gd name="T8" fmla="*/ 2 w 9"/>
                <a:gd name="T9" fmla="*/ 0 h 26"/>
                <a:gd name="T10" fmla="*/ 9 w 9"/>
                <a:gd name="T11" fmla="*/ 0 h 26"/>
                <a:gd name="T12" fmla="*/ 9 w 9"/>
                <a:gd name="T13" fmla="*/ 26 h 26"/>
                <a:gd name="T14" fmla="*/ 2 w 9"/>
                <a:gd name="T15" fmla="*/ 26 h 26"/>
                <a:gd name="T16" fmla="*/ 2 w 9"/>
                <a:gd name="T17" fmla="*/ 21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26"/>
                <a:gd name="T29" fmla="*/ 9 w 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26">
                  <a:moveTo>
                    <a:pt x="2" y="21"/>
                  </a:moveTo>
                  <a:lnTo>
                    <a:pt x="2" y="10"/>
                  </a:lnTo>
                  <a:lnTo>
                    <a:pt x="0" y="10"/>
                  </a:lnTo>
                  <a:lnTo>
                    <a:pt x="0" y="3"/>
                  </a:lnTo>
                  <a:lnTo>
                    <a:pt x="2" y="0"/>
                  </a:lnTo>
                  <a:lnTo>
                    <a:pt x="9" y="0"/>
                  </a:lnTo>
                  <a:lnTo>
                    <a:pt x="9" y="26"/>
                  </a:lnTo>
                  <a:lnTo>
                    <a:pt x="2" y="26"/>
                  </a:lnTo>
                  <a:lnTo>
                    <a:pt x="2" y="2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6" name="Freeform 221">
              <a:extLst>
                <a:ext uri="{FF2B5EF4-FFF2-40B4-BE49-F238E27FC236}">
                  <a16:creationId xmlns:a16="http://schemas.microsoft.com/office/drawing/2014/main" id="{0A3C38FC-5BDB-41FA-AB06-DC0916D333F3}"/>
                </a:ext>
              </a:extLst>
            </p:cNvPr>
            <p:cNvSpPr>
              <a:spLocks/>
            </p:cNvSpPr>
            <p:nvPr/>
          </p:nvSpPr>
          <p:spPr bwMode="gray">
            <a:xfrm rot="47099">
              <a:off x="951558" y="3694155"/>
              <a:ext cx="15347" cy="26504"/>
            </a:xfrm>
            <a:custGeom>
              <a:avLst/>
              <a:gdLst>
                <a:gd name="T0" fmla="*/ 31 w 33"/>
                <a:gd name="T1" fmla="*/ 52 h 57"/>
                <a:gd name="T2" fmla="*/ 28 w 33"/>
                <a:gd name="T3" fmla="*/ 52 h 57"/>
                <a:gd name="T4" fmla="*/ 23 w 33"/>
                <a:gd name="T5" fmla="*/ 50 h 57"/>
                <a:gd name="T6" fmla="*/ 16 w 33"/>
                <a:gd name="T7" fmla="*/ 40 h 57"/>
                <a:gd name="T8" fmla="*/ 14 w 33"/>
                <a:gd name="T9" fmla="*/ 33 h 57"/>
                <a:gd name="T10" fmla="*/ 5 w 33"/>
                <a:gd name="T11" fmla="*/ 24 h 57"/>
                <a:gd name="T12" fmla="*/ 0 w 33"/>
                <a:gd name="T13" fmla="*/ 12 h 57"/>
                <a:gd name="T14" fmla="*/ 5 w 33"/>
                <a:gd name="T15" fmla="*/ 0 h 57"/>
                <a:gd name="T16" fmla="*/ 7 w 33"/>
                <a:gd name="T17" fmla="*/ 3 h 57"/>
                <a:gd name="T18" fmla="*/ 12 w 33"/>
                <a:gd name="T19" fmla="*/ 3 h 57"/>
                <a:gd name="T20" fmla="*/ 12 w 33"/>
                <a:gd name="T21" fmla="*/ 7 h 57"/>
                <a:gd name="T22" fmla="*/ 16 w 33"/>
                <a:gd name="T23" fmla="*/ 12 h 57"/>
                <a:gd name="T24" fmla="*/ 16 w 33"/>
                <a:gd name="T25" fmla="*/ 26 h 57"/>
                <a:gd name="T26" fmla="*/ 21 w 33"/>
                <a:gd name="T27" fmla="*/ 29 h 57"/>
                <a:gd name="T28" fmla="*/ 23 w 33"/>
                <a:gd name="T29" fmla="*/ 29 h 57"/>
                <a:gd name="T30" fmla="*/ 31 w 33"/>
                <a:gd name="T31" fmla="*/ 36 h 57"/>
                <a:gd name="T32" fmla="*/ 31 w 33"/>
                <a:gd name="T33" fmla="*/ 50 h 57"/>
                <a:gd name="T34" fmla="*/ 33 w 33"/>
                <a:gd name="T35" fmla="*/ 52 h 57"/>
                <a:gd name="T36" fmla="*/ 33 w 33"/>
                <a:gd name="T37" fmla="*/ 57 h 57"/>
                <a:gd name="T38" fmla="*/ 31 w 33"/>
                <a:gd name="T39" fmla="*/ 57 h 57"/>
                <a:gd name="T40" fmla="*/ 31 w 33"/>
                <a:gd name="T41" fmla="*/ 52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57"/>
                <a:gd name="T65" fmla="*/ 33 w 33"/>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57">
                  <a:moveTo>
                    <a:pt x="31" y="52"/>
                  </a:moveTo>
                  <a:lnTo>
                    <a:pt x="28" y="52"/>
                  </a:lnTo>
                  <a:lnTo>
                    <a:pt x="23" y="50"/>
                  </a:lnTo>
                  <a:lnTo>
                    <a:pt x="16" y="40"/>
                  </a:lnTo>
                  <a:lnTo>
                    <a:pt x="14" y="33"/>
                  </a:lnTo>
                  <a:lnTo>
                    <a:pt x="5" y="24"/>
                  </a:lnTo>
                  <a:lnTo>
                    <a:pt x="0" y="12"/>
                  </a:lnTo>
                  <a:lnTo>
                    <a:pt x="5" y="0"/>
                  </a:lnTo>
                  <a:lnTo>
                    <a:pt x="7" y="3"/>
                  </a:lnTo>
                  <a:lnTo>
                    <a:pt x="12" y="3"/>
                  </a:lnTo>
                  <a:lnTo>
                    <a:pt x="12" y="7"/>
                  </a:lnTo>
                  <a:lnTo>
                    <a:pt x="16" y="12"/>
                  </a:lnTo>
                  <a:lnTo>
                    <a:pt x="16" y="26"/>
                  </a:lnTo>
                  <a:lnTo>
                    <a:pt x="21" y="29"/>
                  </a:lnTo>
                  <a:lnTo>
                    <a:pt x="23" y="29"/>
                  </a:lnTo>
                  <a:lnTo>
                    <a:pt x="31" y="36"/>
                  </a:lnTo>
                  <a:lnTo>
                    <a:pt x="31" y="50"/>
                  </a:lnTo>
                  <a:lnTo>
                    <a:pt x="33" y="52"/>
                  </a:lnTo>
                  <a:lnTo>
                    <a:pt x="33" y="57"/>
                  </a:lnTo>
                  <a:lnTo>
                    <a:pt x="31" y="57"/>
                  </a:lnTo>
                  <a:lnTo>
                    <a:pt x="31" y="5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7" name="Freeform 222">
              <a:extLst>
                <a:ext uri="{FF2B5EF4-FFF2-40B4-BE49-F238E27FC236}">
                  <a16:creationId xmlns:a16="http://schemas.microsoft.com/office/drawing/2014/main" id="{5521BAFF-3600-43FC-BD61-F414277C41B4}"/>
                </a:ext>
              </a:extLst>
            </p:cNvPr>
            <p:cNvSpPr>
              <a:spLocks/>
            </p:cNvSpPr>
            <p:nvPr/>
          </p:nvSpPr>
          <p:spPr bwMode="gray">
            <a:xfrm rot="47099">
              <a:off x="849009" y="3550771"/>
              <a:ext cx="128351" cy="212031"/>
            </a:xfrm>
            <a:custGeom>
              <a:avLst/>
              <a:gdLst>
                <a:gd name="T0" fmla="*/ 165 w 276"/>
                <a:gd name="T1" fmla="*/ 437 h 456"/>
                <a:gd name="T2" fmla="*/ 170 w 276"/>
                <a:gd name="T3" fmla="*/ 423 h 456"/>
                <a:gd name="T4" fmla="*/ 170 w 276"/>
                <a:gd name="T5" fmla="*/ 406 h 456"/>
                <a:gd name="T6" fmla="*/ 175 w 276"/>
                <a:gd name="T7" fmla="*/ 399 h 456"/>
                <a:gd name="T8" fmla="*/ 165 w 276"/>
                <a:gd name="T9" fmla="*/ 380 h 456"/>
                <a:gd name="T10" fmla="*/ 156 w 276"/>
                <a:gd name="T11" fmla="*/ 364 h 456"/>
                <a:gd name="T12" fmla="*/ 142 w 276"/>
                <a:gd name="T13" fmla="*/ 350 h 456"/>
                <a:gd name="T14" fmla="*/ 116 w 276"/>
                <a:gd name="T15" fmla="*/ 307 h 456"/>
                <a:gd name="T16" fmla="*/ 99 w 276"/>
                <a:gd name="T17" fmla="*/ 293 h 456"/>
                <a:gd name="T18" fmla="*/ 78 w 276"/>
                <a:gd name="T19" fmla="*/ 279 h 456"/>
                <a:gd name="T20" fmla="*/ 61 w 276"/>
                <a:gd name="T21" fmla="*/ 234 h 456"/>
                <a:gd name="T22" fmla="*/ 61 w 276"/>
                <a:gd name="T23" fmla="*/ 213 h 456"/>
                <a:gd name="T24" fmla="*/ 56 w 276"/>
                <a:gd name="T25" fmla="*/ 196 h 456"/>
                <a:gd name="T26" fmla="*/ 49 w 276"/>
                <a:gd name="T27" fmla="*/ 199 h 456"/>
                <a:gd name="T28" fmla="*/ 52 w 276"/>
                <a:gd name="T29" fmla="*/ 165 h 456"/>
                <a:gd name="T30" fmla="*/ 35 w 276"/>
                <a:gd name="T31" fmla="*/ 125 h 456"/>
                <a:gd name="T32" fmla="*/ 16 w 276"/>
                <a:gd name="T33" fmla="*/ 92 h 456"/>
                <a:gd name="T34" fmla="*/ 26 w 276"/>
                <a:gd name="T35" fmla="*/ 66 h 456"/>
                <a:gd name="T36" fmla="*/ 9 w 276"/>
                <a:gd name="T37" fmla="*/ 50 h 456"/>
                <a:gd name="T38" fmla="*/ 9 w 276"/>
                <a:gd name="T39" fmla="*/ 33 h 456"/>
                <a:gd name="T40" fmla="*/ 2 w 276"/>
                <a:gd name="T41" fmla="*/ 24 h 456"/>
                <a:gd name="T42" fmla="*/ 2 w 276"/>
                <a:gd name="T43" fmla="*/ 0 h 456"/>
                <a:gd name="T44" fmla="*/ 66 w 276"/>
                <a:gd name="T45" fmla="*/ 5 h 456"/>
                <a:gd name="T46" fmla="*/ 130 w 276"/>
                <a:gd name="T47" fmla="*/ 12 h 456"/>
                <a:gd name="T48" fmla="*/ 179 w 276"/>
                <a:gd name="T49" fmla="*/ 17 h 456"/>
                <a:gd name="T50" fmla="*/ 170 w 276"/>
                <a:gd name="T51" fmla="*/ 36 h 456"/>
                <a:gd name="T52" fmla="*/ 149 w 276"/>
                <a:gd name="T53" fmla="*/ 59 h 456"/>
                <a:gd name="T54" fmla="*/ 149 w 276"/>
                <a:gd name="T55" fmla="*/ 80 h 456"/>
                <a:gd name="T56" fmla="*/ 149 w 276"/>
                <a:gd name="T57" fmla="*/ 85 h 456"/>
                <a:gd name="T58" fmla="*/ 158 w 276"/>
                <a:gd name="T59" fmla="*/ 102 h 456"/>
                <a:gd name="T60" fmla="*/ 153 w 276"/>
                <a:gd name="T61" fmla="*/ 130 h 456"/>
                <a:gd name="T62" fmla="*/ 146 w 276"/>
                <a:gd name="T63" fmla="*/ 156 h 456"/>
                <a:gd name="T64" fmla="*/ 156 w 276"/>
                <a:gd name="T65" fmla="*/ 173 h 456"/>
                <a:gd name="T66" fmla="*/ 153 w 276"/>
                <a:gd name="T67" fmla="*/ 199 h 456"/>
                <a:gd name="T68" fmla="*/ 153 w 276"/>
                <a:gd name="T69" fmla="*/ 234 h 456"/>
                <a:gd name="T70" fmla="*/ 156 w 276"/>
                <a:gd name="T71" fmla="*/ 258 h 456"/>
                <a:gd name="T72" fmla="*/ 165 w 276"/>
                <a:gd name="T73" fmla="*/ 277 h 456"/>
                <a:gd name="T74" fmla="*/ 179 w 276"/>
                <a:gd name="T75" fmla="*/ 284 h 456"/>
                <a:gd name="T76" fmla="*/ 194 w 276"/>
                <a:gd name="T77" fmla="*/ 300 h 456"/>
                <a:gd name="T78" fmla="*/ 210 w 276"/>
                <a:gd name="T79" fmla="*/ 319 h 456"/>
                <a:gd name="T80" fmla="*/ 222 w 276"/>
                <a:gd name="T81" fmla="*/ 350 h 456"/>
                <a:gd name="T82" fmla="*/ 229 w 276"/>
                <a:gd name="T83" fmla="*/ 364 h 456"/>
                <a:gd name="T84" fmla="*/ 236 w 276"/>
                <a:gd name="T85" fmla="*/ 373 h 456"/>
                <a:gd name="T86" fmla="*/ 245 w 276"/>
                <a:gd name="T87" fmla="*/ 380 h 456"/>
                <a:gd name="T88" fmla="*/ 255 w 276"/>
                <a:gd name="T89" fmla="*/ 414 h 456"/>
                <a:gd name="T90" fmla="*/ 269 w 276"/>
                <a:gd name="T91" fmla="*/ 421 h 456"/>
                <a:gd name="T92" fmla="*/ 269 w 276"/>
                <a:gd name="T93" fmla="*/ 437 h 456"/>
                <a:gd name="T94" fmla="*/ 269 w 276"/>
                <a:gd name="T95" fmla="*/ 447 h 456"/>
                <a:gd name="T96" fmla="*/ 276 w 276"/>
                <a:gd name="T97" fmla="*/ 456 h 456"/>
                <a:gd name="T98" fmla="*/ 205 w 276"/>
                <a:gd name="T99" fmla="*/ 447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6"/>
                <a:gd name="T151" fmla="*/ 0 h 456"/>
                <a:gd name="T152" fmla="*/ 276 w 276"/>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6" h="456">
                  <a:moveTo>
                    <a:pt x="163" y="440"/>
                  </a:moveTo>
                  <a:lnTo>
                    <a:pt x="163" y="437"/>
                  </a:lnTo>
                  <a:lnTo>
                    <a:pt x="165" y="437"/>
                  </a:lnTo>
                  <a:lnTo>
                    <a:pt x="165" y="430"/>
                  </a:lnTo>
                  <a:lnTo>
                    <a:pt x="170" y="428"/>
                  </a:lnTo>
                  <a:lnTo>
                    <a:pt x="170" y="423"/>
                  </a:lnTo>
                  <a:lnTo>
                    <a:pt x="165" y="421"/>
                  </a:lnTo>
                  <a:lnTo>
                    <a:pt x="165" y="414"/>
                  </a:lnTo>
                  <a:lnTo>
                    <a:pt x="170" y="406"/>
                  </a:lnTo>
                  <a:lnTo>
                    <a:pt x="172" y="406"/>
                  </a:lnTo>
                  <a:lnTo>
                    <a:pt x="172" y="404"/>
                  </a:lnTo>
                  <a:lnTo>
                    <a:pt x="175" y="399"/>
                  </a:lnTo>
                  <a:lnTo>
                    <a:pt x="175" y="395"/>
                  </a:lnTo>
                  <a:lnTo>
                    <a:pt x="170" y="380"/>
                  </a:lnTo>
                  <a:lnTo>
                    <a:pt x="165" y="380"/>
                  </a:lnTo>
                  <a:lnTo>
                    <a:pt x="163" y="376"/>
                  </a:lnTo>
                  <a:lnTo>
                    <a:pt x="158" y="371"/>
                  </a:lnTo>
                  <a:lnTo>
                    <a:pt x="156" y="364"/>
                  </a:lnTo>
                  <a:lnTo>
                    <a:pt x="153" y="357"/>
                  </a:lnTo>
                  <a:lnTo>
                    <a:pt x="146" y="354"/>
                  </a:lnTo>
                  <a:lnTo>
                    <a:pt x="142" y="350"/>
                  </a:lnTo>
                  <a:lnTo>
                    <a:pt x="132" y="333"/>
                  </a:lnTo>
                  <a:lnTo>
                    <a:pt x="118" y="310"/>
                  </a:lnTo>
                  <a:lnTo>
                    <a:pt x="116" y="307"/>
                  </a:lnTo>
                  <a:lnTo>
                    <a:pt x="106" y="302"/>
                  </a:lnTo>
                  <a:lnTo>
                    <a:pt x="99" y="300"/>
                  </a:lnTo>
                  <a:lnTo>
                    <a:pt x="99" y="293"/>
                  </a:lnTo>
                  <a:lnTo>
                    <a:pt x="97" y="291"/>
                  </a:lnTo>
                  <a:lnTo>
                    <a:pt x="90" y="286"/>
                  </a:lnTo>
                  <a:lnTo>
                    <a:pt x="78" y="279"/>
                  </a:lnTo>
                  <a:lnTo>
                    <a:pt x="66" y="262"/>
                  </a:lnTo>
                  <a:lnTo>
                    <a:pt x="66" y="246"/>
                  </a:lnTo>
                  <a:lnTo>
                    <a:pt x="61" y="234"/>
                  </a:lnTo>
                  <a:lnTo>
                    <a:pt x="66" y="222"/>
                  </a:lnTo>
                  <a:lnTo>
                    <a:pt x="66" y="217"/>
                  </a:lnTo>
                  <a:lnTo>
                    <a:pt x="61" y="213"/>
                  </a:lnTo>
                  <a:lnTo>
                    <a:pt x="61" y="210"/>
                  </a:lnTo>
                  <a:lnTo>
                    <a:pt x="56" y="199"/>
                  </a:lnTo>
                  <a:lnTo>
                    <a:pt x="56" y="196"/>
                  </a:lnTo>
                  <a:lnTo>
                    <a:pt x="52" y="199"/>
                  </a:lnTo>
                  <a:lnTo>
                    <a:pt x="52" y="206"/>
                  </a:lnTo>
                  <a:lnTo>
                    <a:pt x="49" y="199"/>
                  </a:lnTo>
                  <a:lnTo>
                    <a:pt x="49" y="194"/>
                  </a:lnTo>
                  <a:lnTo>
                    <a:pt x="52" y="189"/>
                  </a:lnTo>
                  <a:lnTo>
                    <a:pt x="52" y="165"/>
                  </a:lnTo>
                  <a:lnTo>
                    <a:pt x="40" y="149"/>
                  </a:lnTo>
                  <a:lnTo>
                    <a:pt x="40" y="125"/>
                  </a:lnTo>
                  <a:lnTo>
                    <a:pt x="35" y="125"/>
                  </a:lnTo>
                  <a:lnTo>
                    <a:pt x="28" y="109"/>
                  </a:lnTo>
                  <a:lnTo>
                    <a:pt x="21" y="99"/>
                  </a:lnTo>
                  <a:lnTo>
                    <a:pt x="16" y="92"/>
                  </a:lnTo>
                  <a:lnTo>
                    <a:pt x="19" y="90"/>
                  </a:lnTo>
                  <a:lnTo>
                    <a:pt x="26" y="73"/>
                  </a:lnTo>
                  <a:lnTo>
                    <a:pt x="26" y="66"/>
                  </a:lnTo>
                  <a:lnTo>
                    <a:pt x="21" y="66"/>
                  </a:lnTo>
                  <a:lnTo>
                    <a:pt x="19" y="59"/>
                  </a:lnTo>
                  <a:lnTo>
                    <a:pt x="9" y="50"/>
                  </a:lnTo>
                  <a:lnTo>
                    <a:pt x="9" y="43"/>
                  </a:lnTo>
                  <a:lnTo>
                    <a:pt x="12" y="40"/>
                  </a:lnTo>
                  <a:lnTo>
                    <a:pt x="9" y="33"/>
                  </a:lnTo>
                  <a:lnTo>
                    <a:pt x="9" y="28"/>
                  </a:lnTo>
                  <a:lnTo>
                    <a:pt x="5" y="26"/>
                  </a:lnTo>
                  <a:lnTo>
                    <a:pt x="2" y="24"/>
                  </a:lnTo>
                  <a:lnTo>
                    <a:pt x="0" y="17"/>
                  </a:lnTo>
                  <a:lnTo>
                    <a:pt x="0" y="0"/>
                  </a:lnTo>
                  <a:lnTo>
                    <a:pt x="2" y="0"/>
                  </a:lnTo>
                  <a:lnTo>
                    <a:pt x="16" y="2"/>
                  </a:lnTo>
                  <a:lnTo>
                    <a:pt x="45" y="2"/>
                  </a:lnTo>
                  <a:lnTo>
                    <a:pt x="66" y="5"/>
                  </a:lnTo>
                  <a:lnTo>
                    <a:pt x="90" y="10"/>
                  </a:lnTo>
                  <a:lnTo>
                    <a:pt x="113" y="10"/>
                  </a:lnTo>
                  <a:lnTo>
                    <a:pt x="130" y="12"/>
                  </a:lnTo>
                  <a:lnTo>
                    <a:pt x="142" y="12"/>
                  </a:lnTo>
                  <a:lnTo>
                    <a:pt x="156" y="17"/>
                  </a:lnTo>
                  <a:lnTo>
                    <a:pt x="179" y="17"/>
                  </a:lnTo>
                  <a:lnTo>
                    <a:pt x="179" y="19"/>
                  </a:lnTo>
                  <a:lnTo>
                    <a:pt x="172" y="28"/>
                  </a:lnTo>
                  <a:lnTo>
                    <a:pt x="170" y="36"/>
                  </a:lnTo>
                  <a:lnTo>
                    <a:pt x="158" y="36"/>
                  </a:lnTo>
                  <a:lnTo>
                    <a:pt x="149" y="52"/>
                  </a:lnTo>
                  <a:lnTo>
                    <a:pt x="149" y="59"/>
                  </a:lnTo>
                  <a:lnTo>
                    <a:pt x="153" y="62"/>
                  </a:lnTo>
                  <a:lnTo>
                    <a:pt x="149" y="69"/>
                  </a:lnTo>
                  <a:lnTo>
                    <a:pt x="149" y="80"/>
                  </a:lnTo>
                  <a:lnTo>
                    <a:pt x="146" y="80"/>
                  </a:lnTo>
                  <a:lnTo>
                    <a:pt x="146" y="83"/>
                  </a:lnTo>
                  <a:lnTo>
                    <a:pt x="149" y="85"/>
                  </a:lnTo>
                  <a:lnTo>
                    <a:pt x="153" y="85"/>
                  </a:lnTo>
                  <a:lnTo>
                    <a:pt x="153" y="90"/>
                  </a:lnTo>
                  <a:lnTo>
                    <a:pt x="158" y="102"/>
                  </a:lnTo>
                  <a:lnTo>
                    <a:pt x="158" y="114"/>
                  </a:lnTo>
                  <a:lnTo>
                    <a:pt x="153" y="121"/>
                  </a:lnTo>
                  <a:lnTo>
                    <a:pt x="153" y="130"/>
                  </a:lnTo>
                  <a:lnTo>
                    <a:pt x="149" y="147"/>
                  </a:lnTo>
                  <a:lnTo>
                    <a:pt x="146" y="154"/>
                  </a:lnTo>
                  <a:lnTo>
                    <a:pt x="146" y="156"/>
                  </a:lnTo>
                  <a:lnTo>
                    <a:pt x="149" y="165"/>
                  </a:lnTo>
                  <a:lnTo>
                    <a:pt x="153" y="170"/>
                  </a:lnTo>
                  <a:lnTo>
                    <a:pt x="156" y="173"/>
                  </a:lnTo>
                  <a:lnTo>
                    <a:pt x="156" y="194"/>
                  </a:lnTo>
                  <a:lnTo>
                    <a:pt x="153" y="196"/>
                  </a:lnTo>
                  <a:lnTo>
                    <a:pt x="153" y="199"/>
                  </a:lnTo>
                  <a:lnTo>
                    <a:pt x="156" y="203"/>
                  </a:lnTo>
                  <a:lnTo>
                    <a:pt x="156" y="227"/>
                  </a:lnTo>
                  <a:lnTo>
                    <a:pt x="153" y="234"/>
                  </a:lnTo>
                  <a:lnTo>
                    <a:pt x="149" y="239"/>
                  </a:lnTo>
                  <a:lnTo>
                    <a:pt x="153" y="246"/>
                  </a:lnTo>
                  <a:lnTo>
                    <a:pt x="156" y="258"/>
                  </a:lnTo>
                  <a:lnTo>
                    <a:pt x="156" y="260"/>
                  </a:lnTo>
                  <a:lnTo>
                    <a:pt x="163" y="267"/>
                  </a:lnTo>
                  <a:lnTo>
                    <a:pt x="165" y="277"/>
                  </a:lnTo>
                  <a:lnTo>
                    <a:pt x="165" y="279"/>
                  </a:lnTo>
                  <a:lnTo>
                    <a:pt x="172" y="284"/>
                  </a:lnTo>
                  <a:lnTo>
                    <a:pt x="179" y="284"/>
                  </a:lnTo>
                  <a:lnTo>
                    <a:pt x="186" y="295"/>
                  </a:lnTo>
                  <a:lnTo>
                    <a:pt x="189" y="300"/>
                  </a:lnTo>
                  <a:lnTo>
                    <a:pt x="194" y="300"/>
                  </a:lnTo>
                  <a:lnTo>
                    <a:pt x="198" y="310"/>
                  </a:lnTo>
                  <a:lnTo>
                    <a:pt x="203" y="314"/>
                  </a:lnTo>
                  <a:lnTo>
                    <a:pt x="210" y="319"/>
                  </a:lnTo>
                  <a:lnTo>
                    <a:pt x="215" y="333"/>
                  </a:lnTo>
                  <a:lnTo>
                    <a:pt x="215" y="336"/>
                  </a:lnTo>
                  <a:lnTo>
                    <a:pt x="222" y="350"/>
                  </a:lnTo>
                  <a:lnTo>
                    <a:pt x="222" y="371"/>
                  </a:lnTo>
                  <a:lnTo>
                    <a:pt x="229" y="371"/>
                  </a:lnTo>
                  <a:lnTo>
                    <a:pt x="229" y="364"/>
                  </a:lnTo>
                  <a:lnTo>
                    <a:pt x="234" y="364"/>
                  </a:lnTo>
                  <a:lnTo>
                    <a:pt x="236" y="366"/>
                  </a:lnTo>
                  <a:lnTo>
                    <a:pt x="236" y="373"/>
                  </a:lnTo>
                  <a:lnTo>
                    <a:pt x="238" y="380"/>
                  </a:lnTo>
                  <a:lnTo>
                    <a:pt x="245" y="376"/>
                  </a:lnTo>
                  <a:lnTo>
                    <a:pt x="245" y="380"/>
                  </a:lnTo>
                  <a:lnTo>
                    <a:pt x="250" y="383"/>
                  </a:lnTo>
                  <a:lnTo>
                    <a:pt x="250" y="411"/>
                  </a:lnTo>
                  <a:lnTo>
                    <a:pt x="255" y="414"/>
                  </a:lnTo>
                  <a:lnTo>
                    <a:pt x="255" y="416"/>
                  </a:lnTo>
                  <a:lnTo>
                    <a:pt x="267" y="416"/>
                  </a:lnTo>
                  <a:lnTo>
                    <a:pt x="269" y="421"/>
                  </a:lnTo>
                  <a:lnTo>
                    <a:pt x="267" y="423"/>
                  </a:lnTo>
                  <a:lnTo>
                    <a:pt x="267" y="432"/>
                  </a:lnTo>
                  <a:lnTo>
                    <a:pt x="269" y="437"/>
                  </a:lnTo>
                  <a:lnTo>
                    <a:pt x="274" y="440"/>
                  </a:lnTo>
                  <a:lnTo>
                    <a:pt x="269" y="444"/>
                  </a:lnTo>
                  <a:lnTo>
                    <a:pt x="269" y="447"/>
                  </a:lnTo>
                  <a:lnTo>
                    <a:pt x="274" y="454"/>
                  </a:lnTo>
                  <a:lnTo>
                    <a:pt x="274" y="456"/>
                  </a:lnTo>
                  <a:lnTo>
                    <a:pt x="276" y="456"/>
                  </a:lnTo>
                  <a:lnTo>
                    <a:pt x="260" y="454"/>
                  </a:lnTo>
                  <a:lnTo>
                    <a:pt x="229" y="451"/>
                  </a:lnTo>
                  <a:lnTo>
                    <a:pt x="205" y="447"/>
                  </a:lnTo>
                  <a:lnTo>
                    <a:pt x="186" y="444"/>
                  </a:lnTo>
                  <a:lnTo>
                    <a:pt x="163" y="4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8" name="Freeform 223">
              <a:extLst>
                <a:ext uri="{FF2B5EF4-FFF2-40B4-BE49-F238E27FC236}">
                  <a16:creationId xmlns:a16="http://schemas.microsoft.com/office/drawing/2014/main" id="{AE7D5E32-8AB8-4378-BC8D-777A55F409E8}"/>
                </a:ext>
              </a:extLst>
            </p:cNvPr>
            <p:cNvSpPr>
              <a:spLocks/>
            </p:cNvSpPr>
            <p:nvPr/>
          </p:nvSpPr>
          <p:spPr bwMode="gray">
            <a:xfrm rot="47099">
              <a:off x="1108033" y="3631660"/>
              <a:ext cx="217173" cy="258529"/>
            </a:xfrm>
            <a:custGeom>
              <a:avLst/>
              <a:gdLst>
                <a:gd name="T0" fmla="*/ 425 w 467"/>
                <a:gd name="T1" fmla="*/ 473 h 556"/>
                <a:gd name="T2" fmla="*/ 385 w 467"/>
                <a:gd name="T3" fmla="*/ 468 h 556"/>
                <a:gd name="T4" fmla="*/ 354 w 467"/>
                <a:gd name="T5" fmla="*/ 501 h 556"/>
                <a:gd name="T6" fmla="*/ 345 w 467"/>
                <a:gd name="T7" fmla="*/ 492 h 556"/>
                <a:gd name="T8" fmla="*/ 314 w 467"/>
                <a:gd name="T9" fmla="*/ 489 h 556"/>
                <a:gd name="T10" fmla="*/ 295 w 467"/>
                <a:gd name="T11" fmla="*/ 489 h 556"/>
                <a:gd name="T12" fmla="*/ 271 w 467"/>
                <a:gd name="T13" fmla="*/ 468 h 556"/>
                <a:gd name="T14" fmla="*/ 231 w 467"/>
                <a:gd name="T15" fmla="*/ 459 h 556"/>
                <a:gd name="T16" fmla="*/ 219 w 467"/>
                <a:gd name="T17" fmla="*/ 485 h 556"/>
                <a:gd name="T18" fmla="*/ 215 w 467"/>
                <a:gd name="T19" fmla="*/ 492 h 556"/>
                <a:gd name="T20" fmla="*/ 203 w 467"/>
                <a:gd name="T21" fmla="*/ 497 h 556"/>
                <a:gd name="T22" fmla="*/ 210 w 467"/>
                <a:gd name="T23" fmla="*/ 508 h 556"/>
                <a:gd name="T24" fmla="*/ 203 w 467"/>
                <a:gd name="T25" fmla="*/ 520 h 556"/>
                <a:gd name="T26" fmla="*/ 193 w 467"/>
                <a:gd name="T27" fmla="*/ 525 h 556"/>
                <a:gd name="T28" fmla="*/ 177 w 467"/>
                <a:gd name="T29" fmla="*/ 556 h 556"/>
                <a:gd name="T30" fmla="*/ 146 w 467"/>
                <a:gd name="T31" fmla="*/ 553 h 556"/>
                <a:gd name="T32" fmla="*/ 144 w 467"/>
                <a:gd name="T33" fmla="*/ 537 h 556"/>
                <a:gd name="T34" fmla="*/ 137 w 467"/>
                <a:gd name="T35" fmla="*/ 532 h 556"/>
                <a:gd name="T36" fmla="*/ 134 w 467"/>
                <a:gd name="T37" fmla="*/ 523 h 556"/>
                <a:gd name="T38" fmla="*/ 127 w 467"/>
                <a:gd name="T39" fmla="*/ 506 h 556"/>
                <a:gd name="T40" fmla="*/ 94 w 467"/>
                <a:gd name="T41" fmla="*/ 459 h 556"/>
                <a:gd name="T42" fmla="*/ 80 w 467"/>
                <a:gd name="T43" fmla="*/ 442 h 556"/>
                <a:gd name="T44" fmla="*/ 71 w 467"/>
                <a:gd name="T45" fmla="*/ 426 h 556"/>
                <a:gd name="T46" fmla="*/ 61 w 467"/>
                <a:gd name="T47" fmla="*/ 419 h 556"/>
                <a:gd name="T48" fmla="*/ 49 w 467"/>
                <a:gd name="T49" fmla="*/ 419 h 556"/>
                <a:gd name="T50" fmla="*/ 45 w 467"/>
                <a:gd name="T51" fmla="*/ 423 h 556"/>
                <a:gd name="T52" fmla="*/ 33 w 467"/>
                <a:gd name="T53" fmla="*/ 416 h 556"/>
                <a:gd name="T54" fmla="*/ 33 w 467"/>
                <a:gd name="T55" fmla="*/ 395 h 556"/>
                <a:gd name="T56" fmla="*/ 21 w 467"/>
                <a:gd name="T57" fmla="*/ 352 h 556"/>
                <a:gd name="T58" fmla="*/ 4 w 467"/>
                <a:gd name="T59" fmla="*/ 308 h 556"/>
                <a:gd name="T60" fmla="*/ 21 w 467"/>
                <a:gd name="T61" fmla="*/ 305 h 556"/>
                <a:gd name="T62" fmla="*/ 33 w 467"/>
                <a:gd name="T63" fmla="*/ 312 h 556"/>
                <a:gd name="T64" fmla="*/ 45 w 467"/>
                <a:gd name="T65" fmla="*/ 296 h 556"/>
                <a:gd name="T66" fmla="*/ 45 w 467"/>
                <a:gd name="T67" fmla="*/ 208 h 556"/>
                <a:gd name="T68" fmla="*/ 61 w 467"/>
                <a:gd name="T69" fmla="*/ 161 h 556"/>
                <a:gd name="T70" fmla="*/ 54 w 467"/>
                <a:gd name="T71" fmla="*/ 104 h 556"/>
                <a:gd name="T72" fmla="*/ 47 w 467"/>
                <a:gd name="T73" fmla="*/ 52 h 556"/>
                <a:gd name="T74" fmla="*/ 54 w 467"/>
                <a:gd name="T75" fmla="*/ 34 h 556"/>
                <a:gd name="T76" fmla="*/ 101 w 467"/>
                <a:gd name="T77" fmla="*/ 8 h 556"/>
                <a:gd name="T78" fmla="*/ 137 w 467"/>
                <a:gd name="T79" fmla="*/ 5 h 556"/>
                <a:gd name="T80" fmla="*/ 186 w 467"/>
                <a:gd name="T81" fmla="*/ 8 h 556"/>
                <a:gd name="T82" fmla="*/ 231 w 467"/>
                <a:gd name="T83" fmla="*/ 15 h 556"/>
                <a:gd name="T84" fmla="*/ 243 w 467"/>
                <a:gd name="T85" fmla="*/ 24 h 556"/>
                <a:gd name="T86" fmla="*/ 250 w 467"/>
                <a:gd name="T87" fmla="*/ 41 h 556"/>
                <a:gd name="T88" fmla="*/ 264 w 467"/>
                <a:gd name="T89" fmla="*/ 48 h 556"/>
                <a:gd name="T90" fmla="*/ 281 w 467"/>
                <a:gd name="T91" fmla="*/ 69 h 556"/>
                <a:gd name="T92" fmla="*/ 297 w 467"/>
                <a:gd name="T93" fmla="*/ 81 h 556"/>
                <a:gd name="T94" fmla="*/ 311 w 467"/>
                <a:gd name="T95" fmla="*/ 97 h 556"/>
                <a:gd name="T96" fmla="*/ 330 w 467"/>
                <a:gd name="T97" fmla="*/ 112 h 556"/>
                <a:gd name="T98" fmla="*/ 345 w 467"/>
                <a:gd name="T99" fmla="*/ 126 h 556"/>
                <a:gd name="T100" fmla="*/ 354 w 467"/>
                <a:gd name="T101" fmla="*/ 152 h 556"/>
                <a:gd name="T102" fmla="*/ 371 w 467"/>
                <a:gd name="T103" fmla="*/ 208 h 556"/>
                <a:gd name="T104" fmla="*/ 385 w 467"/>
                <a:gd name="T105" fmla="*/ 223 h 556"/>
                <a:gd name="T106" fmla="*/ 394 w 467"/>
                <a:gd name="T107" fmla="*/ 225 h 556"/>
                <a:gd name="T108" fmla="*/ 404 w 467"/>
                <a:gd name="T109" fmla="*/ 239 h 556"/>
                <a:gd name="T110" fmla="*/ 413 w 467"/>
                <a:gd name="T111" fmla="*/ 241 h 556"/>
                <a:gd name="T112" fmla="*/ 448 w 467"/>
                <a:gd name="T113" fmla="*/ 263 h 556"/>
                <a:gd name="T114" fmla="*/ 458 w 467"/>
                <a:gd name="T115" fmla="*/ 267 h 556"/>
                <a:gd name="T116" fmla="*/ 467 w 467"/>
                <a:gd name="T117" fmla="*/ 272 h 556"/>
                <a:gd name="T118" fmla="*/ 420 w 467"/>
                <a:gd name="T119" fmla="*/ 348 h 556"/>
                <a:gd name="T120" fmla="*/ 413 w 467"/>
                <a:gd name="T121" fmla="*/ 383 h 556"/>
                <a:gd name="T122" fmla="*/ 432 w 467"/>
                <a:gd name="T123" fmla="*/ 480 h 5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7"/>
                <a:gd name="T187" fmla="*/ 0 h 556"/>
                <a:gd name="T188" fmla="*/ 467 w 467"/>
                <a:gd name="T189" fmla="*/ 556 h 5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7" h="556">
                  <a:moveTo>
                    <a:pt x="432" y="475"/>
                  </a:moveTo>
                  <a:lnTo>
                    <a:pt x="427" y="475"/>
                  </a:lnTo>
                  <a:lnTo>
                    <a:pt x="425" y="473"/>
                  </a:lnTo>
                  <a:lnTo>
                    <a:pt x="413" y="473"/>
                  </a:lnTo>
                  <a:lnTo>
                    <a:pt x="408" y="468"/>
                  </a:lnTo>
                  <a:lnTo>
                    <a:pt x="385" y="468"/>
                  </a:lnTo>
                  <a:lnTo>
                    <a:pt x="380" y="475"/>
                  </a:lnTo>
                  <a:lnTo>
                    <a:pt x="356" y="501"/>
                  </a:lnTo>
                  <a:lnTo>
                    <a:pt x="354" y="501"/>
                  </a:lnTo>
                  <a:lnTo>
                    <a:pt x="352" y="499"/>
                  </a:lnTo>
                  <a:lnTo>
                    <a:pt x="347" y="497"/>
                  </a:lnTo>
                  <a:lnTo>
                    <a:pt x="345" y="492"/>
                  </a:lnTo>
                  <a:lnTo>
                    <a:pt x="340" y="492"/>
                  </a:lnTo>
                  <a:lnTo>
                    <a:pt x="330" y="489"/>
                  </a:lnTo>
                  <a:lnTo>
                    <a:pt x="314" y="489"/>
                  </a:lnTo>
                  <a:lnTo>
                    <a:pt x="311" y="485"/>
                  </a:lnTo>
                  <a:lnTo>
                    <a:pt x="311" y="482"/>
                  </a:lnTo>
                  <a:lnTo>
                    <a:pt x="295" y="489"/>
                  </a:lnTo>
                  <a:lnTo>
                    <a:pt x="274" y="475"/>
                  </a:lnTo>
                  <a:lnTo>
                    <a:pt x="274" y="473"/>
                  </a:lnTo>
                  <a:lnTo>
                    <a:pt x="271" y="468"/>
                  </a:lnTo>
                  <a:lnTo>
                    <a:pt x="260" y="468"/>
                  </a:lnTo>
                  <a:lnTo>
                    <a:pt x="241" y="452"/>
                  </a:lnTo>
                  <a:lnTo>
                    <a:pt x="231" y="459"/>
                  </a:lnTo>
                  <a:lnTo>
                    <a:pt x="226" y="461"/>
                  </a:lnTo>
                  <a:lnTo>
                    <a:pt x="226" y="473"/>
                  </a:lnTo>
                  <a:lnTo>
                    <a:pt x="219" y="485"/>
                  </a:lnTo>
                  <a:lnTo>
                    <a:pt x="219" y="489"/>
                  </a:lnTo>
                  <a:lnTo>
                    <a:pt x="217" y="489"/>
                  </a:lnTo>
                  <a:lnTo>
                    <a:pt x="215" y="492"/>
                  </a:lnTo>
                  <a:lnTo>
                    <a:pt x="208" y="492"/>
                  </a:lnTo>
                  <a:lnTo>
                    <a:pt x="203" y="489"/>
                  </a:lnTo>
                  <a:lnTo>
                    <a:pt x="203" y="497"/>
                  </a:lnTo>
                  <a:lnTo>
                    <a:pt x="208" y="499"/>
                  </a:lnTo>
                  <a:lnTo>
                    <a:pt x="208" y="506"/>
                  </a:lnTo>
                  <a:lnTo>
                    <a:pt x="210" y="508"/>
                  </a:lnTo>
                  <a:lnTo>
                    <a:pt x="208" y="513"/>
                  </a:lnTo>
                  <a:lnTo>
                    <a:pt x="208" y="515"/>
                  </a:lnTo>
                  <a:lnTo>
                    <a:pt x="203" y="520"/>
                  </a:lnTo>
                  <a:lnTo>
                    <a:pt x="198" y="520"/>
                  </a:lnTo>
                  <a:lnTo>
                    <a:pt x="198" y="523"/>
                  </a:lnTo>
                  <a:lnTo>
                    <a:pt x="193" y="525"/>
                  </a:lnTo>
                  <a:lnTo>
                    <a:pt x="193" y="541"/>
                  </a:lnTo>
                  <a:lnTo>
                    <a:pt x="184" y="549"/>
                  </a:lnTo>
                  <a:lnTo>
                    <a:pt x="177" y="556"/>
                  </a:lnTo>
                  <a:lnTo>
                    <a:pt x="170" y="556"/>
                  </a:lnTo>
                  <a:lnTo>
                    <a:pt x="151" y="553"/>
                  </a:lnTo>
                  <a:lnTo>
                    <a:pt x="146" y="553"/>
                  </a:lnTo>
                  <a:lnTo>
                    <a:pt x="146" y="546"/>
                  </a:lnTo>
                  <a:lnTo>
                    <a:pt x="144" y="541"/>
                  </a:lnTo>
                  <a:lnTo>
                    <a:pt x="144" y="537"/>
                  </a:lnTo>
                  <a:lnTo>
                    <a:pt x="141" y="537"/>
                  </a:lnTo>
                  <a:lnTo>
                    <a:pt x="141" y="532"/>
                  </a:lnTo>
                  <a:lnTo>
                    <a:pt x="137" y="532"/>
                  </a:lnTo>
                  <a:lnTo>
                    <a:pt x="137" y="530"/>
                  </a:lnTo>
                  <a:lnTo>
                    <a:pt x="134" y="525"/>
                  </a:lnTo>
                  <a:lnTo>
                    <a:pt x="134" y="523"/>
                  </a:lnTo>
                  <a:lnTo>
                    <a:pt x="130" y="520"/>
                  </a:lnTo>
                  <a:lnTo>
                    <a:pt x="130" y="508"/>
                  </a:lnTo>
                  <a:lnTo>
                    <a:pt x="127" y="506"/>
                  </a:lnTo>
                  <a:lnTo>
                    <a:pt x="120" y="506"/>
                  </a:lnTo>
                  <a:lnTo>
                    <a:pt x="94" y="497"/>
                  </a:lnTo>
                  <a:lnTo>
                    <a:pt x="94" y="459"/>
                  </a:lnTo>
                  <a:lnTo>
                    <a:pt x="89" y="456"/>
                  </a:lnTo>
                  <a:lnTo>
                    <a:pt x="87" y="449"/>
                  </a:lnTo>
                  <a:lnTo>
                    <a:pt x="80" y="442"/>
                  </a:lnTo>
                  <a:lnTo>
                    <a:pt x="80" y="428"/>
                  </a:lnTo>
                  <a:lnTo>
                    <a:pt x="73" y="428"/>
                  </a:lnTo>
                  <a:lnTo>
                    <a:pt x="71" y="426"/>
                  </a:lnTo>
                  <a:lnTo>
                    <a:pt x="63" y="426"/>
                  </a:lnTo>
                  <a:lnTo>
                    <a:pt x="63" y="419"/>
                  </a:lnTo>
                  <a:lnTo>
                    <a:pt x="61" y="419"/>
                  </a:lnTo>
                  <a:lnTo>
                    <a:pt x="56" y="416"/>
                  </a:lnTo>
                  <a:lnTo>
                    <a:pt x="54" y="419"/>
                  </a:lnTo>
                  <a:lnTo>
                    <a:pt x="49" y="419"/>
                  </a:lnTo>
                  <a:lnTo>
                    <a:pt x="47" y="423"/>
                  </a:lnTo>
                  <a:lnTo>
                    <a:pt x="45" y="426"/>
                  </a:lnTo>
                  <a:lnTo>
                    <a:pt x="45" y="423"/>
                  </a:lnTo>
                  <a:lnTo>
                    <a:pt x="40" y="419"/>
                  </a:lnTo>
                  <a:lnTo>
                    <a:pt x="37" y="419"/>
                  </a:lnTo>
                  <a:lnTo>
                    <a:pt x="33" y="416"/>
                  </a:lnTo>
                  <a:lnTo>
                    <a:pt x="30" y="412"/>
                  </a:lnTo>
                  <a:lnTo>
                    <a:pt x="30" y="400"/>
                  </a:lnTo>
                  <a:lnTo>
                    <a:pt x="33" y="395"/>
                  </a:lnTo>
                  <a:lnTo>
                    <a:pt x="33" y="371"/>
                  </a:lnTo>
                  <a:lnTo>
                    <a:pt x="23" y="360"/>
                  </a:lnTo>
                  <a:lnTo>
                    <a:pt x="21" y="352"/>
                  </a:lnTo>
                  <a:lnTo>
                    <a:pt x="14" y="345"/>
                  </a:lnTo>
                  <a:lnTo>
                    <a:pt x="0" y="312"/>
                  </a:lnTo>
                  <a:lnTo>
                    <a:pt x="4" y="308"/>
                  </a:lnTo>
                  <a:lnTo>
                    <a:pt x="7" y="303"/>
                  </a:lnTo>
                  <a:lnTo>
                    <a:pt x="16" y="303"/>
                  </a:lnTo>
                  <a:lnTo>
                    <a:pt x="21" y="305"/>
                  </a:lnTo>
                  <a:lnTo>
                    <a:pt x="26" y="305"/>
                  </a:lnTo>
                  <a:lnTo>
                    <a:pt x="30" y="308"/>
                  </a:lnTo>
                  <a:lnTo>
                    <a:pt x="33" y="312"/>
                  </a:lnTo>
                  <a:lnTo>
                    <a:pt x="40" y="312"/>
                  </a:lnTo>
                  <a:lnTo>
                    <a:pt x="47" y="305"/>
                  </a:lnTo>
                  <a:lnTo>
                    <a:pt x="45" y="296"/>
                  </a:lnTo>
                  <a:lnTo>
                    <a:pt x="40" y="267"/>
                  </a:lnTo>
                  <a:lnTo>
                    <a:pt x="45" y="265"/>
                  </a:lnTo>
                  <a:lnTo>
                    <a:pt x="45" y="208"/>
                  </a:lnTo>
                  <a:lnTo>
                    <a:pt x="49" y="208"/>
                  </a:lnTo>
                  <a:lnTo>
                    <a:pt x="54" y="199"/>
                  </a:lnTo>
                  <a:lnTo>
                    <a:pt x="61" y="161"/>
                  </a:lnTo>
                  <a:lnTo>
                    <a:pt x="61" y="154"/>
                  </a:lnTo>
                  <a:lnTo>
                    <a:pt x="56" y="126"/>
                  </a:lnTo>
                  <a:lnTo>
                    <a:pt x="54" y="104"/>
                  </a:lnTo>
                  <a:lnTo>
                    <a:pt x="49" y="97"/>
                  </a:lnTo>
                  <a:lnTo>
                    <a:pt x="49" y="48"/>
                  </a:lnTo>
                  <a:lnTo>
                    <a:pt x="47" y="52"/>
                  </a:lnTo>
                  <a:lnTo>
                    <a:pt x="45" y="48"/>
                  </a:lnTo>
                  <a:lnTo>
                    <a:pt x="47" y="34"/>
                  </a:lnTo>
                  <a:lnTo>
                    <a:pt x="54" y="34"/>
                  </a:lnTo>
                  <a:lnTo>
                    <a:pt x="97" y="41"/>
                  </a:lnTo>
                  <a:lnTo>
                    <a:pt x="97" y="17"/>
                  </a:lnTo>
                  <a:lnTo>
                    <a:pt x="101" y="8"/>
                  </a:lnTo>
                  <a:lnTo>
                    <a:pt x="101" y="0"/>
                  </a:lnTo>
                  <a:lnTo>
                    <a:pt x="122" y="0"/>
                  </a:lnTo>
                  <a:lnTo>
                    <a:pt x="137" y="5"/>
                  </a:lnTo>
                  <a:lnTo>
                    <a:pt x="158" y="5"/>
                  </a:lnTo>
                  <a:lnTo>
                    <a:pt x="163" y="8"/>
                  </a:lnTo>
                  <a:lnTo>
                    <a:pt x="186" y="8"/>
                  </a:lnTo>
                  <a:lnTo>
                    <a:pt x="219" y="12"/>
                  </a:lnTo>
                  <a:lnTo>
                    <a:pt x="226" y="12"/>
                  </a:lnTo>
                  <a:lnTo>
                    <a:pt x="231" y="15"/>
                  </a:lnTo>
                  <a:lnTo>
                    <a:pt x="238" y="15"/>
                  </a:lnTo>
                  <a:lnTo>
                    <a:pt x="241" y="22"/>
                  </a:lnTo>
                  <a:lnTo>
                    <a:pt x="243" y="24"/>
                  </a:lnTo>
                  <a:lnTo>
                    <a:pt x="243" y="29"/>
                  </a:lnTo>
                  <a:lnTo>
                    <a:pt x="248" y="31"/>
                  </a:lnTo>
                  <a:lnTo>
                    <a:pt x="250" y="41"/>
                  </a:lnTo>
                  <a:lnTo>
                    <a:pt x="255" y="45"/>
                  </a:lnTo>
                  <a:lnTo>
                    <a:pt x="260" y="48"/>
                  </a:lnTo>
                  <a:lnTo>
                    <a:pt x="264" y="48"/>
                  </a:lnTo>
                  <a:lnTo>
                    <a:pt x="267" y="52"/>
                  </a:lnTo>
                  <a:lnTo>
                    <a:pt x="278" y="62"/>
                  </a:lnTo>
                  <a:lnTo>
                    <a:pt x="281" y="69"/>
                  </a:lnTo>
                  <a:lnTo>
                    <a:pt x="288" y="71"/>
                  </a:lnTo>
                  <a:lnTo>
                    <a:pt x="295" y="78"/>
                  </a:lnTo>
                  <a:lnTo>
                    <a:pt x="297" y="81"/>
                  </a:lnTo>
                  <a:lnTo>
                    <a:pt x="297" y="88"/>
                  </a:lnTo>
                  <a:lnTo>
                    <a:pt x="304" y="93"/>
                  </a:lnTo>
                  <a:lnTo>
                    <a:pt x="311" y="97"/>
                  </a:lnTo>
                  <a:lnTo>
                    <a:pt x="321" y="104"/>
                  </a:lnTo>
                  <a:lnTo>
                    <a:pt x="328" y="109"/>
                  </a:lnTo>
                  <a:lnTo>
                    <a:pt x="330" y="112"/>
                  </a:lnTo>
                  <a:lnTo>
                    <a:pt x="335" y="114"/>
                  </a:lnTo>
                  <a:lnTo>
                    <a:pt x="340" y="121"/>
                  </a:lnTo>
                  <a:lnTo>
                    <a:pt x="345" y="126"/>
                  </a:lnTo>
                  <a:lnTo>
                    <a:pt x="347" y="128"/>
                  </a:lnTo>
                  <a:lnTo>
                    <a:pt x="347" y="137"/>
                  </a:lnTo>
                  <a:lnTo>
                    <a:pt x="354" y="152"/>
                  </a:lnTo>
                  <a:lnTo>
                    <a:pt x="361" y="159"/>
                  </a:lnTo>
                  <a:lnTo>
                    <a:pt x="361" y="185"/>
                  </a:lnTo>
                  <a:lnTo>
                    <a:pt x="371" y="208"/>
                  </a:lnTo>
                  <a:lnTo>
                    <a:pt x="378" y="215"/>
                  </a:lnTo>
                  <a:lnTo>
                    <a:pt x="380" y="218"/>
                  </a:lnTo>
                  <a:lnTo>
                    <a:pt x="385" y="223"/>
                  </a:lnTo>
                  <a:lnTo>
                    <a:pt x="392" y="223"/>
                  </a:lnTo>
                  <a:lnTo>
                    <a:pt x="392" y="225"/>
                  </a:lnTo>
                  <a:lnTo>
                    <a:pt x="394" y="225"/>
                  </a:lnTo>
                  <a:lnTo>
                    <a:pt x="397" y="230"/>
                  </a:lnTo>
                  <a:lnTo>
                    <a:pt x="397" y="232"/>
                  </a:lnTo>
                  <a:lnTo>
                    <a:pt x="404" y="239"/>
                  </a:lnTo>
                  <a:lnTo>
                    <a:pt x="408" y="239"/>
                  </a:lnTo>
                  <a:lnTo>
                    <a:pt x="408" y="241"/>
                  </a:lnTo>
                  <a:lnTo>
                    <a:pt x="413" y="241"/>
                  </a:lnTo>
                  <a:lnTo>
                    <a:pt x="420" y="246"/>
                  </a:lnTo>
                  <a:lnTo>
                    <a:pt x="432" y="251"/>
                  </a:lnTo>
                  <a:lnTo>
                    <a:pt x="448" y="263"/>
                  </a:lnTo>
                  <a:lnTo>
                    <a:pt x="451" y="265"/>
                  </a:lnTo>
                  <a:lnTo>
                    <a:pt x="453" y="265"/>
                  </a:lnTo>
                  <a:lnTo>
                    <a:pt x="458" y="267"/>
                  </a:lnTo>
                  <a:lnTo>
                    <a:pt x="460" y="267"/>
                  </a:lnTo>
                  <a:lnTo>
                    <a:pt x="465" y="272"/>
                  </a:lnTo>
                  <a:lnTo>
                    <a:pt x="467" y="272"/>
                  </a:lnTo>
                  <a:lnTo>
                    <a:pt x="458" y="286"/>
                  </a:lnTo>
                  <a:lnTo>
                    <a:pt x="453" y="296"/>
                  </a:lnTo>
                  <a:lnTo>
                    <a:pt x="420" y="348"/>
                  </a:lnTo>
                  <a:lnTo>
                    <a:pt x="413" y="362"/>
                  </a:lnTo>
                  <a:lnTo>
                    <a:pt x="411" y="369"/>
                  </a:lnTo>
                  <a:lnTo>
                    <a:pt x="413" y="383"/>
                  </a:lnTo>
                  <a:lnTo>
                    <a:pt x="418" y="409"/>
                  </a:lnTo>
                  <a:lnTo>
                    <a:pt x="432" y="461"/>
                  </a:lnTo>
                  <a:lnTo>
                    <a:pt x="432" y="480"/>
                  </a:lnTo>
                  <a:lnTo>
                    <a:pt x="432" y="47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39" name="Freeform 224">
              <a:extLst>
                <a:ext uri="{FF2B5EF4-FFF2-40B4-BE49-F238E27FC236}">
                  <a16:creationId xmlns:a16="http://schemas.microsoft.com/office/drawing/2014/main" id="{86E381D8-50D0-4CCC-B7E3-62C1F58A0BEE}"/>
                </a:ext>
              </a:extLst>
            </p:cNvPr>
            <p:cNvSpPr>
              <a:spLocks/>
            </p:cNvSpPr>
            <p:nvPr/>
          </p:nvSpPr>
          <p:spPr bwMode="gray">
            <a:xfrm rot="47099">
              <a:off x="1298171" y="3724040"/>
              <a:ext cx="153462" cy="220866"/>
            </a:xfrm>
            <a:custGeom>
              <a:avLst/>
              <a:gdLst>
                <a:gd name="T0" fmla="*/ 82 w 330"/>
                <a:gd name="T1" fmla="*/ 444 h 475"/>
                <a:gd name="T2" fmla="*/ 78 w 330"/>
                <a:gd name="T3" fmla="*/ 451 h 475"/>
                <a:gd name="T4" fmla="*/ 61 w 330"/>
                <a:gd name="T5" fmla="*/ 444 h 475"/>
                <a:gd name="T6" fmla="*/ 47 w 330"/>
                <a:gd name="T7" fmla="*/ 440 h 475"/>
                <a:gd name="T8" fmla="*/ 40 w 330"/>
                <a:gd name="T9" fmla="*/ 423 h 475"/>
                <a:gd name="T10" fmla="*/ 30 w 330"/>
                <a:gd name="T11" fmla="*/ 404 h 475"/>
                <a:gd name="T12" fmla="*/ 33 w 330"/>
                <a:gd name="T13" fmla="*/ 399 h 475"/>
                <a:gd name="T14" fmla="*/ 33 w 330"/>
                <a:gd name="T15" fmla="*/ 392 h 475"/>
                <a:gd name="T16" fmla="*/ 33 w 330"/>
                <a:gd name="T17" fmla="*/ 378 h 475"/>
                <a:gd name="T18" fmla="*/ 42 w 330"/>
                <a:gd name="T19" fmla="*/ 331 h 475"/>
                <a:gd name="T20" fmla="*/ 49 w 330"/>
                <a:gd name="T21" fmla="*/ 321 h 475"/>
                <a:gd name="T22" fmla="*/ 47 w 330"/>
                <a:gd name="T23" fmla="*/ 307 h 475"/>
                <a:gd name="T24" fmla="*/ 21 w 330"/>
                <a:gd name="T25" fmla="*/ 267 h 475"/>
                <a:gd name="T26" fmla="*/ 0 w 330"/>
                <a:gd name="T27" fmla="*/ 175 h 475"/>
                <a:gd name="T28" fmla="*/ 42 w 330"/>
                <a:gd name="T29" fmla="*/ 102 h 475"/>
                <a:gd name="T30" fmla="*/ 66 w 330"/>
                <a:gd name="T31" fmla="*/ 81 h 475"/>
                <a:gd name="T32" fmla="*/ 87 w 330"/>
                <a:gd name="T33" fmla="*/ 57 h 475"/>
                <a:gd name="T34" fmla="*/ 106 w 330"/>
                <a:gd name="T35" fmla="*/ 14 h 475"/>
                <a:gd name="T36" fmla="*/ 130 w 330"/>
                <a:gd name="T37" fmla="*/ 5 h 475"/>
                <a:gd name="T38" fmla="*/ 139 w 330"/>
                <a:gd name="T39" fmla="*/ 7 h 475"/>
                <a:gd name="T40" fmla="*/ 179 w 330"/>
                <a:gd name="T41" fmla="*/ 14 h 475"/>
                <a:gd name="T42" fmla="*/ 210 w 330"/>
                <a:gd name="T43" fmla="*/ 24 h 475"/>
                <a:gd name="T44" fmla="*/ 226 w 330"/>
                <a:gd name="T45" fmla="*/ 38 h 475"/>
                <a:gd name="T46" fmla="*/ 234 w 330"/>
                <a:gd name="T47" fmla="*/ 45 h 475"/>
                <a:gd name="T48" fmla="*/ 264 w 330"/>
                <a:gd name="T49" fmla="*/ 73 h 475"/>
                <a:gd name="T50" fmla="*/ 267 w 330"/>
                <a:gd name="T51" fmla="*/ 88 h 475"/>
                <a:gd name="T52" fmla="*/ 276 w 330"/>
                <a:gd name="T53" fmla="*/ 109 h 475"/>
                <a:gd name="T54" fmla="*/ 288 w 330"/>
                <a:gd name="T55" fmla="*/ 125 h 475"/>
                <a:gd name="T56" fmla="*/ 288 w 330"/>
                <a:gd name="T57" fmla="*/ 137 h 475"/>
                <a:gd name="T58" fmla="*/ 300 w 330"/>
                <a:gd name="T59" fmla="*/ 154 h 475"/>
                <a:gd name="T60" fmla="*/ 316 w 330"/>
                <a:gd name="T61" fmla="*/ 175 h 475"/>
                <a:gd name="T62" fmla="*/ 323 w 330"/>
                <a:gd name="T63" fmla="*/ 184 h 475"/>
                <a:gd name="T64" fmla="*/ 330 w 330"/>
                <a:gd name="T65" fmla="*/ 192 h 475"/>
                <a:gd name="T66" fmla="*/ 316 w 330"/>
                <a:gd name="T67" fmla="*/ 201 h 475"/>
                <a:gd name="T68" fmla="*/ 288 w 330"/>
                <a:gd name="T69" fmla="*/ 201 h 475"/>
                <a:gd name="T70" fmla="*/ 250 w 330"/>
                <a:gd name="T71" fmla="*/ 239 h 475"/>
                <a:gd name="T72" fmla="*/ 260 w 330"/>
                <a:gd name="T73" fmla="*/ 255 h 475"/>
                <a:gd name="T74" fmla="*/ 274 w 330"/>
                <a:gd name="T75" fmla="*/ 265 h 475"/>
                <a:gd name="T76" fmla="*/ 260 w 330"/>
                <a:gd name="T77" fmla="*/ 291 h 475"/>
                <a:gd name="T78" fmla="*/ 234 w 330"/>
                <a:gd name="T79" fmla="*/ 303 h 475"/>
                <a:gd name="T80" fmla="*/ 234 w 330"/>
                <a:gd name="T81" fmla="*/ 336 h 475"/>
                <a:gd name="T82" fmla="*/ 248 w 330"/>
                <a:gd name="T83" fmla="*/ 352 h 475"/>
                <a:gd name="T84" fmla="*/ 257 w 330"/>
                <a:gd name="T85" fmla="*/ 383 h 475"/>
                <a:gd name="T86" fmla="*/ 267 w 330"/>
                <a:gd name="T87" fmla="*/ 392 h 475"/>
                <a:gd name="T88" fmla="*/ 260 w 330"/>
                <a:gd name="T89" fmla="*/ 388 h 475"/>
                <a:gd name="T90" fmla="*/ 276 w 330"/>
                <a:gd name="T91" fmla="*/ 404 h 475"/>
                <a:gd name="T92" fmla="*/ 300 w 330"/>
                <a:gd name="T93" fmla="*/ 411 h 475"/>
                <a:gd name="T94" fmla="*/ 276 w 330"/>
                <a:gd name="T95" fmla="*/ 416 h 475"/>
                <a:gd name="T96" fmla="*/ 255 w 330"/>
                <a:gd name="T97" fmla="*/ 418 h 475"/>
                <a:gd name="T98" fmla="*/ 248 w 330"/>
                <a:gd name="T99" fmla="*/ 433 h 475"/>
                <a:gd name="T100" fmla="*/ 248 w 330"/>
                <a:gd name="T101" fmla="*/ 473 h 475"/>
                <a:gd name="T102" fmla="*/ 234 w 330"/>
                <a:gd name="T103" fmla="*/ 473 h 475"/>
                <a:gd name="T104" fmla="*/ 217 w 330"/>
                <a:gd name="T105" fmla="*/ 456 h 475"/>
                <a:gd name="T106" fmla="*/ 203 w 330"/>
                <a:gd name="T107" fmla="*/ 456 h 475"/>
                <a:gd name="T108" fmla="*/ 184 w 330"/>
                <a:gd name="T109" fmla="*/ 456 h 475"/>
                <a:gd name="T110" fmla="*/ 170 w 330"/>
                <a:gd name="T111" fmla="*/ 442 h 475"/>
                <a:gd name="T112" fmla="*/ 163 w 330"/>
                <a:gd name="T113" fmla="*/ 433 h 475"/>
                <a:gd name="T114" fmla="*/ 130 w 330"/>
                <a:gd name="T115" fmla="*/ 423 h 475"/>
                <a:gd name="T116" fmla="*/ 94 w 330"/>
                <a:gd name="T117" fmla="*/ 428 h 4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0"/>
                <a:gd name="T178" fmla="*/ 0 h 475"/>
                <a:gd name="T179" fmla="*/ 330 w 330"/>
                <a:gd name="T180" fmla="*/ 475 h 4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0" h="475">
                  <a:moveTo>
                    <a:pt x="94" y="428"/>
                  </a:moveTo>
                  <a:lnTo>
                    <a:pt x="89" y="433"/>
                  </a:lnTo>
                  <a:lnTo>
                    <a:pt x="82" y="444"/>
                  </a:lnTo>
                  <a:lnTo>
                    <a:pt x="82" y="458"/>
                  </a:lnTo>
                  <a:lnTo>
                    <a:pt x="80" y="456"/>
                  </a:lnTo>
                  <a:lnTo>
                    <a:pt x="78" y="451"/>
                  </a:lnTo>
                  <a:lnTo>
                    <a:pt x="73" y="449"/>
                  </a:lnTo>
                  <a:lnTo>
                    <a:pt x="66" y="449"/>
                  </a:lnTo>
                  <a:lnTo>
                    <a:pt x="61" y="444"/>
                  </a:lnTo>
                  <a:lnTo>
                    <a:pt x="54" y="444"/>
                  </a:lnTo>
                  <a:lnTo>
                    <a:pt x="49" y="442"/>
                  </a:lnTo>
                  <a:lnTo>
                    <a:pt x="47" y="440"/>
                  </a:lnTo>
                  <a:lnTo>
                    <a:pt x="47" y="425"/>
                  </a:lnTo>
                  <a:lnTo>
                    <a:pt x="42" y="423"/>
                  </a:lnTo>
                  <a:lnTo>
                    <a:pt x="40" y="423"/>
                  </a:lnTo>
                  <a:lnTo>
                    <a:pt x="37" y="418"/>
                  </a:lnTo>
                  <a:lnTo>
                    <a:pt x="26" y="404"/>
                  </a:lnTo>
                  <a:lnTo>
                    <a:pt x="30" y="404"/>
                  </a:lnTo>
                  <a:lnTo>
                    <a:pt x="30" y="402"/>
                  </a:lnTo>
                  <a:lnTo>
                    <a:pt x="33" y="402"/>
                  </a:lnTo>
                  <a:lnTo>
                    <a:pt x="33" y="399"/>
                  </a:lnTo>
                  <a:lnTo>
                    <a:pt x="37" y="395"/>
                  </a:lnTo>
                  <a:lnTo>
                    <a:pt x="33" y="395"/>
                  </a:lnTo>
                  <a:lnTo>
                    <a:pt x="33" y="392"/>
                  </a:lnTo>
                  <a:lnTo>
                    <a:pt x="30" y="388"/>
                  </a:lnTo>
                  <a:lnTo>
                    <a:pt x="30" y="383"/>
                  </a:lnTo>
                  <a:lnTo>
                    <a:pt x="33" y="378"/>
                  </a:lnTo>
                  <a:lnTo>
                    <a:pt x="40" y="376"/>
                  </a:lnTo>
                  <a:lnTo>
                    <a:pt x="42" y="369"/>
                  </a:lnTo>
                  <a:lnTo>
                    <a:pt x="42" y="331"/>
                  </a:lnTo>
                  <a:lnTo>
                    <a:pt x="47" y="329"/>
                  </a:lnTo>
                  <a:lnTo>
                    <a:pt x="47" y="326"/>
                  </a:lnTo>
                  <a:lnTo>
                    <a:pt x="49" y="321"/>
                  </a:lnTo>
                  <a:lnTo>
                    <a:pt x="49" y="319"/>
                  </a:lnTo>
                  <a:lnTo>
                    <a:pt x="47" y="312"/>
                  </a:lnTo>
                  <a:lnTo>
                    <a:pt x="47" y="307"/>
                  </a:lnTo>
                  <a:lnTo>
                    <a:pt x="23" y="286"/>
                  </a:lnTo>
                  <a:lnTo>
                    <a:pt x="21" y="286"/>
                  </a:lnTo>
                  <a:lnTo>
                    <a:pt x="21" y="267"/>
                  </a:lnTo>
                  <a:lnTo>
                    <a:pt x="7" y="215"/>
                  </a:lnTo>
                  <a:lnTo>
                    <a:pt x="2" y="189"/>
                  </a:lnTo>
                  <a:lnTo>
                    <a:pt x="0" y="175"/>
                  </a:lnTo>
                  <a:lnTo>
                    <a:pt x="2" y="168"/>
                  </a:lnTo>
                  <a:lnTo>
                    <a:pt x="9" y="154"/>
                  </a:lnTo>
                  <a:lnTo>
                    <a:pt x="42" y="102"/>
                  </a:lnTo>
                  <a:lnTo>
                    <a:pt x="47" y="92"/>
                  </a:lnTo>
                  <a:lnTo>
                    <a:pt x="56" y="78"/>
                  </a:lnTo>
                  <a:lnTo>
                    <a:pt x="66" y="81"/>
                  </a:lnTo>
                  <a:lnTo>
                    <a:pt x="73" y="71"/>
                  </a:lnTo>
                  <a:lnTo>
                    <a:pt x="82" y="64"/>
                  </a:lnTo>
                  <a:lnTo>
                    <a:pt x="87" y="57"/>
                  </a:lnTo>
                  <a:lnTo>
                    <a:pt x="89" y="47"/>
                  </a:lnTo>
                  <a:lnTo>
                    <a:pt x="94" y="38"/>
                  </a:lnTo>
                  <a:lnTo>
                    <a:pt x="106" y="14"/>
                  </a:lnTo>
                  <a:lnTo>
                    <a:pt x="113" y="12"/>
                  </a:lnTo>
                  <a:lnTo>
                    <a:pt x="120" y="12"/>
                  </a:lnTo>
                  <a:lnTo>
                    <a:pt x="130" y="5"/>
                  </a:lnTo>
                  <a:lnTo>
                    <a:pt x="137" y="0"/>
                  </a:lnTo>
                  <a:lnTo>
                    <a:pt x="137" y="5"/>
                  </a:lnTo>
                  <a:lnTo>
                    <a:pt x="139" y="7"/>
                  </a:lnTo>
                  <a:lnTo>
                    <a:pt x="151" y="12"/>
                  </a:lnTo>
                  <a:lnTo>
                    <a:pt x="177" y="12"/>
                  </a:lnTo>
                  <a:lnTo>
                    <a:pt x="179" y="14"/>
                  </a:lnTo>
                  <a:lnTo>
                    <a:pt x="203" y="14"/>
                  </a:lnTo>
                  <a:lnTo>
                    <a:pt x="208" y="21"/>
                  </a:lnTo>
                  <a:lnTo>
                    <a:pt x="210" y="24"/>
                  </a:lnTo>
                  <a:lnTo>
                    <a:pt x="215" y="29"/>
                  </a:lnTo>
                  <a:lnTo>
                    <a:pt x="219" y="36"/>
                  </a:lnTo>
                  <a:lnTo>
                    <a:pt x="226" y="38"/>
                  </a:lnTo>
                  <a:lnTo>
                    <a:pt x="226" y="40"/>
                  </a:lnTo>
                  <a:lnTo>
                    <a:pt x="234" y="40"/>
                  </a:lnTo>
                  <a:lnTo>
                    <a:pt x="234" y="45"/>
                  </a:lnTo>
                  <a:lnTo>
                    <a:pt x="241" y="52"/>
                  </a:lnTo>
                  <a:lnTo>
                    <a:pt x="255" y="62"/>
                  </a:lnTo>
                  <a:lnTo>
                    <a:pt x="264" y="73"/>
                  </a:lnTo>
                  <a:lnTo>
                    <a:pt x="267" y="85"/>
                  </a:lnTo>
                  <a:lnTo>
                    <a:pt x="264" y="88"/>
                  </a:lnTo>
                  <a:lnTo>
                    <a:pt x="267" y="88"/>
                  </a:lnTo>
                  <a:lnTo>
                    <a:pt x="267" y="92"/>
                  </a:lnTo>
                  <a:lnTo>
                    <a:pt x="274" y="97"/>
                  </a:lnTo>
                  <a:lnTo>
                    <a:pt x="276" y="109"/>
                  </a:lnTo>
                  <a:lnTo>
                    <a:pt x="276" y="111"/>
                  </a:lnTo>
                  <a:lnTo>
                    <a:pt x="281" y="118"/>
                  </a:lnTo>
                  <a:lnTo>
                    <a:pt x="288" y="125"/>
                  </a:lnTo>
                  <a:lnTo>
                    <a:pt x="288" y="128"/>
                  </a:lnTo>
                  <a:lnTo>
                    <a:pt x="290" y="135"/>
                  </a:lnTo>
                  <a:lnTo>
                    <a:pt x="288" y="137"/>
                  </a:lnTo>
                  <a:lnTo>
                    <a:pt x="295" y="149"/>
                  </a:lnTo>
                  <a:lnTo>
                    <a:pt x="297" y="151"/>
                  </a:lnTo>
                  <a:lnTo>
                    <a:pt x="300" y="154"/>
                  </a:lnTo>
                  <a:lnTo>
                    <a:pt x="307" y="158"/>
                  </a:lnTo>
                  <a:lnTo>
                    <a:pt x="312" y="161"/>
                  </a:lnTo>
                  <a:lnTo>
                    <a:pt x="316" y="175"/>
                  </a:lnTo>
                  <a:lnTo>
                    <a:pt x="321" y="175"/>
                  </a:lnTo>
                  <a:lnTo>
                    <a:pt x="323" y="182"/>
                  </a:lnTo>
                  <a:lnTo>
                    <a:pt x="323" y="184"/>
                  </a:lnTo>
                  <a:lnTo>
                    <a:pt x="328" y="189"/>
                  </a:lnTo>
                  <a:lnTo>
                    <a:pt x="328" y="192"/>
                  </a:lnTo>
                  <a:lnTo>
                    <a:pt x="330" y="192"/>
                  </a:lnTo>
                  <a:lnTo>
                    <a:pt x="328" y="194"/>
                  </a:lnTo>
                  <a:lnTo>
                    <a:pt x="316" y="206"/>
                  </a:lnTo>
                  <a:lnTo>
                    <a:pt x="316" y="201"/>
                  </a:lnTo>
                  <a:lnTo>
                    <a:pt x="300" y="192"/>
                  </a:lnTo>
                  <a:lnTo>
                    <a:pt x="290" y="199"/>
                  </a:lnTo>
                  <a:lnTo>
                    <a:pt x="288" y="201"/>
                  </a:lnTo>
                  <a:lnTo>
                    <a:pt x="281" y="225"/>
                  </a:lnTo>
                  <a:lnTo>
                    <a:pt x="267" y="225"/>
                  </a:lnTo>
                  <a:lnTo>
                    <a:pt x="250" y="239"/>
                  </a:lnTo>
                  <a:lnTo>
                    <a:pt x="250" y="258"/>
                  </a:lnTo>
                  <a:lnTo>
                    <a:pt x="260" y="258"/>
                  </a:lnTo>
                  <a:lnTo>
                    <a:pt x="260" y="255"/>
                  </a:lnTo>
                  <a:lnTo>
                    <a:pt x="271" y="258"/>
                  </a:lnTo>
                  <a:lnTo>
                    <a:pt x="271" y="262"/>
                  </a:lnTo>
                  <a:lnTo>
                    <a:pt x="274" y="265"/>
                  </a:lnTo>
                  <a:lnTo>
                    <a:pt x="271" y="272"/>
                  </a:lnTo>
                  <a:lnTo>
                    <a:pt x="271" y="281"/>
                  </a:lnTo>
                  <a:lnTo>
                    <a:pt x="260" y="291"/>
                  </a:lnTo>
                  <a:lnTo>
                    <a:pt x="257" y="291"/>
                  </a:lnTo>
                  <a:lnTo>
                    <a:pt x="250" y="288"/>
                  </a:lnTo>
                  <a:lnTo>
                    <a:pt x="234" y="303"/>
                  </a:lnTo>
                  <a:lnTo>
                    <a:pt x="217" y="314"/>
                  </a:lnTo>
                  <a:lnTo>
                    <a:pt x="231" y="336"/>
                  </a:lnTo>
                  <a:lnTo>
                    <a:pt x="234" y="336"/>
                  </a:lnTo>
                  <a:lnTo>
                    <a:pt x="236" y="338"/>
                  </a:lnTo>
                  <a:lnTo>
                    <a:pt x="241" y="343"/>
                  </a:lnTo>
                  <a:lnTo>
                    <a:pt x="248" y="352"/>
                  </a:lnTo>
                  <a:lnTo>
                    <a:pt x="248" y="371"/>
                  </a:lnTo>
                  <a:lnTo>
                    <a:pt x="255" y="378"/>
                  </a:lnTo>
                  <a:lnTo>
                    <a:pt x="257" y="383"/>
                  </a:lnTo>
                  <a:lnTo>
                    <a:pt x="264" y="385"/>
                  </a:lnTo>
                  <a:lnTo>
                    <a:pt x="267" y="388"/>
                  </a:lnTo>
                  <a:lnTo>
                    <a:pt x="267" y="392"/>
                  </a:lnTo>
                  <a:lnTo>
                    <a:pt x="264" y="392"/>
                  </a:lnTo>
                  <a:lnTo>
                    <a:pt x="264" y="388"/>
                  </a:lnTo>
                  <a:lnTo>
                    <a:pt x="260" y="388"/>
                  </a:lnTo>
                  <a:lnTo>
                    <a:pt x="257" y="392"/>
                  </a:lnTo>
                  <a:lnTo>
                    <a:pt x="271" y="402"/>
                  </a:lnTo>
                  <a:lnTo>
                    <a:pt x="276" y="404"/>
                  </a:lnTo>
                  <a:lnTo>
                    <a:pt x="283" y="409"/>
                  </a:lnTo>
                  <a:lnTo>
                    <a:pt x="295" y="409"/>
                  </a:lnTo>
                  <a:lnTo>
                    <a:pt x="300" y="411"/>
                  </a:lnTo>
                  <a:lnTo>
                    <a:pt x="297" y="418"/>
                  </a:lnTo>
                  <a:lnTo>
                    <a:pt x="281" y="418"/>
                  </a:lnTo>
                  <a:lnTo>
                    <a:pt x="276" y="416"/>
                  </a:lnTo>
                  <a:lnTo>
                    <a:pt x="271" y="416"/>
                  </a:lnTo>
                  <a:lnTo>
                    <a:pt x="257" y="418"/>
                  </a:lnTo>
                  <a:lnTo>
                    <a:pt x="255" y="418"/>
                  </a:lnTo>
                  <a:lnTo>
                    <a:pt x="250" y="423"/>
                  </a:lnTo>
                  <a:lnTo>
                    <a:pt x="248" y="428"/>
                  </a:lnTo>
                  <a:lnTo>
                    <a:pt x="248" y="433"/>
                  </a:lnTo>
                  <a:lnTo>
                    <a:pt x="250" y="449"/>
                  </a:lnTo>
                  <a:lnTo>
                    <a:pt x="250" y="468"/>
                  </a:lnTo>
                  <a:lnTo>
                    <a:pt x="248" y="473"/>
                  </a:lnTo>
                  <a:lnTo>
                    <a:pt x="248" y="475"/>
                  </a:lnTo>
                  <a:lnTo>
                    <a:pt x="243" y="473"/>
                  </a:lnTo>
                  <a:lnTo>
                    <a:pt x="234" y="473"/>
                  </a:lnTo>
                  <a:lnTo>
                    <a:pt x="226" y="468"/>
                  </a:lnTo>
                  <a:lnTo>
                    <a:pt x="219" y="461"/>
                  </a:lnTo>
                  <a:lnTo>
                    <a:pt x="217" y="456"/>
                  </a:lnTo>
                  <a:lnTo>
                    <a:pt x="215" y="451"/>
                  </a:lnTo>
                  <a:lnTo>
                    <a:pt x="210" y="451"/>
                  </a:lnTo>
                  <a:lnTo>
                    <a:pt x="203" y="456"/>
                  </a:lnTo>
                  <a:lnTo>
                    <a:pt x="193" y="458"/>
                  </a:lnTo>
                  <a:lnTo>
                    <a:pt x="186" y="458"/>
                  </a:lnTo>
                  <a:lnTo>
                    <a:pt x="184" y="456"/>
                  </a:lnTo>
                  <a:lnTo>
                    <a:pt x="184" y="449"/>
                  </a:lnTo>
                  <a:lnTo>
                    <a:pt x="179" y="444"/>
                  </a:lnTo>
                  <a:lnTo>
                    <a:pt x="170" y="442"/>
                  </a:lnTo>
                  <a:lnTo>
                    <a:pt x="170" y="440"/>
                  </a:lnTo>
                  <a:lnTo>
                    <a:pt x="167" y="435"/>
                  </a:lnTo>
                  <a:lnTo>
                    <a:pt x="163" y="433"/>
                  </a:lnTo>
                  <a:lnTo>
                    <a:pt x="160" y="433"/>
                  </a:lnTo>
                  <a:lnTo>
                    <a:pt x="158" y="428"/>
                  </a:lnTo>
                  <a:lnTo>
                    <a:pt x="130" y="423"/>
                  </a:lnTo>
                  <a:lnTo>
                    <a:pt x="97" y="423"/>
                  </a:lnTo>
                  <a:lnTo>
                    <a:pt x="97" y="425"/>
                  </a:lnTo>
                  <a:lnTo>
                    <a:pt x="94" y="42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0" name="Freeform 225">
              <a:extLst>
                <a:ext uri="{FF2B5EF4-FFF2-40B4-BE49-F238E27FC236}">
                  <a16:creationId xmlns:a16="http://schemas.microsoft.com/office/drawing/2014/main" id="{01167656-1B38-4193-AFF4-B0853C27099D}"/>
                </a:ext>
              </a:extLst>
            </p:cNvPr>
            <p:cNvSpPr>
              <a:spLocks/>
            </p:cNvSpPr>
            <p:nvPr/>
          </p:nvSpPr>
          <p:spPr bwMode="gray">
            <a:xfrm rot="47099">
              <a:off x="1735823" y="3728119"/>
              <a:ext cx="10696" cy="6510"/>
            </a:xfrm>
            <a:custGeom>
              <a:avLst/>
              <a:gdLst>
                <a:gd name="T0" fmla="*/ 23 w 23"/>
                <a:gd name="T1" fmla="*/ 9 h 14"/>
                <a:gd name="T2" fmla="*/ 21 w 23"/>
                <a:gd name="T3" fmla="*/ 14 h 14"/>
                <a:gd name="T4" fmla="*/ 18 w 23"/>
                <a:gd name="T5" fmla="*/ 14 h 14"/>
                <a:gd name="T6" fmla="*/ 4 w 23"/>
                <a:gd name="T7" fmla="*/ 7 h 14"/>
                <a:gd name="T8" fmla="*/ 0 w 23"/>
                <a:gd name="T9" fmla="*/ 7 h 14"/>
                <a:gd name="T10" fmla="*/ 0 w 23"/>
                <a:gd name="T11" fmla="*/ 2 h 14"/>
                <a:gd name="T12" fmla="*/ 4 w 23"/>
                <a:gd name="T13" fmla="*/ 2 h 14"/>
                <a:gd name="T14" fmla="*/ 11 w 23"/>
                <a:gd name="T15" fmla="*/ 0 h 14"/>
                <a:gd name="T16" fmla="*/ 14 w 23"/>
                <a:gd name="T17" fmla="*/ 0 h 14"/>
                <a:gd name="T18" fmla="*/ 23 w 23"/>
                <a:gd name="T19" fmla="*/ 2 h 14"/>
                <a:gd name="T20" fmla="*/ 23 w 23"/>
                <a:gd name="T21" fmla="*/ 9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4"/>
                <a:gd name="T35" fmla="*/ 23 w 23"/>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4">
                  <a:moveTo>
                    <a:pt x="23" y="9"/>
                  </a:moveTo>
                  <a:lnTo>
                    <a:pt x="21" y="14"/>
                  </a:lnTo>
                  <a:lnTo>
                    <a:pt x="18" y="14"/>
                  </a:lnTo>
                  <a:lnTo>
                    <a:pt x="4" y="7"/>
                  </a:lnTo>
                  <a:lnTo>
                    <a:pt x="0" y="7"/>
                  </a:lnTo>
                  <a:lnTo>
                    <a:pt x="0" y="2"/>
                  </a:lnTo>
                  <a:lnTo>
                    <a:pt x="4" y="2"/>
                  </a:lnTo>
                  <a:lnTo>
                    <a:pt x="11" y="0"/>
                  </a:lnTo>
                  <a:lnTo>
                    <a:pt x="14" y="0"/>
                  </a:lnTo>
                  <a:lnTo>
                    <a:pt x="23" y="2"/>
                  </a:lnTo>
                  <a:lnTo>
                    <a:pt x="23"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1" name="Freeform 226">
              <a:extLst>
                <a:ext uri="{FF2B5EF4-FFF2-40B4-BE49-F238E27FC236}">
                  <a16:creationId xmlns:a16="http://schemas.microsoft.com/office/drawing/2014/main" id="{03D0BDED-C456-448D-A1A0-CD80CE6A4E88}"/>
                </a:ext>
              </a:extLst>
            </p:cNvPr>
            <p:cNvSpPr>
              <a:spLocks/>
            </p:cNvSpPr>
            <p:nvPr/>
          </p:nvSpPr>
          <p:spPr bwMode="gray">
            <a:xfrm rot="47099">
              <a:off x="1656259" y="3586446"/>
              <a:ext cx="192061" cy="160418"/>
            </a:xfrm>
            <a:custGeom>
              <a:avLst/>
              <a:gdLst>
                <a:gd name="T0" fmla="*/ 307 w 413"/>
                <a:gd name="T1" fmla="*/ 321 h 345"/>
                <a:gd name="T2" fmla="*/ 284 w 413"/>
                <a:gd name="T3" fmla="*/ 338 h 345"/>
                <a:gd name="T4" fmla="*/ 258 w 413"/>
                <a:gd name="T5" fmla="*/ 336 h 345"/>
                <a:gd name="T6" fmla="*/ 243 w 413"/>
                <a:gd name="T7" fmla="*/ 336 h 345"/>
                <a:gd name="T8" fmla="*/ 232 w 413"/>
                <a:gd name="T9" fmla="*/ 328 h 345"/>
                <a:gd name="T10" fmla="*/ 248 w 413"/>
                <a:gd name="T11" fmla="*/ 331 h 345"/>
                <a:gd name="T12" fmla="*/ 213 w 413"/>
                <a:gd name="T13" fmla="*/ 312 h 345"/>
                <a:gd name="T14" fmla="*/ 201 w 413"/>
                <a:gd name="T15" fmla="*/ 291 h 345"/>
                <a:gd name="T16" fmla="*/ 163 w 413"/>
                <a:gd name="T17" fmla="*/ 295 h 345"/>
                <a:gd name="T18" fmla="*/ 156 w 413"/>
                <a:gd name="T19" fmla="*/ 314 h 345"/>
                <a:gd name="T20" fmla="*/ 111 w 413"/>
                <a:gd name="T21" fmla="*/ 307 h 345"/>
                <a:gd name="T22" fmla="*/ 73 w 413"/>
                <a:gd name="T23" fmla="*/ 302 h 345"/>
                <a:gd name="T24" fmla="*/ 33 w 413"/>
                <a:gd name="T25" fmla="*/ 312 h 345"/>
                <a:gd name="T26" fmla="*/ 26 w 413"/>
                <a:gd name="T27" fmla="*/ 302 h 345"/>
                <a:gd name="T28" fmla="*/ 38 w 413"/>
                <a:gd name="T29" fmla="*/ 288 h 345"/>
                <a:gd name="T30" fmla="*/ 40 w 413"/>
                <a:gd name="T31" fmla="*/ 262 h 345"/>
                <a:gd name="T32" fmla="*/ 40 w 413"/>
                <a:gd name="T33" fmla="*/ 225 h 345"/>
                <a:gd name="T34" fmla="*/ 47 w 413"/>
                <a:gd name="T35" fmla="*/ 177 h 345"/>
                <a:gd name="T36" fmla="*/ 38 w 413"/>
                <a:gd name="T37" fmla="*/ 161 h 345"/>
                <a:gd name="T38" fmla="*/ 24 w 413"/>
                <a:gd name="T39" fmla="*/ 135 h 345"/>
                <a:gd name="T40" fmla="*/ 14 w 413"/>
                <a:gd name="T41" fmla="*/ 118 h 345"/>
                <a:gd name="T42" fmla="*/ 0 w 413"/>
                <a:gd name="T43" fmla="*/ 38 h 345"/>
                <a:gd name="T44" fmla="*/ 95 w 413"/>
                <a:gd name="T45" fmla="*/ 10 h 345"/>
                <a:gd name="T46" fmla="*/ 180 w 413"/>
                <a:gd name="T47" fmla="*/ 5 h 345"/>
                <a:gd name="T48" fmla="*/ 210 w 413"/>
                <a:gd name="T49" fmla="*/ 5 h 345"/>
                <a:gd name="T50" fmla="*/ 217 w 413"/>
                <a:gd name="T51" fmla="*/ 0 h 345"/>
                <a:gd name="T52" fmla="*/ 217 w 413"/>
                <a:gd name="T53" fmla="*/ 21 h 345"/>
                <a:gd name="T54" fmla="*/ 217 w 413"/>
                <a:gd name="T55" fmla="*/ 31 h 345"/>
                <a:gd name="T56" fmla="*/ 232 w 413"/>
                <a:gd name="T57" fmla="*/ 50 h 345"/>
                <a:gd name="T58" fmla="*/ 220 w 413"/>
                <a:gd name="T59" fmla="*/ 73 h 345"/>
                <a:gd name="T60" fmla="*/ 234 w 413"/>
                <a:gd name="T61" fmla="*/ 78 h 345"/>
                <a:gd name="T62" fmla="*/ 217 w 413"/>
                <a:gd name="T63" fmla="*/ 102 h 345"/>
                <a:gd name="T64" fmla="*/ 208 w 413"/>
                <a:gd name="T65" fmla="*/ 128 h 345"/>
                <a:gd name="T66" fmla="*/ 201 w 413"/>
                <a:gd name="T67" fmla="*/ 154 h 345"/>
                <a:gd name="T68" fmla="*/ 196 w 413"/>
                <a:gd name="T69" fmla="*/ 175 h 345"/>
                <a:gd name="T70" fmla="*/ 310 w 413"/>
                <a:gd name="T71" fmla="*/ 170 h 345"/>
                <a:gd name="T72" fmla="*/ 338 w 413"/>
                <a:gd name="T73" fmla="*/ 182 h 345"/>
                <a:gd name="T74" fmla="*/ 340 w 413"/>
                <a:gd name="T75" fmla="*/ 206 h 345"/>
                <a:gd name="T76" fmla="*/ 357 w 413"/>
                <a:gd name="T77" fmla="*/ 232 h 345"/>
                <a:gd name="T78" fmla="*/ 350 w 413"/>
                <a:gd name="T79" fmla="*/ 239 h 345"/>
                <a:gd name="T80" fmla="*/ 321 w 413"/>
                <a:gd name="T81" fmla="*/ 225 h 345"/>
                <a:gd name="T82" fmla="*/ 298 w 413"/>
                <a:gd name="T83" fmla="*/ 250 h 345"/>
                <a:gd name="T84" fmla="*/ 328 w 413"/>
                <a:gd name="T85" fmla="*/ 255 h 345"/>
                <a:gd name="T86" fmla="*/ 354 w 413"/>
                <a:gd name="T87" fmla="*/ 241 h 345"/>
                <a:gd name="T88" fmla="*/ 340 w 413"/>
                <a:gd name="T89" fmla="*/ 258 h 345"/>
                <a:gd name="T90" fmla="*/ 362 w 413"/>
                <a:gd name="T91" fmla="*/ 262 h 345"/>
                <a:gd name="T92" fmla="*/ 380 w 413"/>
                <a:gd name="T93" fmla="*/ 262 h 345"/>
                <a:gd name="T94" fmla="*/ 364 w 413"/>
                <a:gd name="T95" fmla="*/ 274 h 345"/>
                <a:gd name="T96" fmla="*/ 371 w 413"/>
                <a:gd name="T97" fmla="*/ 302 h 345"/>
                <a:gd name="T98" fmla="*/ 411 w 413"/>
                <a:gd name="T99" fmla="*/ 319 h 345"/>
                <a:gd name="T100" fmla="*/ 404 w 413"/>
                <a:gd name="T101" fmla="*/ 336 h 345"/>
                <a:gd name="T102" fmla="*/ 388 w 413"/>
                <a:gd name="T103" fmla="*/ 345 h 345"/>
                <a:gd name="T104" fmla="*/ 388 w 413"/>
                <a:gd name="T105" fmla="*/ 338 h 345"/>
                <a:gd name="T106" fmla="*/ 390 w 413"/>
                <a:gd name="T107" fmla="*/ 328 h 345"/>
                <a:gd name="T108" fmla="*/ 369 w 413"/>
                <a:gd name="T109" fmla="*/ 319 h 345"/>
                <a:gd name="T110" fmla="*/ 350 w 413"/>
                <a:gd name="T111" fmla="*/ 307 h 345"/>
                <a:gd name="T112" fmla="*/ 317 w 413"/>
                <a:gd name="T113" fmla="*/ 298 h 345"/>
                <a:gd name="T114" fmla="*/ 331 w 413"/>
                <a:gd name="T115" fmla="*/ 307 h 345"/>
                <a:gd name="T116" fmla="*/ 317 w 413"/>
                <a:gd name="T117" fmla="*/ 343 h 3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3"/>
                <a:gd name="T178" fmla="*/ 0 h 345"/>
                <a:gd name="T179" fmla="*/ 413 w 413"/>
                <a:gd name="T180" fmla="*/ 345 h 34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3" h="345">
                  <a:moveTo>
                    <a:pt x="317" y="338"/>
                  </a:moveTo>
                  <a:lnTo>
                    <a:pt x="317" y="331"/>
                  </a:lnTo>
                  <a:lnTo>
                    <a:pt x="314" y="324"/>
                  </a:lnTo>
                  <a:lnTo>
                    <a:pt x="307" y="321"/>
                  </a:lnTo>
                  <a:lnTo>
                    <a:pt x="300" y="321"/>
                  </a:lnTo>
                  <a:lnTo>
                    <a:pt x="293" y="324"/>
                  </a:lnTo>
                  <a:lnTo>
                    <a:pt x="291" y="328"/>
                  </a:lnTo>
                  <a:lnTo>
                    <a:pt x="284" y="338"/>
                  </a:lnTo>
                  <a:lnTo>
                    <a:pt x="281" y="343"/>
                  </a:lnTo>
                  <a:lnTo>
                    <a:pt x="267" y="343"/>
                  </a:lnTo>
                  <a:lnTo>
                    <a:pt x="265" y="338"/>
                  </a:lnTo>
                  <a:lnTo>
                    <a:pt x="258" y="336"/>
                  </a:lnTo>
                  <a:lnTo>
                    <a:pt x="253" y="336"/>
                  </a:lnTo>
                  <a:lnTo>
                    <a:pt x="253" y="338"/>
                  </a:lnTo>
                  <a:lnTo>
                    <a:pt x="250" y="338"/>
                  </a:lnTo>
                  <a:lnTo>
                    <a:pt x="243" y="336"/>
                  </a:lnTo>
                  <a:lnTo>
                    <a:pt x="234" y="336"/>
                  </a:lnTo>
                  <a:lnTo>
                    <a:pt x="234" y="331"/>
                  </a:lnTo>
                  <a:lnTo>
                    <a:pt x="232" y="331"/>
                  </a:lnTo>
                  <a:lnTo>
                    <a:pt x="232" y="328"/>
                  </a:lnTo>
                  <a:lnTo>
                    <a:pt x="241" y="324"/>
                  </a:lnTo>
                  <a:lnTo>
                    <a:pt x="243" y="324"/>
                  </a:lnTo>
                  <a:lnTo>
                    <a:pt x="243" y="331"/>
                  </a:lnTo>
                  <a:lnTo>
                    <a:pt x="248" y="331"/>
                  </a:lnTo>
                  <a:lnTo>
                    <a:pt x="248" y="324"/>
                  </a:lnTo>
                  <a:lnTo>
                    <a:pt x="234" y="314"/>
                  </a:lnTo>
                  <a:lnTo>
                    <a:pt x="225" y="307"/>
                  </a:lnTo>
                  <a:lnTo>
                    <a:pt x="213" y="312"/>
                  </a:lnTo>
                  <a:lnTo>
                    <a:pt x="210" y="305"/>
                  </a:lnTo>
                  <a:lnTo>
                    <a:pt x="210" y="302"/>
                  </a:lnTo>
                  <a:lnTo>
                    <a:pt x="203" y="295"/>
                  </a:lnTo>
                  <a:lnTo>
                    <a:pt x="201" y="291"/>
                  </a:lnTo>
                  <a:lnTo>
                    <a:pt x="191" y="291"/>
                  </a:lnTo>
                  <a:lnTo>
                    <a:pt x="187" y="288"/>
                  </a:lnTo>
                  <a:lnTo>
                    <a:pt x="184" y="288"/>
                  </a:lnTo>
                  <a:lnTo>
                    <a:pt x="163" y="295"/>
                  </a:lnTo>
                  <a:lnTo>
                    <a:pt x="163" y="302"/>
                  </a:lnTo>
                  <a:lnTo>
                    <a:pt x="168" y="307"/>
                  </a:lnTo>
                  <a:lnTo>
                    <a:pt x="168" y="312"/>
                  </a:lnTo>
                  <a:lnTo>
                    <a:pt x="156" y="314"/>
                  </a:lnTo>
                  <a:lnTo>
                    <a:pt x="123" y="314"/>
                  </a:lnTo>
                  <a:lnTo>
                    <a:pt x="116" y="312"/>
                  </a:lnTo>
                  <a:lnTo>
                    <a:pt x="113" y="312"/>
                  </a:lnTo>
                  <a:lnTo>
                    <a:pt x="111" y="307"/>
                  </a:lnTo>
                  <a:lnTo>
                    <a:pt x="106" y="305"/>
                  </a:lnTo>
                  <a:lnTo>
                    <a:pt x="95" y="305"/>
                  </a:lnTo>
                  <a:lnTo>
                    <a:pt x="87" y="302"/>
                  </a:lnTo>
                  <a:lnTo>
                    <a:pt x="73" y="302"/>
                  </a:lnTo>
                  <a:lnTo>
                    <a:pt x="47" y="305"/>
                  </a:lnTo>
                  <a:lnTo>
                    <a:pt x="40" y="305"/>
                  </a:lnTo>
                  <a:lnTo>
                    <a:pt x="38" y="307"/>
                  </a:lnTo>
                  <a:lnTo>
                    <a:pt x="33" y="312"/>
                  </a:lnTo>
                  <a:lnTo>
                    <a:pt x="31" y="312"/>
                  </a:lnTo>
                  <a:lnTo>
                    <a:pt x="31" y="307"/>
                  </a:lnTo>
                  <a:lnTo>
                    <a:pt x="26" y="305"/>
                  </a:lnTo>
                  <a:lnTo>
                    <a:pt x="26" y="302"/>
                  </a:lnTo>
                  <a:lnTo>
                    <a:pt x="31" y="302"/>
                  </a:lnTo>
                  <a:lnTo>
                    <a:pt x="33" y="298"/>
                  </a:lnTo>
                  <a:lnTo>
                    <a:pt x="38" y="295"/>
                  </a:lnTo>
                  <a:lnTo>
                    <a:pt x="38" y="288"/>
                  </a:lnTo>
                  <a:lnTo>
                    <a:pt x="33" y="284"/>
                  </a:lnTo>
                  <a:lnTo>
                    <a:pt x="38" y="281"/>
                  </a:lnTo>
                  <a:lnTo>
                    <a:pt x="40" y="279"/>
                  </a:lnTo>
                  <a:lnTo>
                    <a:pt x="40" y="262"/>
                  </a:lnTo>
                  <a:lnTo>
                    <a:pt x="38" y="258"/>
                  </a:lnTo>
                  <a:lnTo>
                    <a:pt x="38" y="232"/>
                  </a:lnTo>
                  <a:lnTo>
                    <a:pt x="40" y="227"/>
                  </a:lnTo>
                  <a:lnTo>
                    <a:pt x="40" y="225"/>
                  </a:lnTo>
                  <a:lnTo>
                    <a:pt x="43" y="225"/>
                  </a:lnTo>
                  <a:lnTo>
                    <a:pt x="43" y="222"/>
                  </a:lnTo>
                  <a:lnTo>
                    <a:pt x="47" y="210"/>
                  </a:lnTo>
                  <a:lnTo>
                    <a:pt x="47" y="177"/>
                  </a:lnTo>
                  <a:lnTo>
                    <a:pt x="43" y="175"/>
                  </a:lnTo>
                  <a:lnTo>
                    <a:pt x="40" y="170"/>
                  </a:lnTo>
                  <a:lnTo>
                    <a:pt x="38" y="165"/>
                  </a:lnTo>
                  <a:lnTo>
                    <a:pt x="38" y="161"/>
                  </a:lnTo>
                  <a:lnTo>
                    <a:pt x="31" y="151"/>
                  </a:lnTo>
                  <a:lnTo>
                    <a:pt x="26" y="147"/>
                  </a:lnTo>
                  <a:lnTo>
                    <a:pt x="24" y="144"/>
                  </a:lnTo>
                  <a:lnTo>
                    <a:pt x="24" y="135"/>
                  </a:lnTo>
                  <a:lnTo>
                    <a:pt x="19" y="128"/>
                  </a:lnTo>
                  <a:lnTo>
                    <a:pt x="17" y="121"/>
                  </a:lnTo>
                  <a:lnTo>
                    <a:pt x="17" y="118"/>
                  </a:lnTo>
                  <a:lnTo>
                    <a:pt x="14" y="118"/>
                  </a:lnTo>
                  <a:lnTo>
                    <a:pt x="10" y="113"/>
                  </a:lnTo>
                  <a:lnTo>
                    <a:pt x="2" y="106"/>
                  </a:lnTo>
                  <a:lnTo>
                    <a:pt x="2" y="80"/>
                  </a:lnTo>
                  <a:lnTo>
                    <a:pt x="0" y="38"/>
                  </a:lnTo>
                  <a:lnTo>
                    <a:pt x="0" y="17"/>
                  </a:lnTo>
                  <a:lnTo>
                    <a:pt x="40" y="17"/>
                  </a:lnTo>
                  <a:lnTo>
                    <a:pt x="66" y="14"/>
                  </a:lnTo>
                  <a:lnTo>
                    <a:pt x="95" y="10"/>
                  </a:lnTo>
                  <a:lnTo>
                    <a:pt x="121" y="10"/>
                  </a:lnTo>
                  <a:lnTo>
                    <a:pt x="123" y="7"/>
                  </a:lnTo>
                  <a:lnTo>
                    <a:pt x="147" y="7"/>
                  </a:lnTo>
                  <a:lnTo>
                    <a:pt x="180" y="5"/>
                  </a:lnTo>
                  <a:lnTo>
                    <a:pt x="191" y="5"/>
                  </a:lnTo>
                  <a:lnTo>
                    <a:pt x="194" y="0"/>
                  </a:lnTo>
                  <a:lnTo>
                    <a:pt x="213" y="0"/>
                  </a:lnTo>
                  <a:lnTo>
                    <a:pt x="210" y="5"/>
                  </a:lnTo>
                  <a:lnTo>
                    <a:pt x="210" y="7"/>
                  </a:lnTo>
                  <a:lnTo>
                    <a:pt x="213" y="10"/>
                  </a:lnTo>
                  <a:lnTo>
                    <a:pt x="217" y="7"/>
                  </a:lnTo>
                  <a:lnTo>
                    <a:pt x="217" y="0"/>
                  </a:lnTo>
                  <a:lnTo>
                    <a:pt x="220" y="5"/>
                  </a:lnTo>
                  <a:lnTo>
                    <a:pt x="220" y="10"/>
                  </a:lnTo>
                  <a:lnTo>
                    <a:pt x="217" y="14"/>
                  </a:lnTo>
                  <a:lnTo>
                    <a:pt x="217" y="21"/>
                  </a:lnTo>
                  <a:lnTo>
                    <a:pt x="225" y="21"/>
                  </a:lnTo>
                  <a:lnTo>
                    <a:pt x="225" y="24"/>
                  </a:lnTo>
                  <a:lnTo>
                    <a:pt x="220" y="28"/>
                  </a:lnTo>
                  <a:lnTo>
                    <a:pt x="217" y="31"/>
                  </a:lnTo>
                  <a:lnTo>
                    <a:pt x="217" y="33"/>
                  </a:lnTo>
                  <a:lnTo>
                    <a:pt x="225" y="47"/>
                  </a:lnTo>
                  <a:lnTo>
                    <a:pt x="227" y="50"/>
                  </a:lnTo>
                  <a:lnTo>
                    <a:pt x="232" y="50"/>
                  </a:lnTo>
                  <a:lnTo>
                    <a:pt x="236" y="62"/>
                  </a:lnTo>
                  <a:lnTo>
                    <a:pt x="227" y="69"/>
                  </a:lnTo>
                  <a:lnTo>
                    <a:pt x="220" y="71"/>
                  </a:lnTo>
                  <a:lnTo>
                    <a:pt x="220" y="73"/>
                  </a:lnTo>
                  <a:lnTo>
                    <a:pt x="225" y="78"/>
                  </a:lnTo>
                  <a:lnTo>
                    <a:pt x="227" y="73"/>
                  </a:lnTo>
                  <a:lnTo>
                    <a:pt x="234" y="73"/>
                  </a:lnTo>
                  <a:lnTo>
                    <a:pt x="234" y="78"/>
                  </a:lnTo>
                  <a:lnTo>
                    <a:pt x="227" y="80"/>
                  </a:lnTo>
                  <a:lnTo>
                    <a:pt x="227" y="85"/>
                  </a:lnTo>
                  <a:lnTo>
                    <a:pt x="225" y="90"/>
                  </a:lnTo>
                  <a:lnTo>
                    <a:pt x="217" y="102"/>
                  </a:lnTo>
                  <a:lnTo>
                    <a:pt x="210" y="104"/>
                  </a:lnTo>
                  <a:lnTo>
                    <a:pt x="210" y="106"/>
                  </a:lnTo>
                  <a:lnTo>
                    <a:pt x="208" y="118"/>
                  </a:lnTo>
                  <a:lnTo>
                    <a:pt x="208" y="128"/>
                  </a:lnTo>
                  <a:lnTo>
                    <a:pt x="203" y="130"/>
                  </a:lnTo>
                  <a:lnTo>
                    <a:pt x="196" y="144"/>
                  </a:lnTo>
                  <a:lnTo>
                    <a:pt x="196" y="151"/>
                  </a:lnTo>
                  <a:lnTo>
                    <a:pt x="201" y="154"/>
                  </a:lnTo>
                  <a:lnTo>
                    <a:pt x="201" y="158"/>
                  </a:lnTo>
                  <a:lnTo>
                    <a:pt x="191" y="158"/>
                  </a:lnTo>
                  <a:lnTo>
                    <a:pt x="194" y="168"/>
                  </a:lnTo>
                  <a:lnTo>
                    <a:pt x="196" y="175"/>
                  </a:lnTo>
                  <a:lnTo>
                    <a:pt x="194" y="182"/>
                  </a:lnTo>
                  <a:lnTo>
                    <a:pt x="276" y="175"/>
                  </a:lnTo>
                  <a:lnTo>
                    <a:pt x="291" y="170"/>
                  </a:lnTo>
                  <a:lnTo>
                    <a:pt x="310" y="170"/>
                  </a:lnTo>
                  <a:lnTo>
                    <a:pt x="317" y="168"/>
                  </a:lnTo>
                  <a:lnTo>
                    <a:pt x="340" y="168"/>
                  </a:lnTo>
                  <a:lnTo>
                    <a:pt x="340" y="175"/>
                  </a:lnTo>
                  <a:lnTo>
                    <a:pt x="338" y="182"/>
                  </a:lnTo>
                  <a:lnTo>
                    <a:pt x="338" y="187"/>
                  </a:lnTo>
                  <a:lnTo>
                    <a:pt x="333" y="194"/>
                  </a:lnTo>
                  <a:lnTo>
                    <a:pt x="338" y="206"/>
                  </a:lnTo>
                  <a:lnTo>
                    <a:pt x="340" y="206"/>
                  </a:lnTo>
                  <a:lnTo>
                    <a:pt x="345" y="208"/>
                  </a:lnTo>
                  <a:lnTo>
                    <a:pt x="350" y="215"/>
                  </a:lnTo>
                  <a:lnTo>
                    <a:pt x="350" y="217"/>
                  </a:lnTo>
                  <a:lnTo>
                    <a:pt x="357" y="232"/>
                  </a:lnTo>
                  <a:lnTo>
                    <a:pt x="357" y="234"/>
                  </a:lnTo>
                  <a:lnTo>
                    <a:pt x="364" y="234"/>
                  </a:lnTo>
                  <a:lnTo>
                    <a:pt x="357" y="239"/>
                  </a:lnTo>
                  <a:lnTo>
                    <a:pt x="350" y="239"/>
                  </a:lnTo>
                  <a:lnTo>
                    <a:pt x="340" y="234"/>
                  </a:lnTo>
                  <a:lnTo>
                    <a:pt x="328" y="234"/>
                  </a:lnTo>
                  <a:lnTo>
                    <a:pt x="328" y="227"/>
                  </a:lnTo>
                  <a:lnTo>
                    <a:pt x="321" y="225"/>
                  </a:lnTo>
                  <a:lnTo>
                    <a:pt x="307" y="225"/>
                  </a:lnTo>
                  <a:lnTo>
                    <a:pt x="293" y="241"/>
                  </a:lnTo>
                  <a:lnTo>
                    <a:pt x="293" y="250"/>
                  </a:lnTo>
                  <a:lnTo>
                    <a:pt x="298" y="250"/>
                  </a:lnTo>
                  <a:lnTo>
                    <a:pt x="300" y="255"/>
                  </a:lnTo>
                  <a:lnTo>
                    <a:pt x="314" y="258"/>
                  </a:lnTo>
                  <a:lnTo>
                    <a:pt x="317" y="255"/>
                  </a:lnTo>
                  <a:lnTo>
                    <a:pt x="328" y="255"/>
                  </a:lnTo>
                  <a:lnTo>
                    <a:pt x="345" y="248"/>
                  </a:lnTo>
                  <a:lnTo>
                    <a:pt x="350" y="241"/>
                  </a:lnTo>
                  <a:lnTo>
                    <a:pt x="354" y="239"/>
                  </a:lnTo>
                  <a:lnTo>
                    <a:pt x="354" y="241"/>
                  </a:lnTo>
                  <a:lnTo>
                    <a:pt x="350" y="248"/>
                  </a:lnTo>
                  <a:lnTo>
                    <a:pt x="347" y="250"/>
                  </a:lnTo>
                  <a:lnTo>
                    <a:pt x="340" y="250"/>
                  </a:lnTo>
                  <a:lnTo>
                    <a:pt x="340" y="258"/>
                  </a:lnTo>
                  <a:lnTo>
                    <a:pt x="345" y="262"/>
                  </a:lnTo>
                  <a:lnTo>
                    <a:pt x="354" y="265"/>
                  </a:lnTo>
                  <a:lnTo>
                    <a:pt x="357" y="265"/>
                  </a:lnTo>
                  <a:lnTo>
                    <a:pt x="362" y="262"/>
                  </a:lnTo>
                  <a:lnTo>
                    <a:pt x="364" y="258"/>
                  </a:lnTo>
                  <a:lnTo>
                    <a:pt x="369" y="243"/>
                  </a:lnTo>
                  <a:lnTo>
                    <a:pt x="373" y="248"/>
                  </a:lnTo>
                  <a:lnTo>
                    <a:pt x="380" y="262"/>
                  </a:lnTo>
                  <a:lnTo>
                    <a:pt x="378" y="272"/>
                  </a:lnTo>
                  <a:lnTo>
                    <a:pt x="373" y="267"/>
                  </a:lnTo>
                  <a:lnTo>
                    <a:pt x="371" y="267"/>
                  </a:lnTo>
                  <a:lnTo>
                    <a:pt x="364" y="274"/>
                  </a:lnTo>
                  <a:lnTo>
                    <a:pt x="357" y="284"/>
                  </a:lnTo>
                  <a:lnTo>
                    <a:pt x="350" y="288"/>
                  </a:lnTo>
                  <a:lnTo>
                    <a:pt x="357" y="295"/>
                  </a:lnTo>
                  <a:lnTo>
                    <a:pt x="371" y="302"/>
                  </a:lnTo>
                  <a:lnTo>
                    <a:pt x="378" y="305"/>
                  </a:lnTo>
                  <a:lnTo>
                    <a:pt x="388" y="307"/>
                  </a:lnTo>
                  <a:lnTo>
                    <a:pt x="397" y="307"/>
                  </a:lnTo>
                  <a:lnTo>
                    <a:pt x="411" y="319"/>
                  </a:lnTo>
                  <a:lnTo>
                    <a:pt x="413" y="319"/>
                  </a:lnTo>
                  <a:lnTo>
                    <a:pt x="413" y="324"/>
                  </a:lnTo>
                  <a:lnTo>
                    <a:pt x="411" y="324"/>
                  </a:lnTo>
                  <a:lnTo>
                    <a:pt x="404" y="336"/>
                  </a:lnTo>
                  <a:lnTo>
                    <a:pt x="395" y="328"/>
                  </a:lnTo>
                  <a:lnTo>
                    <a:pt x="390" y="336"/>
                  </a:lnTo>
                  <a:lnTo>
                    <a:pt x="390" y="343"/>
                  </a:lnTo>
                  <a:lnTo>
                    <a:pt x="388" y="345"/>
                  </a:lnTo>
                  <a:lnTo>
                    <a:pt x="385" y="345"/>
                  </a:lnTo>
                  <a:lnTo>
                    <a:pt x="385" y="343"/>
                  </a:lnTo>
                  <a:lnTo>
                    <a:pt x="388" y="343"/>
                  </a:lnTo>
                  <a:lnTo>
                    <a:pt x="388" y="338"/>
                  </a:lnTo>
                  <a:lnTo>
                    <a:pt x="390" y="331"/>
                  </a:lnTo>
                  <a:lnTo>
                    <a:pt x="395" y="324"/>
                  </a:lnTo>
                  <a:lnTo>
                    <a:pt x="388" y="324"/>
                  </a:lnTo>
                  <a:lnTo>
                    <a:pt x="390" y="328"/>
                  </a:lnTo>
                  <a:lnTo>
                    <a:pt x="388" y="331"/>
                  </a:lnTo>
                  <a:lnTo>
                    <a:pt x="385" y="331"/>
                  </a:lnTo>
                  <a:lnTo>
                    <a:pt x="378" y="319"/>
                  </a:lnTo>
                  <a:lnTo>
                    <a:pt x="369" y="319"/>
                  </a:lnTo>
                  <a:lnTo>
                    <a:pt x="357" y="314"/>
                  </a:lnTo>
                  <a:lnTo>
                    <a:pt x="354" y="314"/>
                  </a:lnTo>
                  <a:lnTo>
                    <a:pt x="354" y="312"/>
                  </a:lnTo>
                  <a:lnTo>
                    <a:pt x="350" y="307"/>
                  </a:lnTo>
                  <a:lnTo>
                    <a:pt x="347" y="305"/>
                  </a:lnTo>
                  <a:lnTo>
                    <a:pt x="333" y="302"/>
                  </a:lnTo>
                  <a:lnTo>
                    <a:pt x="324" y="298"/>
                  </a:lnTo>
                  <a:lnTo>
                    <a:pt x="317" y="298"/>
                  </a:lnTo>
                  <a:lnTo>
                    <a:pt x="317" y="302"/>
                  </a:lnTo>
                  <a:lnTo>
                    <a:pt x="321" y="305"/>
                  </a:lnTo>
                  <a:lnTo>
                    <a:pt x="328" y="305"/>
                  </a:lnTo>
                  <a:lnTo>
                    <a:pt x="331" y="307"/>
                  </a:lnTo>
                  <a:lnTo>
                    <a:pt x="331" y="328"/>
                  </a:lnTo>
                  <a:lnTo>
                    <a:pt x="328" y="336"/>
                  </a:lnTo>
                  <a:lnTo>
                    <a:pt x="321" y="338"/>
                  </a:lnTo>
                  <a:lnTo>
                    <a:pt x="317" y="343"/>
                  </a:lnTo>
                  <a:lnTo>
                    <a:pt x="317" y="33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2" name="Freeform 227">
              <a:extLst>
                <a:ext uri="{FF2B5EF4-FFF2-40B4-BE49-F238E27FC236}">
                  <a16:creationId xmlns:a16="http://schemas.microsoft.com/office/drawing/2014/main" id="{E48BE446-A0E2-4261-A14E-8FC0B6F3373E}"/>
                </a:ext>
              </a:extLst>
            </p:cNvPr>
            <p:cNvSpPr>
              <a:spLocks/>
            </p:cNvSpPr>
            <p:nvPr/>
          </p:nvSpPr>
          <p:spPr bwMode="gray">
            <a:xfrm rot="47099">
              <a:off x="2180218" y="3839764"/>
              <a:ext cx="9766" cy="19529"/>
            </a:xfrm>
            <a:custGeom>
              <a:avLst/>
              <a:gdLst>
                <a:gd name="T0" fmla="*/ 0 w 21"/>
                <a:gd name="T1" fmla="*/ 40 h 42"/>
                <a:gd name="T2" fmla="*/ 7 w 21"/>
                <a:gd name="T3" fmla="*/ 26 h 42"/>
                <a:gd name="T4" fmla="*/ 11 w 21"/>
                <a:gd name="T5" fmla="*/ 21 h 42"/>
                <a:gd name="T6" fmla="*/ 14 w 21"/>
                <a:gd name="T7" fmla="*/ 16 h 42"/>
                <a:gd name="T8" fmla="*/ 14 w 21"/>
                <a:gd name="T9" fmla="*/ 9 h 42"/>
                <a:gd name="T10" fmla="*/ 16 w 21"/>
                <a:gd name="T11" fmla="*/ 7 h 42"/>
                <a:gd name="T12" fmla="*/ 16 w 21"/>
                <a:gd name="T13" fmla="*/ 4 h 42"/>
                <a:gd name="T14" fmla="*/ 21 w 21"/>
                <a:gd name="T15" fmla="*/ 0 h 42"/>
                <a:gd name="T16" fmla="*/ 21 w 21"/>
                <a:gd name="T17" fmla="*/ 4 h 42"/>
                <a:gd name="T18" fmla="*/ 14 w 21"/>
                <a:gd name="T19" fmla="*/ 21 h 42"/>
                <a:gd name="T20" fmla="*/ 0 w 21"/>
                <a:gd name="T21" fmla="*/ 40 h 42"/>
                <a:gd name="T22" fmla="*/ 0 w 21"/>
                <a:gd name="T23" fmla="*/ 42 h 42"/>
                <a:gd name="T24" fmla="*/ 0 w 21"/>
                <a:gd name="T25" fmla="*/ 4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42"/>
                <a:gd name="T41" fmla="*/ 21 w 21"/>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42">
                  <a:moveTo>
                    <a:pt x="0" y="40"/>
                  </a:moveTo>
                  <a:lnTo>
                    <a:pt x="7" y="26"/>
                  </a:lnTo>
                  <a:lnTo>
                    <a:pt x="11" y="21"/>
                  </a:lnTo>
                  <a:lnTo>
                    <a:pt x="14" y="16"/>
                  </a:lnTo>
                  <a:lnTo>
                    <a:pt x="14" y="9"/>
                  </a:lnTo>
                  <a:lnTo>
                    <a:pt x="16" y="7"/>
                  </a:lnTo>
                  <a:lnTo>
                    <a:pt x="16" y="4"/>
                  </a:lnTo>
                  <a:lnTo>
                    <a:pt x="21" y="0"/>
                  </a:lnTo>
                  <a:lnTo>
                    <a:pt x="21" y="4"/>
                  </a:lnTo>
                  <a:lnTo>
                    <a:pt x="14" y="21"/>
                  </a:lnTo>
                  <a:lnTo>
                    <a:pt x="0" y="40"/>
                  </a:lnTo>
                  <a:lnTo>
                    <a:pt x="0" y="42"/>
                  </a:lnTo>
                  <a:lnTo>
                    <a:pt x="0" y="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3" name="Freeform 228">
              <a:extLst>
                <a:ext uri="{FF2B5EF4-FFF2-40B4-BE49-F238E27FC236}">
                  <a16:creationId xmlns:a16="http://schemas.microsoft.com/office/drawing/2014/main" id="{B68A797A-3263-4BEB-ADFE-0A89DD192E0F}"/>
                </a:ext>
              </a:extLst>
            </p:cNvPr>
            <p:cNvSpPr>
              <a:spLocks/>
            </p:cNvSpPr>
            <p:nvPr/>
          </p:nvSpPr>
          <p:spPr bwMode="gray">
            <a:xfrm rot="47099">
              <a:off x="2164803" y="3740540"/>
              <a:ext cx="15347" cy="24179"/>
            </a:xfrm>
            <a:custGeom>
              <a:avLst/>
              <a:gdLst>
                <a:gd name="T0" fmla="*/ 3 w 33"/>
                <a:gd name="T1" fmla="*/ 2 h 52"/>
                <a:gd name="T2" fmla="*/ 7 w 33"/>
                <a:gd name="T3" fmla="*/ 5 h 52"/>
                <a:gd name="T4" fmla="*/ 10 w 33"/>
                <a:gd name="T5" fmla="*/ 9 h 52"/>
                <a:gd name="T6" fmla="*/ 12 w 33"/>
                <a:gd name="T7" fmla="*/ 19 h 52"/>
                <a:gd name="T8" fmla="*/ 19 w 33"/>
                <a:gd name="T9" fmla="*/ 28 h 52"/>
                <a:gd name="T10" fmla="*/ 19 w 33"/>
                <a:gd name="T11" fmla="*/ 33 h 52"/>
                <a:gd name="T12" fmla="*/ 26 w 33"/>
                <a:gd name="T13" fmla="*/ 40 h 52"/>
                <a:gd name="T14" fmla="*/ 33 w 33"/>
                <a:gd name="T15" fmla="*/ 50 h 52"/>
                <a:gd name="T16" fmla="*/ 33 w 33"/>
                <a:gd name="T17" fmla="*/ 52 h 52"/>
                <a:gd name="T18" fmla="*/ 33 w 33"/>
                <a:gd name="T19" fmla="*/ 50 h 52"/>
                <a:gd name="T20" fmla="*/ 31 w 33"/>
                <a:gd name="T21" fmla="*/ 50 h 52"/>
                <a:gd name="T22" fmla="*/ 19 w 33"/>
                <a:gd name="T23" fmla="*/ 35 h 52"/>
                <a:gd name="T24" fmla="*/ 10 w 33"/>
                <a:gd name="T25" fmla="*/ 12 h 52"/>
                <a:gd name="T26" fmla="*/ 0 w 33"/>
                <a:gd name="T27" fmla="*/ 0 h 52"/>
                <a:gd name="T28" fmla="*/ 3 w 33"/>
                <a:gd name="T29" fmla="*/ 0 h 52"/>
                <a:gd name="T30" fmla="*/ 3 w 33"/>
                <a:gd name="T31" fmla="*/ 2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52"/>
                <a:gd name="T50" fmla="*/ 33 w 33"/>
                <a:gd name="T51" fmla="*/ 52 h 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52">
                  <a:moveTo>
                    <a:pt x="3" y="2"/>
                  </a:moveTo>
                  <a:lnTo>
                    <a:pt x="7" y="5"/>
                  </a:lnTo>
                  <a:lnTo>
                    <a:pt x="10" y="9"/>
                  </a:lnTo>
                  <a:lnTo>
                    <a:pt x="12" y="19"/>
                  </a:lnTo>
                  <a:lnTo>
                    <a:pt x="19" y="28"/>
                  </a:lnTo>
                  <a:lnTo>
                    <a:pt x="19" y="33"/>
                  </a:lnTo>
                  <a:lnTo>
                    <a:pt x="26" y="40"/>
                  </a:lnTo>
                  <a:lnTo>
                    <a:pt x="33" y="50"/>
                  </a:lnTo>
                  <a:lnTo>
                    <a:pt x="33" y="52"/>
                  </a:lnTo>
                  <a:lnTo>
                    <a:pt x="33" y="50"/>
                  </a:lnTo>
                  <a:lnTo>
                    <a:pt x="31" y="50"/>
                  </a:lnTo>
                  <a:lnTo>
                    <a:pt x="19" y="35"/>
                  </a:lnTo>
                  <a:lnTo>
                    <a:pt x="10" y="12"/>
                  </a:lnTo>
                  <a:lnTo>
                    <a:pt x="0" y="0"/>
                  </a:lnTo>
                  <a:lnTo>
                    <a:pt x="3" y="0"/>
                  </a:lnTo>
                  <a:lnTo>
                    <a:pt x="3"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4" name="Freeform 229">
              <a:extLst>
                <a:ext uri="{FF2B5EF4-FFF2-40B4-BE49-F238E27FC236}">
                  <a16:creationId xmlns:a16="http://schemas.microsoft.com/office/drawing/2014/main" id="{C107D3EF-D78F-4461-92EC-E45355D79B2D}"/>
                </a:ext>
              </a:extLst>
            </p:cNvPr>
            <p:cNvSpPr>
              <a:spLocks/>
            </p:cNvSpPr>
            <p:nvPr/>
          </p:nvSpPr>
          <p:spPr bwMode="gray">
            <a:xfrm rot="47099">
              <a:off x="2149927" y="3710508"/>
              <a:ext cx="5580" cy="15344"/>
            </a:xfrm>
            <a:custGeom>
              <a:avLst/>
              <a:gdLst>
                <a:gd name="T0" fmla="*/ 10 w 12"/>
                <a:gd name="T1" fmla="*/ 26 h 33"/>
                <a:gd name="T2" fmla="*/ 10 w 12"/>
                <a:gd name="T3" fmla="*/ 29 h 33"/>
                <a:gd name="T4" fmla="*/ 12 w 12"/>
                <a:gd name="T5" fmla="*/ 33 h 33"/>
                <a:gd name="T6" fmla="*/ 2 w 12"/>
                <a:gd name="T7" fmla="*/ 24 h 33"/>
                <a:gd name="T8" fmla="*/ 2 w 12"/>
                <a:gd name="T9" fmla="*/ 12 h 33"/>
                <a:gd name="T10" fmla="*/ 0 w 12"/>
                <a:gd name="T11" fmla="*/ 10 h 33"/>
                <a:gd name="T12" fmla="*/ 0 w 12"/>
                <a:gd name="T13" fmla="*/ 7 h 33"/>
                <a:gd name="T14" fmla="*/ 2 w 12"/>
                <a:gd name="T15" fmla="*/ 3 h 33"/>
                <a:gd name="T16" fmla="*/ 7 w 12"/>
                <a:gd name="T17" fmla="*/ 0 h 33"/>
                <a:gd name="T18" fmla="*/ 10 w 12"/>
                <a:gd name="T19" fmla="*/ 3 h 33"/>
                <a:gd name="T20" fmla="*/ 10 w 12"/>
                <a:gd name="T21" fmla="*/ 26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33"/>
                <a:gd name="T35" fmla="*/ 12 w 1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33">
                  <a:moveTo>
                    <a:pt x="10" y="26"/>
                  </a:moveTo>
                  <a:lnTo>
                    <a:pt x="10" y="29"/>
                  </a:lnTo>
                  <a:lnTo>
                    <a:pt x="12" y="33"/>
                  </a:lnTo>
                  <a:lnTo>
                    <a:pt x="2" y="24"/>
                  </a:lnTo>
                  <a:lnTo>
                    <a:pt x="2" y="12"/>
                  </a:lnTo>
                  <a:lnTo>
                    <a:pt x="0" y="10"/>
                  </a:lnTo>
                  <a:lnTo>
                    <a:pt x="0" y="7"/>
                  </a:lnTo>
                  <a:lnTo>
                    <a:pt x="2" y="3"/>
                  </a:lnTo>
                  <a:lnTo>
                    <a:pt x="7" y="0"/>
                  </a:lnTo>
                  <a:lnTo>
                    <a:pt x="10" y="3"/>
                  </a:lnTo>
                  <a:lnTo>
                    <a:pt x="10" y="2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5" name="Freeform 230">
              <a:extLst>
                <a:ext uri="{FF2B5EF4-FFF2-40B4-BE49-F238E27FC236}">
                  <a16:creationId xmlns:a16="http://schemas.microsoft.com/office/drawing/2014/main" id="{B4B30287-4366-4675-B40E-C781A7F28F00}"/>
                </a:ext>
              </a:extLst>
            </p:cNvPr>
            <p:cNvSpPr>
              <a:spLocks/>
            </p:cNvSpPr>
            <p:nvPr/>
          </p:nvSpPr>
          <p:spPr bwMode="gray">
            <a:xfrm rot="47099">
              <a:off x="1904447" y="3674270"/>
              <a:ext cx="26507" cy="7904"/>
            </a:xfrm>
            <a:custGeom>
              <a:avLst/>
              <a:gdLst>
                <a:gd name="T0" fmla="*/ 54 w 57"/>
                <a:gd name="T1" fmla="*/ 0 h 17"/>
                <a:gd name="T2" fmla="*/ 50 w 57"/>
                <a:gd name="T3" fmla="*/ 3 h 17"/>
                <a:gd name="T4" fmla="*/ 40 w 57"/>
                <a:gd name="T5" fmla="*/ 3 h 17"/>
                <a:gd name="T6" fmla="*/ 31 w 57"/>
                <a:gd name="T7" fmla="*/ 7 h 17"/>
                <a:gd name="T8" fmla="*/ 24 w 57"/>
                <a:gd name="T9" fmla="*/ 10 h 17"/>
                <a:gd name="T10" fmla="*/ 17 w 57"/>
                <a:gd name="T11" fmla="*/ 10 h 17"/>
                <a:gd name="T12" fmla="*/ 17 w 57"/>
                <a:gd name="T13" fmla="*/ 15 h 17"/>
                <a:gd name="T14" fmla="*/ 9 w 57"/>
                <a:gd name="T15" fmla="*/ 15 h 17"/>
                <a:gd name="T16" fmla="*/ 7 w 57"/>
                <a:gd name="T17" fmla="*/ 17 h 17"/>
                <a:gd name="T18" fmla="*/ 0 w 57"/>
                <a:gd name="T19" fmla="*/ 17 h 17"/>
                <a:gd name="T20" fmla="*/ 9 w 57"/>
                <a:gd name="T21" fmla="*/ 15 h 17"/>
                <a:gd name="T22" fmla="*/ 21 w 57"/>
                <a:gd name="T23" fmla="*/ 10 h 17"/>
                <a:gd name="T24" fmla="*/ 31 w 57"/>
                <a:gd name="T25" fmla="*/ 7 h 17"/>
                <a:gd name="T26" fmla="*/ 40 w 57"/>
                <a:gd name="T27" fmla="*/ 3 h 17"/>
                <a:gd name="T28" fmla="*/ 45 w 57"/>
                <a:gd name="T29" fmla="*/ 3 h 17"/>
                <a:gd name="T30" fmla="*/ 50 w 57"/>
                <a:gd name="T31" fmla="*/ 0 h 17"/>
                <a:gd name="T32" fmla="*/ 57 w 57"/>
                <a:gd name="T33" fmla="*/ 0 h 17"/>
                <a:gd name="T34" fmla="*/ 54 w 57"/>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17"/>
                <a:gd name="T56" fmla="*/ 57 w 57"/>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17">
                  <a:moveTo>
                    <a:pt x="54" y="0"/>
                  </a:moveTo>
                  <a:lnTo>
                    <a:pt x="50" y="3"/>
                  </a:lnTo>
                  <a:lnTo>
                    <a:pt x="40" y="3"/>
                  </a:lnTo>
                  <a:lnTo>
                    <a:pt x="31" y="7"/>
                  </a:lnTo>
                  <a:lnTo>
                    <a:pt x="24" y="10"/>
                  </a:lnTo>
                  <a:lnTo>
                    <a:pt x="17" y="10"/>
                  </a:lnTo>
                  <a:lnTo>
                    <a:pt x="17" y="15"/>
                  </a:lnTo>
                  <a:lnTo>
                    <a:pt x="9" y="15"/>
                  </a:lnTo>
                  <a:lnTo>
                    <a:pt x="7" y="17"/>
                  </a:lnTo>
                  <a:lnTo>
                    <a:pt x="0" y="17"/>
                  </a:lnTo>
                  <a:lnTo>
                    <a:pt x="9" y="15"/>
                  </a:lnTo>
                  <a:lnTo>
                    <a:pt x="21" y="10"/>
                  </a:lnTo>
                  <a:lnTo>
                    <a:pt x="31" y="7"/>
                  </a:lnTo>
                  <a:lnTo>
                    <a:pt x="40" y="3"/>
                  </a:lnTo>
                  <a:lnTo>
                    <a:pt x="45" y="3"/>
                  </a:lnTo>
                  <a:lnTo>
                    <a:pt x="50" y="0"/>
                  </a:lnTo>
                  <a:lnTo>
                    <a:pt x="57" y="0"/>
                  </a:lnTo>
                  <a:lnTo>
                    <a:pt x="5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6" name="Freeform 231">
              <a:extLst>
                <a:ext uri="{FF2B5EF4-FFF2-40B4-BE49-F238E27FC236}">
                  <a16:creationId xmlns:a16="http://schemas.microsoft.com/office/drawing/2014/main" id="{87FBAF6B-CE58-4462-AE07-D15E1EE999FC}"/>
                </a:ext>
              </a:extLst>
            </p:cNvPr>
            <p:cNvSpPr>
              <a:spLocks/>
            </p:cNvSpPr>
            <p:nvPr/>
          </p:nvSpPr>
          <p:spPr bwMode="gray">
            <a:xfrm rot="47099">
              <a:off x="1889179" y="3627598"/>
              <a:ext cx="302275" cy="227375"/>
            </a:xfrm>
            <a:custGeom>
              <a:avLst/>
              <a:gdLst>
                <a:gd name="T0" fmla="*/ 496 w 650"/>
                <a:gd name="T1" fmla="*/ 385 h 489"/>
                <a:gd name="T2" fmla="*/ 499 w 650"/>
                <a:gd name="T3" fmla="*/ 371 h 489"/>
                <a:gd name="T4" fmla="*/ 480 w 650"/>
                <a:gd name="T5" fmla="*/ 345 h 489"/>
                <a:gd name="T6" fmla="*/ 451 w 650"/>
                <a:gd name="T7" fmla="*/ 345 h 489"/>
                <a:gd name="T8" fmla="*/ 430 w 650"/>
                <a:gd name="T9" fmla="*/ 308 h 489"/>
                <a:gd name="T10" fmla="*/ 440 w 650"/>
                <a:gd name="T11" fmla="*/ 282 h 489"/>
                <a:gd name="T12" fmla="*/ 423 w 650"/>
                <a:gd name="T13" fmla="*/ 272 h 489"/>
                <a:gd name="T14" fmla="*/ 409 w 650"/>
                <a:gd name="T15" fmla="*/ 282 h 489"/>
                <a:gd name="T16" fmla="*/ 409 w 650"/>
                <a:gd name="T17" fmla="*/ 244 h 489"/>
                <a:gd name="T18" fmla="*/ 409 w 650"/>
                <a:gd name="T19" fmla="*/ 185 h 489"/>
                <a:gd name="T20" fmla="*/ 378 w 650"/>
                <a:gd name="T21" fmla="*/ 163 h 489"/>
                <a:gd name="T22" fmla="*/ 338 w 650"/>
                <a:gd name="T23" fmla="*/ 135 h 489"/>
                <a:gd name="T24" fmla="*/ 319 w 650"/>
                <a:gd name="T25" fmla="*/ 111 h 489"/>
                <a:gd name="T26" fmla="*/ 286 w 650"/>
                <a:gd name="T27" fmla="*/ 97 h 489"/>
                <a:gd name="T28" fmla="*/ 258 w 650"/>
                <a:gd name="T29" fmla="*/ 114 h 489"/>
                <a:gd name="T30" fmla="*/ 239 w 650"/>
                <a:gd name="T31" fmla="*/ 128 h 489"/>
                <a:gd name="T32" fmla="*/ 222 w 650"/>
                <a:gd name="T33" fmla="*/ 137 h 489"/>
                <a:gd name="T34" fmla="*/ 185 w 650"/>
                <a:gd name="T35" fmla="*/ 152 h 489"/>
                <a:gd name="T36" fmla="*/ 185 w 650"/>
                <a:gd name="T37" fmla="*/ 152 h 489"/>
                <a:gd name="T38" fmla="*/ 168 w 650"/>
                <a:gd name="T39" fmla="*/ 126 h 489"/>
                <a:gd name="T40" fmla="*/ 175 w 650"/>
                <a:gd name="T41" fmla="*/ 121 h 489"/>
                <a:gd name="T42" fmla="*/ 142 w 650"/>
                <a:gd name="T43" fmla="*/ 111 h 489"/>
                <a:gd name="T44" fmla="*/ 144 w 650"/>
                <a:gd name="T45" fmla="*/ 114 h 489"/>
                <a:gd name="T46" fmla="*/ 104 w 650"/>
                <a:gd name="T47" fmla="*/ 104 h 489"/>
                <a:gd name="T48" fmla="*/ 92 w 650"/>
                <a:gd name="T49" fmla="*/ 97 h 489"/>
                <a:gd name="T50" fmla="*/ 48 w 650"/>
                <a:gd name="T51" fmla="*/ 114 h 489"/>
                <a:gd name="T52" fmla="*/ 55 w 650"/>
                <a:gd name="T53" fmla="*/ 104 h 489"/>
                <a:gd name="T54" fmla="*/ 31 w 650"/>
                <a:gd name="T55" fmla="*/ 119 h 489"/>
                <a:gd name="T56" fmla="*/ 19 w 650"/>
                <a:gd name="T57" fmla="*/ 126 h 489"/>
                <a:gd name="T58" fmla="*/ 19 w 650"/>
                <a:gd name="T59" fmla="*/ 97 h 489"/>
                <a:gd name="T60" fmla="*/ 0 w 650"/>
                <a:gd name="T61" fmla="*/ 78 h 489"/>
                <a:gd name="T62" fmla="*/ 40 w 650"/>
                <a:gd name="T63" fmla="*/ 57 h 489"/>
                <a:gd name="T64" fmla="*/ 151 w 650"/>
                <a:gd name="T65" fmla="*/ 41 h 489"/>
                <a:gd name="T66" fmla="*/ 201 w 650"/>
                <a:gd name="T67" fmla="*/ 38 h 489"/>
                <a:gd name="T68" fmla="*/ 298 w 650"/>
                <a:gd name="T69" fmla="*/ 45 h 489"/>
                <a:gd name="T70" fmla="*/ 416 w 650"/>
                <a:gd name="T71" fmla="*/ 38 h 489"/>
                <a:gd name="T72" fmla="*/ 433 w 650"/>
                <a:gd name="T73" fmla="*/ 45 h 489"/>
                <a:gd name="T74" fmla="*/ 435 w 650"/>
                <a:gd name="T75" fmla="*/ 0 h 489"/>
                <a:gd name="T76" fmla="*/ 468 w 650"/>
                <a:gd name="T77" fmla="*/ 7 h 489"/>
                <a:gd name="T78" fmla="*/ 482 w 650"/>
                <a:gd name="T79" fmla="*/ 41 h 489"/>
                <a:gd name="T80" fmla="*/ 499 w 650"/>
                <a:gd name="T81" fmla="*/ 81 h 489"/>
                <a:gd name="T82" fmla="*/ 546 w 650"/>
                <a:gd name="T83" fmla="*/ 147 h 489"/>
                <a:gd name="T84" fmla="*/ 577 w 650"/>
                <a:gd name="T85" fmla="*/ 182 h 489"/>
                <a:gd name="T86" fmla="*/ 579 w 650"/>
                <a:gd name="T87" fmla="*/ 218 h 489"/>
                <a:gd name="T88" fmla="*/ 593 w 650"/>
                <a:gd name="T89" fmla="*/ 239 h 489"/>
                <a:gd name="T90" fmla="*/ 572 w 650"/>
                <a:gd name="T91" fmla="*/ 199 h 489"/>
                <a:gd name="T92" fmla="*/ 555 w 650"/>
                <a:gd name="T93" fmla="*/ 175 h 489"/>
                <a:gd name="T94" fmla="*/ 584 w 650"/>
                <a:gd name="T95" fmla="*/ 225 h 489"/>
                <a:gd name="T96" fmla="*/ 603 w 650"/>
                <a:gd name="T97" fmla="*/ 256 h 489"/>
                <a:gd name="T98" fmla="*/ 633 w 650"/>
                <a:gd name="T99" fmla="*/ 300 h 489"/>
                <a:gd name="T100" fmla="*/ 650 w 650"/>
                <a:gd name="T101" fmla="*/ 357 h 489"/>
                <a:gd name="T102" fmla="*/ 640 w 650"/>
                <a:gd name="T103" fmla="*/ 468 h 489"/>
                <a:gd name="T104" fmla="*/ 619 w 650"/>
                <a:gd name="T105" fmla="*/ 475 h 489"/>
                <a:gd name="T106" fmla="*/ 579 w 650"/>
                <a:gd name="T107" fmla="*/ 473 h 489"/>
                <a:gd name="T108" fmla="*/ 600 w 650"/>
                <a:gd name="T109" fmla="*/ 473 h 489"/>
                <a:gd name="T110" fmla="*/ 577 w 650"/>
                <a:gd name="T111" fmla="*/ 459 h 489"/>
                <a:gd name="T112" fmla="*/ 532 w 650"/>
                <a:gd name="T113" fmla="*/ 426 h 4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50"/>
                <a:gd name="T172" fmla="*/ 0 h 489"/>
                <a:gd name="T173" fmla="*/ 650 w 650"/>
                <a:gd name="T174" fmla="*/ 489 h 4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50" h="489">
                  <a:moveTo>
                    <a:pt x="515" y="416"/>
                  </a:moveTo>
                  <a:lnTo>
                    <a:pt x="513" y="411"/>
                  </a:lnTo>
                  <a:lnTo>
                    <a:pt x="513" y="409"/>
                  </a:lnTo>
                  <a:lnTo>
                    <a:pt x="508" y="393"/>
                  </a:lnTo>
                  <a:lnTo>
                    <a:pt x="503" y="385"/>
                  </a:lnTo>
                  <a:lnTo>
                    <a:pt x="496" y="385"/>
                  </a:lnTo>
                  <a:lnTo>
                    <a:pt x="496" y="381"/>
                  </a:lnTo>
                  <a:lnTo>
                    <a:pt x="499" y="381"/>
                  </a:lnTo>
                  <a:lnTo>
                    <a:pt x="499" y="378"/>
                  </a:lnTo>
                  <a:lnTo>
                    <a:pt x="508" y="362"/>
                  </a:lnTo>
                  <a:lnTo>
                    <a:pt x="499" y="369"/>
                  </a:lnTo>
                  <a:lnTo>
                    <a:pt x="499" y="371"/>
                  </a:lnTo>
                  <a:lnTo>
                    <a:pt x="496" y="378"/>
                  </a:lnTo>
                  <a:lnTo>
                    <a:pt x="492" y="381"/>
                  </a:lnTo>
                  <a:lnTo>
                    <a:pt x="489" y="378"/>
                  </a:lnTo>
                  <a:lnTo>
                    <a:pt x="487" y="369"/>
                  </a:lnTo>
                  <a:lnTo>
                    <a:pt x="487" y="341"/>
                  </a:lnTo>
                  <a:lnTo>
                    <a:pt x="480" y="345"/>
                  </a:lnTo>
                  <a:lnTo>
                    <a:pt x="473" y="348"/>
                  </a:lnTo>
                  <a:lnTo>
                    <a:pt x="475" y="352"/>
                  </a:lnTo>
                  <a:lnTo>
                    <a:pt x="475" y="362"/>
                  </a:lnTo>
                  <a:lnTo>
                    <a:pt x="466" y="357"/>
                  </a:lnTo>
                  <a:lnTo>
                    <a:pt x="459" y="352"/>
                  </a:lnTo>
                  <a:lnTo>
                    <a:pt x="451" y="345"/>
                  </a:lnTo>
                  <a:lnTo>
                    <a:pt x="449" y="338"/>
                  </a:lnTo>
                  <a:lnTo>
                    <a:pt x="440" y="322"/>
                  </a:lnTo>
                  <a:lnTo>
                    <a:pt x="440" y="319"/>
                  </a:lnTo>
                  <a:lnTo>
                    <a:pt x="435" y="315"/>
                  </a:lnTo>
                  <a:lnTo>
                    <a:pt x="435" y="312"/>
                  </a:lnTo>
                  <a:lnTo>
                    <a:pt x="430" y="308"/>
                  </a:lnTo>
                  <a:lnTo>
                    <a:pt x="433" y="305"/>
                  </a:lnTo>
                  <a:lnTo>
                    <a:pt x="433" y="300"/>
                  </a:lnTo>
                  <a:lnTo>
                    <a:pt x="430" y="300"/>
                  </a:lnTo>
                  <a:lnTo>
                    <a:pt x="433" y="291"/>
                  </a:lnTo>
                  <a:lnTo>
                    <a:pt x="435" y="291"/>
                  </a:lnTo>
                  <a:lnTo>
                    <a:pt x="440" y="282"/>
                  </a:lnTo>
                  <a:lnTo>
                    <a:pt x="442" y="279"/>
                  </a:lnTo>
                  <a:lnTo>
                    <a:pt x="442" y="267"/>
                  </a:lnTo>
                  <a:lnTo>
                    <a:pt x="440" y="265"/>
                  </a:lnTo>
                  <a:lnTo>
                    <a:pt x="416" y="263"/>
                  </a:lnTo>
                  <a:lnTo>
                    <a:pt x="416" y="267"/>
                  </a:lnTo>
                  <a:lnTo>
                    <a:pt x="423" y="272"/>
                  </a:lnTo>
                  <a:lnTo>
                    <a:pt x="425" y="272"/>
                  </a:lnTo>
                  <a:lnTo>
                    <a:pt x="430" y="279"/>
                  </a:lnTo>
                  <a:lnTo>
                    <a:pt x="425" y="284"/>
                  </a:lnTo>
                  <a:lnTo>
                    <a:pt x="425" y="289"/>
                  </a:lnTo>
                  <a:lnTo>
                    <a:pt x="418" y="291"/>
                  </a:lnTo>
                  <a:lnTo>
                    <a:pt x="409" y="282"/>
                  </a:lnTo>
                  <a:lnTo>
                    <a:pt x="409" y="279"/>
                  </a:lnTo>
                  <a:lnTo>
                    <a:pt x="407" y="279"/>
                  </a:lnTo>
                  <a:lnTo>
                    <a:pt x="407" y="274"/>
                  </a:lnTo>
                  <a:lnTo>
                    <a:pt x="409" y="267"/>
                  </a:lnTo>
                  <a:lnTo>
                    <a:pt x="409" y="274"/>
                  </a:lnTo>
                  <a:lnTo>
                    <a:pt x="409" y="244"/>
                  </a:lnTo>
                  <a:lnTo>
                    <a:pt x="411" y="234"/>
                  </a:lnTo>
                  <a:lnTo>
                    <a:pt x="411" y="201"/>
                  </a:lnTo>
                  <a:lnTo>
                    <a:pt x="409" y="194"/>
                  </a:lnTo>
                  <a:lnTo>
                    <a:pt x="407" y="192"/>
                  </a:lnTo>
                  <a:lnTo>
                    <a:pt x="409" y="187"/>
                  </a:lnTo>
                  <a:lnTo>
                    <a:pt x="409" y="185"/>
                  </a:lnTo>
                  <a:lnTo>
                    <a:pt x="399" y="175"/>
                  </a:lnTo>
                  <a:lnTo>
                    <a:pt x="395" y="170"/>
                  </a:lnTo>
                  <a:lnTo>
                    <a:pt x="392" y="163"/>
                  </a:lnTo>
                  <a:lnTo>
                    <a:pt x="390" y="161"/>
                  </a:lnTo>
                  <a:lnTo>
                    <a:pt x="378" y="161"/>
                  </a:lnTo>
                  <a:lnTo>
                    <a:pt x="378" y="163"/>
                  </a:lnTo>
                  <a:lnTo>
                    <a:pt x="369" y="161"/>
                  </a:lnTo>
                  <a:lnTo>
                    <a:pt x="366" y="159"/>
                  </a:lnTo>
                  <a:lnTo>
                    <a:pt x="355" y="145"/>
                  </a:lnTo>
                  <a:lnTo>
                    <a:pt x="345" y="142"/>
                  </a:lnTo>
                  <a:lnTo>
                    <a:pt x="343" y="142"/>
                  </a:lnTo>
                  <a:lnTo>
                    <a:pt x="338" y="135"/>
                  </a:lnTo>
                  <a:lnTo>
                    <a:pt x="336" y="128"/>
                  </a:lnTo>
                  <a:lnTo>
                    <a:pt x="333" y="128"/>
                  </a:lnTo>
                  <a:lnTo>
                    <a:pt x="329" y="126"/>
                  </a:lnTo>
                  <a:lnTo>
                    <a:pt x="322" y="121"/>
                  </a:lnTo>
                  <a:lnTo>
                    <a:pt x="322" y="119"/>
                  </a:lnTo>
                  <a:lnTo>
                    <a:pt x="319" y="111"/>
                  </a:lnTo>
                  <a:lnTo>
                    <a:pt x="314" y="111"/>
                  </a:lnTo>
                  <a:lnTo>
                    <a:pt x="310" y="107"/>
                  </a:lnTo>
                  <a:lnTo>
                    <a:pt x="305" y="104"/>
                  </a:lnTo>
                  <a:lnTo>
                    <a:pt x="296" y="104"/>
                  </a:lnTo>
                  <a:lnTo>
                    <a:pt x="293" y="102"/>
                  </a:lnTo>
                  <a:lnTo>
                    <a:pt x="286" y="97"/>
                  </a:lnTo>
                  <a:lnTo>
                    <a:pt x="272" y="102"/>
                  </a:lnTo>
                  <a:lnTo>
                    <a:pt x="265" y="102"/>
                  </a:lnTo>
                  <a:lnTo>
                    <a:pt x="262" y="104"/>
                  </a:lnTo>
                  <a:lnTo>
                    <a:pt x="253" y="114"/>
                  </a:lnTo>
                  <a:lnTo>
                    <a:pt x="255" y="119"/>
                  </a:lnTo>
                  <a:lnTo>
                    <a:pt x="258" y="114"/>
                  </a:lnTo>
                  <a:lnTo>
                    <a:pt x="262" y="119"/>
                  </a:lnTo>
                  <a:lnTo>
                    <a:pt x="262" y="121"/>
                  </a:lnTo>
                  <a:lnTo>
                    <a:pt x="248" y="121"/>
                  </a:lnTo>
                  <a:lnTo>
                    <a:pt x="248" y="126"/>
                  </a:lnTo>
                  <a:lnTo>
                    <a:pt x="246" y="126"/>
                  </a:lnTo>
                  <a:lnTo>
                    <a:pt x="239" y="128"/>
                  </a:lnTo>
                  <a:lnTo>
                    <a:pt x="234" y="135"/>
                  </a:lnTo>
                  <a:lnTo>
                    <a:pt x="232" y="137"/>
                  </a:lnTo>
                  <a:lnTo>
                    <a:pt x="229" y="142"/>
                  </a:lnTo>
                  <a:lnTo>
                    <a:pt x="222" y="142"/>
                  </a:lnTo>
                  <a:lnTo>
                    <a:pt x="225" y="137"/>
                  </a:lnTo>
                  <a:lnTo>
                    <a:pt x="222" y="137"/>
                  </a:lnTo>
                  <a:lnTo>
                    <a:pt x="215" y="145"/>
                  </a:lnTo>
                  <a:lnTo>
                    <a:pt x="213" y="145"/>
                  </a:lnTo>
                  <a:lnTo>
                    <a:pt x="199" y="152"/>
                  </a:lnTo>
                  <a:lnTo>
                    <a:pt x="192" y="152"/>
                  </a:lnTo>
                  <a:lnTo>
                    <a:pt x="189" y="154"/>
                  </a:lnTo>
                  <a:lnTo>
                    <a:pt x="185" y="152"/>
                  </a:lnTo>
                  <a:lnTo>
                    <a:pt x="185" y="147"/>
                  </a:lnTo>
                  <a:lnTo>
                    <a:pt x="182" y="145"/>
                  </a:lnTo>
                  <a:lnTo>
                    <a:pt x="182" y="137"/>
                  </a:lnTo>
                  <a:lnTo>
                    <a:pt x="182" y="142"/>
                  </a:lnTo>
                  <a:lnTo>
                    <a:pt x="185" y="145"/>
                  </a:lnTo>
                  <a:lnTo>
                    <a:pt x="185" y="152"/>
                  </a:lnTo>
                  <a:lnTo>
                    <a:pt x="192" y="152"/>
                  </a:lnTo>
                  <a:lnTo>
                    <a:pt x="192" y="147"/>
                  </a:lnTo>
                  <a:lnTo>
                    <a:pt x="189" y="142"/>
                  </a:lnTo>
                  <a:lnTo>
                    <a:pt x="185" y="135"/>
                  </a:lnTo>
                  <a:lnTo>
                    <a:pt x="182" y="130"/>
                  </a:lnTo>
                  <a:lnTo>
                    <a:pt x="168" y="126"/>
                  </a:lnTo>
                  <a:lnTo>
                    <a:pt x="161" y="121"/>
                  </a:lnTo>
                  <a:lnTo>
                    <a:pt x="173" y="121"/>
                  </a:lnTo>
                  <a:lnTo>
                    <a:pt x="175" y="126"/>
                  </a:lnTo>
                  <a:lnTo>
                    <a:pt x="177" y="126"/>
                  </a:lnTo>
                  <a:lnTo>
                    <a:pt x="182" y="121"/>
                  </a:lnTo>
                  <a:lnTo>
                    <a:pt x="175" y="121"/>
                  </a:lnTo>
                  <a:lnTo>
                    <a:pt x="159" y="119"/>
                  </a:lnTo>
                  <a:lnTo>
                    <a:pt x="156" y="114"/>
                  </a:lnTo>
                  <a:lnTo>
                    <a:pt x="159" y="107"/>
                  </a:lnTo>
                  <a:lnTo>
                    <a:pt x="151" y="104"/>
                  </a:lnTo>
                  <a:lnTo>
                    <a:pt x="142" y="107"/>
                  </a:lnTo>
                  <a:lnTo>
                    <a:pt x="142" y="111"/>
                  </a:lnTo>
                  <a:lnTo>
                    <a:pt x="149" y="111"/>
                  </a:lnTo>
                  <a:lnTo>
                    <a:pt x="151" y="114"/>
                  </a:lnTo>
                  <a:lnTo>
                    <a:pt x="156" y="114"/>
                  </a:lnTo>
                  <a:lnTo>
                    <a:pt x="156" y="119"/>
                  </a:lnTo>
                  <a:lnTo>
                    <a:pt x="149" y="119"/>
                  </a:lnTo>
                  <a:lnTo>
                    <a:pt x="144" y="114"/>
                  </a:lnTo>
                  <a:lnTo>
                    <a:pt x="142" y="114"/>
                  </a:lnTo>
                  <a:lnTo>
                    <a:pt x="137" y="111"/>
                  </a:lnTo>
                  <a:lnTo>
                    <a:pt x="128" y="107"/>
                  </a:lnTo>
                  <a:lnTo>
                    <a:pt x="118" y="107"/>
                  </a:lnTo>
                  <a:lnTo>
                    <a:pt x="111" y="104"/>
                  </a:lnTo>
                  <a:lnTo>
                    <a:pt x="104" y="104"/>
                  </a:lnTo>
                  <a:lnTo>
                    <a:pt x="118" y="102"/>
                  </a:lnTo>
                  <a:lnTo>
                    <a:pt x="121" y="102"/>
                  </a:lnTo>
                  <a:lnTo>
                    <a:pt x="118" y="97"/>
                  </a:lnTo>
                  <a:lnTo>
                    <a:pt x="116" y="95"/>
                  </a:lnTo>
                  <a:lnTo>
                    <a:pt x="95" y="95"/>
                  </a:lnTo>
                  <a:lnTo>
                    <a:pt x="92" y="97"/>
                  </a:lnTo>
                  <a:lnTo>
                    <a:pt x="85" y="104"/>
                  </a:lnTo>
                  <a:lnTo>
                    <a:pt x="76" y="104"/>
                  </a:lnTo>
                  <a:lnTo>
                    <a:pt x="69" y="107"/>
                  </a:lnTo>
                  <a:lnTo>
                    <a:pt x="59" y="111"/>
                  </a:lnTo>
                  <a:lnTo>
                    <a:pt x="55" y="111"/>
                  </a:lnTo>
                  <a:lnTo>
                    <a:pt x="48" y="114"/>
                  </a:lnTo>
                  <a:lnTo>
                    <a:pt x="40" y="114"/>
                  </a:lnTo>
                  <a:lnTo>
                    <a:pt x="45" y="111"/>
                  </a:lnTo>
                  <a:lnTo>
                    <a:pt x="52" y="111"/>
                  </a:lnTo>
                  <a:lnTo>
                    <a:pt x="55" y="107"/>
                  </a:lnTo>
                  <a:lnTo>
                    <a:pt x="59" y="104"/>
                  </a:lnTo>
                  <a:lnTo>
                    <a:pt x="55" y="104"/>
                  </a:lnTo>
                  <a:lnTo>
                    <a:pt x="52" y="102"/>
                  </a:lnTo>
                  <a:lnTo>
                    <a:pt x="38" y="102"/>
                  </a:lnTo>
                  <a:lnTo>
                    <a:pt x="40" y="104"/>
                  </a:lnTo>
                  <a:lnTo>
                    <a:pt x="38" y="111"/>
                  </a:lnTo>
                  <a:lnTo>
                    <a:pt x="36" y="119"/>
                  </a:lnTo>
                  <a:lnTo>
                    <a:pt x="31" y="119"/>
                  </a:lnTo>
                  <a:lnTo>
                    <a:pt x="31" y="121"/>
                  </a:lnTo>
                  <a:lnTo>
                    <a:pt x="29" y="121"/>
                  </a:lnTo>
                  <a:lnTo>
                    <a:pt x="19" y="126"/>
                  </a:lnTo>
                  <a:lnTo>
                    <a:pt x="14" y="128"/>
                  </a:lnTo>
                  <a:lnTo>
                    <a:pt x="14" y="126"/>
                  </a:lnTo>
                  <a:lnTo>
                    <a:pt x="19" y="126"/>
                  </a:lnTo>
                  <a:lnTo>
                    <a:pt x="22" y="121"/>
                  </a:lnTo>
                  <a:lnTo>
                    <a:pt x="29" y="111"/>
                  </a:lnTo>
                  <a:lnTo>
                    <a:pt x="24" y="111"/>
                  </a:lnTo>
                  <a:lnTo>
                    <a:pt x="22" y="107"/>
                  </a:lnTo>
                  <a:lnTo>
                    <a:pt x="19" y="104"/>
                  </a:lnTo>
                  <a:lnTo>
                    <a:pt x="19" y="97"/>
                  </a:lnTo>
                  <a:lnTo>
                    <a:pt x="22" y="95"/>
                  </a:lnTo>
                  <a:lnTo>
                    <a:pt x="19" y="90"/>
                  </a:lnTo>
                  <a:lnTo>
                    <a:pt x="14" y="88"/>
                  </a:lnTo>
                  <a:lnTo>
                    <a:pt x="12" y="88"/>
                  </a:lnTo>
                  <a:lnTo>
                    <a:pt x="7" y="85"/>
                  </a:lnTo>
                  <a:lnTo>
                    <a:pt x="0" y="78"/>
                  </a:lnTo>
                  <a:lnTo>
                    <a:pt x="0" y="64"/>
                  </a:lnTo>
                  <a:lnTo>
                    <a:pt x="7" y="64"/>
                  </a:lnTo>
                  <a:lnTo>
                    <a:pt x="19" y="62"/>
                  </a:lnTo>
                  <a:lnTo>
                    <a:pt x="29" y="62"/>
                  </a:lnTo>
                  <a:lnTo>
                    <a:pt x="36" y="57"/>
                  </a:lnTo>
                  <a:lnTo>
                    <a:pt x="40" y="57"/>
                  </a:lnTo>
                  <a:lnTo>
                    <a:pt x="62" y="55"/>
                  </a:lnTo>
                  <a:lnTo>
                    <a:pt x="71" y="55"/>
                  </a:lnTo>
                  <a:lnTo>
                    <a:pt x="88" y="50"/>
                  </a:lnTo>
                  <a:lnTo>
                    <a:pt x="128" y="45"/>
                  </a:lnTo>
                  <a:lnTo>
                    <a:pt x="144" y="41"/>
                  </a:lnTo>
                  <a:lnTo>
                    <a:pt x="151" y="41"/>
                  </a:lnTo>
                  <a:lnTo>
                    <a:pt x="161" y="38"/>
                  </a:lnTo>
                  <a:lnTo>
                    <a:pt x="177" y="38"/>
                  </a:lnTo>
                  <a:lnTo>
                    <a:pt x="196" y="33"/>
                  </a:lnTo>
                  <a:lnTo>
                    <a:pt x="199" y="31"/>
                  </a:lnTo>
                  <a:lnTo>
                    <a:pt x="199" y="33"/>
                  </a:lnTo>
                  <a:lnTo>
                    <a:pt x="201" y="38"/>
                  </a:lnTo>
                  <a:lnTo>
                    <a:pt x="206" y="48"/>
                  </a:lnTo>
                  <a:lnTo>
                    <a:pt x="208" y="55"/>
                  </a:lnTo>
                  <a:lnTo>
                    <a:pt x="213" y="55"/>
                  </a:lnTo>
                  <a:lnTo>
                    <a:pt x="241" y="50"/>
                  </a:lnTo>
                  <a:lnTo>
                    <a:pt x="262" y="50"/>
                  </a:lnTo>
                  <a:lnTo>
                    <a:pt x="298" y="45"/>
                  </a:lnTo>
                  <a:lnTo>
                    <a:pt x="352" y="38"/>
                  </a:lnTo>
                  <a:lnTo>
                    <a:pt x="362" y="38"/>
                  </a:lnTo>
                  <a:lnTo>
                    <a:pt x="390" y="33"/>
                  </a:lnTo>
                  <a:lnTo>
                    <a:pt x="395" y="31"/>
                  </a:lnTo>
                  <a:lnTo>
                    <a:pt x="411" y="31"/>
                  </a:lnTo>
                  <a:lnTo>
                    <a:pt x="416" y="38"/>
                  </a:lnTo>
                  <a:lnTo>
                    <a:pt x="416" y="41"/>
                  </a:lnTo>
                  <a:lnTo>
                    <a:pt x="418" y="41"/>
                  </a:lnTo>
                  <a:lnTo>
                    <a:pt x="418" y="45"/>
                  </a:lnTo>
                  <a:lnTo>
                    <a:pt x="423" y="48"/>
                  </a:lnTo>
                  <a:lnTo>
                    <a:pt x="430" y="45"/>
                  </a:lnTo>
                  <a:lnTo>
                    <a:pt x="433" y="45"/>
                  </a:lnTo>
                  <a:lnTo>
                    <a:pt x="430" y="31"/>
                  </a:lnTo>
                  <a:lnTo>
                    <a:pt x="430" y="22"/>
                  </a:lnTo>
                  <a:lnTo>
                    <a:pt x="425" y="22"/>
                  </a:lnTo>
                  <a:lnTo>
                    <a:pt x="425" y="7"/>
                  </a:lnTo>
                  <a:lnTo>
                    <a:pt x="430" y="5"/>
                  </a:lnTo>
                  <a:lnTo>
                    <a:pt x="435" y="0"/>
                  </a:lnTo>
                  <a:lnTo>
                    <a:pt x="442" y="5"/>
                  </a:lnTo>
                  <a:lnTo>
                    <a:pt x="447" y="5"/>
                  </a:lnTo>
                  <a:lnTo>
                    <a:pt x="449" y="7"/>
                  </a:lnTo>
                  <a:lnTo>
                    <a:pt x="463" y="7"/>
                  </a:lnTo>
                  <a:lnTo>
                    <a:pt x="466" y="5"/>
                  </a:lnTo>
                  <a:lnTo>
                    <a:pt x="468" y="7"/>
                  </a:lnTo>
                  <a:lnTo>
                    <a:pt x="473" y="10"/>
                  </a:lnTo>
                  <a:lnTo>
                    <a:pt x="473" y="22"/>
                  </a:lnTo>
                  <a:lnTo>
                    <a:pt x="475" y="24"/>
                  </a:lnTo>
                  <a:lnTo>
                    <a:pt x="480" y="31"/>
                  </a:lnTo>
                  <a:lnTo>
                    <a:pt x="480" y="33"/>
                  </a:lnTo>
                  <a:lnTo>
                    <a:pt x="482" y="41"/>
                  </a:lnTo>
                  <a:lnTo>
                    <a:pt x="482" y="45"/>
                  </a:lnTo>
                  <a:lnTo>
                    <a:pt x="487" y="48"/>
                  </a:lnTo>
                  <a:lnTo>
                    <a:pt x="489" y="57"/>
                  </a:lnTo>
                  <a:lnTo>
                    <a:pt x="492" y="67"/>
                  </a:lnTo>
                  <a:lnTo>
                    <a:pt x="496" y="74"/>
                  </a:lnTo>
                  <a:lnTo>
                    <a:pt x="499" y="81"/>
                  </a:lnTo>
                  <a:lnTo>
                    <a:pt x="503" y="85"/>
                  </a:lnTo>
                  <a:lnTo>
                    <a:pt x="508" y="95"/>
                  </a:lnTo>
                  <a:lnTo>
                    <a:pt x="513" y="102"/>
                  </a:lnTo>
                  <a:lnTo>
                    <a:pt x="529" y="126"/>
                  </a:lnTo>
                  <a:lnTo>
                    <a:pt x="532" y="135"/>
                  </a:lnTo>
                  <a:lnTo>
                    <a:pt x="546" y="147"/>
                  </a:lnTo>
                  <a:lnTo>
                    <a:pt x="560" y="163"/>
                  </a:lnTo>
                  <a:lnTo>
                    <a:pt x="562" y="168"/>
                  </a:lnTo>
                  <a:lnTo>
                    <a:pt x="567" y="170"/>
                  </a:lnTo>
                  <a:lnTo>
                    <a:pt x="572" y="175"/>
                  </a:lnTo>
                  <a:lnTo>
                    <a:pt x="572" y="178"/>
                  </a:lnTo>
                  <a:lnTo>
                    <a:pt x="577" y="182"/>
                  </a:lnTo>
                  <a:lnTo>
                    <a:pt x="577" y="187"/>
                  </a:lnTo>
                  <a:lnTo>
                    <a:pt x="572" y="192"/>
                  </a:lnTo>
                  <a:lnTo>
                    <a:pt x="577" y="199"/>
                  </a:lnTo>
                  <a:lnTo>
                    <a:pt x="577" y="211"/>
                  </a:lnTo>
                  <a:lnTo>
                    <a:pt x="579" y="211"/>
                  </a:lnTo>
                  <a:lnTo>
                    <a:pt x="579" y="218"/>
                  </a:lnTo>
                  <a:lnTo>
                    <a:pt x="584" y="222"/>
                  </a:lnTo>
                  <a:lnTo>
                    <a:pt x="584" y="225"/>
                  </a:lnTo>
                  <a:lnTo>
                    <a:pt x="588" y="227"/>
                  </a:lnTo>
                  <a:lnTo>
                    <a:pt x="588" y="232"/>
                  </a:lnTo>
                  <a:lnTo>
                    <a:pt x="593" y="232"/>
                  </a:lnTo>
                  <a:lnTo>
                    <a:pt x="593" y="239"/>
                  </a:lnTo>
                  <a:lnTo>
                    <a:pt x="588" y="232"/>
                  </a:lnTo>
                  <a:lnTo>
                    <a:pt x="584" y="222"/>
                  </a:lnTo>
                  <a:lnTo>
                    <a:pt x="579" y="218"/>
                  </a:lnTo>
                  <a:lnTo>
                    <a:pt x="577" y="215"/>
                  </a:lnTo>
                  <a:lnTo>
                    <a:pt x="577" y="208"/>
                  </a:lnTo>
                  <a:lnTo>
                    <a:pt x="572" y="199"/>
                  </a:lnTo>
                  <a:lnTo>
                    <a:pt x="572" y="178"/>
                  </a:lnTo>
                  <a:lnTo>
                    <a:pt x="570" y="175"/>
                  </a:lnTo>
                  <a:lnTo>
                    <a:pt x="567" y="175"/>
                  </a:lnTo>
                  <a:lnTo>
                    <a:pt x="567" y="178"/>
                  </a:lnTo>
                  <a:lnTo>
                    <a:pt x="560" y="178"/>
                  </a:lnTo>
                  <a:lnTo>
                    <a:pt x="555" y="175"/>
                  </a:lnTo>
                  <a:lnTo>
                    <a:pt x="555" y="163"/>
                  </a:lnTo>
                  <a:lnTo>
                    <a:pt x="548" y="163"/>
                  </a:lnTo>
                  <a:lnTo>
                    <a:pt x="553" y="175"/>
                  </a:lnTo>
                  <a:lnTo>
                    <a:pt x="560" y="194"/>
                  </a:lnTo>
                  <a:lnTo>
                    <a:pt x="567" y="201"/>
                  </a:lnTo>
                  <a:lnTo>
                    <a:pt x="584" y="225"/>
                  </a:lnTo>
                  <a:lnTo>
                    <a:pt x="593" y="239"/>
                  </a:lnTo>
                  <a:lnTo>
                    <a:pt x="593" y="241"/>
                  </a:lnTo>
                  <a:lnTo>
                    <a:pt x="596" y="244"/>
                  </a:lnTo>
                  <a:lnTo>
                    <a:pt x="600" y="251"/>
                  </a:lnTo>
                  <a:lnTo>
                    <a:pt x="603" y="251"/>
                  </a:lnTo>
                  <a:lnTo>
                    <a:pt x="603" y="256"/>
                  </a:lnTo>
                  <a:lnTo>
                    <a:pt x="605" y="258"/>
                  </a:lnTo>
                  <a:lnTo>
                    <a:pt x="605" y="265"/>
                  </a:lnTo>
                  <a:lnTo>
                    <a:pt x="612" y="272"/>
                  </a:lnTo>
                  <a:lnTo>
                    <a:pt x="624" y="291"/>
                  </a:lnTo>
                  <a:lnTo>
                    <a:pt x="629" y="296"/>
                  </a:lnTo>
                  <a:lnTo>
                    <a:pt x="633" y="300"/>
                  </a:lnTo>
                  <a:lnTo>
                    <a:pt x="636" y="308"/>
                  </a:lnTo>
                  <a:lnTo>
                    <a:pt x="643" y="319"/>
                  </a:lnTo>
                  <a:lnTo>
                    <a:pt x="643" y="322"/>
                  </a:lnTo>
                  <a:lnTo>
                    <a:pt x="645" y="338"/>
                  </a:lnTo>
                  <a:lnTo>
                    <a:pt x="645" y="348"/>
                  </a:lnTo>
                  <a:lnTo>
                    <a:pt x="650" y="357"/>
                  </a:lnTo>
                  <a:lnTo>
                    <a:pt x="650" y="419"/>
                  </a:lnTo>
                  <a:lnTo>
                    <a:pt x="643" y="426"/>
                  </a:lnTo>
                  <a:lnTo>
                    <a:pt x="640" y="433"/>
                  </a:lnTo>
                  <a:lnTo>
                    <a:pt x="643" y="437"/>
                  </a:lnTo>
                  <a:lnTo>
                    <a:pt x="640" y="442"/>
                  </a:lnTo>
                  <a:lnTo>
                    <a:pt x="640" y="468"/>
                  </a:lnTo>
                  <a:lnTo>
                    <a:pt x="636" y="466"/>
                  </a:lnTo>
                  <a:lnTo>
                    <a:pt x="633" y="468"/>
                  </a:lnTo>
                  <a:lnTo>
                    <a:pt x="633" y="473"/>
                  </a:lnTo>
                  <a:lnTo>
                    <a:pt x="633" y="468"/>
                  </a:lnTo>
                  <a:lnTo>
                    <a:pt x="626" y="468"/>
                  </a:lnTo>
                  <a:lnTo>
                    <a:pt x="619" y="475"/>
                  </a:lnTo>
                  <a:lnTo>
                    <a:pt x="605" y="478"/>
                  </a:lnTo>
                  <a:lnTo>
                    <a:pt x="588" y="485"/>
                  </a:lnTo>
                  <a:lnTo>
                    <a:pt x="586" y="489"/>
                  </a:lnTo>
                  <a:lnTo>
                    <a:pt x="584" y="485"/>
                  </a:lnTo>
                  <a:lnTo>
                    <a:pt x="579" y="478"/>
                  </a:lnTo>
                  <a:lnTo>
                    <a:pt x="579" y="473"/>
                  </a:lnTo>
                  <a:lnTo>
                    <a:pt x="584" y="473"/>
                  </a:lnTo>
                  <a:lnTo>
                    <a:pt x="584" y="475"/>
                  </a:lnTo>
                  <a:lnTo>
                    <a:pt x="593" y="478"/>
                  </a:lnTo>
                  <a:lnTo>
                    <a:pt x="596" y="478"/>
                  </a:lnTo>
                  <a:lnTo>
                    <a:pt x="600" y="475"/>
                  </a:lnTo>
                  <a:lnTo>
                    <a:pt x="600" y="473"/>
                  </a:lnTo>
                  <a:lnTo>
                    <a:pt x="596" y="468"/>
                  </a:lnTo>
                  <a:lnTo>
                    <a:pt x="586" y="468"/>
                  </a:lnTo>
                  <a:lnTo>
                    <a:pt x="584" y="466"/>
                  </a:lnTo>
                  <a:lnTo>
                    <a:pt x="579" y="466"/>
                  </a:lnTo>
                  <a:lnTo>
                    <a:pt x="579" y="461"/>
                  </a:lnTo>
                  <a:lnTo>
                    <a:pt x="577" y="459"/>
                  </a:lnTo>
                  <a:lnTo>
                    <a:pt x="560" y="433"/>
                  </a:lnTo>
                  <a:lnTo>
                    <a:pt x="555" y="433"/>
                  </a:lnTo>
                  <a:lnTo>
                    <a:pt x="553" y="428"/>
                  </a:lnTo>
                  <a:lnTo>
                    <a:pt x="548" y="428"/>
                  </a:lnTo>
                  <a:lnTo>
                    <a:pt x="537" y="426"/>
                  </a:lnTo>
                  <a:lnTo>
                    <a:pt x="532" y="426"/>
                  </a:lnTo>
                  <a:lnTo>
                    <a:pt x="529" y="428"/>
                  </a:lnTo>
                  <a:lnTo>
                    <a:pt x="522" y="426"/>
                  </a:lnTo>
                  <a:lnTo>
                    <a:pt x="515" y="41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7" name="Freeform 232">
              <a:extLst>
                <a:ext uri="{FF2B5EF4-FFF2-40B4-BE49-F238E27FC236}">
                  <a16:creationId xmlns:a16="http://schemas.microsoft.com/office/drawing/2014/main" id="{0C03B214-DAE4-4B1D-93EE-3408C56EBC4B}"/>
                </a:ext>
              </a:extLst>
            </p:cNvPr>
            <p:cNvSpPr>
              <a:spLocks/>
            </p:cNvSpPr>
            <p:nvPr/>
          </p:nvSpPr>
          <p:spPr bwMode="gray">
            <a:xfrm rot="47099">
              <a:off x="1398079" y="3814365"/>
              <a:ext cx="105564" cy="187852"/>
            </a:xfrm>
            <a:custGeom>
              <a:avLst/>
              <a:gdLst>
                <a:gd name="T0" fmla="*/ 104 w 227"/>
                <a:gd name="T1" fmla="*/ 23 h 404"/>
                <a:gd name="T2" fmla="*/ 113 w 227"/>
                <a:gd name="T3" fmla="*/ 26 h 404"/>
                <a:gd name="T4" fmla="*/ 123 w 227"/>
                <a:gd name="T5" fmla="*/ 56 h 404"/>
                <a:gd name="T6" fmla="*/ 135 w 227"/>
                <a:gd name="T7" fmla="*/ 82 h 404"/>
                <a:gd name="T8" fmla="*/ 135 w 227"/>
                <a:gd name="T9" fmla="*/ 96 h 404"/>
                <a:gd name="T10" fmla="*/ 146 w 227"/>
                <a:gd name="T11" fmla="*/ 103 h 404"/>
                <a:gd name="T12" fmla="*/ 146 w 227"/>
                <a:gd name="T13" fmla="*/ 122 h 404"/>
                <a:gd name="T14" fmla="*/ 168 w 227"/>
                <a:gd name="T15" fmla="*/ 139 h 404"/>
                <a:gd name="T16" fmla="*/ 175 w 227"/>
                <a:gd name="T17" fmla="*/ 151 h 404"/>
                <a:gd name="T18" fmla="*/ 180 w 227"/>
                <a:gd name="T19" fmla="*/ 151 h 404"/>
                <a:gd name="T20" fmla="*/ 191 w 227"/>
                <a:gd name="T21" fmla="*/ 155 h 404"/>
                <a:gd name="T22" fmla="*/ 217 w 227"/>
                <a:gd name="T23" fmla="*/ 155 h 404"/>
                <a:gd name="T24" fmla="*/ 215 w 227"/>
                <a:gd name="T25" fmla="*/ 196 h 404"/>
                <a:gd name="T26" fmla="*/ 227 w 227"/>
                <a:gd name="T27" fmla="*/ 207 h 404"/>
                <a:gd name="T28" fmla="*/ 177 w 227"/>
                <a:gd name="T29" fmla="*/ 233 h 404"/>
                <a:gd name="T30" fmla="*/ 161 w 227"/>
                <a:gd name="T31" fmla="*/ 259 h 404"/>
                <a:gd name="T32" fmla="*/ 144 w 227"/>
                <a:gd name="T33" fmla="*/ 266 h 404"/>
                <a:gd name="T34" fmla="*/ 135 w 227"/>
                <a:gd name="T35" fmla="*/ 276 h 404"/>
                <a:gd name="T36" fmla="*/ 130 w 227"/>
                <a:gd name="T37" fmla="*/ 290 h 404"/>
                <a:gd name="T38" fmla="*/ 130 w 227"/>
                <a:gd name="T39" fmla="*/ 307 h 404"/>
                <a:gd name="T40" fmla="*/ 137 w 227"/>
                <a:gd name="T41" fmla="*/ 330 h 404"/>
                <a:gd name="T42" fmla="*/ 144 w 227"/>
                <a:gd name="T43" fmla="*/ 340 h 404"/>
                <a:gd name="T44" fmla="*/ 130 w 227"/>
                <a:gd name="T45" fmla="*/ 354 h 404"/>
                <a:gd name="T46" fmla="*/ 106 w 227"/>
                <a:gd name="T47" fmla="*/ 368 h 404"/>
                <a:gd name="T48" fmla="*/ 97 w 227"/>
                <a:gd name="T49" fmla="*/ 385 h 404"/>
                <a:gd name="T50" fmla="*/ 71 w 227"/>
                <a:gd name="T51" fmla="*/ 401 h 404"/>
                <a:gd name="T52" fmla="*/ 64 w 227"/>
                <a:gd name="T53" fmla="*/ 401 h 404"/>
                <a:gd name="T54" fmla="*/ 64 w 227"/>
                <a:gd name="T55" fmla="*/ 387 h 404"/>
                <a:gd name="T56" fmla="*/ 64 w 227"/>
                <a:gd name="T57" fmla="*/ 361 h 404"/>
                <a:gd name="T58" fmla="*/ 50 w 227"/>
                <a:gd name="T59" fmla="*/ 337 h 404"/>
                <a:gd name="T60" fmla="*/ 50 w 227"/>
                <a:gd name="T61" fmla="*/ 307 h 404"/>
                <a:gd name="T62" fmla="*/ 40 w 227"/>
                <a:gd name="T63" fmla="*/ 292 h 404"/>
                <a:gd name="T64" fmla="*/ 31 w 227"/>
                <a:gd name="T65" fmla="*/ 281 h 404"/>
                <a:gd name="T66" fmla="*/ 31 w 227"/>
                <a:gd name="T67" fmla="*/ 241 h 404"/>
                <a:gd name="T68" fmla="*/ 38 w 227"/>
                <a:gd name="T69" fmla="*/ 226 h 404"/>
                <a:gd name="T70" fmla="*/ 59 w 227"/>
                <a:gd name="T71" fmla="*/ 224 h 404"/>
                <a:gd name="T72" fmla="*/ 83 w 227"/>
                <a:gd name="T73" fmla="*/ 219 h 404"/>
                <a:gd name="T74" fmla="*/ 59 w 227"/>
                <a:gd name="T75" fmla="*/ 212 h 404"/>
                <a:gd name="T76" fmla="*/ 43 w 227"/>
                <a:gd name="T77" fmla="*/ 196 h 404"/>
                <a:gd name="T78" fmla="*/ 50 w 227"/>
                <a:gd name="T79" fmla="*/ 200 h 404"/>
                <a:gd name="T80" fmla="*/ 40 w 227"/>
                <a:gd name="T81" fmla="*/ 191 h 404"/>
                <a:gd name="T82" fmla="*/ 31 w 227"/>
                <a:gd name="T83" fmla="*/ 160 h 404"/>
                <a:gd name="T84" fmla="*/ 17 w 227"/>
                <a:gd name="T85" fmla="*/ 144 h 404"/>
                <a:gd name="T86" fmla="*/ 17 w 227"/>
                <a:gd name="T87" fmla="*/ 111 h 404"/>
                <a:gd name="T88" fmla="*/ 43 w 227"/>
                <a:gd name="T89" fmla="*/ 99 h 404"/>
                <a:gd name="T90" fmla="*/ 57 w 227"/>
                <a:gd name="T91" fmla="*/ 73 h 404"/>
                <a:gd name="T92" fmla="*/ 43 w 227"/>
                <a:gd name="T93" fmla="*/ 63 h 404"/>
                <a:gd name="T94" fmla="*/ 33 w 227"/>
                <a:gd name="T95" fmla="*/ 47 h 404"/>
                <a:gd name="T96" fmla="*/ 71 w 227"/>
                <a:gd name="T97" fmla="*/ 9 h 404"/>
                <a:gd name="T98" fmla="*/ 99 w 227"/>
                <a:gd name="T99" fmla="*/ 9 h 404"/>
                <a:gd name="T100" fmla="*/ 113 w 227"/>
                <a:gd name="T101" fmla="*/ 0 h 404"/>
                <a:gd name="T102" fmla="*/ 121 w 227"/>
                <a:gd name="T103" fmla="*/ 9 h 40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7"/>
                <a:gd name="T157" fmla="*/ 0 h 404"/>
                <a:gd name="T158" fmla="*/ 227 w 227"/>
                <a:gd name="T159" fmla="*/ 404 h 40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7" h="404">
                  <a:moveTo>
                    <a:pt x="113" y="14"/>
                  </a:moveTo>
                  <a:lnTo>
                    <a:pt x="111" y="18"/>
                  </a:lnTo>
                  <a:lnTo>
                    <a:pt x="104" y="23"/>
                  </a:lnTo>
                  <a:lnTo>
                    <a:pt x="106" y="30"/>
                  </a:lnTo>
                  <a:lnTo>
                    <a:pt x="111" y="30"/>
                  </a:lnTo>
                  <a:lnTo>
                    <a:pt x="113" y="26"/>
                  </a:lnTo>
                  <a:lnTo>
                    <a:pt x="118" y="30"/>
                  </a:lnTo>
                  <a:lnTo>
                    <a:pt x="123" y="54"/>
                  </a:lnTo>
                  <a:lnTo>
                    <a:pt x="123" y="56"/>
                  </a:lnTo>
                  <a:lnTo>
                    <a:pt x="121" y="59"/>
                  </a:lnTo>
                  <a:lnTo>
                    <a:pt x="121" y="75"/>
                  </a:lnTo>
                  <a:lnTo>
                    <a:pt x="135" y="82"/>
                  </a:lnTo>
                  <a:lnTo>
                    <a:pt x="130" y="87"/>
                  </a:lnTo>
                  <a:lnTo>
                    <a:pt x="130" y="94"/>
                  </a:lnTo>
                  <a:lnTo>
                    <a:pt x="135" y="96"/>
                  </a:lnTo>
                  <a:lnTo>
                    <a:pt x="139" y="96"/>
                  </a:lnTo>
                  <a:lnTo>
                    <a:pt x="144" y="99"/>
                  </a:lnTo>
                  <a:lnTo>
                    <a:pt x="146" y="103"/>
                  </a:lnTo>
                  <a:lnTo>
                    <a:pt x="146" y="115"/>
                  </a:lnTo>
                  <a:lnTo>
                    <a:pt x="144" y="115"/>
                  </a:lnTo>
                  <a:lnTo>
                    <a:pt x="146" y="122"/>
                  </a:lnTo>
                  <a:lnTo>
                    <a:pt x="161" y="129"/>
                  </a:lnTo>
                  <a:lnTo>
                    <a:pt x="163" y="129"/>
                  </a:lnTo>
                  <a:lnTo>
                    <a:pt x="168" y="139"/>
                  </a:lnTo>
                  <a:lnTo>
                    <a:pt x="168" y="144"/>
                  </a:lnTo>
                  <a:lnTo>
                    <a:pt x="170" y="151"/>
                  </a:lnTo>
                  <a:lnTo>
                    <a:pt x="175" y="151"/>
                  </a:lnTo>
                  <a:lnTo>
                    <a:pt x="177" y="146"/>
                  </a:lnTo>
                  <a:lnTo>
                    <a:pt x="180" y="146"/>
                  </a:lnTo>
                  <a:lnTo>
                    <a:pt x="180" y="151"/>
                  </a:lnTo>
                  <a:lnTo>
                    <a:pt x="184" y="153"/>
                  </a:lnTo>
                  <a:lnTo>
                    <a:pt x="187" y="155"/>
                  </a:lnTo>
                  <a:lnTo>
                    <a:pt x="191" y="155"/>
                  </a:lnTo>
                  <a:lnTo>
                    <a:pt x="194" y="151"/>
                  </a:lnTo>
                  <a:lnTo>
                    <a:pt x="215" y="153"/>
                  </a:lnTo>
                  <a:lnTo>
                    <a:pt x="217" y="155"/>
                  </a:lnTo>
                  <a:lnTo>
                    <a:pt x="217" y="170"/>
                  </a:lnTo>
                  <a:lnTo>
                    <a:pt x="215" y="184"/>
                  </a:lnTo>
                  <a:lnTo>
                    <a:pt x="215" y="196"/>
                  </a:lnTo>
                  <a:lnTo>
                    <a:pt x="217" y="200"/>
                  </a:lnTo>
                  <a:lnTo>
                    <a:pt x="224" y="200"/>
                  </a:lnTo>
                  <a:lnTo>
                    <a:pt x="227" y="207"/>
                  </a:lnTo>
                  <a:lnTo>
                    <a:pt x="187" y="236"/>
                  </a:lnTo>
                  <a:lnTo>
                    <a:pt x="177" y="236"/>
                  </a:lnTo>
                  <a:lnTo>
                    <a:pt x="177" y="233"/>
                  </a:lnTo>
                  <a:lnTo>
                    <a:pt x="168" y="243"/>
                  </a:lnTo>
                  <a:lnTo>
                    <a:pt x="168" y="259"/>
                  </a:lnTo>
                  <a:lnTo>
                    <a:pt x="161" y="259"/>
                  </a:lnTo>
                  <a:lnTo>
                    <a:pt x="151" y="264"/>
                  </a:lnTo>
                  <a:lnTo>
                    <a:pt x="146" y="266"/>
                  </a:lnTo>
                  <a:lnTo>
                    <a:pt x="144" y="266"/>
                  </a:lnTo>
                  <a:lnTo>
                    <a:pt x="139" y="269"/>
                  </a:lnTo>
                  <a:lnTo>
                    <a:pt x="135" y="274"/>
                  </a:lnTo>
                  <a:lnTo>
                    <a:pt x="135" y="276"/>
                  </a:lnTo>
                  <a:lnTo>
                    <a:pt x="121" y="288"/>
                  </a:lnTo>
                  <a:lnTo>
                    <a:pt x="123" y="290"/>
                  </a:lnTo>
                  <a:lnTo>
                    <a:pt x="130" y="290"/>
                  </a:lnTo>
                  <a:lnTo>
                    <a:pt x="135" y="300"/>
                  </a:lnTo>
                  <a:lnTo>
                    <a:pt x="135" y="307"/>
                  </a:lnTo>
                  <a:lnTo>
                    <a:pt x="130" y="307"/>
                  </a:lnTo>
                  <a:lnTo>
                    <a:pt x="130" y="328"/>
                  </a:lnTo>
                  <a:lnTo>
                    <a:pt x="135" y="328"/>
                  </a:lnTo>
                  <a:lnTo>
                    <a:pt x="137" y="330"/>
                  </a:lnTo>
                  <a:lnTo>
                    <a:pt x="139" y="333"/>
                  </a:lnTo>
                  <a:lnTo>
                    <a:pt x="144" y="337"/>
                  </a:lnTo>
                  <a:lnTo>
                    <a:pt x="144" y="340"/>
                  </a:lnTo>
                  <a:lnTo>
                    <a:pt x="139" y="340"/>
                  </a:lnTo>
                  <a:lnTo>
                    <a:pt x="135" y="349"/>
                  </a:lnTo>
                  <a:lnTo>
                    <a:pt x="130" y="354"/>
                  </a:lnTo>
                  <a:lnTo>
                    <a:pt x="111" y="354"/>
                  </a:lnTo>
                  <a:lnTo>
                    <a:pt x="106" y="361"/>
                  </a:lnTo>
                  <a:lnTo>
                    <a:pt x="106" y="368"/>
                  </a:lnTo>
                  <a:lnTo>
                    <a:pt x="99" y="373"/>
                  </a:lnTo>
                  <a:lnTo>
                    <a:pt x="104" y="380"/>
                  </a:lnTo>
                  <a:lnTo>
                    <a:pt x="97" y="385"/>
                  </a:lnTo>
                  <a:lnTo>
                    <a:pt x="95" y="394"/>
                  </a:lnTo>
                  <a:lnTo>
                    <a:pt x="95" y="401"/>
                  </a:lnTo>
                  <a:lnTo>
                    <a:pt x="71" y="401"/>
                  </a:lnTo>
                  <a:lnTo>
                    <a:pt x="71" y="404"/>
                  </a:lnTo>
                  <a:lnTo>
                    <a:pt x="64" y="404"/>
                  </a:lnTo>
                  <a:lnTo>
                    <a:pt x="64" y="401"/>
                  </a:lnTo>
                  <a:lnTo>
                    <a:pt x="59" y="401"/>
                  </a:lnTo>
                  <a:lnTo>
                    <a:pt x="59" y="389"/>
                  </a:lnTo>
                  <a:lnTo>
                    <a:pt x="64" y="387"/>
                  </a:lnTo>
                  <a:lnTo>
                    <a:pt x="64" y="385"/>
                  </a:lnTo>
                  <a:lnTo>
                    <a:pt x="59" y="378"/>
                  </a:lnTo>
                  <a:lnTo>
                    <a:pt x="64" y="361"/>
                  </a:lnTo>
                  <a:lnTo>
                    <a:pt x="57" y="349"/>
                  </a:lnTo>
                  <a:lnTo>
                    <a:pt x="50" y="340"/>
                  </a:lnTo>
                  <a:lnTo>
                    <a:pt x="50" y="337"/>
                  </a:lnTo>
                  <a:lnTo>
                    <a:pt x="47" y="337"/>
                  </a:lnTo>
                  <a:lnTo>
                    <a:pt x="50" y="330"/>
                  </a:lnTo>
                  <a:lnTo>
                    <a:pt x="50" y="307"/>
                  </a:lnTo>
                  <a:lnTo>
                    <a:pt x="43" y="297"/>
                  </a:lnTo>
                  <a:lnTo>
                    <a:pt x="40" y="297"/>
                  </a:lnTo>
                  <a:lnTo>
                    <a:pt x="40" y="292"/>
                  </a:lnTo>
                  <a:lnTo>
                    <a:pt x="38" y="290"/>
                  </a:lnTo>
                  <a:lnTo>
                    <a:pt x="31" y="283"/>
                  </a:lnTo>
                  <a:lnTo>
                    <a:pt x="31" y="281"/>
                  </a:lnTo>
                  <a:lnTo>
                    <a:pt x="33" y="276"/>
                  </a:lnTo>
                  <a:lnTo>
                    <a:pt x="33" y="257"/>
                  </a:lnTo>
                  <a:lnTo>
                    <a:pt x="31" y="241"/>
                  </a:lnTo>
                  <a:lnTo>
                    <a:pt x="31" y="236"/>
                  </a:lnTo>
                  <a:lnTo>
                    <a:pt x="33" y="231"/>
                  </a:lnTo>
                  <a:lnTo>
                    <a:pt x="38" y="226"/>
                  </a:lnTo>
                  <a:lnTo>
                    <a:pt x="40" y="226"/>
                  </a:lnTo>
                  <a:lnTo>
                    <a:pt x="54" y="224"/>
                  </a:lnTo>
                  <a:lnTo>
                    <a:pt x="59" y="224"/>
                  </a:lnTo>
                  <a:lnTo>
                    <a:pt x="64" y="226"/>
                  </a:lnTo>
                  <a:lnTo>
                    <a:pt x="80" y="226"/>
                  </a:lnTo>
                  <a:lnTo>
                    <a:pt x="83" y="219"/>
                  </a:lnTo>
                  <a:lnTo>
                    <a:pt x="78" y="217"/>
                  </a:lnTo>
                  <a:lnTo>
                    <a:pt x="66" y="217"/>
                  </a:lnTo>
                  <a:lnTo>
                    <a:pt x="59" y="212"/>
                  </a:lnTo>
                  <a:lnTo>
                    <a:pt x="54" y="210"/>
                  </a:lnTo>
                  <a:lnTo>
                    <a:pt x="40" y="200"/>
                  </a:lnTo>
                  <a:lnTo>
                    <a:pt x="43" y="196"/>
                  </a:lnTo>
                  <a:lnTo>
                    <a:pt x="47" y="196"/>
                  </a:lnTo>
                  <a:lnTo>
                    <a:pt x="47" y="200"/>
                  </a:lnTo>
                  <a:lnTo>
                    <a:pt x="50" y="200"/>
                  </a:lnTo>
                  <a:lnTo>
                    <a:pt x="50" y="196"/>
                  </a:lnTo>
                  <a:lnTo>
                    <a:pt x="47" y="193"/>
                  </a:lnTo>
                  <a:lnTo>
                    <a:pt x="40" y="191"/>
                  </a:lnTo>
                  <a:lnTo>
                    <a:pt x="38" y="186"/>
                  </a:lnTo>
                  <a:lnTo>
                    <a:pt x="31" y="179"/>
                  </a:lnTo>
                  <a:lnTo>
                    <a:pt x="31" y="160"/>
                  </a:lnTo>
                  <a:lnTo>
                    <a:pt x="24" y="151"/>
                  </a:lnTo>
                  <a:lnTo>
                    <a:pt x="19" y="146"/>
                  </a:lnTo>
                  <a:lnTo>
                    <a:pt x="17" y="144"/>
                  </a:lnTo>
                  <a:lnTo>
                    <a:pt x="14" y="144"/>
                  </a:lnTo>
                  <a:lnTo>
                    <a:pt x="0" y="122"/>
                  </a:lnTo>
                  <a:lnTo>
                    <a:pt x="17" y="111"/>
                  </a:lnTo>
                  <a:lnTo>
                    <a:pt x="33" y="96"/>
                  </a:lnTo>
                  <a:lnTo>
                    <a:pt x="40" y="99"/>
                  </a:lnTo>
                  <a:lnTo>
                    <a:pt x="43" y="99"/>
                  </a:lnTo>
                  <a:lnTo>
                    <a:pt x="54" y="89"/>
                  </a:lnTo>
                  <a:lnTo>
                    <a:pt x="54" y="80"/>
                  </a:lnTo>
                  <a:lnTo>
                    <a:pt x="57" y="73"/>
                  </a:lnTo>
                  <a:lnTo>
                    <a:pt x="54" y="70"/>
                  </a:lnTo>
                  <a:lnTo>
                    <a:pt x="54" y="66"/>
                  </a:lnTo>
                  <a:lnTo>
                    <a:pt x="43" y="63"/>
                  </a:lnTo>
                  <a:lnTo>
                    <a:pt x="43" y="66"/>
                  </a:lnTo>
                  <a:lnTo>
                    <a:pt x="33" y="66"/>
                  </a:lnTo>
                  <a:lnTo>
                    <a:pt x="33" y="47"/>
                  </a:lnTo>
                  <a:lnTo>
                    <a:pt x="50" y="33"/>
                  </a:lnTo>
                  <a:lnTo>
                    <a:pt x="64" y="33"/>
                  </a:lnTo>
                  <a:lnTo>
                    <a:pt x="71" y="9"/>
                  </a:lnTo>
                  <a:lnTo>
                    <a:pt x="73" y="7"/>
                  </a:lnTo>
                  <a:lnTo>
                    <a:pt x="83" y="0"/>
                  </a:lnTo>
                  <a:lnTo>
                    <a:pt x="99" y="9"/>
                  </a:lnTo>
                  <a:lnTo>
                    <a:pt x="99" y="14"/>
                  </a:lnTo>
                  <a:lnTo>
                    <a:pt x="111" y="2"/>
                  </a:lnTo>
                  <a:lnTo>
                    <a:pt x="113" y="0"/>
                  </a:lnTo>
                  <a:lnTo>
                    <a:pt x="118" y="2"/>
                  </a:lnTo>
                  <a:lnTo>
                    <a:pt x="121" y="7"/>
                  </a:lnTo>
                  <a:lnTo>
                    <a:pt x="121" y="9"/>
                  </a:lnTo>
                  <a:lnTo>
                    <a:pt x="113"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8" name="Freeform 233">
              <a:extLst>
                <a:ext uri="{FF2B5EF4-FFF2-40B4-BE49-F238E27FC236}">
                  <a16:creationId xmlns:a16="http://schemas.microsoft.com/office/drawing/2014/main" id="{6BBC9EE0-BFB6-4836-9079-A897DC19FA14}"/>
                </a:ext>
              </a:extLst>
            </p:cNvPr>
            <p:cNvSpPr>
              <a:spLocks/>
            </p:cNvSpPr>
            <p:nvPr/>
          </p:nvSpPr>
          <p:spPr bwMode="gray">
            <a:xfrm rot="47099">
              <a:off x="1439639" y="3819166"/>
              <a:ext cx="112075" cy="221796"/>
            </a:xfrm>
            <a:custGeom>
              <a:avLst/>
              <a:gdLst>
                <a:gd name="T0" fmla="*/ 238 w 241"/>
                <a:gd name="T1" fmla="*/ 170 h 477"/>
                <a:gd name="T2" fmla="*/ 231 w 241"/>
                <a:gd name="T3" fmla="*/ 194 h 477"/>
                <a:gd name="T4" fmla="*/ 222 w 241"/>
                <a:gd name="T5" fmla="*/ 208 h 477"/>
                <a:gd name="T6" fmla="*/ 215 w 241"/>
                <a:gd name="T7" fmla="*/ 222 h 477"/>
                <a:gd name="T8" fmla="*/ 203 w 241"/>
                <a:gd name="T9" fmla="*/ 260 h 477"/>
                <a:gd name="T10" fmla="*/ 198 w 241"/>
                <a:gd name="T11" fmla="*/ 298 h 477"/>
                <a:gd name="T12" fmla="*/ 194 w 241"/>
                <a:gd name="T13" fmla="*/ 392 h 477"/>
                <a:gd name="T14" fmla="*/ 194 w 241"/>
                <a:gd name="T15" fmla="*/ 425 h 477"/>
                <a:gd name="T16" fmla="*/ 186 w 241"/>
                <a:gd name="T17" fmla="*/ 437 h 477"/>
                <a:gd name="T18" fmla="*/ 194 w 241"/>
                <a:gd name="T19" fmla="*/ 472 h 477"/>
                <a:gd name="T20" fmla="*/ 191 w 241"/>
                <a:gd name="T21" fmla="*/ 477 h 477"/>
                <a:gd name="T22" fmla="*/ 184 w 241"/>
                <a:gd name="T23" fmla="*/ 468 h 477"/>
                <a:gd name="T24" fmla="*/ 163 w 241"/>
                <a:gd name="T25" fmla="*/ 461 h 477"/>
                <a:gd name="T26" fmla="*/ 125 w 241"/>
                <a:gd name="T27" fmla="*/ 461 h 477"/>
                <a:gd name="T28" fmla="*/ 90 w 241"/>
                <a:gd name="T29" fmla="*/ 465 h 477"/>
                <a:gd name="T30" fmla="*/ 73 w 241"/>
                <a:gd name="T31" fmla="*/ 458 h 477"/>
                <a:gd name="T32" fmla="*/ 66 w 241"/>
                <a:gd name="T33" fmla="*/ 451 h 477"/>
                <a:gd name="T34" fmla="*/ 47 w 241"/>
                <a:gd name="T35" fmla="*/ 442 h 477"/>
                <a:gd name="T36" fmla="*/ 33 w 241"/>
                <a:gd name="T37" fmla="*/ 442 h 477"/>
                <a:gd name="T38" fmla="*/ 9 w 241"/>
                <a:gd name="T39" fmla="*/ 432 h 477"/>
                <a:gd name="T40" fmla="*/ 9 w 241"/>
                <a:gd name="T41" fmla="*/ 421 h 477"/>
                <a:gd name="T42" fmla="*/ 16 w 241"/>
                <a:gd name="T43" fmla="*/ 416 h 477"/>
                <a:gd name="T44" fmla="*/ 0 w 241"/>
                <a:gd name="T45" fmla="*/ 402 h 477"/>
                <a:gd name="T46" fmla="*/ 5 w 241"/>
                <a:gd name="T47" fmla="*/ 385 h 477"/>
                <a:gd name="T48" fmla="*/ 9 w 241"/>
                <a:gd name="T49" fmla="*/ 364 h 477"/>
                <a:gd name="T50" fmla="*/ 21 w 241"/>
                <a:gd name="T51" fmla="*/ 345 h 477"/>
                <a:gd name="T52" fmla="*/ 49 w 241"/>
                <a:gd name="T53" fmla="*/ 331 h 477"/>
                <a:gd name="T54" fmla="*/ 49 w 241"/>
                <a:gd name="T55" fmla="*/ 324 h 477"/>
                <a:gd name="T56" fmla="*/ 40 w 241"/>
                <a:gd name="T57" fmla="*/ 319 h 477"/>
                <a:gd name="T58" fmla="*/ 45 w 241"/>
                <a:gd name="T59" fmla="*/ 291 h 477"/>
                <a:gd name="T60" fmla="*/ 31 w 241"/>
                <a:gd name="T61" fmla="*/ 279 h 477"/>
                <a:gd name="T62" fmla="*/ 49 w 241"/>
                <a:gd name="T63" fmla="*/ 260 h 477"/>
                <a:gd name="T64" fmla="*/ 61 w 241"/>
                <a:gd name="T65" fmla="*/ 255 h 477"/>
                <a:gd name="T66" fmla="*/ 78 w 241"/>
                <a:gd name="T67" fmla="*/ 234 h 477"/>
                <a:gd name="T68" fmla="*/ 97 w 241"/>
                <a:gd name="T69" fmla="*/ 227 h 477"/>
                <a:gd name="T70" fmla="*/ 127 w 241"/>
                <a:gd name="T71" fmla="*/ 191 h 477"/>
                <a:gd name="T72" fmla="*/ 127 w 241"/>
                <a:gd name="T73" fmla="*/ 161 h 477"/>
                <a:gd name="T74" fmla="*/ 104 w 241"/>
                <a:gd name="T75" fmla="*/ 142 h 477"/>
                <a:gd name="T76" fmla="*/ 94 w 241"/>
                <a:gd name="T77" fmla="*/ 144 h 477"/>
                <a:gd name="T78" fmla="*/ 87 w 241"/>
                <a:gd name="T79" fmla="*/ 137 h 477"/>
                <a:gd name="T80" fmla="*/ 78 w 241"/>
                <a:gd name="T81" fmla="*/ 135 h 477"/>
                <a:gd name="T82" fmla="*/ 71 w 241"/>
                <a:gd name="T83" fmla="*/ 120 h 477"/>
                <a:gd name="T84" fmla="*/ 56 w 241"/>
                <a:gd name="T85" fmla="*/ 106 h 477"/>
                <a:gd name="T86" fmla="*/ 49 w 241"/>
                <a:gd name="T87" fmla="*/ 87 h 477"/>
                <a:gd name="T88" fmla="*/ 40 w 241"/>
                <a:gd name="T89" fmla="*/ 78 h 477"/>
                <a:gd name="T90" fmla="*/ 31 w 241"/>
                <a:gd name="T91" fmla="*/ 50 h 477"/>
                <a:gd name="T92" fmla="*/ 28 w 241"/>
                <a:gd name="T93" fmla="*/ 21 h 477"/>
                <a:gd name="T94" fmla="*/ 16 w 241"/>
                <a:gd name="T95" fmla="*/ 21 h 477"/>
                <a:gd name="T96" fmla="*/ 31 w 241"/>
                <a:gd name="T97" fmla="*/ 0 h 477"/>
                <a:gd name="T98" fmla="*/ 40 w 241"/>
                <a:gd name="T99" fmla="*/ 5 h 477"/>
                <a:gd name="T100" fmla="*/ 49 w 241"/>
                <a:gd name="T101" fmla="*/ 17 h 477"/>
                <a:gd name="T102" fmla="*/ 64 w 241"/>
                <a:gd name="T103" fmla="*/ 71 h 477"/>
                <a:gd name="T104" fmla="*/ 71 w 241"/>
                <a:gd name="T105" fmla="*/ 78 h 477"/>
                <a:gd name="T106" fmla="*/ 80 w 241"/>
                <a:gd name="T107" fmla="*/ 106 h 477"/>
                <a:gd name="T108" fmla="*/ 106 w 241"/>
                <a:gd name="T109" fmla="*/ 118 h 477"/>
                <a:gd name="T110" fmla="*/ 120 w 241"/>
                <a:gd name="T111" fmla="*/ 125 h 477"/>
                <a:gd name="T112" fmla="*/ 142 w 241"/>
                <a:gd name="T113" fmla="*/ 130 h 477"/>
                <a:gd name="T114" fmla="*/ 153 w 241"/>
                <a:gd name="T115" fmla="*/ 142 h 477"/>
                <a:gd name="T116" fmla="*/ 210 w 241"/>
                <a:gd name="T117" fmla="*/ 154 h 477"/>
                <a:gd name="T118" fmla="*/ 224 w 241"/>
                <a:gd name="T119" fmla="*/ 154 h 477"/>
                <a:gd name="T120" fmla="*/ 241 w 241"/>
                <a:gd name="T121" fmla="*/ 146 h 4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1"/>
                <a:gd name="T184" fmla="*/ 0 h 477"/>
                <a:gd name="T185" fmla="*/ 241 w 241"/>
                <a:gd name="T186" fmla="*/ 477 h 47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1" h="477">
                  <a:moveTo>
                    <a:pt x="241" y="146"/>
                  </a:moveTo>
                  <a:lnTo>
                    <a:pt x="241" y="165"/>
                  </a:lnTo>
                  <a:lnTo>
                    <a:pt x="238" y="170"/>
                  </a:lnTo>
                  <a:lnTo>
                    <a:pt x="234" y="187"/>
                  </a:lnTo>
                  <a:lnTo>
                    <a:pt x="231" y="191"/>
                  </a:lnTo>
                  <a:lnTo>
                    <a:pt x="231" y="194"/>
                  </a:lnTo>
                  <a:lnTo>
                    <a:pt x="227" y="198"/>
                  </a:lnTo>
                  <a:lnTo>
                    <a:pt x="227" y="201"/>
                  </a:lnTo>
                  <a:lnTo>
                    <a:pt x="222" y="208"/>
                  </a:lnTo>
                  <a:lnTo>
                    <a:pt x="217" y="215"/>
                  </a:lnTo>
                  <a:lnTo>
                    <a:pt x="217" y="217"/>
                  </a:lnTo>
                  <a:lnTo>
                    <a:pt x="215" y="222"/>
                  </a:lnTo>
                  <a:lnTo>
                    <a:pt x="215" y="227"/>
                  </a:lnTo>
                  <a:lnTo>
                    <a:pt x="208" y="250"/>
                  </a:lnTo>
                  <a:lnTo>
                    <a:pt x="203" y="260"/>
                  </a:lnTo>
                  <a:lnTo>
                    <a:pt x="201" y="274"/>
                  </a:lnTo>
                  <a:lnTo>
                    <a:pt x="201" y="291"/>
                  </a:lnTo>
                  <a:lnTo>
                    <a:pt x="198" y="298"/>
                  </a:lnTo>
                  <a:lnTo>
                    <a:pt x="198" y="359"/>
                  </a:lnTo>
                  <a:lnTo>
                    <a:pt x="194" y="369"/>
                  </a:lnTo>
                  <a:lnTo>
                    <a:pt x="194" y="392"/>
                  </a:lnTo>
                  <a:lnTo>
                    <a:pt x="198" y="397"/>
                  </a:lnTo>
                  <a:lnTo>
                    <a:pt x="198" y="421"/>
                  </a:lnTo>
                  <a:lnTo>
                    <a:pt x="194" y="425"/>
                  </a:lnTo>
                  <a:lnTo>
                    <a:pt x="194" y="428"/>
                  </a:lnTo>
                  <a:lnTo>
                    <a:pt x="191" y="432"/>
                  </a:lnTo>
                  <a:lnTo>
                    <a:pt x="186" y="437"/>
                  </a:lnTo>
                  <a:lnTo>
                    <a:pt x="186" y="444"/>
                  </a:lnTo>
                  <a:lnTo>
                    <a:pt x="194" y="468"/>
                  </a:lnTo>
                  <a:lnTo>
                    <a:pt x="194" y="472"/>
                  </a:lnTo>
                  <a:lnTo>
                    <a:pt x="198" y="472"/>
                  </a:lnTo>
                  <a:lnTo>
                    <a:pt x="194" y="475"/>
                  </a:lnTo>
                  <a:lnTo>
                    <a:pt x="191" y="477"/>
                  </a:lnTo>
                  <a:lnTo>
                    <a:pt x="186" y="477"/>
                  </a:lnTo>
                  <a:lnTo>
                    <a:pt x="184" y="475"/>
                  </a:lnTo>
                  <a:lnTo>
                    <a:pt x="184" y="468"/>
                  </a:lnTo>
                  <a:lnTo>
                    <a:pt x="177" y="465"/>
                  </a:lnTo>
                  <a:lnTo>
                    <a:pt x="168" y="465"/>
                  </a:lnTo>
                  <a:lnTo>
                    <a:pt x="163" y="461"/>
                  </a:lnTo>
                  <a:lnTo>
                    <a:pt x="160" y="458"/>
                  </a:lnTo>
                  <a:lnTo>
                    <a:pt x="134" y="458"/>
                  </a:lnTo>
                  <a:lnTo>
                    <a:pt x="125" y="461"/>
                  </a:lnTo>
                  <a:lnTo>
                    <a:pt x="113" y="461"/>
                  </a:lnTo>
                  <a:lnTo>
                    <a:pt x="113" y="465"/>
                  </a:lnTo>
                  <a:lnTo>
                    <a:pt x="90" y="465"/>
                  </a:lnTo>
                  <a:lnTo>
                    <a:pt x="87" y="461"/>
                  </a:lnTo>
                  <a:lnTo>
                    <a:pt x="73" y="461"/>
                  </a:lnTo>
                  <a:lnTo>
                    <a:pt x="73" y="458"/>
                  </a:lnTo>
                  <a:lnTo>
                    <a:pt x="71" y="458"/>
                  </a:lnTo>
                  <a:lnTo>
                    <a:pt x="71" y="456"/>
                  </a:lnTo>
                  <a:lnTo>
                    <a:pt x="66" y="451"/>
                  </a:lnTo>
                  <a:lnTo>
                    <a:pt x="64" y="444"/>
                  </a:lnTo>
                  <a:lnTo>
                    <a:pt x="61" y="437"/>
                  </a:lnTo>
                  <a:lnTo>
                    <a:pt x="47" y="442"/>
                  </a:lnTo>
                  <a:lnTo>
                    <a:pt x="47" y="444"/>
                  </a:lnTo>
                  <a:lnTo>
                    <a:pt x="45" y="444"/>
                  </a:lnTo>
                  <a:lnTo>
                    <a:pt x="33" y="442"/>
                  </a:lnTo>
                  <a:lnTo>
                    <a:pt x="31" y="442"/>
                  </a:lnTo>
                  <a:lnTo>
                    <a:pt x="14" y="432"/>
                  </a:lnTo>
                  <a:lnTo>
                    <a:pt x="9" y="432"/>
                  </a:lnTo>
                  <a:lnTo>
                    <a:pt x="5" y="425"/>
                  </a:lnTo>
                  <a:lnTo>
                    <a:pt x="7" y="425"/>
                  </a:lnTo>
                  <a:lnTo>
                    <a:pt x="9" y="421"/>
                  </a:lnTo>
                  <a:lnTo>
                    <a:pt x="9" y="418"/>
                  </a:lnTo>
                  <a:lnTo>
                    <a:pt x="14" y="418"/>
                  </a:lnTo>
                  <a:lnTo>
                    <a:pt x="16" y="416"/>
                  </a:lnTo>
                  <a:lnTo>
                    <a:pt x="16" y="411"/>
                  </a:lnTo>
                  <a:lnTo>
                    <a:pt x="7" y="402"/>
                  </a:lnTo>
                  <a:lnTo>
                    <a:pt x="0" y="402"/>
                  </a:lnTo>
                  <a:lnTo>
                    <a:pt x="0" y="395"/>
                  </a:lnTo>
                  <a:lnTo>
                    <a:pt x="5" y="392"/>
                  </a:lnTo>
                  <a:lnTo>
                    <a:pt x="5" y="385"/>
                  </a:lnTo>
                  <a:lnTo>
                    <a:pt x="7" y="376"/>
                  </a:lnTo>
                  <a:lnTo>
                    <a:pt x="14" y="371"/>
                  </a:lnTo>
                  <a:lnTo>
                    <a:pt x="9" y="364"/>
                  </a:lnTo>
                  <a:lnTo>
                    <a:pt x="16" y="359"/>
                  </a:lnTo>
                  <a:lnTo>
                    <a:pt x="16" y="352"/>
                  </a:lnTo>
                  <a:lnTo>
                    <a:pt x="21" y="345"/>
                  </a:lnTo>
                  <a:lnTo>
                    <a:pt x="40" y="345"/>
                  </a:lnTo>
                  <a:lnTo>
                    <a:pt x="45" y="340"/>
                  </a:lnTo>
                  <a:lnTo>
                    <a:pt x="49" y="331"/>
                  </a:lnTo>
                  <a:lnTo>
                    <a:pt x="54" y="331"/>
                  </a:lnTo>
                  <a:lnTo>
                    <a:pt x="54" y="328"/>
                  </a:lnTo>
                  <a:lnTo>
                    <a:pt x="49" y="324"/>
                  </a:lnTo>
                  <a:lnTo>
                    <a:pt x="47" y="321"/>
                  </a:lnTo>
                  <a:lnTo>
                    <a:pt x="45" y="319"/>
                  </a:lnTo>
                  <a:lnTo>
                    <a:pt x="40" y="319"/>
                  </a:lnTo>
                  <a:lnTo>
                    <a:pt x="40" y="298"/>
                  </a:lnTo>
                  <a:lnTo>
                    <a:pt x="45" y="298"/>
                  </a:lnTo>
                  <a:lnTo>
                    <a:pt x="45" y="291"/>
                  </a:lnTo>
                  <a:lnTo>
                    <a:pt x="40" y="281"/>
                  </a:lnTo>
                  <a:lnTo>
                    <a:pt x="33" y="281"/>
                  </a:lnTo>
                  <a:lnTo>
                    <a:pt x="31" y="279"/>
                  </a:lnTo>
                  <a:lnTo>
                    <a:pt x="45" y="267"/>
                  </a:lnTo>
                  <a:lnTo>
                    <a:pt x="45" y="265"/>
                  </a:lnTo>
                  <a:lnTo>
                    <a:pt x="49" y="260"/>
                  </a:lnTo>
                  <a:lnTo>
                    <a:pt x="54" y="257"/>
                  </a:lnTo>
                  <a:lnTo>
                    <a:pt x="56" y="257"/>
                  </a:lnTo>
                  <a:lnTo>
                    <a:pt x="61" y="255"/>
                  </a:lnTo>
                  <a:lnTo>
                    <a:pt x="71" y="250"/>
                  </a:lnTo>
                  <a:lnTo>
                    <a:pt x="78" y="250"/>
                  </a:lnTo>
                  <a:lnTo>
                    <a:pt x="78" y="234"/>
                  </a:lnTo>
                  <a:lnTo>
                    <a:pt x="87" y="224"/>
                  </a:lnTo>
                  <a:lnTo>
                    <a:pt x="87" y="227"/>
                  </a:lnTo>
                  <a:lnTo>
                    <a:pt x="97" y="227"/>
                  </a:lnTo>
                  <a:lnTo>
                    <a:pt x="137" y="198"/>
                  </a:lnTo>
                  <a:lnTo>
                    <a:pt x="134" y="191"/>
                  </a:lnTo>
                  <a:lnTo>
                    <a:pt x="127" y="191"/>
                  </a:lnTo>
                  <a:lnTo>
                    <a:pt x="125" y="187"/>
                  </a:lnTo>
                  <a:lnTo>
                    <a:pt x="125" y="175"/>
                  </a:lnTo>
                  <a:lnTo>
                    <a:pt x="127" y="161"/>
                  </a:lnTo>
                  <a:lnTo>
                    <a:pt x="127" y="146"/>
                  </a:lnTo>
                  <a:lnTo>
                    <a:pt x="125" y="144"/>
                  </a:lnTo>
                  <a:lnTo>
                    <a:pt x="104" y="142"/>
                  </a:lnTo>
                  <a:lnTo>
                    <a:pt x="101" y="146"/>
                  </a:lnTo>
                  <a:lnTo>
                    <a:pt x="97" y="146"/>
                  </a:lnTo>
                  <a:lnTo>
                    <a:pt x="94" y="144"/>
                  </a:lnTo>
                  <a:lnTo>
                    <a:pt x="90" y="142"/>
                  </a:lnTo>
                  <a:lnTo>
                    <a:pt x="90" y="137"/>
                  </a:lnTo>
                  <a:lnTo>
                    <a:pt x="87" y="137"/>
                  </a:lnTo>
                  <a:lnTo>
                    <a:pt x="85" y="142"/>
                  </a:lnTo>
                  <a:lnTo>
                    <a:pt x="80" y="142"/>
                  </a:lnTo>
                  <a:lnTo>
                    <a:pt x="78" y="135"/>
                  </a:lnTo>
                  <a:lnTo>
                    <a:pt x="78" y="130"/>
                  </a:lnTo>
                  <a:lnTo>
                    <a:pt x="73" y="120"/>
                  </a:lnTo>
                  <a:lnTo>
                    <a:pt x="71" y="120"/>
                  </a:lnTo>
                  <a:lnTo>
                    <a:pt x="56" y="113"/>
                  </a:lnTo>
                  <a:lnTo>
                    <a:pt x="54" y="106"/>
                  </a:lnTo>
                  <a:lnTo>
                    <a:pt x="56" y="106"/>
                  </a:lnTo>
                  <a:lnTo>
                    <a:pt x="56" y="94"/>
                  </a:lnTo>
                  <a:lnTo>
                    <a:pt x="54" y="90"/>
                  </a:lnTo>
                  <a:lnTo>
                    <a:pt x="49" y="87"/>
                  </a:lnTo>
                  <a:lnTo>
                    <a:pt x="45" y="87"/>
                  </a:lnTo>
                  <a:lnTo>
                    <a:pt x="40" y="85"/>
                  </a:lnTo>
                  <a:lnTo>
                    <a:pt x="40" y="78"/>
                  </a:lnTo>
                  <a:lnTo>
                    <a:pt x="45" y="73"/>
                  </a:lnTo>
                  <a:lnTo>
                    <a:pt x="31" y="66"/>
                  </a:lnTo>
                  <a:lnTo>
                    <a:pt x="31" y="50"/>
                  </a:lnTo>
                  <a:lnTo>
                    <a:pt x="33" y="47"/>
                  </a:lnTo>
                  <a:lnTo>
                    <a:pt x="33" y="45"/>
                  </a:lnTo>
                  <a:lnTo>
                    <a:pt x="28" y="21"/>
                  </a:lnTo>
                  <a:lnTo>
                    <a:pt x="23" y="17"/>
                  </a:lnTo>
                  <a:lnTo>
                    <a:pt x="21" y="21"/>
                  </a:lnTo>
                  <a:lnTo>
                    <a:pt x="16" y="21"/>
                  </a:lnTo>
                  <a:lnTo>
                    <a:pt x="14" y="14"/>
                  </a:lnTo>
                  <a:lnTo>
                    <a:pt x="21" y="9"/>
                  </a:lnTo>
                  <a:lnTo>
                    <a:pt x="31" y="0"/>
                  </a:lnTo>
                  <a:lnTo>
                    <a:pt x="33" y="0"/>
                  </a:lnTo>
                  <a:lnTo>
                    <a:pt x="38" y="5"/>
                  </a:lnTo>
                  <a:lnTo>
                    <a:pt x="40" y="5"/>
                  </a:lnTo>
                  <a:lnTo>
                    <a:pt x="47" y="7"/>
                  </a:lnTo>
                  <a:lnTo>
                    <a:pt x="47" y="9"/>
                  </a:lnTo>
                  <a:lnTo>
                    <a:pt x="49" y="17"/>
                  </a:lnTo>
                  <a:lnTo>
                    <a:pt x="54" y="38"/>
                  </a:lnTo>
                  <a:lnTo>
                    <a:pt x="49" y="54"/>
                  </a:lnTo>
                  <a:lnTo>
                    <a:pt x="64" y="71"/>
                  </a:lnTo>
                  <a:lnTo>
                    <a:pt x="66" y="71"/>
                  </a:lnTo>
                  <a:lnTo>
                    <a:pt x="66" y="73"/>
                  </a:lnTo>
                  <a:lnTo>
                    <a:pt x="71" y="78"/>
                  </a:lnTo>
                  <a:lnTo>
                    <a:pt x="73" y="85"/>
                  </a:lnTo>
                  <a:lnTo>
                    <a:pt x="78" y="102"/>
                  </a:lnTo>
                  <a:lnTo>
                    <a:pt x="80" y="106"/>
                  </a:lnTo>
                  <a:lnTo>
                    <a:pt x="90" y="111"/>
                  </a:lnTo>
                  <a:lnTo>
                    <a:pt x="94" y="111"/>
                  </a:lnTo>
                  <a:lnTo>
                    <a:pt x="106" y="118"/>
                  </a:lnTo>
                  <a:lnTo>
                    <a:pt x="111" y="118"/>
                  </a:lnTo>
                  <a:lnTo>
                    <a:pt x="113" y="120"/>
                  </a:lnTo>
                  <a:lnTo>
                    <a:pt x="120" y="125"/>
                  </a:lnTo>
                  <a:lnTo>
                    <a:pt x="125" y="125"/>
                  </a:lnTo>
                  <a:lnTo>
                    <a:pt x="134" y="128"/>
                  </a:lnTo>
                  <a:lnTo>
                    <a:pt x="142" y="130"/>
                  </a:lnTo>
                  <a:lnTo>
                    <a:pt x="142" y="135"/>
                  </a:lnTo>
                  <a:lnTo>
                    <a:pt x="146" y="137"/>
                  </a:lnTo>
                  <a:lnTo>
                    <a:pt x="153" y="142"/>
                  </a:lnTo>
                  <a:lnTo>
                    <a:pt x="201" y="142"/>
                  </a:lnTo>
                  <a:lnTo>
                    <a:pt x="208" y="146"/>
                  </a:lnTo>
                  <a:lnTo>
                    <a:pt x="210" y="154"/>
                  </a:lnTo>
                  <a:lnTo>
                    <a:pt x="217" y="158"/>
                  </a:lnTo>
                  <a:lnTo>
                    <a:pt x="224" y="158"/>
                  </a:lnTo>
                  <a:lnTo>
                    <a:pt x="224" y="154"/>
                  </a:lnTo>
                  <a:lnTo>
                    <a:pt x="227" y="151"/>
                  </a:lnTo>
                  <a:lnTo>
                    <a:pt x="231" y="151"/>
                  </a:lnTo>
                  <a:lnTo>
                    <a:pt x="241" y="14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49" name="Freeform 234">
              <a:extLst>
                <a:ext uri="{FF2B5EF4-FFF2-40B4-BE49-F238E27FC236}">
                  <a16:creationId xmlns:a16="http://schemas.microsoft.com/office/drawing/2014/main" id="{CCA2EE6D-525E-422E-BECF-8FCBCAB6B2A6}"/>
                </a:ext>
              </a:extLst>
            </p:cNvPr>
            <p:cNvSpPr>
              <a:spLocks/>
            </p:cNvSpPr>
            <p:nvPr/>
          </p:nvSpPr>
          <p:spPr bwMode="gray">
            <a:xfrm rot="47099">
              <a:off x="1085821" y="3824324"/>
              <a:ext cx="147417" cy="195757"/>
            </a:xfrm>
            <a:custGeom>
              <a:avLst/>
              <a:gdLst>
                <a:gd name="T0" fmla="*/ 187 w 317"/>
                <a:gd name="T1" fmla="*/ 156 h 421"/>
                <a:gd name="T2" fmla="*/ 194 w 317"/>
                <a:gd name="T3" fmla="*/ 196 h 421"/>
                <a:gd name="T4" fmla="*/ 206 w 317"/>
                <a:gd name="T5" fmla="*/ 213 h 421"/>
                <a:gd name="T6" fmla="*/ 220 w 317"/>
                <a:gd name="T7" fmla="*/ 234 h 421"/>
                <a:gd name="T8" fmla="*/ 227 w 317"/>
                <a:gd name="T9" fmla="*/ 246 h 421"/>
                <a:gd name="T10" fmla="*/ 236 w 317"/>
                <a:gd name="T11" fmla="*/ 258 h 421"/>
                <a:gd name="T12" fmla="*/ 241 w 317"/>
                <a:gd name="T13" fmla="*/ 258 h 421"/>
                <a:gd name="T14" fmla="*/ 253 w 317"/>
                <a:gd name="T15" fmla="*/ 251 h 421"/>
                <a:gd name="T16" fmla="*/ 281 w 317"/>
                <a:gd name="T17" fmla="*/ 279 h 421"/>
                <a:gd name="T18" fmla="*/ 277 w 317"/>
                <a:gd name="T19" fmla="*/ 303 h 421"/>
                <a:gd name="T20" fmla="*/ 284 w 317"/>
                <a:gd name="T21" fmla="*/ 317 h 421"/>
                <a:gd name="T22" fmla="*/ 293 w 317"/>
                <a:gd name="T23" fmla="*/ 333 h 421"/>
                <a:gd name="T24" fmla="*/ 317 w 317"/>
                <a:gd name="T25" fmla="*/ 364 h 421"/>
                <a:gd name="T26" fmla="*/ 303 w 317"/>
                <a:gd name="T27" fmla="*/ 395 h 421"/>
                <a:gd name="T28" fmla="*/ 307 w 317"/>
                <a:gd name="T29" fmla="*/ 400 h 421"/>
                <a:gd name="T30" fmla="*/ 310 w 317"/>
                <a:gd name="T31" fmla="*/ 416 h 421"/>
                <a:gd name="T32" fmla="*/ 286 w 317"/>
                <a:gd name="T33" fmla="*/ 421 h 421"/>
                <a:gd name="T34" fmla="*/ 281 w 317"/>
                <a:gd name="T35" fmla="*/ 404 h 421"/>
                <a:gd name="T36" fmla="*/ 260 w 317"/>
                <a:gd name="T37" fmla="*/ 383 h 421"/>
                <a:gd name="T38" fmla="*/ 246 w 317"/>
                <a:gd name="T39" fmla="*/ 366 h 421"/>
                <a:gd name="T40" fmla="*/ 227 w 317"/>
                <a:gd name="T41" fmla="*/ 338 h 421"/>
                <a:gd name="T42" fmla="*/ 203 w 317"/>
                <a:gd name="T43" fmla="*/ 314 h 421"/>
                <a:gd name="T44" fmla="*/ 196 w 317"/>
                <a:gd name="T45" fmla="*/ 300 h 421"/>
                <a:gd name="T46" fmla="*/ 189 w 317"/>
                <a:gd name="T47" fmla="*/ 291 h 421"/>
                <a:gd name="T48" fmla="*/ 156 w 317"/>
                <a:gd name="T49" fmla="*/ 258 h 421"/>
                <a:gd name="T50" fmla="*/ 144 w 317"/>
                <a:gd name="T51" fmla="*/ 244 h 421"/>
                <a:gd name="T52" fmla="*/ 130 w 317"/>
                <a:gd name="T53" fmla="*/ 234 h 421"/>
                <a:gd name="T54" fmla="*/ 140 w 317"/>
                <a:gd name="T55" fmla="*/ 229 h 421"/>
                <a:gd name="T56" fmla="*/ 130 w 317"/>
                <a:gd name="T57" fmla="*/ 227 h 421"/>
                <a:gd name="T58" fmla="*/ 116 w 317"/>
                <a:gd name="T59" fmla="*/ 218 h 421"/>
                <a:gd name="T60" fmla="*/ 123 w 317"/>
                <a:gd name="T61" fmla="*/ 227 h 421"/>
                <a:gd name="T62" fmla="*/ 109 w 317"/>
                <a:gd name="T63" fmla="*/ 218 h 421"/>
                <a:gd name="T64" fmla="*/ 109 w 317"/>
                <a:gd name="T65" fmla="*/ 187 h 421"/>
                <a:gd name="T66" fmla="*/ 104 w 317"/>
                <a:gd name="T67" fmla="*/ 201 h 421"/>
                <a:gd name="T68" fmla="*/ 92 w 317"/>
                <a:gd name="T69" fmla="*/ 180 h 421"/>
                <a:gd name="T70" fmla="*/ 104 w 317"/>
                <a:gd name="T71" fmla="*/ 182 h 421"/>
                <a:gd name="T72" fmla="*/ 109 w 317"/>
                <a:gd name="T73" fmla="*/ 177 h 421"/>
                <a:gd name="T74" fmla="*/ 104 w 317"/>
                <a:gd name="T75" fmla="*/ 173 h 421"/>
                <a:gd name="T76" fmla="*/ 80 w 317"/>
                <a:gd name="T77" fmla="*/ 170 h 421"/>
                <a:gd name="T78" fmla="*/ 69 w 317"/>
                <a:gd name="T79" fmla="*/ 154 h 421"/>
                <a:gd name="T80" fmla="*/ 52 w 317"/>
                <a:gd name="T81" fmla="*/ 140 h 421"/>
                <a:gd name="T82" fmla="*/ 43 w 317"/>
                <a:gd name="T83" fmla="*/ 130 h 421"/>
                <a:gd name="T84" fmla="*/ 28 w 317"/>
                <a:gd name="T85" fmla="*/ 133 h 421"/>
                <a:gd name="T86" fmla="*/ 36 w 317"/>
                <a:gd name="T87" fmla="*/ 125 h 421"/>
                <a:gd name="T88" fmla="*/ 50 w 317"/>
                <a:gd name="T89" fmla="*/ 109 h 421"/>
                <a:gd name="T90" fmla="*/ 33 w 317"/>
                <a:gd name="T91" fmla="*/ 123 h 421"/>
                <a:gd name="T92" fmla="*/ 10 w 317"/>
                <a:gd name="T93" fmla="*/ 109 h 421"/>
                <a:gd name="T94" fmla="*/ 3 w 317"/>
                <a:gd name="T95" fmla="*/ 90 h 421"/>
                <a:gd name="T96" fmla="*/ 12 w 317"/>
                <a:gd name="T97" fmla="*/ 69 h 421"/>
                <a:gd name="T98" fmla="*/ 24 w 317"/>
                <a:gd name="T99" fmla="*/ 64 h 421"/>
                <a:gd name="T100" fmla="*/ 28 w 317"/>
                <a:gd name="T101" fmla="*/ 69 h 421"/>
                <a:gd name="T102" fmla="*/ 28 w 317"/>
                <a:gd name="T103" fmla="*/ 59 h 421"/>
                <a:gd name="T104" fmla="*/ 88 w 317"/>
                <a:gd name="T105" fmla="*/ 10 h 421"/>
                <a:gd name="T106" fmla="*/ 97 w 317"/>
                <a:gd name="T107" fmla="*/ 3 h 421"/>
                <a:gd name="T108" fmla="*/ 106 w 317"/>
                <a:gd name="T109" fmla="*/ 3 h 421"/>
                <a:gd name="T110" fmla="*/ 116 w 317"/>
                <a:gd name="T111" fmla="*/ 12 h 421"/>
                <a:gd name="T112" fmla="*/ 130 w 317"/>
                <a:gd name="T113" fmla="*/ 33 h 421"/>
                <a:gd name="T114" fmla="*/ 137 w 317"/>
                <a:gd name="T115" fmla="*/ 81 h 421"/>
                <a:gd name="T116" fmla="*/ 173 w 317"/>
                <a:gd name="T117" fmla="*/ 92 h 421"/>
                <a:gd name="T118" fmla="*/ 177 w 317"/>
                <a:gd name="T119" fmla="*/ 109 h 421"/>
                <a:gd name="T120" fmla="*/ 184 w 317"/>
                <a:gd name="T121" fmla="*/ 116 h 421"/>
                <a:gd name="T122" fmla="*/ 187 w 317"/>
                <a:gd name="T123" fmla="*/ 125 h 42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
                <a:gd name="T187" fmla="*/ 0 h 421"/>
                <a:gd name="T188" fmla="*/ 317 w 317"/>
                <a:gd name="T189" fmla="*/ 421 h 42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 h="421">
                  <a:moveTo>
                    <a:pt x="189" y="137"/>
                  </a:moveTo>
                  <a:lnTo>
                    <a:pt x="189" y="149"/>
                  </a:lnTo>
                  <a:lnTo>
                    <a:pt x="187" y="156"/>
                  </a:lnTo>
                  <a:lnTo>
                    <a:pt x="187" y="180"/>
                  </a:lnTo>
                  <a:lnTo>
                    <a:pt x="189" y="194"/>
                  </a:lnTo>
                  <a:lnTo>
                    <a:pt x="194" y="196"/>
                  </a:lnTo>
                  <a:lnTo>
                    <a:pt x="196" y="206"/>
                  </a:lnTo>
                  <a:lnTo>
                    <a:pt x="203" y="213"/>
                  </a:lnTo>
                  <a:lnTo>
                    <a:pt x="206" y="213"/>
                  </a:lnTo>
                  <a:lnTo>
                    <a:pt x="210" y="218"/>
                  </a:lnTo>
                  <a:lnTo>
                    <a:pt x="220" y="229"/>
                  </a:lnTo>
                  <a:lnTo>
                    <a:pt x="220" y="234"/>
                  </a:lnTo>
                  <a:lnTo>
                    <a:pt x="222" y="234"/>
                  </a:lnTo>
                  <a:lnTo>
                    <a:pt x="222" y="244"/>
                  </a:lnTo>
                  <a:lnTo>
                    <a:pt x="227" y="246"/>
                  </a:lnTo>
                  <a:lnTo>
                    <a:pt x="227" y="253"/>
                  </a:lnTo>
                  <a:lnTo>
                    <a:pt x="229" y="258"/>
                  </a:lnTo>
                  <a:lnTo>
                    <a:pt x="236" y="258"/>
                  </a:lnTo>
                  <a:lnTo>
                    <a:pt x="236" y="260"/>
                  </a:lnTo>
                  <a:lnTo>
                    <a:pt x="241" y="260"/>
                  </a:lnTo>
                  <a:lnTo>
                    <a:pt x="241" y="258"/>
                  </a:lnTo>
                  <a:lnTo>
                    <a:pt x="243" y="258"/>
                  </a:lnTo>
                  <a:lnTo>
                    <a:pt x="251" y="251"/>
                  </a:lnTo>
                  <a:lnTo>
                    <a:pt x="253" y="251"/>
                  </a:lnTo>
                  <a:lnTo>
                    <a:pt x="269" y="262"/>
                  </a:lnTo>
                  <a:lnTo>
                    <a:pt x="274" y="267"/>
                  </a:lnTo>
                  <a:lnTo>
                    <a:pt x="281" y="279"/>
                  </a:lnTo>
                  <a:lnTo>
                    <a:pt x="281" y="293"/>
                  </a:lnTo>
                  <a:lnTo>
                    <a:pt x="277" y="298"/>
                  </a:lnTo>
                  <a:lnTo>
                    <a:pt x="277" y="303"/>
                  </a:lnTo>
                  <a:lnTo>
                    <a:pt x="281" y="303"/>
                  </a:lnTo>
                  <a:lnTo>
                    <a:pt x="281" y="310"/>
                  </a:lnTo>
                  <a:lnTo>
                    <a:pt x="284" y="317"/>
                  </a:lnTo>
                  <a:lnTo>
                    <a:pt x="286" y="319"/>
                  </a:lnTo>
                  <a:lnTo>
                    <a:pt x="291" y="326"/>
                  </a:lnTo>
                  <a:lnTo>
                    <a:pt x="293" y="333"/>
                  </a:lnTo>
                  <a:lnTo>
                    <a:pt x="293" y="350"/>
                  </a:lnTo>
                  <a:lnTo>
                    <a:pt x="307" y="364"/>
                  </a:lnTo>
                  <a:lnTo>
                    <a:pt x="317" y="364"/>
                  </a:lnTo>
                  <a:lnTo>
                    <a:pt x="317" y="371"/>
                  </a:lnTo>
                  <a:lnTo>
                    <a:pt x="310" y="374"/>
                  </a:lnTo>
                  <a:lnTo>
                    <a:pt x="303" y="395"/>
                  </a:lnTo>
                  <a:lnTo>
                    <a:pt x="300" y="395"/>
                  </a:lnTo>
                  <a:lnTo>
                    <a:pt x="300" y="400"/>
                  </a:lnTo>
                  <a:lnTo>
                    <a:pt x="307" y="400"/>
                  </a:lnTo>
                  <a:lnTo>
                    <a:pt x="307" y="404"/>
                  </a:lnTo>
                  <a:lnTo>
                    <a:pt x="310" y="404"/>
                  </a:lnTo>
                  <a:lnTo>
                    <a:pt x="310" y="416"/>
                  </a:lnTo>
                  <a:lnTo>
                    <a:pt x="307" y="416"/>
                  </a:lnTo>
                  <a:lnTo>
                    <a:pt x="303" y="421"/>
                  </a:lnTo>
                  <a:lnTo>
                    <a:pt x="286" y="421"/>
                  </a:lnTo>
                  <a:lnTo>
                    <a:pt x="286" y="414"/>
                  </a:lnTo>
                  <a:lnTo>
                    <a:pt x="281" y="407"/>
                  </a:lnTo>
                  <a:lnTo>
                    <a:pt x="281" y="404"/>
                  </a:lnTo>
                  <a:lnTo>
                    <a:pt x="274" y="395"/>
                  </a:lnTo>
                  <a:lnTo>
                    <a:pt x="267" y="390"/>
                  </a:lnTo>
                  <a:lnTo>
                    <a:pt x="260" y="383"/>
                  </a:lnTo>
                  <a:lnTo>
                    <a:pt x="258" y="381"/>
                  </a:lnTo>
                  <a:lnTo>
                    <a:pt x="253" y="376"/>
                  </a:lnTo>
                  <a:lnTo>
                    <a:pt x="246" y="366"/>
                  </a:lnTo>
                  <a:lnTo>
                    <a:pt x="236" y="357"/>
                  </a:lnTo>
                  <a:lnTo>
                    <a:pt x="227" y="343"/>
                  </a:lnTo>
                  <a:lnTo>
                    <a:pt x="227" y="338"/>
                  </a:lnTo>
                  <a:lnTo>
                    <a:pt x="222" y="333"/>
                  </a:lnTo>
                  <a:lnTo>
                    <a:pt x="213" y="324"/>
                  </a:lnTo>
                  <a:lnTo>
                    <a:pt x="203" y="314"/>
                  </a:lnTo>
                  <a:lnTo>
                    <a:pt x="203" y="310"/>
                  </a:lnTo>
                  <a:lnTo>
                    <a:pt x="201" y="303"/>
                  </a:lnTo>
                  <a:lnTo>
                    <a:pt x="196" y="300"/>
                  </a:lnTo>
                  <a:lnTo>
                    <a:pt x="196" y="293"/>
                  </a:lnTo>
                  <a:lnTo>
                    <a:pt x="194" y="293"/>
                  </a:lnTo>
                  <a:lnTo>
                    <a:pt x="189" y="291"/>
                  </a:lnTo>
                  <a:lnTo>
                    <a:pt x="187" y="284"/>
                  </a:lnTo>
                  <a:lnTo>
                    <a:pt x="184" y="279"/>
                  </a:lnTo>
                  <a:lnTo>
                    <a:pt x="156" y="258"/>
                  </a:lnTo>
                  <a:lnTo>
                    <a:pt x="156" y="253"/>
                  </a:lnTo>
                  <a:lnTo>
                    <a:pt x="147" y="246"/>
                  </a:lnTo>
                  <a:lnTo>
                    <a:pt x="144" y="244"/>
                  </a:lnTo>
                  <a:lnTo>
                    <a:pt x="137" y="239"/>
                  </a:lnTo>
                  <a:lnTo>
                    <a:pt x="137" y="236"/>
                  </a:lnTo>
                  <a:lnTo>
                    <a:pt x="130" y="234"/>
                  </a:lnTo>
                  <a:lnTo>
                    <a:pt x="137" y="236"/>
                  </a:lnTo>
                  <a:lnTo>
                    <a:pt x="144" y="236"/>
                  </a:lnTo>
                  <a:lnTo>
                    <a:pt x="140" y="229"/>
                  </a:lnTo>
                  <a:lnTo>
                    <a:pt x="137" y="234"/>
                  </a:lnTo>
                  <a:lnTo>
                    <a:pt x="130" y="229"/>
                  </a:lnTo>
                  <a:lnTo>
                    <a:pt x="130" y="227"/>
                  </a:lnTo>
                  <a:lnTo>
                    <a:pt x="125" y="222"/>
                  </a:lnTo>
                  <a:lnTo>
                    <a:pt x="121" y="220"/>
                  </a:lnTo>
                  <a:lnTo>
                    <a:pt x="116" y="218"/>
                  </a:lnTo>
                  <a:lnTo>
                    <a:pt x="121" y="222"/>
                  </a:lnTo>
                  <a:lnTo>
                    <a:pt x="121" y="227"/>
                  </a:lnTo>
                  <a:lnTo>
                    <a:pt x="123" y="227"/>
                  </a:lnTo>
                  <a:lnTo>
                    <a:pt x="116" y="222"/>
                  </a:lnTo>
                  <a:lnTo>
                    <a:pt x="114" y="220"/>
                  </a:lnTo>
                  <a:lnTo>
                    <a:pt x="109" y="218"/>
                  </a:lnTo>
                  <a:lnTo>
                    <a:pt x="109" y="206"/>
                  </a:lnTo>
                  <a:lnTo>
                    <a:pt x="114" y="189"/>
                  </a:lnTo>
                  <a:lnTo>
                    <a:pt x="109" y="187"/>
                  </a:lnTo>
                  <a:lnTo>
                    <a:pt x="109" y="194"/>
                  </a:lnTo>
                  <a:lnTo>
                    <a:pt x="106" y="201"/>
                  </a:lnTo>
                  <a:lnTo>
                    <a:pt x="104" y="201"/>
                  </a:lnTo>
                  <a:lnTo>
                    <a:pt x="99" y="196"/>
                  </a:lnTo>
                  <a:lnTo>
                    <a:pt x="97" y="189"/>
                  </a:lnTo>
                  <a:lnTo>
                    <a:pt x="92" y="180"/>
                  </a:lnTo>
                  <a:lnTo>
                    <a:pt x="97" y="187"/>
                  </a:lnTo>
                  <a:lnTo>
                    <a:pt x="99" y="187"/>
                  </a:lnTo>
                  <a:lnTo>
                    <a:pt x="104" y="182"/>
                  </a:lnTo>
                  <a:lnTo>
                    <a:pt x="114" y="182"/>
                  </a:lnTo>
                  <a:lnTo>
                    <a:pt x="109" y="180"/>
                  </a:lnTo>
                  <a:lnTo>
                    <a:pt x="109" y="177"/>
                  </a:lnTo>
                  <a:lnTo>
                    <a:pt x="106" y="177"/>
                  </a:lnTo>
                  <a:lnTo>
                    <a:pt x="106" y="173"/>
                  </a:lnTo>
                  <a:lnTo>
                    <a:pt x="104" y="173"/>
                  </a:lnTo>
                  <a:lnTo>
                    <a:pt x="92" y="170"/>
                  </a:lnTo>
                  <a:lnTo>
                    <a:pt x="83" y="166"/>
                  </a:lnTo>
                  <a:lnTo>
                    <a:pt x="80" y="170"/>
                  </a:lnTo>
                  <a:lnTo>
                    <a:pt x="80" y="161"/>
                  </a:lnTo>
                  <a:lnTo>
                    <a:pt x="76" y="156"/>
                  </a:lnTo>
                  <a:lnTo>
                    <a:pt x="69" y="154"/>
                  </a:lnTo>
                  <a:lnTo>
                    <a:pt x="64" y="149"/>
                  </a:lnTo>
                  <a:lnTo>
                    <a:pt x="57" y="144"/>
                  </a:lnTo>
                  <a:lnTo>
                    <a:pt x="52" y="140"/>
                  </a:lnTo>
                  <a:lnTo>
                    <a:pt x="52" y="133"/>
                  </a:lnTo>
                  <a:lnTo>
                    <a:pt x="47" y="130"/>
                  </a:lnTo>
                  <a:lnTo>
                    <a:pt x="43" y="130"/>
                  </a:lnTo>
                  <a:lnTo>
                    <a:pt x="43" y="137"/>
                  </a:lnTo>
                  <a:lnTo>
                    <a:pt x="28" y="137"/>
                  </a:lnTo>
                  <a:lnTo>
                    <a:pt x="28" y="133"/>
                  </a:lnTo>
                  <a:lnTo>
                    <a:pt x="26" y="130"/>
                  </a:lnTo>
                  <a:lnTo>
                    <a:pt x="28" y="125"/>
                  </a:lnTo>
                  <a:lnTo>
                    <a:pt x="36" y="125"/>
                  </a:lnTo>
                  <a:lnTo>
                    <a:pt x="43" y="123"/>
                  </a:lnTo>
                  <a:lnTo>
                    <a:pt x="47" y="121"/>
                  </a:lnTo>
                  <a:lnTo>
                    <a:pt x="50" y="109"/>
                  </a:lnTo>
                  <a:lnTo>
                    <a:pt x="47" y="114"/>
                  </a:lnTo>
                  <a:lnTo>
                    <a:pt x="43" y="116"/>
                  </a:lnTo>
                  <a:lnTo>
                    <a:pt x="33" y="123"/>
                  </a:lnTo>
                  <a:lnTo>
                    <a:pt x="24" y="123"/>
                  </a:lnTo>
                  <a:lnTo>
                    <a:pt x="19" y="121"/>
                  </a:lnTo>
                  <a:lnTo>
                    <a:pt x="10" y="109"/>
                  </a:lnTo>
                  <a:lnTo>
                    <a:pt x="7" y="107"/>
                  </a:lnTo>
                  <a:lnTo>
                    <a:pt x="0" y="99"/>
                  </a:lnTo>
                  <a:lnTo>
                    <a:pt x="3" y="90"/>
                  </a:lnTo>
                  <a:lnTo>
                    <a:pt x="3" y="83"/>
                  </a:lnTo>
                  <a:lnTo>
                    <a:pt x="7" y="81"/>
                  </a:lnTo>
                  <a:lnTo>
                    <a:pt x="12" y="69"/>
                  </a:lnTo>
                  <a:lnTo>
                    <a:pt x="17" y="73"/>
                  </a:lnTo>
                  <a:lnTo>
                    <a:pt x="19" y="64"/>
                  </a:lnTo>
                  <a:lnTo>
                    <a:pt x="24" y="64"/>
                  </a:lnTo>
                  <a:lnTo>
                    <a:pt x="26" y="59"/>
                  </a:lnTo>
                  <a:lnTo>
                    <a:pt x="26" y="64"/>
                  </a:lnTo>
                  <a:lnTo>
                    <a:pt x="28" y="69"/>
                  </a:lnTo>
                  <a:lnTo>
                    <a:pt x="33" y="69"/>
                  </a:lnTo>
                  <a:lnTo>
                    <a:pt x="28" y="64"/>
                  </a:lnTo>
                  <a:lnTo>
                    <a:pt x="28" y="59"/>
                  </a:lnTo>
                  <a:lnTo>
                    <a:pt x="76" y="26"/>
                  </a:lnTo>
                  <a:lnTo>
                    <a:pt x="88" y="19"/>
                  </a:lnTo>
                  <a:lnTo>
                    <a:pt x="88" y="10"/>
                  </a:lnTo>
                  <a:lnTo>
                    <a:pt x="90" y="7"/>
                  </a:lnTo>
                  <a:lnTo>
                    <a:pt x="92" y="3"/>
                  </a:lnTo>
                  <a:lnTo>
                    <a:pt x="97" y="3"/>
                  </a:lnTo>
                  <a:lnTo>
                    <a:pt x="99" y="0"/>
                  </a:lnTo>
                  <a:lnTo>
                    <a:pt x="104" y="3"/>
                  </a:lnTo>
                  <a:lnTo>
                    <a:pt x="106" y="3"/>
                  </a:lnTo>
                  <a:lnTo>
                    <a:pt x="106" y="10"/>
                  </a:lnTo>
                  <a:lnTo>
                    <a:pt x="114" y="10"/>
                  </a:lnTo>
                  <a:lnTo>
                    <a:pt x="116" y="12"/>
                  </a:lnTo>
                  <a:lnTo>
                    <a:pt x="123" y="12"/>
                  </a:lnTo>
                  <a:lnTo>
                    <a:pt x="123" y="26"/>
                  </a:lnTo>
                  <a:lnTo>
                    <a:pt x="130" y="33"/>
                  </a:lnTo>
                  <a:lnTo>
                    <a:pt x="132" y="40"/>
                  </a:lnTo>
                  <a:lnTo>
                    <a:pt x="137" y="43"/>
                  </a:lnTo>
                  <a:lnTo>
                    <a:pt x="137" y="81"/>
                  </a:lnTo>
                  <a:lnTo>
                    <a:pt x="163" y="90"/>
                  </a:lnTo>
                  <a:lnTo>
                    <a:pt x="170" y="90"/>
                  </a:lnTo>
                  <a:lnTo>
                    <a:pt x="173" y="92"/>
                  </a:lnTo>
                  <a:lnTo>
                    <a:pt x="173" y="104"/>
                  </a:lnTo>
                  <a:lnTo>
                    <a:pt x="177" y="107"/>
                  </a:lnTo>
                  <a:lnTo>
                    <a:pt x="177" y="109"/>
                  </a:lnTo>
                  <a:lnTo>
                    <a:pt x="180" y="114"/>
                  </a:lnTo>
                  <a:lnTo>
                    <a:pt x="180" y="116"/>
                  </a:lnTo>
                  <a:lnTo>
                    <a:pt x="184" y="116"/>
                  </a:lnTo>
                  <a:lnTo>
                    <a:pt x="184" y="121"/>
                  </a:lnTo>
                  <a:lnTo>
                    <a:pt x="187" y="121"/>
                  </a:lnTo>
                  <a:lnTo>
                    <a:pt x="187" y="125"/>
                  </a:lnTo>
                  <a:lnTo>
                    <a:pt x="189" y="130"/>
                  </a:lnTo>
                  <a:lnTo>
                    <a:pt x="189" y="13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0" name="Freeform 235">
              <a:extLst>
                <a:ext uri="{FF2B5EF4-FFF2-40B4-BE49-F238E27FC236}">
                  <a16:creationId xmlns:a16="http://schemas.microsoft.com/office/drawing/2014/main" id="{3A2DBEDE-BA32-43A5-BE0E-1660A19B2C7E}"/>
                </a:ext>
              </a:extLst>
            </p:cNvPr>
            <p:cNvSpPr>
              <a:spLocks/>
            </p:cNvSpPr>
            <p:nvPr/>
          </p:nvSpPr>
          <p:spPr bwMode="gray">
            <a:xfrm rot="47099">
              <a:off x="1172598" y="3842448"/>
              <a:ext cx="175785" cy="187852"/>
            </a:xfrm>
            <a:custGeom>
              <a:avLst/>
              <a:gdLst>
                <a:gd name="T0" fmla="*/ 217 w 378"/>
                <a:gd name="T1" fmla="*/ 401 h 404"/>
                <a:gd name="T2" fmla="*/ 203 w 378"/>
                <a:gd name="T3" fmla="*/ 399 h 404"/>
                <a:gd name="T4" fmla="*/ 191 w 378"/>
                <a:gd name="T5" fmla="*/ 378 h 404"/>
                <a:gd name="T6" fmla="*/ 179 w 378"/>
                <a:gd name="T7" fmla="*/ 371 h 404"/>
                <a:gd name="T8" fmla="*/ 167 w 378"/>
                <a:gd name="T9" fmla="*/ 378 h 404"/>
                <a:gd name="T10" fmla="*/ 170 w 378"/>
                <a:gd name="T11" fmla="*/ 364 h 404"/>
                <a:gd name="T12" fmla="*/ 151 w 378"/>
                <a:gd name="T13" fmla="*/ 338 h 404"/>
                <a:gd name="T14" fmla="*/ 130 w 378"/>
                <a:gd name="T15" fmla="*/ 328 h 404"/>
                <a:gd name="T16" fmla="*/ 106 w 378"/>
                <a:gd name="T17" fmla="*/ 297 h 404"/>
                <a:gd name="T18" fmla="*/ 97 w 378"/>
                <a:gd name="T19" fmla="*/ 281 h 404"/>
                <a:gd name="T20" fmla="*/ 90 w 378"/>
                <a:gd name="T21" fmla="*/ 267 h 404"/>
                <a:gd name="T22" fmla="*/ 94 w 378"/>
                <a:gd name="T23" fmla="*/ 243 h 404"/>
                <a:gd name="T24" fmla="*/ 66 w 378"/>
                <a:gd name="T25" fmla="*/ 215 h 404"/>
                <a:gd name="T26" fmla="*/ 54 w 378"/>
                <a:gd name="T27" fmla="*/ 222 h 404"/>
                <a:gd name="T28" fmla="*/ 49 w 378"/>
                <a:gd name="T29" fmla="*/ 222 h 404"/>
                <a:gd name="T30" fmla="*/ 40 w 378"/>
                <a:gd name="T31" fmla="*/ 210 h 404"/>
                <a:gd name="T32" fmla="*/ 33 w 378"/>
                <a:gd name="T33" fmla="*/ 198 h 404"/>
                <a:gd name="T34" fmla="*/ 19 w 378"/>
                <a:gd name="T35" fmla="*/ 177 h 404"/>
                <a:gd name="T36" fmla="*/ 7 w 378"/>
                <a:gd name="T37" fmla="*/ 160 h 404"/>
                <a:gd name="T38" fmla="*/ 0 w 378"/>
                <a:gd name="T39" fmla="*/ 120 h 404"/>
                <a:gd name="T40" fmla="*/ 7 w 378"/>
                <a:gd name="T41" fmla="*/ 101 h 404"/>
                <a:gd name="T42" fmla="*/ 40 w 378"/>
                <a:gd name="T43" fmla="*/ 97 h 404"/>
                <a:gd name="T44" fmla="*/ 54 w 378"/>
                <a:gd name="T45" fmla="*/ 71 h 404"/>
                <a:gd name="T46" fmla="*/ 64 w 378"/>
                <a:gd name="T47" fmla="*/ 63 h 404"/>
                <a:gd name="T48" fmla="*/ 64 w 378"/>
                <a:gd name="T49" fmla="*/ 54 h 404"/>
                <a:gd name="T50" fmla="*/ 59 w 378"/>
                <a:gd name="T51" fmla="*/ 37 h 404"/>
                <a:gd name="T52" fmla="*/ 73 w 378"/>
                <a:gd name="T53" fmla="*/ 37 h 404"/>
                <a:gd name="T54" fmla="*/ 82 w 378"/>
                <a:gd name="T55" fmla="*/ 21 h 404"/>
                <a:gd name="T56" fmla="*/ 97 w 378"/>
                <a:gd name="T57" fmla="*/ 0 h 404"/>
                <a:gd name="T58" fmla="*/ 130 w 378"/>
                <a:gd name="T59" fmla="*/ 21 h 404"/>
                <a:gd name="T60" fmla="*/ 167 w 378"/>
                <a:gd name="T61" fmla="*/ 30 h 404"/>
                <a:gd name="T62" fmla="*/ 186 w 378"/>
                <a:gd name="T63" fmla="*/ 37 h 404"/>
                <a:gd name="T64" fmla="*/ 203 w 378"/>
                <a:gd name="T65" fmla="*/ 45 h 404"/>
                <a:gd name="T66" fmla="*/ 212 w 378"/>
                <a:gd name="T67" fmla="*/ 49 h 404"/>
                <a:gd name="T68" fmla="*/ 264 w 378"/>
                <a:gd name="T69" fmla="*/ 16 h 404"/>
                <a:gd name="T70" fmla="*/ 283 w 378"/>
                <a:gd name="T71" fmla="*/ 23 h 404"/>
                <a:gd name="T72" fmla="*/ 290 w 378"/>
                <a:gd name="T73" fmla="*/ 28 h 404"/>
                <a:gd name="T74" fmla="*/ 316 w 378"/>
                <a:gd name="T75" fmla="*/ 61 h 404"/>
                <a:gd name="T76" fmla="*/ 314 w 378"/>
                <a:gd name="T77" fmla="*/ 71 h 404"/>
                <a:gd name="T78" fmla="*/ 307 w 378"/>
                <a:gd name="T79" fmla="*/ 118 h 404"/>
                <a:gd name="T80" fmla="*/ 297 w 378"/>
                <a:gd name="T81" fmla="*/ 130 h 404"/>
                <a:gd name="T82" fmla="*/ 304 w 378"/>
                <a:gd name="T83" fmla="*/ 137 h 404"/>
                <a:gd name="T84" fmla="*/ 297 w 378"/>
                <a:gd name="T85" fmla="*/ 144 h 404"/>
                <a:gd name="T86" fmla="*/ 304 w 378"/>
                <a:gd name="T87" fmla="*/ 160 h 404"/>
                <a:gd name="T88" fmla="*/ 314 w 378"/>
                <a:gd name="T89" fmla="*/ 167 h 404"/>
                <a:gd name="T90" fmla="*/ 321 w 378"/>
                <a:gd name="T91" fmla="*/ 186 h 404"/>
                <a:gd name="T92" fmla="*/ 340 w 378"/>
                <a:gd name="T93" fmla="*/ 191 h 404"/>
                <a:gd name="T94" fmla="*/ 349 w 378"/>
                <a:gd name="T95" fmla="*/ 200 h 404"/>
                <a:gd name="T96" fmla="*/ 364 w 378"/>
                <a:gd name="T97" fmla="*/ 167 h 404"/>
                <a:gd name="T98" fmla="*/ 373 w 378"/>
                <a:gd name="T99" fmla="*/ 224 h 404"/>
                <a:gd name="T100" fmla="*/ 314 w 378"/>
                <a:gd name="T101" fmla="*/ 222 h 404"/>
                <a:gd name="T102" fmla="*/ 269 w 378"/>
                <a:gd name="T103" fmla="*/ 250 h 404"/>
                <a:gd name="T104" fmla="*/ 260 w 378"/>
                <a:gd name="T105" fmla="*/ 283 h 404"/>
                <a:gd name="T106" fmla="*/ 253 w 378"/>
                <a:gd name="T107" fmla="*/ 297 h 404"/>
                <a:gd name="T108" fmla="*/ 241 w 378"/>
                <a:gd name="T109" fmla="*/ 307 h 404"/>
                <a:gd name="T110" fmla="*/ 231 w 378"/>
                <a:gd name="T111" fmla="*/ 338 h 404"/>
                <a:gd name="T112" fmla="*/ 227 w 378"/>
                <a:gd name="T113" fmla="*/ 378 h 404"/>
                <a:gd name="T114" fmla="*/ 219 w 378"/>
                <a:gd name="T115" fmla="*/ 404 h 4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8"/>
                <a:gd name="T175" fmla="*/ 0 h 404"/>
                <a:gd name="T176" fmla="*/ 378 w 378"/>
                <a:gd name="T177" fmla="*/ 404 h 4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8" h="404">
                  <a:moveTo>
                    <a:pt x="219" y="404"/>
                  </a:moveTo>
                  <a:lnTo>
                    <a:pt x="219" y="404"/>
                  </a:lnTo>
                  <a:lnTo>
                    <a:pt x="217" y="401"/>
                  </a:lnTo>
                  <a:lnTo>
                    <a:pt x="217" y="394"/>
                  </a:lnTo>
                  <a:lnTo>
                    <a:pt x="208" y="394"/>
                  </a:lnTo>
                  <a:lnTo>
                    <a:pt x="203" y="399"/>
                  </a:lnTo>
                  <a:lnTo>
                    <a:pt x="193" y="392"/>
                  </a:lnTo>
                  <a:lnTo>
                    <a:pt x="193" y="385"/>
                  </a:lnTo>
                  <a:lnTo>
                    <a:pt x="191" y="378"/>
                  </a:lnTo>
                  <a:lnTo>
                    <a:pt x="184" y="375"/>
                  </a:lnTo>
                  <a:lnTo>
                    <a:pt x="184" y="371"/>
                  </a:lnTo>
                  <a:lnTo>
                    <a:pt x="179" y="371"/>
                  </a:lnTo>
                  <a:lnTo>
                    <a:pt x="177" y="375"/>
                  </a:lnTo>
                  <a:lnTo>
                    <a:pt x="172" y="375"/>
                  </a:lnTo>
                  <a:lnTo>
                    <a:pt x="167" y="378"/>
                  </a:lnTo>
                  <a:lnTo>
                    <a:pt x="163" y="380"/>
                  </a:lnTo>
                  <a:lnTo>
                    <a:pt x="163" y="371"/>
                  </a:lnTo>
                  <a:lnTo>
                    <a:pt x="170" y="364"/>
                  </a:lnTo>
                  <a:lnTo>
                    <a:pt x="172" y="361"/>
                  </a:lnTo>
                  <a:lnTo>
                    <a:pt x="170" y="352"/>
                  </a:lnTo>
                  <a:lnTo>
                    <a:pt x="151" y="338"/>
                  </a:lnTo>
                  <a:lnTo>
                    <a:pt x="137" y="338"/>
                  </a:lnTo>
                  <a:lnTo>
                    <a:pt x="130" y="335"/>
                  </a:lnTo>
                  <a:lnTo>
                    <a:pt x="130" y="328"/>
                  </a:lnTo>
                  <a:lnTo>
                    <a:pt x="120" y="328"/>
                  </a:lnTo>
                  <a:lnTo>
                    <a:pt x="106" y="314"/>
                  </a:lnTo>
                  <a:lnTo>
                    <a:pt x="106" y="297"/>
                  </a:lnTo>
                  <a:lnTo>
                    <a:pt x="104" y="290"/>
                  </a:lnTo>
                  <a:lnTo>
                    <a:pt x="99" y="283"/>
                  </a:lnTo>
                  <a:lnTo>
                    <a:pt x="97" y="281"/>
                  </a:lnTo>
                  <a:lnTo>
                    <a:pt x="94" y="274"/>
                  </a:lnTo>
                  <a:lnTo>
                    <a:pt x="94" y="267"/>
                  </a:lnTo>
                  <a:lnTo>
                    <a:pt x="90" y="267"/>
                  </a:lnTo>
                  <a:lnTo>
                    <a:pt x="90" y="262"/>
                  </a:lnTo>
                  <a:lnTo>
                    <a:pt x="94" y="257"/>
                  </a:lnTo>
                  <a:lnTo>
                    <a:pt x="94" y="243"/>
                  </a:lnTo>
                  <a:lnTo>
                    <a:pt x="87" y="231"/>
                  </a:lnTo>
                  <a:lnTo>
                    <a:pt x="82" y="226"/>
                  </a:lnTo>
                  <a:lnTo>
                    <a:pt x="66" y="215"/>
                  </a:lnTo>
                  <a:lnTo>
                    <a:pt x="64" y="215"/>
                  </a:lnTo>
                  <a:lnTo>
                    <a:pt x="56" y="222"/>
                  </a:lnTo>
                  <a:lnTo>
                    <a:pt x="54" y="222"/>
                  </a:lnTo>
                  <a:lnTo>
                    <a:pt x="54" y="224"/>
                  </a:lnTo>
                  <a:lnTo>
                    <a:pt x="49" y="224"/>
                  </a:lnTo>
                  <a:lnTo>
                    <a:pt x="49" y="222"/>
                  </a:lnTo>
                  <a:lnTo>
                    <a:pt x="42" y="222"/>
                  </a:lnTo>
                  <a:lnTo>
                    <a:pt x="40" y="217"/>
                  </a:lnTo>
                  <a:lnTo>
                    <a:pt x="40" y="210"/>
                  </a:lnTo>
                  <a:lnTo>
                    <a:pt x="35" y="208"/>
                  </a:lnTo>
                  <a:lnTo>
                    <a:pt x="35" y="198"/>
                  </a:lnTo>
                  <a:lnTo>
                    <a:pt x="33" y="198"/>
                  </a:lnTo>
                  <a:lnTo>
                    <a:pt x="33" y="193"/>
                  </a:lnTo>
                  <a:lnTo>
                    <a:pt x="23" y="182"/>
                  </a:lnTo>
                  <a:lnTo>
                    <a:pt x="19" y="177"/>
                  </a:lnTo>
                  <a:lnTo>
                    <a:pt x="16" y="177"/>
                  </a:lnTo>
                  <a:lnTo>
                    <a:pt x="9" y="170"/>
                  </a:lnTo>
                  <a:lnTo>
                    <a:pt x="7" y="160"/>
                  </a:lnTo>
                  <a:lnTo>
                    <a:pt x="2" y="158"/>
                  </a:lnTo>
                  <a:lnTo>
                    <a:pt x="0" y="144"/>
                  </a:lnTo>
                  <a:lnTo>
                    <a:pt x="0" y="120"/>
                  </a:lnTo>
                  <a:lnTo>
                    <a:pt x="2" y="113"/>
                  </a:lnTo>
                  <a:lnTo>
                    <a:pt x="2" y="101"/>
                  </a:lnTo>
                  <a:lnTo>
                    <a:pt x="7" y="101"/>
                  </a:lnTo>
                  <a:lnTo>
                    <a:pt x="26" y="104"/>
                  </a:lnTo>
                  <a:lnTo>
                    <a:pt x="33" y="104"/>
                  </a:lnTo>
                  <a:lnTo>
                    <a:pt x="40" y="97"/>
                  </a:lnTo>
                  <a:lnTo>
                    <a:pt x="49" y="89"/>
                  </a:lnTo>
                  <a:lnTo>
                    <a:pt x="49" y="73"/>
                  </a:lnTo>
                  <a:lnTo>
                    <a:pt x="54" y="71"/>
                  </a:lnTo>
                  <a:lnTo>
                    <a:pt x="54" y="68"/>
                  </a:lnTo>
                  <a:lnTo>
                    <a:pt x="59" y="68"/>
                  </a:lnTo>
                  <a:lnTo>
                    <a:pt x="64" y="63"/>
                  </a:lnTo>
                  <a:lnTo>
                    <a:pt x="64" y="61"/>
                  </a:lnTo>
                  <a:lnTo>
                    <a:pt x="66" y="56"/>
                  </a:lnTo>
                  <a:lnTo>
                    <a:pt x="64" y="54"/>
                  </a:lnTo>
                  <a:lnTo>
                    <a:pt x="64" y="47"/>
                  </a:lnTo>
                  <a:lnTo>
                    <a:pt x="59" y="45"/>
                  </a:lnTo>
                  <a:lnTo>
                    <a:pt x="59" y="37"/>
                  </a:lnTo>
                  <a:lnTo>
                    <a:pt x="64" y="40"/>
                  </a:lnTo>
                  <a:lnTo>
                    <a:pt x="71" y="40"/>
                  </a:lnTo>
                  <a:lnTo>
                    <a:pt x="73" y="37"/>
                  </a:lnTo>
                  <a:lnTo>
                    <a:pt x="75" y="37"/>
                  </a:lnTo>
                  <a:lnTo>
                    <a:pt x="75" y="33"/>
                  </a:lnTo>
                  <a:lnTo>
                    <a:pt x="82" y="21"/>
                  </a:lnTo>
                  <a:lnTo>
                    <a:pt x="82" y="9"/>
                  </a:lnTo>
                  <a:lnTo>
                    <a:pt x="87" y="7"/>
                  </a:lnTo>
                  <a:lnTo>
                    <a:pt x="97" y="0"/>
                  </a:lnTo>
                  <a:lnTo>
                    <a:pt x="116" y="16"/>
                  </a:lnTo>
                  <a:lnTo>
                    <a:pt x="127" y="16"/>
                  </a:lnTo>
                  <a:lnTo>
                    <a:pt x="130" y="21"/>
                  </a:lnTo>
                  <a:lnTo>
                    <a:pt x="130" y="23"/>
                  </a:lnTo>
                  <a:lnTo>
                    <a:pt x="151" y="37"/>
                  </a:lnTo>
                  <a:lnTo>
                    <a:pt x="167" y="30"/>
                  </a:lnTo>
                  <a:lnTo>
                    <a:pt x="167" y="33"/>
                  </a:lnTo>
                  <a:lnTo>
                    <a:pt x="170" y="37"/>
                  </a:lnTo>
                  <a:lnTo>
                    <a:pt x="186" y="37"/>
                  </a:lnTo>
                  <a:lnTo>
                    <a:pt x="196" y="40"/>
                  </a:lnTo>
                  <a:lnTo>
                    <a:pt x="201" y="40"/>
                  </a:lnTo>
                  <a:lnTo>
                    <a:pt x="203" y="45"/>
                  </a:lnTo>
                  <a:lnTo>
                    <a:pt x="208" y="47"/>
                  </a:lnTo>
                  <a:lnTo>
                    <a:pt x="210" y="49"/>
                  </a:lnTo>
                  <a:lnTo>
                    <a:pt x="212" y="49"/>
                  </a:lnTo>
                  <a:lnTo>
                    <a:pt x="236" y="23"/>
                  </a:lnTo>
                  <a:lnTo>
                    <a:pt x="241" y="16"/>
                  </a:lnTo>
                  <a:lnTo>
                    <a:pt x="264" y="16"/>
                  </a:lnTo>
                  <a:lnTo>
                    <a:pt x="269" y="21"/>
                  </a:lnTo>
                  <a:lnTo>
                    <a:pt x="281" y="21"/>
                  </a:lnTo>
                  <a:lnTo>
                    <a:pt x="283" y="23"/>
                  </a:lnTo>
                  <a:lnTo>
                    <a:pt x="288" y="23"/>
                  </a:lnTo>
                  <a:lnTo>
                    <a:pt x="288" y="28"/>
                  </a:lnTo>
                  <a:lnTo>
                    <a:pt x="290" y="28"/>
                  </a:lnTo>
                  <a:lnTo>
                    <a:pt x="314" y="49"/>
                  </a:lnTo>
                  <a:lnTo>
                    <a:pt x="314" y="54"/>
                  </a:lnTo>
                  <a:lnTo>
                    <a:pt x="316" y="61"/>
                  </a:lnTo>
                  <a:lnTo>
                    <a:pt x="316" y="63"/>
                  </a:lnTo>
                  <a:lnTo>
                    <a:pt x="314" y="68"/>
                  </a:lnTo>
                  <a:lnTo>
                    <a:pt x="314" y="71"/>
                  </a:lnTo>
                  <a:lnTo>
                    <a:pt x="309" y="73"/>
                  </a:lnTo>
                  <a:lnTo>
                    <a:pt x="309" y="111"/>
                  </a:lnTo>
                  <a:lnTo>
                    <a:pt x="307" y="118"/>
                  </a:lnTo>
                  <a:lnTo>
                    <a:pt x="300" y="120"/>
                  </a:lnTo>
                  <a:lnTo>
                    <a:pt x="297" y="125"/>
                  </a:lnTo>
                  <a:lnTo>
                    <a:pt x="297" y="130"/>
                  </a:lnTo>
                  <a:lnTo>
                    <a:pt x="300" y="134"/>
                  </a:lnTo>
                  <a:lnTo>
                    <a:pt x="300" y="137"/>
                  </a:lnTo>
                  <a:lnTo>
                    <a:pt x="304" y="137"/>
                  </a:lnTo>
                  <a:lnTo>
                    <a:pt x="300" y="141"/>
                  </a:lnTo>
                  <a:lnTo>
                    <a:pt x="300" y="144"/>
                  </a:lnTo>
                  <a:lnTo>
                    <a:pt x="297" y="144"/>
                  </a:lnTo>
                  <a:lnTo>
                    <a:pt x="297" y="146"/>
                  </a:lnTo>
                  <a:lnTo>
                    <a:pt x="293" y="146"/>
                  </a:lnTo>
                  <a:lnTo>
                    <a:pt x="304" y="160"/>
                  </a:lnTo>
                  <a:lnTo>
                    <a:pt x="307" y="165"/>
                  </a:lnTo>
                  <a:lnTo>
                    <a:pt x="309" y="165"/>
                  </a:lnTo>
                  <a:lnTo>
                    <a:pt x="314" y="167"/>
                  </a:lnTo>
                  <a:lnTo>
                    <a:pt x="314" y="182"/>
                  </a:lnTo>
                  <a:lnTo>
                    <a:pt x="316" y="184"/>
                  </a:lnTo>
                  <a:lnTo>
                    <a:pt x="321" y="186"/>
                  </a:lnTo>
                  <a:lnTo>
                    <a:pt x="328" y="186"/>
                  </a:lnTo>
                  <a:lnTo>
                    <a:pt x="333" y="191"/>
                  </a:lnTo>
                  <a:lnTo>
                    <a:pt x="340" y="191"/>
                  </a:lnTo>
                  <a:lnTo>
                    <a:pt x="345" y="193"/>
                  </a:lnTo>
                  <a:lnTo>
                    <a:pt x="347" y="198"/>
                  </a:lnTo>
                  <a:lnTo>
                    <a:pt x="349" y="200"/>
                  </a:lnTo>
                  <a:lnTo>
                    <a:pt x="349" y="186"/>
                  </a:lnTo>
                  <a:lnTo>
                    <a:pt x="356" y="175"/>
                  </a:lnTo>
                  <a:lnTo>
                    <a:pt x="364" y="167"/>
                  </a:lnTo>
                  <a:lnTo>
                    <a:pt x="378" y="191"/>
                  </a:lnTo>
                  <a:lnTo>
                    <a:pt x="378" y="193"/>
                  </a:lnTo>
                  <a:lnTo>
                    <a:pt x="373" y="224"/>
                  </a:lnTo>
                  <a:lnTo>
                    <a:pt x="338" y="224"/>
                  </a:lnTo>
                  <a:lnTo>
                    <a:pt x="328" y="222"/>
                  </a:lnTo>
                  <a:lnTo>
                    <a:pt x="314" y="222"/>
                  </a:lnTo>
                  <a:lnTo>
                    <a:pt x="283" y="238"/>
                  </a:lnTo>
                  <a:lnTo>
                    <a:pt x="283" y="243"/>
                  </a:lnTo>
                  <a:lnTo>
                    <a:pt x="269" y="250"/>
                  </a:lnTo>
                  <a:lnTo>
                    <a:pt x="264" y="255"/>
                  </a:lnTo>
                  <a:lnTo>
                    <a:pt x="260" y="271"/>
                  </a:lnTo>
                  <a:lnTo>
                    <a:pt x="260" y="283"/>
                  </a:lnTo>
                  <a:lnTo>
                    <a:pt x="264" y="283"/>
                  </a:lnTo>
                  <a:lnTo>
                    <a:pt x="264" y="290"/>
                  </a:lnTo>
                  <a:lnTo>
                    <a:pt x="253" y="297"/>
                  </a:lnTo>
                  <a:lnTo>
                    <a:pt x="248" y="302"/>
                  </a:lnTo>
                  <a:lnTo>
                    <a:pt x="243" y="304"/>
                  </a:lnTo>
                  <a:lnTo>
                    <a:pt x="241" y="307"/>
                  </a:lnTo>
                  <a:lnTo>
                    <a:pt x="241" y="328"/>
                  </a:lnTo>
                  <a:lnTo>
                    <a:pt x="236" y="330"/>
                  </a:lnTo>
                  <a:lnTo>
                    <a:pt x="231" y="338"/>
                  </a:lnTo>
                  <a:lnTo>
                    <a:pt x="231" y="345"/>
                  </a:lnTo>
                  <a:lnTo>
                    <a:pt x="227" y="364"/>
                  </a:lnTo>
                  <a:lnTo>
                    <a:pt x="227" y="378"/>
                  </a:lnTo>
                  <a:lnTo>
                    <a:pt x="224" y="394"/>
                  </a:lnTo>
                  <a:lnTo>
                    <a:pt x="224" y="399"/>
                  </a:lnTo>
                  <a:lnTo>
                    <a:pt x="219" y="40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1" name="Freeform 236">
              <a:extLst>
                <a:ext uri="{FF2B5EF4-FFF2-40B4-BE49-F238E27FC236}">
                  <a16:creationId xmlns:a16="http://schemas.microsoft.com/office/drawing/2014/main" id="{A8E95AF9-850C-4B36-BA55-609814105C47}"/>
                </a:ext>
              </a:extLst>
            </p:cNvPr>
            <p:cNvSpPr>
              <a:spLocks/>
            </p:cNvSpPr>
            <p:nvPr/>
          </p:nvSpPr>
          <p:spPr bwMode="gray">
            <a:xfrm rot="47099">
              <a:off x="1095618" y="3849968"/>
              <a:ext cx="3255" cy="3255"/>
            </a:xfrm>
            <a:custGeom>
              <a:avLst/>
              <a:gdLst>
                <a:gd name="T0" fmla="*/ 0 w 7"/>
                <a:gd name="T1" fmla="*/ 7 h 7"/>
                <a:gd name="T2" fmla="*/ 0 w 7"/>
                <a:gd name="T3" fmla="*/ 2 h 7"/>
                <a:gd name="T4" fmla="*/ 5 w 7"/>
                <a:gd name="T5" fmla="*/ 0 h 7"/>
                <a:gd name="T6" fmla="*/ 7 w 7"/>
                <a:gd name="T7" fmla="*/ 2 h 7"/>
                <a:gd name="T8" fmla="*/ 5 w 7"/>
                <a:gd name="T9" fmla="*/ 7 h 7"/>
                <a:gd name="T10" fmla="*/ 0 w 7"/>
                <a:gd name="T11" fmla="*/ 7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0" y="7"/>
                  </a:moveTo>
                  <a:lnTo>
                    <a:pt x="0" y="2"/>
                  </a:lnTo>
                  <a:lnTo>
                    <a:pt x="5" y="0"/>
                  </a:lnTo>
                  <a:lnTo>
                    <a:pt x="7" y="2"/>
                  </a:lnTo>
                  <a:lnTo>
                    <a:pt x="5" y="7"/>
                  </a:lnTo>
                  <a:lnTo>
                    <a:pt x="0"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2" name="Freeform 237">
              <a:extLst>
                <a:ext uri="{FF2B5EF4-FFF2-40B4-BE49-F238E27FC236}">
                  <a16:creationId xmlns:a16="http://schemas.microsoft.com/office/drawing/2014/main" id="{B4C1EE61-39B6-4FC3-8A01-22A8C2DD3E8A}"/>
                </a:ext>
              </a:extLst>
            </p:cNvPr>
            <p:cNvSpPr>
              <a:spLocks/>
            </p:cNvSpPr>
            <p:nvPr/>
          </p:nvSpPr>
          <p:spPr bwMode="gray">
            <a:xfrm rot="47099">
              <a:off x="985249" y="3716467"/>
              <a:ext cx="14416" cy="19994"/>
            </a:xfrm>
            <a:custGeom>
              <a:avLst/>
              <a:gdLst>
                <a:gd name="T0" fmla="*/ 21 w 31"/>
                <a:gd name="T1" fmla="*/ 43 h 43"/>
                <a:gd name="T2" fmla="*/ 21 w 31"/>
                <a:gd name="T3" fmla="*/ 43 h 43"/>
                <a:gd name="T4" fmla="*/ 14 w 31"/>
                <a:gd name="T5" fmla="*/ 41 h 43"/>
                <a:gd name="T6" fmla="*/ 12 w 31"/>
                <a:gd name="T7" fmla="*/ 36 h 43"/>
                <a:gd name="T8" fmla="*/ 5 w 31"/>
                <a:gd name="T9" fmla="*/ 29 h 43"/>
                <a:gd name="T10" fmla="*/ 0 w 31"/>
                <a:gd name="T11" fmla="*/ 26 h 43"/>
                <a:gd name="T12" fmla="*/ 12 w 31"/>
                <a:gd name="T13" fmla="*/ 5 h 43"/>
                <a:gd name="T14" fmla="*/ 14 w 31"/>
                <a:gd name="T15" fmla="*/ 3 h 43"/>
                <a:gd name="T16" fmla="*/ 21 w 31"/>
                <a:gd name="T17" fmla="*/ 0 h 43"/>
                <a:gd name="T18" fmla="*/ 28 w 31"/>
                <a:gd name="T19" fmla="*/ 0 h 43"/>
                <a:gd name="T20" fmla="*/ 31 w 31"/>
                <a:gd name="T21" fmla="*/ 17 h 43"/>
                <a:gd name="T22" fmla="*/ 31 w 31"/>
                <a:gd name="T23" fmla="*/ 22 h 43"/>
                <a:gd name="T24" fmla="*/ 24 w 31"/>
                <a:gd name="T25" fmla="*/ 41 h 43"/>
                <a:gd name="T26" fmla="*/ 21 w 31"/>
                <a:gd name="T27" fmla="*/ 43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
                <a:gd name="T43" fmla="*/ 0 h 43"/>
                <a:gd name="T44" fmla="*/ 31 w 3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 h="43">
                  <a:moveTo>
                    <a:pt x="21" y="43"/>
                  </a:moveTo>
                  <a:lnTo>
                    <a:pt x="21" y="43"/>
                  </a:lnTo>
                  <a:lnTo>
                    <a:pt x="14" y="41"/>
                  </a:lnTo>
                  <a:lnTo>
                    <a:pt x="12" y="36"/>
                  </a:lnTo>
                  <a:lnTo>
                    <a:pt x="5" y="29"/>
                  </a:lnTo>
                  <a:lnTo>
                    <a:pt x="0" y="26"/>
                  </a:lnTo>
                  <a:lnTo>
                    <a:pt x="12" y="5"/>
                  </a:lnTo>
                  <a:lnTo>
                    <a:pt x="14" y="3"/>
                  </a:lnTo>
                  <a:lnTo>
                    <a:pt x="21" y="0"/>
                  </a:lnTo>
                  <a:lnTo>
                    <a:pt x="28" y="0"/>
                  </a:lnTo>
                  <a:lnTo>
                    <a:pt x="31" y="17"/>
                  </a:lnTo>
                  <a:lnTo>
                    <a:pt x="31" y="22"/>
                  </a:lnTo>
                  <a:lnTo>
                    <a:pt x="24" y="41"/>
                  </a:lnTo>
                  <a:lnTo>
                    <a:pt x="21" y="4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3" name="Freeform 238">
              <a:extLst>
                <a:ext uri="{FF2B5EF4-FFF2-40B4-BE49-F238E27FC236}">
                  <a16:creationId xmlns:a16="http://schemas.microsoft.com/office/drawing/2014/main" id="{B210026C-C2F5-4161-B1CE-B1B669D87019}"/>
                </a:ext>
              </a:extLst>
            </p:cNvPr>
            <p:cNvSpPr>
              <a:spLocks/>
            </p:cNvSpPr>
            <p:nvPr/>
          </p:nvSpPr>
          <p:spPr bwMode="gray">
            <a:xfrm rot="47099">
              <a:off x="916193" y="3569069"/>
              <a:ext cx="220893" cy="280848"/>
            </a:xfrm>
            <a:custGeom>
              <a:avLst/>
              <a:gdLst>
                <a:gd name="T0" fmla="*/ 348 w 475"/>
                <a:gd name="T1" fmla="*/ 562 h 604"/>
                <a:gd name="T2" fmla="*/ 340 w 475"/>
                <a:gd name="T3" fmla="*/ 531 h 604"/>
                <a:gd name="T4" fmla="*/ 322 w 475"/>
                <a:gd name="T5" fmla="*/ 524 h 604"/>
                <a:gd name="T6" fmla="*/ 303 w 475"/>
                <a:gd name="T7" fmla="*/ 505 h 604"/>
                <a:gd name="T8" fmla="*/ 291 w 475"/>
                <a:gd name="T9" fmla="*/ 474 h 604"/>
                <a:gd name="T10" fmla="*/ 303 w 475"/>
                <a:gd name="T11" fmla="*/ 458 h 604"/>
                <a:gd name="T12" fmla="*/ 274 w 475"/>
                <a:gd name="T13" fmla="*/ 453 h 604"/>
                <a:gd name="T14" fmla="*/ 258 w 475"/>
                <a:gd name="T15" fmla="*/ 444 h 604"/>
                <a:gd name="T16" fmla="*/ 244 w 475"/>
                <a:gd name="T17" fmla="*/ 427 h 604"/>
                <a:gd name="T18" fmla="*/ 241 w 475"/>
                <a:gd name="T19" fmla="*/ 418 h 604"/>
                <a:gd name="T20" fmla="*/ 225 w 475"/>
                <a:gd name="T21" fmla="*/ 396 h 604"/>
                <a:gd name="T22" fmla="*/ 213 w 475"/>
                <a:gd name="T23" fmla="*/ 392 h 604"/>
                <a:gd name="T24" fmla="*/ 206 w 475"/>
                <a:gd name="T25" fmla="*/ 378 h 604"/>
                <a:gd name="T26" fmla="*/ 201 w 475"/>
                <a:gd name="T27" fmla="*/ 363 h 604"/>
                <a:gd name="T28" fmla="*/ 194 w 475"/>
                <a:gd name="T29" fmla="*/ 352 h 604"/>
                <a:gd name="T30" fmla="*/ 185 w 475"/>
                <a:gd name="T31" fmla="*/ 311 h 604"/>
                <a:gd name="T32" fmla="*/ 173 w 475"/>
                <a:gd name="T33" fmla="*/ 307 h 604"/>
                <a:gd name="T34" fmla="*/ 173 w 475"/>
                <a:gd name="T35" fmla="*/ 295 h 604"/>
                <a:gd name="T36" fmla="*/ 166 w 475"/>
                <a:gd name="T37" fmla="*/ 283 h 604"/>
                <a:gd name="T38" fmla="*/ 149 w 475"/>
                <a:gd name="T39" fmla="*/ 250 h 604"/>
                <a:gd name="T40" fmla="*/ 140 w 475"/>
                <a:gd name="T41" fmla="*/ 200 h 604"/>
                <a:gd name="T42" fmla="*/ 133 w 475"/>
                <a:gd name="T43" fmla="*/ 181 h 604"/>
                <a:gd name="T44" fmla="*/ 133 w 475"/>
                <a:gd name="T45" fmla="*/ 163 h 604"/>
                <a:gd name="T46" fmla="*/ 140 w 475"/>
                <a:gd name="T47" fmla="*/ 137 h 604"/>
                <a:gd name="T48" fmla="*/ 133 w 475"/>
                <a:gd name="T49" fmla="*/ 129 h 604"/>
                <a:gd name="T50" fmla="*/ 107 w 475"/>
                <a:gd name="T51" fmla="*/ 120 h 604"/>
                <a:gd name="T52" fmla="*/ 97 w 475"/>
                <a:gd name="T53" fmla="*/ 101 h 604"/>
                <a:gd name="T54" fmla="*/ 73 w 475"/>
                <a:gd name="T55" fmla="*/ 89 h 604"/>
                <a:gd name="T56" fmla="*/ 73 w 475"/>
                <a:gd name="T57" fmla="*/ 96 h 604"/>
                <a:gd name="T58" fmla="*/ 57 w 475"/>
                <a:gd name="T59" fmla="*/ 94 h 604"/>
                <a:gd name="T60" fmla="*/ 36 w 475"/>
                <a:gd name="T61" fmla="*/ 78 h 604"/>
                <a:gd name="T62" fmla="*/ 26 w 475"/>
                <a:gd name="T63" fmla="*/ 66 h 604"/>
                <a:gd name="T64" fmla="*/ 12 w 475"/>
                <a:gd name="T65" fmla="*/ 56 h 604"/>
                <a:gd name="T66" fmla="*/ 3 w 475"/>
                <a:gd name="T67" fmla="*/ 33 h 604"/>
                <a:gd name="T68" fmla="*/ 3 w 475"/>
                <a:gd name="T69" fmla="*/ 16 h 604"/>
                <a:gd name="T70" fmla="*/ 40 w 475"/>
                <a:gd name="T71" fmla="*/ 7 h 604"/>
                <a:gd name="T72" fmla="*/ 90 w 475"/>
                <a:gd name="T73" fmla="*/ 37 h 604"/>
                <a:gd name="T74" fmla="*/ 149 w 475"/>
                <a:gd name="T75" fmla="*/ 66 h 604"/>
                <a:gd name="T76" fmla="*/ 203 w 475"/>
                <a:gd name="T77" fmla="*/ 96 h 604"/>
                <a:gd name="T78" fmla="*/ 350 w 475"/>
                <a:gd name="T79" fmla="*/ 153 h 604"/>
                <a:gd name="T80" fmla="*/ 411 w 475"/>
                <a:gd name="T81" fmla="*/ 160 h 604"/>
                <a:gd name="T82" fmla="*/ 459 w 475"/>
                <a:gd name="T83" fmla="*/ 177 h 604"/>
                <a:gd name="T84" fmla="*/ 463 w 475"/>
                <a:gd name="T85" fmla="*/ 226 h 604"/>
                <a:gd name="T86" fmla="*/ 475 w 475"/>
                <a:gd name="T87" fmla="*/ 283 h 604"/>
                <a:gd name="T88" fmla="*/ 463 w 475"/>
                <a:gd name="T89" fmla="*/ 337 h 604"/>
                <a:gd name="T90" fmla="*/ 454 w 475"/>
                <a:gd name="T91" fmla="*/ 396 h 604"/>
                <a:gd name="T92" fmla="*/ 454 w 475"/>
                <a:gd name="T93" fmla="*/ 441 h 604"/>
                <a:gd name="T94" fmla="*/ 440 w 475"/>
                <a:gd name="T95" fmla="*/ 434 h 604"/>
                <a:gd name="T96" fmla="*/ 421 w 475"/>
                <a:gd name="T97" fmla="*/ 432 h 604"/>
                <a:gd name="T98" fmla="*/ 428 w 475"/>
                <a:gd name="T99" fmla="*/ 474 h 604"/>
                <a:gd name="T100" fmla="*/ 447 w 475"/>
                <a:gd name="T101" fmla="*/ 500 h 604"/>
                <a:gd name="T102" fmla="*/ 444 w 475"/>
                <a:gd name="T103" fmla="*/ 541 h 604"/>
                <a:gd name="T104" fmla="*/ 454 w 475"/>
                <a:gd name="T105" fmla="*/ 548 h 604"/>
                <a:gd name="T106" fmla="*/ 447 w 475"/>
                <a:gd name="T107" fmla="*/ 571 h 604"/>
                <a:gd name="T108" fmla="*/ 390 w 475"/>
                <a:gd name="T109" fmla="*/ 588 h 604"/>
                <a:gd name="T110" fmla="*/ 371 w 475"/>
                <a:gd name="T111" fmla="*/ 564 h 6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5"/>
                <a:gd name="T169" fmla="*/ 0 h 604"/>
                <a:gd name="T170" fmla="*/ 475 w 475"/>
                <a:gd name="T171" fmla="*/ 604 h 6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5" h="604">
                  <a:moveTo>
                    <a:pt x="357" y="569"/>
                  </a:moveTo>
                  <a:lnTo>
                    <a:pt x="355" y="569"/>
                  </a:lnTo>
                  <a:lnTo>
                    <a:pt x="348" y="562"/>
                  </a:lnTo>
                  <a:lnTo>
                    <a:pt x="343" y="555"/>
                  </a:lnTo>
                  <a:lnTo>
                    <a:pt x="343" y="533"/>
                  </a:lnTo>
                  <a:lnTo>
                    <a:pt x="340" y="531"/>
                  </a:lnTo>
                  <a:lnTo>
                    <a:pt x="338" y="529"/>
                  </a:lnTo>
                  <a:lnTo>
                    <a:pt x="333" y="529"/>
                  </a:lnTo>
                  <a:lnTo>
                    <a:pt x="322" y="524"/>
                  </a:lnTo>
                  <a:lnTo>
                    <a:pt x="314" y="522"/>
                  </a:lnTo>
                  <a:lnTo>
                    <a:pt x="310" y="517"/>
                  </a:lnTo>
                  <a:lnTo>
                    <a:pt x="303" y="505"/>
                  </a:lnTo>
                  <a:lnTo>
                    <a:pt x="298" y="500"/>
                  </a:lnTo>
                  <a:lnTo>
                    <a:pt x="291" y="477"/>
                  </a:lnTo>
                  <a:lnTo>
                    <a:pt x="291" y="474"/>
                  </a:lnTo>
                  <a:lnTo>
                    <a:pt x="293" y="465"/>
                  </a:lnTo>
                  <a:lnTo>
                    <a:pt x="300" y="458"/>
                  </a:lnTo>
                  <a:lnTo>
                    <a:pt x="303" y="458"/>
                  </a:lnTo>
                  <a:lnTo>
                    <a:pt x="298" y="453"/>
                  </a:lnTo>
                  <a:lnTo>
                    <a:pt x="281" y="448"/>
                  </a:lnTo>
                  <a:lnTo>
                    <a:pt x="274" y="453"/>
                  </a:lnTo>
                  <a:lnTo>
                    <a:pt x="267" y="448"/>
                  </a:lnTo>
                  <a:lnTo>
                    <a:pt x="260" y="444"/>
                  </a:lnTo>
                  <a:lnTo>
                    <a:pt x="258" y="444"/>
                  </a:lnTo>
                  <a:lnTo>
                    <a:pt x="246" y="434"/>
                  </a:lnTo>
                  <a:lnTo>
                    <a:pt x="246" y="432"/>
                  </a:lnTo>
                  <a:lnTo>
                    <a:pt x="244" y="427"/>
                  </a:lnTo>
                  <a:lnTo>
                    <a:pt x="244" y="425"/>
                  </a:lnTo>
                  <a:lnTo>
                    <a:pt x="241" y="420"/>
                  </a:lnTo>
                  <a:lnTo>
                    <a:pt x="241" y="418"/>
                  </a:lnTo>
                  <a:lnTo>
                    <a:pt x="234" y="401"/>
                  </a:lnTo>
                  <a:lnTo>
                    <a:pt x="227" y="396"/>
                  </a:lnTo>
                  <a:lnTo>
                    <a:pt x="225" y="396"/>
                  </a:lnTo>
                  <a:lnTo>
                    <a:pt x="220" y="394"/>
                  </a:lnTo>
                  <a:lnTo>
                    <a:pt x="218" y="394"/>
                  </a:lnTo>
                  <a:lnTo>
                    <a:pt x="213" y="392"/>
                  </a:lnTo>
                  <a:lnTo>
                    <a:pt x="213" y="385"/>
                  </a:lnTo>
                  <a:lnTo>
                    <a:pt x="211" y="380"/>
                  </a:lnTo>
                  <a:lnTo>
                    <a:pt x="206" y="378"/>
                  </a:lnTo>
                  <a:lnTo>
                    <a:pt x="206" y="375"/>
                  </a:lnTo>
                  <a:lnTo>
                    <a:pt x="203" y="375"/>
                  </a:lnTo>
                  <a:lnTo>
                    <a:pt x="201" y="363"/>
                  </a:lnTo>
                  <a:lnTo>
                    <a:pt x="196" y="363"/>
                  </a:lnTo>
                  <a:lnTo>
                    <a:pt x="201" y="361"/>
                  </a:lnTo>
                  <a:lnTo>
                    <a:pt x="194" y="352"/>
                  </a:lnTo>
                  <a:lnTo>
                    <a:pt x="187" y="344"/>
                  </a:lnTo>
                  <a:lnTo>
                    <a:pt x="185" y="340"/>
                  </a:lnTo>
                  <a:lnTo>
                    <a:pt x="185" y="311"/>
                  </a:lnTo>
                  <a:lnTo>
                    <a:pt x="180" y="311"/>
                  </a:lnTo>
                  <a:lnTo>
                    <a:pt x="177" y="307"/>
                  </a:lnTo>
                  <a:lnTo>
                    <a:pt x="173" y="307"/>
                  </a:lnTo>
                  <a:lnTo>
                    <a:pt x="170" y="300"/>
                  </a:lnTo>
                  <a:lnTo>
                    <a:pt x="173" y="297"/>
                  </a:lnTo>
                  <a:lnTo>
                    <a:pt x="173" y="295"/>
                  </a:lnTo>
                  <a:lnTo>
                    <a:pt x="170" y="288"/>
                  </a:lnTo>
                  <a:lnTo>
                    <a:pt x="166" y="288"/>
                  </a:lnTo>
                  <a:lnTo>
                    <a:pt x="166" y="283"/>
                  </a:lnTo>
                  <a:lnTo>
                    <a:pt x="163" y="281"/>
                  </a:lnTo>
                  <a:lnTo>
                    <a:pt x="161" y="271"/>
                  </a:lnTo>
                  <a:lnTo>
                    <a:pt x="149" y="250"/>
                  </a:lnTo>
                  <a:lnTo>
                    <a:pt x="149" y="224"/>
                  </a:lnTo>
                  <a:lnTo>
                    <a:pt x="147" y="207"/>
                  </a:lnTo>
                  <a:lnTo>
                    <a:pt x="140" y="200"/>
                  </a:lnTo>
                  <a:lnTo>
                    <a:pt x="137" y="191"/>
                  </a:lnTo>
                  <a:lnTo>
                    <a:pt x="133" y="186"/>
                  </a:lnTo>
                  <a:lnTo>
                    <a:pt x="133" y="181"/>
                  </a:lnTo>
                  <a:lnTo>
                    <a:pt x="130" y="181"/>
                  </a:lnTo>
                  <a:lnTo>
                    <a:pt x="130" y="167"/>
                  </a:lnTo>
                  <a:lnTo>
                    <a:pt x="133" y="163"/>
                  </a:lnTo>
                  <a:lnTo>
                    <a:pt x="137" y="146"/>
                  </a:lnTo>
                  <a:lnTo>
                    <a:pt x="140" y="144"/>
                  </a:lnTo>
                  <a:lnTo>
                    <a:pt x="140" y="137"/>
                  </a:lnTo>
                  <a:lnTo>
                    <a:pt x="137" y="134"/>
                  </a:lnTo>
                  <a:lnTo>
                    <a:pt x="137" y="129"/>
                  </a:lnTo>
                  <a:lnTo>
                    <a:pt x="133" y="129"/>
                  </a:lnTo>
                  <a:lnTo>
                    <a:pt x="121" y="127"/>
                  </a:lnTo>
                  <a:lnTo>
                    <a:pt x="109" y="122"/>
                  </a:lnTo>
                  <a:lnTo>
                    <a:pt x="107" y="120"/>
                  </a:lnTo>
                  <a:lnTo>
                    <a:pt x="99" y="118"/>
                  </a:lnTo>
                  <a:lnTo>
                    <a:pt x="99" y="101"/>
                  </a:lnTo>
                  <a:lnTo>
                    <a:pt x="97" y="101"/>
                  </a:lnTo>
                  <a:lnTo>
                    <a:pt x="88" y="94"/>
                  </a:lnTo>
                  <a:lnTo>
                    <a:pt x="76" y="85"/>
                  </a:lnTo>
                  <a:lnTo>
                    <a:pt x="73" y="89"/>
                  </a:lnTo>
                  <a:lnTo>
                    <a:pt x="76" y="94"/>
                  </a:lnTo>
                  <a:lnTo>
                    <a:pt x="73" y="94"/>
                  </a:lnTo>
                  <a:lnTo>
                    <a:pt x="73" y="96"/>
                  </a:lnTo>
                  <a:lnTo>
                    <a:pt x="59" y="96"/>
                  </a:lnTo>
                  <a:lnTo>
                    <a:pt x="59" y="94"/>
                  </a:lnTo>
                  <a:lnTo>
                    <a:pt x="57" y="94"/>
                  </a:lnTo>
                  <a:lnTo>
                    <a:pt x="52" y="89"/>
                  </a:lnTo>
                  <a:lnTo>
                    <a:pt x="40" y="80"/>
                  </a:lnTo>
                  <a:lnTo>
                    <a:pt x="36" y="78"/>
                  </a:lnTo>
                  <a:lnTo>
                    <a:pt x="36" y="73"/>
                  </a:lnTo>
                  <a:lnTo>
                    <a:pt x="29" y="66"/>
                  </a:lnTo>
                  <a:lnTo>
                    <a:pt x="26" y="66"/>
                  </a:lnTo>
                  <a:lnTo>
                    <a:pt x="24" y="63"/>
                  </a:lnTo>
                  <a:lnTo>
                    <a:pt x="12" y="61"/>
                  </a:lnTo>
                  <a:lnTo>
                    <a:pt x="12" y="56"/>
                  </a:lnTo>
                  <a:lnTo>
                    <a:pt x="0" y="44"/>
                  </a:lnTo>
                  <a:lnTo>
                    <a:pt x="3" y="44"/>
                  </a:lnTo>
                  <a:lnTo>
                    <a:pt x="3" y="33"/>
                  </a:lnTo>
                  <a:lnTo>
                    <a:pt x="7" y="26"/>
                  </a:lnTo>
                  <a:lnTo>
                    <a:pt x="3" y="23"/>
                  </a:lnTo>
                  <a:lnTo>
                    <a:pt x="3" y="16"/>
                  </a:lnTo>
                  <a:lnTo>
                    <a:pt x="12" y="0"/>
                  </a:lnTo>
                  <a:lnTo>
                    <a:pt x="26" y="0"/>
                  </a:lnTo>
                  <a:lnTo>
                    <a:pt x="40" y="7"/>
                  </a:lnTo>
                  <a:lnTo>
                    <a:pt x="57" y="16"/>
                  </a:lnTo>
                  <a:lnTo>
                    <a:pt x="76" y="26"/>
                  </a:lnTo>
                  <a:lnTo>
                    <a:pt x="90" y="37"/>
                  </a:lnTo>
                  <a:lnTo>
                    <a:pt x="104" y="44"/>
                  </a:lnTo>
                  <a:lnTo>
                    <a:pt x="128" y="56"/>
                  </a:lnTo>
                  <a:lnTo>
                    <a:pt x="149" y="66"/>
                  </a:lnTo>
                  <a:lnTo>
                    <a:pt x="163" y="73"/>
                  </a:lnTo>
                  <a:lnTo>
                    <a:pt x="187" y="89"/>
                  </a:lnTo>
                  <a:lnTo>
                    <a:pt x="203" y="96"/>
                  </a:lnTo>
                  <a:lnTo>
                    <a:pt x="227" y="111"/>
                  </a:lnTo>
                  <a:lnTo>
                    <a:pt x="293" y="144"/>
                  </a:lnTo>
                  <a:lnTo>
                    <a:pt x="350" y="153"/>
                  </a:lnTo>
                  <a:lnTo>
                    <a:pt x="355" y="153"/>
                  </a:lnTo>
                  <a:lnTo>
                    <a:pt x="383" y="158"/>
                  </a:lnTo>
                  <a:lnTo>
                    <a:pt x="411" y="160"/>
                  </a:lnTo>
                  <a:lnTo>
                    <a:pt x="444" y="163"/>
                  </a:lnTo>
                  <a:lnTo>
                    <a:pt x="461" y="163"/>
                  </a:lnTo>
                  <a:lnTo>
                    <a:pt x="459" y="177"/>
                  </a:lnTo>
                  <a:lnTo>
                    <a:pt x="461" y="181"/>
                  </a:lnTo>
                  <a:lnTo>
                    <a:pt x="463" y="177"/>
                  </a:lnTo>
                  <a:lnTo>
                    <a:pt x="463" y="226"/>
                  </a:lnTo>
                  <a:lnTo>
                    <a:pt x="468" y="233"/>
                  </a:lnTo>
                  <a:lnTo>
                    <a:pt x="470" y="255"/>
                  </a:lnTo>
                  <a:lnTo>
                    <a:pt x="475" y="283"/>
                  </a:lnTo>
                  <a:lnTo>
                    <a:pt x="475" y="290"/>
                  </a:lnTo>
                  <a:lnTo>
                    <a:pt x="468" y="328"/>
                  </a:lnTo>
                  <a:lnTo>
                    <a:pt x="463" y="337"/>
                  </a:lnTo>
                  <a:lnTo>
                    <a:pt x="459" y="337"/>
                  </a:lnTo>
                  <a:lnTo>
                    <a:pt x="459" y="394"/>
                  </a:lnTo>
                  <a:lnTo>
                    <a:pt x="454" y="396"/>
                  </a:lnTo>
                  <a:lnTo>
                    <a:pt x="459" y="425"/>
                  </a:lnTo>
                  <a:lnTo>
                    <a:pt x="461" y="434"/>
                  </a:lnTo>
                  <a:lnTo>
                    <a:pt x="454" y="441"/>
                  </a:lnTo>
                  <a:lnTo>
                    <a:pt x="447" y="441"/>
                  </a:lnTo>
                  <a:lnTo>
                    <a:pt x="444" y="437"/>
                  </a:lnTo>
                  <a:lnTo>
                    <a:pt x="440" y="434"/>
                  </a:lnTo>
                  <a:lnTo>
                    <a:pt x="435" y="434"/>
                  </a:lnTo>
                  <a:lnTo>
                    <a:pt x="430" y="432"/>
                  </a:lnTo>
                  <a:lnTo>
                    <a:pt x="421" y="432"/>
                  </a:lnTo>
                  <a:lnTo>
                    <a:pt x="418" y="437"/>
                  </a:lnTo>
                  <a:lnTo>
                    <a:pt x="414" y="441"/>
                  </a:lnTo>
                  <a:lnTo>
                    <a:pt x="428" y="474"/>
                  </a:lnTo>
                  <a:lnTo>
                    <a:pt x="435" y="481"/>
                  </a:lnTo>
                  <a:lnTo>
                    <a:pt x="437" y="489"/>
                  </a:lnTo>
                  <a:lnTo>
                    <a:pt x="447" y="500"/>
                  </a:lnTo>
                  <a:lnTo>
                    <a:pt x="447" y="524"/>
                  </a:lnTo>
                  <a:lnTo>
                    <a:pt x="444" y="529"/>
                  </a:lnTo>
                  <a:lnTo>
                    <a:pt x="444" y="541"/>
                  </a:lnTo>
                  <a:lnTo>
                    <a:pt x="447" y="545"/>
                  </a:lnTo>
                  <a:lnTo>
                    <a:pt x="451" y="548"/>
                  </a:lnTo>
                  <a:lnTo>
                    <a:pt x="454" y="548"/>
                  </a:lnTo>
                  <a:lnTo>
                    <a:pt x="459" y="552"/>
                  </a:lnTo>
                  <a:lnTo>
                    <a:pt x="459" y="564"/>
                  </a:lnTo>
                  <a:lnTo>
                    <a:pt x="447" y="571"/>
                  </a:lnTo>
                  <a:lnTo>
                    <a:pt x="399" y="604"/>
                  </a:lnTo>
                  <a:lnTo>
                    <a:pt x="397" y="602"/>
                  </a:lnTo>
                  <a:lnTo>
                    <a:pt x="390" y="588"/>
                  </a:lnTo>
                  <a:lnTo>
                    <a:pt x="378" y="569"/>
                  </a:lnTo>
                  <a:lnTo>
                    <a:pt x="374" y="562"/>
                  </a:lnTo>
                  <a:lnTo>
                    <a:pt x="371" y="564"/>
                  </a:lnTo>
                  <a:lnTo>
                    <a:pt x="362" y="569"/>
                  </a:lnTo>
                  <a:lnTo>
                    <a:pt x="357" y="56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4" name="Freeform 239">
              <a:extLst>
                <a:ext uri="{FF2B5EF4-FFF2-40B4-BE49-F238E27FC236}">
                  <a16:creationId xmlns:a16="http://schemas.microsoft.com/office/drawing/2014/main" id="{AB9A2062-C9D6-4BAB-941C-2258D26608C5}"/>
                </a:ext>
              </a:extLst>
            </p:cNvPr>
            <p:cNvSpPr>
              <a:spLocks/>
            </p:cNvSpPr>
            <p:nvPr/>
          </p:nvSpPr>
          <p:spPr bwMode="gray">
            <a:xfrm rot="47099">
              <a:off x="1272603" y="3920292"/>
              <a:ext cx="138582" cy="165999"/>
            </a:xfrm>
            <a:custGeom>
              <a:avLst/>
              <a:gdLst>
                <a:gd name="T0" fmla="*/ 213 w 298"/>
                <a:gd name="T1" fmla="*/ 274 h 357"/>
                <a:gd name="T2" fmla="*/ 187 w 298"/>
                <a:gd name="T3" fmla="*/ 250 h 357"/>
                <a:gd name="T4" fmla="*/ 170 w 298"/>
                <a:gd name="T5" fmla="*/ 236 h 357"/>
                <a:gd name="T6" fmla="*/ 161 w 298"/>
                <a:gd name="T7" fmla="*/ 246 h 357"/>
                <a:gd name="T8" fmla="*/ 139 w 298"/>
                <a:gd name="T9" fmla="*/ 260 h 357"/>
                <a:gd name="T10" fmla="*/ 128 w 298"/>
                <a:gd name="T11" fmla="*/ 276 h 357"/>
                <a:gd name="T12" fmla="*/ 132 w 298"/>
                <a:gd name="T13" fmla="*/ 295 h 357"/>
                <a:gd name="T14" fmla="*/ 137 w 298"/>
                <a:gd name="T15" fmla="*/ 310 h 357"/>
                <a:gd name="T16" fmla="*/ 137 w 298"/>
                <a:gd name="T17" fmla="*/ 326 h 357"/>
                <a:gd name="T18" fmla="*/ 111 w 298"/>
                <a:gd name="T19" fmla="*/ 333 h 357"/>
                <a:gd name="T20" fmla="*/ 104 w 298"/>
                <a:gd name="T21" fmla="*/ 357 h 357"/>
                <a:gd name="T22" fmla="*/ 47 w 298"/>
                <a:gd name="T23" fmla="*/ 333 h 357"/>
                <a:gd name="T24" fmla="*/ 66 w 298"/>
                <a:gd name="T25" fmla="*/ 291 h 357"/>
                <a:gd name="T26" fmla="*/ 92 w 298"/>
                <a:gd name="T27" fmla="*/ 276 h 357"/>
                <a:gd name="T28" fmla="*/ 106 w 298"/>
                <a:gd name="T29" fmla="*/ 250 h 357"/>
                <a:gd name="T30" fmla="*/ 73 w 298"/>
                <a:gd name="T31" fmla="*/ 255 h 357"/>
                <a:gd name="T32" fmla="*/ 52 w 298"/>
                <a:gd name="T33" fmla="*/ 260 h 357"/>
                <a:gd name="T34" fmla="*/ 59 w 298"/>
                <a:gd name="T35" fmla="*/ 234 h 357"/>
                <a:gd name="T36" fmla="*/ 47 w 298"/>
                <a:gd name="T37" fmla="*/ 227 h 357"/>
                <a:gd name="T38" fmla="*/ 40 w 298"/>
                <a:gd name="T39" fmla="*/ 253 h 357"/>
                <a:gd name="T40" fmla="*/ 47 w 298"/>
                <a:gd name="T41" fmla="*/ 215 h 357"/>
                <a:gd name="T42" fmla="*/ 26 w 298"/>
                <a:gd name="T43" fmla="*/ 220 h 357"/>
                <a:gd name="T44" fmla="*/ 26 w 298"/>
                <a:gd name="T45" fmla="*/ 239 h 357"/>
                <a:gd name="T46" fmla="*/ 0 w 298"/>
                <a:gd name="T47" fmla="*/ 246 h 357"/>
                <a:gd name="T48" fmla="*/ 10 w 298"/>
                <a:gd name="T49" fmla="*/ 213 h 357"/>
                <a:gd name="T50" fmla="*/ 19 w 298"/>
                <a:gd name="T51" fmla="*/ 165 h 357"/>
                <a:gd name="T52" fmla="*/ 31 w 298"/>
                <a:gd name="T53" fmla="*/ 137 h 357"/>
                <a:gd name="T54" fmla="*/ 43 w 298"/>
                <a:gd name="T55" fmla="*/ 118 h 357"/>
                <a:gd name="T56" fmla="*/ 66 w 298"/>
                <a:gd name="T57" fmla="*/ 78 h 357"/>
                <a:gd name="T58" fmla="*/ 121 w 298"/>
                <a:gd name="T59" fmla="*/ 59 h 357"/>
                <a:gd name="T60" fmla="*/ 147 w 298"/>
                <a:gd name="T61" fmla="*/ 2 h 357"/>
                <a:gd name="T62" fmla="*/ 210 w 298"/>
                <a:gd name="T63" fmla="*/ 10 h 357"/>
                <a:gd name="T64" fmla="*/ 220 w 298"/>
                <a:gd name="T65" fmla="*/ 19 h 357"/>
                <a:gd name="T66" fmla="*/ 236 w 298"/>
                <a:gd name="T67" fmla="*/ 35 h 357"/>
                <a:gd name="T68" fmla="*/ 265 w 298"/>
                <a:gd name="T69" fmla="*/ 28 h 357"/>
                <a:gd name="T70" fmla="*/ 284 w 298"/>
                <a:gd name="T71" fmla="*/ 50 h 357"/>
                <a:gd name="T72" fmla="*/ 293 w 298"/>
                <a:gd name="T73" fmla="*/ 57 h 357"/>
                <a:gd name="T74" fmla="*/ 281 w 298"/>
                <a:gd name="T75" fmla="*/ 69 h 357"/>
                <a:gd name="T76" fmla="*/ 274 w 298"/>
                <a:gd name="T77" fmla="*/ 83 h 357"/>
                <a:gd name="T78" fmla="*/ 241 w 298"/>
                <a:gd name="T79" fmla="*/ 116 h 357"/>
                <a:gd name="T80" fmla="*/ 213 w 298"/>
                <a:gd name="T81" fmla="*/ 137 h 357"/>
                <a:gd name="T82" fmla="*/ 201 w 298"/>
                <a:gd name="T83" fmla="*/ 149 h 357"/>
                <a:gd name="T84" fmla="*/ 187 w 298"/>
                <a:gd name="T85" fmla="*/ 156 h 357"/>
                <a:gd name="T86" fmla="*/ 177 w 298"/>
                <a:gd name="T87" fmla="*/ 170 h 357"/>
                <a:gd name="T88" fmla="*/ 184 w 298"/>
                <a:gd name="T89" fmla="*/ 199 h 357"/>
                <a:gd name="T90" fmla="*/ 201 w 298"/>
                <a:gd name="T91" fmla="*/ 220 h 357"/>
                <a:gd name="T92" fmla="*/ 208 w 298"/>
                <a:gd name="T93" fmla="*/ 234 h 357"/>
                <a:gd name="T94" fmla="*/ 225 w 298"/>
                <a:gd name="T95" fmla="*/ 229 h 357"/>
                <a:gd name="T96" fmla="*/ 250 w 298"/>
                <a:gd name="T97" fmla="*/ 227 h 357"/>
                <a:gd name="T98" fmla="*/ 258 w 298"/>
                <a:gd name="T99" fmla="*/ 236 h 357"/>
                <a:gd name="T100" fmla="*/ 253 w 298"/>
                <a:gd name="T101" fmla="*/ 262 h 357"/>
                <a:gd name="T102" fmla="*/ 234 w 298"/>
                <a:gd name="T103" fmla="*/ 291 h 3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8"/>
                <a:gd name="T157" fmla="*/ 0 h 357"/>
                <a:gd name="T158" fmla="*/ 298 w 298"/>
                <a:gd name="T159" fmla="*/ 357 h 35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8" h="357">
                  <a:moveTo>
                    <a:pt x="234" y="291"/>
                  </a:moveTo>
                  <a:lnTo>
                    <a:pt x="234" y="286"/>
                  </a:lnTo>
                  <a:lnTo>
                    <a:pt x="217" y="276"/>
                  </a:lnTo>
                  <a:lnTo>
                    <a:pt x="213" y="274"/>
                  </a:lnTo>
                  <a:lnTo>
                    <a:pt x="208" y="274"/>
                  </a:lnTo>
                  <a:lnTo>
                    <a:pt x="196" y="262"/>
                  </a:lnTo>
                  <a:lnTo>
                    <a:pt x="194" y="253"/>
                  </a:lnTo>
                  <a:lnTo>
                    <a:pt x="187" y="250"/>
                  </a:lnTo>
                  <a:lnTo>
                    <a:pt x="184" y="246"/>
                  </a:lnTo>
                  <a:lnTo>
                    <a:pt x="177" y="243"/>
                  </a:lnTo>
                  <a:lnTo>
                    <a:pt x="170" y="234"/>
                  </a:lnTo>
                  <a:lnTo>
                    <a:pt x="170" y="236"/>
                  </a:lnTo>
                  <a:lnTo>
                    <a:pt x="163" y="236"/>
                  </a:lnTo>
                  <a:lnTo>
                    <a:pt x="163" y="239"/>
                  </a:lnTo>
                  <a:lnTo>
                    <a:pt x="161" y="243"/>
                  </a:lnTo>
                  <a:lnTo>
                    <a:pt x="161" y="246"/>
                  </a:lnTo>
                  <a:lnTo>
                    <a:pt x="147" y="246"/>
                  </a:lnTo>
                  <a:lnTo>
                    <a:pt x="144" y="250"/>
                  </a:lnTo>
                  <a:lnTo>
                    <a:pt x="139" y="253"/>
                  </a:lnTo>
                  <a:lnTo>
                    <a:pt x="139" y="260"/>
                  </a:lnTo>
                  <a:lnTo>
                    <a:pt x="137" y="267"/>
                  </a:lnTo>
                  <a:lnTo>
                    <a:pt x="132" y="269"/>
                  </a:lnTo>
                  <a:lnTo>
                    <a:pt x="130" y="269"/>
                  </a:lnTo>
                  <a:lnTo>
                    <a:pt x="128" y="276"/>
                  </a:lnTo>
                  <a:lnTo>
                    <a:pt x="123" y="279"/>
                  </a:lnTo>
                  <a:lnTo>
                    <a:pt x="123" y="291"/>
                  </a:lnTo>
                  <a:lnTo>
                    <a:pt x="128" y="293"/>
                  </a:lnTo>
                  <a:lnTo>
                    <a:pt x="132" y="295"/>
                  </a:lnTo>
                  <a:lnTo>
                    <a:pt x="130" y="300"/>
                  </a:lnTo>
                  <a:lnTo>
                    <a:pt x="130" y="307"/>
                  </a:lnTo>
                  <a:lnTo>
                    <a:pt x="132" y="310"/>
                  </a:lnTo>
                  <a:lnTo>
                    <a:pt x="137" y="310"/>
                  </a:lnTo>
                  <a:lnTo>
                    <a:pt x="139" y="312"/>
                  </a:lnTo>
                  <a:lnTo>
                    <a:pt x="139" y="324"/>
                  </a:lnTo>
                  <a:lnTo>
                    <a:pt x="137" y="324"/>
                  </a:lnTo>
                  <a:lnTo>
                    <a:pt x="137" y="326"/>
                  </a:lnTo>
                  <a:lnTo>
                    <a:pt x="130" y="331"/>
                  </a:lnTo>
                  <a:lnTo>
                    <a:pt x="123" y="333"/>
                  </a:lnTo>
                  <a:lnTo>
                    <a:pt x="113" y="336"/>
                  </a:lnTo>
                  <a:lnTo>
                    <a:pt x="111" y="333"/>
                  </a:lnTo>
                  <a:lnTo>
                    <a:pt x="106" y="333"/>
                  </a:lnTo>
                  <a:lnTo>
                    <a:pt x="106" y="336"/>
                  </a:lnTo>
                  <a:lnTo>
                    <a:pt x="104" y="336"/>
                  </a:lnTo>
                  <a:lnTo>
                    <a:pt x="104" y="357"/>
                  </a:lnTo>
                  <a:lnTo>
                    <a:pt x="64" y="343"/>
                  </a:lnTo>
                  <a:lnTo>
                    <a:pt x="57" y="340"/>
                  </a:lnTo>
                  <a:lnTo>
                    <a:pt x="50" y="336"/>
                  </a:lnTo>
                  <a:lnTo>
                    <a:pt x="47" y="333"/>
                  </a:lnTo>
                  <a:lnTo>
                    <a:pt x="50" y="324"/>
                  </a:lnTo>
                  <a:lnTo>
                    <a:pt x="57" y="317"/>
                  </a:lnTo>
                  <a:lnTo>
                    <a:pt x="66" y="307"/>
                  </a:lnTo>
                  <a:lnTo>
                    <a:pt x="66" y="291"/>
                  </a:lnTo>
                  <a:lnTo>
                    <a:pt x="76" y="276"/>
                  </a:lnTo>
                  <a:lnTo>
                    <a:pt x="87" y="274"/>
                  </a:lnTo>
                  <a:lnTo>
                    <a:pt x="90" y="276"/>
                  </a:lnTo>
                  <a:lnTo>
                    <a:pt x="92" y="276"/>
                  </a:lnTo>
                  <a:lnTo>
                    <a:pt x="97" y="274"/>
                  </a:lnTo>
                  <a:lnTo>
                    <a:pt x="99" y="274"/>
                  </a:lnTo>
                  <a:lnTo>
                    <a:pt x="104" y="262"/>
                  </a:lnTo>
                  <a:lnTo>
                    <a:pt x="106" y="250"/>
                  </a:lnTo>
                  <a:lnTo>
                    <a:pt x="97" y="239"/>
                  </a:lnTo>
                  <a:lnTo>
                    <a:pt x="80" y="227"/>
                  </a:lnTo>
                  <a:lnTo>
                    <a:pt x="80" y="246"/>
                  </a:lnTo>
                  <a:lnTo>
                    <a:pt x="73" y="255"/>
                  </a:lnTo>
                  <a:lnTo>
                    <a:pt x="71" y="260"/>
                  </a:lnTo>
                  <a:lnTo>
                    <a:pt x="64" y="262"/>
                  </a:lnTo>
                  <a:lnTo>
                    <a:pt x="57" y="262"/>
                  </a:lnTo>
                  <a:lnTo>
                    <a:pt x="52" y="260"/>
                  </a:lnTo>
                  <a:lnTo>
                    <a:pt x="52" y="246"/>
                  </a:lnTo>
                  <a:lnTo>
                    <a:pt x="57" y="239"/>
                  </a:lnTo>
                  <a:lnTo>
                    <a:pt x="57" y="234"/>
                  </a:lnTo>
                  <a:lnTo>
                    <a:pt x="59" y="234"/>
                  </a:lnTo>
                  <a:lnTo>
                    <a:pt x="59" y="227"/>
                  </a:lnTo>
                  <a:lnTo>
                    <a:pt x="57" y="220"/>
                  </a:lnTo>
                  <a:lnTo>
                    <a:pt x="50" y="220"/>
                  </a:lnTo>
                  <a:lnTo>
                    <a:pt x="47" y="227"/>
                  </a:lnTo>
                  <a:lnTo>
                    <a:pt x="47" y="236"/>
                  </a:lnTo>
                  <a:lnTo>
                    <a:pt x="43" y="246"/>
                  </a:lnTo>
                  <a:lnTo>
                    <a:pt x="40" y="250"/>
                  </a:lnTo>
                  <a:lnTo>
                    <a:pt x="40" y="253"/>
                  </a:lnTo>
                  <a:lnTo>
                    <a:pt x="36" y="229"/>
                  </a:lnTo>
                  <a:lnTo>
                    <a:pt x="40" y="220"/>
                  </a:lnTo>
                  <a:lnTo>
                    <a:pt x="43" y="215"/>
                  </a:lnTo>
                  <a:lnTo>
                    <a:pt x="47" y="215"/>
                  </a:lnTo>
                  <a:lnTo>
                    <a:pt x="47" y="206"/>
                  </a:lnTo>
                  <a:lnTo>
                    <a:pt x="31" y="203"/>
                  </a:lnTo>
                  <a:lnTo>
                    <a:pt x="31" y="213"/>
                  </a:lnTo>
                  <a:lnTo>
                    <a:pt x="26" y="220"/>
                  </a:lnTo>
                  <a:lnTo>
                    <a:pt x="33" y="222"/>
                  </a:lnTo>
                  <a:lnTo>
                    <a:pt x="36" y="227"/>
                  </a:lnTo>
                  <a:lnTo>
                    <a:pt x="33" y="236"/>
                  </a:lnTo>
                  <a:lnTo>
                    <a:pt x="26" y="239"/>
                  </a:lnTo>
                  <a:lnTo>
                    <a:pt x="17" y="239"/>
                  </a:lnTo>
                  <a:lnTo>
                    <a:pt x="7" y="243"/>
                  </a:lnTo>
                  <a:lnTo>
                    <a:pt x="2" y="243"/>
                  </a:lnTo>
                  <a:lnTo>
                    <a:pt x="0" y="246"/>
                  </a:lnTo>
                  <a:lnTo>
                    <a:pt x="2" y="239"/>
                  </a:lnTo>
                  <a:lnTo>
                    <a:pt x="7" y="234"/>
                  </a:lnTo>
                  <a:lnTo>
                    <a:pt x="7" y="229"/>
                  </a:lnTo>
                  <a:lnTo>
                    <a:pt x="10" y="213"/>
                  </a:lnTo>
                  <a:lnTo>
                    <a:pt x="10" y="199"/>
                  </a:lnTo>
                  <a:lnTo>
                    <a:pt x="14" y="180"/>
                  </a:lnTo>
                  <a:lnTo>
                    <a:pt x="14" y="173"/>
                  </a:lnTo>
                  <a:lnTo>
                    <a:pt x="19" y="165"/>
                  </a:lnTo>
                  <a:lnTo>
                    <a:pt x="24" y="163"/>
                  </a:lnTo>
                  <a:lnTo>
                    <a:pt x="24" y="142"/>
                  </a:lnTo>
                  <a:lnTo>
                    <a:pt x="26" y="139"/>
                  </a:lnTo>
                  <a:lnTo>
                    <a:pt x="31" y="137"/>
                  </a:lnTo>
                  <a:lnTo>
                    <a:pt x="36" y="132"/>
                  </a:lnTo>
                  <a:lnTo>
                    <a:pt x="47" y="125"/>
                  </a:lnTo>
                  <a:lnTo>
                    <a:pt x="47" y="118"/>
                  </a:lnTo>
                  <a:lnTo>
                    <a:pt x="43" y="118"/>
                  </a:lnTo>
                  <a:lnTo>
                    <a:pt x="43" y="106"/>
                  </a:lnTo>
                  <a:lnTo>
                    <a:pt x="47" y="90"/>
                  </a:lnTo>
                  <a:lnTo>
                    <a:pt x="52" y="85"/>
                  </a:lnTo>
                  <a:lnTo>
                    <a:pt x="66" y="78"/>
                  </a:lnTo>
                  <a:lnTo>
                    <a:pt x="66" y="73"/>
                  </a:lnTo>
                  <a:lnTo>
                    <a:pt x="97" y="57"/>
                  </a:lnTo>
                  <a:lnTo>
                    <a:pt x="111" y="57"/>
                  </a:lnTo>
                  <a:lnTo>
                    <a:pt x="121" y="59"/>
                  </a:lnTo>
                  <a:lnTo>
                    <a:pt x="156" y="59"/>
                  </a:lnTo>
                  <a:lnTo>
                    <a:pt x="161" y="28"/>
                  </a:lnTo>
                  <a:lnTo>
                    <a:pt x="161" y="26"/>
                  </a:lnTo>
                  <a:lnTo>
                    <a:pt x="147" y="2"/>
                  </a:lnTo>
                  <a:lnTo>
                    <a:pt x="147" y="0"/>
                  </a:lnTo>
                  <a:lnTo>
                    <a:pt x="180" y="0"/>
                  </a:lnTo>
                  <a:lnTo>
                    <a:pt x="208" y="5"/>
                  </a:lnTo>
                  <a:lnTo>
                    <a:pt x="210" y="10"/>
                  </a:lnTo>
                  <a:lnTo>
                    <a:pt x="213" y="10"/>
                  </a:lnTo>
                  <a:lnTo>
                    <a:pt x="217" y="12"/>
                  </a:lnTo>
                  <a:lnTo>
                    <a:pt x="220" y="17"/>
                  </a:lnTo>
                  <a:lnTo>
                    <a:pt x="220" y="19"/>
                  </a:lnTo>
                  <a:lnTo>
                    <a:pt x="229" y="21"/>
                  </a:lnTo>
                  <a:lnTo>
                    <a:pt x="234" y="26"/>
                  </a:lnTo>
                  <a:lnTo>
                    <a:pt x="234" y="33"/>
                  </a:lnTo>
                  <a:lnTo>
                    <a:pt x="236" y="35"/>
                  </a:lnTo>
                  <a:lnTo>
                    <a:pt x="243" y="35"/>
                  </a:lnTo>
                  <a:lnTo>
                    <a:pt x="253" y="33"/>
                  </a:lnTo>
                  <a:lnTo>
                    <a:pt x="260" y="28"/>
                  </a:lnTo>
                  <a:lnTo>
                    <a:pt x="265" y="28"/>
                  </a:lnTo>
                  <a:lnTo>
                    <a:pt x="267" y="33"/>
                  </a:lnTo>
                  <a:lnTo>
                    <a:pt x="269" y="38"/>
                  </a:lnTo>
                  <a:lnTo>
                    <a:pt x="276" y="45"/>
                  </a:lnTo>
                  <a:lnTo>
                    <a:pt x="284" y="50"/>
                  </a:lnTo>
                  <a:lnTo>
                    <a:pt x="293" y="50"/>
                  </a:lnTo>
                  <a:lnTo>
                    <a:pt x="298" y="52"/>
                  </a:lnTo>
                  <a:lnTo>
                    <a:pt x="298" y="57"/>
                  </a:lnTo>
                  <a:lnTo>
                    <a:pt x="293" y="57"/>
                  </a:lnTo>
                  <a:lnTo>
                    <a:pt x="291" y="59"/>
                  </a:lnTo>
                  <a:lnTo>
                    <a:pt x="286" y="61"/>
                  </a:lnTo>
                  <a:lnTo>
                    <a:pt x="284" y="66"/>
                  </a:lnTo>
                  <a:lnTo>
                    <a:pt x="281" y="69"/>
                  </a:lnTo>
                  <a:lnTo>
                    <a:pt x="281" y="73"/>
                  </a:lnTo>
                  <a:lnTo>
                    <a:pt x="276" y="76"/>
                  </a:lnTo>
                  <a:lnTo>
                    <a:pt x="276" y="78"/>
                  </a:lnTo>
                  <a:lnTo>
                    <a:pt x="274" y="83"/>
                  </a:lnTo>
                  <a:lnTo>
                    <a:pt x="269" y="90"/>
                  </a:lnTo>
                  <a:lnTo>
                    <a:pt x="267" y="92"/>
                  </a:lnTo>
                  <a:lnTo>
                    <a:pt x="248" y="109"/>
                  </a:lnTo>
                  <a:lnTo>
                    <a:pt x="241" y="116"/>
                  </a:lnTo>
                  <a:lnTo>
                    <a:pt x="236" y="118"/>
                  </a:lnTo>
                  <a:lnTo>
                    <a:pt x="225" y="130"/>
                  </a:lnTo>
                  <a:lnTo>
                    <a:pt x="217" y="137"/>
                  </a:lnTo>
                  <a:lnTo>
                    <a:pt x="213" y="137"/>
                  </a:lnTo>
                  <a:lnTo>
                    <a:pt x="210" y="139"/>
                  </a:lnTo>
                  <a:lnTo>
                    <a:pt x="203" y="142"/>
                  </a:lnTo>
                  <a:lnTo>
                    <a:pt x="203" y="149"/>
                  </a:lnTo>
                  <a:lnTo>
                    <a:pt x="201" y="149"/>
                  </a:lnTo>
                  <a:lnTo>
                    <a:pt x="196" y="154"/>
                  </a:lnTo>
                  <a:lnTo>
                    <a:pt x="194" y="154"/>
                  </a:lnTo>
                  <a:lnTo>
                    <a:pt x="194" y="156"/>
                  </a:lnTo>
                  <a:lnTo>
                    <a:pt x="187" y="156"/>
                  </a:lnTo>
                  <a:lnTo>
                    <a:pt x="180" y="158"/>
                  </a:lnTo>
                  <a:lnTo>
                    <a:pt x="177" y="165"/>
                  </a:lnTo>
                  <a:lnTo>
                    <a:pt x="173" y="170"/>
                  </a:lnTo>
                  <a:lnTo>
                    <a:pt x="177" y="170"/>
                  </a:lnTo>
                  <a:lnTo>
                    <a:pt x="177" y="173"/>
                  </a:lnTo>
                  <a:lnTo>
                    <a:pt x="180" y="180"/>
                  </a:lnTo>
                  <a:lnTo>
                    <a:pt x="180" y="189"/>
                  </a:lnTo>
                  <a:lnTo>
                    <a:pt x="184" y="199"/>
                  </a:lnTo>
                  <a:lnTo>
                    <a:pt x="187" y="203"/>
                  </a:lnTo>
                  <a:lnTo>
                    <a:pt x="187" y="206"/>
                  </a:lnTo>
                  <a:lnTo>
                    <a:pt x="196" y="215"/>
                  </a:lnTo>
                  <a:lnTo>
                    <a:pt x="201" y="220"/>
                  </a:lnTo>
                  <a:lnTo>
                    <a:pt x="203" y="222"/>
                  </a:lnTo>
                  <a:lnTo>
                    <a:pt x="203" y="227"/>
                  </a:lnTo>
                  <a:lnTo>
                    <a:pt x="208" y="229"/>
                  </a:lnTo>
                  <a:lnTo>
                    <a:pt x="208" y="234"/>
                  </a:lnTo>
                  <a:lnTo>
                    <a:pt x="213" y="234"/>
                  </a:lnTo>
                  <a:lnTo>
                    <a:pt x="220" y="236"/>
                  </a:lnTo>
                  <a:lnTo>
                    <a:pt x="225" y="234"/>
                  </a:lnTo>
                  <a:lnTo>
                    <a:pt x="225" y="229"/>
                  </a:lnTo>
                  <a:lnTo>
                    <a:pt x="227" y="229"/>
                  </a:lnTo>
                  <a:lnTo>
                    <a:pt x="229" y="222"/>
                  </a:lnTo>
                  <a:lnTo>
                    <a:pt x="250" y="222"/>
                  </a:lnTo>
                  <a:lnTo>
                    <a:pt x="250" y="227"/>
                  </a:lnTo>
                  <a:lnTo>
                    <a:pt x="253" y="227"/>
                  </a:lnTo>
                  <a:lnTo>
                    <a:pt x="253" y="229"/>
                  </a:lnTo>
                  <a:lnTo>
                    <a:pt x="258" y="234"/>
                  </a:lnTo>
                  <a:lnTo>
                    <a:pt x="258" y="236"/>
                  </a:lnTo>
                  <a:lnTo>
                    <a:pt x="253" y="239"/>
                  </a:lnTo>
                  <a:lnTo>
                    <a:pt x="250" y="243"/>
                  </a:lnTo>
                  <a:lnTo>
                    <a:pt x="250" y="255"/>
                  </a:lnTo>
                  <a:lnTo>
                    <a:pt x="253" y="262"/>
                  </a:lnTo>
                  <a:lnTo>
                    <a:pt x="253" y="269"/>
                  </a:lnTo>
                  <a:lnTo>
                    <a:pt x="243" y="279"/>
                  </a:lnTo>
                  <a:lnTo>
                    <a:pt x="236" y="291"/>
                  </a:lnTo>
                  <a:lnTo>
                    <a:pt x="234" y="29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5" name="Freeform 240">
              <a:extLst>
                <a:ext uri="{FF2B5EF4-FFF2-40B4-BE49-F238E27FC236}">
                  <a16:creationId xmlns:a16="http://schemas.microsoft.com/office/drawing/2014/main" id="{C53EBEA6-DD35-46BD-8043-836A8F93186E}"/>
                </a:ext>
              </a:extLst>
            </p:cNvPr>
            <p:cNvSpPr>
              <a:spLocks/>
            </p:cNvSpPr>
            <p:nvPr/>
          </p:nvSpPr>
          <p:spPr bwMode="gray">
            <a:xfrm rot="47099">
              <a:off x="1352913" y="3945673"/>
              <a:ext cx="153462" cy="137169"/>
            </a:xfrm>
            <a:custGeom>
              <a:avLst/>
              <a:gdLst>
                <a:gd name="T0" fmla="*/ 314 w 330"/>
                <a:gd name="T1" fmla="*/ 281 h 295"/>
                <a:gd name="T2" fmla="*/ 295 w 330"/>
                <a:gd name="T3" fmla="*/ 295 h 295"/>
                <a:gd name="T4" fmla="*/ 281 w 330"/>
                <a:gd name="T5" fmla="*/ 288 h 295"/>
                <a:gd name="T6" fmla="*/ 278 w 330"/>
                <a:gd name="T7" fmla="*/ 288 h 295"/>
                <a:gd name="T8" fmla="*/ 262 w 330"/>
                <a:gd name="T9" fmla="*/ 255 h 295"/>
                <a:gd name="T10" fmla="*/ 245 w 330"/>
                <a:gd name="T11" fmla="*/ 265 h 295"/>
                <a:gd name="T12" fmla="*/ 229 w 330"/>
                <a:gd name="T13" fmla="*/ 274 h 295"/>
                <a:gd name="T14" fmla="*/ 222 w 330"/>
                <a:gd name="T15" fmla="*/ 265 h 295"/>
                <a:gd name="T16" fmla="*/ 212 w 330"/>
                <a:gd name="T17" fmla="*/ 274 h 295"/>
                <a:gd name="T18" fmla="*/ 184 w 330"/>
                <a:gd name="T19" fmla="*/ 265 h 295"/>
                <a:gd name="T20" fmla="*/ 174 w 330"/>
                <a:gd name="T21" fmla="*/ 258 h 295"/>
                <a:gd name="T22" fmla="*/ 153 w 330"/>
                <a:gd name="T23" fmla="*/ 258 h 295"/>
                <a:gd name="T24" fmla="*/ 134 w 330"/>
                <a:gd name="T25" fmla="*/ 267 h 295"/>
                <a:gd name="T26" fmla="*/ 120 w 330"/>
                <a:gd name="T27" fmla="*/ 258 h 295"/>
                <a:gd name="T28" fmla="*/ 108 w 330"/>
                <a:gd name="T29" fmla="*/ 248 h 295"/>
                <a:gd name="T30" fmla="*/ 87 w 330"/>
                <a:gd name="T31" fmla="*/ 241 h 295"/>
                <a:gd name="T32" fmla="*/ 63 w 330"/>
                <a:gd name="T33" fmla="*/ 239 h 295"/>
                <a:gd name="T34" fmla="*/ 80 w 330"/>
                <a:gd name="T35" fmla="*/ 210 h 295"/>
                <a:gd name="T36" fmla="*/ 80 w 330"/>
                <a:gd name="T37" fmla="*/ 187 h 295"/>
                <a:gd name="T38" fmla="*/ 80 w 330"/>
                <a:gd name="T39" fmla="*/ 177 h 295"/>
                <a:gd name="T40" fmla="*/ 77 w 330"/>
                <a:gd name="T41" fmla="*/ 170 h 295"/>
                <a:gd name="T42" fmla="*/ 52 w 330"/>
                <a:gd name="T43" fmla="*/ 177 h 295"/>
                <a:gd name="T44" fmla="*/ 40 w 330"/>
                <a:gd name="T45" fmla="*/ 182 h 295"/>
                <a:gd name="T46" fmla="*/ 30 w 330"/>
                <a:gd name="T47" fmla="*/ 175 h 295"/>
                <a:gd name="T48" fmla="*/ 23 w 330"/>
                <a:gd name="T49" fmla="*/ 163 h 295"/>
                <a:gd name="T50" fmla="*/ 11 w 330"/>
                <a:gd name="T51" fmla="*/ 147 h 295"/>
                <a:gd name="T52" fmla="*/ 4 w 330"/>
                <a:gd name="T53" fmla="*/ 121 h 295"/>
                <a:gd name="T54" fmla="*/ 4 w 330"/>
                <a:gd name="T55" fmla="*/ 113 h 295"/>
                <a:gd name="T56" fmla="*/ 21 w 330"/>
                <a:gd name="T57" fmla="*/ 104 h 295"/>
                <a:gd name="T58" fmla="*/ 28 w 330"/>
                <a:gd name="T59" fmla="*/ 97 h 295"/>
                <a:gd name="T60" fmla="*/ 37 w 330"/>
                <a:gd name="T61" fmla="*/ 87 h 295"/>
                <a:gd name="T62" fmla="*/ 52 w 330"/>
                <a:gd name="T63" fmla="*/ 78 h 295"/>
                <a:gd name="T64" fmla="*/ 75 w 330"/>
                <a:gd name="T65" fmla="*/ 57 h 295"/>
                <a:gd name="T66" fmla="*/ 101 w 330"/>
                <a:gd name="T67" fmla="*/ 31 h 295"/>
                <a:gd name="T68" fmla="*/ 108 w 330"/>
                <a:gd name="T69" fmla="*/ 21 h 295"/>
                <a:gd name="T70" fmla="*/ 113 w 330"/>
                <a:gd name="T71" fmla="*/ 9 h 295"/>
                <a:gd name="T72" fmla="*/ 125 w 330"/>
                <a:gd name="T73" fmla="*/ 5 h 295"/>
                <a:gd name="T74" fmla="*/ 134 w 330"/>
                <a:gd name="T75" fmla="*/ 9 h 295"/>
                <a:gd name="T76" fmla="*/ 144 w 330"/>
                <a:gd name="T77" fmla="*/ 24 h 295"/>
                <a:gd name="T78" fmla="*/ 144 w 330"/>
                <a:gd name="T79" fmla="*/ 54 h 295"/>
                <a:gd name="T80" fmla="*/ 158 w 330"/>
                <a:gd name="T81" fmla="*/ 78 h 295"/>
                <a:gd name="T82" fmla="*/ 158 w 330"/>
                <a:gd name="T83" fmla="*/ 104 h 295"/>
                <a:gd name="T84" fmla="*/ 158 w 330"/>
                <a:gd name="T85" fmla="*/ 118 h 295"/>
                <a:gd name="T86" fmla="*/ 165 w 330"/>
                <a:gd name="T87" fmla="*/ 118 h 295"/>
                <a:gd name="T88" fmla="*/ 184 w 330"/>
                <a:gd name="T89" fmla="*/ 128 h 295"/>
                <a:gd name="T90" fmla="*/ 200 w 330"/>
                <a:gd name="T91" fmla="*/ 142 h 295"/>
                <a:gd name="T92" fmla="*/ 193 w 330"/>
                <a:gd name="T93" fmla="*/ 147 h 295"/>
                <a:gd name="T94" fmla="*/ 193 w 330"/>
                <a:gd name="T95" fmla="*/ 158 h 295"/>
                <a:gd name="T96" fmla="*/ 217 w 330"/>
                <a:gd name="T97" fmla="*/ 168 h 295"/>
                <a:gd name="T98" fmla="*/ 231 w 330"/>
                <a:gd name="T99" fmla="*/ 168 h 295"/>
                <a:gd name="T100" fmla="*/ 250 w 330"/>
                <a:gd name="T101" fmla="*/ 177 h 295"/>
                <a:gd name="T102" fmla="*/ 257 w 330"/>
                <a:gd name="T103" fmla="*/ 184 h 295"/>
                <a:gd name="T104" fmla="*/ 274 w 330"/>
                <a:gd name="T105" fmla="*/ 191 h 295"/>
                <a:gd name="T106" fmla="*/ 309 w 330"/>
                <a:gd name="T107" fmla="*/ 187 h 295"/>
                <a:gd name="T108" fmla="*/ 328 w 330"/>
                <a:gd name="T109" fmla="*/ 198 h 295"/>
                <a:gd name="T110" fmla="*/ 330 w 330"/>
                <a:gd name="T111" fmla="*/ 208 h 295"/>
                <a:gd name="T112" fmla="*/ 318 w 330"/>
                <a:gd name="T113" fmla="*/ 224 h 295"/>
                <a:gd name="T114" fmla="*/ 311 w 330"/>
                <a:gd name="T115" fmla="*/ 227 h 295"/>
                <a:gd name="T116" fmla="*/ 321 w 330"/>
                <a:gd name="T117" fmla="*/ 239 h 295"/>
                <a:gd name="T118" fmla="*/ 314 w 330"/>
                <a:gd name="T119" fmla="*/ 250 h 295"/>
                <a:gd name="T120" fmla="*/ 309 w 330"/>
                <a:gd name="T121" fmla="*/ 260 h 295"/>
                <a:gd name="T122" fmla="*/ 318 w 330"/>
                <a:gd name="T123" fmla="*/ 279 h 29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0"/>
                <a:gd name="T187" fmla="*/ 0 h 295"/>
                <a:gd name="T188" fmla="*/ 330 w 330"/>
                <a:gd name="T189" fmla="*/ 295 h 29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0" h="295">
                  <a:moveTo>
                    <a:pt x="318" y="279"/>
                  </a:moveTo>
                  <a:lnTo>
                    <a:pt x="314" y="279"/>
                  </a:lnTo>
                  <a:lnTo>
                    <a:pt x="314" y="281"/>
                  </a:lnTo>
                  <a:lnTo>
                    <a:pt x="311" y="281"/>
                  </a:lnTo>
                  <a:lnTo>
                    <a:pt x="311" y="291"/>
                  </a:lnTo>
                  <a:lnTo>
                    <a:pt x="295" y="295"/>
                  </a:lnTo>
                  <a:lnTo>
                    <a:pt x="290" y="295"/>
                  </a:lnTo>
                  <a:lnTo>
                    <a:pt x="285" y="291"/>
                  </a:lnTo>
                  <a:lnTo>
                    <a:pt x="281" y="288"/>
                  </a:lnTo>
                  <a:lnTo>
                    <a:pt x="281" y="284"/>
                  </a:lnTo>
                  <a:lnTo>
                    <a:pt x="278" y="284"/>
                  </a:lnTo>
                  <a:lnTo>
                    <a:pt x="278" y="288"/>
                  </a:lnTo>
                  <a:lnTo>
                    <a:pt x="271" y="288"/>
                  </a:lnTo>
                  <a:lnTo>
                    <a:pt x="269" y="284"/>
                  </a:lnTo>
                  <a:lnTo>
                    <a:pt x="262" y="255"/>
                  </a:lnTo>
                  <a:lnTo>
                    <a:pt x="257" y="258"/>
                  </a:lnTo>
                  <a:lnTo>
                    <a:pt x="248" y="265"/>
                  </a:lnTo>
                  <a:lnTo>
                    <a:pt x="245" y="265"/>
                  </a:lnTo>
                  <a:lnTo>
                    <a:pt x="245" y="272"/>
                  </a:lnTo>
                  <a:lnTo>
                    <a:pt x="238" y="274"/>
                  </a:lnTo>
                  <a:lnTo>
                    <a:pt x="229" y="274"/>
                  </a:lnTo>
                  <a:lnTo>
                    <a:pt x="224" y="272"/>
                  </a:lnTo>
                  <a:lnTo>
                    <a:pt x="222" y="267"/>
                  </a:lnTo>
                  <a:lnTo>
                    <a:pt x="222" y="265"/>
                  </a:lnTo>
                  <a:lnTo>
                    <a:pt x="215" y="265"/>
                  </a:lnTo>
                  <a:lnTo>
                    <a:pt x="215" y="267"/>
                  </a:lnTo>
                  <a:lnTo>
                    <a:pt x="212" y="274"/>
                  </a:lnTo>
                  <a:lnTo>
                    <a:pt x="205" y="272"/>
                  </a:lnTo>
                  <a:lnTo>
                    <a:pt x="191" y="267"/>
                  </a:lnTo>
                  <a:lnTo>
                    <a:pt x="184" y="265"/>
                  </a:lnTo>
                  <a:lnTo>
                    <a:pt x="177" y="260"/>
                  </a:lnTo>
                  <a:lnTo>
                    <a:pt x="174" y="260"/>
                  </a:lnTo>
                  <a:lnTo>
                    <a:pt x="174" y="258"/>
                  </a:lnTo>
                  <a:lnTo>
                    <a:pt x="167" y="258"/>
                  </a:lnTo>
                  <a:lnTo>
                    <a:pt x="158" y="255"/>
                  </a:lnTo>
                  <a:lnTo>
                    <a:pt x="153" y="258"/>
                  </a:lnTo>
                  <a:lnTo>
                    <a:pt x="153" y="260"/>
                  </a:lnTo>
                  <a:lnTo>
                    <a:pt x="144" y="267"/>
                  </a:lnTo>
                  <a:lnTo>
                    <a:pt x="134" y="267"/>
                  </a:lnTo>
                  <a:lnTo>
                    <a:pt x="132" y="265"/>
                  </a:lnTo>
                  <a:lnTo>
                    <a:pt x="127" y="260"/>
                  </a:lnTo>
                  <a:lnTo>
                    <a:pt x="120" y="258"/>
                  </a:lnTo>
                  <a:lnTo>
                    <a:pt x="113" y="250"/>
                  </a:lnTo>
                  <a:lnTo>
                    <a:pt x="111" y="248"/>
                  </a:lnTo>
                  <a:lnTo>
                    <a:pt x="108" y="248"/>
                  </a:lnTo>
                  <a:lnTo>
                    <a:pt x="96" y="243"/>
                  </a:lnTo>
                  <a:lnTo>
                    <a:pt x="92" y="243"/>
                  </a:lnTo>
                  <a:lnTo>
                    <a:pt x="87" y="241"/>
                  </a:lnTo>
                  <a:lnTo>
                    <a:pt x="85" y="241"/>
                  </a:lnTo>
                  <a:lnTo>
                    <a:pt x="85" y="239"/>
                  </a:lnTo>
                  <a:lnTo>
                    <a:pt x="63" y="239"/>
                  </a:lnTo>
                  <a:lnTo>
                    <a:pt x="70" y="227"/>
                  </a:lnTo>
                  <a:lnTo>
                    <a:pt x="80" y="217"/>
                  </a:lnTo>
                  <a:lnTo>
                    <a:pt x="80" y="210"/>
                  </a:lnTo>
                  <a:lnTo>
                    <a:pt x="77" y="203"/>
                  </a:lnTo>
                  <a:lnTo>
                    <a:pt x="77" y="191"/>
                  </a:lnTo>
                  <a:lnTo>
                    <a:pt x="80" y="187"/>
                  </a:lnTo>
                  <a:lnTo>
                    <a:pt x="85" y="184"/>
                  </a:lnTo>
                  <a:lnTo>
                    <a:pt x="85" y="182"/>
                  </a:lnTo>
                  <a:lnTo>
                    <a:pt x="80" y="177"/>
                  </a:lnTo>
                  <a:lnTo>
                    <a:pt x="80" y="175"/>
                  </a:lnTo>
                  <a:lnTo>
                    <a:pt x="77" y="175"/>
                  </a:lnTo>
                  <a:lnTo>
                    <a:pt x="77" y="170"/>
                  </a:lnTo>
                  <a:lnTo>
                    <a:pt x="56" y="170"/>
                  </a:lnTo>
                  <a:lnTo>
                    <a:pt x="54" y="177"/>
                  </a:lnTo>
                  <a:lnTo>
                    <a:pt x="52" y="177"/>
                  </a:lnTo>
                  <a:lnTo>
                    <a:pt x="52" y="182"/>
                  </a:lnTo>
                  <a:lnTo>
                    <a:pt x="47" y="184"/>
                  </a:lnTo>
                  <a:lnTo>
                    <a:pt x="40" y="182"/>
                  </a:lnTo>
                  <a:lnTo>
                    <a:pt x="35" y="182"/>
                  </a:lnTo>
                  <a:lnTo>
                    <a:pt x="35" y="177"/>
                  </a:lnTo>
                  <a:lnTo>
                    <a:pt x="30" y="175"/>
                  </a:lnTo>
                  <a:lnTo>
                    <a:pt x="30" y="170"/>
                  </a:lnTo>
                  <a:lnTo>
                    <a:pt x="28" y="168"/>
                  </a:lnTo>
                  <a:lnTo>
                    <a:pt x="23" y="163"/>
                  </a:lnTo>
                  <a:lnTo>
                    <a:pt x="14" y="154"/>
                  </a:lnTo>
                  <a:lnTo>
                    <a:pt x="14" y="151"/>
                  </a:lnTo>
                  <a:lnTo>
                    <a:pt x="11" y="147"/>
                  </a:lnTo>
                  <a:lnTo>
                    <a:pt x="7" y="137"/>
                  </a:lnTo>
                  <a:lnTo>
                    <a:pt x="7" y="128"/>
                  </a:lnTo>
                  <a:lnTo>
                    <a:pt x="4" y="121"/>
                  </a:lnTo>
                  <a:lnTo>
                    <a:pt x="4" y="118"/>
                  </a:lnTo>
                  <a:lnTo>
                    <a:pt x="0" y="118"/>
                  </a:lnTo>
                  <a:lnTo>
                    <a:pt x="4" y="113"/>
                  </a:lnTo>
                  <a:lnTo>
                    <a:pt x="7" y="106"/>
                  </a:lnTo>
                  <a:lnTo>
                    <a:pt x="14" y="104"/>
                  </a:lnTo>
                  <a:lnTo>
                    <a:pt x="21" y="104"/>
                  </a:lnTo>
                  <a:lnTo>
                    <a:pt x="21" y="102"/>
                  </a:lnTo>
                  <a:lnTo>
                    <a:pt x="23" y="102"/>
                  </a:lnTo>
                  <a:lnTo>
                    <a:pt x="28" y="97"/>
                  </a:lnTo>
                  <a:lnTo>
                    <a:pt x="30" y="97"/>
                  </a:lnTo>
                  <a:lnTo>
                    <a:pt x="30" y="90"/>
                  </a:lnTo>
                  <a:lnTo>
                    <a:pt x="37" y="87"/>
                  </a:lnTo>
                  <a:lnTo>
                    <a:pt x="40" y="85"/>
                  </a:lnTo>
                  <a:lnTo>
                    <a:pt x="44" y="85"/>
                  </a:lnTo>
                  <a:lnTo>
                    <a:pt x="52" y="78"/>
                  </a:lnTo>
                  <a:lnTo>
                    <a:pt x="63" y="66"/>
                  </a:lnTo>
                  <a:lnTo>
                    <a:pt x="68" y="64"/>
                  </a:lnTo>
                  <a:lnTo>
                    <a:pt x="75" y="57"/>
                  </a:lnTo>
                  <a:lnTo>
                    <a:pt x="94" y="40"/>
                  </a:lnTo>
                  <a:lnTo>
                    <a:pt x="96" y="38"/>
                  </a:lnTo>
                  <a:lnTo>
                    <a:pt x="101" y="31"/>
                  </a:lnTo>
                  <a:lnTo>
                    <a:pt x="103" y="26"/>
                  </a:lnTo>
                  <a:lnTo>
                    <a:pt x="103" y="24"/>
                  </a:lnTo>
                  <a:lnTo>
                    <a:pt x="108" y="21"/>
                  </a:lnTo>
                  <a:lnTo>
                    <a:pt x="108" y="17"/>
                  </a:lnTo>
                  <a:lnTo>
                    <a:pt x="111" y="14"/>
                  </a:lnTo>
                  <a:lnTo>
                    <a:pt x="113" y="9"/>
                  </a:lnTo>
                  <a:lnTo>
                    <a:pt x="118" y="7"/>
                  </a:lnTo>
                  <a:lnTo>
                    <a:pt x="120" y="5"/>
                  </a:lnTo>
                  <a:lnTo>
                    <a:pt x="125" y="5"/>
                  </a:lnTo>
                  <a:lnTo>
                    <a:pt x="125" y="0"/>
                  </a:lnTo>
                  <a:lnTo>
                    <a:pt x="132" y="7"/>
                  </a:lnTo>
                  <a:lnTo>
                    <a:pt x="134" y="9"/>
                  </a:lnTo>
                  <a:lnTo>
                    <a:pt x="134" y="14"/>
                  </a:lnTo>
                  <a:lnTo>
                    <a:pt x="137" y="14"/>
                  </a:lnTo>
                  <a:lnTo>
                    <a:pt x="144" y="24"/>
                  </a:lnTo>
                  <a:lnTo>
                    <a:pt x="144" y="47"/>
                  </a:lnTo>
                  <a:lnTo>
                    <a:pt x="141" y="54"/>
                  </a:lnTo>
                  <a:lnTo>
                    <a:pt x="144" y="54"/>
                  </a:lnTo>
                  <a:lnTo>
                    <a:pt x="144" y="57"/>
                  </a:lnTo>
                  <a:lnTo>
                    <a:pt x="151" y="66"/>
                  </a:lnTo>
                  <a:lnTo>
                    <a:pt x="158" y="78"/>
                  </a:lnTo>
                  <a:lnTo>
                    <a:pt x="153" y="95"/>
                  </a:lnTo>
                  <a:lnTo>
                    <a:pt x="158" y="102"/>
                  </a:lnTo>
                  <a:lnTo>
                    <a:pt x="158" y="104"/>
                  </a:lnTo>
                  <a:lnTo>
                    <a:pt x="153" y="106"/>
                  </a:lnTo>
                  <a:lnTo>
                    <a:pt x="153" y="118"/>
                  </a:lnTo>
                  <a:lnTo>
                    <a:pt x="158" y="118"/>
                  </a:lnTo>
                  <a:lnTo>
                    <a:pt x="158" y="121"/>
                  </a:lnTo>
                  <a:lnTo>
                    <a:pt x="165" y="121"/>
                  </a:lnTo>
                  <a:lnTo>
                    <a:pt x="165" y="118"/>
                  </a:lnTo>
                  <a:lnTo>
                    <a:pt x="189" y="118"/>
                  </a:lnTo>
                  <a:lnTo>
                    <a:pt x="184" y="121"/>
                  </a:lnTo>
                  <a:lnTo>
                    <a:pt x="184" y="128"/>
                  </a:lnTo>
                  <a:lnTo>
                    <a:pt x="191" y="128"/>
                  </a:lnTo>
                  <a:lnTo>
                    <a:pt x="200" y="137"/>
                  </a:lnTo>
                  <a:lnTo>
                    <a:pt x="200" y="142"/>
                  </a:lnTo>
                  <a:lnTo>
                    <a:pt x="198" y="144"/>
                  </a:lnTo>
                  <a:lnTo>
                    <a:pt x="193" y="144"/>
                  </a:lnTo>
                  <a:lnTo>
                    <a:pt x="193" y="147"/>
                  </a:lnTo>
                  <a:lnTo>
                    <a:pt x="191" y="151"/>
                  </a:lnTo>
                  <a:lnTo>
                    <a:pt x="189" y="151"/>
                  </a:lnTo>
                  <a:lnTo>
                    <a:pt x="193" y="158"/>
                  </a:lnTo>
                  <a:lnTo>
                    <a:pt x="198" y="158"/>
                  </a:lnTo>
                  <a:lnTo>
                    <a:pt x="215" y="168"/>
                  </a:lnTo>
                  <a:lnTo>
                    <a:pt x="217" y="168"/>
                  </a:lnTo>
                  <a:lnTo>
                    <a:pt x="229" y="170"/>
                  </a:lnTo>
                  <a:lnTo>
                    <a:pt x="231" y="170"/>
                  </a:lnTo>
                  <a:lnTo>
                    <a:pt x="231" y="168"/>
                  </a:lnTo>
                  <a:lnTo>
                    <a:pt x="245" y="163"/>
                  </a:lnTo>
                  <a:lnTo>
                    <a:pt x="248" y="170"/>
                  </a:lnTo>
                  <a:lnTo>
                    <a:pt x="250" y="177"/>
                  </a:lnTo>
                  <a:lnTo>
                    <a:pt x="255" y="182"/>
                  </a:lnTo>
                  <a:lnTo>
                    <a:pt x="255" y="184"/>
                  </a:lnTo>
                  <a:lnTo>
                    <a:pt x="257" y="184"/>
                  </a:lnTo>
                  <a:lnTo>
                    <a:pt x="257" y="187"/>
                  </a:lnTo>
                  <a:lnTo>
                    <a:pt x="271" y="187"/>
                  </a:lnTo>
                  <a:lnTo>
                    <a:pt x="274" y="191"/>
                  </a:lnTo>
                  <a:lnTo>
                    <a:pt x="297" y="191"/>
                  </a:lnTo>
                  <a:lnTo>
                    <a:pt x="297" y="187"/>
                  </a:lnTo>
                  <a:lnTo>
                    <a:pt x="309" y="187"/>
                  </a:lnTo>
                  <a:lnTo>
                    <a:pt x="314" y="191"/>
                  </a:lnTo>
                  <a:lnTo>
                    <a:pt x="321" y="198"/>
                  </a:lnTo>
                  <a:lnTo>
                    <a:pt x="328" y="198"/>
                  </a:lnTo>
                  <a:lnTo>
                    <a:pt x="328" y="201"/>
                  </a:lnTo>
                  <a:lnTo>
                    <a:pt x="330" y="201"/>
                  </a:lnTo>
                  <a:lnTo>
                    <a:pt x="330" y="208"/>
                  </a:lnTo>
                  <a:lnTo>
                    <a:pt x="328" y="210"/>
                  </a:lnTo>
                  <a:lnTo>
                    <a:pt x="321" y="224"/>
                  </a:lnTo>
                  <a:lnTo>
                    <a:pt x="318" y="224"/>
                  </a:lnTo>
                  <a:lnTo>
                    <a:pt x="314" y="227"/>
                  </a:lnTo>
                  <a:lnTo>
                    <a:pt x="314" y="224"/>
                  </a:lnTo>
                  <a:lnTo>
                    <a:pt x="311" y="227"/>
                  </a:lnTo>
                  <a:lnTo>
                    <a:pt x="314" y="234"/>
                  </a:lnTo>
                  <a:lnTo>
                    <a:pt x="318" y="239"/>
                  </a:lnTo>
                  <a:lnTo>
                    <a:pt x="321" y="239"/>
                  </a:lnTo>
                  <a:lnTo>
                    <a:pt x="326" y="243"/>
                  </a:lnTo>
                  <a:lnTo>
                    <a:pt x="321" y="248"/>
                  </a:lnTo>
                  <a:lnTo>
                    <a:pt x="314" y="250"/>
                  </a:lnTo>
                  <a:lnTo>
                    <a:pt x="311" y="250"/>
                  </a:lnTo>
                  <a:lnTo>
                    <a:pt x="309" y="258"/>
                  </a:lnTo>
                  <a:lnTo>
                    <a:pt x="309" y="260"/>
                  </a:lnTo>
                  <a:lnTo>
                    <a:pt x="311" y="265"/>
                  </a:lnTo>
                  <a:lnTo>
                    <a:pt x="318" y="265"/>
                  </a:lnTo>
                  <a:lnTo>
                    <a:pt x="318" y="27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6" name="Freeform 241">
              <a:extLst>
                <a:ext uri="{FF2B5EF4-FFF2-40B4-BE49-F238E27FC236}">
                  <a16:creationId xmlns:a16="http://schemas.microsoft.com/office/drawing/2014/main" id="{BD5487DA-44EB-40C3-9176-BB39E2CA239A}"/>
                </a:ext>
              </a:extLst>
            </p:cNvPr>
            <p:cNvSpPr>
              <a:spLocks/>
            </p:cNvSpPr>
            <p:nvPr/>
          </p:nvSpPr>
          <p:spPr bwMode="gray">
            <a:xfrm rot="47099">
              <a:off x="1215584" y="4014095"/>
              <a:ext cx="165554" cy="154839"/>
            </a:xfrm>
            <a:custGeom>
              <a:avLst/>
              <a:gdLst>
                <a:gd name="T0" fmla="*/ 63 w 356"/>
                <a:gd name="T1" fmla="*/ 300 h 333"/>
                <a:gd name="T2" fmla="*/ 47 w 356"/>
                <a:gd name="T3" fmla="*/ 281 h 333"/>
                <a:gd name="T4" fmla="*/ 37 w 356"/>
                <a:gd name="T5" fmla="*/ 270 h 333"/>
                <a:gd name="T6" fmla="*/ 26 w 356"/>
                <a:gd name="T7" fmla="*/ 253 h 333"/>
                <a:gd name="T8" fmla="*/ 16 w 356"/>
                <a:gd name="T9" fmla="*/ 241 h 333"/>
                <a:gd name="T10" fmla="*/ 0 w 356"/>
                <a:gd name="T11" fmla="*/ 203 h 333"/>
                <a:gd name="T12" fmla="*/ 9 w 356"/>
                <a:gd name="T13" fmla="*/ 189 h 333"/>
                <a:gd name="T14" fmla="*/ 37 w 356"/>
                <a:gd name="T15" fmla="*/ 187 h 333"/>
                <a:gd name="T16" fmla="*/ 42 w 356"/>
                <a:gd name="T17" fmla="*/ 163 h 333"/>
                <a:gd name="T18" fmla="*/ 70 w 356"/>
                <a:gd name="T19" fmla="*/ 154 h 333"/>
                <a:gd name="T20" fmla="*/ 113 w 356"/>
                <a:gd name="T21" fmla="*/ 177 h 333"/>
                <a:gd name="T22" fmla="*/ 127 w 356"/>
                <a:gd name="T23" fmla="*/ 156 h 333"/>
                <a:gd name="T24" fmla="*/ 146 w 356"/>
                <a:gd name="T25" fmla="*/ 130 h 333"/>
                <a:gd name="T26" fmla="*/ 134 w 356"/>
                <a:gd name="T27" fmla="*/ 109 h 333"/>
                <a:gd name="T28" fmla="*/ 130 w 356"/>
                <a:gd name="T29" fmla="*/ 73 h 333"/>
                <a:gd name="T30" fmla="*/ 115 w 356"/>
                <a:gd name="T31" fmla="*/ 64 h 333"/>
                <a:gd name="T32" fmla="*/ 122 w 356"/>
                <a:gd name="T33" fmla="*/ 40 h 333"/>
                <a:gd name="T34" fmla="*/ 153 w 356"/>
                <a:gd name="T35" fmla="*/ 33 h 333"/>
                <a:gd name="T36" fmla="*/ 151 w 356"/>
                <a:gd name="T37" fmla="*/ 10 h 333"/>
                <a:gd name="T38" fmla="*/ 163 w 356"/>
                <a:gd name="T39" fmla="*/ 12 h 333"/>
                <a:gd name="T40" fmla="*/ 160 w 356"/>
                <a:gd name="T41" fmla="*/ 47 h 333"/>
                <a:gd name="T42" fmla="*/ 170 w 356"/>
                <a:gd name="T43" fmla="*/ 17 h 333"/>
                <a:gd name="T44" fmla="*/ 177 w 356"/>
                <a:gd name="T45" fmla="*/ 31 h 333"/>
                <a:gd name="T46" fmla="*/ 177 w 356"/>
                <a:gd name="T47" fmla="*/ 59 h 333"/>
                <a:gd name="T48" fmla="*/ 200 w 356"/>
                <a:gd name="T49" fmla="*/ 43 h 333"/>
                <a:gd name="T50" fmla="*/ 224 w 356"/>
                <a:gd name="T51" fmla="*/ 59 h 333"/>
                <a:gd name="T52" fmla="*/ 210 w 356"/>
                <a:gd name="T53" fmla="*/ 73 h 333"/>
                <a:gd name="T54" fmla="*/ 186 w 356"/>
                <a:gd name="T55" fmla="*/ 104 h 333"/>
                <a:gd name="T56" fmla="*/ 170 w 356"/>
                <a:gd name="T57" fmla="*/ 133 h 333"/>
                <a:gd name="T58" fmla="*/ 224 w 356"/>
                <a:gd name="T59" fmla="*/ 133 h 333"/>
                <a:gd name="T60" fmla="*/ 233 w 356"/>
                <a:gd name="T61" fmla="*/ 133 h 333"/>
                <a:gd name="T62" fmla="*/ 257 w 356"/>
                <a:gd name="T63" fmla="*/ 121 h 333"/>
                <a:gd name="T64" fmla="*/ 252 w 356"/>
                <a:gd name="T65" fmla="*/ 107 h 333"/>
                <a:gd name="T66" fmla="*/ 257 w 356"/>
                <a:gd name="T67" fmla="*/ 90 h 333"/>
                <a:gd name="T68" fmla="*/ 267 w 356"/>
                <a:gd name="T69" fmla="*/ 97 h 333"/>
                <a:gd name="T70" fmla="*/ 293 w 356"/>
                <a:gd name="T71" fmla="*/ 104 h 333"/>
                <a:gd name="T72" fmla="*/ 307 w 356"/>
                <a:gd name="T73" fmla="*/ 92 h 333"/>
                <a:gd name="T74" fmla="*/ 330 w 356"/>
                <a:gd name="T75" fmla="*/ 71 h 333"/>
                <a:gd name="T76" fmla="*/ 356 w 356"/>
                <a:gd name="T77" fmla="*/ 88 h 333"/>
                <a:gd name="T78" fmla="*/ 354 w 356"/>
                <a:gd name="T79" fmla="*/ 107 h 333"/>
                <a:gd name="T80" fmla="*/ 349 w 356"/>
                <a:gd name="T81" fmla="*/ 128 h 333"/>
                <a:gd name="T82" fmla="*/ 337 w 356"/>
                <a:gd name="T83" fmla="*/ 144 h 333"/>
                <a:gd name="T84" fmla="*/ 307 w 356"/>
                <a:gd name="T85" fmla="*/ 177 h 333"/>
                <a:gd name="T86" fmla="*/ 316 w 356"/>
                <a:gd name="T87" fmla="*/ 196 h 333"/>
                <a:gd name="T88" fmla="*/ 307 w 356"/>
                <a:gd name="T89" fmla="*/ 203 h 333"/>
                <a:gd name="T90" fmla="*/ 300 w 356"/>
                <a:gd name="T91" fmla="*/ 218 h 333"/>
                <a:gd name="T92" fmla="*/ 271 w 356"/>
                <a:gd name="T93" fmla="*/ 218 h 333"/>
                <a:gd name="T94" fmla="*/ 233 w 356"/>
                <a:gd name="T95" fmla="*/ 229 h 333"/>
                <a:gd name="T96" fmla="*/ 219 w 356"/>
                <a:gd name="T97" fmla="*/ 244 h 333"/>
                <a:gd name="T98" fmla="*/ 233 w 356"/>
                <a:gd name="T99" fmla="*/ 251 h 333"/>
                <a:gd name="T100" fmla="*/ 243 w 356"/>
                <a:gd name="T101" fmla="*/ 267 h 333"/>
                <a:gd name="T102" fmla="*/ 248 w 356"/>
                <a:gd name="T103" fmla="*/ 281 h 333"/>
                <a:gd name="T104" fmla="*/ 259 w 356"/>
                <a:gd name="T105" fmla="*/ 300 h 333"/>
                <a:gd name="T106" fmla="*/ 248 w 356"/>
                <a:gd name="T107" fmla="*/ 310 h 333"/>
                <a:gd name="T108" fmla="*/ 226 w 356"/>
                <a:gd name="T109" fmla="*/ 317 h 333"/>
                <a:gd name="T110" fmla="*/ 207 w 356"/>
                <a:gd name="T111" fmla="*/ 331 h 333"/>
                <a:gd name="T112" fmla="*/ 196 w 356"/>
                <a:gd name="T113" fmla="*/ 333 h 333"/>
                <a:gd name="T114" fmla="*/ 163 w 356"/>
                <a:gd name="T115" fmla="*/ 291 h 333"/>
                <a:gd name="T116" fmla="*/ 139 w 356"/>
                <a:gd name="T117" fmla="*/ 286 h 333"/>
                <a:gd name="T118" fmla="*/ 127 w 356"/>
                <a:gd name="T119" fmla="*/ 286 h 333"/>
                <a:gd name="T120" fmla="*/ 113 w 356"/>
                <a:gd name="T121" fmla="*/ 303 h 333"/>
                <a:gd name="T122" fmla="*/ 82 w 356"/>
                <a:gd name="T123" fmla="*/ 310 h 3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56"/>
                <a:gd name="T187" fmla="*/ 0 h 333"/>
                <a:gd name="T188" fmla="*/ 356 w 356"/>
                <a:gd name="T189" fmla="*/ 333 h 3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56" h="333">
                  <a:moveTo>
                    <a:pt x="82" y="310"/>
                  </a:moveTo>
                  <a:lnTo>
                    <a:pt x="80" y="310"/>
                  </a:lnTo>
                  <a:lnTo>
                    <a:pt x="70" y="303"/>
                  </a:lnTo>
                  <a:lnTo>
                    <a:pt x="63" y="300"/>
                  </a:lnTo>
                  <a:lnTo>
                    <a:pt x="56" y="298"/>
                  </a:lnTo>
                  <a:lnTo>
                    <a:pt x="54" y="293"/>
                  </a:lnTo>
                  <a:lnTo>
                    <a:pt x="49" y="291"/>
                  </a:lnTo>
                  <a:lnTo>
                    <a:pt x="47" y="281"/>
                  </a:lnTo>
                  <a:lnTo>
                    <a:pt x="47" y="274"/>
                  </a:lnTo>
                  <a:lnTo>
                    <a:pt x="42" y="274"/>
                  </a:lnTo>
                  <a:lnTo>
                    <a:pt x="40" y="270"/>
                  </a:lnTo>
                  <a:lnTo>
                    <a:pt x="37" y="270"/>
                  </a:lnTo>
                  <a:lnTo>
                    <a:pt x="30" y="265"/>
                  </a:lnTo>
                  <a:lnTo>
                    <a:pt x="30" y="260"/>
                  </a:lnTo>
                  <a:lnTo>
                    <a:pt x="26" y="258"/>
                  </a:lnTo>
                  <a:lnTo>
                    <a:pt x="26" y="253"/>
                  </a:lnTo>
                  <a:lnTo>
                    <a:pt x="23" y="246"/>
                  </a:lnTo>
                  <a:lnTo>
                    <a:pt x="19" y="246"/>
                  </a:lnTo>
                  <a:lnTo>
                    <a:pt x="16" y="244"/>
                  </a:lnTo>
                  <a:lnTo>
                    <a:pt x="16" y="241"/>
                  </a:lnTo>
                  <a:lnTo>
                    <a:pt x="9" y="234"/>
                  </a:lnTo>
                  <a:lnTo>
                    <a:pt x="9" y="227"/>
                  </a:lnTo>
                  <a:lnTo>
                    <a:pt x="7" y="213"/>
                  </a:lnTo>
                  <a:lnTo>
                    <a:pt x="0" y="203"/>
                  </a:lnTo>
                  <a:lnTo>
                    <a:pt x="0" y="196"/>
                  </a:lnTo>
                  <a:lnTo>
                    <a:pt x="2" y="194"/>
                  </a:lnTo>
                  <a:lnTo>
                    <a:pt x="7" y="194"/>
                  </a:lnTo>
                  <a:lnTo>
                    <a:pt x="9" y="189"/>
                  </a:lnTo>
                  <a:lnTo>
                    <a:pt x="14" y="189"/>
                  </a:lnTo>
                  <a:lnTo>
                    <a:pt x="19" y="194"/>
                  </a:lnTo>
                  <a:lnTo>
                    <a:pt x="30" y="189"/>
                  </a:lnTo>
                  <a:lnTo>
                    <a:pt x="37" y="187"/>
                  </a:lnTo>
                  <a:lnTo>
                    <a:pt x="37" y="173"/>
                  </a:lnTo>
                  <a:lnTo>
                    <a:pt x="40" y="170"/>
                  </a:lnTo>
                  <a:lnTo>
                    <a:pt x="40" y="168"/>
                  </a:lnTo>
                  <a:lnTo>
                    <a:pt x="42" y="163"/>
                  </a:lnTo>
                  <a:lnTo>
                    <a:pt x="47" y="161"/>
                  </a:lnTo>
                  <a:lnTo>
                    <a:pt x="49" y="156"/>
                  </a:lnTo>
                  <a:lnTo>
                    <a:pt x="66" y="156"/>
                  </a:lnTo>
                  <a:lnTo>
                    <a:pt x="70" y="154"/>
                  </a:lnTo>
                  <a:lnTo>
                    <a:pt x="73" y="149"/>
                  </a:lnTo>
                  <a:lnTo>
                    <a:pt x="82" y="149"/>
                  </a:lnTo>
                  <a:lnTo>
                    <a:pt x="104" y="168"/>
                  </a:lnTo>
                  <a:lnTo>
                    <a:pt x="113" y="177"/>
                  </a:lnTo>
                  <a:lnTo>
                    <a:pt x="120" y="177"/>
                  </a:lnTo>
                  <a:lnTo>
                    <a:pt x="120" y="168"/>
                  </a:lnTo>
                  <a:lnTo>
                    <a:pt x="122" y="163"/>
                  </a:lnTo>
                  <a:lnTo>
                    <a:pt x="127" y="156"/>
                  </a:lnTo>
                  <a:lnTo>
                    <a:pt x="127" y="144"/>
                  </a:lnTo>
                  <a:lnTo>
                    <a:pt x="134" y="137"/>
                  </a:lnTo>
                  <a:lnTo>
                    <a:pt x="139" y="137"/>
                  </a:lnTo>
                  <a:lnTo>
                    <a:pt x="146" y="130"/>
                  </a:lnTo>
                  <a:lnTo>
                    <a:pt x="151" y="123"/>
                  </a:lnTo>
                  <a:lnTo>
                    <a:pt x="146" y="121"/>
                  </a:lnTo>
                  <a:lnTo>
                    <a:pt x="137" y="114"/>
                  </a:lnTo>
                  <a:lnTo>
                    <a:pt x="134" y="109"/>
                  </a:lnTo>
                  <a:lnTo>
                    <a:pt x="130" y="107"/>
                  </a:lnTo>
                  <a:lnTo>
                    <a:pt x="134" y="92"/>
                  </a:lnTo>
                  <a:lnTo>
                    <a:pt x="139" y="88"/>
                  </a:lnTo>
                  <a:lnTo>
                    <a:pt x="130" y="73"/>
                  </a:lnTo>
                  <a:lnTo>
                    <a:pt x="122" y="66"/>
                  </a:lnTo>
                  <a:lnTo>
                    <a:pt x="120" y="66"/>
                  </a:lnTo>
                  <a:lnTo>
                    <a:pt x="120" y="64"/>
                  </a:lnTo>
                  <a:lnTo>
                    <a:pt x="115" y="64"/>
                  </a:lnTo>
                  <a:lnTo>
                    <a:pt x="115" y="59"/>
                  </a:lnTo>
                  <a:lnTo>
                    <a:pt x="113" y="59"/>
                  </a:lnTo>
                  <a:lnTo>
                    <a:pt x="120" y="43"/>
                  </a:lnTo>
                  <a:lnTo>
                    <a:pt x="122" y="40"/>
                  </a:lnTo>
                  <a:lnTo>
                    <a:pt x="127" y="40"/>
                  </a:lnTo>
                  <a:lnTo>
                    <a:pt x="137" y="36"/>
                  </a:lnTo>
                  <a:lnTo>
                    <a:pt x="146" y="36"/>
                  </a:lnTo>
                  <a:lnTo>
                    <a:pt x="153" y="33"/>
                  </a:lnTo>
                  <a:lnTo>
                    <a:pt x="156" y="24"/>
                  </a:lnTo>
                  <a:lnTo>
                    <a:pt x="153" y="19"/>
                  </a:lnTo>
                  <a:lnTo>
                    <a:pt x="146" y="17"/>
                  </a:lnTo>
                  <a:lnTo>
                    <a:pt x="151" y="10"/>
                  </a:lnTo>
                  <a:lnTo>
                    <a:pt x="151" y="0"/>
                  </a:lnTo>
                  <a:lnTo>
                    <a:pt x="167" y="3"/>
                  </a:lnTo>
                  <a:lnTo>
                    <a:pt x="167" y="12"/>
                  </a:lnTo>
                  <a:lnTo>
                    <a:pt x="163" y="12"/>
                  </a:lnTo>
                  <a:lnTo>
                    <a:pt x="160" y="17"/>
                  </a:lnTo>
                  <a:lnTo>
                    <a:pt x="156" y="26"/>
                  </a:lnTo>
                  <a:lnTo>
                    <a:pt x="160" y="50"/>
                  </a:lnTo>
                  <a:lnTo>
                    <a:pt x="160" y="47"/>
                  </a:lnTo>
                  <a:lnTo>
                    <a:pt x="163" y="43"/>
                  </a:lnTo>
                  <a:lnTo>
                    <a:pt x="167" y="33"/>
                  </a:lnTo>
                  <a:lnTo>
                    <a:pt x="167" y="24"/>
                  </a:lnTo>
                  <a:lnTo>
                    <a:pt x="170" y="17"/>
                  </a:lnTo>
                  <a:lnTo>
                    <a:pt x="177" y="17"/>
                  </a:lnTo>
                  <a:lnTo>
                    <a:pt x="179" y="24"/>
                  </a:lnTo>
                  <a:lnTo>
                    <a:pt x="179" y="31"/>
                  </a:lnTo>
                  <a:lnTo>
                    <a:pt x="177" y="31"/>
                  </a:lnTo>
                  <a:lnTo>
                    <a:pt x="177" y="36"/>
                  </a:lnTo>
                  <a:lnTo>
                    <a:pt x="172" y="43"/>
                  </a:lnTo>
                  <a:lnTo>
                    <a:pt x="172" y="57"/>
                  </a:lnTo>
                  <a:lnTo>
                    <a:pt x="177" y="59"/>
                  </a:lnTo>
                  <a:lnTo>
                    <a:pt x="184" y="59"/>
                  </a:lnTo>
                  <a:lnTo>
                    <a:pt x="191" y="57"/>
                  </a:lnTo>
                  <a:lnTo>
                    <a:pt x="193" y="52"/>
                  </a:lnTo>
                  <a:lnTo>
                    <a:pt x="200" y="43"/>
                  </a:lnTo>
                  <a:lnTo>
                    <a:pt x="200" y="24"/>
                  </a:lnTo>
                  <a:lnTo>
                    <a:pt x="217" y="36"/>
                  </a:lnTo>
                  <a:lnTo>
                    <a:pt x="226" y="47"/>
                  </a:lnTo>
                  <a:lnTo>
                    <a:pt x="224" y="59"/>
                  </a:lnTo>
                  <a:lnTo>
                    <a:pt x="219" y="71"/>
                  </a:lnTo>
                  <a:lnTo>
                    <a:pt x="217" y="71"/>
                  </a:lnTo>
                  <a:lnTo>
                    <a:pt x="212" y="73"/>
                  </a:lnTo>
                  <a:lnTo>
                    <a:pt x="210" y="73"/>
                  </a:lnTo>
                  <a:lnTo>
                    <a:pt x="207" y="71"/>
                  </a:lnTo>
                  <a:lnTo>
                    <a:pt x="196" y="73"/>
                  </a:lnTo>
                  <a:lnTo>
                    <a:pt x="186" y="88"/>
                  </a:lnTo>
                  <a:lnTo>
                    <a:pt x="186" y="104"/>
                  </a:lnTo>
                  <a:lnTo>
                    <a:pt x="177" y="114"/>
                  </a:lnTo>
                  <a:lnTo>
                    <a:pt x="170" y="121"/>
                  </a:lnTo>
                  <a:lnTo>
                    <a:pt x="167" y="130"/>
                  </a:lnTo>
                  <a:lnTo>
                    <a:pt x="170" y="133"/>
                  </a:lnTo>
                  <a:lnTo>
                    <a:pt x="177" y="137"/>
                  </a:lnTo>
                  <a:lnTo>
                    <a:pt x="184" y="140"/>
                  </a:lnTo>
                  <a:lnTo>
                    <a:pt x="224" y="154"/>
                  </a:lnTo>
                  <a:lnTo>
                    <a:pt x="224" y="133"/>
                  </a:lnTo>
                  <a:lnTo>
                    <a:pt x="226" y="133"/>
                  </a:lnTo>
                  <a:lnTo>
                    <a:pt x="226" y="130"/>
                  </a:lnTo>
                  <a:lnTo>
                    <a:pt x="231" y="130"/>
                  </a:lnTo>
                  <a:lnTo>
                    <a:pt x="233" y="133"/>
                  </a:lnTo>
                  <a:lnTo>
                    <a:pt x="243" y="130"/>
                  </a:lnTo>
                  <a:lnTo>
                    <a:pt x="250" y="128"/>
                  </a:lnTo>
                  <a:lnTo>
                    <a:pt x="257" y="123"/>
                  </a:lnTo>
                  <a:lnTo>
                    <a:pt x="257" y="121"/>
                  </a:lnTo>
                  <a:lnTo>
                    <a:pt x="259" y="121"/>
                  </a:lnTo>
                  <a:lnTo>
                    <a:pt x="259" y="109"/>
                  </a:lnTo>
                  <a:lnTo>
                    <a:pt x="257" y="107"/>
                  </a:lnTo>
                  <a:lnTo>
                    <a:pt x="252" y="107"/>
                  </a:lnTo>
                  <a:lnTo>
                    <a:pt x="250" y="104"/>
                  </a:lnTo>
                  <a:lnTo>
                    <a:pt x="250" y="97"/>
                  </a:lnTo>
                  <a:lnTo>
                    <a:pt x="252" y="92"/>
                  </a:lnTo>
                  <a:lnTo>
                    <a:pt x="257" y="90"/>
                  </a:lnTo>
                  <a:lnTo>
                    <a:pt x="259" y="90"/>
                  </a:lnTo>
                  <a:lnTo>
                    <a:pt x="264" y="92"/>
                  </a:lnTo>
                  <a:lnTo>
                    <a:pt x="267" y="92"/>
                  </a:lnTo>
                  <a:lnTo>
                    <a:pt x="267" y="97"/>
                  </a:lnTo>
                  <a:lnTo>
                    <a:pt x="274" y="97"/>
                  </a:lnTo>
                  <a:lnTo>
                    <a:pt x="274" y="99"/>
                  </a:lnTo>
                  <a:lnTo>
                    <a:pt x="290" y="99"/>
                  </a:lnTo>
                  <a:lnTo>
                    <a:pt x="293" y="104"/>
                  </a:lnTo>
                  <a:lnTo>
                    <a:pt x="297" y="99"/>
                  </a:lnTo>
                  <a:lnTo>
                    <a:pt x="300" y="99"/>
                  </a:lnTo>
                  <a:lnTo>
                    <a:pt x="304" y="97"/>
                  </a:lnTo>
                  <a:lnTo>
                    <a:pt x="307" y="92"/>
                  </a:lnTo>
                  <a:lnTo>
                    <a:pt x="321" y="81"/>
                  </a:lnTo>
                  <a:lnTo>
                    <a:pt x="328" y="76"/>
                  </a:lnTo>
                  <a:lnTo>
                    <a:pt x="328" y="73"/>
                  </a:lnTo>
                  <a:lnTo>
                    <a:pt x="330" y="71"/>
                  </a:lnTo>
                  <a:lnTo>
                    <a:pt x="333" y="71"/>
                  </a:lnTo>
                  <a:lnTo>
                    <a:pt x="337" y="73"/>
                  </a:lnTo>
                  <a:lnTo>
                    <a:pt x="354" y="83"/>
                  </a:lnTo>
                  <a:lnTo>
                    <a:pt x="356" y="88"/>
                  </a:lnTo>
                  <a:lnTo>
                    <a:pt x="349" y="90"/>
                  </a:lnTo>
                  <a:lnTo>
                    <a:pt x="349" y="92"/>
                  </a:lnTo>
                  <a:lnTo>
                    <a:pt x="354" y="97"/>
                  </a:lnTo>
                  <a:lnTo>
                    <a:pt x="354" y="107"/>
                  </a:lnTo>
                  <a:lnTo>
                    <a:pt x="349" y="109"/>
                  </a:lnTo>
                  <a:lnTo>
                    <a:pt x="347" y="109"/>
                  </a:lnTo>
                  <a:lnTo>
                    <a:pt x="347" y="116"/>
                  </a:lnTo>
                  <a:lnTo>
                    <a:pt x="349" y="128"/>
                  </a:lnTo>
                  <a:lnTo>
                    <a:pt x="349" y="133"/>
                  </a:lnTo>
                  <a:lnTo>
                    <a:pt x="347" y="137"/>
                  </a:lnTo>
                  <a:lnTo>
                    <a:pt x="345" y="140"/>
                  </a:lnTo>
                  <a:lnTo>
                    <a:pt x="337" y="144"/>
                  </a:lnTo>
                  <a:lnTo>
                    <a:pt x="330" y="147"/>
                  </a:lnTo>
                  <a:lnTo>
                    <a:pt x="314" y="168"/>
                  </a:lnTo>
                  <a:lnTo>
                    <a:pt x="309" y="173"/>
                  </a:lnTo>
                  <a:lnTo>
                    <a:pt x="307" y="177"/>
                  </a:lnTo>
                  <a:lnTo>
                    <a:pt x="307" y="180"/>
                  </a:lnTo>
                  <a:lnTo>
                    <a:pt x="309" y="184"/>
                  </a:lnTo>
                  <a:lnTo>
                    <a:pt x="309" y="187"/>
                  </a:lnTo>
                  <a:lnTo>
                    <a:pt x="316" y="196"/>
                  </a:lnTo>
                  <a:lnTo>
                    <a:pt x="314" y="196"/>
                  </a:lnTo>
                  <a:lnTo>
                    <a:pt x="309" y="201"/>
                  </a:lnTo>
                  <a:lnTo>
                    <a:pt x="309" y="203"/>
                  </a:lnTo>
                  <a:lnTo>
                    <a:pt x="307" y="203"/>
                  </a:lnTo>
                  <a:lnTo>
                    <a:pt x="307" y="206"/>
                  </a:lnTo>
                  <a:lnTo>
                    <a:pt x="304" y="210"/>
                  </a:lnTo>
                  <a:lnTo>
                    <a:pt x="304" y="213"/>
                  </a:lnTo>
                  <a:lnTo>
                    <a:pt x="300" y="218"/>
                  </a:lnTo>
                  <a:lnTo>
                    <a:pt x="290" y="218"/>
                  </a:lnTo>
                  <a:lnTo>
                    <a:pt x="288" y="213"/>
                  </a:lnTo>
                  <a:lnTo>
                    <a:pt x="281" y="218"/>
                  </a:lnTo>
                  <a:lnTo>
                    <a:pt x="271" y="218"/>
                  </a:lnTo>
                  <a:lnTo>
                    <a:pt x="264" y="225"/>
                  </a:lnTo>
                  <a:lnTo>
                    <a:pt x="259" y="227"/>
                  </a:lnTo>
                  <a:lnTo>
                    <a:pt x="250" y="227"/>
                  </a:lnTo>
                  <a:lnTo>
                    <a:pt x="233" y="229"/>
                  </a:lnTo>
                  <a:lnTo>
                    <a:pt x="231" y="234"/>
                  </a:lnTo>
                  <a:lnTo>
                    <a:pt x="224" y="236"/>
                  </a:lnTo>
                  <a:lnTo>
                    <a:pt x="219" y="241"/>
                  </a:lnTo>
                  <a:lnTo>
                    <a:pt x="219" y="244"/>
                  </a:lnTo>
                  <a:lnTo>
                    <a:pt x="224" y="253"/>
                  </a:lnTo>
                  <a:lnTo>
                    <a:pt x="226" y="253"/>
                  </a:lnTo>
                  <a:lnTo>
                    <a:pt x="231" y="251"/>
                  </a:lnTo>
                  <a:lnTo>
                    <a:pt x="233" y="251"/>
                  </a:lnTo>
                  <a:lnTo>
                    <a:pt x="250" y="258"/>
                  </a:lnTo>
                  <a:lnTo>
                    <a:pt x="250" y="265"/>
                  </a:lnTo>
                  <a:lnTo>
                    <a:pt x="248" y="265"/>
                  </a:lnTo>
                  <a:lnTo>
                    <a:pt x="243" y="267"/>
                  </a:lnTo>
                  <a:lnTo>
                    <a:pt x="241" y="267"/>
                  </a:lnTo>
                  <a:lnTo>
                    <a:pt x="243" y="270"/>
                  </a:lnTo>
                  <a:lnTo>
                    <a:pt x="243" y="274"/>
                  </a:lnTo>
                  <a:lnTo>
                    <a:pt x="248" y="281"/>
                  </a:lnTo>
                  <a:lnTo>
                    <a:pt x="248" y="291"/>
                  </a:lnTo>
                  <a:lnTo>
                    <a:pt x="259" y="291"/>
                  </a:lnTo>
                  <a:lnTo>
                    <a:pt x="264" y="298"/>
                  </a:lnTo>
                  <a:lnTo>
                    <a:pt x="259" y="300"/>
                  </a:lnTo>
                  <a:lnTo>
                    <a:pt x="257" y="307"/>
                  </a:lnTo>
                  <a:lnTo>
                    <a:pt x="252" y="314"/>
                  </a:lnTo>
                  <a:lnTo>
                    <a:pt x="250" y="310"/>
                  </a:lnTo>
                  <a:lnTo>
                    <a:pt x="248" y="310"/>
                  </a:lnTo>
                  <a:lnTo>
                    <a:pt x="236" y="314"/>
                  </a:lnTo>
                  <a:lnTo>
                    <a:pt x="233" y="314"/>
                  </a:lnTo>
                  <a:lnTo>
                    <a:pt x="231" y="317"/>
                  </a:lnTo>
                  <a:lnTo>
                    <a:pt x="226" y="317"/>
                  </a:lnTo>
                  <a:lnTo>
                    <a:pt x="226" y="326"/>
                  </a:lnTo>
                  <a:lnTo>
                    <a:pt x="212" y="333"/>
                  </a:lnTo>
                  <a:lnTo>
                    <a:pt x="210" y="333"/>
                  </a:lnTo>
                  <a:lnTo>
                    <a:pt x="207" y="331"/>
                  </a:lnTo>
                  <a:lnTo>
                    <a:pt x="203" y="326"/>
                  </a:lnTo>
                  <a:lnTo>
                    <a:pt x="200" y="324"/>
                  </a:lnTo>
                  <a:lnTo>
                    <a:pt x="196" y="326"/>
                  </a:lnTo>
                  <a:lnTo>
                    <a:pt x="196" y="333"/>
                  </a:lnTo>
                  <a:lnTo>
                    <a:pt x="184" y="333"/>
                  </a:lnTo>
                  <a:lnTo>
                    <a:pt x="184" y="303"/>
                  </a:lnTo>
                  <a:lnTo>
                    <a:pt x="170" y="286"/>
                  </a:lnTo>
                  <a:lnTo>
                    <a:pt x="163" y="291"/>
                  </a:lnTo>
                  <a:lnTo>
                    <a:pt x="160" y="293"/>
                  </a:lnTo>
                  <a:lnTo>
                    <a:pt x="153" y="293"/>
                  </a:lnTo>
                  <a:lnTo>
                    <a:pt x="146" y="291"/>
                  </a:lnTo>
                  <a:lnTo>
                    <a:pt x="139" y="286"/>
                  </a:lnTo>
                  <a:lnTo>
                    <a:pt x="137" y="286"/>
                  </a:lnTo>
                  <a:lnTo>
                    <a:pt x="137" y="284"/>
                  </a:lnTo>
                  <a:lnTo>
                    <a:pt x="134" y="284"/>
                  </a:lnTo>
                  <a:lnTo>
                    <a:pt x="127" y="286"/>
                  </a:lnTo>
                  <a:lnTo>
                    <a:pt x="130" y="293"/>
                  </a:lnTo>
                  <a:lnTo>
                    <a:pt x="122" y="298"/>
                  </a:lnTo>
                  <a:lnTo>
                    <a:pt x="120" y="300"/>
                  </a:lnTo>
                  <a:lnTo>
                    <a:pt x="113" y="303"/>
                  </a:lnTo>
                  <a:lnTo>
                    <a:pt x="94" y="303"/>
                  </a:lnTo>
                  <a:lnTo>
                    <a:pt x="87" y="310"/>
                  </a:lnTo>
                  <a:lnTo>
                    <a:pt x="87" y="314"/>
                  </a:lnTo>
                  <a:lnTo>
                    <a:pt x="82" y="3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7" name="Freeform 242">
              <a:extLst>
                <a:ext uri="{FF2B5EF4-FFF2-40B4-BE49-F238E27FC236}">
                  <a16:creationId xmlns:a16="http://schemas.microsoft.com/office/drawing/2014/main" id="{9B9D6670-6454-4873-B1F2-264365814DEF}"/>
                </a:ext>
              </a:extLst>
            </p:cNvPr>
            <p:cNvSpPr>
              <a:spLocks/>
            </p:cNvSpPr>
            <p:nvPr/>
          </p:nvSpPr>
          <p:spPr bwMode="gray">
            <a:xfrm rot="47099">
              <a:off x="1494937" y="4033557"/>
              <a:ext cx="207408" cy="207846"/>
            </a:xfrm>
            <a:custGeom>
              <a:avLst/>
              <a:gdLst>
                <a:gd name="T0" fmla="*/ 390 w 446"/>
                <a:gd name="T1" fmla="*/ 444 h 447"/>
                <a:gd name="T2" fmla="*/ 324 w 446"/>
                <a:gd name="T3" fmla="*/ 437 h 447"/>
                <a:gd name="T4" fmla="*/ 302 w 446"/>
                <a:gd name="T5" fmla="*/ 411 h 447"/>
                <a:gd name="T6" fmla="*/ 253 w 446"/>
                <a:gd name="T7" fmla="*/ 426 h 447"/>
                <a:gd name="T8" fmla="*/ 250 w 446"/>
                <a:gd name="T9" fmla="*/ 374 h 447"/>
                <a:gd name="T10" fmla="*/ 220 w 446"/>
                <a:gd name="T11" fmla="*/ 371 h 447"/>
                <a:gd name="T12" fmla="*/ 206 w 446"/>
                <a:gd name="T13" fmla="*/ 355 h 447"/>
                <a:gd name="T14" fmla="*/ 196 w 446"/>
                <a:gd name="T15" fmla="*/ 338 h 447"/>
                <a:gd name="T16" fmla="*/ 175 w 446"/>
                <a:gd name="T17" fmla="*/ 338 h 447"/>
                <a:gd name="T18" fmla="*/ 156 w 446"/>
                <a:gd name="T19" fmla="*/ 338 h 447"/>
                <a:gd name="T20" fmla="*/ 135 w 446"/>
                <a:gd name="T21" fmla="*/ 340 h 447"/>
                <a:gd name="T22" fmla="*/ 113 w 446"/>
                <a:gd name="T23" fmla="*/ 322 h 447"/>
                <a:gd name="T24" fmla="*/ 130 w 446"/>
                <a:gd name="T25" fmla="*/ 281 h 447"/>
                <a:gd name="T26" fmla="*/ 139 w 446"/>
                <a:gd name="T27" fmla="*/ 274 h 447"/>
                <a:gd name="T28" fmla="*/ 113 w 446"/>
                <a:gd name="T29" fmla="*/ 244 h 447"/>
                <a:gd name="T30" fmla="*/ 123 w 446"/>
                <a:gd name="T31" fmla="*/ 211 h 447"/>
                <a:gd name="T32" fmla="*/ 118 w 446"/>
                <a:gd name="T33" fmla="*/ 196 h 447"/>
                <a:gd name="T34" fmla="*/ 99 w 446"/>
                <a:gd name="T35" fmla="*/ 194 h 447"/>
                <a:gd name="T36" fmla="*/ 76 w 446"/>
                <a:gd name="T37" fmla="*/ 194 h 447"/>
                <a:gd name="T38" fmla="*/ 92 w 446"/>
                <a:gd name="T39" fmla="*/ 163 h 447"/>
                <a:gd name="T40" fmla="*/ 76 w 446"/>
                <a:gd name="T41" fmla="*/ 147 h 447"/>
                <a:gd name="T42" fmla="*/ 50 w 446"/>
                <a:gd name="T43" fmla="*/ 173 h 447"/>
                <a:gd name="T44" fmla="*/ 52 w 446"/>
                <a:gd name="T45" fmla="*/ 156 h 447"/>
                <a:gd name="T46" fmla="*/ 35 w 446"/>
                <a:gd name="T47" fmla="*/ 168 h 447"/>
                <a:gd name="T48" fmla="*/ 5 w 446"/>
                <a:gd name="T49" fmla="*/ 170 h 447"/>
                <a:gd name="T50" fmla="*/ 9 w 446"/>
                <a:gd name="T51" fmla="*/ 151 h 447"/>
                <a:gd name="T52" fmla="*/ 43 w 446"/>
                <a:gd name="T53" fmla="*/ 121 h 447"/>
                <a:gd name="T54" fmla="*/ 12 w 446"/>
                <a:gd name="T55" fmla="*/ 107 h 447"/>
                <a:gd name="T56" fmla="*/ 0 w 446"/>
                <a:gd name="T57" fmla="*/ 76 h 447"/>
                <a:gd name="T58" fmla="*/ 17 w 446"/>
                <a:gd name="T59" fmla="*/ 59 h 447"/>
                <a:gd name="T60" fmla="*/ 5 w 446"/>
                <a:gd name="T61" fmla="*/ 40 h 447"/>
                <a:gd name="T62" fmla="*/ 21 w 446"/>
                <a:gd name="T63" fmla="*/ 24 h 447"/>
                <a:gd name="T64" fmla="*/ 5 w 446"/>
                <a:gd name="T65" fmla="*/ 7 h 447"/>
                <a:gd name="T66" fmla="*/ 43 w 446"/>
                <a:gd name="T67" fmla="*/ 7 h 447"/>
                <a:gd name="T68" fmla="*/ 66 w 446"/>
                <a:gd name="T69" fmla="*/ 19 h 447"/>
                <a:gd name="T70" fmla="*/ 73 w 446"/>
                <a:gd name="T71" fmla="*/ 26 h 447"/>
                <a:gd name="T72" fmla="*/ 102 w 446"/>
                <a:gd name="T73" fmla="*/ 71 h 447"/>
                <a:gd name="T74" fmla="*/ 109 w 446"/>
                <a:gd name="T75" fmla="*/ 88 h 447"/>
                <a:gd name="T76" fmla="*/ 106 w 446"/>
                <a:gd name="T77" fmla="*/ 83 h 447"/>
                <a:gd name="T78" fmla="*/ 97 w 446"/>
                <a:gd name="T79" fmla="*/ 71 h 447"/>
                <a:gd name="T80" fmla="*/ 76 w 446"/>
                <a:gd name="T81" fmla="*/ 38 h 447"/>
                <a:gd name="T82" fmla="*/ 85 w 446"/>
                <a:gd name="T83" fmla="*/ 76 h 447"/>
                <a:gd name="T84" fmla="*/ 106 w 446"/>
                <a:gd name="T85" fmla="*/ 114 h 447"/>
                <a:gd name="T86" fmla="*/ 123 w 446"/>
                <a:gd name="T87" fmla="*/ 140 h 447"/>
                <a:gd name="T88" fmla="*/ 135 w 446"/>
                <a:gd name="T89" fmla="*/ 163 h 447"/>
                <a:gd name="T90" fmla="*/ 187 w 446"/>
                <a:gd name="T91" fmla="*/ 218 h 447"/>
                <a:gd name="T92" fmla="*/ 196 w 446"/>
                <a:gd name="T93" fmla="*/ 241 h 447"/>
                <a:gd name="T94" fmla="*/ 213 w 446"/>
                <a:gd name="T95" fmla="*/ 274 h 447"/>
                <a:gd name="T96" fmla="*/ 229 w 446"/>
                <a:gd name="T97" fmla="*/ 291 h 447"/>
                <a:gd name="T98" fmla="*/ 302 w 446"/>
                <a:gd name="T99" fmla="*/ 317 h 447"/>
                <a:gd name="T100" fmla="*/ 335 w 446"/>
                <a:gd name="T101" fmla="*/ 333 h 447"/>
                <a:gd name="T102" fmla="*/ 366 w 446"/>
                <a:gd name="T103" fmla="*/ 364 h 447"/>
                <a:gd name="T104" fmla="*/ 399 w 446"/>
                <a:gd name="T105" fmla="*/ 362 h 447"/>
                <a:gd name="T106" fmla="*/ 404 w 446"/>
                <a:gd name="T107" fmla="*/ 385 h 447"/>
                <a:gd name="T108" fmla="*/ 432 w 446"/>
                <a:gd name="T109" fmla="*/ 404 h 447"/>
                <a:gd name="T110" fmla="*/ 446 w 446"/>
                <a:gd name="T111" fmla="*/ 428 h 44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46"/>
                <a:gd name="T169" fmla="*/ 0 h 447"/>
                <a:gd name="T170" fmla="*/ 446 w 446"/>
                <a:gd name="T171" fmla="*/ 447 h 44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46" h="447">
                  <a:moveTo>
                    <a:pt x="446" y="428"/>
                  </a:moveTo>
                  <a:lnTo>
                    <a:pt x="444" y="428"/>
                  </a:lnTo>
                  <a:lnTo>
                    <a:pt x="444" y="430"/>
                  </a:lnTo>
                  <a:lnTo>
                    <a:pt x="423" y="444"/>
                  </a:lnTo>
                  <a:lnTo>
                    <a:pt x="390" y="444"/>
                  </a:lnTo>
                  <a:lnTo>
                    <a:pt x="383" y="447"/>
                  </a:lnTo>
                  <a:lnTo>
                    <a:pt x="376" y="447"/>
                  </a:lnTo>
                  <a:lnTo>
                    <a:pt x="347" y="444"/>
                  </a:lnTo>
                  <a:lnTo>
                    <a:pt x="326" y="444"/>
                  </a:lnTo>
                  <a:lnTo>
                    <a:pt x="324" y="437"/>
                  </a:lnTo>
                  <a:lnTo>
                    <a:pt x="317" y="435"/>
                  </a:lnTo>
                  <a:lnTo>
                    <a:pt x="307" y="426"/>
                  </a:lnTo>
                  <a:lnTo>
                    <a:pt x="300" y="414"/>
                  </a:lnTo>
                  <a:lnTo>
                    <a:pt x="300" y="411"/>
                  </a:lnTo>
                  <a:lnTo>
                    <a:pt x="302" y="411"/>
                  </a:lnTo>
                  <a:lnTo>
                    <a:pt x="302" y="404"/>
                  </a:lnTo>
                  <a:lnTo>
                    <a:pt x="295" y="404"/>
                  </a:lnTo>
                  <a:lnTo>
                    <a:pt x="272" y="421"/>
                  </a:lnTo>
                  <a:lnTo>
                    <a:pt x="267" y="426"/>
                  </a:lnTo>
                  <a:lnTo>
                    <a:pt x="253" y="426"/>
                  </a:lnTo>
                  <a:lnTo>
                    <a:pt x="243" y="404"/>
                  </a:lnTo>
                  <a:lnTo>
                    <a:pt x="239" y="402"/>
                  </a:lnTo>
                  <a:lnTo>
                    <a:pt x="246" y="395"/>
                  </a:lnTo>
                  <a:lnTo>
                    <a:pt x="250" y="390"/>
                  </a:lnTo>
                  <a:lnTo>
                    <a:pt x="250" y="374"/>
                  </a:lnTo>
                  <a:lnTo>
                    <a:pt x="243" y="371"/>
                  </a:lnTo>
                  <a:lnTo>
                    <a:pt x="234" y="369"/>
                  </a:lnTo>
                  <a:lnTo>
                    <a:pt x="227" y="369"/>
                  </a:lnTo>
                  <a:lnTo>
                    <a:pt x="222" y="371"/>
                  </a:lnTo>
                  <a:lnTo>
                    <a:pt x="220" y="371"/>
                  </a:lnTo>
                  <a:lnTo>
                    <a:pt x="213" y="369"/>
                  </a:lnTo>
                  <a:lnTo>
                    <a:pt x="213" y="362"/>
                  </a:lnTo>
                  <a:lnTo>
                    <a:pt x="210" y="362"/>
                  </a:lnTo>
                  <a:lnTo>
                    <a:pt x="210" y="357"/>
                  </a:lnTo>
                  <a:lnTo>
                    <a:pt x="206" y="355"/>
                  </a:lnTo>
                  <a:lnTo>
                    <a:pt x="203" y="355"/>
                  </a:lnTo>
                  <a:lnTo>
                    <a:pt x="203" y="350"/>
                  </a:lnTo>
                  <a:lnTo>
                    <a:pt x="198" y="348"/>
                  </a:lnTo>
                  <a:lnTo>
                    <a:pt x="196" y="340"/>
                  </a:lnTo>
                  <a:lnTo>
                    <a:pt x="196" y="338"/>
                  </a:lnTo>
                  <a:lnTo>
                    <a:pt x="189" y="333"/>
                  </a:lnTo>
                  <a:lnTo>
                    <a:pt x="180" y="331"/>
                  </a:lnTo>
                  <a:lnTo>
                    <a:pt x="172" y="324"/>
                  </a:lnTo>
                  <a:lnTo>
                    <a:pt x="175" y="333"/>
                  </a:lnTo>
                  <a:lnTo>
                    <a:pt x="175" y="338"/>
                  </a:lnTo>
                  <a:lnTo>
                    <a:pt x="170" y="345"/>
                  </a:lnTo>
                  <a:lnTo>
                    <a:pt x="165" y="348"/>
                  </a:lnTo>
                  <a:lnTo>
                    <a:pt x="163" y="345"/>
                  </a:lnTo>
                  <a:lnTo>
                    <a:pt x="163" y="338"/>
                  </a:lnTo>
                  <a:lnTo>
                    <a:pt x="156" y="338"/>
                  </a:lnTo>
                  <a:lnTo>
                    <a:pt x="154" y="340"/>
                  </a:lnTo>
                  <a:lnTo>
                    <a:pt x="149" y="340"/>
                  </a:lnTo>
                  <a:lnTo>
                    <a:pt x="149" y="345"/>
                  </a:lnTo>
                  <a:lnTo>
                    <a:pt x="139" y="345"/>
                  </a:lnTo>
                  <a:lnTo>
                    <a:pt x="135" y="340"/>
                  </a:lnTo>
                  <a:lnTo>
                    <a:pt x="135" y="338"/>
                  </a:lnTo>
                  <a:lnTo>
                    <a:pt x="132" y="331"/>
                  </a:lnTo>
                  <a:lnTo>
                    <a:pt x="118" y="331"/>
                  </a:lnTo>
                  <a:lnTo>
                    <a:pt x="116" y="322"/>
                  </a:lnTo>
                  <a:lnTo>
                    <a:pt x="113" y="322"/>
                  </a:lnTo>
                  <a:lnTo>
                    <a:pt x="123" y="310"/>
                  </a:lnTo>
                  <a:lnTo>
                    <a:pt x="123" y="300"/>
                  </a:lnTo>
                  <a:lnTo>
                    <a:pt x="118" y="293"/>
                  </a:lnTo>
                  <a:lnTo>
                    <a:pt x="118" y="289"/>
                  </a:lnTo>
                  <a:lnTo>
                    <a:pt x="130" y="281"/>
                  </a:lnTo>
                  <a:lnTo>
                    <a:pt x="132" y="284"/>
                  </a:lnTo>
                  <a:lnTo>
                    <a:pt x="135" y="284"/>
                  </a:lnTo>
                  <a:lnTo>
                    <a:pt x="142" y="277"/>
                  </a:lnTo>
                  <a:lnTo>
                    <a:pt x="142" y="274"/>
                  </a:lnTo>
                  <a:lnTo>
                    <a:pt x="139" y="274"/>
                  </a:lnTo>
                  <a:lnTo>
                    <a:pt x="139" y="270"/>
                  </a:lnTo>
                  <a:lnTo>
                    <a:pt x="132" y="270"/>
                  </a:lnTo>
                  <a:lnTo>
                    <a:pt x="130" y="274"/>
                  </a:lnTo>
                  <a:lnTo>
                    <a:pt x="113" y="265"/>
                  </a:lnTo>
                  <a:lnTo>
                    <a:pt x="113" y="244"/>
                  </a:lnTo>
                  <a:lnTo>
                    <a:pt x="116" y="241"/>
                  </a:lnTo>
                  <a:lnTo>
                    <a:pt x="116" y="220"/>
                  </a:lnTo>
                  <a:lnTo>
                    <a:pt x="118" y="218"/>
                  </a:lnTo>
                  <a:lnTo>
                    <a:pt x="118" y="213"/>
                  </a:lnTo>
                  <a:lnTo>
                    <a:pt x="123" y="211"/>
                  </a:lnTo>
                  <a:lnTo>
                    <a:pt x="125" y="208"/>
                  </a:lnTo>
                  <a:lnTo>
                    <a:pt x="130" y="203"/>
                  </a:lnTo>
                  <a:lnTo>
                    <a:pt x="130" y="201"/>
                  </a:lnTo>
                  <a:lnTo>
                    <a:pt x="125" y="196"/>
                  </a:lnTo>
                  <a:lnTo>
                    <a:pt x="118" y="196"/>
                  </a:lnTo>
                  <a:lnTo>
                    <a:pt x="116" y="194"/>
                  </a:lnTo>
                  <a:lnTo>
                    <a:pt x="113" y="194"/>
                  </a:lnTo>
                  <a:lnTo>
                    <a:pt x="113" y="192"/>
                  </a:lnTo>
                  <a:lnTo>
                    <a:pt x="102" y="192"/>
                  </a:lnTo>
                  <a:lnTo>
                    <a:pt x="99" y="194"/>
                  </a:lnTo>
                  <a:lnTo>
                    <a:pt x="99" y="201"/>
                  </a:lnTo>
                  <a:lnTo>
                    <a:pt x="97" y="203"/>
                  </a:lnTo>
                  <a:lnTo>
                    <a:pt x="92" y="203"/>
                  </a:lnTo>
                  <a:lnTo>
                    <a:pt x="83" y="196"/>
                  </a:lnTo>
                  <a:lnTo>
                    <a:pt x="76" y="194"/>
                  </a:lnTo>
                  <a:lnTo>
                    <a:pt x="76" y="177"/>
                  </a:lnTo>
                  <a:lnTo>
                    <a:pt x="83" y="173"/>
                  </a:lnTo>
                  <a:lnTo>
                    <a:pt x="85" y="177"/>
                  </a:lnTo>
                  <a:lnTo>
                    <a:pt x="92" y="170"/>
                  </a:lnTo>
                  <a:lnTo>
                    <a:pt x="92" y="163"/>
                  </a:lnTo>
                  <a:lnTo>
                    <a:pt x="90" y="161"/>
                  </a:lnTo>
                  <a:lnTo>
                    <a:pt x="85" y="161"/>
                  </a:lnTo>
                  <a:lnTo>
                    <a:pt x="78" y="156"/>
                  </a:lnTo>
                  <a:lnTo>
                    <a:pt x="76" y="156"/>
                  </a:lnTo>
                  <a:lnTo>
                    <a:pt x="76" y="147"/>
                  </a:lnTo>
                  <a:lnTo>
                    <a:pt x="66" y="144"/>
                  </a:lnTo>
                  <a:lnTo>
                    <a:pt x="61" y="154"/>
                  </a:lnTo>
                  <a:lnTo>
                    <a:pt x="59" y="168"/>
                  </a:lnTo>
                  <a:lnTo>
                    <a:pt x="57" y="170"/>
                  </a:lnTo>
                  <a:lnTo>
                    <a:pt x="50" y="173"/>
                  </a:lnTo>
                  <a:lnTo>
                    <a:pt x="45" y="177"/>
                  </a:lnTo>
                  <a:lnTo>
                    <a:pt x="50" y="173"/>
                  </a:lnTo>
                  <a:lnTo>
                    <a:pt x="50" y="170"/>
                  </a:lnTo>
                  <a:lnTo>
                    <a:pt x="52" y="168"/>
                  </a:lnTo>
                  <a:lnTo>
                    <a:pt x="52" y="156"/>
                  </a:lnTo>
                  <a:lnTo>
                    <a:pt x="45" y="156"/>
                  </a:lnTo>
                  <a:lnTo>
                    <a:pt x="43" y="161"/>
                  </a:lnTo>
                  <a:lnTo>
                    <a:pt x="38" y="161"/>
                  </a:lnTo>
                  <a:lnTo>
                    <a:pt x="38" y="163"/>
                  </a:lnTo>
                  <a:lnTo>
                    <a:pt x="35" y="168"/>
                  </a:lnTo>
                  <a:lnTo>
                    <a:pt x="28" y="173"/>
                  </a:lnTo>
                  <a:lnTo>
                    <a:pt x="26" y="177"/>
                  </a:lnTo>
                  <a:lnTo>
                    <a:pt x="17" y="185"/>
                  </a:lnTo>
                  <a:lnTo>
                    <a:pt x="12" y="185"/>
                  </a:lnTo>
                  <a:lnTo>
                    <a:pt x="5" y="170"/>
                  </a:lnTo>
                  <a:lnTo>
                    <a:pt x="9" y="168"/>
                  </a:lnTo>
                  <a:lnTo>
                    <a:pt x="19" y="151"/>
                  </a:lnTo>
                  <a:lnTo>
                    <a:pt x="17" y="154"/>
                  </a:lnTo>
                  <a:lnTo>
                    <a:pt x="12" y="154"/>
                  </a:lnTo>
                  <a:lnTo>
                    <a:pt x="9" y="151"/>
                  </a:lnTo>
                  <a:lnTo>
                    <a:pt x="19" y="140"/>
                  </a:lnTo>
                  <a:lnTo>
                    <a:pt x="28" y="140"/>
                  </a:lnTo>
                  <a:lnTo>
                    <a:pt x="35" y="137"/>
                  </a:lnTo>
                  <a:lnTo>
                    <a:pt x="43" y="123"/>
                  </a:lnTo>
                  <a:lnTo>
                    <a:pt x="43" y="121"/>
                  </a:lnTo>
                  <a:lnTo>
                    <a:pt x="33" y="107"/>
                  </a:lnTo>
                  <a:lnTo>
                    <a:pt x="26" y="111"/>
                  </a:lnTo>
                  <a:lnTo>
                    <a:pt x="26" y="114"/>
                  </a:lnTo>
                  <a:lnTo>
                    <a:pt x="19" y="114"/>
                  </a:lnTo>
                  <a:lnTo>
                    <a:pt x="12" y="107"/>
                  </a:lnTo>
                  <a:lnTo>
                    <a:pt x="12" y="95"/>
                  </a:lnTo>
                  <a:lnTo>
                    <a:pt x="9" y="95"/>
                  </a:lnTo>
                  <a:lnTo>
                    <a:pt x="9" y="81"/>
                  </a:lnTo>
                  <a:lnTo>
                    <a:pt x="2" y="81"/>
                  </a:lnTo>
                  <a:lnTo>
                    <a:pt x="0" y="76"/>
                  </a:lnTo>
                  <a:lnTo>
                    <a:pt x="0" y="74"/>
                  </a:lnTo>
                  <a:lnTo>
                    <a:pt x="2" y="66"/>
                  </a:lnTo>
                  <a:lnTo>
                    <a:pt x="5" y="66"/>
                  </a:lnTo>
                  <a:lnTo>
                    <a:pt x="12" y="64"/>
                  </a:lnTo>
                  <a:lnTo>
                    <a:pt x="17" y="59"/>
                  </a:lnTo>
                  <a:lnTo>
                    <a:pt x="12" y="55"/>
                  </a:lnTo>
                  <a:lnTo>
                    <a:pt x="9" y="55"/>
                  </a:lnTo>
                  <a:lnTo>
                    <a:pt x="5" y="50"/>
                  </a:lnTo>
                  <a:lnTo>
                    <a:pt x="2" y="43"/>
                  </a:lnTo>
                  <a:lnTo>
                    <a:pt x="5" y="40"/>
                  </a:lnTo>
                  <a:lnTo>
                    <a:pt x="5" y="43"/>
                  </a:lnTo>
                  <a:lnTo>
                    <a:pt x="9" y="40"/>
                  </a:lnTo>
                  <a:lnTo>
                    <a:pt x="12" y="40"/>
                  </a:lnTo>
                  <a:lnTo>
                    <a:pt x="19" y="26"/>
                  </a:lnTo>
                  <a:lnTo>
                    <a:pt x="21" y="24"/>
                  </a:lnTo>
                  <a:lnTo>
                    <a:pt x="21" y="17"/>
                  </a:lnTo>
                  <a:lnTo>
                    <a:pt x="19" y="17"/>
                  </a:lnTo>
                  <a:lnTo>
                    <a:pt x="19" y="14"/>
                  </a:lnTo>
                  <a:lnTo>
                    <a:pt x="12" y="14"/>
                  </a:lnTo>
                  <a:lnTo>
                    <a:pt x="5" y="7"/>
                  </a:lnTo>
                  <a:lnTo>
                    <a:pt x="0" y="3"/>
                  </a:lnTo>
                  <a:lnTo>
                    <a:pt x="9" y="0"/>
                  </a:lnTo>
                  <a:lnTo>
                    <a:pt x="35" y="0"/>
                  </a:lnTo>
                  <a:lnTo>
                    <a:pt x="38" y="3"/>
                  </a:lnTo>
                  <a:lnTo>
                    <a:pt x="43" y="7"/>
                  </a:lnTo>
                  <a:lnTo>
                    <a:pt x="52" y="7"/>
                  </a:lnTo>
                  <a:lnTo>
                    <a:pt x="59" y="10"/>
                  </a:lnTo>
                  <a:lnTo>
                    <a:pt x="59" y="17"/>
                  </a:lnTo>
                  <a:lnTo>
                    <a:pt x="61" y="19"/>
                  </a:lnTo>
                  <a:lnTo>
                    <a:pt x="66" y="19"/>
                  </a:lnTo>
                  <a:lnTo>
                    <a:pt x="69" y="17"/>
                  </a:lnTo>
                  <a:lnTo>
                    <a:pt x="73" y="14"/>
                  </a:lnTo>
                  <a:lnTo>
                    <a:pt x="69" y="19"/>
                  </a:lnTo>
                  <a:lnTo>
                    <a:pt x="73" y="24"/>
                  </a:lnTo>
                  <a:lnTo>
                    <a:pt x="73" y="26"/>
                  </a:lnTo>
                  <a:lnTo>
                    <a:pt x="78" y="40"/>
                  </a:lnTo>
                  <a:lnTo>
                    <a:pt x="83" y="48"/>
                  </a:lnTo>
                  <a:lnTo>
                    <a:pt x="83" y="50"/>
                  </a:lnTo>
                  <a:lnTo>
                    <a:pt x="92" y="59"/>
                  </a:lnTo>
                  <a:lnTo>
                    <a:pt x="102" y="71"/>
                  </a:lnTo>
                  <a:lnTo>
                    <a:pt x="109" y="74"/>
                  </a:lnTo>
                  <a:lnTo>
                    <a:pt x="113" y="76"/>
                  </a:lnTo>
                  <a:lnTo>
                    <a:pt x="113" y="81"/>
                  </a:lnTo>
                  <a:lnTo>
                    <a:pt x="109" y="83"/>
                  </a:lnTo>
                  <a:lnTo>
                    <a:pt x="109" y="88"/>
                  </a:lnTo>
                  <a:lnTo>
                    <a:pt x="102" y="100"/>
                  </a:lnTo>
                  <a:lnTo>
                    <a:pt x="99" y="90"/>
                  </a:lnTo>
                  <a:lnTo>
                    <a:pt x="99" y="88"/>
                  </a:lnTo>
                  <a:lnTo>
                    <a:pt x="102" y="83"/>
                  </a:lnTo>
                  <a:lnTo>
                    <a:pt x="106" y="83"/>
                  </a:lnTo>
                  <a:lnTo>
                    <a:pt x="106" y="76"/>
                  </a:lnTo>
                  <a:lnTo>
                    <a:pt x="102" y="76"/>
                  </a:lnTo>
                  <a:lnTo>
                    <a:pt x="102" y="74"/>
                  </a:lnTo>
                  <a:lnTo>
                    <a:pt x="99" y="71"/>
                  </a:lnTo>
                  <a:lnTo>
                    <a:pt x="97" y="71"/>
                  </a:lnTo>
                  <a:lnTo>
                    <a:pt x="92" y="66"/>
                  </a:lnTo>
                  <a:lnTo>
                    <a:pt x="85" y="57"/>
                  </a:lnTo>
                  <a:lnTo>
                    <a:pt x="78" y="48"/>
                  </a:lnTo>
                  <a:lnTo>
                    <a:pt x="78" y="43"/>
                  </a:lnTo>
                  <a:lnTo>
                    <a:pt x="76" y="38"/>
                  </a:lnTo>
                  <a:lnTo>
                    <a:pt x="76" y="48"/>
                  </a:lnTo>
                  <a:lnTo>
                    <a:pt x="78" y="50"/>
                  </a:lnTo>
                  <a:lnTo>
                    <a:pt x="78" y="66"/>
                  </a:lnTo>
                  <a:lnTo>
                    <a:pt x="83" y="71"/>
                  </a:lnTo>
                  <a:lnTo>
                    <a:pt x="85" y="76"/>
                  </a:lnTo>
                  <a:lnTo>
                    <a:pt x="90" y="83"/>
                  </a:lnTo>
                  <a:lnTo>
                    <a:pt x="92" y="83"/>
                  </a:lnTo>
                  <a:lnTo>
                    <a:pt x="97" y="88"/>
                  </a:lnTo>
                  <a:lnTo>
                    <a:pt x="99" y="97"/>
                  </a:lnTo>
                  <a:lnTo>
                    <a:pt x="106" y="114"/>
                  </a:lnTo>
                  <a:lnTo>
                    <a:pt x="109" y="116"/>
                  </a:lnTo>
                  <a:lnTo>
                    <a:pt x="109" y="121"/>
                  </a:lnTo>
                  <a:lnTo>
                    <a:pt x="116" y="128"/>
                  </a:lnTo>
                  <a:lnTo>
                    <a:pt x="118" y="135"/>
                  </a:lnTo>
                  <a:lnTo>
                    <a:pt x="123" y="140"/>
                  </a:lnTo>
                  <a:lnTo>
                    <a:pt x="123" y="147"/>
                  </a:lnTo>
                  <a:lnTo>
                    <a:pt x="125" y="154"/>
                  </a:lnTo>
                  <a:lnTo>
                    <a:pt x="130" y="156"/>
                  </a:lnTo>
                  <a:lnTo>
                    <a:pt x="132" y="163"/>
                  </a:lnTo>
                  <a:lnTo>
                    <a:pt x="135" y="163"/>
                  </a:lnTo>
                  <a:lnTo>
                    <a:pt x="158" y="187"/>
                  </a:lnTo>
                  <a:lnTo>
                    <a:pt x="163" y="192"/>
                  </a:lnTo>
                  <a:lnTo>
                    <a:pt x="170" y="196"/>
                  </a:lnTo>
                  <a:lnTo>
                    <a:pt x="175" y="208"/>
                  </a:lnTo>
                  <a:lnTo>
                    <a:pt x="187" y="218"/>
                  </a:lnTo>
                  <a:lnTo>
                    <a:pt x="189" y="220"/>
                  </a:lnTo>
                  <a:lnTo>
                    <a:pt x="189" y="225"/>
                  </a:lnTo>
                  <a:lnTo>
                    <a:pt x="194" y="232"/>
                  </a:lnTo>
                  <a:lnTo>
                    <a:pt x="194" y="237"/>
                  </a:lnTo>
                  <a:lnTo>
                    <a:pt x="196" y="241"/>
                  </a:lnTo>
                  <a:lnTo>
                    <a:pt x="196" y="248"/>
                  </a:lnTo>
                  <a:lnTo>
                    <a:pt x="203" y="267"/>
                  </a:lnTo>
                  <a:lnTo>
                    <a:pt x="206" y="267"/>
                  </a:lnTo>
                  <a:lnTo>
                    <a:pt x="210" y="270"/>
                  </a:lnTo>
                  <a:lnTo>
                    <a:pt x="213" y="274"/>
                  </a:lnTo>
                  <a:lnTo>
                    <a:pt x="215" y="277"/>
                  </a:lnTo>
                  <a:lnTo>
                    <a:pt x="222" y="284"/>
                  </a:lnTo>
                  <a:lnTo>
                    <a:pt x="222" y="289"/>
                  </a:lnTo>
                  <a:lnTo>
                    <a:pt x="227" y="291"/>
                  </a:lnTo>
                  <a:lnTo>
                    <a:pt x="229" y="291"/>
                  </a:lnTo>
                  <a:lnTo>
                    <a:pt x="234" y="298"/>
                  </a:lnTo>
                  <a:lnTo>
                    <a:pt x="239" y="305"/>
                  </a:lnTo>
                  <a:lnTo>
                    <a:pt x="239" y="310"/>
                  </a:lnTo>
                  <a:lnTo>
                    <a:pt x="250" y="317"/>
                  </a:lnTo>
                  <a:lnTo>
                    <a:pt x="302" y="317"/>
                  </a:lnTo>
                  <a:lnTo>
                    <a:pt x="312" y="324"/>
                  </a:lnTo>
                  <a:lnTo>
                    <a:pt x="317" y="329"/>
                  </a:lnTo>
                  <a:lnTo>
                    <a:pt x="324" y="331"/>
                  </a:lnTo>
                  <a:lnTo>
                    <a:pt x="335" y="331"/>
                  </a:lnTo>
                  <a:lnTo>
                    <a:pt x="335" y="333"/>
                  </a:lnTo>
                  <a:lnTo>
                    <a:pt x="340" y="338"/>
                  </a:lnTo>
                  <a:lnTo>
                    <a:pt x="343" y="345"/>
                  </a:lnTo>
                  <a:lnTo>
                    <a:pt x="357" y="362"/>
                  </a:lnTo>
                  <a:lnTo>
                    <a:pt x="364" y="362"/>
                  </a:lnTo>
                  <a:lnTo>
                    <a:pt x="366" y="364"/>
                  </a:lnTo>
                  <a:lnTo>
                    <a:pt x="371" y="362"/>
                  </a:lnTo>
                  <a:lnTo>
                    <a:pt x="383" y="362"/>
                  </a:lnTo>
                  <a:lnTo>
                    <a:pt x="392" y="357"/>
                  </a:lnTo>
                  <a:lnTo>
                    <a:pt x="392" y="355"/>
                  </a:lnTo>
                  <a:lnTo>
                    <a:pt x="399" y="362"/>
                  </a:lnTo>
                  <a:lnTo>
                    <a:pt x="399" y="364"/>
                  </a:lnTo>
                  <a:lnTo>
                    <a:pt x="404" y="371"/>
                  </a:lnTo>
                  <a:lnTo>
                    <a:pt x="399" y="374"/>
                  </a:lnTo>
                  <a:lnTo>
                    <a:pt x="399" y="381"/>
                  </a:lnTo>
                  <a:lnTo>
                    <a:pt x="404" y="385"/>
                  </a:lnTo>
                  <a:lnTo>
                    <a:pt x="413" y="390"/>
                  </a:lnTo>
                  <a:lnTo>
                    <a:pt x="420" y="395"/>
                  </a:lnTo>
                  <a:lnTo>
                    <a:pt x="430" y="397"/>
                  </a:lnTo>
                  <a:lnTo>
                    <a:pt x="432" y="402"/>
                  </a:lnTo>
                  <a:lnTo>
                    <a:pt x="432" y="404"/>
                  </a:lnTo>
                  <a:lnTo>
                    <a:pt x="439" y="411"/>
                  </a:lnTo>
                  <a:lnTo>
                    <a:pt x="439" y="418"/>
                  </a:lnTo>
                  <a:lnTo>
                    <a:pt x="444" y="426"/>
                  </a:lnTo>
                  <a:lnTo>
                    <a:pt x="446" y="426"/>
                  </a:lnTo>
                  <a:lnTo>
                    <a:pt x="446" y="42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8" name="Freeform 243">
              <a:extLst>
                <a:ext uri="{FF2B5EF4-FFF2-40B4-BE49-F238E27FC236}">
                  <a16:creationId xmlns:a16="http://schemas.microsoft.com/office/drawing/2014/main" id="{49593600-82AD-47DD-955D-DA02165D64B0}"/>
                </a:ext>
              </a:extLst>
            </p:cNvPr>
            <p:cNvSpPr>
              <a:spLocks/>
            </p:cNvSpPr>
            <p:nvPr/>
          </p:nvSpPr>
          <p:spPr bwMode="gray">
            <a:xfrm rot="47099">
              <a:off x="1329215" y="4029204"/>
              <a:ext cx="40458" cy="33944"/>
            </a:xfrm>
            <a:custGeom>
              <a:avLst/>
              <a:gdLst>
                <a:gd name="T0" fmla="*/ 85 w 87"/>
                <a:gd name="T1" fmla="*/ 42 h 73"/>
                <a:gd name="T2" fmla="*/ 85 w 87"/>
                <a:gd name="T3" fmla="*/ 45 h 73"/>
                <a:gd name="T4" fmla="*/ 78 w 87"/>
                <a:gd name="T5" fmla="*/ 50 h 73"/>
                <a:gd name="T6" fmla="*/ 64 w 87"/>
                <a:gd name="T7" fmla="*/ 61 h 73"/>
                <a:gd name="T8" fmla="*/ 61 w 87"/>
                <a:gd name="T9" fmla="*/ 66 h 73"/>
                <a:gd name="T10" fmla="*/ 57 w 87"/>
                <a:gd name="T11" fmla="*/ 68 h 73"/>
                <a:gd name="T12" fmla="*/ 54 w 87"/>
                <a:gd name="T13" fmla="*/ 68 h 73"/>
                <a:gd name="T14" fmla="*/ 50 w 87"/>
                <a:gd name="T15" fmla="*/ 73 h 73"/>
                <a:gd name="T16" fmla="*/ 47 w 87"/>
                <a:gd name="T17" fmla="*/ 68 h 73"/>
                <a:gd name="T18" fmla="*/ 31 w 87"/>
                <a:gd name="T19" fmla="*/ 68 h 73"/>
                <a:gd name="T20" fmla="*/ 31 w 87"/>
                <a:gd name="T21" fmla="*/ 66 h 73"/>
                <a:gd name="T22" fmla="*/ 24 w 87"/>
                <a:gd name="T23" fmla="*/ 66 h 73"/>
                <a:gd name="T24" fmla="*/ 24 w 87"/>
                <a:gd name="T25" fmla="*/ 61 h 73"/>
                <a:gd name="T26" fmla="*/ 21 w 87"/>
                <a:gd name="T27" fmla="*/ 61 h 73"/>
                <a:gd name="T28" fmla="*/ 16 w 87"/>
                <a:gd name="T29" fmla="*/ 59 h 73"/>
                <a:gd name="T30" fmla="*/ 14 w 87"/>
                <a:gd name="T31" fmla="*/ 59 h 73"/>
                <a:gd name="T32" fmla="*/ 9 w 87"/>
                <a:gd name="T33" fmla="*/ 61 h 73"/>
                <a:gd name="T34" fmla="*/ 5 w 87"/>
                <a:gd name="T35" fmla="*/ 59 h 73"/>
                <a:gd name="T36" fmla="*/ 0 w 87"/>
                <a:gd name="T37" fmla="*/ 57 h 73"/>
                <a:gd name="T38" fmla="*/ 0 w 87"/>
                <a:gd name="T39" fmla="*/ 45 h 73"/>
                <a:gd name="T40" fmla="*/ 5 w 87"/>
                <a:gd name="T41" fmla="*/ 42 h 73"/>
                <a:gd name="T42" fmla="*/ 7 w 87"/>
                <a:gd name="T43" fmla="*/ 35 h 73"/>
                <a:gd name="T44" fmla="*/ 9 w 87"/>
                <a:gd name="T45" fmla="*/ 35 h 73"/>
                <a:gd name="T46" fmla="*/ 14 w 87"/>
                <a:gd name="T47" fmla="*/ 33 h 73"/>
                <a:gd name="T48" fmla="*/ 16 w 87"/>
                <a:gd name="T49" fmla="*/ 26 h 73"/>
                <a:gd name="T50" fmla="*/ 16 w 87"/>
                <a:gd name="T51" fmla="*/ 19 h 73"/>
                <a:gd name="T52" fmla="*/ 21 w 87"/>
                <a:gd name="T53" fmla="*/ 16 h 73"/>
                <a:gd name="T54" fmla="*/ 24 w 87"/>
                <a:gd name="T55" fmla="*/ 12 h 73"/>
                <a:gd name="T56" fmla="*/ 38 w 87"/>
                <a:gd name="T57" fmla="*/ 12 h 73"/>
                <a:gd name="T58" fmla="*/ 38 w 87"/>
                <a:gd name="T59" fmla="*/ 9 h 73"/>
                <a:gd name="T60" fmla="*/ 40 w 87"/>
                <a:gd name="T61" fmla="*/ 5 h 73"/>
                <a:gd name="T62" fmla="*/ 40 w 87"/>
                <a:gd name="T63" fmla="*/ 2 h 73"/>
                <a:gd name="T64" fmla="*/ 47 w 87"/>
                <a:gd name="T65" fmla="*/ 2 h 73"/>
                <a:gd name="T66" fmla="*/ 47 w 87"/>
                <a:gd name="T67" fmla="*/ 0 h 73"/>
                <a:gd name="T68" fmla="*/ 54 w 87"/>
                <a:gd name="T69" fmla="*/ 9 h 73"/>
                <a:gd name="T70" fmla="*/ 61 w 87"/>
                <a:gd name="T71" fmla="*/ 12 h 73"/>
                <a:gd name="T72" fmla="*/ 64 w 87"/>
                <a:gd name="T73" fmla="*/ 16 h 73"/>
                <a:gd name="T74" fmla="*/ 71 w 87"/>
                <a:gd name="T75" fmla="*/ 19 h 73"/>
                <a:gd name="T76" fmla="*/ 73 w 87"/>
                <a:gd name="T77" fmla="*/ 28 h 73"/>
                <a:gd name="T78" fmla="*/ 85 w 87"/>
                <a:gd name="T79" fmla="*/ 40 h 73"/>
                <a:gd name="T80" fmla="*/ 87 w 87"/>
                <a:gd name="T81" fmla="*/ 40 h 73"/>
                <a:gd name="T82" fmla="*/ 85 w 87"/>
                <a:gd name="T83" fmla="*/ 42 h 7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7"/>
                <a:gd name="T127" fmla="*/ 0 h 73"/>
                <a:gd name="T128" fmla="*/ 87 w 87"/>
                <a:gd name="T129" fmla="*/ 73 h 7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7" h="73">
                  <a:moveTo>
                    <a:pt x="85" y="42"/>
                  </a:moveTo>
                  <a:lnTo>
                    <a:pt x="85" y="45"/>
                  </a:lnTo>
                  <a:lnTo>
                    <a:pt x="78" y="50"/>
                  </a:lnTo>
                  <a:lnTo>
                    <a:pt x="64" y="61"/>
                  </a:lnTo>
                  <a:lnTo>
                    <a:pt x="61" y="66"/>
                  </a:lnTo>
                  <a:lnTo>
                    <a:pt x="57" y="68"/>
                  </a:lnTo>
                  <a:lnTo>
                    <a:pt x="54" y="68"/>
                  </a:lnTo>
                  <a:lnTo>
                    <a:pt x="50" y="73"/>
                  </a:lnTo>
                  <a:lnTo>
                    <a:pt x="47" y="68"/>
                  </a:lnTo>
                  <a:lnTo>
                    <a:pt x="31" y="68"/>
                  </a:lnTo>
                  <a:lnTo>
                    <a:pt x="31" y="66"/>
                  </a:lnTo>
                  <a:lnTo>
                    <a:pt x="24" y="66"/>
                  </a:lnTo>
                  <a:lnTo>
                    <a:pt x="24" y="61"/>
                  </a:lnTo>
                  <a:lnTo>
                    <a:pt x="21" y="61"/>
                  </a:lnTo>
                  <a:lnTo>
                    <a:pt x="16" y="59"/>
                  </a:lnTo>
                  <a:lnTo>
                    <a:pt x="14" y="59"/>
                  </a:lnTo>
                  <a:lnTo>
                    <a:pt x="9" y="61"/>
                  </a:lnTo>
                  <a:lnTo>
                    <a:pt x="5" y="59"/>
                  </a:lnTo>
                  <a:lnTo>
                    <a:pt x="0" y="57"/>
                  </a:lnTo>
                  <a:lnTo>
                    <a:pt x="0" y="45"/>
                  </a:lnTo>
                  <a:lnTo>
                    <a:pt x="5" y="42"/>
                  </a:lnTo>
                  <a:lnTo>
                    <a:pt x="7" y="35"/>
                  </a:lnTo>
                  <a:lnTo>
                    <a:pt x="9" y="35"/>
                  </a:lnTo>
                  <a:lnTo>
                    <a:pt x="14" y="33"/>
                  </a:lnTo>
                  <a:lnTo>
                    <a:pt x="16" y="26"/>
                  </a:lnTo>
                  <a:lnTo>
                    <a:pt x="16" y="19"/>
                  </a:lnTo>
                  <a:lnTo>
                    <a:pt x="21" y="16"/>
                  </a:lnTo>
                  <a:lnTo>
                    <a:pt x="24" y="12"/>
                  </a:lnTo>
                  <a:lnTo>
                    <a:pt x="38" y="12"/>
                  </a:lnTo>
                  <a:lnTo>
                    <a:pt x="38" y="9"/>
                  </a:lnTo>
                  <a:lnTo>
                    <a:pt x="40" y="5"/>
                  </a:lnTo>
                  <a:lnTo>
                    <a:pt x="40" y="2"/>
                  </a:lnTo>
                  <a:lnTo>
                    <a:pt x="47" y="2"/>
                  </a:lnTo>
                  <a:lnTo>
                    <a:pt x="47" y="0"/>
                  </a:lnTo>
                  <a:lnTo>
                    <a:pt x="54" y="9"/>
                  </a:lnTo>
                  <a:lnTo>
                    <a:pt x="61" y="12"/>
                  </a:lnTo>
                  <a:lnTo>
                    <a:pt x="64" y="16"/>
                  </a:lnTo>
                  <a:lnTo>
                    <a:pt x="71" y="19"/>
                  </a:lnTo>
                  <a:lnTo>
                    <a:pt x="73" y="28"/>
                  </a:lnTo>
                  <a:lnTo>
                    <a:pt x="85" y="40"/>
                  </a:lnTo>
                  <a:lnTo>
                    <a:pt x="87" y="40"/>
                  </a:lnTo>
                  <a:lnTo>
                    <a:pt x="85" y="4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59" name="Freeform 244">
              <a:extLst>
                <a:ext uri="{FF2B5EF4-FFF2-40B4-BE49-F238E27FC236}">
                  <a16:creationId xmlns:a16="http://schemas.microsoft.com/office/drawing/2014/main" id="{D70FBD4E-C78F-47AD-B528-682A4F182269}"/>
                </a:ext>
              </a:extLst>
            </p:cNvPr>
            <p:cNvSpPr>
              <a:spLocks/>
            </p:cNvSpPr>
            <p:nvPr/>
          </p:nvSpPr>
          <p:spPr bwMode="gray">
            <a:xfrm rot="47099">
              <a:off x="1417321" y="4064507"/>
              <a:ext cx="61850" cy="69283"/>
            </a:xfrm>
            <a:custGeom>
              <a:avLst/>
              <a:gdLst>
                <a:gd name="T0" fmla="*/ 40 w 133"/>
                <a:gd name="T1" fmla="*/ 142 h 149"/>
                <a:gd name="T2" fmla="*/ 36 w 133"/>
                <a:gd name="T3" fmla="*/ 137 h 149"/>
                <a:gd name="T4" fmla="*/ 31 w 133"/>
                <a:gd name="T5" fmla="*/ 130 h 149"/>
                <a:gd name="T6" fmla="*/ 24 w 133"/>
                <a:gd name="T7" fmla="*/ 123 h 149"/>
                <a:gd name="T8" fmla="*/ 12 w 133"/>
                <a:gd name="T9" fmla="*/ 106 h 149"/>
                <a:gd name="T10" fmla="*/ 10 w 133"/>
                <a:gd name="T11" fmla="*/ 92 h 149"/>
                <a:gd name="T12" fmla="*/ 0 w 133"/>
                <a:gd name="T13" fmla="*/ 85 h 149"/>
                <a:gd name="T14" fmla="*/ 10 w 133"/>
                <a:gd name="T15" fmla="*/ 66 h 149"/>
                <a:gd name="T16" fmla="*/ 19 w 133"/>
                <a:gd name="T17" fmla="*/ 64 h 149"/>
                <a:gd name="T18" fmla="*/ 40 w 133"/>
                <a:gd name="T19" fmla="*/ 66 h 149"/>
                <a:gd name="T20" fmla="*/ 48 w 133"/>
                <a:gd name="T21" fmla="*/ 52 h 149"/>
                <a:gd name="T22" fmla="*/ 52 w 133"/>
                <a:gd name="T23" fmla="*/ 40 h 149"/>
                <a:gd name="T24" fmla="*/ 59 w 133"/>
                <a:gd name="T25" fmla="*/ 43 h 149"/>
                <a:gd name="T26" fmla="*/ 74 w 133"/>
                <a:gd name="T27" fmla="*/ 36 h 149"/>
                <a:gd name="T28" fmla="*/ 71 w 133"/>
                <a:gd name="T29" fmla="*/ 33 h 149"/>
                <a:gd name="T30" fmla="*/ 74 w 133"/>
                <a:gd name="T31" fmla="*/ 12 h 149"/>
                <a:gd name="T32" fmla="*/ 81 w 133"/>
                <a:gd name="T33" fmla="*/ 10 h 149"/>
                <a:gd name="T34" fmla="*/ 83 w 133"/>
                <a:gd name="T35" fmla="*/ 17 h 149"/>
                <a:gd name="T36" fmla="*/ 97 w 133"/>
                <a:gd name="T37" fmla="*/ 19 h 149"/>
                <a:gd name="T38" fmla="*/ 104 w 133"/>
                <a:gd name="T39" fmla="*/ 10 h 149"/>
                <a:gd name="T40" fmla="*/ 116 w 133"/>
                <a:gd name="T41" fmla="*/ 3 h 149"/>
                <a:gd name="T42" fmla="*/ 128 w 133"/>
                <a:gd name="T43" fmla="*/ 29 h 149"/>
                <a:gd name="T44" fmla="*/ 133 w 133"/>
                <a:gd name="T45" fmla="*/ 33 h 149"/>
                <a:gd name="T46" fmla="*/ 116 w 133"/>
                <a:gd name="T47" fmla="*/ 45 h 149"/>
                <a:gd name="T48" fmla="*/ 107 w 133"/>
                <a:gd name="T49" fmla="*/ 50 h 149"/>
                <a:gd name="T50" fmla="*/ 104 w 133"/>
                <a:gd name="T51" fmla="*/ 64 h 149"/>
                <a:gd name="T52" fmla="*/ 97 w 133"/>
                <a:gd name="T53" fmla="*/ 69 h 149"/>
                <a:gd name="T54" fmla="*/ 92 w 133"/>
                <a:gd name="T55" fmla="*/ 85 h 149"/>
                <a:gd name="T56" fmla="*/ 76 w 133"/>
                <a:gd name="T57" fmla="*/ 97 h 149"/>
                <a:gd name="T58" fmla="*/ 66 w 133"/>
                <a:gd name="T59" fmla="*/ 123 h 149"/>
                <a:gd name="T60" fmla="*/ 64 w 133"/>
                <a:gd name="T61" fmla="*/ 123 h 149"/>
                <a:gd name="T62" fmla="*/ 57 w 133"/>
                <a:gd name="T63" fmla="*/ 130 h 149"/>
                <a:gd name="T64" fmla="*/ 52 w 133"/>
                <a:gd name="T65" fmla="*/ 137 h 149"/>
                <a:gd name="T66" fmla="*/ 50 w 133"/>
                <a:gd name="T67" fmla="*/ 140 h 1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3"/>
                <a:gd name="T103" fmla="*/ 0 h 149"/>
                <a:gd name="T104" fmla="*/ 133 w 133"/>
                <a:gd name="T105" fmla="*/ 149 h 14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3" h="149">
                  <a:moveTo>
                    <a:pt x="40" y="149"/>
                  </a:moveTo>
                  <a:lnTo>
                    <a:pt x="40" y="142"/>
                  </a:lnTo>
                  <a:lnTo>
                    <a:pt x="36" y="140"/>
                  </a:lnTo>
                  <a:lnTo>
                    <a:pt x="36" y="137"/>
                  </a:lnTo>
                  <a:lnTo>
                    <a:pt x="33" y="132"/>
                  </a:lnTo>
                  <a:lnTo>
                    <a:pt x="31" y="130"/>
                  </a:lnTo>
                  <a:lnTo>
                    <a:pt x="26" y="125"/>
                  </a:lnTo>
                  <a:lnTo>
                    <a:pt x="24" y="123"/>
                  </a:lnTo>
                  <a:lnTo>
                    <a:pt x="12" y="114"/>
                  </a:lnTo>
                  <a:lnTo>
                    <a:pt x="12" y="106"/>
                  </a:lnTo>
                  <a:lnTo>
                    <a:pt x="10" y="99"/>
                  </a:lnTo>
                  <a:lnTo>
                    <a:pt x="10" y="92"/>
                  </a:lnTo>
                  <a:lnTo>
                    <a:pt x="3" y="85"/>
                  </a:lnTo>
                  <a:lnTo>
                    <a:pt x="0" y="85"/>
                  </a:lnTo>
                  <a:lnTo>
                    <a:pt x="0" y="83"/>
                  </a:lnTo>
                  <a:lnTo>
                    <a:pt x="10" y="66"/>
                  </a:lnTo>
                  <a:lnTo>
                    <a:pt x="12" y="64"/>
                  </a:lnTo>
                  <a:lnTo>
                    <a:pt x="19" y="64"/>
                  </a:lnTo>
                  <a:lnTo>
                    <a:pt x="36" y="66"/>
                  </a:lnTo>
                  <a:lnTo>
                    <a:pt x="40" y="66"/>
                  </a:lnTo>
                  <a:lnTo>
                    <a:pt x="43" y="64"/>
                  </a:lnTo>
                  <a:lnTo>
                    <a:pt x="48" y="52"/>
                  </a:lnTo>
                  <a:lnTo>
                    <a:pt x="50" y="43"/>
                  </a:lnTo>
                  <a:lnTo>
                    <a:pt x="52" y="40"/>
                  </a:lnTo>
                  <a:lnTo>
                    <a:pt x="57" y="40"/>
                  </a:lnTo>
                  <a:lnTo>
                    <a:pt x="59" y="43"/>
                  </a:lnTo>
                  <a:lnTo>
                    <a:pt x="66" y="43"/>
                  </a:lnTo>
                  <a:lnTo>
                    <a:pt x="74" y="36"/>
                  </a:lnTo>
                  <a:lnTo>
                    <a:pt x="74" y="33"/>
                  </a:lnTo>
                  <a:lnTo>
                    <a:pt x="71" y="33"/>
                  </a:lnTo>
                  <a:lnTo>
                    <a:pt x="71" y="19"/>
                  </a:lnTo>
                  <a:lnTo>
                    <a:pt x="74" y="12"/>
                  </a:lnTo>
                  <a:lnTo>
                    <a:pt x="74" y="10"/>
                  </a:lnTo>
                  <a:lnTo>
                    <a:pt x="81" y="10"/>
                  </a:lnTo>
                  <a:lnTo>
                    <a:pt x="81" y="12"/>
                  </a:lnTo>
                  <a:lnTo>
                    <a:pt x="83" y="17"/>
                  </a:lnTo>
                  <a:lnTo>
                    <a:pt x="88" y="19"/>
                  </a:lnTo>
                  <a:lnTo>
                    <a:pt x="97" y="19"/>
                  </a:lnTo>
                  <a:lnTo>
                    <a:pt x="104" y="17"/>
                  </a:lnTo>
                  <a:lnTo>
                    <a:pt x="104" y="10"/>
                  </a:lnTo>
                  <a:lnTo>
                    <a:pt x="107" y="10"/>
                  </a:lnTo>
                  <a:lnTo>
                    <a:pt x="116" y="3"/>
                  </a:lnTo>
                  <a:lnTo>
                    <a:pt x="121" y="0"/>
                  </a:lnTo>
                  <a:lnTo>
                    <a:pt x="128" y="29"/>
                  </a:lnTo>
                  <a:lnTo>
                    <a:pt x="130" y="33"/>
                  </a:lnTo>
                  <a:lnTo>
                    <a:pt x="133" y="33"/>
                  </a:lnTo>
                  <a:lnTo>
                    <a:pt x="133" y="43"/>
                  </a:lnTo>
                  <a:lnTo>
                    <a:pt x="116" y="45"/>
                  </a:lnTo>
                  <a:lnTo>
                    <a:pt x="109" y="45"/>
                  </a:lnTo>
                  <a:lnTo>
                    <a:pt x="107" y="50"/>
                  </a:lnTo>
                  <a:lnTo>
                    <a:pt x="107" y="52"/>
                  </a:lnTo>
                  <a:lnTo>
                    <a:pt x="104" y="64"/>
                  </a:lnTo>
                  <a:lnTo>
                    <a:pt x="99" y="69"/>
                  </a:lnTo>
                  <a:lnTo>
                    <a:pt x="97" y="69"/>
                  </a:lnTo>
                  <a:lnTo>
                    <a:pt x="92" y="73"/>
                  </a:lnTo>
                  <a:lnTo>
                    <a:pt x="92" y="85"/>
                  </a:lnTo>
                  <a:lnTo>
                    <a:pt x="88" y="90"/>
                  </a:lnTo>
                  <a:lnTo>
                    <a:pt x="76" y="97"/>
                  </a:lnTo>
                  <a:lnTo>
                    <a:pt x="66" y="99"/>
                  </a:lnTo>
                  <a:lnTo>
                    <a:pt x="66" y="123"/>
                  </a:lnTo>
                  <a:lnTo>
                    <a:pt x="64" y="121"/>
                  </a:lnTo>
                  <a:lnTo>
                    <a:pt x="64" y="123"/>
                  </a:lnTo>
                  <a:lnTo>
                    <a:pt x="57" y="123"/>
                  </a:lnTo>
                  <a:lnTo>
                    <a:pt x="57" y="130"/>
                  </a:lnTo>
                  <a:lnTo>
                    <a:pt x="52" y="132"/>
                  </a:lnTo>
                  <a:lnTo>
                    <a:pt x="52" y="137"/>
                  </a:lnTo>
                  <a:lnTo>
                    <a:pt x="50" y="137"/>
                  </a:lnTo>
                  <a:lnTo>
                    <a:pt x="50" y="140"/>
                  </a:lnTo>
                  <a:lnTo>
                    <a:pt x="40" y="14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0" name="Freeform 245">
              <a:extLst>
                <a:ext uri="{FF2B5EF4-FFF2-40B4-BE49-F238E27FC236}">
                  <a16:creationId xmlns:a16="http://schemas.microsoft.com/office/drawing/2014/main" id="{ACC3D979-5B35-49B8-A7B5-877CC48FFCBE}"/>
                </a:ext>
              </a:extLst>
            </p:cNvPr>
            <p:cNvSpPr>
              <a:spLocks/>
            </p:cNvSpPr>
            <p:nvPr/>
          </p:nvSpPr>
          <p:spPr bwMode="gray">
            <a:xfrm rot="47099">
              <a:off x="1356905" y="4056465"/>
              <a:ext cx="94868" cy="79047"/>
            </a:xfrm>
            <a:custGeom>
              <a:avLst/>
              <a:gdLst>
                <a:gd name="T0" fmla="*/ 156 w 204"/>
                <a:gd name="T1" fmla="*/ 141 h 170"/>
                <a:gd name="T2" fmla="*/ 154 w 204"/>
                <a:gd name="T3" fmla="*/ 153 h 170"/>
                <a:gd name="T4" fmla="*/ 147 w 204"/>
                <a:gd name="T5" fmla="*/ 165 h 170"/>
                <a:gd name="T6" fmla="*/ 140 w 204"/>
                <a:gd name="T7" fmla="*/ 170 h 170"/>
                <a:gd name="T8" fmla="*/ 123 w 204"/>
                <a:gd name="T9" fmla="*/ 163 h 170"/>
                <a:gd name="T10" fmla="*/ 116 w 204"/>
                <a:gd name="T11" fmla="*/ 165 h 170"/>
                <a:gd name="T12" fmla="*/ 102 w 204"/>
                <a:gd name="T13" fmla="*/ 158 h 170"/>
                <a:gd name="T14" fmla="*/ 97 w 204"/>
                <a:gd name="T15" fmla="*/ 156 h 170"/>
                <a:gd name="T16" fmla="*/ 81 w 204"/>
                <a:gd name="T17" fmla="*/ 156 h 170"/>
                <a:gd name="T18" fmla="*/ 66 w 204"/>
                <a:gd name="T19" fmla="*/ 158 h 170"/>
                <a:gd name="T20" fmla="*/ 64 w 204"/>
                <a:gd name="T21" fmla="*/ 156 h 170"/>
                <a:gd name="T22" fmla="*/ 59 w 204"/>
                <a:gd name="T23" fmla="*/ 146 h 170"/>
                <a:gd name="T24" fmla="*/ 43 w 204"/>
                <a:gd name="T25" fmla="*/ 132 h 170"/>
                <a:gd name="T26" fmla="*/ 41 w 204"/>
                <a:gd name="T27" fmla="*/ 139 h 170"/>
                <a:gd name="T28" fmla="*/ 17 w 204"/>
                <a:gd name="T29" fmla="*/ 141 h 170"/>
                <a:gd name="T30" fmla="*/ 12 w 204"/>
                <a:gd name="T31" fmla="*/ 125 h 170"/>
                <a:gd name="T32" fmla="*/ 0 w 204"/>
                <a:gd name="T33" fmla="*/ 122 h 170"/>
                <a:gd name="T34" fmla="*/ 3 w 204"/>
                <a:gd name="T35" fmla="*/ 115 h 170"/>
                <a:gd name="T36" fmla="*/ 5 w 204"/>
                <a:gd name="T37" fmla="*/ 113 h 170"/>
                <a:gd name="T38" fmla="*/ 12 w 204"/>
                <a:gd name="T39" fmla="*/ 108 h 170"/>
                <a:gd name="T40" fmla="*/ 5 w 204"/>
                <a:gd name="T41" fmla="*/ 96 h 170"/>
                <a:gd name="T42" fmla="*/ 3 w 204"/>
                <a:gd name="T43" fmla="*/ 89 h 170"/>
                <a:gd name="T44" fmla="*/ 10 w 204"/>
                <a:gd name="T45" fmla="*/ 80 h 170"/>
                <a:gd name="T46" fmla="*/ 33 w 204"/>
                <a:gd name="T47" fmla="*/ 56 h 170"/>
                <a:gd name="T48" fmla="*/ 43 w 204"/>
                <a:gd name="T49" fmla="*/ 49 h 170"/>
                <a:gd name="T50" fmla="*/ 45 w 204"/>
                <a:gd name="T51" fmla="*/ 40 h 170"/>
                <a:gd name="T52" fmla="*/ 43 w 204"/>
                <a:gd name="T53" fmla="*/ 21 h 170"/>
                <a:gd name="T54" fmla="*/ 50 w 204"/>
                <a:gd name="T55" fmla="*/ 19 h 170"/>
                <a:gd name="T56" fmla="*/ 45 w 204"/>
                <a:gd name="T57" fmla="*/ 4 h 170"/>
                <a:gd name="T58" fmla="*/ 52 w 204"/>
                <a:gd name="T59" fmla="*/ 0 h 170"/>
                <a:gd name="T60" fmla="*/ 74 w 204"/>
                <a:gd name="T61" fmla="*/ 2 h 170"/>
                <a:gd name="T62" fmla="*/ 81 w 204"/>
                <a:gd name="T63" fmla="*/ 4 h 170"/>
                <a:gd name="T64" fmla="*/ 97 w 204"/>
                <a:gd name="T65" fmla="*/ 9 h 170"/>
                <a:gd name="T66" fmla="*/ 102 w 204"/>
                <a:gd name="T67" fmla="*/ 11 h 170"/>
                <a:gd name="T68" fmla="*/ 116 w 204"/>
                <a:gd name="T69" fmla="*/ 21 h 170"/>
                <a:gd name="T70" fmla="*/ 123 w 204"/>
                <a:gd name="T71" fmla="*/ 28 h 170"/>
                <a:gd name="T72" fmla="*/ 142 w 204"/>
                <a:gd name="T73" fmla="*/ 21 h 170"/>
                <a:gd name="T74" fmla="*/ 147 w 204"/>
                <a:gd name="T75" fmla="*/ 16 h 170"/>
                <a:gd name="T76" fmla="*/ 163 w 204"/>
                <a:gd name="T77" fmla="*/ 19 h 170"/>
                <a:gd name="T78" fmla="*/ 166 w 204"/>
                <a:gd name="T79" fmla="*/ 21 h 170"/>
                <a:gd name="T80" fmla="*/ 180 w 204"/>
                <a:gd name="T81" fmla="*/ 28 h 170"/>
                <a:gd name="T82" fmla="*/ 201 w 204"/>
                <a:gd name="T83" fmla="*/ 35 h 170"/>
                <a:gd name="T84" fmla="*/ 204 w 204"/>
                <a:gd name="T85" fmla="*/ 49 h 170"/>
                <a:gd name="T86" fmla="*/ 196 w 204"/>
                <a:gd name="T87" fmla="*/ 59 h 170"/>
                <a:gd name="T88" fmla="*/ 187 w 204"/>
                <a:gd name="T89" fmla="*/ 56 h 170"/>
                <a:gd name="T90" fmla="*/ 180 w 204"/>
                <a:gd name="T91" fmla="*/ 59 h 170"/>
                <a:gd name="T92" fmla="*/ 173 w 204"/>
                <a:gd name="T93" fmla="*/ 80 h 170"/>
                <a:gd name="T94" fmla="*/ 166 w 204"/>
                <a:gd name="T95" fmla="*/ 82 h 170"/>
                <a:gd name="T96" fmla="*/ 142 w 204"/>
                <a:gd name="T97" fmla="*/ 80 h 170"/>
                <a:gd name="T98" fmla="*/ 130 w 204"/>
                <a:gd name="T99" fmla="*/ 99 h 170"/>
                <a:gd name="T100" fmla="*/ 133 w 204"/>
                <a:gd name="T101" fmla="*/ 101 h 170"/>
                <a:gd name="T102" fmla="*/ 140 w 204"/>
                <a:gd name="T103" fmla="*/ 115 h 170"/>
                <a:gd name="T104" fmla="*/ 142 w 204"/>
                <a:gd name="T105" fmla="*/ 130 h 170"/>
                <a:gd name="T106" fmla="*/ 156 w 204"/>
                <a:gd name="T107" fmla="*/ 141 h 17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4"/>
                <a:gd name="T163" fmla="*/ 0 h 170"/>
                <a:gd name="T164" fmla="*/ 204 w 204"/>
                <a:gd name="T165" fmla="*/ 170 h 17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4" h="170">
                  <a:moveTo>
                    <a:pt x="156" y="141"/>
                  </a:moveTo>
                  <a:lnTo>
                    <a:pt x="156" y="141"/>
                  </a:lnTo>
                  <a:lnTo>
                    <a:pt x="154" y="146"/>
                  </a:lnTo>
                  <a:lnTo>
                    <a:pt x="154" y="153"/>
                  </a:lnTo>
                  <a:lnTo>
                    <a:pt x="149" y="156"/>
                  </a:lnTo>
                  <a:lnTo>
                    <a:pt x="147" y="165"/>
                  </a:lnTo>
                  <a:lnTo>
                    <a:pt x="142" y="165"/>
                  </a:lnTo>
                  <a:lnTo>
                    <a:pt x="140" y="170"/>
                  </a:lnTo>
                  <a:lnTo>
                    <a:pt x="137" y="170"/>
                  </a:lnTo>
                  <a:lnTo>
                    <a:pt x="123" y="163"/>
                  </a:lnTo>
                  <a:lnTo>
                    <a:pt x="121" y="163"/>
                  </a:lnTo>
                  <a:lnTo>
                    <a:pt x="116" y="165"/>
                  </a:lnTo>
                  <a:lnTo>
                    <a:pt x="102" y="165"/>
                  </a:lnTo>
                  <a:lnTo>
                    <a:pt x="102" y="158"/>
                  </a:lnTo>
                  <a:lnTo>
                    <a:pt x="100" y="156"/>
                  </a:lnTo>
                  <a:lnTo>
                    <a:pt x="97" y="156"/>
                  </a:lnTo>
                  <a:lnTo>
                    <a:pt x="83" y="153"/>
                  </a:lnTo>
                  <a:lnTo>
                    <a:pt x="81" y="156"/>
                  </a:lnTo>
                  <a:lnTo>
                    <a:pt x="74" y="158"/>
                  </a:lnTo>
                  <a:lnTo>
                    <a:pt x="66" y="158"/>
                  </a:lnTo>
                  <a:lnTo>
                    <a:pt x="66" y="156"/>
                  </a:lnTo>
                  <a:lnTo>
                    <a:pt x="64" y="156"/>
                  </a:lnTo>
                  <a:lnTo>
                    <a:pt x="59" y="153"/>
                  </a:lnTo>
                  <a:lnTo>
                    <a:pt x="59" y="146"/>
                  </a:lnTo>
                  <a:lnTo>
                    <a:pt x="57" y="132"/>
                  </a:lnTo>
                  <a:lnTo>
                    <a:pt x="43" y="132"/>
                  </a:lnTo>
                  <a:lnTo>
                    <a:pt x="43" y="137"/>
                  </a:lnTo>
                  <a:lnTo>
                    <a:pt x="41" y="139"/>
                  </a:lnTo>
                  <a:lnTo>
                    <a:pt x="36" y="141"/>
                  </a:lnTo>
                  <a:lnTo>
                    <a:pt x="17" y="141"/>
                  </a:lnTo>
                  <a:lnTo>
                    <a:pt x="17" y="130"/>
                  </a:lnTo>
                  <a:lnTo>
                    <a:pt x="12" y="125"/>
                  </a:lnTo>
                  <a:lnTo>
                    <a:pt x="0" y="125"/>
                  </a:lnTo>
                  <a:lnTo>
                    <a:pt x="0" y="122"/>
                  </a:lnTo>
                  <a:lnTo>
                    <a:pt x="3" y="118"/>
                  </a:lnTo>
                  <a:lnTo>
                    <a:pt x="3" y="115"/>
                  </a:lnTo>
                  <a:lnTo>
                    <a:pt x="5" y="115"/>
                  </a:lnTo>
                  <a:lnTo>
                    <a:pt x="5" y="113"/>
                  </a:lnTo>
                  <a:lnTo>
                    <a:pt x="10" y="108"/>
                  </a:lnTo>
                  <a:lnTo>
                    <a:pt x="12" y="108"/>
                  </a:lnTo>
                  <a:lnTo>
                    <a:pt x="5" y="99"/>
                  </a:lnTo>
                  <a:lnTo>
                    <a:pt x="5" y="96"/>
                  </a:lnTo>
                  <a:lnTo>
                    <a:pt x="3" y="92"/>
                  </a:lnTo>
                  <a:lnTo>
                    <a:pt x="3" y="89"/>
                  </a:lnTo>
                  <a:lnTo>
                    <a:pt x="5" y="85"/>
                  </a:lnTo>
                  <a:lnTo>
                    <a:pt x="10" y="80"/>
                  </a:lnTo>
                  <a:lnTo>
                    <a:pt x="26" y="59"/>
                  </a:lnTo>
                  <a:lnTo>
                    <a:pt x="33" y="56"/>
                  </a:lnTo>
                  <a:lnTo>
                    <a:pt x="41" y="52"/>
                  </a:lnTo>
                  <a:lnTo>
                    <a:pt x="43" y="49"/>
                  </a:lnTo>
                  <a:lnTo>
                    <a:pt x="45" y="45"/>
                  </a:lnTo>
                  <a:lnTo>
                    <a:pt x="45" y="40"/>
                  </a:lnTo>
                  <a:lnTo>
                    <a:pt x="43" y="28"/>
                  </a:lnTo>
                  <a:lnTo>
                    <a:pt x="43" y="21"/>
                  </a:lnTo>
                  <a:lnTo>
                    <a:pt x="45" y="21"/>
                  </a:lnTo>
                  <a:lnTo>
                    <a:pt x="50" y="19"/>
                  </a:lnTo>
                  <a:lnTo>
                    <a:pt x="50" y="9"/>
                  </a:lnTo>
                  <a:lnTo>
                    <a:pt x="45" y="4"/>
                  </a:lnTo>
                  <a:lnTo>
                    <a:pt x="45" y="2"/>
                  </a:lnTo>
                  <a:lnTo>
                    <a:pt x="52" y="0"/>
                  </a:lnTo>
                  <a:lnTo>
                    <a:pt x="74" y="0"/>
                  </a:lnTo>
                  <a:lnTo>
                    <a:pt x="74" y="2"/>
                  </a:lnTo>
                  <a:lnTo>
                    <a:pt x="76" y="2"/>
                  </a:lnTo>
                  <a:lnTo>
                    <a:pt x="81" y="4"/>
                  </a:lnTo>
                  <a:lnTo>
                    <a:pt x="85" y="4"/>
                  </a:lnTo>
                  <a:lnTo>
                    <a:pt x="97" y="9"/>
                  </a:lnTo>
                  <a:lnTo>
                    <a:pt x="100" y="9"/>
                  </a:lnTo>
                  <a:lnTo>
                    <a:pt x="102" y="11"/>
                  </a:lnTo>
                  <a:lnTo>
                    <a:pt x="109" y="19"/>
                  </a:lnTo>
                  <a:lnTo>
                    <a:pt x="116" y="21"/>
                  </a:lnTo>
                  <a:lnTo>
                    <a:pt x="121" y="26"/>
                  </a:lnTo>
                  <a:lnTo>
                    <a:pt x="123" y="28"/>
                  </a:lnTo>
                  <a:lnTo>
                    <a:pt x="133" y="28"/>
                  </a:lnTo>
                  <a:lnTo>
                    <a:pt x="142" y="21"/>
                  </a:lnTo>
                  <a:lnTo>
                    <a:pt x="142" y="19"/>
                  </a:lnTo>
                  <a:lnTo>
                    <a:pt x="147" y="16"/>
                  </a:lnTo>
                  <a:lnTo>
                    <a:pt x="156" y="19"/>
                  </a:lnTo>
                  <a:lnTo>
                    <a:pt x="163" y="19"/>
                  </a:lnTo>
                  <a:lnTo>
                    <a:pt x="163" y="21"/>
                  </a:lnTo>
                  <a:lnTo>
                    <a:pt x="166" y="21"/>
                  </a:lnTo>
                  <a:lnTo>
                    <a:pt x="173" y="26"/>
                  </a:lnTo>
                  <a:lnTo>
                    <a:pt x="180" y="28"/>
                  </a:lnTo>
                  <a:lnTo>
                    <a:pt x="194" y="33"/>
                  </a:lnTo>
                  <a:lnTo>
                    <a:pt x="201" y="35"/>
                  </a:lnTo>
                  <a:lnTo>
                    <a:pt x="201" y="49"/>
                  </a:lnTo>
                  <a:lnTo>
                    <a:pt x="204" y="49"/>
                  </a:lnTo>
                  <a:lnTo>
                    <a:pt x="204" y="52"/>
                  </a:lnTo>
                  <a:lnTo>
                    <a:pt x="196" y="59"/>
                  </a:lnTo>
                  <a:lnTo>
                    <a:pt x="189" y="59"/>
                  </a:lnTo>
                  <a:lnTo>
                    <a:pt x="187" y="56"/>
                  </a:lnTo>
                  <a:lnTo>
                    <a:pt x="182" y="56"/>
                  </a:lnTo>
                  <a:lnTo>
                    <a:pt x="180" y="59"/>
                  </a:lnTo>
                  <a:lnTo>
                    <a:pt x="178" y="68"/>
                  </a:lnTo>
                  <a:lnTo>
                    <a:pt x="173" y="80"/>
                  </a:lnTo>
                  <a:lnTo>
                    <a:pt x="170" y="82"/>
                  </a:lnTo>
                  <a:lnTo>
                    <a:pt x="166" y="82"/>
                  </a:lnTo>
                  <a:lnTo>
                    <a:pt x="149" y="80"/>
                  </a:lnTo>
                  <a:lnTo>
                    <a:pt x="142" y="80"/>
                  </a:lnTo>
                  <a:lnTo>
                    <a:pt x="140" y="82"/>
                  </a:lnTo>
                  <a:lnTo>
                    <a:pt x="130" y="99"/>
                  </a:lnTo>
                  <a:lnTo>
                    <a:pt x="130" y="101"/>
                  </a:lnTo>
                  <a:lnTo>
                    <a:pt x="133" y="101"/>
                  </a:lnTo>
                  <a:lnTo>
                    <a:pt x="140" y="108"/>
                  </a:lnTo>
                  <a:lnTo>
                    <a:pt x="140" y="115"/>
                  </a:lnTo>
                  <a:lnTo>
                    <a:pt x="142" y="122"/>
                  </a:lnTo>
                  <a:lnTo>
                    <a:pt x="142" y="130"/>
                  </a:lnTo>
                  <a:lnTo>
                    <a:pt x="154" y="139"/>
                  </a:lnTo>
                  <a:lnTo>
                    <a:pt x="156" y="14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1" name="Freeform 249">
              <a:extLst>
                <a:ext uri="{FF2B5EF4-FFF2-40B4-BE49-F238E27FC236}">
                  <a16:creationId xmlns:a16="http://schemas.microsoft.com/office/drawing/2014/main" id="{A711A506-F922-4DD1-A800-BB523E527386}"/>
                </a:ext>
              </a:extLst>
            </p:cNvPr>
            <p:cNvSpPr>
              <a:spLocks/>
            </p:cNvSpPr>
            <p:nvPr/>
          </p:nvSpPr>
          <p:spPr bwMode="gray">
            <a:xfrm rot="47099">
              <a:off x="1447835" y="4076152"/>
              <a:ext cx="71616" cy="72538"/>
            </a:xfrm>
            <a:custGeom>
              <a:avLst/>
              <a:gdLst>
                <a:gd name="T0" fmla="*/ 145 w 154"/>
                <a:gd name="T1" fmla="*/ 85 h 156"/>
                <a:gd name="T2" fmla="*/ 140 w 154"/>
                <a:gd name="T3" fmla="*/ 92 h 156"/>
                <a:gd name="T4" fmla="*/ 135 w 154"/>
                <a:gd name="T5" fmla="*/ 97 h 156"/>
                <a:gd name="T6" fmla="*/ 140 w 154"/>
                <a:gd name="T7" fmla="*/ 101 h 156"/>
                <a:gd name="T8" fmla="*/ 147 w 154"/>
                <a:gd name="T9" fmla="*/ 108 h 156"/>
                <a:gd name="T10" fmla="*/ 140 w 154"/>
                <a:gd name="T11" fmla="*/ 123 h 156"/>
                <a:gd name="T12" fmla="*/ 137 w 154"/>
                <a:gd name="T13" fmla="*/ 125 h 156"/>
                <a:gd name="T14" fmla="*/ 135 w 154"/>
                <a:gd name="T15" fmla="*/ 132 h 156"/>
                <a:gd name="T16" fmla="*/ 140 w 154"/>
                <a:gd name="T17" fmla="*/ 149 h 156"/>
                <a:gd name="T18" fmla="*/ 135 w 154"/>
                <a:gd name="T19" fmla="*/ 146 h 156"/>
                <a:gd name="T20" fmla="*/ 123 w 154"/>
                <a:gd name="T21" fmla="*/ 153 h 156"/>
                <a:gd name="T22" fmla="*/ 102 w 154"/>
                <a:gd name="T23" fmla="*/ 156 h 156"/>
                <a:gd name="T24" fmla="*/ 107 w 154"/>
                <a:gd name="T25" fmla="*/ 142 h 156"/>
                <a:gd name="T26" fmla="*/ 102 w 154"/>
                <a:gd name="T27" fmla="*/ 137 h 156"/>
                <a:gd name="T28" fmla="*/ 88 w 154"/>
                <a:gd name="T29" fmla="*/ 132 h 156"/>
                <a:gd name="T30" fmla="*/ 81 w 154"/>
                <a:gd name="T31" fmla="*/ 137 h 156"/>
                <a:gd name="T32" fmla="*/ 74 w 154"/>
                <a:gd name="T33" fmla="*/ 137 h 156"/>
                <a:gd name="T34" fmla="*/ 78 w 154"/>
                <a:gd name="T35" fmla="*/ 125 h 156"/>
                <a:gd name="T36" fmla="*/ 71 w 154"/>
                <a:gd name="T37" fmla="*/ 116 h 156"/>
                <a:gd name="T38" fmla="*/ 55 w 154"/>
                <a:gd name="T39" fmla="*/ 123 h 156"/>
                <a:gd name="T40" fmla="*/ 43 w 154"/>
                <a:gd name="T41" fmla="*/ 137 h 156"/>
                <a:gd name="T42" fmla="*/ 38 w 154"/>
                <a:gd name="T43" fmla="*/ 139 h 156"/>
                <a:gd name="T44" fmla="*/ 33 w 154"/>
                <a:gd name="T45" fmla="*/ 132 h 156"/>
                <a:gd name="T46" fmla="*/ 31 w 154"/>
                <a:gd name="T47" fmla="*/ 130 h 156"/>
                <a:gd name="T48" fmla="*/ 26 w 154"/>
                <a:gd name="T49" fmla="*/ 118 h 156"/>
                <a:gd name="T50" fmla="*/ 31 w 154"/>
                <a:gd name="T51" fmla="*/ 116 h 156"/>
                <a:gd name="T52" fmla="*/ 24 w 154"/>
                <a:gd name="T53" fmla="*/ 108 h 156"/>
                <a:gd name="T54" fmla="*/ 5 w 154"/>
                <a:gd name="T55" fmla="*/ 99 h 156"/>
                <a:gd name="T56" fmla="*/ 0 w 154"/>
                <a:gd name="T57" fmla="*/ 75 h 156"/>
                <a:gd name="T58" fmla="*/ 22 w 154"/>
                <a:gd name="T59" fmla="*/ 66 h 156"/>
                <a:gd name="T60" fmla="*/ 26 w 154"/>
                <a:gd name="T61" fmla="*/ 49 h 156"/>
                <a:gd name="T62" fmla="*/ 33 w 154"/>
                <a:gd name="T63" fmla="*/ 45 h 156"/>
                <a:gd name="T64" fmla="*/ 41 w 154"/>
                <a:gd name="T65" fmla="*/ 28 h 156"/>
                <a:gd name="T66" fmla="*/ 43 w 154"/>
                <a:gd name="T67" fmla="*/ 21 h 156"/>
                <a:gd name="T68" fmla="*/ 67 w 154"/>
                <a:gd name="T69" fmla="*/ 19 h 156"/>
                <a:gd name="T70" fmla="*/ 71 w 154"/>
                <a:gd name="T71" fmla="*/ 9 h 156"/>
                <a:gd name="T72" fmla="*/ 74 w 154"/>
                <a:gd name="T73" fmla="*/ 5 h 156"/>
                <a:gd name="T74" fmla="*/ 78 w 154"/>
                <a:gd name="T75" fmla="*/ 12 h 156"/>
                <a:gd name="T76" fmla="*/ 88 w 154"/>
                <a:gd name="T77" fmla="*/ 16 h 156"/>
                <a:gd name="T78" fmla="*/ 104 w 154"/>
                <a:gd name="T79" fmla="*/ 2 h 156"/>
                <a:gd name="T80" fmla="*/ 107 w 154"/>
                <a:gd name="T81" fmla="*/ 0 h 156"/>
                <a:gd name="T82" fmla="*/ 114 w 154"/>
                <a:gd name="T83" fmla="*/ 12 h 156"/>
                <a:gd name="T84" fmla="*/ 128 w 154"/>
                <a:gd name="T85" fmla="*/ 19 h 156"/>
                <a:gd name="T86" fmla="*/ 135 w 154"/>
                <a:gd name="T87" fmla="*/ 12 h 156"/>
                <a:gd name="T88" fmla="*/ 145 w 154"/>
                <a:gd name="T89" fmla="*/ 28 h 156"/>
                <a:gd name="T90" fmla="*/ 130 w 154"/>
                <a:gd name="T91" fmla="*/ 45 h 156"/>
                <a:gd name="T92" fmla="*/ 111 w 154"/>
                <a:gd name="T93" fmla="*/ 56 h 156"/>
                <a:gd name="T94" fmla="*/ 119 w 154"/>
                <a:gd name="T95" fmla="*/ 59 h 156"/>
                <a:gd name="T96" fmla="*/ 111 w 154"/>
                <a:gd name="T97" fmla="*/ 73 h 156"/>
                <a:gd name="T98" fmla="*/ 114 w 154"/>
                <a:gd name="T99" fmla="*/ 90 h 156"/>
                <a:gd name="T100" fmla="*/ 128 w 154"/>
                <a:gd name="T101" fmla="*/ 82 h 156"/>
                <a:gd name="T102" fmla="*/ 137 w 154"/>
                <a:gd name="T103" fmla="*/ 73 h 156"/>
                <a:gd name="T104" fmla="*/ 140 w 154"/>
                <a:gd name="T105" fmla="*/ 66 h 156"/>
                <a:gd name="T106" fmla="*/ 147 w 154"/>
                <a:gd name="T107" fmla="*/ 61 h 156"/>
                <a:gd name="T108" fmla="*/ 154 w 154"/>
                <a:gd name="T109" fmla="*/ 73 h 156"/>
                <a:gd name="T110" fmla="*/ 152 w 154"/>
                <a:gd name="T111" fmla="*/ 78 h 1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4"/>
                <a:gd name="T169" fmla="*/ 0 h 156"/>
                <a:gd name="T170" fmla="*/ 154 w 154"/>
                <a:gd name="T171" fmla="*/ 156 h 1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4" h="156">
                  <a:moveTo>
                    <a:pt x="147" y="82"/>
                  </a:moveTo>
                  <a:lnTo>
                    <a:pt x="145" y="85"/>
                  </a:lnTo>
                  <a:lnTo>
                    <a:pt x="145" y="90"/>
                  </a:lnTo>
                  <a:lnTo>
                    <a:pt x="140" y="92"/>
                  </a:lnTo>
                  <a:lnTo>
                    <a:pt x="137" y="92"/>
                  </a:lnTo>
                  <a:lnTo>
                    <a:pt x="135" y="97"/>
                  </a:lnTo>
                  <a:lnTo>
                    <a:pt x="137" y="99"/>
                  </a:lnTo>
                  <a:lnTo>
                    <a:pt x="140" y="101"/>
                  </a:lnTo>
                  <a:lnTo>
                    <a:pt x="145" y="101"/>
                  </a:lnTo>
                  <a:lnTo>
                    <a:pt x="147" y="108"/>
                  </a:lnTo>
                  <a:lnTo>
                    <a:pt x="145" y="118"/>
                  </a:lnTo>
                  <a:lnTo>
                    <a:pt x="140" y="123"/>
                  </a:lnTo>
                  <a:lnTo>
                    <a:pt x="140" y="125"/>
                  </a:lnTo>
                  <a:lnTo>
                    <a:pt x="137" y="125"/>
                  </a:lnTo>
                  <a:lnTo>
                    <a:pt x="137" y="130"/>
                  </a:lnTo>
                  <a:lnTo>
                    <a:pt x="135" y="132"/>
                  </a:lnTo>
                  <a:lnTo>
                    <a:pt x="145" y="149"/>
                  </a:lnTo>
                  <a:lnTo>
                    <a:pt x="140" y="149"/>
                  </a:lnTo>
                  <a:lnTo>
                    <a:pt x="140" y="146"/>
                  </a:lnTo>
                  <a:lnTo>
                    <a:pt x="135" y="146"/>
                  </a:lnTo>
                  <a:lnTo>
                    <a:pt x="130" y="149"/>
                  </a:lnTo>
                  <a:lnTo>
                    <a:pt x="123" y="153"/>
                  </a:lnTo>
                  <a:lnTo>
                    <a:pt x="104" y="156"/>
                  </a:lnTo>
                  <a:lnTo>
                    <a:pt x="102" y="156"/>
                  </a:lnTo>
                  <a:lnTo>
                    <a:pt x="104" y="149"/>
                  </a:lnTo>
                  <a:lnTo>
                    <a:pt x="107" y="142"/>
                  </a:lnTo>
                  <a:lnTo>
                    <a:pt x="104" y="139"/>
                  </a:lnTo>
                  <a:lnTo>
                    <a:pt x="102" y="137"/>
                  </a:lnTo>
                  <a:lnTo>
                    <a:pt x="97" y="137"/>
                  </a:lnTo>
                  <a:lnTo>
                    <a:pt x="88" y="132"/>
                  </a:lnTo>
                  <a:lnTo>
                    <a:pt x="81" y="132"/>
                  </a:lnTo>
                  <a:lnTo>
                    <a:pt x="81" y="137"/>
                  </a:lnTo>
                  <a:lnTo>
                    <a:pt x="78" y="139"/>
                  </a:lnTo>
                  <a:lnTo>
                    <a:pt x="74" y="137"/>
                  </a:lnTo>
                  <a:lnTo>
                    <a:pt x="74" y="130"/>
                  </a:lnTo>
                  <a:lnTo>
                    <a:pt x="78" y="125"/>
                  </a:lnTo>
                  <a:lnTo>
                    <a:pt x="78" y="123"/>
                  </a:lnTo>
                  <a:lnTo>
                    <a:pt x="71" y="116"/>
                  </a:lnTo>
                  <a:lnTo>
                    <a:pt x="67" y="116"/>
                  </a:lnTo>
                  <a:lnTo>
                    <a:pt x="55" y="123"/>
                  </a:lnTo>
                  <a:lnTo>
                    <a:pt x="50" y="130"/>
                  </a:lnTo>
                  <a:lnTo>
                    <a:pt x="43" y="137"/>
                  </a:lnTo>
                  <a:lnTo>
                    <a:pt x="41" y="139"/>
                  </a:lnTo>
                  <a:lnTo>
                    <a:pt x="38" y="139"/>
                  </a:lnTo>
                  <a:lnTo>
                    <a:pt x="38" y="137"/>
                  </a:lnTo>
                  <a:lnTo>
                    <a:pt x="33" y="132"/>
                  </a:lnTo>
                  <a:lnTo>
                    <a:pt x="33" y="130"/>
                  </a:lnTo>
                  <a:lnTo>
                    <a:pt x="31" y="130"/>
                  </a:lnTo>
                  <a:lnTo>
                    <a:pt x="26" y="125"/>
                  </a:lnTo>
                  <a:lnTo>
                    <a:pt x="26" y="118"/>
                  </a:lnTo>
                  <a:lnTo>
                    <a:pt x="31" y="118"/>
                  </a:lnTo>
                  <a:lnTo>
                    <a:pt x="31" y="116"/>
                  </a:lnTo>
                  <a:lnTo>
                    <a:pt x="26" y="113"/>
                  </a:lnTo>
                  <a:lnTo>
                    <a:pt x="24" y="108"/>
                  </a:lnTo>
                  <a:lnTo>
                    <a:pt x="15" y="108"/>
                  </a:lnTo>
                  <a:lnTo>
                    <a:pt x="5" y="99"/>
                  </a:lnTo>
                  <a:lnTo>
                    <a:pt x="0" y="99"/>
                  </a:lnTo>
                  <a:lnTo>
                    <a:pt x="0" y="75"/>
                  </a:lnTo>
                  <a:lnTo>
                    <a:pt x="10" y="73"/>
                  </a:lnTo>
                  <a:lnTo>
                    <a:pt x="22" y="66"/>
                  </a:lnTo>
                  <a:lnTo>
                    <a:pt x="26" y="61"/>
                  </a:lnTo>
                  <a:lnTo>
                    <a:pt x="26" y="49"/>
                  </a:lnTo>
                  <a:lnTo>
                    <a:pt x="31" y="45"/>
                  </a:lnTo>
                  <a:lnTo>
                    <a:pt x="33" y="45"/>
                  </a:lnTo>
                  <a:lnTo>
                    <a:pt x="38" y="40"/>
                  </a:lnTo>
                  <a:lnTo>
                    <a:pt x="41" y="28"/>
                  </a:lnTo>
                  <a:lnTo>
                    <a:pt x="41" y="26"/>
                  </a:lnTo>
                  <a:lnTo>
                    <a:pt x="43" y="21"/>
                  </a:lnTo>
                  <a:lnTo>
                    <a:pt x="50" y="21"/>
                  </a:lnTo>
                  <a:lnTo>
                    <a:pt x="67" y="19"/>
                  </a:lnTo>
                  <a:lnTo>
                    <a:pt x="67" y="9"/>
                  </a:lnTo>
                  <a:lnTo>
                    <a:pt x="71" y="9"/>
                  </a:lnTo>
                  <a:lnTo>
                    <a:pt x="71" y="5"/>
                  </a:lnTo>
                  <a:lnTo>
                    <a:pt x="74" y="5"/>
                  </a:lnTo>
                  <a:lnTo>
                    <a:pt x="74" y="9"/>
                  </a:lnTo>
                  <a:lnTo>
                    <a:pt x="78" y="12"/>
                  </a:lnTo>
                  <a:lnTo>
                    <a:pt x="83" y="16"/>
                  </a:lnTo>
                  <a:lnTo>
                    <a:pt x="88" y="16"/>
                  </a:lnTo>
                  <a:lnTo>
                    <a:pt x="104" y="12"/>
                  </a:lnTo>
                  <a:lnTo>
                    <a:pt x="104" y="2"/>
                  </a:lnTo>
                  <a:lnTo>
                    <a:pt x="107" y="2"/>
                  </a:lnTo>
                  <a:lnTo>
                    <a:pt x="107" y="0"/>
                  </a:lnTo>
                  <a:lnTo>
                    <a:pt x="114" y="0"/>
                  </a:lnTo>
                  <a:lnTo>
                    <a:pt x="114" y="12"/>
                  </a:lnTo>
                  <a:lnTo>
                    <a:pt x="121" y="19"/>
                  </a:lnTo>
                  <a:lnTo>
                    <a:pt x="128" y="19"/>
                  </a:lnTo>
                  <a:lnTo>
                    <a:pt x="128" y="16"/>
                  </a:lnTo>
                  <a:lnTo>
                    <a:pt x="135" y="12"/>
                  </a:lnTo>
                  <a:lnTo>
                    <a:pt x="145" y="26"/>
                  </a:lnTo>
                  <a:lnTo>
                    <a:pt x="145" y="28"/>
                  </a:lnTo>
                  <a:lnTo>
                    <a:pt x="137" y="42"/>
                  </a:lnTo>
                  <a:lnTo>
                    <a:pt x="130" y="45"/>
                  </a:lnTo>
                  <a:lnTo>
                    <a:pt x="121" y="45"/>
                  </a:lnTo>
                  <a:lnTo>
                    <a:pt x="111" y="56"/>
                  </a:lnTo>
                  <a:lnTo>
                    <a:pt x="114" y="59"/>
                  </a:lnTo>
                  <a:lnTo>
                    <a:pt x="119" y="59"/>
                  </a:lnTo>
                  <a:lnTo>
                    <a:pt x="121" y="56"/>
                  </a:lnTo>
                  <a:lnTo>
                    <a:pt x="111" y="73"/>
                  </a:lnTo>
                  <a:lnTo>
                    <a:pt x="107" y="75"/>
                  </a:lnTo>
                  <a:lnTo>
                    <a:pt x="114" y="90"/>
                  </a:lnTo>
                  <a:lnTo>
                    <a:pt x="119" y="90"/>
                  </a:lnTo>
                  <a:lnTo>
                    <a:pt x="128" y="82"/>
                  </a:lnTo>
                  <a:lnTo>
                    <a:pt x="130" y="78"/>
                  </a:lnTo>
                  <a:lnTo>
                    <a:pt x="137" y="73"/>
                  </a:lnTo>
                  <a:lnTo>
                    <a:pt x="140" y="68"/>
                  </a:lnTo>
                  <a:lnTo>
                    <a:pt x="140" y="66"/>
                  </a:lnTo>
                  <a:lnTo>
                    <a:pt x="145" y="66"/>
                  </a:lnTo>
                  <a:lnTo>
                    <a:pt x="147" y="61"/>
                  </a:lnTo>
                  <a:lnTo>
                    <a:pt x="154" y="61"/>
                  </a:lnTo>
                  <a:lnTo>
                    <a:pt x="154" y="73"/>
                  </a:lnTo>
                  <a:lnTo>
                    <a:pt x="152" y="75"/>
                  </a:lnTo>
                  <a:lnTo>
                    <a:pt x="152" y="78"/>
                  </a:lnTo>
                  <a:lnTo>
                    <a:pt x="147" y="8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2" name="Freeform 250">
              <a:extLst>
                <a:ext uri="{FF2B5EF4-FFF2-40B4-BE49-F238E27FC236}">
                  <a16:creationId xmlns:a16="http://schemas.microsoft.com/office/drawing/2014/main" id="{0C30A80B-C4CF-4DCF-BAD0-4EEAA3AF6BD8}"/>
                </a:ext>
              </a:extLst>
            </p:cNvPr>
            <p:cNvSpPr>
              <a:spLocks/>
            </p:cNvSpPr>
            <p:nvPr/>
          </p:nvSpPr>
          <p:spPr bwMode="gray">
            <a:xfrm rot="47099">
              <a:off x="1184849" y="4057694"/>
              <a:ext cx="7906" cy="4649"/>
            </a:xfrm>
            <a:custGeom>
              <a:avLst/>
              <a:gdLst>
                <a:gd name="T0" fmla="*/ 5 w 17"/>
                <a:gd name="T1" fmla="*/ 10 h 10"/>
                <a:gd name="T2" fmla="*/ 3 w 17"/>
                <a:gd name="T3" fmla="*/ 7 h 10"/>
                <a:gd name="T4" fmla="*/ 0 w 17"/>
                <a:gd name="T5" fmla="*/ 7 h 10"/>
                <a:gd name="T6" fmla="*/ 0 w 17"/>
                <a:gd name="T7" fmla="*/ 2 h 10"/>
                <a:gd name="T8" fmla="*/ 3 w 17"/>
                <a:gd name="T9" fmla="*/ 2 h 10"/>
                <a:gd name="T10" fmla="*/ 3 w 17"/>
                <a:gd name="T11" fmla="*/ 0 h 10"/>
                <a:gd name="T12" fmla="*/ 5 w 17"/>
                <a:gd name="T13" fmla="*/ 0 h 10"/>
                <a:gd name="T14" fmla="*/ 12 w 17"/>
                <a:gd name="T15" fmla="*/ 2 h 10"/>
                <a:gd name="T16" fmla="*/ 17 w 17"/>
                <a:gd name="T17" fmla="*/ 7 h 10"/>
                <a:gd name="T18" fmla="*/ 10 w 17"/>
                <a:gd name="T19" fmla="*/ 10 h 10"/>
                <a:gd name="T20" fmla="*/ 5 w 17"/>
                <a:gd name="T21" fmla="*/ 1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0"/>
                <a:gd name="T35" fmla="*/ 17 w 17"/>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0">
                  <a:moveTo>
                    <a:pt x="5" y="10"/>
                  </a:moveTo>
                  <a:lnTo>
                    <a:pt x="3" y="7"/>
                  </a:lnTo>
                  <a:lnTo>
                    <a:pt x="0" y="7"/>
                  </a:lnTo>
                  <a:lnTo>
                    <a:pt x="0" y="2"/>
                  </a:lnTo>
                  <a:lnTo>
                    <a:pt x="3" y="2"/>
                  </a:lnTo>
                  <a:lnTo>
                    <a:pt x="3" y="0"/>
                  </a:lnTo>
                  <a:lnTo>
                    <a:pt x="5" y="0"/>
                  </a:lnTo>
                  <a:lnTo>
                    <a:pt x="12" y="2"/>
                  </a:lnTo>
                  <a:lnTo>
                    <a:pt x="17" y="7"/>
                  </a:lnTo>
                  <a:lnTo>
                    <a:pt x="10" y="10"/>
                  </a:lnTo>
                  <a:lnTo>
                    <a:pt x="5"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3" name="Freeform 251">
              <a:extLst>
                <a:ext uri="{FF2B5EF4-FFF2-40B4-BE49-F238E27FC236}">
                  <a16:creationId xmlns:a16="http://schemas.microsoft.com/office/drawing/2014/main" id="{89DFD5A2-A6B7-46CC-9834-E6C8F18E6F2E}"/>
                </a:ext>
              </a:extLst>
            </p:cNvPr>
            <p:cNvSpPr>
              <a:spLocks/>
            </p:cNvSpPr>
            <p:nvPr/>
          </p:nvSpPr>
          <p:spPr bwMode="gray">
            <a:xfrm rot="47099">
              <a:off x="1179816" y="4050166"/>
              <a:ext cx="5116" cy="7440"/>
            </a:xfrm>
            <a:custGeom>
              <a:avLst/>
              <a:gdLst>
                <a:gd name="T0" fmla="*/ 0 w 11"/>
                <a:gd name="T1" fmla="*/ 9 h 16"/>
                <a:gd name="T2" fmla="*/ 0 w 11"/>
                <a:gd name="T3" fmla="*/ 0 h 16"/>
                <a:gd name="T4" fmla="*/ 11 w 11"/>
                <a:gd name="T5" fmla="*/ 0 h 16"/>
                <a:gd name="T6" fmla="*/ 11 w 11"/>
                <a:gd name="T7" fmla="*/ 16 h 16"/>
                <a:gd name="T8" fmla="*/ 4 w 11"/>
                <a:gd name="T9" fmla="*/ 11 h 16"/>
                <a:gd name="T10" fmla="*/ 0 w 11"/>
                <a:gd name="T11" fmla="*/ 9 h 16"/>
                <a:gd name="T12" fmla="*/ 0 60000 65536"/>
                <a:gd name="T13" fmla="*/ 0 60000 65536"/>
                <a:gd name="T14" fmla="*/ 0 60000 65536"/>
                <a:gd name="T15" fmla="*/ 0 60000 65536"/>
                <a:gd name="T16" fmla="*/ 0 60000 65536"/>
                <a:gd name="T17" fmla="*/ 0 60000 65536"/>
                <a:gd name="T18" fmla="*/ 0 w 11"/>
                <a:gd name="T19" fmla="*/ 0 h 16"/>
                <a:gd name="T20" fmla="*/ 11 w 11"/>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1" h="16">
                  <a:moveTo>
                    <a:pt x="0" y="9"/>
                  </a:moveTo>
                  <a:lnTo>
                    <a:pt x="0" y="0"/>
                  </a:lnTo>
                  <a:lnTo>
                    <a:pt x="11" y="0"/>
                  </a:lnTo>
                  <a:lnTo>
                    <a:pt x="11" y="16"/>
                  </a:lnTo>
                  <a:lnTo>
                    <a:pt x="4" y="11"/>
                  </a:lnTo>
                  <a:lnTo>
                    <a:pt x="0"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4" name="Freeform 252">
              <a:extLst>
                <a:ext uri="{FF2B5EF4-FFF2-40B4-BE49-F238E27FC236}">
                  <a16:creationId xmlns:a16="http://schemas.microsoft.com/office/drawing/2014/main" id="{C5FDF47D-599E-4B7F-90A4-B2EF284B0E22}"/>
                </a:ext>
              </a:extLst>
            </p:cNvPr>
            <p:cNvSpPr>
              <a:spLocks/>
            </p:cNvSpPr>
            <p:nvPr/>
          </p:nvSpPr>
          <p:spPr bwMode="gray">
            <a:xfrm rot="47099">
              <a:off x="1217122" y="3998108"/>
              <a:ext cx="69291" cy="97646"/>
            </a:xfrm>
            <a:custGeom>
              <a:avLst/>
              <a:gdLst>
                <a:gd name="T0" fmla="*/ 28 w 149"/>
                <a:gd name="T1" fmla="*/ 203 h 210"/>
                <a:gd name="T2" fmla="*/ 24 w 149"/>
                <a:gd name="T3" fmla="*/ 201 h 210"/>
                <a:gd name="T4" fmla="*/ 12 w 149"/>
                <a:gd name="T5" fmla="*/ 201 h 210"/>
                <a:gd name="T6" fmla="*/ 31 w 149"/>
                <a:gd name="T7" fmla="*/ 177 h 210"/>
                <a:gd name="T8" fmla="*/ 38 w 149"/>
                <a:gd name="T9" fmla="*/ 173 h 210"/>
                <a:gd name="T10" fmla="*/ 38 w 149"/>
                <a:gd name="T11" fmla="*/ 154 h 210"/>
                <a:gd name="T12" fmla="*/ 38 w 149"/>
                <a:gd name="T13" fmla="*/ 137 h 210"/>
                <a:gd name="T14" fmla="*/ 21 w 149"/>
                <a:gd name="T15" fmla="*/ 125 h 210"/>
                <a:gd name="T16" fmla="*/ 17 w 149"/>
                <a:gd name="T17" fmla="*/ 109 h 210"/>
                <a:gd name="T18" fmla="*/ 12 w 149"/>
                <a:gd name="T19" fmla="*/ 104 h 210"/>
                <a:gd name="T20" fmla="*/ 7 w 149"/>
                <a:gd name="T21" fmla="*/ 99 h 210"/>
                <a:gd name="T22" fmla="*/ 5 w 149"/>
                <a:gd name="T23" fmla="*/ 92 h 210"/>
                <a:gd name="T24" fmla="*/ 7 w 149"/>
                <a:gd name="T25" fmla="*/ 80 h 210"/>
                <a:gd name="T26" fmla="*/ 5 w 149"/>
                <a:gd name="T27" fmla="*/ 52 h 210"/>
                <a:gd name="T28" fmla="*/ 17 w 149"/>
                <a:gd name="T29" fmla="*/ 50 h 210"/>
                <a:gd name="T30" fmla="*/ 24 w 149"/>
                <a:gd name="T31" fmla="*/ 45 h 210"/>
                <a:gd name="T32" fmla="*/ 21 w 149"/>
                <a:gd name="T33" fmla="*/ 33 h 210"/>
                <a:gd name="T34" fmla="*/ 14 w 149"/>
                <a:gd name="T35" fmla="*/ 29 h 210"/>
                <a:gd name="T36" fmla="*/ 17 w 149"/>
                <a:gd name="T37" fmla="*/ 24 h 210"/>
                <a:gd name="T38" fmla="*/ 31 w 149"/>
                <a:gd name="T39" fmla="*/ 0 h 210"/>
                <a:gd name="T40" fmla="*/ 52 w 149"/>
                <a:gd name="T41" fmla="*/ 3 h 210"/>
                <a:gd name="T42" fmla="*/ 73 w 149"/>
                <a:gd name="T43" fmla="*/ 26 h 210"/>
                <a:gd name="T44" fmla="*/ 64 w 149"/>
                <a:gd name="T45" fmla="*/ 36 h 210"/>
                <a:gd name="T46" fmla="*/ 68 w 149"/>
                <a:gd name="T47" fmla="*/ 43 h 210"/>
                <a:gd name="T48" fmla="*/ 78 w 149"/>
                <a:gd name="T49" fmla="*/ 40 h 210"/>
                <a:gd name="T50" fmla="*/ 85 w 149"/>
                <a:gd name="T51" fmla="*/ 36 h 210"/>
                <a:gd name="T52" fmla="*/ 92 w 149"/>
                <a:gd name="T53" fmla="*/ 43 h 210"/>
                <a:gd name="T54" fmla="*/ 94 w 149"/>
                <a:gd name="T55" fmla="*/ 57 h 210"/>
                <a:gd name="T56" fmla="*/ 109 w 149"/>
                <a:gd name="T57" fmla="*/ 59 h 210"/>
                <a:gd name="T58" fmla="*/ 118 w 149"/>
                <a:gd name="T59" fmla="*/ 66 h 210"/>
                <a:gd name="T60" fmla="*/ 118 w 149"/>
                <a:gd name="T61" fmla="*/ 76 h 210"/>
                <a:gd name="T62" fmla="*/ 113 w 149"/>
                <a:gd name="T63" fmla="*/ 92 h 210"/>
                <a:gd name="T64" fmla="*/ 118 w 149"/>
                <a:gd name="T65" fmla="*/ 97 h 210"/>
                <a:gd name="T66" fmla="*/ 120 w 149"/>
                <a:gd name="T67" fmla="*/ 99 h 210"/>
                <a:gd name="T68" fmla="*/ 137 w 149"/>
                <a:gd name="T69" fmla="*/ 121 h 210"/>
                <a:gd name="T70" fmla="*/ 128 w 149"/>
                <a:gd name="T71" fmla="*/ 140 h 210"/>
                <a:gd name="T72" fmla="*/ 135 w 149"/>
                <a:gd name="T73" fmla="*/ 147 h 210"/>
                <a:gd name="T74" fmla="*/ 149 w 149"/>
                <a:gd name="T75" fmla="*/ 156 h 210"/>
                <a:gd name="T76" fmla="*/ 137 w 149"/>
                <a:gd name="T77" fmla="*/ 170 h 210"/>
                <a:gd name="T78" fmla="*/ 125 w 149"/>
                <a:gd name="T79" fmla="*/ 177 h 210"/>
                <a:gd name="T80" fmla="*/ 120 w 149"/>
                <a:gd name="T81" fmla="*/ 196 h 210"/>
                <a:gd name="T82" fmla="*/ 118 w 149"/>
                <a:gd name="T83" fmla="*/ 210 h 210"/>
                <a:gd name="T84" fmla="*/ 102 w 149"/>
                <a:gd name="T85" fmla="*/ 201 h 210"/>
                <a:gd name="T86" fmla="*/ 71 w 149"/>
                <a:gd name="T87" fmla="*/ 182 h 210"/>
                <a:gd name="T88" fmla="*/ 64 w 149"/>
                <a:gd name="T89" fmla="*/ 189 h 210"/>
                <a:gd name="T90" fmla="*/ 45 w 149"/>
                <a:gd name="T91" fmla="*/ 194 h 210"/>
                <a:gd name="T92" fmla="*/ 38 w 149"/>
                <a:gd name="T93" fmla="*/ 201 h 210"/>
                <a:gd name="T94" fmla="*/ 35 w 149"/>
                <a:gd name="T95" fmla="*/ 206 h 21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9"/>
                <a:gd name="T145" fmla="*/ 0 h 210"/>
                <a:gd name="T146" fmla="*/ 149 w 149"/>
                <a:gd name="T147" fmla="*/ 210 h 21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9" h="210">
                  <a:moveTo>
                    <a:pt x="31" y="203"/>
                  </a:moveTo>
                  <a:lnTo>
                    <a:pt x="28" y="203"/>
                  </a:lnTo>
                  <a:lnTo>
                    <a:pt x="28" y="201"/>
                  </a:lnTo>
                  <a:lnTo>
                    <a:pt x="24" y="201"/>
                  </a:lnTo>
                  <a:lnTo>
                    <a:pt x="21" y="203"/>
                  </a:lnTo>
                  <a:lnTo>
                    <a:pt x="12" y="201"/>
                  </a:lnTo>
                  <a:lnTo>
                    <a:pt x="31" y="180"/>
                  </a:lnTo>
                  <a:lnTo>
                    <a:pt x="31" y="177"/>
                  </a:lnTo>
                  <a:lnTo>
                    <a:pt x="38" y="177"/>
                  </a:lnTo>
                  <a:lnTo>
                    <a:pt x="38" y="173"/>
                  </a:lnTo>
                  <a:lnTo>
                    <a:pt x="40" y="161"/>
                  </a:lnTo>
                  <a:lnTo>
                    <a:pt x="38" y="154"/>
                  </a:lnTo>
                  <a:lnTo>
                    <a:pt x="40" y="142"/>
                  </a:lnTo>
                  <a:lnTo>
                    <a:pt x="38" y="137"/>
                  </a:lnTo>
                  <a:lnTo>
                    <a:pt x="35" y="137"/>
                  </a:lnTo>
                  <a:lnTo>
                    <a:pt x="21" y="125"/>
                  </a:lnTo>
                  <a:lnTo>
                    <a:pt x="21" y="121"/>
                  </a:lnTo>
                  <a:lnTo>
                    <a:pt x="17" y="109"/>
                  </a:lnTo>
                  <a:lnTo>
                    <a:pt x="14" y="104"/>
                  </a:lnTo>
                  <a:lnTo>
                    <a:pt x="12" y="104"/>
                  </a:lnTo>
                  <a:lnTo>
                    <a:pt x="12" y="99"/>
                  </a:lnTo>
                  <a:lnTo>
                    <a:pt x="7" y="99"/>
                  </a:lnTo>
                  <a:lnTo>
                    <a:pt x="7" y="97"/>
                  </a:lnTo>
                  <a:lnTo>
                    <a:pt x="5" y="92"/>
                  </a:lnTo>
                  <a:lnTo>
                    <a:pt x="5" y="85"/>
                  </a:lnTo>
                  <a:lnTo>
                    <a:pt x="7" y="80"/>
                  </a:lnTo>
                  <a:lnTo>
                    <a:pt x="7" y="59"/>
                  </a:lnTo>
                  <a:lnTo>
                    <a:pt x="5" y="52"/>
                  </a:lnTo>
                  <a:lnTo>
                    <a:pt x="0" y="50"/>
                  </a:lnTo>
                  <a:lnTo>
                    <a:pt x="17" y="50"/>
                  </a:lnTo>
                  <a:lnTo>
                    <a:pt x="21" y="45"/>
                  </a:lnTo>
                  <a:lnTo>
                    <a:pt x="24" y="45"/>
                  </a:lnTo>
                  <a:lnTo>
                    <a:pt x="24" y="33"/>
                  </a:lnTo>
                  <a:lnTo>
                    <a:pt x="21" y="33"/>
                  </a:lnTo>
                  <a:lnTo>
                    <a:pt x="21" y="29"/>
                  </a:lnTo>
                  <a:lnTo>
                    <a:pt x="14" y="29"/>
                  </a:lnTo>
                  <a:lnTo>
                    <a:pt x="14" y="24"/>
                  </a:lnTo>
                  <a:lnTo>
                    <a:pt x="17" y="24"/>
                  </a:lnTo>
                  <a:lnTo>
                    <a:pt x="24" y="3"/>
                  </a:lnTo>
                  <a:lnTo>
                    <a:pt x="31" y="0"/>
                  </a:lnTo>
                  <a:lnTo>
                    <a:pt x="38" y="3"/>
                  </a:lnTo>
                  <a:lnTo>
                    <a:pt x="52" y="3"/>
                  </a:lnTo>
                  <a:lnTo>
                    <a:pt x="71" y="17"/>
                  </a:lnTo>
                  <a:lnTo>
                    <a:pt x="73" y="26"/>
                  </a:lnTo>
                  <a:lnTo>
                    <a:pt x="71" y="29"/>
                  </a:lnTo>
                  <a:lnTo>
                    <a:pt x="64" y="36"/>
                  </a:lnTo>
                  <a:lnTo>
                    <a:pt x="64" y="45"/>
                  </a:lnTo>
                  <a:lnTo>
                    <a:pt x="68" y="43"/>
                  </a:lnTo>
                  <a:lnTo>
                    <a:pt x="73" y="40"/>
                  </a:lnTo>
                  <a:lnTo>
                    <a:pt x="78" y="40"/>
                  </a:lnTo>
                  <a:lnTo>
                    <a:pt x="80" y="36"/>
                  </a:lnTo>
                  <a:lnTo>
                    <a:pt x="85" y="36"/>
                  </a:lnTo>
                  <a:lnTo>
                    <a:pt x="85" y="40"/>
                  </a:lnTo>
                  <a:lnTo>
                    <a:pt x="92" y="43"/>
                  </a:lnTo>
                  <a:lnTo>
                    <a:pt x="94" y="50"/>
                  </a:lnTo>
                  <a:lnTo>
                    <a:pt x="94" y="57"/>
                  </a:lnTo>
                  <a:lnTo>
                    <a:pt x="104" y="64"/>
                  </a:lnTo>
                  <a:lnTo>
                    <a:pt x="109" y="59"/>
                  </a:lnTo>
                  <a:lnTo>
                    <a:pt x="118" y="59"/>
                  </a:lnTo>
                  <a:lnTo>
                    <a:pt x="118" y="66"/>
                  </a:lnTo>
                  <a:lnTo>
                    <a:pt x="120" y="69"/>
                  </a:lnTo>
                  <a:lnTo>
                    <a:pt x="118" y="76"/>
                  </a:lnTo>
                  <a:lnTo>
                    <a:pt x="111" y="92"/>
                  </a:lnTo>
                  <a:lnTo>
                    <a:pt x="113" y="92"/>
                  </a:lnTo>
                  <a:lnTo>
                    <a:pt x="113" y="97"/>
                  </a:lnTo>
                  <a:lnTo>
                    <a:pt x="118" y="97"/>
                  </a:lnTo>
                  <a:lnTo>
                    <a:pt x="118" y="99"/>
                  </a:lnTo>
                  <a:lnTo>
                    <a:pt x="120" y="99"/>
                  </a:lnTo>
                  <a:lnTo>
                    <a:pt x="128" y="106"/>
                  </a:lnTo>
                  <a:lnTo>
                    <a:pt x="137" y="121"/>
                  </a:lnTo>
                  <a:lnTo>
                    <a:pt x="132" y="125"/>
                  </a:lnTo>
                  <a:lnTo>
                    <a:pt x="128" y="140"/>
                  </a:lnTo>
                  <a:lnTo>
                    <a:pt x="132" y="142"/>
                  </a:lnTo>
                  <a:lnTo>
                    <a:pt x="135" y="147"/>
                  </a:lnTo>
                  <a:lnTo>
                    <a:pt x="144" y="154"/>
                  </a:lnTo>
                  <a:lnTo>
                    <a:pt x="149" y="156"/>
                  </a:lnTo>
                  <a:lnTo>
                    <a:pt x="144" y="163"/>
                  </a:lnTo>
                  <a:lnTo>
                    <a:pt x="137" y="170"/>
                  </a:lnTo>
                  <a:lnTo>
                    <a:pt x="132" y="170"/>
                  </a:lnTo>
                  <a:lnTo>
                    <a:pt x="125" y="177"/>
                  </a:lnTo>
                  <a:lnTo>
                    <a:pt x="125" y="189"/>
                  </a:lnTo>
                  <a:lnTo>
                    <a:pt x="120" y="196"/>
                  </a:lnTo>
                  <a:lnTo>
                    <a:pt x="118" y="201"/>
                  </a:lnTo>
                  <a:lnTo>
                    <a:pt x="118" y="210"/>
                  </a:lnTo>
                  <a:lnTo>
                    <a:pt x="111" y="210"/>
                  </a:lnTo>
                  <a:lnTo>
                    <a:pt x="102" y="201"/>
                  </a:lnTo>
                  <a:lnTo>
                    <a:pt x="80" y="182"/>
                  </a:lnTo>
                  <a:lnTo>
                    <a:pt x="71" y="182"/>
                  </a:lnTo>
                  <a:lnTo>
                    <a:pt x="68" y="187"/>
                  </a:lnTo>
                  <a:lnTo>
                    <a:pt x="64" y="189"/>
                  </a:lnTo>
                  <a:lnTo>
                    <a:pt x="47" y="189"/>
                  </a:lnTo>
                  <a:lnTo>
                    <a:pt x="45" y="194"/>
                  </a:lnTo>
                  <a:lnTo>
                    <a:pt x="40" y="196"/>
                  </a:lnTo>
                  <a:lnTo>
                    <a:pt x="38" y="201"/>
                  </a:lnTo>
                  <a:lnTo>
                    <a:pt x="38" y="203"/>
                  </a:lnTo>
                  <a:lnTo>
                    <a:pt x="35" y="206"/>
                  </a:lnTo>
                  <a:lnTo>
                    <a:pt x="31" y="20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5" name="Freeform 253">
              <a:extLst>
                <a:ext uri="{FF2B5EF4-FFF2-40B4-BE49-F238E27FC236}">
                  <a16:creationId xmlns:a16="http://schemas.microsoft.com/office/drawing/2014/main" id="{F5016D9E-9EA1-4878-B6AF-FFED2468DFED}"/>
                </a:ext>
              </a:extLst>
            </p:cNvPr>
            <p:cNvSpPr>
              <a:spLocks/>
            </p:cNvSpPr>
            <p:nvPr/>
          </p:nvSpPr>
          <p:spPr bwMode="gray">
            <a:xfrm rot="47099">
              <a:off x="1478368" y="4099522"/>
              <a:ext cx="95332" cy="117640"/>
            </a:xfrm>
            <a:custGeom>
              <a:avLst/>
              <a:gdLst>
                <a:gd name="T0" fmla="*/ 37 w 205"/>
                <a:gd name="T1" fmla="*/ 149 h 253"/>
                <a:gd name="T2" fmla="*/ 35 w 205"/>
                <a:gd name="T3" fmla="*/ 121 h 253"/>
                <a:gd name="T4" fmla="*/ 44 w 205"/>
                <a:gd name="T5" fmla="*/ 121 h 253"/>
                <a:gd name="T6" fmla="*/ 61 w 205"/>
                <a:gd name="T7" fmla="*/ 137 h 253"/>
                <a:gd name="T8" fmla="*/ 85 w 205"/>
                <a:gd name="T9" fmla="*/ 147 h 253"/>
                <a:gd name="T10" fmla="*/ 96 w 205"/>
                <a:gd name="T11" fmla="*/ 145 h 253"/>
                <a:gd name="T12" fmla="*/ 104 w 205"/>
                <a:gd name="T13" fmla="*/ 137 h 253"/>
                <a:gd name="T14" fmla="*/ 125 w 205"/>
                <a:gd name="T15" fmla="*/ 130 h 253"/>
                <a:gd name="T16" fmla="*/ 94 w 205"/>
                <a:gd name="T17" fmla="*/ 104 h 253"/>
                <a:gd name="T18" fmla="*/ 78 w 205"/>
                <a:gd name="T19" fmla="*/ 100 h 253"/>
                <a:gd name="T20" fmla="*/ 70 w 205"/>
                <a:gd name="T21" fmla="*/ 76 h 253"/>
                <a:gd name="T22" fmla="*/ 78 w 205"/>
                <a:gd name="T23" fmla="*/ 69 h 253"/>
                <a:gd name="T24" fmla="*/ 73 w 205"/>
                <a:gd name="T25" fmla="*/ 52 h 253"/>
                <a:gd name="T26" fmla="*/ 70 w 205"/>
                <a:gd name="T27" fmla="*/ 43 h 253"/>
                <a:gd name="T28" fmla="*/ 78 w 205"/>
                <a:gd name="T29" fmla="*/ 36 h 253"/>
                <a:gd name="T30" fmla="*/ 94 w 205"/>
                <a:gd name="T31" fmla="*/ 24 h 253"/>
                <a:gd name="T32" fmla="*/ 111 w 205"/>
                <a:gd name="T33" fmla="*/ 3 h 253"/>
                <a:gd name="T34" fmla="*/ 120 w 205"/>
                <a:gd name="T35" fmla="*/ 17 h 253"/>
                <a:gd name="T36" fmla="*/ 127 w 205"/>
                <a:gd name="T37" fmla="*/ 26 h 253"/>
                <a:gd name="T38" fmla="*/ 111 w 205"/>
                <a:gd name="T39" fmla="*/ 33 h 253"/>
                <a:gd name="T40" fmla="*/ 127 w 205"/>
                <a:gd name="T41" fmla="*/ 59 h 253"/>
                <a:gd name="T42" fmla="*/ 134 w 205"/>
                <a:gd name="T43" fmla="*/ 50 h 253"/>
                <a:gd name="T44" fmla="*/ 148 w 205"/>
                <a:gd name="T45" fmla="*/ 50 h 253"/>
                <a:gd name="T46" fmla="*/ 160 w 205"/>
                <a:gd name="T47" fmla="*/ 52 h 253"/>
                <a:gd name="T48" fmla="*/ 160 w 205"/>
                <a:gd name="T49" fmla="*/ 64 h 253"/>
                <a:gd name="T50" fmla="*/ 153 w 205"/>
                <a:gd name="T51" fmla="*/ 74 h 253"/>
                <a:gd name="T52" fmla="*/ 148 w 205"/>
                <a:gd name="T53" fmla="*/ 100 h 253"/>
                <a:gd name="T54" fmla="*/ 167 w 205"/>
                <a:gd name="T55" fmla="*/ 126 h 253"/>
                <a:gd name="T56" fmla="*/ 177 w 205"/>
                <a:gd name="T57" fmla="*/ 130 h 253"/>
                <a:gd name="T58" fmla="*/ 167 w 205"/>
                <a:gd name="T59" fmla="*/ 140 h 253"/>
                <a:gd name="T60" fmla="*/ 153 w 205"/>
                <a:gd name="T61" fmla="*/ 149 h 253"/>
                <a:gd name="T62" fmla="*/ 148 w 205"/>
                <a:gd name="T63" fmla="*/ 178 h 253"/>
                <a:gd name="T64" fmla="*/ 167 w 205"/>
                <a:gd name="T65" fmla="*/ 187 h 253"/>
                <a:gd name="T66" fmla="*/ 174 w 205"/>
                <a:gd name="T67" fmla="*/ 201 h 253"/>
                <a:gd name="T68" fmla="*/ 189 w 205"/>
                <a:gd name="T69" fmla="*/ 196 h 253"/>
                <a:gd name="T70" fmla="*/ 198 w 205"/>
                <a:gd name="T71" fmla="*/ 201 h 253"/>
                <a:gd name="T72" fmla="*/ 205 w 205"/>
                <a:gd name="T73" fmla="*/ 206 h 253"/>
                <a:gd name="T74" fmla="*/ 167 w 205"/>
                <a:gd name="T75" fmla="*/ 230 h 253"/>
                <a:gd name="T76" fmla="*/ 153 w 205"/>
                <a:gd name="T77" fmla="*/ 230 h 253"/>
                <a:gd name="T78" fmla="*/ 148 w 205"/>
                <a:gd name="T79" fmla="*/ 237 h 253"/>
                <a:gd name="T80" fmla="*/ 137 w 205"/>
                <a:gd name="T81" fmla="*/ 244 h 253"/>
                <a:gd name="T82" fmla="*/ 127 w 205"/>
                <a:gd name="T83" fmla="*/ 220 h 253"/>
                <a:gd name="T84" fmla="*/ 118 w 205"/>
                <a:gd name="T85" fmla="*/ 218 h 253"/>
                <a:gd name="T86" fmla="*/ 111 w 205"/>
                <a:gd name="T87" fmla="*/ 234 h 253"/>
                <a:gd name="T88" fmla="*/ 118 w 205"/>
                <a:gd name="T89" fmla="*/ 244 h 253"/>
                <a:gd name="T90" fmla="*/ 111 w 205"/>
                <a:gd name="T91" fmla="*/ 251 h 253"/>
                <a:gd name="T92" fmla="*/ 101 w 205"/>
                <a:gd name="T93" fmla="*/ 246 h 253"/>
                <a:gd name="T94" fmla="*/ 78 w 205"/>
                <a:gd name="T95" fmla="*/ 246 h 253"/>
                <a:gd name="T96" fmla="*/ 63 w 205"/>
                <a:gd name="T97" fmla="*/ 253 h 253"/>
                <a:gd name="T98" fmla="*/ 30 w 205"/>
                <a:gd name="T99" fmla="*/ 246 h 253"/>
                <a:gd name="T100" fmla="*/ 4 w 205"/>
                <a:gd name="T101" fmla="*/ 225 h 253"/>
                <a:gd name="T102" fmla="*/ 7 w 205"/>
                <a:gd name="T103" fmla="*/ 213 h 253"/>
                <a:gd name="T104" fmla="*/ 28 w 205"/>
                <a:gd name="T105" fmla="*/ 204 h 253"/>
                <a:gd name="T106" fmla="*/ 30 w 205"/>
                <a:gd name="T107" fmla="*/ 201 h 253"/>
                <a:gd name="T108" fmla="*/ 28 w 205"/>
                <a:gd name="T109" fmla="*/ 185 h 253"/>
                <a:gd name="T110" fmla="*/ 35 w 205"/>
                <a:gd name="T111" fmla="*/ 156 h 2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5"/>
                <a:gd name="T169" fmla="*/ 0 h 253"/>
                <a:gd name="T170" fmla="*/ 205 w 205"/>
                <a:gd name="T171" fmla="*/ 253 h 2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5" h="253">
                  <a:moveTo>
                    <a:pt x="35" y="156"/>
                  </a:moveTo>
                  <a:lnTo>
                    <a:pt x="35" y="154"/>
                  </a:lnTo>
                  <a:lnTo>
                    <a:pt x="37" y="149"/>
                  </a:lnTo>
                  <a:lnTo>
                    <a:pt x="37" y="140"/>
                  </a:lnTo>
                  <a:lnTo>
                    <a:pt x="35" y="133"/>
                  </a:lnTo>
                  <a:lnTo>
                    <a:pt x="35" y="121"/>
                  </a:lnTo>
                  <a:lnTo>
                    <a:pt x="37" y="116"/>
                  </a:lnTo>
                  <a:lnTo>
                    <a:pt x="37" y="121"/>
                  </a:lnTo>
                  <a:lnTo>
                    <a:pt x="44" y="121"/>
                  </a:lnTo>
                  <a:lnTo>
                    <a:pt x="52" y="123"/>
                  </a:lnTo>
                  <a:lnTo>
                    <a:pt x="56" y="130"/>
                  </a:lnTo>
                  <a:lnTo>
                    <a:pt x="61" y="137"/>
                  </a:lnTo>
                  <a:lnTo>
                    <a:pt x="73" y="149"/>
                  </a:lnTo>
                  <a:lnTo>
                    <a:pt x="78" y="149"/>
                  </a:lnTo>
                  <a:lnTo>
                    <a:pt x="85" y="147"/>
                  </a:lnTo>
                  <a:lnTo>
                    <a:pt x="92" y="140"/>
                  </a:lnTo>
                  <a:lnTo>
                    <a:pt x="94" y="140"/>
                  </a:lnTo>
                  <a:lnTo>
                    <a:pt x="96" y="145"/>
                  </a:lnTo>
                  <a:lnTo>
                    <a:pt x="101" y="145"/>
                  </a:lnTo>
                  <a:lnTo>
                    <a:pt x="104" y="140"/>
                  </a:lnTo>
                  <a:lnTo>
                    <a:pt x="104" y="137"/>
                  </a:lnTo>
                  <a:lnTo>
                    <a:pt x="113" y="133"/>
                  </a:lnTo>
                  <a:lnTo>
                    <a:pt x="120" y="130"/>
                  </a:lnTo>
                  <a:lnTo>
                    <a:pt x="125" y="130"/>
                  </a:lnTo>
                  <a:lnTo>
                    <a:pt x="125" y="123"/>
                  </a:lnTo>
                  <a:lnTo>
                    <a:pt x="111" y="116"/>
                  </a:lnTo>
                  <a:lnTo>
                    <a:pt x="94" y="104"/>
                  </a:lnTo>
                  <a:lnTo>
                    <a:pt x="87" y="97"/>
                  </a:lnTo>
                  <a:lnTo>
                    <a:pt x="85" y="100"/>
                  </a:lnTo>
                  <a:lnTo>
                    <a:pt x="78" y="100"/>
                  </a:lnTo>
                  <a:lnTo>
                    <a:pt x="68" y="83"/>
                  </a:lnTo>
                  <a:lnTo>
                    <a:pt x="70" y="81"/>
                  </a:lnTo>
                  <a:lnTo>
                    <a:pt x="70" y="76"/>
                  </a:lnTo>
                  <a:lnTo>
                    <a:pt x="73" y="76"/>
                  </a:lnTo>
                  <a:lnTo>
                    <a:pt x="73" y="74"/>
                  </a:lnTo>
                  <a:lnTo>
                    <a:pt x="78" y="69"/>
                  </a:lnTo>
                  <a:lnTo>
                    <a:pt x="80" y="59"/>
                  </a:lnTo>
                  <a:lnTo>
                    <a:pt x="78" y="52"/>
                  </a:lnTo>
                  <a:lnTo>
                    <a:pt x="73" y="52"/>
                  </a:lnTo>
                  <a:lnTo>
                    <a:pt x="70" y="50"/>
                  </a:lnTo>
                  <a:lnTo>
                    <a:pt x="68" y="48"/>
                  </a:lnTo>
                  <a:lnTo>
                    <a:pt x="70" y="43"/>
                  </a:lnTo>
                  <a:lnTo>
                    <a:pt x="73" y="43"/>
                  </a:lnTo>
                  <a:lnTo>
                    <a:pt x="78" y="41"/>
                  </a:lnTo>
                  <a:lnTo>
                    <a:pt x="78" y="36"/>
                  </a:lnTo>
                  <a:lnTo>
                    <a:pt x="85" y="29"/>
                  </a:lnTo>
                  <a:lnTo>
                    <a:pt x="92" y="26"/>
                  </a:lnTo>
                  <a:lnTo>
                    <a:pt x="94" y="24"/>
                  </a:lnTo>
                  <a:lnTo>
                    <a:pt x="96" y="10"/>
                  </a:lnTo>
                  <a:lnTo>
                    <a:pt x="101" y="0"/>
                  </a:lnTo>
                  <a:lnTo>
                    <a:pt x="111" y="3"/>
                  </a:lnTo>
                  <a:lnTo>
                    <a:pt x="111" y="12"/>
                  </a:lnTo>
                  <a:lnTo>
                    <a:pt x="113" y="12"/>
                  </a:lnTo>
                  <a:lnTo>
                    <a:pt x="120" y="17"/>
                  </a:lnTo>
                  <a:lnTo>
                    <a:pt x="125" y="17"/>
                  </a:lnTo>
                  <a:lnTo>
                    <a:pt x="127" y="19"/>
                  </a:lnTo>
                  <a:lnTo>
                    <a:pt x="127" y="26"/>
                  </a:lnTo>
                  <a:lnTo>
                    <a:pt x="120" y="33"/>
                  </a:lnTo>
                  <a:lnTo>
                    <a:pt x="118" y="29"/>
                  </a:lnTo>
                  <a:lnTo>
                    <a:pt x="111" y="33"/>
                  </a:lnTo>
                  <a:lnTo>
                    <a:pt x="111" y="50"/>
                  </a:lnTo>
                  <a:lnTo>
                    <a:pt x="118" y="52"/>
                  </a:lnTo>
                  <a:lnTo>
                    <a:pt x="127" y="59"/>
                  </a:lnTo>
                  <a:lnTo>
                    <a:pt x="132" y="59"/>
                  </a:lnTo>
                  <a:lnTo>
                    <a:pt x="134" y="57"/>
                  </a:lnTo>
                  <a:lnTo>
                    <a:pt x="134" y="50"/>
                  </a:lnTo>
                  <a:lnTo>
                    <a:pt x="137" y="48"/>
                  </a:lnTo>
                  <a:lnTo>
                    <a:pt x="148" y="48"/>
                  </a:lnTo>
                  <a:lnTo>
                    <a:pt x="148" y="50"/>
                  </a:lnTo>
                  <a:lnTo>
                    <a:pt x="151" y="50"/>
                  </a:lnTo>
                  <a:lnTo>
                    <a:pt x="153" y="52"/>
                  </a:lnTo>
                  <a:lnTo>
                    <a:pt x="160" y="52"/>
                  </a:lnTo>
                  <a:lnTo>
                    <a:pt x="165" y="57"/>
                  </a:lnTo>
                  <a:lnTo>
                    <a:pt x="165" y="59"/>
                  </a:lnTo>
                  <a:lnTo>
                    <a:pt x="160" y="64"/>
                  </a:lnTo>
                  <a:lnTo>
                    <a:pt x="158" y="67"/>
                  </a:lnTo>
                  <a:lnTo>
                    <a:pt x="153" y="69"/>
                  </a:lnTo>
                  <a:lnTo>
                    <a:pt x="153" y="74"/>
                  </a:lnTo>
                  <a:lnTo>
                    <a:pt x="151" y="76"/>
                  </a:lnTo>
                  <a:lnTo>
                    <a:pt x="151" y="97"/>
                  </a:lnTo>
                  <a:lnTo>
                    <a:pt x="148" y="100"/>
                  </a:lnTo>
                  <a:lnTo>
                    <a:pt x="148" y="121"/>
                  </a:lnTo>
                  <a:lnTo>
                    <a:pt x="165" y="130"/>
                  </a:lnTo>
                  <a:lnTo>
                    <a:pt x="167" y="126"/>
                  </a:lnTo>
                  <a:lnTo>
                    <a:pt x="174" y="126"/>
                  </a:lnTo>
                  <a:lnTo>
                    <a:pt x="174" y="130"/>
                  </a:lnTo>
                  <a:lnTo>
                    <a:pt x="177" y="130"/>
                  </a:lnTo>
                  <a:lnTo>
                    <a:pt x="177" y="133"/>
                  </a:lnTo>
                  <a:lnTo>
                    <a:pt x="170" y="140"/>
                  </a:lnTo>
                  <a:lnTo>
                    <a:pt x="167" y="140"/>
                  </a:lnTo>
                  <a:lnTo>
                    <a:pt x="165" y="137"/>
                  </a:lnTo>
                  <a:lnTo>
                    <a:pt x="153" y="145"/>
                  </a:lnTo>
                  <a:lnTo>
                    <a:pt x="153" y="149"/>
                  </a:lnTo>
                  <a:lnTo>
                    <a:pt x="158" y="156"/>
                  </a:lnTo>
                  <a:lnTo>
                    <a:pt x="158" y="166"/>
                  </a:lnTo>
                  <a:lnTo>
                    <a:pt x="148" y="178"/>
                  </a:lnTo>
                  <a:lnTo>
                    <a:pt x="151" y="178"/>
                  </a:lnTo>
                  <a:lnTo>
                    <a:pt x="153" y="187"/>
                  </a:lnTo>
                  <a:lnTo>
                    <a:pt x="167" y="187"/>
                  </a:lnTo>
                  <a:lnTo>
                    <a:pt x="170" y="194"/>
                  </a:lnTo>
                  <a:lnTo>
                    <a:pt x="170" y="196"/>
                  </a:lnTo>
                  <a:lnTo>
                    <a:pt x="174" y="201"/>
                  </a:lnTo>
                  <a:lnTo>
                    <a:pt x="184" y="201"/>
                  </a:lnTo>
                  <a:lnTo>
                    <a:pt x="184" y="196"/>
                  </a:lnTo>
                  <a:lnTo>
                    <a:pt x="189" y="196"/>
                  </a:lnTo>
                  <a:lnTo>
                    <a:pt x="191" y="194"/>
                  </a:lnTo>
                  <a:lnTo>
                    <a:pt x="198" y="194"/>
                  </a:lnTo>
                  <a:lnTo>
                    <a:pt x="198" y="201"/>
                  </a:lnTo>
                  <a:lnTo>
                    <a:pt x="200" y="204"/>
                  </a:lnTo>
                  <a:lnTo>
                    <a:pt x="205" y="204"/>
                  </a:lnTo>
                  <a:lnTo>
                    <a:pt x="205" y="206"/>
                  </a:lnTo>
                  <a:lnTo>
                    <a:pt x="198" y="218"/>
                  </a:lnTo>
                  <a:lnTo>
                    <a:pt x="184" y="230"/>
                  </a:lnTo>
                  <a:lnTo>
                    <a:pt x="167" y="230"/>
                  </a:lnTo>
                  <a:lnTo>
                    <a:pt x="167" y="227"/>
                  </a:lnTo>
                  <a:lnTo>
                    <a:pt x="158" y="227"/>
                  </a:lnTo>
                  <a:lnTo>
                    <a:pt x="153" y="230"/>
                  </a:lnTo>
                  <a:lnTo>
                    <a:pt x="151" y="230"/>
                  </a:lnTo>
                  <a:lnTo>
                    <a:pt x="148" y="234"/>
                  </a:lnTo>
                  <a:lnTo>
                    <a:pt x="148" y="237"/>
                  </a:lnTo>
                  <a:lnTo>
                    <a:pt x="144" y="241"/>
                  </a:lnTo>
                  <a:lnTo>
                    <a:pt x="144" y="244"/>
                  </a:lnTo>
                  <a:lnTo>
                    <a:pt x="137" y="244"/>
                  </a:lnTo>
                  <a:lnTo>
                    <a:pt x="125" y="227"/>
                  </a:lnTo>
                  <a:lnTo>
                    <a:pt x="125" y="225"/>
                  </a:lnTo>
                  <a:lnTo>
                    <a:pt x="127" y="220"/>
                  </a:lnTo>
                  <a:lnTo>
                    <a:pt x="127" y="218"/>
                  </a:lnTo>
                  <a:lnTo>
                    <a:pt x="125" y="213"/>
                  </a:lnTo>
                  <a:lnTo>
                    <a:pt x="118" y="218"/>
                  </a:lnTo>
                  <a:lnTo>
                    <a:pt x="113" y="220"/>
                  </a:lnTo>
                  <a:lnTo>
                    <a:pt x="111" y="227"/>
                  </a:lnTo>
                  <a:lnTo>
                    <a:pt x="111" y="234"/>
                  </a:lnTo>
                  <a:lnTo>
                    <a:pt x="113" y="237"/>
                  </a:lnTo>
                  <a:lnTo>
                    <a:pt x="118" y="241"/>
                  </a:lnTo>
                  <a:lnTo>
                    <a:pt x="118" y="244"/>
                  </a:lnTo>
                  <a:lnTo>
                    <a:pt x="113" y="244"/>
                  </a:lnTo>
                  <a:lnTo>
                    <a:pt x="111" y="246"/>
                  </a:lnTo>
                  <a:lnTo>
                    <a:pt x="111" y="251"/>
                  </a:lnTo>
                  <a:lnTo>
                    <a:pt x="104" y="251"/>
                  </a:lnTo>
                  <a:lnTo>
                    <a:pt x="104" y="246"/>
                  </a:lnTo>
                  <a:lnTo>
                    <a:pt x="101" y="246"/>
                  </a:lnTo>
                  <a:lnTo>
                    <a:pt x="96" y="241"/>
                  </a:lnTo>
                  <a:lnTo>
                    <a:pt x="78" y="244"/>
                  </a:lnTo>
                  <a:lnTo>
                    <a:pt x="78" y="246"/>
                  </a:lnTo>
                  <a:lnTo>
                    <a:pt x="70" y="253"/>
                  </a:lnTo>
                  <a:lnTo>
                    <a:pt x="63" y="251"/>
                  </a:lnTo>
                  <a:lnTo>
                    <a:pt x="63" y="253"/>
                  </a:lnTo>
                  <a:lnTo>
                    <a:pt x="61" y="253"/>
                  </a:lnTo>
                  <a:lnTo>
                    <a:pt x="54" y="246"/>
                  </a:lnTo>
                  <a:lnTo>
                    <a:pt x="30" y="246"/>
                  </a:lnTo>
                  <a:lnTo>
                    <a:pt x="28" y="244"/>
                  </a:lnTo>
                  <a:lnTo>
                    <a:pt x="14" y="234"/>
                  </a:lnTo>
                  <a:lnTo>
                    <a:pt x="4" y="225"/>
                  </a:lnTo>
                  <a:lnTo>
                    <a:pt x="0" y="220"/>
                  </a:lnTo>
                  <a:lnTo>
                    <a:pt x="0" y="213"/>
                  </a:lnTo>
                  <a:lnTo>
                    <a:pt x="7" y="213"/>
                  </a:lnTo>
                  <a:lnTo>
                    <a:pt x="14" y="211"/>
                  </a:lnTo>
                  <a:lnTo>
                    <a:pt x="16" y="204"/>
                  </a:lnTo>
                  <a:lnTo>
                    <a:pt x="28" y="204"/>
                  </a:lnTo>
                  <a:lnTo>
                    <a:pt x="30" y="206"/>
                  </a:lnTo>
                  <a:lnTo>
                    <a:pt x="35" y="206"/>
                  </a:lnTo>
                  <a:lnTo>
                    <a:pt x="30" y="201"/>
                  </a:lnTo>
                  <a:lnTo>
                    <a:pt x="30" y="194"/>
                  </a:lnTo>
                  <a:lnTo>
                    <a:pt x="28" y="189"/>
                  </a:lnTo>
                  <a:lnTo>
                    <a:pt x="28" y="185"/>
                  </a:lnTo>
                  <a:lnTo>
                    <a:pt x="30" y="173"/>
                  </a:lnTo>
                  <a:lnTo>
                    <a:pt x="35" y="166"/>
                  </a:lnTo>
                  <a:lnTo>
                    <a:pt x="35" y="15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6" name="Freeform 254">
              <a:extLst>
                <a:ext uri="{FF2B5EF4-FFF2-40B4-BE49-F238E27FC236}">
                  <a16:creationId xmlns:a16="http://schemas.microsoft.com/office/drawing/2014/main" id="{28DAA349-84AE-4407-8FF3-19B19435542D}"/>
                </a:ext>
              </a:extLst>
            </p:cNvPr>
            <p:cNvSpPr>
              <a:spLocks/>
            </p:cNvSpPr>
            <p:nvPr/>
          </p:nvSpPr>
          <p:spPr bwMode="gray">
            <a:xfrm rot="47099">
              <a:off x="1289004" y="4114040"/>
              <a:ext cx="149743" cy="99971"/>
            </a:xfrm>
            <a:custGeom>
              <a:avLst/>
              <a:gdLst>
                <a:gd name="T0" fmla="*/ 36 w 322"/>
                <a:gd name="T1" fmla="*/ 113 h 215"/>
                <a:gd name="T2" fmla="*/ 47 w 322"/>
                <a:gd name="T3" fmla="*/ 118 h 215"/>
                <a:gd name="T4" fmla="*/ 66 w 322"/>
                <a:gd name="T5" fmla="*/ 113 h 215"/>
                <a:gd name="T6" fmla="*/ 73 w 322"/>
                <a:gd name="T7" fmla="*/ 101 h 215"/>
                <a:gd name="T8" fmla="*/ 90 w 322"/>
                <a:gd name="T9" fmla="*/ 97 h 215"/>
                <a:gd name="T10" fmla="*/ 99 w 322"/>
                <a:gd name="T11" fmla="*/ 87 h 215"/>
                <a:gd name="T12" fmla="*/ 88 w 322"/>
                <a:gd name="T13" fmla="*/ 78 h 215"/>
                <a:gd name="T14" fmla="*/ 83 w 322"/>
                <a:gd name="T15" fmla="*/ 57 h 215"/>
                <a:gd name="T16" fmla="*/ 88 w 322"/>
                <a:gd name="T17" fmla="*/ 52 h 215"/>
                <a:gd name="T18" fmla="*/ 73 w 322"/>
                <a:gd name="T19" fmla="*/ 38 h 215"/>
                <a:gd name="T20" fmla="*/ 64 w 322"/>
                <a:gd name="T21" fmla="*/ 40 h 215"/>
                <a:gd name="T22" fmla="*/ 64 w 322"/>
                <a:gd name="T23" fmla="*/ 23 h 215"/>
                <a:gd name="T24" fmla="*/ 90 w 322"/>
                <a:gd name="T25" fmla="*/ 14 h 215"/>
                <a:gd name="T26" fmla="*/ 111 w 322"/>
                <a:gd name="T27" fmla="*/ 5 h 215"/>
                <a:gd name="T28" fmla="*/ 130 w 322"/>
                <a:gd name="T29" fmla="*/ 5 h 215"/>
                <a:gd name="T30" fmla="*/ 156 w 322"/>
                <a:gd name="T31" fmla="*/ 0 h 215"/>
                <a:gd name="T32" fmla="*/ 180 w 322"/>
                <a:gd name="T33" fmla="*/ 16 h 215"/>
                <a:gd name="T34" fmla="*/ 187 w 322"/>
                <a:gd name="T35" fmla="*/ 7 h 215"/>
                <a:gd name="T36" fmla="*/ 203 w 322"/>
                <a:gd name="T37" fmla="*/ 28 h 215"/>
                <a:gd name="T38" fmla="*/ 210 w 322"/>
                <a:gd name="T39" fmla="*/ 33 h 215"/>
                <a:gd name="T40" fmla="*/ 227 w 322"/>
                <a:gd name="T41" fmla="*/ 28 h 215"/>
                <a:gd name="T42" fmla="*/ 246 w 322"/>
                <a:gd name="T43" fmla="*/ 33 h 215"/>
                <a:gd name="T44" fmla="*/ 265 w 322"/>
                <a:gd name="T45" fmla="*/ 38 h 215"/>
                <a:gd name="T46" fmla="*/ 284 w 322"/>
                <a:gd name="T47" fmla="*/ 45 h 215"/>
                <a:gd name="T48" fmla="*/ 293 w 322"/>
                <a:gd name="T49" fmla="*/ 31 h 215"/>
                <a:gd name="T50" fmla="*/ 300 w 322"/>
                <a:gd name="T51" fmla="*/ 16 h 215"/>
                <a:gd name="T52" fmla="*/ 310 w 322"/>
                <a:gd name="T53" fmla="*/ 28 h 215"/>
                <a:gd name="T54" fmla="*/ 314 w 322"/>
                <a:gd name="T55" fmla="*/ 40 h 215"/>
                <a:gd name="T56" fmla="*/ 314 w 322"/>
                <a:gd name="T57" fmla="*/ 52 h 215"/>
                <a:gd name="T58" fmla="*/ 310 w 322"/>
                <a:gd name="T59" fmla="*/ 71 h 215"/>
                <a:gd name="T60" fmla="*/ 314 w 322"/>
                <a:gd name="T61" fmla="*/ 87 h 215"/>
                <a:gd name="T62" fmla="*/ 305 w 322"/>
                <a:gd name="T63" fmla="*/ 90 h 215"/>
                <a:gd name="T64" fmla="*/ 293 w 322"/>
                <a:gd name="T65" fmla="*/ 109 h 215"/>
                <a:gd name="T66" fmla="*/ 274 w 322"/>
                <a:gd name="T67" fmla="*/ 135 h 215"/>
                <a:gd name="T68" fmla="*/ 265 w 322"/>
                <a:gd name="T69" fmla="*/ 137 h 215"/>
                <a:gd name="T70" fmla="*/ 258 w 322"/>
                <a:gd name="T71" fmla="*/ 142 h 215"/>
                <a:gd name="T72" fmla="*/ 265 w 322"/>
                <a:gd name="T73" fmla="*/ 165 h 215"/>
                <a:gd name="T74" fmla="*/ 270 w 322"/>
                <a:gd name="T75" fmla="*/ 170 h 215"/>
                <a:gd name="T76" fmla="*/ 270 w 322"/>
                <a:gd name="T77" fmla="*/ 177 h 215"/>
                <a:gd name="T78" fmla="*/ 236 w 322"/>
                <a:gd name="T79" fmla="*/ 165 h 215"/>
                <a:gd name="T80" fmla="*/ 194 w 322"/>
                <a:gd name="T81" fmla="*/ 168 h 215"/>
                <a:gd name="T82" fmla="*/ 185 w 322"/>
                <a:gd name="T83" fmla="*/ 158 h 215"/>
                <a:gd name="T84" fmla="*/ 161 w 322"/>
                <a:gd name="T85" fmla="*/ 165 h 215"/>
                <a:gd name="T86" fmla="*/ 163 w 322"/>
                <a:gd name="T87" fmla="*/ 182 h 215"/>
                <a:gd name="T88" fmla="*/ 149 w 322"/>
                <a:gd name="T89" fmla="*/ 191 h 215"/>
                <a:gd name="T90" fmla="*/ 133 w 322"/>
                <a:gd name="T91" fmla="*/ 201 h 215"/>
                <a:gd name="T92" fmla="*/ 123 w 322"/>
                <a:gd name="T93" fmla="*/ 210 h 215"/>
                <a:gd name="T94" fmla="*/ 97 w 322"/>
                <a:gd name="T95" fmla="*/ 201 h 215"/>
                <a:gd name="T96" fmla="*/ 71 w 322"/>
                <a:gd name="T97" fmla="*/ 194 h 215"/>
                <a:gd name="T98" fmla="*/ 52 w 322"/>
                <a:gd name="T99" fmla="*/ 189 h 215"/>
                <a:gd name="T100" fmla="*/ 24 w 322"/>
                <a:gd name="T101" fmla="*/ 175 h 215"/>
                <a:gd name="T102" fmla="*/ 17 w 322"/>
                <a:gd name="T103" fmla="*/ 168 h 215"/>
                <a:gd name="T104" fmla="*/ 3 w 322"/>
                <a:gd name="T105" fmla="*/ 149 h 215"/>
                <a:gd name="T106" fmla="*/ 10 w 322"/>
                <a:gd name="T107" fmla="*/ 135 h 215"/>
                <a:gd name="T108" fmla="*/ 24 w 322"/>
                <a:gd name="T109" fmla="*/ 120 h 21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2"/>
                <a:gd name="T166" fmla="*/ 0 h 215"/>
                <a:gd name="T167" fmla="*/ 322 w 322"/>
                <a:gd name="T168" fmla="*/ 215 h 21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2" h="215">
                  <a:moveTo>
                    <a:pt x="24" y="120"/>
                  </a:moveTo>
                  <a:lnTo>
                    <a:pt x="36" y="120"/>
                  </a:lnTo>
                  <a:lnTo>
                    <a:pt x="36" y="113"/>
                  </a:lnTo>
                  <a:lnTo>
                    <a:pt x="40" y="111"/>
                  </a:lnTo>
                  <a:lnTo>
                    <a:pt x="43" y="113"/>
                  </a:lnTo>
                  <a:lnTo>
                    <a:pt x="47" y="118"/>
                  </a:lnTo>
                  <a:lnTo>
                    <a:pt x="50" y="120"/>
                  </a:lnTo>
                  <a:lnTo>
                    <a:pt x="52" y="120"/>
                  </a:lnTo>
                  <a:lnTo>
                    <a:pt x="66" y="113"/>
                  </a:lnTo>
                  <a:lnTo>
                    <a:pt x="66" y="104"/>
                  </a:lnTo>
                  <a:lnTo>
                    <a:pt x="71" y="104"/>
                  </a:lnTo>
                  <a:lnTo>
                    <a:pt x="73" y="101"/>
                  </a:lnTo>
                  <a:lnTo>
                    <a:pt x="76" y="101"/>
                  </a:lnTo>
                  <a:lnTo>
                    <a:pt x="88" y="97"/>
                  </a:lnTo>
                  <a:lnTo>
                    <a:pt x="90" y="97"/>
                  </a:lnTo>
                  <a:lnTo>
                    <a:pt x="92" y="101"/>
                  </a:lnTo>
                  <a:lnTo>
                    <a:pt x="97" y="94"/>
                  </a:lnTo>
                  <a:lnTo>
                    <a:pt x="99" y="87"/>
                  </a:lnTo>
                  <a:lnTo>
                    <a:pt x="104" y="85"/>
                  </a:lnTo>
                  <a:lnTo>
                    <a:pt x="99" y="78"/>
                  </a:lnTo>
                  <a:lnTo>
                    <a:pt x="88" y="78"/>
                  </a:lnTo>
                  <a:lnTo>
                    <a:pt x="88" y="68"/>
                  </a:lnTo>
                  <a:lnTo>
                    <a:pt x="83" y="61"/>
                  </a:lnTo>
                  <a:lnTo>
                    <a:pt x="83" y="57"/>
                  </a:lnTo>
                  <a:lnTo>
                    <a:pt x="81" y="54"/>
                  </a:lnTo>
                  <a:lnTo>
                    <a:pt x="83" y="54"/>
                  </a:lnTo>
                  <a:lnTo>
                    <a:pt x="88" y="52"/>
                  </a:lnTo>
                  <a:lnTo>
                    <a:pt x="90" y="52"/>
                  </a:lnTo>
                  <a:lnTo>
                    <a:pt x="90" y="45"/>
                  </a:lnTo>
                  <a:lnTo>
                    <a:pt x="73" y="38"/>
                  </a:lnTo>
                  <a:lnTo>
                    <a:pt x="71" y="38"/>
                  </a:lnTo>
                  <a:lnTo>
                    <a:pt x="66" y="40"/>
                  </a:lnTo>
                  <a:lnTo>
                    <a:pt x="64" y="40"/>
                  </a:lnTo>
                  <a:lnTo>
                    <a:pt x="59" y="31"/>
                  </a:lnTo>
                  <a:lnTo>
                    <a:pt x="59" y="28"/>
                  </a:lnTo>
                  <a:lnTo>
                    <a:pt x="64" y="23"/>
                  </a:lnTo>
                  <a:lnTo>
                    <a:pt x="71" y="21"/>
                  </a:lnTo>
                  <a:lnTo>
                    <a:pt x="73" y="16"/>
                  </a:lnTo>
                  <a:lnTo>
                    <a:pt x="90" y="14"/>
                  </a:lnTo>
                  <a:lnTo>
                    <a:pt x="99" y="14"/>
                  </a:lnTo>
                  <a:lnTo>
                    <a:pt x="104" y="12"/>
                  </a:lnTo>
                  <a:lnTo>
                    <a:pt x="111" y="5"/>
                  </a:lnTo>
                  <a:lnTo>
                    <a:pt x="121" y="5"/>
                  </a:lnTo>
                  <a:lnTo>
                    <a:pt x="128" y="0"/>
                  </a:lnTo>
                  <a:lnTo>
                    <a:pt x="130" y="5"/>
                  </a:lnTo>
                  <a:lnTo>
                    <a:pt x="140" y="5"/>
                  </a:lnTo>
                  <a:lnTo>
                    <a:pt x="144" y="0"/>
                  </a:lnTo>
                  <a:lnTo>
                    <a:pt x="156" y="0"/>
                  </a:lnTo>
                  <a:lnTo>
                    <a:pt x="161" y="5"/>
                  </a:lnTo>
                  <a:lnTo>
                    <a:pt x="161" y="16"/>
                  </a:lnTo>
                  <a:lnTo>
                    <a:pt x="180" y="16"/>
                  </a:lnTo>
                  <a:lnTo>
                    <a:pt x="185" y="14"/>
                  </a:lnTo>
                  <a:lnTo>
                    <a:pt x="187" y="12"/>
                  </a:lnTo>
                  <a:lnTo>
                    <a:pt x="187" y="7"/>
                  </a:lnTo>
                  <a:lnTo>
                    <a:pt x="201" y="7"/>
                  </a:lnTo>
                  <a:lnTo>
                    <a:pt x="203" y="21"/>
                  </a:lnTo>
                  <a:lnTo>
                    <a:pt x="203" y="28"/>
                  </a:lnTo>
                  <a:lnTo>
                    <a:pt x="208" y="31"/>
                  </a:lnTo>
                  <a:lnTo>
                    <a:pt x="210" y="31"/>
                  </a:lnTo>
                  <a:lnTo>
                    <a:pt x="210" y="33"/>
                  </a:lnTo>
                  <a:lnTo>
                    <a:pt x="218" y="33"/>
                  </a:lnTo>
                  <a:lnTo>
                    <a:pt x="225" y="31"/>
                  </a:lnTo>
                  <a:lnTo>
                    <a:pt x="227" y="28"/>
                  </a:lnTo>
                  <a:lnTo>
                    <a:pt x="241" y="31"/>
                  </a:lnTo>
                  <a:lnTo>
                    <a:pt x="244" y="31"/>
                  </a:lnTo>
                  <a:lnTo>
                    <a:pt x="246" y="33"/>
                  </a:lnTo>
                  <a:lnTo>
                    <a:pt x="246" y="40"/>
                  </a:lnTo>
                  <a:lnTo>
                    <a:pt x="260" y="40"/>
                  </a:lnTo>
                  <a:lnTo>
                    <a:pt x="265" y="38"/>
                  </a:lnTo>
                  <a:lnTo>
                    <a:pt x="267" y="38"/>
                  </a:lnTo>
                  <a:lnTo>
                    <a:pt x="281" y="45"/>
                  </a:lnTo>
                  <a:lnTo>
                    <a:pt x="284" y="45"/>
                  </a:lnTo>
                  <a:lnTo>
                    <a:pt x="286" y="40"/>
                  </a:lnTo>
                  <a:lnTo>
                    <a:pt x="291" y="40"/>
                  </a:lnTo>
                  <a:lnTo>
                    <a:pt x="293" y="31"/>
                  </a:lnTo>
                  <a:lnTo>
                    <a:pt x="298" y="28"/>
                  </a:lnTo>
                  <a:lnTo>
                    <a:pt x="298" y="21"/>
                  </a:lnTo>
                  <a:lnTo>
                    <a:pt x="300" y="16"/>
                  </a:lnTo>
                  <a:lnTo>
                    <a:pt x="305" y="21"/>
                  </a:lnTo>
                  <a:lnTo>
                    <a:pt x="307" y="23"/>
                  </a:lnTo>
                  <a:lnTo>
                    <a:pt x="310" y="28"/>
                  </a:lnTo>
                  <a:lnTo>
                    <a:pt x="310" y="31"/>
                  </a:lnTo>
                  <a:lnTo>
                    <a:pt x="314" y="33"/>
                  </a:lnTo>
                  <a:lnTo>
                    <a:pt x="314" y="40"/>
                  </a:lnTo>
                  <a:lnTo>
                    <a:pt x="322" y="47"/>
                  </a:lnTo>
                  <a:lnTo>
                    <a:pt x="317" y="52"/>
                  </a:lnTo>
                  <a:lnTo>
                    <a:pt x="314" y="52"/>
                  </a:lnTo>
                  <a:lnTo>
                    <a:pt x="310" y="68"/>
                  </a:lnTo>
                  <a:lnTo>
                    <a:pt x="307" y="71"/>
                  </a:lnTo>
                  <a:lnTo>
                    <a:pt x="310" y="71"/>
                  </a:lnTo>
                  <a:lnTo>
                    <a:pt x="310" y="80"/>
                  </a:lnTo>
                  <a:lnTo>
                    <a:pt x="314" y="85"/>
                  </a:lnTo>
                  <a:lnTo>
                    <a:pt x="314" y="87"/>
                  </a:lnTo>
                  <a:lnTo>
                    <a:pt x="310" y="87"/>
                  </a:lnTo>
                  <a:lnTo>
                    <a:pt x="307" y="90"/>
                  </a:lnTo>
                  <a:lnTo>
                    <a:pt x="305" y="90"/>
                  </a:lnTo>
                  <a:lnTo>
                    <a:pt x="300" y="101"/>
                  </a:lnTo>
                  <a:lnTo>
                    <a:pt x="298" y="109"/>
                  </a:lnTo>
                  <a:lnTo>
                    <a:pt x="293" y="109"/>
                  </a:lnTo>
                  <a:lnTo>
                    <a:pt x="286" y="118"/>
                  </a:lnTo>
                  <a:lnTo>
                    <a:pt x="281" y="125"/>
                  </a:lnTo>
                  <a:lnTo>
                    <a:pt x="274" y="135"/>
                  </a:lnTo>
                  <a:lnTo>
                    <a:pt x="270" y="142"/>
                  </a:lnTo>
                  <a:lnTo>
                    <a:pt x="267" y="142"/>
                  </a:lnTo>
                  <a:lnTo>
                    <a:pt x="265" y="137"/>
                  </a:lnTo>
                  <a:lnTo>
                    <a:pt x="260" y="135"/>
                  </a:lnTo>
                  <a:lnTo>
                    <a:pt x="260" y="137"/>
                  </a:lnTo>
                  <a:lnTo>
                    <a:pt x="258" y="142"/>
                  </a:lnTo>
                  <a:lnTo>
                    <a:pt x="260" y="151"/>
                  </a:lnTo>
                  <a:lnTo>
                    <a:pt x="260" y="160"/>
                  </a:lnTo>
                  <a:lnTo>
                    <a:pt x="265" y="165"/>
                  </a:lnTo>
                  <a:lnTo>
                    <a:pt x="265" y="168"/>
                  </a:lnTo>
                  <a:lnTo>
                    <a:pt x="267" y="170"/>
                  </a:lnTo>
                  <a:lnTo>
                    <a:pt x="270" y="170"/>
                  </a:lnTo>
                  <a:lnTo>
                    <a:pt x="270" y="175"/>
                  </a:lnTo>
                  <a:lnTo>
                    <a:pt x="274" y="175"/>
                  </a:lnTo>
                  <a:lnTo>
                    <a:pt x="270" y="177"/>
                  </a:lnTo>
                  <a:lnTo>
                    <a:pt x="260" y="175"/>
                  </a:lnTo>
                  <a:lnTo>
                    <a:pt x="258" y="170"/>
                  </a:lnTo>
                  <a:lnTo>
                    <a:pt x="236" y="165"/>
                  </a:lnTo>
                  <a:lnTo>
                    <a:pt x="208" y="165"/>
                  </a:lnTo>
                  <a:lnTo>
                    <a:pt x="203" y="168"/>
                  </a:lnTo>
                  <a:lnTo>
                    <a:pt x="194" y="168"/>
                  </a:lnTo>
                  <a:lnTo>
                    <a:pt x="187" y="165"/>
                  </a:lnTo>
                  <a:lnTo>
                    <a:pt x="187" y="160"/>
                  </a:lnTo>
                  <a:lnTo>
                    <a:pt x="185" y="158"/>
                  </a:lnTo>
                  <a:lnTo>
                    <a:pt x="168" y="158"/>
                  </a:lnTo>
                  <a:lnTo>
                    <a:pt x="163" y="160"/>
                  </a:lnTo>
                  <a:lnTo>
                    <a:pt x="161" y="165"/>
                  </a:lnTo>
                  <a:lnTo>
                    <a:pt x="161" y="175"/>
                  </a:lnTo>
                  <a:lnTo>
                    <a:pt x="163" y="177"/>
                  </a:lnTo>
                  <a:lnTo>
                    <a:pt x="163" y="182"/>
                  </a:lnTo>
                  <a:lnTo>
                    <a:pt x="161" y="184"/>
                  </a:lnTo>
                  <a:lnTo>
                    <a:pt x="156" y="189"/>
                  </a:lnTo>
                  <a:lnTo>
                    <a:pt x="149" y="191"/>
                  </a:lnTo>
                  <a:lnTo>
                    <a:pt x="137" y="191"/>
                  </a:lnTo>
                  <a:lnTo>
                    <a:pt x="137" y="198"/>
                  </a:lnTo>
                  <a:lnTo>
                    <a:pt x="133" y="201"/>
                  </a:lnTo>
                  <a:lnTo>
                    <a:pt x="133" y="215"/>
                  </a:lnTo>
                  <a:lnTo>
                    <a:pt x="130" y="210"/>
                  </a:lnTo>
                  <a:lnTo>
                    <a:pt x="123" y="210"/>
                  </a:lnTo>
                  <a:lnTo>
                    <a:pt x="111" y="208"/>
                  </a:lnTo>
                  <a:lnTo>
                    <a:pt x="99" y="205"/>
                  </a:lnTo>
                  <a:lnTo>
                    <a:pt x="97" y="201"/>
                  </a:lnTo>
                  <a:lnTo>
                    <a:pt x="83" y="201"/>
                  </a:lnTo>
                  <a:lnTo>
                    <a:pt x="81" y="198"/>
                  </a:lnTo>
                  <a:lnTo>
                    <a:pt x="71" y="194"/>
                  </a:lnTo>
                  <a:lnTo>
                    <a:pt x="66" y="191"/>
                  </a:lnTo>
                  <a:lnTo>
                    <a:pt x="59" y="189"/>
                  </a:lnTo>
                  <a:lnTo>
                    <a:pt x="52" y="189"/>
                  </a:lnTo>
                  <a:lnTo>
                    <a:pt x="33" y="182"/>
                  </a:lnTo>
                  <a:lnTo>
                    <a:pt x="24" y="177"/>
                  </a:lnTo>
                  <a:lnTo>
                    <a:pt x="24" y="175"/>
                  </a:lnTo>
                  <a:lnTo>
                    <a:pt x="19" y="175"/>
                  </a:lnTo>
                  <a:lnTo>
                    <a:pt x="19" y="168"/>
                  </a:lnTo>
                  <a:lnTo>
                    <a:pt x="17" y="168"/>
                  </a:lnTo>
                  <a:lnTo>
                    <a:pt x="17" y="160"/>
                  </a:lnTo>
                  <a:lnTo>
                    <a:pt x="12" y="160"/>
                  </a:lnTo>
                  <a:lnTo>
                    <a:pt x="3" y="149"/>
                  </a:lnTo>
                  <a:lnTo>
                    <a:pt x="0" y="144"/>
                  </a:lnTo>
                  <a:lnTo>
                    <a:pt x="3" y="142"/>
                  </a:lnTo>
                  <a:lnTo>
                    <a:pt x="10" y="135"/>
                  </a:lnTo>
                  <a:lnTo>
                    <a:pt x="12" y="127"/>
                  </a:lnTo>
                  <a:lnTo>
                    <a:pt x="19" y="125"/>
                  </a:lnTo>
                  <a:lnTo>
                    <a:pt x="24" y="12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7" name="Freeform 255">
              <a:extLst>
                <a:ext uri="{FF2B5EF4-FFF2-40B4-BE49-F238E27FC236}">
                  <a16:creationId xmlns:a16="http://schemas.microsoft.com/office/drawing/2014/main" id="{CA93CC2F-2F20-444C-BE0C-A0C096042E3C}"/>
                </a:ext>
              </a:extLst>
            </p:cNvPr>
            <p:cNvSpPr>
              <a:spLocks/>
            </p:cNvSpPr>
            <p:nvPr/>
          </p:nvSpPr>
          <p:spPr bwMode="gray">
            <a:xfrm rot="47099">
              <a:off x="1492342" y="4144465"/>
              <a:ext cx="44179" cy="24179"/>
            </a:xfrm>
            <a:custGeom>
              <a:avLst/>
              <a:gdLst>
                <a:gd name="T0" fmla="*/ 50 w 95"/>
                <a:gd name="T1" fmla="*/ 3 h 52"/>
                <a:gd name="T2" fmla="*/ 55 w 95"/>
                <a:gd name="T3" fmla="*/ 3 h 52"/>
                <a:gd name="T4" fmla="*/ 57 w 95"/>
                <a:gd name="T5" fmla="*/ 0 h 52"/>
                <a:gd name="T6" fmla="*/ 64 w 95"/>
                <a:gd name="T7" fmla="*/ 7 h 52"/>
                <a:gd name="T8" fmla="*/ 81 w 95"/>
                <a:gd name="T9" fmla="*/ 19 h 52"/>
                <a:gd name="T10" fmla="*/ 95 w 95"/>
                <a:gd name="T11" fmla="*/ 26 h 52"/>
                <a:gd name="T12" fmla="*/ 95 w 95"/>
                <a:gd name="T13" fmla="*/ 33 h 52"/>
                <a:gd name="T14" fmla="*/ 90 w 95"/>
                <a:gd name="T15" fmla="*/ 33 h 52"/>
                <a:gd name="T16" fmla="*/ 83 w 95"/>
                <a:gd name="T17" fmla="*/ 36 h 52"/>
                <a:gd name="T18" fmla="*/ 74 w 95"/>
                <a:gd name="T19" fmla="*/ 40 h 52"/>
                <a:gd name="T20" fmla="*/ 74 w 95"/>
                <a:gd name="T21" fmla="*/ 43 h 52"/>
                <a:gd name="T22" fmla="*/ 71 w 95"/>
                <a:gd name="T23" fmla="*/ 48 h 52"/>
                <a:gd name="T24" fmla="*/ 66 w 95"/>
                <a:gd name="T25" fmla="*/ 48 h 52"/>
                <a:gd name="T26" fmla="*/ 64 w 95"/>
                <a:gd name="T27" fmla="*/ 43 h 52"/>
                <a:gd name="T28" fmla="*/ 62 w 95"/>
                <a:gd name="T29" fmla="*/ 43 h 52"/>
                <a:gd name="T30" fmla="*/ 55 w 95"/>
                <a:gd name="T31" fmla="*/ 50 h 52"/>
                <a:gd name="T32" fmla="*/ 48 w 95"/>
                <a:gd name="T33" fmla="*/ 52 h 52"/>
                <a:gd name="T34" fmla="*/ 43 w 95"/>
                <a:gd name="T35" fmla="*/ 52 h 52"/>
                <a:gd name="T36" fmla="*/ 31 w 95"/>
                <a:gd name="T37" fmla="*/ 40 h 52"/>
                <a:gd name="T38" fmla="*/ 26 w 95"/>
                <a:gd name="T39" fmla="*/ 33 h 52"/>
                <a:gd name="T40" fmla="*/ 22 w 95"/>
                <a:gd name="T41" fmla="*/ 26 h 52"/>
                <a:gd name="T42" fmla="*/ 14 w 95"/>
                <a:gd name="T43" fmla="*/ 24 h 52"/>
                <a:gd name="T44" fmla="*/ 7 w 95"/>
                <a:gd name="T45" fmla="*/ 24 h 52"/>
                <a:gd name="T46" fmla="*/ 7 w 95"/>
                <a:gd name="T47" fmla="*/ 19 h 52"/>
                <a:gd name="T48" fmla="*/ 0 w 95"/>
                <a:gd name="T49" fmla="*/ 10 h 52"/>
                <a:gd name="T50" fmla="*/ 7 w 95"/>
                <a:gd name="T51" fmla="*/ 10 h 52"/>
                <a:gd name="T52" fmla="*/ 26 w 95"/>
                <a:gd name="T53" fmla="*/ 7 h 52"/>
                <a:gd name="T54" fmla="*/ 33 w 95"/>
                <a:gd name="T55" fmla="*/ 3 h 52"/>
                <a:gd name="T56" fmla="*/ 38 w 95"/>
                <a:gd name="T57" fmla="*/ 0 h 52"/>
                <a:gd name="T58" fmla="*/ 43 w 95"/>
                <a:gd name="T59" fmla="*/ 0 h 52"/>
                <a:gd name="T60" fmla="*/ 43 w 95"/>
                <a:gd name="T61" fmla="*/ 3 h 52"/>
                <a:gd name="T62" fmla="*/ 50 w 95"/>
                <a:gd name="T63" fmla="*/ 3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52"/>
                <a:gd name="T98" fmla="*/ 95 w 95"/>
                <a:gd name="T99" fmla="*/ 52 h 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52">
                  <a:moveTo>
                    <a:pt x="50" y="3"/>
                  </a:moveTo>
                  <a:lnTo>
                    <a:pt x="55" y="3"/>
                  </a:lnTo>
                  <a:lnTo>
                    <a:pt x="57" y="0"/>
                  </a:lnTo>
                  <a:lnTo>
                    <a:pt x="64" y="7"/>
                  </a:lnTo>
                  <a:lnTo>
                    <a:pt x="81" y="19"/>
                  </a:lnTo>
                  <a:lnTo>
                    <a:pt x="95" y="26"/>
                  </a:lnTo>
                  <a:lnTo>
                    <a:pt x="95" y="33"/>
                  </a:lnTo>
                  <a:lnTo>
                    <a:pt x="90" y="33"/>
                  </a:lnTo>
                  <a:lnTo>
                    <a:pt x="83" y="36"/>
                  </a:lnTo>
                  <a:lnTo>
                    <a:pt x="74" y="40"/>
                  </a:lnTo>
                  <a:lnTo>
                    <a:pt x="74" y="43"/>
                  </a:lnTo>
                  <a:lnTo>
                    <a:pt x="71" y="48"/>
                  </a:lnTo>
                  <a:lnTo>
                    <a:pt x="66" y="48"/>
                  </a:lnTo>
                  <a:lnTo>
                    <a:pt x="64" y="43"/>
                  </a:lnTo>
                  <a:lnTo>
                    <a:pt x="62" y="43"/>
                  </a:lnTo>
                  <a:lnTo>
                    <a:pt x="55" y="50"/>
                  </a:lnTo>
                  <a:lnTo>
                    <a:pt x="48" y="52"/>
                  </a:lnTo>
                  <a:lnTo>
                    <a:pt x="43" y="52"/>
                  </a:lnTo>
                  <a:lnTo>
                    <a:pt x="31" y="40"/>
                  </a:lnTo>
                  <a:lnTo>
                    <a:pt x="26" y="33"/>
                  </a:lnTo>
                  <a:lnTo>
                    <a:pt x="22" y="26"/>
                  </a:lnTo>
                  <a:lnTo>
                    <a:pt x="14" y="24"/>
                  </a:lnTo>
                  <a:lnTo>
                    <a:pt x="7" y="24"/>
                  </a:lnTo>
                  <a:lnTo>
                    <a:pt x="7" y="19"/>
                  </a:lnTo>
                  <a:lnTo>
                    <a:pt x="0" y="10"/>
                  </a:lnTo>
                  <a:lnTo>
                    <a:pt x="7" y="10"/>
                  </a:lnTo>
                  <a:lnTo>
                    <a:pt x="26" y="7"/>
                  </a:lnTo>
                  <a:lnTo>
                    <a:pt x="33" y="3"/>
                  </a:lnTo>
                  <a:lnTo>
                    <a:pt x="38" y="0"/>
                  </a:lnTo>
                  <a:lnTo>
                    <a:pt x="43" y="0"/>
                  </a:lnTo>
                  <a:lnTo>
                    <a:pt x="43" y="3"/>
                  </a:lnTo>
                  <a:lnTo>
                    <a:pt x="50"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8" name="Freeform 256">
              <a:extLst>
                <a:ext uri="{FF2B5EF4-FFF2-40B4-BE49-F238E27FC236}">
                  <a16:creationId xmlns:a16="http://schemas.microsoft.com/office/drawing/2014/main" id="{240D3F38-C31A-48D9-A7A6-97FDD912D416}"/>
                </a:ext>
              </a:extLst>
            </p:cNvPr>
            <p:cNvSpPr>
              <a:spLocks/>
            </p:cNvSpPr>
            <p:nvPr/>
          </p:nvSpPr>
          <p:spPr bwMode="gray">
            <a:xfrm rot="47099">
              <a:off x="1416499" y="4120891"/>
              <a:ext cx="80452" cy="76722"/>
            </a:xfrm>
            <a:custGeom>
              <a:avLst/>
              <a:gdLst>
                <a:gd name="T0" fmla="*/ 0 w 173"/>
                <a:gd name="T1" fmla="*/ 123 h 165"/>
                <a:gd name="T2" fmla="*/ 12 w 173"/>
                <a:gd name="T3" fmla="*/ 106 h 165"/>
                <a:gd name="T4" fmla="*/ 24 w 173"/>
                <a:gd name="T5" fmla="*/ 97 h 165"/>
                <a:gd name="T6" fmla="*/ 31 w 173"/>
                <a:gd name="T7" fmla="*/ 78 h 165"/>
                <a:gd name="T8" fmla="*/ 36 w 173"/>
                <a:gd name="T9" fmla="*/ 75 h 165"/>
                <a:gd name="T10" fmla="*/ 40 w 173"/>
                <a:gd name="T11" fmla="*/ 73 h 165"/>
                <a:gd name="T12" fmla="*/ 36 w 173"/>
                <a:gd name="T13" fmla="*/ 59 h 165"/>
                <a:gd name="T14" fmla="*/ 36 w 173"/>
                <a:gd name="T15" fmla="*/ 56 h 165"/>
                <a:gd name="T16" fmla="*/ 43 w 173"/>
                <a:gd name="T17" fmla="*/ 40 h 165"/>
                <a:gd name="T18" fmla="*/ 40 w 173"/>
                <a:gd name="T19" fmla="*/ 28 h 165"/>
                <a:gd name="T20" fmla="*/ 50 w 173"/>
                <a:gd name="T21" fmla="*/ 16 h 165"/>
                <a:gd name="T22" fmla="*/ 52 w 173"/>
                <a:gd name="T23" fmla="*/ 11 h 165"/>
                <a:gd name="T24" fmla="*/ 57 w 173"/>
                <a:gd name="T25" fmla="*/ 2 h 165"/>
                <a:gd name="T26" fmla="*/ 64 w 173"/>
                <a:gd name="T27" fmla="*/ 0 h 165"/>
                <a:gd name="T28" fmla="*/ 71 w 173"/>
                <a:gd name="T29" fmla="*/ 2 h 165"/>
                <a:gd name="T30" fmla="*/ 90 w 173"/>
                <a:gd name="T31" fmla="*/ 11 h 165"/>
                <a:gd name="T32" fmla="*/ 97 w 173"/>
                <a:gd name="T33" fmla="*/ 19 h 165"/>
                <a:gd name="T34" fmla="*/ 92 w 173"/>
                <a:gd name="T35" fmla="*/ 21 h 165"/>
                <a:gd name="T36" fmla="*/ 97 w 173"/>
                <a:gd name="T37" fmla="*/ 33 h 165"/>
                <a:gd name="T38" fmla="*/ 99 w 173"/>
                <a:gd name="T39" fmla="*/ 35 h 165"/>
                <a:gd name="T40" fmla="*/ 104 w 173"/>
                <a:gd name="T41" fmla="*/ 42 h 165"/>
                <a:gd name="T42" fmla="*/ 109 w 173"/>
                <a:gd name="T43" fmla="*/ 40 h 165"/>
                <a:gd name="T44" fmla="*/ 121 w 173"/>
                <a:gd name="T45" fmla="*/ 26 h 165"/>
                <a:gd name="T46" fmla="*/ 137 w 173"/>
                <a:gd name="T47" fmla="*/ 19 h 165"/>
                <a:gd name="T48" fmla="*/ 144 w 173"/>
                <a:gd name="T49" fmla="*/ 28 h 165"/>
                <a:gd name="T50" fmla="*/ 140 w 173"/>
                <a:gd name="T51" fmla="*/ 40 h 165"/>
                <a:gd name="T52" fmla="*/ 147 w 173"/>
                <a:gd name="T53" fmla="*/ 40 h 165"/>
                <a:gd name="T54" fmla="*/ 154 w 173"/>
                <a:gd name="T55" fmla="*/ 35 h 165"/>
                <a:gd name="T56" fmla="*/ 168 w 173"/>
                <a:gd name="T57" fmla="*/ 40 h 165"/>
                <a:gd name="T58" fmla="*/ 173 w 173"/>
                <a:gd name="T59" fmla="*/ 45 h 165"/>
                <a:gd name="T60" fmla="*/ 168 w 173"/>
                <a:gd name="T61" fmla="*/ 59 h 165"/>
                <a:gd name="T62" fmla="*/ 170 w 173"/>
                <a:gd name="T63" fmla="*/ 68 h 165"/>
                <a:gd name="T64" fmla="*/ 168 w 173"/>
                <a:gd name="T65" fmla="*/ 85 h 165"/>
                <a:gd name="T66" fmla="*/ 170 w 173"/>
                <a:gd name="T67" fmla="*/ 101 h 165"/>
                <a:gd name="T68" fmla="*/ 168 w 173"/>
                <a:gd name="T69" fmla="*/ 113 h 165"/>
                <a:gd name="T70" fmla="*/ 149 w 173"/>
                <a:gd name="T71" fmla="*/ 108 h 165"/>
                <a:gd name="T72" fmla="*/ 140 w 173"/>
                <a:gd name="T73" fmla="*/ 101 h 165"/>
                <a:gd name="T74" fmla="*/ 144 w 173"/>
                <a:gd name="T75" fmla="*/ 99 h 165"/>
                <a:gd name="T76" fmla="*/ 133 w 173"/>
                <a:gd name="T77" fmla="*/ 73 h 165"/>
                <a:gd name="T78" fmla="*/ 128 w 173"/>
                <a:gd name="T79" fmla="*/ 68 h 165"/>
                <a:gd name="T80" fmla="*/ 114 w 173"/>
                <a:gd name="T81" fmla="*/ 75 h 165"/>
                <a:gd name="T82" fmla="*/ 107 w 173"/>
                <a:gd name="T83" fmla="*/ 82 h 165"/>
                <a:gd name="T84" fmla="*/ 109 w 173"/>
                <a:gd name="T85" fmla="*/ 89 h 165"/>
                <a:gd name="T86" fmla="*/ 114 w 173"/>
                <a:gd name="T87" fmla="*/ 97 h 165"/>
                <a:gd name="T88" fmla="*/ 109 w 173"/>
                <a:gd name="T89" fmla="*/ 101 h 165"/>
                <a:gd name="T90" fmla="*/ 114 w 173"/>
                <a:gd name="T91" fmla="*/ 108 h 165"/>
                <a:gd name="T92" fmla="*/ 109 w 173"/>
                <a:gd name="T93" fmla="*/ 115 h 165"/>
                <a:gd name="T94" fmla="*/ 104 w 173"/>
                <a:gd name="T95" fmla="*/ 118 h 165"/>
                <a:gd name="T96" fmla="*/ 97 w 173"/>
                <a:gd name="T97" fmla="*/ 137 h 165"/>
                <a:gd name="T98" fmla="*/ 90 w 173"/>
                <a:gd name="T99" fmla="*/ 139 h 165"/>
                <a:gd name="T100" fmla="*/ 88 w 173"/>
                <a:gd name="T101" fmla="*/ 137 h 165"/>
                <a:gd name="T102" fmla="*/ 81 w 173"/>
                <a:gd name="T103" fmla="*/ 132 h 165"/>
                <a:gd name="T104" fmla="*/ 74 w 173"/>
                <a:gd name="T105" fmla="*/ 139 h 165"/>
                <a:gd name="T106" fmla="*/ 59 w 173"/>
                <a:gd name="T107" fmla="*/ 141 h 165"/>
                <a:gd name="T108" fmla="*/ 43 w 173"/>
                <a:gd name="T109" fmla="*/ 153 h 165"/>
                <a:gd name="T110" fmla="*/ 26 w 173"/>
                <a:gd name="T111" fmla="*/ 165 h 165"/>
                <a:gd name="T112" fmla="*/ 19 w 173"/>
                <a:gd name="T113" fmla="*/ 163 h 165"/>
                <a:gd name="T114" fmla="*/ 17 w 173"/>
                <a:gd name="T115" fmla="*/ 153 h 165"/>
                <a:gd name="T116" fmla="*/ 12 w 173"/>
                <a:gd name="T117" fmla="*/ 141 h 165"/>
                <a:gd name="T118" fmla="*/ 10 w 173"/>
                <a:gd name="T119" fmla="*/ 125 h 165"/>
                <a:gd name="T120" fmla="*/ 0 w 173"/>
                <a:gd name="T121" fmla="*/ 123 h 1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165"/>
                <a:gd name="T185" fmla="*/ 173 w 173"/>
                <a:gd name="T186" fmla="*/ 165 h 1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165">
                  <a:moveTo>
                    <a:pt x="0" y="123"/>
                  </a:moveTo>
                  <a:lnTo>
                    <a:pt x="0" y="123"/>
                  </a:lnTo>
                  <a:lnTo>
                    <a:pt x="7" y="113"/>
                  </a:lnTo>
                  <a:lnTo>
                    <a:pt x="12" y="106"/>
                  </a:lnTo>
                  <a:lnTo>
                    <a:pt x="19" y="97"/>
                  </a:lnTo>
                  <a:lnTo>
                    <a:pt x="24" y="97"/>
                  </a:lnTo>
                  <a:lnTo>
                    <a:pt x="26" y="89"/>
                  </a:lnTo>
                  <a:lnTo>
                    <a:pt x="31" y="78"/>
                  </a:lnTo>
                  <a:lnTo>
                    <a:pt x="33" y="78"/>
                  </a:lnTo>
                  <a:lnTo>
                    <a:pt x="36" y="75"/>
                  </a:lnTo>
                  <a:lnTo>
                    <a:pt x="40" y="75"/>
                  </a:lnTo>
                  <a:lnTo>
                    <a:pt x="40" y="73"/>
                  </a:lnTo>
                  <a:lnTo>
                    <a:pt x="36" y="68"/>
                  </a:lnTo>
                  <a:lnTo>
                    <a:pt x="36" y="59"/>
                  </a:lnTo>
                  <a:lnTo>
                    <a:pt x="33" y="59"/>
                  </a:lnTo>
                  <a:lnTo>
                    <a:pt x="36" y="56"/>
                  </a:lnTo>
                  <a:lnTo>
                    <a:pt x="40" y="40"/>
                  </a:lnTo>
                  <a:lnTo>
                    <a:pt x="43" y="40"/>
                  </a:lnTo>
                  <a:lnTo>
                    <a:pt x="48" y="35"/>
                  </a:lnTo>
                  <a:lnTo>
                    <a:pt x="40" y="28"/>
                  </a:lnTo>
                  <a:lnTo>
                    <a:pt x="50" y="19"/>
                  </a:lnTo>
                  <a:lnTo>
                    <a:pt x="50" y="16"/>
                  </a:lnTo>
                  <a:lnTo>
                    <a:pt x="52" y="16"/>
                  </a:lnTo>
                  <a:lnTo>
                    <a:pt x="52" y="11"/>
                  </a:lnTo>
                  <a:lnTo>
                    <a:pt x="57" y="9"/>
                  </a:lnTo>
                  <a:lnTo>
                    <a:pt x="57" y="2"/>
                  </a:lnTo>
                  <a:lnTo>
                    <a:pt x="64" y="2"/>
                  </a:lnTo>
                  <a:lnTo>
                    <a:pt x="64" y="0"/>
                  </a:lnTo>
                  <a:lnTo>
                    <a:pt x="66" y="2"/>
                  </a:lnTo>
                  <a:lnTo>
                    <a:pt x="71" y="2"/>
                  </a:lnTo>
                  <a:lnTo>
                    <a:pt x="81" y="11"/>
                  </a:lnTo>
                  <a:lnTo>
                    <a:pt x="90" y="11"/>
                  </a:lnTo>
                  <a:lnTo>
                    <a:pt x="92" y="16"/>
                  </a:lnTo>
                  <a:lnTo>
                    <a:pt x="97" y="19"/>
                  </a:lnTo>
                  <a:lnTo>
                    <a:pt x="97" y="21"/>
                  </a:lnTo>
                  <a:lnTo>
                    <a:pt x="92" y="21"/>
                  </a:lnTo>
                  <a:lnTo>
                    <a:pt x="92" y="28"/>
                  </a:lnTo>
                  <a:lnTo>
                    <a:pt x="97" y="33"/>
                  </a:lnTo>
                  <a:lnTo>
                    <a:pt x="99" y="33"/>
                  </a:lnTo>
                  <a:lnTo>
                    <a:pt x="99" y="35"/>
                  </a:lnTo>
                  <a:lnTo>
                    <a:pt x="104" y="40"/>
                  </a:lnTo>
                  <a:lnTo>
                    <a:pt x="104" y="42"/>
                  </a:lnTo>
                  <a:lnTo>
                    <a:pt x="107" y="42"/>
                  </a:lnTo>
                  <a:lnTo>
                    <a:pt x="109" y="40"/>
                  </a:lnTo>
                  <a:lnTo>
                    <a:pt x="116" y="33"/>
                  </a:lnTo>
                  <a:lnTo>
                    <a:pt x="121" y="26"/>
                  </a:lnTo>
                  <a:lnTo>
                    <a:pt x="133" y="19"/>
                  </a:lnTo>
                  <a:lnTo>
                    <a:pt x="137" y="19"/>
                  </a:lnTo>
                  <a:lnTo>
                    <a:pt x="144" y="26"/>
                  </a:lnTo>
                  <a:lnTo>
                    <a:pt x="144" y="28"/>
                  </a:lnTo>
                  <a:lnTo>
                    <a:pt x="140" y="33"/>
                  </a:lnTo>
                  <a:lnTo>
                    <a:pt x="140" y="40"/>
                  </a:lnTo>
                  <a:lnTo>
                    <a:pt x="144" y="42"/>
                  </a:lnTo>
                  <a:lnTo>
                    <a:pt x="147" y="40"/>
                  </a:lnTo>
                  <a:lnTo>
                    <a:pt x="147" y="35"/>
                  </a:lnTo>
                  <a:lnTo>
                    <a:pt x="154" y="35"/>
                  </a:lnTo>
                  <a:lnTo>
                    <a:pt x="163" y="40"/>
                  </a:lnTo>
                  <a:lnTo>
                    <a:pt x="168" y="40"/>
                  </a:lnTo>
                  <a:lnTo>
                    <a:pt x="170" y="42"/>
                  </a:lnTo>
                  <a:lnTo>
                    <a:pt x="173" y="45"/>
                  </a:lnTo>
                  <a:lnTo>
                    <a:pt x="170" y="52"/>
                  </a:lnTo>
                  <a:lnTo>
                    <a:pt x="168" y="59"/>
                  </a:lnTo>
                  <a:lnTo>
                    <a:pt x="163" y="59"/>
                  </a:lnTo>
                  <a:lnTo>
                    <a:pt x="170" y="68"/>
                  </a:lnTo>
                  <a:lnTo>
                    <a:pt x="168" y="73"/>
                  </a:lnTo>
                  <a:lnTo>
                    <a:pt x="168" y="85"/>
                  </a:lnTo>
                  <a:lnTo>
                    <a:pt x="170" y="92"/>
                  </a:lnTo>
                  <a:lnTo>
                    <a:pt x="170" y="101"/>
                  </a:lnTo>
                  <a:lnTo>
                    <a:pt x="168" y="106"/>
                  </a:lnTo>
                  <a:lnTo>
                    <a:pt x="168" y="113"/>
                  </a:lnTo>
                  <a:lnTo>
                    <a:pt x="154" y="113"/>
                  </a:lnTo>
                  <a:lnTo>
                    <a:pt x="149" y="108"/>
                  </a:lnTo>
                  <a:lnTo>
                    <a:pt x="147" y="108"/>
                  </a:lnTo>
                  <a:lnTo>
                    <a:pt x="140" y="101"/>
                  </a:lnTo>
                  <a:lnTo>
                    <a:pt x="144" y="101"/>
                  </a:lnTo>
                  <a:lnTo>
                    <a:pt x="144" y="99"/>
                  </a:lnTo>
                  <a:lnTo>
                    <a:pt x="140" y="85"/>
                  </a:lnTo>
                  <a:lnTo>
                    <a:pt x="133" y="73"/>
                  </a:lnTo>
                  <a:lnTo>
                    <a:pt x="130" y="68"/>
                  </a:lnTo>
                  <a:lnTo>
                    <a:pt x="128" y="68"/>
                  </a:lnTo>
                  <a:lnTo>
                    <a:pt x="116" y="75"/>
                  </a:lnTo>
                  <a:lnTo>
                    <a:pt x="114" y="75"/>
                  </a:lnTo>
                  <a:lnTo>
                    <a:pt x="109" y="78"/>
                  </a:lnTo>
                  <a:lnTo>
                    <a:pt x="107" y="82"/>
                  </a:lnTo>
                  <a:lnTo>
                    <a:pt x="107" y="85"/>
                  </a:lnTo>
                  <a:lnTo>
                    <a:pt x="109" y="89"/>
                  </a:lnTo>
                  <a:lnTo>
                    <a:pt x="109" y="92"/>
                  </a:lnTo>
                  <a:lnTo>
                    <a:pt x="114" y="97"/>
                  </a:lnTo>
                  <a:lnTo>
                    <a:pt x="114" y="99"/>
                  </a:lnTo>
                  <a:lnTo>
                    <a:pt x="109" y="101"/>
                  </a:lnTo>
                  <a:lnTo>
                    <a:pt x="109" y="106"/>
                  </a:lnTo>
                  <a:lnTo>
                    <a:pt x="114" y="108"/>
                  </a:lnTo>
                  <a:lnTo>
                    <a:pt x="109" y="113"/>
                  </a:lnTo>
                  <a:lnTo>
                    <a:pt x="109" y="115"/>
                  </a:lnTo>
                  <a:lnTo>
                    <a:pt x="107" y="115"/>
                  </a:lnTo>
                  <a:lnTo>
                    <a:pt x="104" y="118"/>
                  </a:lnTo>
                  <a:lnTo>
                    <a:pt x="99" y="118"/>
                  </a:lnTo>
                  <a:lnTo>
                    <a:pt x="97" y="137"/>
                  </a:lnTo>
                  <a:lnTo>
                    <a:pt x="92" y="139"/>
                  </a:lnTo>
                  <a:lnTo>
                    <a:pt x="90" y="139"/>
                  </a:lnTo>
                  <a:lnTo>
                    <a:pt x="90" y="137"/>
                  </a:lnTo>
                  <a:lnTo>
                    <a:pt x="88" y="137"/>
                  </a:lnTo>
                  <a:lnTo>
                    <a:pt x="83" y="132"/>
                  </a:lnTo>
                  <a:lnTo>
                    <a:pt x="81" y="132"/>
                  </a:lnTo>
                  <a:lnTo>
                    <a:pt x="76" y="137"/>
                  </a:lnTo>
                  <a:lnTo>
                    <a:pt x="74" y="139"/>
                  </a:lnTo>
                  <a:lnTo>
                    <a:pt x="71" y="141"/>
                  </a:lnTo>
                  <a:lnTo>
                    <a:pt x="59" y="141"/>
                  </a:lnTo>
                  <a:lnTo>
                    <a:pt x="43" y="146"/>
                  </a:lnTo>
                  <a:lnTo>
                    <a:pt x="43" y="153"/>
                  </a:lnTo>
                  <a:lnTo>
                    <a:pt x="40" y="153"/>
                  </a:lnTo>
                  <a:lnTo>
                    <a:pt x="26" y="165"/>
                  </a:lnTo>
                  <a:lnTo>
                    <a:pt x="24" y="163"/>
                  </a:lnTo>
                  <a:lnTo>
                    <a:pt x="19" y="163"/>
                  </a:lnTo>
                  <a:lnTo>
                    <a:pt x="19" y="158"/>
                  </a:lnTo>
                  <a:lnTo>
                    <a:pt x="17" y="153"/>
                  </a:lnTo>
                  <a:lnTo>
                    <a:pt x="17" y="148"/>
                  </a:lnTo>
                  <a:lnTo>
                    <a:pt x="12" y="141"/>
                  </a:lnTo>
                  <a:lnTo>
                    <a:pt x="12" y="130"/>
                  </a:lnTo>
                  <a:lnTo>
                    <a:pt x="10" y="125"/>
                  </a:lnTo>
                  <a:lnTo>
                    <a:pt x="7" y="125"/>
                  </a:lnTo>
                  <a:lnTo>
                    <a:pt x="0" y="12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69" name="Freeform 257">
              <a:extLst>
                <a:ext uri="{FF2B5EF4-FFF2-40B4-BE49-F238E27FC236}">
                  <a16:creationId xmlns:a16="http://schemas.microsoft.com/office/drawing/2014/main" id="{7D6F23BF-2E1C-4271-966E-2AE7D11057E1}"/>
                </a:ext>
              </a:extLst>
            </p:cNvPr>
            <p:cNvSpPr>
              <a:spLocks/>
            </p:cNvSpPr>
            <p:nvPr/>
          </p:nvSpPr>
          <p:spPr bwMode="gray">
            <a:xfrm rot="47099">
              <a:off x="1349974" y="4177799"/>
              <a:ext cx="171134" cy="101831"/>
            </a:xfrm>
            <a:custGeom>
              <a:avLst/>
              <a:gdLst>
                <a:gd name="T0" fmla="*/ 278 w 368"/>
                <a:gd name="T1" fmla="*/ 54 h 219"/>
                <a:gd name="T2" fmla="*/ 304 w 368"/>
                <a:gd name="T3" fmla="*/ 75 h 219"/>
                <a:gd name="T4" fmla="*/ 337 w 368"/>
                <a:gd name="T5" fmla="*/ 82 h 219"/>
                <a:gd name="T6" fmla="*/ 335 w 368"/>
                <a:gd name="T7" fmla="*/ 115 h 219"/>
                <a:gd name="T8" fmla="*/ 342 w 368"/>
                <a:gd name="T9" fmla="*/ 139 h 219"/>
                <a:gd name="T10" fmla="*/ 366 w 368"/>
                <a:gd name="T11" fmla="*/ 153 h 219"/>
                <a:gd name="T12" fmla="*/ 366 w 368"/>
                <a:gd name="T13" fmla="*/ 167 h 219"/>
                <a:gd name="T14" fmla="*/ 361 w 368"/>
                <a:gd name="T15" fmla="*/ 179 h 219"/>
                <a:gd name="T16" fmla="*/ 342 w 368"/>
                <a:gd name="T17" fmla="*/ 196 h 219"/>
                <a:gd name="T18" fmla="*/ 328 w 368"/>
                <a:gd name="T19" fmla="*/ 212 h 219"/>
                <a:gd name="T20" fmla="*/ 321 w 368"/>
                <a:gd name="T21" fmla="*/ 219 h 219"/>
                <a:gd name="T22" fmla="*/ 314 w 368"/>
                <a:gd name="T23" fmla="*/ 212 h 219"/>
                <a:gd name="T24" fmla="*/ 304 w 368"/>
                <a:gd name="T25" fmla="*/ 203 h 219"/>
                <a:gd name="T26" fmla="*/ 262 w 368"/>
                <a:gd name="T27" fmla="*/ 193 h 219"/>
                <a:gd name="T28" fmla="*/ 222 w 368"/>
                <a:gd name="T29" fmla="*/ 186 h 219"/>
                <a:gd name="T30" fmla="*/ 207 w 368"/>
                <a:gd name="T31" fmla="*/ 177 h 219"/>
                <a:gd name="T32" fmla="*/ 172 w 368"/>
                <a:gd name="T33" fmla="*/ 163 h 219"/>
                <a:gd name="T34" fmla="*/ 153 w 368"/>
                <a:gd name="T35" fmla="*/ 155 h 219"/>
                <a:gd name="T36" fmla="*/ 120 w 368"/>
                <a:gd name="T37" fmla="*/ 146 h 219"/>
                <a:gd name="T38" fmla="*/ 103 w 368"/>
                <a:gd name="T39" fmla="*/ 139 h 219"/>
                <a:gd name="T40" fmla="*/ 94 w 368"/>
                <a:gd name="T41" fmla="*/ 129 h 219"/>
                <a:gd name="T42" fmla="*/ 75 w 368"/>
                <a:gd name="T43" fmla="*/ 120 h 219"/>
                <a:gd name="T44" fmla="*/ 47 w 368"/>
                <a:gd name="T45" fmla="*/ 103 h 219"/>
                <a:gd name="T46" fmla="*/ 28 w 368"/>
                <a:gd name="T47" fmla="*/ 80 h 219"/>
                <a:gd name="T48" fmla="*/ 16 w 368"/>
                <a:gd name="T49" fmla="*/ 73 h 219"/>
                <a:gd name="T50" fmla="*/ 7 w 368"/>
                <a:gd name="T51" fmla="*/ 80 h 219"/>
                <a:gd name="T52" fmla="*/ 4 w 368"/>
                <a:gd name="T53" fmla="*/ 63 h 219"/>
                <a:gd name="T54" fmla="*/ 23 w 368"/>
                <a:gd name="T55" fmla="*/ 54 h 219"/>
                <a:gd name="T56" fmla="*/ 30 w 368"/>
                <a:gd name="T57" fmla="*/ 42 h 219"/>
                <a:gd name="T58" fmla="*/ 30 w 368"/>
                <a:gd name="T59" fmla="*/ 25 h 219"/>
                <a:gd name="T60" fmla="*/ 54 w 368"/>
                <a:gd name="T61" fmla="*/ 25 h 219"/>
                <a:gd name="T62" fmla="*/ 70 w 368"/>
                <a:gd name="T63" fmla="*/ 33 h 219"/>
                <a:gd name="T64" fmla="*/ 125 w 368"/>
                <a:gd name="T65" fmla="*/ 35 h 219"/>
                <a:gd name="T66" fmla="*/ 141 w 368"/>
                <a:gd name="T67" fmla="*/ 40 h 219"/>
                <a:gd name="T68" fmla="*/ 134 w 368"/>
                <a:gd name="T69" fmla="*/ 35 h 219"/>
                <a:gd name="T70" fmla="*/ 127 w 368"/>
                <a:gd name="T71" fmla="*/ 25 h 219"/>
                <a:gd name="T72" fmla="*/ 127 w 368"/>
                <a:gd name="T73" fmla="*/ 2 h 219"/>
                <a:gd name="T74" fmla="*/ 134 w 368"/>
                <a:gd name="T75" fmla="*/ 7 h 219"/>
                <a:gd name="T76" fmla="*/ 148 w 368"/>
                <a:gd name="T77" fmla="*/ 2 h 219"/>
                <a:gd name="T78" fmla="*/ 153 w 368"/>
                <a:gd name="T79" fmla="*/ 18 h 219"/>
                <a:gd name="T80" fmla="*/ 160 w 368"/>
                <a:gd name="T81" fmla="*/ 35 h 219"/>
                <a:gd name="T82" fmla="*/ 167 w 368"/>
                <a:gd name="T83" fmla="*/ 42 h 219"/>
                <a:gd name="T84" fmla="*/ 184 w 368"/>
                <a:gd name="T85" fmla="*/ 23 h 219"/>
                <a:gd name="T86" fmla="*/ 215 w 368"/>
                <a:gd name="T87" fmla="*/ 16 h 219"/>
                <a:gd name="T88" fmla="*/ 224 w 368"/>
                <a:gd name="T89" fmla="*/ 9 h 219"/>
                <a:gd name="T90" fmla="*/ 231 w 368"/>
                <a:gd name="T91" fmla="*/ 16 h 219"/>
                <a:gd name="T92" fmla="*/ 240 w 368"/>
                <a:gd name="T93" fmla="*/ 25 h 219"/>
                <a:gd name="T94" fmla="*/ 257 w 368"/>
                <a:gd name="T95" fmla="*/ 35 h 219"/>
                <a:gd name="T96" fmla="*/ 264 w 368"/>
                <a:gd name="T97" fmla="*/ 30 h 2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8"/>
                <a:gd name="T148" fmla="*/ 0 h 219"/>
                <a:gd name="T149" fmla="*/ 368 w 368"/>
                <a:gd name="T150" fmla="*/ 219 h 2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8" h="219">
                  <a:moveTo>
                    <a:pt x="274" y="47"/>
                  </a:moveTo>
                  <a:lnTo>
                    <a:pt x="274" y="49"/>
                  </a:lnTo>
                  <a:lnTo>
                    <a:pt x="278" y="54"/>
                  </a:lnTo>
                  <a:lnTo>
                    <a:pt x="288" y="63"/>
                  </a:lnTo>
                  <a:lnTo>
                    <a:pt x="302" y="73"/>
                  </a:lnTo>
                  <a:lnTo>
                    <a:pt x="304" y="75"/>
                  </a:lnTo>
                  <a:lnTo>
                    <a:pt x="328" y="75"/>
                  </a:lnTo>
                  <a:lnTo>
                    <a:pt x="335" y="82"/>
                  </a:lnTo>
                  <a:lnTo>
                    <a:pt x="337" y="82"/>
                  </a:lnTo>
                  <a:lnTo>
                    <a:pt x="337" y="89"/>
                  </a:lnTo>
                  <a:lnTo>
                    <a:pt x="335" y="92"/>
                  </a:lnTo>
                  <a:lnTo>
                    <a:pt x="335" y="115"/>
                  </a:lnTo>
                  <a:lnTo>
                    <a:pt x="337" y="120"/>
                  </a:lnTo>
                  <a:lnTo>
                    <a:pt x="342" y="122"/>
                  </a:lnTo>
                  <a:lnTo>
                    <a:pt x="342" y="139"/>
                  </a:lnTo>
                  <a:lnTo>
                    <a:pt x="352" y="146"/>
                  </a:lnTo>
                  <a:lnTo>
                    <a:pt x="361" y="151"/>
                  </a:lnTo>
                  <a:lnTo>
                    <a:pt x="366" y="153"/>
                  </a:lnTo>
                  <a:lnTo>
                    <a:pt x="368" y="155"/>
                  </a:lnTo>
                  <a:lnTo>
                    <a:pt x="368" y="163"/>
                  </a:lnTo>
                  <a:lnTo>
                    <a:pt x="366" y="167"/>
                  </a:lnTo>
                  <a:lnTo>
                    <a:pt x="366" y="170"/>
                  </a:lnTo>
                  <a:lnTo>
                    <a:pt x="361" y="177"/>
                  </a:lnTo>
                  <a:lnTo>
                    <a:pt x="361" y="179"/>
                  </a:lnTo>
                  <a:lnTo>
                    <a:pt x="359" y="184"/>
                  </a:lnTo>
                  <a:lnTo>
                    <a:pt x="352" y="188"/>
                  </a:lnTo>
                  <a:lnTo>
                    <a:pt x="342" y="196"/>
                  </a:lnTo>
                  <a:lnTo>
                    <a:pt x="342" y="210"/>
                  </a:lnTo>
                  <a:lnTo>
                    <a:pt x="337" y="212"/>
                  </a:lnTo>
                  <a:lnTo>
                    <a:pt x="328" y="212"/>
                  </a:lnTo>
                  <a:lnTo>
                    <a:pt x="326" y="217"/>
                  </a:lnTo>
                  <a:lnTo>
                    <a:pt x="321" y="217"/>
                  </a:lnTo>
                  <a:lnTo>
                    <a:pt x="321" y="219"/>
                  </a:lnTo>
                  <a:lnTo>
                    <a:pt x="318" y="219"/>
                  </a:lnTo>
                  <a:lnTo>
                    <a:pt x="318" y="217"/>
                  </a:lnTo>
                  <a:lnTo>
                    <a:pt x="314" y="212"/>
                  </a:lnTo>
                  <a:lnTo>
                    <a:pt x="311" y="212"/>
                  </a:lnTo>
                  <a:lnTo>
                    <a:pt x="309" y="207"/>
                  </a:lnTo>
                  <a:lnTo>
                    <a:pt x="304" y="203"/>
                  </a:lnTo>
                  <a:lnTo>
                    <a:pt x="302" y="200"/>
                  </a:lnTo>
                  <a:lnTo>
                    <a:pt x="278" y="196"/>
                  </a:lnTo>
                  <a:lnTo>
                    <a:pt x="262" y="193"/>
                  </a:lnTo>
                  <a:lnTo>
                    <a:pt x="240" y="188"/>
                  </a:lnTo>
                  <a:lnTo>
                    <a:pt x="231" y="188"/>
                  </a:lnTo>
                  <a:lnTo>
                    <a:pt x="222" y="186"/>
                  </a:lnTo>
                  <a:lnTo>
                    <a:pt x="215" y="186"/>
                  </a:lnTo>
                  <a:lnTo>
                    <a:pt x="205" y="179"/>
                  </a:lnTo>
                  <a:lnTo>
                    <a:pt x="207" y="177"/>
                  </a:lnTo>
                  <a:lnTo>
                    <a:pt x="205" y="172"/>
                  </a:lnTo>
                  <a:lnTo>
                    <a:pt x="193" y="170"/>
                  </a:lnTo>
                  <a:lnTo>
                    <a:pt x="172" y="163"/>
                  </a:lnTo>
                  <a:lnTo>
                    <a:pt x="167" y="163"/>
                  </a:lnTo>
                  <a:lnTo>
                    <a:pt x="165" y="160"/>
                  </a:lnTo>
                  <a:lnTo>
                    <a:pt x="153" y="155"/>
                  </a:lnTo>
                  <a:lnTo>
                    <a:pt x="148" y="153"/>
                  </a:lnTo>
                  <a:lnTo>
                    <a:pt x="132" y="151"/>
                  </a:lnTo>
                  <a:lnTo>
                    <a:pt x="120" y="146"/>
                  </a:lnTo>
                  <a:lnTo>
                    <a:pt x="113" y="144"/>
                  </a:lnTo>
                  <a:lnTo>
                    <a:pt x="111" y="144"/>
                  </a:lnTo>
                  <a:lnTo>
                    <a:pt x="103" y="139"/>
                  </a:lnTo>
                  <a:lnTo>
                    <a:pt x="101" y="137"/>
                  </a:lnTo>
                  <a:lnTo>
                    <a:pt x="96" y="132"/>
                  </a:lnTo>
                  <a:lnTo>
                    <a:pt x="94" y="129"/>
                  </a:lnTo>
                  <a:lnTo>
                    <a:pt x="92" y="129"/>
                  </a:lnTo>
                  <a:lnTo>
                    <a:pt x="80" y="122"/>
                  </a:lnTo>
                  <a:lnTo>
                    <a:pt x="75" y="120"/>
                  </a:lnTo>
                  <a:lnTo>
                    <a:pt x="63" y="113"/>
                  </a:lnTo>
                  <a:lnTo>
                    <a:pt x="54" y="106"/>
                  </a:lnTo>
                  <a:lnTo>
                    <a:pt x="47" y="103"/>
                  </a:lnTo>
                  <a:lnTo>
                    <a:pt x="47" y="96"/>
                  </a:lnTo>
                  <a:lnTo>
                    <a:pt x="35" y="82"/>
                  </a:lnTo>
                  <a:lnTo>
                    <a:pt x="28" y="80"/>
                  </a:lnTo>
                  <a:lnTo>
                    <a:pt x="23" y="75"/>
                  </a:lnTo>
                  <a:lnTo>
                    <a:pt x="21" y="75"/>
                  </a:lnTo>
                  <a:lnTo>
                    <a:pt x="16" y="73"/>
                  </a:lnTo>
                  <a:lnTo>
                    <a:pt x="14" y="73"/>
                  </a:lnTo>
                  <a:lnTo>
                    <a:pt x="11" y="75"/>
                  </a:lnTo>
                  <a:lnTo>
                    <a:pt x="7" y="80"/>
                  </a:lnTo>
                  <a:lnTo>
                    <a:pt x="0" y="80"/>
                  </a:lnTo>
                  <a:lnTo>
                    <a:pt x="0" y="66"/>
                  </a:lnTo>
                  <a:lnTo>
                    <a:pt x="4" y="63"/>
                  </a:lnTo>
                  <a:lnTo>
                    <a:pt x="4" y="56"/>
                  </a:lnTo>
                  <a:lnTo>
                    <a:pt x="16" y="56"/>
                  </a:lnTo>
                  <a:lnTo>
                    <a:pt x="23" y="54"/>
                  </a:lnTo>
                  <a:lnTo>
                    <a:pt x="28" y="49"/>
                  </a:lnTo>
                  <a:lnTo>
                    <a:pt x="30" y="47"/>
                  </a:lnTo>
                  <a:lnTo>
                    <a:pt x="30" y="42"/>
                  </a:lnTo>
                  <a:lnTo>
                    <a:pt x="28" y="40"/>
                  </a:lnTo>
                  <a:lnTo>
                    <a:pt x="28" y="30"/>
                  </a:lnTo>
                  <a:lnTo>
                    <a:pt x="30" y="25"/>
                  </a:lnTo>
                  <a:lnTo>
                    <a:pt x="35" y="23"/>
                  </a:lnTo>
                  <a:lnTo>
                    <a:pt x="52" y="23"/>
                  </a:lnTo>
                  <a:lnTo>
                    <a:pt x="54" y="25"/>
                  </a:lnTo>
                  <a:lnTo>
                    <a:pt x="54" y="30"/>
                  </a:lnTo>
                  <a:lnTo>
                    <a:pt x="61" y="33"/>
                  </a:lnTo>
                  <a:lnTo>
                    <a:pt x="70" y="33"/>
                  </a:lnTo>
                  <a:lnTo>
                    <a:pt x="75" y="30"/>
                  </a:lnTo>
                  <a:lnTo>
                    <a:pt x="103" y="30"/>
                  </a:lnTo>
                  <a:lnTo>
                    <a:pt x="125" y="35"/>
                  </a:lnTo>
                  <a:lnTo>
                    <a:pt x="127" y="40"/>
                  </a:lnTo>
                  <a:lnTo>
                    <a:pt x="137" y="42"/>
                  </a:lnTo>
                  <a:lnTo>
                    <a:pt x="141" y="40"/>
                  </a:lnTo>
                  <a:lnTo>
                    <a:pt x="137" y="40"/>
                  </a:lnTo>
                  <a:lnTo>
                    <a:pt x="137" y="35"/>
                  </a:lnTo>
                  <a:lnTo>
                    <a:pt x="134" y="35"/>
                  </a:lnTo>
                  <a:lnTo>
                    <a:pt x="132" y="33"/>
                  </a:lnTo>
                  <a:lnTo>
                    <a:pt x="132" y="30"/>
                  </a:lnTo>
                  <a:lnTo>
                    <a:pt x="127" y="25"/>
                  </a:lnTo>
                  <a:lnTo>
                    <a:pt x="127" y="16"/>
                  </a:lnTo>
                  <a:lnTo>
                    <a:pt x="125" y="7"/>
                  </a:lnTo>
                  <a:lnTo>
                    <a:pt x="127" y="2"/>
                  </a:lnTo>
                  <a:lnTo>
                    <a:pt x="127" y="0"/>
                  </a:lnTo>
                  <a:lnTo>
                    <a:pt x="132" y="2"/>
                  </a:lnTo>
                  <a:lnTo>
                    <a:pt x="134" y="7"/>
                  </a:lnTo>
                  <a:lnTo>
                    <a:pt x="137" y="7"/>
                  </a:lnTo>
                  <a:lnTo>
                    <a:pt x="141" y="0"/>
                  </a:lnTo>
                  <a:lnTo>
                    <a:pt x="148" y="2"/>
                  </a:lnTo>
                  <a:lnTo>
                    <a:pt x="151" y="2"/>
                  </a:lnTo>
                  <a:lnTo>
                    <a:pt x="153" y="7"/>
                  </a:lnTo>
                  <a:lnTo>
                    <a:pt x="153" y="18"/>
                  </a:lnTo>
                  <a:lnTo>
                    <a:pt x="158" y="25"/>
                  </a:lnTo>
                  <a:lnTo>
                    <a:pt x="158" y="30"/>
                  </a:lnTo>
                  <a:lnTo>
                    <a:pt x="160" y="35"/>
                  </a:lnTo>
                  <a:lnTo>
                    <a:pt x="160" y="40"/>
                  </a:lnTo>
                  <a:lnTo>
                    <a:pt x="165" y="40"/>
                  </a:lnTo>
                  <a:lnTo>
                    <a:pt x="167" y="42"/>
                  </a:lnTo>
                  <a:lnTo>
                    <a:pt x="181" y="30"/>
                  </a:lnTo>
                  <a:lnTo>
                    <a:pt x="184" y="30"/>
                  </a:lnTo>
                  <a:lnTo>
                    <a:pt x="184" y="23"/>
                  </a:lnTo>
                  <a:lnTo>
                    <a:pt x="200" y="18"/>
                  </a:lnTo>
                  <a:lnTo>
                    <a:pt x="212" y="18"/>
                  </a:lnTo>
                  <a:lnTo>
                    <a:pt x="215" y="16"/>
                  </a:lnTo>
                  <a:lnTo>
                    <a:pt x="217" y="14"/>
                  </a:lnTo>
                  <a:lnTo>
                    <a:pt x="222" y="9"/>
                  </a:lnTo>
                  <a:lnTo>
                    <a:pt x="224" y="9"/>
                  </a:lnTo>
                  <a:lnTo>
                    <a:pt x="229" y="14"/>
                  </a:lnTo>
                  <a:lnTo>
                    <a:pt x="231" y="14"/>
                  </a:lnTo>
                  <a:lnTo>
                    <a:pt x="231" y="16"/>
                  </a:lnTo>
                  <a:lnTo>
                    <a:pt x="233" y="16"/>
                  </a:lnTo>
                  <a:lnTo>
                    <a:pt x="240" y="23"/>
                  </a:lnTo>
                  <a:lnTo>
                    <a:pt x="240" y="25"/>
                  </a:lnTo>
                  <a:lnTo>
                    <a:pt x="250" y="33"/>
                  </a:lnTo>
                  <a:lnTo>
                    <a:pt x="255" y="35"/>
                  </a:lnTo>
                  <a:lnTo>
                    <a:pt x="257" y="35"/>
                  </a:lnTo>
                  <a:lnTo>
                    <a:pt x="257" y="33"/>
                  </a:lnTo>
                  <a:lnTo>
                    <a:pt x="262" y="30"/>
                  </a:lnTo>
                  <a:lnTo>
                    <a:pt x="264" y="30"/>
                  </a:lnTo>
                  <a:lnTo>
                    <a:pt x="274" y="42"/>
                  </a:lnTo>
                  <a:lnTo>
                    <a:pt x="274" y="4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0" name="Freeform 258">
              <a:extLst>
                <a:ext uri="{FF2B5EF4-FFF2-40B4-BE49-F238E27FC236}">
                  <a16:creationId xmlns:a16="http://schemas.microsoft.com/office/drawing/2014/main" id="{229AEE10-E463-4438-8222-EDC36D7A4DF6}"/>
                </a:ext>
              </a:extLst>
            </p:cNvPr>
            <p:cNvSpPr>
              <a:spLocks/>
            </p:cNvSpPr>
            <p:nvPr/>
          </p:nvSpPr>
          <p:spPr bwMode="gray">
            <a:xfrm rot="47099">
              <a:off x="1458965" y="4167199"/>
              <a:ext cx="35342" cy="30689"/>
            </a:xfrm>
            <a:custGeom>
              <a:avLst/>
              <a:gdLst>
                <a:gd name="T0" fmla="*/ 76 w 76"/>
                <a:gd name="T1" fmla="*/ 14 h 66"/>
                <a:gd name="T2" fmla="*/ 76 w 76"/>
                <a:gd name="T3" fmla="*/ 19 h 66"/>
                <a:gd name="T4" fmla="*/ 71 w 76"/>
                <a:gd name="T5" fmla="*/ 26 h 66"/>
                <a:gd name="T6" fmla="*/ 69 w 76"/>
                <a:gd name="T7" fmla="*/ 38 h 66"/>
                <a:gd name="T8" fmla="*/ 69 w 76"/>
                <a:gd name="T9" fmla="*/ 42 h 66"/>
                <a:gd name="T10" fmla="*/ 71 w 76"/>
                <a:gd name="T11" fmla="*/ 47 h 66"/>
                <a:gd name="T12" fmla="*/ 71 w 76"/>
                <a:gd name="T13" fmla="*/ 54 h 66"/>
                <a:gd name="T14" fmla="*/ 76 w 76"/>
                <a:gd name="T15" fmla="*/ 59 h 66"/>
                <a:gd name="T16" fmla="*/ 71 w 76"/>
                <a:gd name="T17" fmla="*/ 59 h 66"/>
                <a:gd name="T18" fmla="*/ 69 w 76"/>
                <a:gd name="T19" fmla="*/ 57 h 66"/>
                <a:gd name="T20" fmla="*/ 57 w 76"/>
                <a:gd name="T21" fmla="*/ 57 h 66"/>
                <a:gd name="T22" fmla="*/ 55 w 76"/>
                <a:gd name="T23" fmla="*/ 64 h 66"/>
                <a:gd name="T24" fmla="*/ 48 w 76"/>
                <a:gd name="T25" fmla="*/ 66 h 66"/>
                <a:gd name="T26" fmla="*/ 41 w 76"/>
                <a:gd name="T27" fmla="*/ 66 h 66"/>
                <a:gd name="T28" fmla="*/ 31 w 76"/>
                <a:gd name="T29" fmla="*/ 54 h 66"/>
                <a:gd name="T30" fmla="*/ 29 w 76"/>
                <a:gd name="T31" fmla="*/ 54 h 66"/>
                <a:gd name="T32" fmla="*/ 24 w 76"/>
                <a:gd name="T33" fmla="*/ 57 h 66"/>
                <a:gd name="T34" fmla="*/ 24 w 76"/>
                <a:gd name="T35" fmla="*/ 59 h 66"/>
                <a:gd name="T36" fmla="*/ 22 w 76"/>
                <a:gd name="T37" fmla="*/ 59 h 66"/>
                <a:gd name="T38" fmla="*/ 17 w 76"/>
                <a:gd name="T39" fmla="*/ 57 h 66"/>
                <a:gd name="T40" fmla="*/ 7 w 76"/>
                <a:gd name="T41" fmla="*/ 49 h 66"/>
                <a:gd name="T42" fmla="*/ 7 w 76"/>
                <a:gd name="T43" fmla="*/ 47 h 66"/>
                <a:gd name="T44" fmla="*/ 0 w 76"/>
                <a:gd name="T45" fmla="*/ 40 h 66"/>
                <a:gd name="T46" fmla="*/ 5 w 76"/>
                <a:gd name="T47" fmla="*/ 38 h 66"/>
                <a:gd name="T48" fmla="*/ 7 w 76"/>
                <a:gd name="T49" fmla="*/ 19 h 66"/>
                <a:gd name="T50" fmla="*/ 12 w 76"/>
                <a:gd name="T51" fmla="*/ 19 h 66"/>
                <a:gd name="T52" fmla="*/ 15 w 76"/>
                <a:gd name="T53" fmla="*/ 16 h 66"/>
                <a:gd name="T54" fmla="*/ 17 w 76"/>
                <a:gd name="T55" fmla="*/ 16 h 66"/>
                <a:gd name="T56" fmla="*/ 17 w 76"/>
                <a:gd name="T57" fmla="*/ 14 h 66"/>
                <a:gd name="T58" fmla="*/ 22 w 76"/>
                <a:gd name="T59" fmla="*/ 9 h 66"/>
                <a:gd name="T60" fmla="*/ 17 w 76"/>
                <a:gd name="T61" fmla="*/ 7 h 66"/>
                <a:gd name="T62" fmla="*/ 17 w 76"/>
                <a:gd name="T63" fmla="*/ 2 h 66"/>
                <a:gd name="T64" fmla="*/ 22 w 76"/>
                <a:gd name="T65" fmla="*/ 0 h 66"/>
                <a:gd name="T66" fmla="*/ 24 w 76"/>
                <a:gd name="T67" fmla="*/ 0 h 66"/>
                <a:gd name="T68" fmla="*/ 36 w 76"/>
                <a:gd name="T69" fmla="*/ 2 h 66"/>
                <a:gd name="T70" fmla="*/ 41 w 76"/>
                <a:gd name="T71" fmla="*/ 2 h 66"/>
                <a:gd name="T72" fmla="*/ 45 w 76"/>
                <a:gd name="T73" fmla="*/ 7 h 66"/>
                <a:gd name="T74" fmla="*/ 48 w 76"/>
                <a:gd name="T75" fmla="*/ 2 h 66"/>
                <a:gd name="T76" fmla="*/ 55 w 76"/>
                <a:gd name="T77" fmla="*/ 9 h 66"/>
                <a:gd name="T78" fmla="*/ 57 w 76"/>
                <a:gd name="T79" fmla="*/ 9 h 66"/>
                <a:gd name="T80" fmla="*/ 62 w 76"/>
                <a:gd name="T81" fmla="*/ 14 h 66"/>
                <a:gd name="T82" fmla="*/ 76 w 76"/>
                <a:gd name="T83" fmla="*/ 14 h 66"/>
                <a:gd name="T84" fmla="*/ 76 w 76"/>
                <a:gd name="T85" fmla="*/ 9 h 66"/>
                <a:gd name="T86" fmla="*/ 76 w 76"/>
                <a:gd name="T87" fmla="*/ 14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6"/>
                <a:gd name="T133" fmla="*/ 0 h 66"/>
                <a:gd name="T134" fmla="*/ 76 w 76"/>
                <a:gd name="T135" fmla="*/ 66 h 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6" h="66">
                  <a:moveTo>
                    <a:pt x="76" y="14"/>
                  </a:moveTo>
                  <a:lnTo>
                    <a:pt x="76" y="19"/>
                  </a:lnTo>
                  <a:lnTo>
                    <a:pt x="71" y="26"/>
                  </a:lnTo>
                  <a:lnTo>
                    <a:pt x="69" y="38"/>
                  </a:lnTo>
                  <a:lnTo>
                    <a:pt x="69" y="42"/>
                  </a:lnTo>
                  <a:lnTo>
                    <a:pt x="71" y="47"/>
                  </a:lnTo>
                  <a:lnTo>
                    <a:pt x="71" y="54"/>
                  </a:lnTo>
                  <a:lnTo>
                    <a:pt x="76" y="59"/>
                  </a:lnTo>
                  <a:lnTo>
                    <a:pt x="71" y="59"/>
                  </a:lnTo>
                  <a:lnTo>
                    <a:pt x="69" y="57"/>
                  </a:lnTo>
                  <a:lnTo>
                    <a:pt x="57" y="57"/>
                  </a:lnTo>
                  <a:lnTo>
                    <a:pt x="55" y="64"/>
                  </a:lnTo>
                  <a:lnTo>
                    <a:pt x="48" y="66"/>
                  </a:lnTo>
                  <a:lnTo>
                    <a:pt x="41" y="66"/>
                  </a:lnTo>
                  <a:lnTo>
                    <a:pt x="31" y="54"/>
                  </a:lnTo>
                  <a:lnTo>
                    <a:pt x="29" y="54"/>
                  </a:lnTo>
                  <a:lnTo>
                    <a:pt x="24" y="57"/>
                  </a:lnTo>
                  <a:lnTo>
                    <a:pt x="24" y="59"/>
                  </a:lnTo>
                  <a:lnTo>
                    <a:pt x="22" y="59"/>
                  </a:lnTo>
                  <a:lnTo>
                    <a:pt x="17" y="57"/>
                  </a:lnTo>
                  <a:lnTo>
                    <a:pt x="7" y="49"/>
                  </a:lnTo>
                  <a:lnTo>
                    <a:pt x="7" y="47"/>
                  </a:lnTo>
                  <a:lnTo>
                    <a:pt x="0" y="40"/>
                  </a:lnTo>
                  <a:lnTo>
                    <a:pt x="5" y="38"/>
                  </a:lnTo>
                  <a:lnTo>
                    <a:pt x="7" y="19"/>
                  </a:lnTo>
                  <a:lnTo>
                    <a:pt x="12" y="19"/>
                  </a:lnTo>
                  <a:lnTo>
                    <a:pt x="15" y="16"/>
                  </a:lnTo>
                  <a:lnTo>
                    <a:pt x="17" y="16"/>
                  </a:lnTo>
                  <a:lnTo>
                    <a:pt x="17" y="14"/>
                  </a:lnTo>
                  <a:lnTo>
                    <a:pt x="22" y="9"/>
                  </a:lnTo>
                  <a:lnTo>
                    <a:pt x="17" y="7"/>
                  </a:lnTo>
                  <a:lnTo>
                    <a:pt x="17" y="2"/>
                  </a:lnTo>
                  <a:lnTo>
                    <a:pt x="22" y="0"/>
                  </a:lnTo>
                  <a:lnTo>
                    <a:pt x="24" y="0"/>
                  </a:lnTo>
                  <a:lnTo>
                    <a:pt x="36" y="2"/>
                  </a:lnTo>
                  <a:lnTo>
                    <a:pt x="41" y="2"/>
                  </a:lnTo>
                  <a:lnTo>
                    <a:pt x="45" y="7"/>
                  </a:lnTo>
                  <a:lnTo>
                    <a:pt x="48" y="2"/>
                  </a:lnTo>
                  <a:lnTo>
                    <a:pt x="55" y="9"/>
                  </a:lnTo>
                  <a:lnTo>
                    <a:pt x="57" y="9"/>
                  </a:lnTo>
                  <a:lnTo>
                    <a:pt x="62" y="14"/>
                  </a:lnTo>
                  <a:lnTo>
                    <a:pt x="76" y="14"/>
                  </a:lnTo>
                  <a:lnTo>
                    <a:pt x="76" y="9"/>
                  </a:lnTo>
                  <a:lnTo>
                    <a:pt x="76"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1" name="Freeform 259">
              <a:extLst>
                <a:ext uri="{FF2B5EF4-FFF2-40B4-BE49-F238E27FC236}">
                  <a16:creationId xmlns:a16="http://schemas.microsoft.com/office/drawing/2014/main" id="{064F8310-D224-4AAF-8341-E162190E9A31}"/>
                </a:ext>
              </a:extLst>
            </p:cNvPr>
            <p:cNvSpPr>
              <a:spLocks/>
            </p:cNvSpPr>
            <p:nvPr/>
          </p:nvSpPr>
          <p:spPr bwMode="gray">
            <a:xfrm rot="47099">
              <a:off x="1466227" y="4152759"/>
              <a:ext cx="17207" cy="17670"/>
            </a:xfrm>
            <a:custGeom>
              <a:avLst/>
              <a:gdLst>
                <a:gd name="T0" fmla="*/ 7 w 37"/>
                <a:gd name="T1" fmla="*/ 31 h 38"/>
                <a:gd name="T2" fmla="*/ 7 w 37"/>
                <a:gd name="T3" fmla="*/ 29 h 38"/>
                <a:gd name="T4" fmla="*/ 2 w 37"/>
                <a:gd name="T5" fmla="*/ 24 h 38"/>
                <a:gd name="T6" fmla="*/ 2 w 37"/>
                <a:gd name="T7" fmla="*/ 21 h 38"/>
                <a:gd name="T8" fmla="*/ 0 w 37"/>
                <a:gd name="T9" fmla="*/ 17 h 38"/>
                <a:gd name="T10" fmla="*/ 0 w 37"/>
                <a:gd name="T11" fmla="*/ 14 h 38"/>
                <a:gd name="T12" fmla="*/ 2 w 37"/>
                <a:gd name="T13" fmla="*/ 10 h 38"/>
                <a:gd name="T14" fmla="*/ 7 w 37"/>
                <a:gd name="T15" fmla="*/ 7 h 38"/>
                <a:gd name="T16" fmla="*/ 9 w 37"/>
                <a:gd name="T17" fmla="*/ 7 h 38"/>
                <a:gd name="T18" fmla="*/ 21 w 37"/>
                <a:gd name="T19" fmla="*/ 0 h 38"/>
                <a:gd name="T20" fmla="*/ 23 w 37"/>
                <a:gd name="T21" fmla="*/ 0 h 38"/>
                <a:gd name="T22" fmla="*/ 26 w 37"/>
                <a:gd name="T23" fmla="*/ 5 h 38"/>
                <a:gd name="T24" fmla="*/ 33 w 37"/>
                <a:gd name="T25" fmla="*/ 17 h 38"/>
                <a:gd name="T26" fmla="*/ 37 w 37"/>
                <a:gd name="T27" fmla="*/ 31 h 38"/>
                <a:gd name="T28" fmla="*/ 37 w 37"/>
                <a:gd name="T29" fmla="*/ 33 h 38"/>
                <a:gd name="T30" fmla="*/ 33 w 37"/>
                <a:gd name="T31" fmla="*/ 33 h 38"/>
                <a:gd name="T32" fmla="*/ 30 w 37"/>
                <a:gd name="T33" fmla="*/ 38 h 38"/>
                <a:gd name="T34" fmla="*/ 26 w 37"/>
                <a:gd name="T35" fmla="*/ 33 h 38"/>
                <a:gd name="T36" fmla="*/ 21 w 37"/>
                <a:gd name="T37" fmla="*/ 33 h 38"/>
                <a:gd name="T38" fmla="*/ 9 w 37"/>
                <a:gd name="T39" fmla="*/ 31 h 38"/>
                <a:gd name="T40" fmla="*/ 7 w 37"/>
                <a:gd name="T41" fmla="*/ 31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7"/>
                <a:gd name="T64" fmla="*/ 0 h 38"/>
                <a:gd name="T65" fmla="*/ 37 w 37"/>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7" h="38">
                  <a:moveTo>
                    <a:pt x="7" y="31"/>
                  </a:moveTo>
                  <a:lnTo>
                    <a:pt x="7" y="29"/>
                  </a:lnTo>
                  <a:lnTo>
                    <a:pt x="2" y="24"/>
                  </a:lnTo>
                  <a:lnTo>
                    <a:pt x="2" y="21"/>
                  </a:lnTo>
                  <a:lnTo>
                    <a:pt x="0" y="17"/>
                  </a:lnTo>
                  <a:lnTo>
                    <a:pt x="0" y="14"/>
                  </a:lnTo>
                  <a:lnTo>
                    <a:pt x="2" y="10"/>
                  </a:lnTo>
                  <a:lnTo>
                    <a:pt x="7" y="7"/>
                  </a:lnTo>
                  <a:lnTo>
                    <a:pt x="9" y="7"/>
                  </a:lnTo>
                  <a:lnTo>
                    <a:pt x="21" y="0"/>
                  </a:lnTo>
                  <a:lnTo>
                    <a:pt x="23" y="0"/>
                  </a:lnTo>
                  <a:lnTo>
                    <a:pt x="26" y="5"/>
                  </a:lnTo>
                  <a:lnTo>
                    <a:pt x="33" y="17"/>
                  </a:lnTo>
                  <a:lnTo>
                    <a:pt x="37" y="31"/>
                  </a:lnTo>
                  <a:lnTo>
                    <a:pt x="37" y="33"/>
                  </a:lnTo>
                  <a:lnTo>
                    <a:pt x="33" y="33"/>
                  </a:lnTo>
                  <a:lnTo>
                    <a:pt x="30" y="38"/>
                  </a:lnTo>
                  <a:lnTo>
                    <a:pt x="26" y="33"/>
                  </a:lnTo>
                  <a:lnTo>
                    <a:pt x="21" y="33"/>
                  </a:lnTo>
                  <a:lnTo>
                    <a:pt x="9" y="31"/>
                  </a:lnTo>
                  <a:lnTo>
                    <a:pt x="7" y="3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2" name="Freeform 260">
              <a:extLst>
                <a:ext uri="{FF2B5EF4-FFF2-40B4-BE49-F238E27FC236}">
                  <a16:creationId xmlns:a16="http://schemas.microsoft.com/office/drawing/2014/main" id="{7242C86B-4970-4EE8-9A0A-EE86DC3F9F7B}"/>
                </a:ext>
              </a:extLst>
            </p:cNvPr>
            <p:cNvSpPr>
              <a:spLocks/>
            </p:cNvSpPr>
            <p:nvPr/>
          </p:nvSpPr>
          <p:spPr bwMode="gray">
            <a:xfrm rot="47099">
              <a:off x="1255064" y="4145872"/>
              <a:ext cx="45109" cy="33944"/>
            </a:xfrm>
            <a:custGeom>
              <a:avLst/>
              <a:gdLst>
                <a:gd name="T0" fmla="*/ 73 w 97"/>
                <a:gd name="T1" fmla="*/ 73 h 73"/>
                <a:gd name="T2" fmla="*/ 73 w 97"/>
                <a:gd name="T3" fmla="*/ 73 h 73"/>
                <a:gd name="T4" fmla="*/ 69 w 97"/>
                <a:gd name="T5" fmla="*/ 71 h 73"/>
                <a:gd name="T6" fmla="*/ 66 w 97"/>
                <a:gd name="T7" fmla="*/ 66 h 73"/>
                <a:gd name="T8" fmla="*/ 57 w 97"/>
                <a:gd name="T9" fmla="*/ 56 h 73"/>
                <a:gd name="T10" fmla="*/ 52 w 97"/>
                <a:gd name="T11" fmla="*/ 56 h 73"/>
                <a:gd name="T12" fmla="*/ 50 w 97"/>
                <a:gd name="T13" fmla="*/ 54 h 73"/>
                <a:gd name="T14" fmla="*/ 47 w 97"/>
                <a:gd name="T15" fmla="*/ 54 h 73"/>
                <a:gd name="T16" fmla="*/ 40 w 97"/>
                <a:gd name="T17" fmla="*/ 49 h 73"/>
                <a:gd name="T18" fmla="*/ 33 w 97"/>
                <a:gd name="T19" fmla="*/ 47 h 73"/>
                <a:gd name="T20" fmla="*/ 24 w 97"/>
                <a:gd name="T21" fmla="*/ 42 h 73"/>
                <a:gd name="T22" fmla="*/ 24 w 97"/>
                <a:gd name="T23" fmla="*/ 38 h 73"/>
                <a:gd name="T24" fmla="*/ 19 w 97"/>
                <a:gd name="T25" fmla="*/ 33 h 73"/>
                <a:gd name="T26" fmla="*/ 7 w 97"/>
                <a:gd name="T27" fmla="*/ 30 h 73"/>
                <a:gd name="T28" fmla="*/ 0 w 97"/>
                <a:gd name="T29" fmla="*/ 30 h 73"/>
                <a:gd name="T30" fmla="*/ 0 w 97"/>
                <a:gd name="T31" fmla="*/ 26 h 73"/>
                <a:gd name="T32" fmla="*/ 7 w 97"/>
                <a:gd name="T33" fmla="*/ 19 h 73"/>
                <a:gd name="T34" fmla="*/ 26 w 97"/>
                <a:gd name="T35" fmla="*/ 19 h 73"/>
                <a:gd name="T36" fmla="*/ 33 w 97"/>
                <a:gd name="T37" fmla="*/ 16 h 73"/>
                <a:gd name="T38" fmla="*/ 35 w 97"/>
                <a:gd name="T39" fmla="*/ 14 h 73"/>
                <a:gd name="T40" fmla="*/ 43 w 97"/>
                <a:gd name="T41" fmla="*/ 9 h 73"/>
                <a:gd name="T42" fmla="*/ 40 w 97"/>
                <a:gd name="T43" fmla="*/ 2 h 73"/>
                <a:gd name="T44" fmla="*/ 47 w 97"/>
                <a:gd name="T45" fmla="*/ 0 h 73"/>
                <a:gd name="T46" fmla="*/ 50 w 97"/>
                <a:gd name="T47" fmla="*/ 0 h 73"/>
                <a:gd name="T48" fmla="*/ 50 w 97"/>
                <a:gd name="T49" fmla="*/ 2 h 73"/>
                <a:gd name="T50" fmla="*/ 52 w 97"/>
                <a:gd name="T51" fmla="*/ 2 h 73"/>
                <a:gd name="T52" fmla="*/ 59 w 97"/>
                <a:gd name="T53" fmla="*/ 7 h 73"/>
                <a:gd name="T54" fmla="*/ 66 w 97"/>
                <a:gd name="T55" fmla="*/ 9 h 73"/>
                <a:gd name="T56" fmla="*/ 73 w 97"/>
                <a:gd name="T57" fmla="*/ 9 h 73"/>
                <a:gd name="T58" fmla="*/ 76 w 97"/>
                <a:gd name="T59" fmla="*/ 7 h 73"/>
                <a:gd name="T60" fmla="*/ 83 w 97"/>
                <a:gd name="T61" fmla="*/ 2 h 73"/>
                <a:gd name="T62" fmla="*/ 97 w 97"/>
                <a:gd name="T63" fmla="*/ 19 h 73"/>
                <a:gd name="T64" fmla="*/ 97 w 97"/>
                <a:gd name="T65" fmla="*/ 49 h 73"/>
                <a:gd name="T66" fmla="*/ 92 w 97"/>
                <a:gd name="T67" fmla="*/ 54 h 73"/>
                <a:gd name="T68" fmla="*/ 85 w 97"/>
                <a:gd name="T69" fmla="*/ 56 h 73"/>
                <a:gd name="T70" fmla="*/ 83 w 97"/>
                <a:gd name="T71" fmla="*/ 64 h 73"/>
                <a:gd name="T72" fmla="*/ 76 w 97"/>
                <a:gd name="T73" fmla="*/ 71 h 73"/>
                <a:gd name="T74" fmla="*/ 73 w 97"/>
                <a:gd name="T75" fmla="*/ 73 h 7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7"/>
                <a:gd name="T115" fmla="*/ 0 h 73"/>
                <a:gd name="T116" fmla="*/ 97 w 97"/>
                <a:gd name="T117" fmla="*/ 73 h 7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7" h="73">
                  <a:moveTo>
                    <a:pt x="73" y="73"/>
                  </a:moveTo>
                  <a:lnTo>
                    <a:pt x="73" y="73"/>
                  </a:lnTo>
                  <a:lnTo>
                    <a:pt x="69" y="71"/>
                  </a:lnTo>
                  <a:lnTo>
                    <a:pt x="66" y="66"/>
                  </a:lnTo>
                  <a:lnTo>
                    <a:pt x="57" y="56"/>
                  </a:lnTo>
                  <a:lnTo>
                    <a:pt x="52" y="56"/>
                  </a:lnTo>
                  <a:lnTo>
                    <a:pt x="50" y="54"/>
                  </a:lnTo>
                  <a:lnTo>
                    <a:pt x="47" y="54"/>
                  </a:lnTo>
                  <a:lnTo>
                    <a:pt x="40" y="49"/>
                  </a:lnTo>
                  <a:lnTo>
                    <a:pt x="33" y="47"/>
                  </a:lnTo>
                  <a:lnTo>
                    <a:pt x="24" y="42"/>
                  </a:lnTo>
                  <a:lnTo>
                    <a:pt x="24" y="38"/>
                  </a:lnTo>
                  <a:lnTo>
                    <a:pt x="19" y="33"/>
                  </a:lnTo>
                  <a:lnTo>
                    <a:pt x="7" y="30"/>
                  </a:lnTo>
                  <a:lnTo>
                    <a:pt x="0" y="30"/>
                  </a:lnTo>
                  <a:lnTo>
                    <a:pt x="0" y="26"/>
                  </a:lnTo>
                  <a:lnTo>
                    <a:pt x="7" y="19"/>
                  </a:lnTo>
                  <a:lnTo>
                    <a:pt x="26" y="19"/>
                  </a:lnTo>
                  <a:lnTo>
                    <a:pt x="33" y="16"/>
                  </a:lnTo>
                  <a:lnTo>
                    <a:pt x="35" y="14"/>
                  </a:lnTo>
                  <a:lnTo>
                    <a:pt x="43" y="9"/>
                  </a:lnTo>
                  <a:lnTo>
                    <a:pt x="40" y="2"/>
                  </a:lnTo>
                  <a:lnTo>
                    <a:pt x="47" y="0"/>
                  </a:lnTo>
                  <a:lnTo>
                    <a:pt x="50" y="0"/>
                  </a:lnTo>
                  <a:lnTo>
                    <a:pt x="50" y="2"/>
                  </a:lnTo>
                  <a:lnTo>
                    <a:pt x="52" y="2"/>
                  </a:lnTo>
                  <a:lnTo>
                    <a:pt x="59" y="7"/>
                  </a:lnTo>
                  <a:lnTo>
                    <a:pt x="66" y="9"/>
                  </a:lnTo>
                  <a:lnTo>
                    <a:pt x="73" y="9"/>
                  </a:lnTo>
                  <a:lnTo>
                    <a:pt x="76" y="7"/>
                  </a:lnTo>
                  <a:lnTo>
                    <a:pt x="83" y="2"/>
                  </a:lnTo>
                  <a:lnTo>
                    <a:pt x="97" y="19"/>
                  </a:lnTo>
                  <a:lnTo>
                    <a:pt x="97" y="49"/>
                  </a:lnTo>
                  <a:lnTo>
                    <a:pt x="92" y="54"/>
                  </a:lnTo>
                  <a:lnTo>
                    <a:pt x="85" y="56"/>
                  </a:lnTo>
                  <a:lnTo>
                    <a:pt x="83" y="64"/>
                  </a:lnTo>
                  <a:lnTo>
                    <a:pt x="76" y="71"/>
                  </a:lnTo>
                  <a:lnTo>
                    <a:pt x="73" y="7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3" name="Freeform 261">
              <a:extLst>
                <a:ext uri="{FF2B5EF4-FFF2-40B4-BE49-F238E27FC236}">
                  <a16:creationId xmlns:a16="http://schemas.microsoft.com/office/drawing/2014/main" id="{20CD11B2-D1F1-4E8E-921B-09A1461B0B44}"/>
                </a:ext>
              </a:extLst>
            </p:cNvPr>
            <p:cNvSpPr>
              <a:spLocks/>
            </p:cNvSpPr>
            <p:nvPr/>
          </p:nvSpPr>
          <p:spPr bwMode="gray">
            <a:xfrm rot="47099">
              <a:off x="1499033" y="4184166"/>
              <a:ext cx="191131" cy="123220"/>
            </a:xfrm>
            <a:custGeom>
              <a:avLst/>
              <a:gdLst>
                <a:gd name="T0" fmla="*/ 397 w 411"/>
                <a:gd name="T1" fmla="*/ 220 h 265"/>
                <a:gd name="T2" fmla="*/ 371 w 411"/>
                <a:gd name="T3" fmla="*/ 210 h 265"/>
                <a:gd name="T4" fmla="*/ 347 w 411"/>
                <a:gd name="T5" fmla="*/ 208 h 265"/>
                <a:gd name="T6" fmla="*/ 340 w 411"/>
                <a:gd name="T7" fmla="*/ 208 h 265"/>
                <a:gd name="T8" fmla="*/ 352 w 411"/>
                <a:gd name="T9" fmla="*/ 201 h 265"/>
                <a:gd name="T10" fmla="*/ 345 w 411"/>
                <a:gd name="T11" fmla="*/ 194 h 265"/>
                <a:gd name="T12" fmla="*/ 331 w 411"/>
                <a:gd name="T13" fmla="*/ 201 h 265"/>
                <a:gd name="T14" fmla="*/ 328 w 411"/>
                <a:gd name="T15" fmla="*/ 191 h 265"/>
                <a:gd name="T16" fmla="*/ 307 w 411"/>
                <a:gd name="T17" fmla="*/ 203 h 265"/>
                <a:gd name="T18" fmla="*/ 328 w 411"/>
                <a:gd name="T19" fmla="*/ 208 h 265"/>
                <a:gd name="T20" fmla="*/ 295 w 411"/>
                <a:gd name="T21" fmla="*/ 215 h 265"/>
                <a:gd name="T22" fmla="*/ 281 w 411"/>
                <a:gd name="T23" fmla="*/ 231 h 265"/>
                <a:gd name="T24" fmla="*/ 264 w 411"/>
                <a:gd name="T25" fmla="*/ 234 h 265"/>
                <a:gd name="T26" fmla="*/ 248 w 411"/>
                <a:gd name="T27" fmla="*/ 241 h 265"/>
                <a:gd name="T28" fmla="*/ 210 w 411"/>
                <a:gd name="T29" fmla="*/ 257 h 265"/>
                <a:gd name="T30" fmla="*/ 184 w 411"/>
                <a:gd name="T31" fmla="*/ 265 h 265"/>
                <a:gd name="T32" fmla="*/ 130 w 411"/>
                <a:gd name="T33" fmla="*/ 248 h 265"/>
                <a:gd name="T34" fmla="*/ 118 w 411"/>
                <a:gd name="T35" fmla="*/ 243 h 265"/>
                <a:gd name="T36" fmla="*/ 64 w 411"/>
                <a:gd name="T37" fmla="*/ 239 h 265"/>
                <a:gd name="T38" fmla="*/ 40 w 411"/>
                <a:gd name="T39" fmla="*/ 220 h 265"/>
                <a:gd name="T40" fmla="*/ 14 w 411"/>
                <a:gd name="T41" fmla="*/ 215 h 265"/>
                <a:gd name="T42" fmla="*/ 0 w 411"/>
                <a:gd name="T43" fmla="*/ 208 h 265"/>
                <a:gd name="T44" fmla="*/ 16 w 411"/>
                <a:gd name="T45" fmla="*/ 203 h 265"/>
                <a:gd name="T46" fmla="*/ 31 w 411"/>
                <a:gd name="T47" fmla="*/ 179 h 265"/>
                <a:gd name="T48" fmla="*/ 40 w 411"/>
                <a:gd name="T49" fmla="*/ 168 h 265"/>
                <a:gd name="T50" fmla="*/ 47 w 411"/>
                <a:gd name="T51" fmla="*/ 154 h 265"/>
                <a:gd name="T52" fmla="*/ 40 w 411"/>
                <a:gd name="T53" fmla="*/ 142 h 265"/>
                <a:gd name="T54" fmla="*/ 21 w 411"/>
                <a:gd name="T55" fmla="*/ 113 h 265"/>
                <a:gd name="T56" fmla="*/ 14 w 411"/>
                <a:gd name="T57" fmla="*/ 83 h 265"/>
                <a:gd name="T58" fmla="*/ 23 w 411"/>
                <a:gd name="T59" fmla="*/ 73 h 265"/>
                <a:gd name="T60" fmla="*/ 49 w 411"/>
                <a:gd name="T61" fmla="*/ 61 h 265"/>
                <a:gd name="T62" fmla="*/ 57 w 411"/>
                <a:gd name="T63" fmla="*/ 71 h 265"/>
                <a:gd name="T64" fmla="*/ 66 w 411"/>
                <a:gd name="T65" fmla="*/ 64 h 265"/>
                <a:gd name="T66" fmla="*/ 66 w 411"/>
                <a:gd name="T67" fmla="*/ 57 h 265"/>
                <a:gd name="T68" fmla="*/ 66 w 411"/>
                <a:gd name="T69" fmla="*/ 40 h 265"/>
                <a:gd name="T70" fmla="*/ 80 w 411"/>
                <a:gd name="T71" fmla="*/ 38 h 265"/>
                <a:gd name="T72" fmla="*/ 78 w 411"/>
                <a:gd name="T73" fmla="*/ 47 h 265"/>
                <a:gd name="T74" fmla="*/ 97 w 411"/>
                <a:gd name="T75" fmla="*/ 61 h 265"/>
                <a:gd name="T76" fmla="*/ 104 w 411"/>
                <a:gd name="T77" fmla="*/ 50 h 265"/>
                <a:gd name="T78" fmla="*/ 120 w 411"/>
                <a:gd name="T79" fmla="*/ 47 h 265"/>
                <a:gd name="T80" fmla="*/ 151 w 411"/>
                <a:gd name="T81" fmla="*/ 38 h 265"/>
                <a:gd name="T82" fmla="*/ 153 w 411"/>
                <a:gd name="T83" fmla="*/ 24 h 265"/>
                <a:gd name="T84" fmla="*/ 163 w 411"/>
                <a:gd name="T85" fmla="*/ 9 h 265"/>
                <a:gd name="T86" fmla="*/ 177 w 411"/>
                <a:gd name="T87" fmla="*/ 9 h 265"/>
                <a:gd name="T88" fmla="*/ 186 w 411"/>
                <a:gd name="T89" fmla="*/ 24 h 265"/>
                <a:gd name="T90" fmla="*/ 194 w 411"/>
                <a:gd name="T91" fmla="*/ 31 h 265"/>
                <a:gd name="T92" fmla="*/ 201 w 411"/>
                <a:gd name="T93" fmla="*/ 38 h 265"/>
                <a:gd name="T94" fmla="*/ 210 w 411"/>
                <a:gd name="T95" fmla="*/ 47 h 265"/>
                <a:gd name="T96" fmla="*/ 231 w 411"/>
                <a:gd name="T97" fmla="*/ 47 h 265"/>
                <a:gd name="T98" fmla="*/ 234 w 411"/>
                <a:gd name="T99" fmla="*/ 71 h 265"/>
                <a:gd name="T100" fmla="*/ 241 w 411"/>
                <a:gd name="T101" fmla="*/ 102 h 265"/>
                <a:gd name="T102" fmla="*/ 283 w 411"/>
                <a:gd name="T103" fmla="*/ 80 h 265"/>
                <a:gd name="T104" fmla="*/ 288 w 411"/>
                <a:gd name="T105" fmla="*/ 87 h 265"/>
                <a:gd name="T106" fmla="*/ 305 w 411"/>
                <a:gd name="T107" fmla="*/ 111 h 265"/>
                <a:gd name="T108" fmla="*/ 335 w 411"/>
                <a:gd name="T109" fmla="*/ 120 h 265"/>
                <a:gd name="T110" fmla="*/ 378 w 411"/>
                <a:gd name="T111" fmla="*/ 120 h 265"/>
                <a:gd name="T112" fmla="*/ 408 w 411"/>
                <a:gd name="T113" fmla="*/ 144 h 265"/>
                <a:gd name="T114" fmla="*/ 392 w 411"/>
                <a:gd name="T115" fmla="*/ 175 h 265"/>
                <a:gd name="T116" fmla="*/ 394 w 411"/>
                <a:gd name="T117" fmla="*/ 187 h 265"/>
                <a:gd name="T118" fmla="*/ 394 w 411"/>
                <a:gd name="T119" fmla="*/ 210 h 265"/>
                <a:gd name="T120" fmla="*/ 371 w 411"/>
                <a:gd name="T121" fmla="*/ 201 h 265"/>
                <a:gd name="T122" fmla="*/ 368 w 411"/>
                <a:gd name="T123" fmla="*/ 210 h 265"/>
                <a:gd name="T124" fmla="*/ 380 w 411"/>
                <a:gd name="T125" fmla="*/ 210 h 2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1"/>
                <a:gd name="T190" fmla="*/ 0 h 265"/>
                <a:gd name="T191" fmla="*/ 411 w 411"/>
                <a:gd name="T192" fmla="*/ 265 h 2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1" h="265">
                  <a:moveTo>
                    <a:pt x="394" y="215"/>
                  </a:moveTo>
                  <a:lnTo>
                    <a:pt x="394" y="217"/>
                  </a:lnTo>
                  <a:lnTo>
                    <a:pt x="397" y="220"/>
                  </a:lnTo>
                  <a:lnTo>
                    <a:pt x="394" y="217"/>
                  </a:lnTo>
                  <a:lnTo>
                    <a:pt x="380" y="215"/>
                  </a:lnTo>
                  <a:lnTo>
                    <a:pt x="371" y="210"/>
                  </a:lnTo>
                  <a:lnTo>
                    <a:pt x="364" y="210"/>
                  </a:lnTo>
                  <a:lnTo>
                    <a:pt x="361" y="208"/>
                  </a:lnTo>
                  <a:lnTo>
                    <a:pt x="347" y="208"/>
                  </a:lnTo>
                  <a:lnTo>
                    <a:pt x="340" y="210"/>
                  </a:lnTo>
                  <a:lnTo>
                    <a:pt x="338" y="208"/>
                  </a:lnTo>
                  <a:lnTo>
                    <a:pt x="340" y="208"/>
                  </a:lnTo>
                  <a:lnTo>
                    <a:pt x="345" y="203"/>
                  </a:lnTo>
                  <a:lnTo>
                    <a:pt x="347" y="203"/>
                  </a:lnTo>
                  <a:lnTo>
                    <a:pt x="352" y="201"/>
                  </a:lnTo>
                  <a:lnTo>
                    <a:pt x="352" y="198"/>
                  </a:lnTo>
                  <a:lnTo>
                    <a:pt x="347" y="198"/>
                  </a:lnTo>
                  <a:lnTo>
                    <a:pt x="345" y="194"/>
                  </a:lnTo>
                  <a:lnTo>
                    <a:pt x="338" y="201"/>
                  </a:lnTo>
                  <a:lnTo>
                    <a:pt x="331" y="203"/>
                  </a:lnTo>
                  <a:lnTo>
                    <a:pt x="331" y="201"/>
                  </a:lnTo>
                  <a:lnTo>
                    <a:pt x="335" y="201"/>
                  </a:lnTo>
                  <a:lnTo>
                    <a:pt x="335" y="198"/>
                  </a:lnTo>
                  <a:lnTo>
                    <a:pt x="328" y="191"/>
                  </a:lnTo>
                  <a:lnTo>
                    <a:pt x="321" y="191"/>
                  </a:lnTo>
                  <a:lnTo>
                    <a:pt x="312" y="201"/>
                  </a:lnTo>
                  <a:lnTo>
                    <a:pt x="307" y="203"/>
                  </a:lnTo>
                  <a:lnTo>
                    <a:pt x="312" y="203"/>
                  </a:lnTo>
                  <a:lnTo>
                    <a:pt x="321" y="208"/>
                  </a:lnTo>
                  <a:lnTo>
                    <a:pt x="328" y="208"/>
                  </a:lnTo>
                  <a:lnTo>
                    <a:pt x="321" y="208"/>
                  </a:lnTo>
                  <a:lnTo>
                    <a:pt x="305" y="210"/>
                  </a:lnTo>
                  <a:lnTo>
                    <a:pt x="295" y="215"/>
                  </a:lnTo>
                  <a:lnTo>
                    <a:pt x="290" y="217"/>
                  </a:lnTo>
                  <a:lnTo>
                    <a:pt x="281" y="224"/>
                  </a:lnTo>
                  <a:lnTo>
                    <a:pt x="281" y="231"/>
                  </a:lnTo>
                  <a:lnTo>
                    <a:pt x="279" y="231"/>
                  </a:lnTo>
                  <a:lnTo>
                    <a:pt x="271" y="234"/>
                  </a:lnTo>
                  <a:lnTo>
                    <a:pt x="264" y="234"/>
                  </a:lnTo>
                  <a:lnTo>
                    <a:pt x="260" y="239"/>
                  </a:lnTo>
                  <a:lnTo>
                    <a:pt x="250" y="241"/>
                  </a:lnTo>
                  <a:lnTo>
                    <a:pt x="248" y="241"/>
                  </a:lnTo>
                  <a:lnTo>
                    <a:pt x="231" y="248"/>
                  </a:lnTo>
                  <a:lnTo>
                    <a:pt x="222" y="255"/>
                  </a:lnTo>
                  <a:lnTo>
                    <a:pt x="210" y="257"/>
                  </a:lnTo>
                  <a:lnTo>
                    <a:pt x="208" y="260"/>
                  </a:lnTo>
                  <a:lnTo>
                    <a:pt x="186" y="260"/>
                  </a:lnTo>
                  <a:lnTo>
                    <a:pt x="184" y="265"/>
                  </a:lnTo>
                  <a:lnTo>
                    <a:pt x="177" y="265"/>
                  </a:lnTo>
                  <a:lnTo>
                    <a:pt x="151" y="257"/>
                  </a:lnTo>
                  <a:lnTo>
                    <a:pt x="130" y="248"/>
                  </a:lnTo>
                  <a:lnTo>
                    <a:pt x="127" y="248"/>
                  </a:lnTo>
                  <a:lnTo>
                    <a:pt x="127" y="243"/>
                  </a:lnTo>
                  <a:lnTo>
                    <a:pt x="118" y="243"/>
                  </a:lnTo>
                  <a:lnTo>
                    <a:pt x="90" y="241"/>
                  </a:lnTo>
                  <a:lnTo>
                    <a:pt x="66" y="241"/>
                  </a:lnTo>
                  <a:lnTo>
                    <a:pt x="64" y="239"/>
                  </a:lnTo>
                  <a:lnTo>
                    <a:pt x="61" y="234"/>
                  </a:lnTo>
                  <a:lnTo>
                    <a:pt x="54" y="231"/>
                  </a:lnTo>
                  <a:lnTo>
                    <a:pt x="40" y="220"/>
                  </a:lnTo>
                  <a:lnTo>
                    <a:pt x="38" y="220"/>
                  </a:lnTo>
                  <a:lnTo>
                    <a:pt x="31" y="217"/>
                  </a:lnTo>
                  <a:lnTo>
                    <a:pt x="14" y="215"/>
                  </a:lnTo>
                  <a:lnTo>
                    <a:pt x="9" y="215"/>
                  </a:lnTo>
                  <a:lnTo>
                    <a:pt x="0" y="210"/>
                  </a:lnTo>
                  <a:lnTo>
                    <a:pt x="0" y="208"/>
                  </a:lnTo>
                  <a:lnTo>
                    <a:pt x="5" y="208"/>
                  </a:lnTo>
                  <a:lnTo>
                    <a:pt x="7" y="203"/>
                  </a:lnTo>
                  <a:lnTo>
                    <a:pt x="16" y="203"/>
                  </a:lnTo>
                  <a:lnTo>
                    <a:pt x="21" y="201"/>
                  </a:lnTo>
                  <a:lnTo>
                    <a:pt x="21" y="187"/>
                  </a:lnTo>
                  <a:lnTo>
                    <a:pt x="31" y="179"/>
                  </a:lnTo>
                  <a:lnTo>
                    <a:pt x="38" y="175"/>
                  </a:lnTo>
                  <a:lnTo>
                    <a:pt x="40" y="170"/>
                  </a:lnTo>
                  <a:lnTo>
                    <a:pt x="40" y="168"/>
                  </a:lnTo>
                  <a:lnTo>
                    <a:pt x="45" y="161"/>
                  </a:lnTo>
                  <a:lnTo>
                    <a:pt x="45" y="158"/>
                  </a:lnTo>
                  <a:lnTo>
                    <a:pt x="47" y="154"/>
                  </a:lnTo>
                  <a:lnTo>
                    <a:pt x="47" y="146"/>
                  </a:lnTo>
                  <a:lnTo>
                    <a:pt x="45" y="144"/>
                  </a:lnTo>
                  <a:lnTo>
                    <a:pt x="40" y="142"/>
                  </a:lnTo>
                  <a:lnTo>
                    <a:pt x="31" y="137"/>
                  </a:lnTo>
                  <a:lnTo>
                    <a:pt x="21" y="130"/>
                  </a:lnTo>
                  <a:lnTo>
                    <a:pt x="21" y="113"/>
                  </a:lnTo>
                  <a:lnTo>
                    <a:pt x="16" y="111"/>
                  </a:lnTo>
                  <a:lnTo>
                    <a:pt x="14" y="106"/>
                  </a:lnTo>
                  <a:lnTo>
                    <a:pt x="14" y="83"/>
                  </a:lnTo>
                  <a:lnTo>
                    <a:pt x="16" y="80"/>
                  </a:lnTo>
                  <a:lnTo>
                    <a:pt x="16" y="71"/>
                  </a:lnTo>
                  <a:lnTo>
                    <a:pt x="23" y="73"/>
                  </a:lnTo>
                  <a:lnTo>
                    <a:pt x="31" y="66"/>
                  </a:lnTo>
                  <a:lnTo>
                    <a:pt x="31" y="64"/>
                  </a:lnTo>
                  <a:lnTo>
                    <a:pt x="49" y="61"/>
                  </a:lnTo>
                  <a:lnTo>
                    <a:pt x="54" y="66"/>
                  </a:lnTo>
                  <a:lnTo>
                    <a:pt x="57" y="66"/>
                  </a:lnTo>
                  <a:lnTo>
                    <a:pt x="57" y="71"/>
                  </a:lnTo>
                  <a:lnTo>
                    <a:pt x="64" y="71"/>
                  </a:lnTo>
                  <a:lnTo>
                    <a:pt x="64" y="66"/>
                  </a:lnTo>
                  <a:lnTo>
                    <a:pt x="66" y="64"/>
                  </a:lnTo>
                  <a:lnTo>
                    <a:pt x="71" y="64"/>
                  </a:lnTo>
                  <a:lnTo>
                    <a:pt x="71" y="61"/>
                  </a:lnTo>
                  <a:lnTo>
                    <a:pt x="66" y="57"/>
                  </a:lnTo>
                  <a:lnTo>
                    <a:pt x="64" y="54"/>
                  </a:lnTo>
                  <a:lnTo>
                    <a:pt x="64" y="47"/>
                  </a:lnTo>
                  <a:lnTo>
                    <a:pt x="66" y="40"/>
                  </a:lnTo>
                  <a:lnTo>
                    <a:pt x="71" y="38"/>
                  </a:lnTo>
                  <a:lnTo>
                    <a:pt x="78" y="33"/>
                  </a:lnTo>
                  <a:lnTo>
                    <a:pt x="80" y="38"/>
                  </a:lnTo>
                  <a:lnTo>
                    <a:pt x="80" y="40"/>
                  </a:lnTo>
                  <a:lnTo>
                    <a:pt x="78" y="45"/>
                  </a:lnTo>
                  <a:lnTo>
                    <a:pt x="78" y="47"/>
                  </a:lnTo>
                  <a:lnTo>
                    <a:pt x="90" y="64"/>
                  </a:lnTo>
                  <a:lnTo>
                    <a:pt x="97" y="64"/>
                  </a:lnTo>
                  <a:lnTo>
                    <a:pt x="97" y="61"/>
                  </a:lnTo>
                  <a:lnTo>
                    <a:pt x="101" y="57"/>
                  </a:lnTo>
                  <a:lnTo>
                    <a:pt x="101" y="54"/>
                  </a:lnTo>
                  <a:lnTo>
                    <a:pt x="104" y="50"/>
                  </a:lnTo>
                  <a:lnTo>
                    <a:pt x="106" y="50"/>
                  </a:lnTo>
                  <a:lnTo>
                    <a:pt x="111" y="47"/>
                  </a:lnTo>
                  <a:lnTo>
                    <a:pt x="120" y="47"/>
                  </a:lnTo>
                  <a:lnTo>
                    <a:pt x="120" y="50"/>
                  </a:lnTo>
                  <a:lnTo>
                    <a:pt x="137" y="50"/>
                  </a:lnTo>
                  <a:lnTo>
                    <a:pt x="151" y="38"/>
                  </a:lnTo>
                  <a:lnTo>
                    <a:pt x="158" y="26"/>
                  </a:lnTo>
                  <a:lnTo>
                    <a:pt x="158" y="24"/>
                  </a:lnTo>
                  <a:lnTo>
                    <a:pt x="153" y="24"/>
                  </a:lnTo>
                  <a:lnTo>
                    <a:pt x="158" y="21"/>
                  </a:lnTo>
                  <a:lnTo>
                    <a:pt x="163" y="14"/>
                  </a:lnTo>
                  <a:lnTo>
                    <a:pt x="163" y="9"/>
                  </a:lnTo>
                  <a:lnTo>
                    <a:pt x="160" y="0"/>
                  </a:lnTo>
                  <a:lnTo>
                    <a:pt x="168" y="7"/>
                  </a:lnTo>
                  <a:lnTo>
                    <a:pt x="177" y="9"/>
                  </a:lnTo>
                  <a:lnTo>
                    <a:pt x="184" y="14"/>
                  </a:lnTo>
                  <a:lnTo>
                    <a:pt x="184" y="16"/>
                  </a:lnTo>
                  <a:lnTo>
                    <a:pt x="186" y="24"/>
                  </a:lnTo>
                  <a:lnTo>
                    <a:pt x="191" y="26"/>
                  </a:lnTo>
                  <a:lnTo>
                    <a:pt x="191" y="31"/>
                  </a:lnTo>
                  <a:lnTo>
                    <a:pt x="194" y="31"/>
                  </a:lnTo>
                  <a:lnTo>
                    <a:pt x="198" y="33"/>
                  </a:lnTo>
                  <a:lnTo>
                    <a:pt x="198" y="38"/>
                  </a:lnTo>
                  <a:lnTo>
                    <a:pt x="201" y="38"/>
                  </a:lnTo>
                  <a:lnTo>
                    <a:pt x="201" y="45"/>
                  </a:lnTo>
                  <a:lnTo>
                    <a:pt x="208" y="47"/>
                  </a:lnTo>
                  <a:lnTo>
                    <a:pt x="210" y="47"/>
                  </a:lnTo>
                  <a:lnTo>
                    <a:pt x="215" y="45"/>
                  </a:lnTo>
                  <a:lnTo>
                    <a:pt x="222" y="45"/>
                  </a:lnTo>
                  <a:lnTo>
                    <a:pt x="231" y="47"/>
                  </a:lnTo>
                  <a:lnTo>
                    <a:pt x="238" y="50"/>
                  </a:lnTo>
                  <a:lnTo>
                    <a:pt x="238" y="66"/>
                  </a:lnTo>
                  <a:lnTo>
                    <a:pt x="234" y="71"/>
                  </a:lnTo>
                  <a:lnTo>
                    <a:pt x="227" y="78"/>
                  </a:lnTo>
                  <a:lnTo>
                    <a:pt x="231" y="80"/>
                  </a:lnTo>
                  <a:lnTo>
                    <a:pt x="241" y="102"/>
                  </a:lnTo>
                  <a:lnTo>
                    <a:pt x="255" y="102"/>
                  </a:lnTo>
                  <a:lnTo>
                    <a:pt x="260" y="97"/>
                  </a:lnTo>
                  <a:lnTo>
                    <a:pt x="283" y="80"/>
                  </a:lnTo>
                  <a:lnTo>
                    <a:pt x="290" y="80"/>
                  </a:lnTo>
                  <a:lnTo>
                    <a:pt x="290" y="87"/>
                  </a:lnTo>
                  <a:lnTo>
                    <a:pt x="288" y="87"/>
                  </a:lnTo>
                  <a:lnTo>
                    <a:pt x="288" y="90"/>
                  </a:lnTo>
                  <a:lnTo>
                    <a:pt x="295" y="102"/>
                  </a:lnTo>
                  <a:lnTo>
                    <a:pt x="305" y="111"/>
                  </a:lnTo>
                  <a:lnTo>
                    <a:pt x="312" y="113"/>
                  </a:lnTo>
                  <a:lnTo>
                    <a:pt x="314" y="120"/>
                  </a:lnTo>
                  <a:lnTo>
                    <a:pt x="335" y="120"/>
                  </a:lnTo>
                  <a:lnTo>
                    <a:pt x="364" y="123"/>
                  </a:lnTo>
                  <a:lnTo>
                    <a:pt x="371" y="123"/>
                  </a:lnTo>
                  <a:lnTo>
                    <a:pt x="378" y="120"/>
                  </a:lnTo>
                  <a:lnTo>
                    <a:pt x="411" y="120"/>
                  </a:lnTo>
                  <a:lnTo>
                    <a:pt x="411" y="135"/>
                  </a:lnTo>
                  <a:lnTo>
                    <a:pt x="408" y="144"/>
                  </a:lnTo>
                  <a:lnTo>
                    <a:pt x="397" y="151"/>
                  </a:lnTo>
                  <a:lnTo>
                    <a:pt x="397" y="161"/>
                  </a:lnTo>
                  <a:lnTo>
                    <a:pt x="392" y="175"/>
                  </a:lnTo>
                  <a:lnTo>
                    <a:pt x="392" y="184"/>
                  </a:lnTo>
                  <a:lnTo>
                    <a:pt x="394" y="184"/>
                  </a:lnTo>
                  <a:lnTo>
                    <a:pt x="394" y="187"/>
                  </a:lnTo>
                  <a:lnTo>
                    <a:pt x="397" y="198"/>
                  </a:lnTo>
                  <a:lnTo>
                    <a:pt x="397" y="208"/>
                  </a:lnTo>
                  <a:lnTo>
                    <a:pt x="394" y="210"/>
                  </a:lnTo>
                  <a:lnTo>
                    <a:pt x="392" y="208"/>
                  </a:lnTo>
                  <a:lnTo>
                    <a:pt x="385" y="208"/>
                  </a:lnTo>
                  <a:lnTo>
                    <a:pt x="371" y="201"/>
                  </a:lnTo>
                  <a:lnTo>
                    <a:pt x="364" y="201"/>
                  </a:lnTo>
                  <a:lnTo>
                    <a:pt x="364" y="208"/>
                  </a:lnTo>
                  <a:lnTo>
                    <a:pt x="368" y="210"/>
                  </a:lnTo>
                  <a:lnTo>
                    <a:pt x="378" y="210"/>
                  </a:lnTo>
                  <a:lnTo>
                    <a:pt x="375" y="210"/>
                  </a:lnTo>
                  <a:lnTo>
                    <a:pt x="380" y="210"/>
                  </a:lnTo>
                  <a:lnTo>
                    <a:pt x="387" y="215"/>
                  </a:lnTo>
                  <a:lnTo>
                    <a:pt x="394" y="21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4" name="Freeform 262">
              <a:extLst>
                <a:ext uri="{FF2B5EF4-FFF2-40B4-BE49-F238E27FC236}">
                  <a16:creationId xmlns:a16="http://schemas.microsoft.com/office/drawing/2014/main" id="{585B1DA4-75BD-4EAB-93D4-6049187DA052}"/>
                </a:ext>
              </a:extLst>
            </p:cNvPr>
            <p:cNvSpPr>
              <a:spLocks/>
            </p:cNvSpPr>
            <p:nvPr/>
          </p:nvSpPr>
          <p:spPr bwMode="gray">
            <a:xfrm rot="47099">
              <a:off x="1769289" y="4170373"/>
              <a:ext cx="13951" cy="7440"/>
            </a:xfrm>
            <a:custGeom>
              <a:avLst/>
              <a:gdLst>
                <a:gd name="T0" fmla="*/ 2 w 30"/>
                <a:gd name="T1" fmla="*/ 16 h 16"/>
                <a:gd name="T2" fmla="*/ 0 w 30"/>
                <a:gd name="T3" fmla="*/ 16 h 16"/>
                <a:gd name="T4" fmla="*/ 0 w 30"/>
                <a:gd name="T5" fmla="*/ 11 h 16"/>
                <a:gd name="T6" fmla="*/ 2 w 30"/>
                <a:gd name="T7" fmla="*/ 11 h 16"/>
                <a:gd name="T8" fmla="*/ 16 w 30"/>
                <a:gd name="T9" fmla="*/ 2 h 16"/>
                <a:gd name="T10" fmla="*/ 23 w 30"/>
                <a:gd name="T11" fmla="*/ 0 h 16"/>
                <a:gd name="T12" fmla="*/ 26 w 30"/>
                <a:gd name="T13" fmla="*/ 0 h 16"/>
                <a:gd name="T14" fmla="*/ 30 w 30"/>
                <a:gd name="T15" fmla="*/ 2 h 16"/>
                <a:gd name="T16" fmla="*/ 23 w 30"/>
                <a:gd name="T17" fmla="*/ 2 h 16"/>
                <a:gd name="T18" fmla="*/ 7 w 30"/>
                <a:gd name="T19" fmla="*/ 11 h 16"/>
                <a:gd name="T20" fmla="*/ 2 w 30"/>
                <a:gd name="T21" fmla="*/ 1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
                <a:gd name="T34" fmla="*/ 0 h 16"/>
                <a:gd name="T35" fmla="*/ 30 w 3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 h="16">
                  <a:moveTo>
                    <a:pt x="2" y="16"/>
                  </a:moveTo>
                  <a:lnTo>
                    <a:pt x="0" y="16"/>
                  </a:lnTo>
                  <a:lnTo>
                    <a:pt x="0" y="11"/>
                  </a:lnTo>
                  <a:lnTo>
                    <a:pt x="2" y="11"/>
                  </a:lnTo>
                  <a:lnTo>
                    <a:pt x="16" y="2"/>
                  </a:lnTo>
                  <a:lnTo>
                    <a:pt x="23" y="0"/>
                  </a:lnTo>
                  <a:lnTo>
                    <a:pt x="26" y="0"/>
                  </a:lnTo>
                  <a:lnTo>
                    <a:pt x="30" y="2"/>
                  </a:lnTo>
                  <a:lnTo>
                    <a:pt x="23" y="2"/>
                  </a:lnTo>
                  <a:lnTo>
                    <a:pt x="7" y="11"/>
                  </a:lnTo>
                  <a:lnTo>
                    <a:pt x="2" y="1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nvGrpSpPr>
            <p:cNvPr id="5175" name="Group 5174">
              <a:extLst>
                <a:ext uri="{FF2B5EF4-FFF2-40B4-BE49-F238E27FC236}">
                  <a16:creationId xmlns:a16="http://schemas.microsoft.com/office/drawing/2014/main" id="{353F73DF-298F-416F-9E91-19EE64925FE1}"/>
                </a:ext>
              </a:extLst>
            </p:cNvPr>
            <p:cNvGrpSpPr/>
            <p:nvPr/>
          </p:nvGrpSpPr>
          <p:grpSpPr>
            <a:xfrm rot="648302">
              <a:off x="2032308" y="3895164"/>
              <a:ext cx="304507" cy="142258"/>
              <a:chOff x="2363169" y="3550189"/>
              <a:chExt cx="488695" cy="228306"/>
            </a:xfrm>
            <a:grpFill/>
          </p:grpSpPr>
          <p:sp>
            <p:nvSpPr>
              <p:cNvPr id="5471" name="Freeform 105">
                <a:extLst>
                  <a:ext uri="{FF2B5EF4-FFF2-40B4-BE49-F238E27FC236}">
                    <a16:creationId xmlns:a16="http://schemas.microsoft.com/office/drawing/2014/main" id="{E403F93A-64D9-4304-8331-368FFD1A7DC5}"/>
                  </a:ext>
                </a:extLst>
              </p:cNvPr>
              <p:cNvSpPr>
                <a:spLocks/>
              </p:cNvSpPr>
              <p:nvPr/>
            </p:nvSpPr>
            <p:spPr bwMode="gray">
              <a:xfrm>
                <a:off x="2819626" y="3694652"/>
                <a:ext cx="32238" cy="17462"/>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10"/>
                  <a:gd name="T47" fmla="*/ 18 w 18"/>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10">
                    <a:moveTo>
                      <a:pt x="0" y="0"/>
                    </a:moveTo>
                    <a:lnTo>
                      <a:pt x="0" y="0"/>
                    </a:lnTo>
                    <a:lnTo>
                      <a:pt x="0" y="4"/>
                    </a:lnTo>
                    <a:lnTo>
                      <a:pt x="2" y="8"/>
                    </a:lnTo>
                    <a:lnTo>
                      <a:pt x="8" y="10"/>
                    </a:lnTo>
                    <a:lnTo>
                      <a:pt x="10" y="8"/>
                    </a:lnTo>
                    <a:lnTo>
                      <a:pt x="16" y="4"/>
                    </a:lnTo>
                    <a:lnTo>
                      <a:pt x="18" y="2"/>
                    </a:lnTo>
                    <a:lnTo>
                      <a:pt x="14" y="0"/>
                    </a:lnTo>
                    <a:lnTo>
                      <a:pt x="0"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2" name="Freeform 158">
                <a:extLst>
                  <a:ext uri="{FF2B5EF4-FFF2-40B4-BE49-F238E27FC236}">
                    <a16:creationId xmlns:a16="http://schemas.microsoft.com/office/drawing/2014/main" id="{E6C30376-84B3-4A2B-B39B-4420ECD614C0}"/>
                  </a:ext>
                </a:extLst>
              </p:cNvPr>
              <p:cNvSpPr>
                <a:spLocks/>
              </p:cNvSpPr>
              <p:nvPr/>
            </p:nvSpPr>
            <p:spPr bwMode="gray">
              <a:xfrm>
                <a:off x="2547065" y="3686714"/>
                <a:ext cx="52754" cy="28575"/>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
                  <a:gd name="T88" fmla="*/ 0 h 16"/>
                  <a:gd name="T89" fmla="*/ 30 w 30"/>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 h="16">
                    <a:moveTo>
                      <a:pt x="8" y="0"/>
                    </a:moveTo>
                    <a:lnTo>
                      <a:pt x="8" y="0"/>
                    </a:lnTo>
                    <a:lnTo>
                      <a:pt x="4" y="2"/>
                    </a:lnTo>
                    <a:lnTo>
                      <a:pt x="0" y="4"/>
                    </a:lnTo>
                    <a:lnTo>
                      <a:pt x="2" y="6"/>
                    </a:lnTo>
                    <a:lnTo>
                      <a:pt x="6" y="6"/>
                    </a:lnTo>
                    <a:lnTo>
                      <a:pt x="6" y="8"/>
                    </a:lnTo>
                    <a:lnTo>
                      <a:pt x="8" y="10"/>
                    </a:lnTo>
                    <a:lnTo>
                      <a:pt x="14" y="14"/>
                    </a:lnTo>
                    <a:lnTo>
                      <a:pt x="22" y="16"/>
                    </a:lnTo>
                    <a:lnTo>
                      <a:pt x="22" y="12"/>
                    </a:lnTo>
                    <a:lnTo>
                      <a:pt x="30" y="12"/>
                    </a:lnTo>
                    <a:lnTo>
                      <a:pt x="30" y="8"/>
                    </a:lnTo>
                    <a:lnTo>
                      <a:pt x="24" y="2"/>
                    </a:lnTo>
                    <a:lnTo>
                      <a:pt x="20" y="2"/>
                    </a:lnTo>
                    <a:lnTo>
                      <a:pt x="14" y="2"/>
                    </a:lnTo>
                    <a:lnTo>
                      <a:pt x="8" y="0"/>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3" name="Freeform 174">
                <a:extLst>
                  <a:ext uri="{FF2B5EF4-FFF2-40B4-BE49-F238E27FC236}">
                    <a16:creationId xmlns:a16="http://schemas.microsoft.com/office/drawing/2014/main" id="{4D462F96-F3E9-42AF-8B47-20F70E419C60}"/>
                  </a:ext>
                </a:extLst>
              </p:cNvPr>
              <p:cNvSpPr>
                <a:spLocks/>
              </p:cNvSpPr>
              <p:nvPr/>
            </p:nvSpPr>
            <p:spPr bwMode="gray">
              <a:xfrm>
                <a:off x="2642315" y="3656552"/>
                <a:ext cx="65942" cy="44450"/>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8"/>
                  <a:gd name="T139" fmla="*/ 0 h 26"/>
                  <a:gd name="T140" fmla="*/ 38 w 38"/>
                  <a:gd name="T141" fmla="*/ 26 h 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8" h="26">
                    <a:moveTo>
                      <a:pt x="38" y="26"/>
                    </a:moveTo>
                    <a:lnTo>
                      <a:pt x="38" y="26"/>
                    </a:lnTo>
                    <a:lnTo>
                      <a:pt x="38" y="22"/>
                    </a:lnTo>
                    <a:lnTo>
                      <a:pt x="36" y="18"/>
                    </a:lnTo>
                    <a:lnTo>
                      <a:pt x="36" y="16"/>
                    </a:lnTo>
                    <a:lnTo>
                      <a:pt x="38" y="12"/>
                    </a:lnTo>
                    <a:lnTo>
                      <a:pt x="36" y="2"/>
                    </a:lnTo>
                    <a:lnTo>
                      <a:pt x="32" y="2"/>
                    </a:lnTo>
                    <a:lnTo>
                      <a:pt x="30" y="2"/>
                    </a:lnTo>
                    <a:lnTo>
                      <a:pt x="26" y="0"/>
                    </a:lnTo>
                    <a:lnTo>
                      <a:pt x="20" y="0"/>
                    </a:lnTo>
                    <a:lnTo>
                      <a:pt x="26" y="4"/>
                    </a:lnTo>
                    <a:lnTo>
                      <a:pt x="26" y="6"/>
                    </a:lnTo>
                    <a:lnTo>
                      <a:pt x="26" y="12"/>
                    </a:lnTo>
                    <a:lnTo>
                      <a:pt x="30" y="16"/>
                    </a:lnTo>
                    <a:lnTo>
                      <a:pt x="30" y="20"/>
                    </a:lnTo>
                    <a:lnTo>
                      <a:pt x="28" y="22"/>
                    </a:lnTo>
                    <a:lnTo>
                      <a:pt x="26" y="22"/>
                    </a:lnTo>
                    <a:lnTo>
                      <a:pt x="16" y="18"/>
                    </a:lnTo>
                    <a:lnTo>
                      <a:pt x="12" y="20"/>
                    </a:lnTo>
                    <a:lnTo>
                      <a:pt x="10" y="20"/>
                    </a:lnTo>
                    <a:lnTo>
                      <a:pt x="8" y="18"/>
                    </a:lnTo>
                    <a:lnTo>
                      <a:pt x="4" y="16"/>
                    </a:lnTo>
                    <a:lnTo>
                      <a:pt x="0" y="18"/>
                    </a:lnTo>
                    <a:lnTo>
                      <a:pt x="0" y="22"/>
                    </a:lnTo>
                    <a:lnTo>
                      <a:pt x="6" y="26"/>
                    </a:lnTo>
                    <a:lnTo>
                      <a:pt x="10" y="26"/>
                    </a:lnTo>
                    <a:lnTo>
                      <a:pt x="14" y="24"/>
                    </a:lnTo>
                    <a:lnTo>
                      <a:pt x="38" y="26"/>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4" name="Freeform 199">
                <a:extLst>
                  <a:ext uri="{FF2B5EF4-FFF2-40B4-BE49-F238E27FC236}">
                    <a16:creationId xmlns:a16="http://schemas.microsoft.com/office/drawing/2014/main" id="{B2E0271A-DFD3-4295-89FF-9AB94F37635E}"/>
                  </a:ext>
                </a:extLst>
              </p:cNvPr>
              <p:cNvSpPr>
                <a:spLocks/>
              </p:cNvSpPr>
              <p:nvPr/>
            </p:nvSpPr>
            <p:spPr bwMode="gray">
              <a:xfrm>
                <a:off x="2705326" y="3656552"/>
                <a:ext cx="83527" cy="55562"/>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32"/>
                  <a:gd name="T155" fmla="*/ 48 w 48"/>
                  <a:gd name="T156" fmla="*/ 32 h 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32">
                    <a:moveTo>
                      <a:pt x="2" y="26"/>
                    </a:moveTo>
                    <a:lnTo>
                      <a:pt x="2" y="26"/>
                    </a:lnTo>
                    <a:lnTo>
                      <a:pt x="6" y="32"/>
                    </a:lnTo>
                    <a:lnTo>
                      <a:pt x="8" y="32"/>
                    </a:lnTo>
                    <a:lnTo>
                      <a:pt x="12" y="26"/>
                    </a:lnTo>
                    <a:lnTo>
                      <a:pt x="10" y="20"/>
                    </a:lnTo>
                    <a:lnTo>
                      <a:pt x="18" y="22"/>
                    </a:lnTo>
                    <a:lnTo>
                      <a:pt x="20" y="26"/>
                    </a:lnTo>
                    <a:lnTo>
                      <a:pt x="24" y="26"/>
                    </a:lnTo>
                    <a:lnTo>
                      <a:pt x="28" y="24"/>
                    </a:lnTo>
                    <a:lnTo>
                      <a:pt x="28" y="20"/>
                    </a:lnTo>
                    <a:lnTo>
                      <a:pt x="34" y="20"/>
                    </a:lnTo>
                    <a:lnTo>
                      <a:pt x="42" y="22"/>
                    </a:lnTo>
                    <a:lnTo>
                      <a:pt x="46" y="22"/>
                    </a:lnTo>
                    <a:lnTo>
                      <a:pt x="48" y="20"/>
                    </a:lnTo>
                    <a:lnTo>
                      <a:pt x="48" y="18"/>
                    </a:lnTo>
                    <a:lnTo>
                      <a:pt x="46" y="14"/>
                    </a:lnTo>
                    <a:lnTo>
                      <a:pt x="42" y="12"/>
                    </a:lnTo>
                    <a:lnTo>
                      <a:pt x="38" y="10"/>
                    </a:lnTo>
                    <a:lnTo>
                      <a:pt x="36" y="10"/>
                    </a:lnTo>
                    <a:lnTo>
                      <a:pt x="28" y="8"/>
                    </a:lnTo>
                    <a:lnTo>
                      <a:pt x="26" y="6"/>
                    </a:lnTo>
                    <a:lnTo>
                      <a:pt x="22" y="2"/>
                    </a:lnTo>
                    <a:lnTo>
                      <a:pt x="18" y="2"/>
                    </a:lnTo>
                    <a:lnTo>
                      <a:pt x="16" y="0"/>
                    </a:lnTo>
                    <a:lnTo>
                      <a:pt x="6" y="0"/>
                    </a:lnTo>
                    <a:lnTo>
                      <a:pt x="2" y="2"/>
                    </a:lnTo>
                    <a:lnTo>
                      <a:pt x="0" y="2"/>
                    </a:lnTo>
                    <a:lnTo>
                      <a:pt x="2" y="12"/>
                    </a:lnTo>
                    <a:lnTo>
                      <a:pt x="0" y="16"/>
                    </a:lnTo>
                    <a:lnTo>
                      <a:pt x="0" y="18"/>
                    </a:lnTo>
                    <a:lnTo>
                      <a:pt x="2" y="22"/>
                    </a:lnTo>
                    <a:lnTo>
                      <a:pt x="2" y="26"/>
                    </a:lnTo>
                    <a:close/>
                  </a:path>
                </a:pathLst>
              </a:custGeom>
              <a:grp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5" name="Freeform 204">
                <a:extLst>
                  <a:ext uri="{FF2B5EF4-FFF2-40B4-BE49-F238E27FC236}">
                    <a16:creationId xmlns:a16="http://schemas.microsoft.com/office/drawing/2014/main" id="{2FD87233-9490-46E4-A911-226648C70853}"/>
                  </a:ext>
                </a:extLst>
              </p:cNvPr>
              <p:cNvSpPr>
                <a:spLocks noEditPoints="1"/>
              </p:cNvSpPr>
              <p:nvPr/>
            </p:nvSpPr>
            <p:spPr bwMode="gray">
              <a:xfrm>
                <a:off x="2406388" y="3550189"/>
                <a:ext cx="237392" cy="104775"/>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6"/>
                  <a:gd name="T133" fmla="*/ 0 h 60"/>
                  <a:gd name="T134" fmla="*/ 136 w 136"/>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6" h="60">
                    <a:moveTo>
                      <a:pt x="22" y="18"/>
                    </a:moveTo>
                    <a:lnTo>
                      <a:pt x="22" y="18"/>
                    </a:lnTo>
                    <a:lnTo>
                      <a:pt x="22" y="24"/>
                    </a:lnTo>
                    <a:lnTo>
                      <a:pt x="24" y="22"/>
                    </a:lnTo>
                    <a:lnTo>
                      <a:pt x="24" y="24"/>
                    </a:lnTo>
                    <a:lnTo>
                      <a:pt x="24" y="26"/>
                    </a:lnTo>
                    <a:lnTo>
                      <a:pt x="20" y="30"/>
                    </a:lnTo>
                    <a:lnTo>
                      <a:pt x="18" y="30"/>
                    </a:lnTo>
                    <a:lnTo>
                      <a:pt x="20" y="30"/>
                    </a:lnTo>
                    <a:lnTo>
                      <a:pt x="22" y="30"/>
                    </a:lnTo>
                    <a:lnTo>
                      <a:pt x="28" y="26"/>
                    </a:lnTo>
                    <a:lnTo>
                      <a:pt x="28" y="20"/>
                    </a:lnTo>
                    <a:lnTo>
                      <a:pt x="22" y="18"/>
                    </a:lnTo>
                    <a:close/>
                    <a:moveTo>
                      <a:pt x="22" y="0"/>
                    </a:moveTo>
                    <a:lnTo>
                      <a:pt x="22" y="0"/>
                    </a:lnTo>
                    <a:lnTo>
                      <a:pt x="12" y="6"/>
                    </a:lnTo>
                    <a:lnTo>
                      <a:pt x="4" y="14"/>
                    </a:lnTo>
                    <a:lnTo>
                      <a:pt x="4" y="18"/>
                    </a:lnTo>
                    <a:lnTo>
                      <a:pt x="0" y="20"/>
                    </a:lnTo>
                    <a:lnTo>
                      <a:pt x="6" y="22"/>
                    </a:lnTo>
                    <a:lnTo>
                      <a:pt x="12" y="20"/>
                    </a:lnTo>
                    <a:lnTo>
                      <a:pt x="12" y="16"/>
                    </a:lnTo>
                    <a:lnTo>
                      <a:pt x="16" y="16"/>
                    </a:lnTo>
                    <a:lnTo>
                      <a:pt x="18" y="12"/>
                    </a:lnTo>
                    <a:lnTo>
                      <a:pt x="22" y="8"/>
                    </a:lnTo>
                    <a:lnTo>
                      <a:pt x="26" y="8"/>
                    </a:lnTo>
                    <a:lnTo>
                      <a:pt x="30" y="6"/>
                    </a:lnTo>
                    <a:lnTo>
                      <a:pt x="38" y="8"/>
                    </a:lnTo>
                    <a:lnTo>
                      <a:pt x="38" y="12"/>
                    </a:lnTo>
                    <a:lnTo>
                      <a:pt x="42" y="14"/>
                    </a:lnTo>
                    <a:lnTo>
                      <a:pt x="48" y="14"/>
                    </a:lnTo>
                    <a:lnTo>
                      <a:pt x="52" y="18"/>
                    </a:lnTo>
                    <a:lnTo>
                      <a:pt x="56" y="18"/>
                    </a:lnTo>
                    <a:lnTo>
                      <a:pt x="56" y="20"/>
                    </a:lnTo>
                    <a:lnTo>
                      <a:pt x="58" y="24"/>
                    </a:lnTo>
                    <a:lnTo>
                      <a:pt x="60" y="24"/>
                    </a:lnTo>
                    <a:lnTo>
                      <a:pt x="64" y="26"/>
                    </a:lnTo>
                    <a:lnTo>
                      <a:pt x="66" y="30"/>
                    </a:lnTo>
                    <a:lnTo>
                      <a:pt x="74" y="30"/>
                    </a:lnTo>
                    <a:lnTo>
                      <a:pt x="80" y="28"/>
                    </a:lnTo>
                    <a:lnTo>
                      <a:pt x="80" y="34"/>
                    </a:lnTo>
                    <a:lnTo>
                      <a:pt x="82" y="38"/>
                    </a:lnTo>
                    <a:lnTo>
                      <a:pt x="86" y="42"/>
                    </a:lnTo>
                    <a:lnTo>
                      <a:pt x="98" y="46"/>
                    </a:lnTo>
                    <a:lnTo>
                      <a:pt x="98" y="50"/>
                    </a:lnTo>
                    <a:lnTo>
                      <a:pt x="94" y="54"/>
                    </a:lnTo>
                    <a:lnTo>
                      <a:pt x="92" y="56"/>
                    </a:lnTo>
                    <a:lnTo>
                      <a:pt x="92" y="60"/>
                    </a:lnTo>
                    <a:lnTo>
                      <a:pt x="110" y="56"/>
                    </a:lnTo>
                    <a:lnTo>
                      <a:pt x="126" y="54"/>
                    </a:lnTo>
                    <a:lnTo>
                      <a:pt x="128" y="56"/>
                    </a:lnTo>
                    <a:lnTo>
                      <a:pt x="130" y="56"/>
                    </a:lnTo>
                    <a:lnTo>
                      <a:pt x="136" y="52"/>
                    </a:lnTo>
                    <a:lnTo>
                      <a:pt x="136" y="50"/>
                    </a:lnTo>
                    <a:lnTo>
                      <a:pt x="136" y="48"/>
                    </a:lnTo>
                    <a:lnTo>
                      <a:pt x="130" y="44"/>
                    </a:lnTo>
                    <a:lnTo>
                      <a:pt x="124" y="46"/>
                    </a:lnTo>
                    <a:lnTo>
                      <a:pt x="120" y="46"/>
                    </a:lnTo>
                    <a:lnTo>
                      <a:pt x="118" y="44"/>
                    </a:lnTo>
                    <a:lnTo>
                      <a:pt x="120" y="36"/>
                    </a:lnTo>
                    <a:lnTo>
                      <a:pt x="108" y="36"/>
                    </a:lnTo>
                    <a:lnTo>
                      <a:pt x="106" y="34"/>
                    </a:lnTo>
                    <a:lnTo>
                      <a:pt x="102" y="30"/>
                    </a:lnTo>
                    <a:lnTo>
                      <a:pt x="100" y="30"/>
                    </a:lnTo>
                    <a:lnTo>
                      <a:pt x="98" y="30"/>
                    </a:lnTo>
                    <a:lnTo>
                      <a:pt x="98" y="26"/>
                    </a:lnTo>
                    <a:lnTo>
                      <a:pt x="96" y="24"/>
                    </a:lnTo>
                    <a:lnTo>
                      <a:pt x="92" y="22"/>
                    </a:lnTo>
                    <a:lnTo>
                      <a:pt x="90" y="24"/>
                    </a:lnTo>
                    <a:lnTo>
                      <a:pt x="90" y="20"/>
                    </a:lnTo>
                    <a:lnTo>
                      <a:pt x="86" y="20"/>
                    </a:lnTo>
                    <a:lnTo>
                      <a:pt x="84" y="18"/>
                    </a:lnTo>
                    <a:lnTo>
                      <a:pt x="78" y="18"/>
                    </a:lnTo>
                    <a:lnTo>
                      <a:pt x="72" y="16"/>
                    </a:lnTo>
                    <a:lnTo>
                      <a:pt x="70" y="14"/>
                    </a:lnTo>
                    <a:lnTo>
                      <a:pt x="68" y="12"/>
                    </a:lnTo>
                    <a:lnTo>
                      <a:pt x="66" y="6"/>
                    </a:lnTo>
                    <a:lnTo>
                      <a:pt x="54" y="4"/>
                    </a:lnTo>
                    <a:lnTo>
                      <a:pt x="42" y="2"/>
                    </a:lnTo>
                    <a:lnTo>
                      <a:pt x="42" y="4"/>
                    </a:lnTo>
                    <a:lnTo>
                      <a:pt x="40" y="4"/>
                    </a:lnTo>
                    <a:lnTo>
                      <a:pt x="38" y="4"/>
                    </a:lnTo>
                    <a:lnTo>
                      <a:pt x="38" y="0"/>
                    </a:lnTo>
                    <a:lnTo>
                      <a:pt x="30" y="0"/>
                    </a:lnTo>
                    <a:lnTo>
                      <a:pt x="22" y="0"/>
                    </a:lnTo>
                    <a:close/>
                  </a:path>
                </a:pathLst>
              </a:custGeom>
              <a:solidFill>
                <a:srgbClr val="999999"/>
              </a:solidFill>
              <a:ln w="3175">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6" name="Freeform 246">
                <a:extLst>
                  <a:ext uri="{FF2B5EF4-FFF2-40B4-BE49-F238E27FC236}">
                    <a16:creationId xmlns:a16="http://schemas.microsoft.com/office/drawing/2014/main" id="{CCB865D7-5614-45CC-9B1D-6E591271BE2D}"/>
                  </a:ext>
                </a:extLst>
              </p:cNvPr>
              <p:cNvSpPr>
                <a:spLocks/>
              </p:cNvSpPr>
              <p:nvPr/>
            </p:nvSpPr>
            <p:spPr bwMode="gray">
              <a:xfrm rot="20998797">
                <a:off x="2493993" y="3744028"/>
                <a:ext cx="9643" cy="15151"/>
              </a:xfrm>
              <a:custGeom>
                <a:avLst/>
                <a:gdLst>
                  <a:gd name="T0" fmla="*/ 3 w 21"/>
                  <a:gd name="T1" fmla="*/ 33 h 33"/>
                  <a:gd name="T2" fmla="*/ 3 w 21"/>
                  <a:gd name="T3" fmla="*/ 30 h 33"/>
                  <a:gd name="T4" fmla="*/ 0 w 21"/>
                  <a:gd name="T5" fmla="*/ 26 h 33"/>
                  <a:gd name="T6" fmla="*/ 0 w 21"/>
                  <a:gd name="T7" fmla="*/ 16 h 33"/>
                  <a:gd name="T8" fmla="*/ 3 w 21"/>
                  <a:gd name="T9" fmla="*/ 16 h 33"/>
                  <a:gd name="T10" fmla="*/ 3 w 21"/>
                  <a:gd name="T11" fmla="*/ 14 h 33"/>
                  <a:gd name="T12" fmla="*/ 5 w 21"/>
                  <a:gd name="T13" fmla="*/ 7 h 33"/>
                  <a:gd name="T14" fmla="*/ 17 w 21"/>
                  <a:gd name="T15" fmla="*/ 7 h 33"/>
                  <a:gd name="T16" fmla="*/ 19 w 21"/>
                  <a:gd name="T17" fmla="*/ 2 h 33"/>
                  <a:gd name="T18" fmla="*/ 21 w 21"/>
                  <a:gd name="T19" fmla="*/ 0 h 33"/>
                  <a:gd name="T20" fmla="*/ 19 w 21"/>
                  <a:gd name="T21" fmla="*/ 9 h 33"/>
                  <a:gd name="T22" fmla="*/ 12 w 21"/>
                  <a:gd name="T23" fmla="*/ 23 h 33"/>
                  <a:gd name="T24" fmla="*/ 10 w 21"/>
                  <a:gd name="T25" fmla="*/ 30 h 33"/>
                  <a:gd name="T26" fmla="*/ 5 w 21"/>
                  <a:gd name="T27" fmla="*/ 30 h 33"/>
                  <a:gd name="T28" fmla="*/ 5 w 21"/>
                  <a:gd name="T29" fmla="*/ 33 h 33"/>
                  <a:gd name="T30" fmla="*/ 3 w 21"/>
                  <a:gd name="T31" fmla="*/ 3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33"/>
                  <a:gd name="T50" fmla="*/ 21 w 21"/>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33">
                    <a:moveTo>
                      <a:pt x="3" y="33"/>
                    </a:moveTo>
                    <a:lnTo>
                      <a:pt x="3" y="30"/>
                    </a:lnTo>
                    <a:lnTo>
                      <a:pt x="0" y="26"/>
                    </a:lnTo>
                    <a:lnTo>
                      <a:pt x="0" y="16"/>
                    </a:lnTo>
                    <a:lnTo>
                      <a:pt x="3" y="16"/>
                    </a:lnTo>
                    <a:lnTo>
                      <a:pt x="3" y="14"/>
                    </a:lnTo>
                    <a:lnTo>
                      <a:pt x="5" y="7"/>
                    </a:lnTo>
                    <a:lnTo>
                      <a:pt x="17" y="7"/>
                    </a:lnTo>
                    <a:lnTo>
                      <a:pt x="19" y="2"/>
                    </a:lnTo>
                    <a:lnTo>
                      <a:pt x="21" y="0"/>
                    </a:lnTo>
                    <a:lnTo>
                      <a:pt x="19" y="9"/>
                    </a:lnTo>
                    <a:lnTo>
                      <a:pt x="12" y="23"/>
                    </a:lnTo>
                    <a:lnTo>
                      <a:pt x="10" y="30"/>
                    </a:lnTo>
                    <a:lnTo>
                      <a:pt x="5" y="30"/>
                    </a:lnTo>
                    <a:lnTo>
                      <a:pt x="5" y="33"/>
                    </a:lnTo>
                    <a:lnTo>
                      <a:pt x="3" y="3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7" name="Freeform 264">
                <a:extLst>
                  <a:ext uri="{FF2B5EF4-FFF2-40B4-BE49-F238E27FC236}">
                    <a16:creationId xmlns:a16="http://schemas.microsoft.com/office/drawing/2014/main" id="{EC036135-2146-4955-B999-5EA823E89132}"/>
                  </a:ext>
                </a:extLst>
              </p:cNvPr>
              <p:cNvSpPr>
                <a:spLocks/>
              </p:cNvSpPr>
              <p:nvPr/>
            </p:nvSpPr>
            <p:spPr bwMode="gray">
              <a:xfrm rot="20998797">
                <a:off x="2363169" y="3775281"/>
                <a:ext cx="918" cy="3214"/>
              </a:xfrm>
              <a:custGeom>
                <a:avLst/>
                <a:gdLst>
                  <a:gd name="T0" fmla="*/ 2 w 2"/>
                  <a:gd name="T1" fmla="*/ 0 h 7"/>
                  <a:gd name="T2" fmla="*/ 2 w 2"/>
                  <a:gd name="T3" fmla="*/ 3 h 7"/>
                  <a:gd name="T4" fmla="*/ 0 w 2"/>
                  <a:gd name="T5" fmla="*/ 7 h 7"/>
                  <a:gd name="T6" fmla="*/ 0 w 2"/>
                  <a:gd name="T7" fmla="*/ 0 h 7"/>
                  <a:gd name="T8" fmla="*/ 2 w 2"/>
                  <a:gd name="T9" fmla="*/ 0 h 7"/>
                  <a:gd name="T10" fmla="*/ 0 60000 65536"/>
                  <a:gd name="T11" fmla="*/ 0 60000 65536"/>
                  <a:gd name="T12" fmla="*/ 0 60000 65536"/>
                  <a:gd name="T13" fmla="*/ 0 60000 65536"/>
                  <a:gd name="T14" fmla="*/ 0 60000 65536"/>
                  <a:gd name="T15" fmla="*/ 0 w 2"/>
                  <a:gd name="T16" fmla="*/ 0 h 7"/>
                  <a:gd name="T17" fmla="*/ 2 w 2"/>
                  <a:gd name="T18" fmla="*/ 7 h 7"/>
                </a:gdLst>
                <a:ahLst/>
                <a:cxnLst>
                  <a:cxn ang="T10">
                    <a:pos x="T0" y="T1"/>
                  </a:cxn>
                  <a:cxn ang="T11">
                    <a:pos x="T2" y="T3"/>
                  </a:cxn>
                  <a:cxn ang="T12">
                    <a:pos x="T4" y="T5"/>
                  </a:cxn>
                  <a:cxn ang="T13">
                    <a:pos x="T6" y="T7"/>
                  </a:cxn>
                  <a:cxn ang="T14">
                    <a:pos x="T8" y="T9"/>
                  </a:cxn>
                </a:cxnLst>
                <a:rect l="T15" t="T16" r="T17" b="T18"/>
                <a:pathLst>
                  <a:path w="2" h="7">
                    <a:moveTo>
                      <a:pt x="2" y="0"/>
                    </a:moveTo>
                    <a:lnTo>
                      <a:pt x="2" y="3"/>
                    </a:lnTo>
                    <a:lnTo>
                      <a:pt x="0" y="7"/>
                    </a:lnTo>
                    <a:lnTo>
                      <a:pt x="0" y="0"/>
                    </a:lnTo>
                    <a:lnTo>
                      <a:pt x="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sp>
          <p:nvSpPr>
            <p:cNvPr id="5176" name="Freeform 265">
              <a:extLst>
                <a:ext uri="{FF2B5EF4-FFF2-40B4-BE49-F238E27FC236}">
                  <a16:creationId xmlns:a16="http://schemas.microsoft.com/office/drawing/2014/main" id="{49237DB8-0C02-4CA2-A3DC-C5E42DF45F9B}"/>
                </a:ext>
              </a:extLst>
            </p:cNvPr>
            <p:cNvSpPr>
              <a:spLocks/>
            </p:cNvSpPr>
            <p:nvPr/>
          </p:nvSpPr>
          <p:spPr bwMode="gray">
            <a:xfrm rot="47099">
              <a:off x="1681708" y="4285344"/>
              <a:ext cx="1396" cy="2325"/>
            </a:xfrm>
            <a:custGeom>
              <a:avLst/>
              <a:gdLst>
                <a:gd name="T0" fmla="*/ 0 w 3"/>
                <a:gd name="T1" fmla="*/ 0 h 5"/>
                <a:gd name="T2" fmla="*/ 3 w 3"/>
                <a:gd name="T3" fmla="*/ 0 h 5"/>
                <a:gd name="T4" fmla="*/ 3 w 3"/>
                <a:gd name="T5" fmla="*/ 5 h 5"/>
                <a:gd name="T6" fmla="*/ 0 w 3"/>
                <a:gd name="T7" fmla="*/ 2 h 5"/>
                <a:gd name="T8" fmla="*/ 0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0"/>
                  </a:moveTo>
                  <a:lnTo>
                    <a:pt x="3" y="0"/>
                  </a:lnTo>
                  <a:lnTo>
                    <a:pt x="3" y="5"/>
                  </a:lnTo>
                  <a:lnTo>
                    <a:pt x="0" y="2"/>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7" name="Freeform 266">
              <a:extLst>
                <a:ext uri="{FF2B5EF4-FFF2-40B4-BE49-F238E27FC236}">
                  <a16:creationId xmlns:a16="http://schemas.microsoft.com/office/drawing/2014/main" id="{E6836EEB-BF5F-4D6E-91C7-985E49BCD73F}"/>
                </a:ext>
              </a:extLst>
            </p:cNvPr>
            <p:cNvSpPr>
              <a:spLocks/>
            </p:cNvSpPr>
            <p:nvPr/>
          </p:nvSpPr>
          <p:spPr bwMode="gray">
            <a:xfrm rot="47099">
              <a:off x="1680937" y="4207330"/>
              <a:ext cx="153927" cy="136239"/>
            </a:xfrm>
            <a:custGeom>
              <a:avLst/>
              <a:gdLst>
                <a:gd name="T0" fmla="*/ 172 w 331"/>
                <a:gd name="T1" fmla="*/ 229 h 293"/>
                <a:gd name="T2" fmla="*/ 187 w 331"/>
                <a:gd name="T3" fmla="*/ 250 h 293"/>
                <a:gd name="T4" fmla="*/ 177 w 331"/>
                <a:gd name="T5" fmla="*/ 267 h 293"/>
                <a:gd name="T6" fmla="*/ 179 w 331"/>
                <a:gd name="T7" fmla="*/ 286 h 293"/>
                <a:gd name="T8" fmla="*/ 172 w 331"/>
                <a:gd name="T9" fmla="*/ 290 h 293"/>
                <a:gd name="T10" fmla="*/ 172 w 331"/>
                <a:gd name="T11" fmla="*/ 290 h 293"/>
                <a:gd name="T12" fmla="*/ 161 w 331"/>
                <a:gd name="T13" fmla="*/ 279 h 293"/>
                <a:gd name="T14" fmla="*/ 146 w 331"/>
                <a:gd name="T15" fmla="*/ 267 h 293"/>
                <a:gd name="T16" fmla="*/ 139 w 331"/>
                <a:gd name="T17" fmla="*/ 262 h 293"/>
                <a:gd name="T18" fmla="*/ 132 w 331"/>
                <a:gd name="T19" fmla="*/ 255 h 293"/>
                <a:gd name="T20" fmla="*/ 120 w 331"/>
                <a:gd name="T21" fmla="*/ 243 h 293"/>
                <a:gd name="T22" fmla="*/ 125 w 331"/>
                <a:gd name="T23" fmla="*/ 250 h 293"/>
                <a:gd name="T24" fmla="*/ 123 w 331"/>
                <a:gd name="T25" fmla="*/ 243 h 293"/>
                <a:gd name="T26" fmla="*/ 113 w 331"/>
                <a:gd name="T27" fmla="*/ 238 h 293"/>
                <a:gd name="T28" fmla="*/ 97 w 331"/>
                <a:gd name="T29" fmla="*/ 229 h 293"/>
                <a:gd name="T30" fmla="*/ 90 w 331"/>
                <a:gd name="T31" fmla="*/ 222 h 293"/>
                <a:gd name="T32" fmla="*/ 76 w 331"/>
                <a:gd name="T33" fmla="*/ 212 h 293"/>
                <a:gd name="T34" fmla="*/ 59 w 331"/>
                <a:gd name="T35" fmla="*/ 198 h 293"/>
                <a:gd name="T36" fmla="*/ 40 w 331"/>
                <a:gd name="T37" fmla="*/ 186 h 293"/>
                <a:gd name="T38" fmla="*/ 16 w 331"/>
                <a:gd name="T39" fmla="*/ 170 h 293"/>
                <a:gd name="T40" fmla="*/ 2 w 331"/>
                <a:gd name="T41" fmla="*/ 165 h 293"/>
                <a:gd name="T42" fmla="*/ 5 w 331"/>
                <a:gd name="T43" fmla="*/ 153 h 293"/>
                <a:gd name="T44" fmla="*/ 2 w 331"/>
                <a:gd name="T45" fmla="*/ 139 h 293"/>
                <a:gd name="T46" fmla="*/ 0 w 331"/>
                <a:gd name="T47" fmla="*/ 130 h 293"/>
                <a:gd name="T48" fmla="*/ 5 w 331"/>
                <a:gd name="T49" fmla="*/ 106 h 293"/>
                <a:gd name="T50" fmla="*/ 19 w 331"/>
                <a:gd name="T51" fmla="*/ 90 h 293"/>
                <a:gd name="T52" fmla="*/ 40 w 331"/>
                <a:gd name="T53" fmla="*/ 61 h 293"/>
                <a:gd name="T54" fmla="*/ 42 w 331"/>
                <a:gd name="T55" fmla="*/ 57 h 293"/>
                <a:gd name="T56" fmla="*/ 45 w 331"/>
                <a:gd name="T57" fmla="*/ 45 h 293"/>
                <a:gd name="T58" fmla="*/ 59 w 331"/>
                <a:gd name="T59" fmla="*/ 35 h 293"/>
                <a:gd name="T60" fmla="*/ 64 w 331"/>
                <a:gd name="T61" fmla="*/ 5 h 293"/>
                <a:gd name="T62" fmla="*/ 68 w 331"/>
                <a:gd name="T63" fmla="*/ 2 h 293"/>
                <a:gd name="T64" fmla="*/ 92 w 331"/>
                <a:gd name="T65" fmla="*/ 16 h 293"/>
                <a:gd name="T66" fmla="*/ 92 w 331"/>
                <a:gd name="T67" fmla="*/ 38 h 293"/>
                <a:gd name="T68" fmla="*/ 102 w 331"/>
                <a:gd name="T69" fmla="*/ 45 h 293"/>
                <a:gd name="T70" fmla="*/ 109 w 331"/>
                <a:gd name="T71" fmla="*/ 49 h 293"/>
                <a:gd name="T72" fmla="*/ 116 w 331"/>
                <a:gd name="T73" fmla="*/ 52 h 293"/>
                <a:gd name="T74" fmla="*/ 146 w 331"/>
                <a:gd name="T75" fmla="*/ 19 h 293"/>
                <a:gd name="T76" fmla="*/ 165 w 331"/>
                <a:gd name="T77" fmla="*/ 12 h 293"/>
                <a:gd name="T78" fmla="*/ 172 w 331"/>
                <a:gd name="T79" fmla="*/ 2 h 293"/>
                <a:gd name="T80" fmla="*/ 194 w 331"/>
                <a:gd name="T81" fmla="*/ 0 h 293"/>
                <a:gd name="T82" fmla="*/ 205 w 331"/>
                <a:gd name="T83" fmla="*/ 12 h 293"/>
                <a:gd name="T84" fmla="*/ 210 w 331"/>
                <a:gd name="T85" fmla="*/ 19 h 293"/>
                <a:gd name="T86" fmla="*/ 220 w 331"/>
                <a:gd name="T87" fmla="*/ 33 h 293"/>
                <a:gd name="T88" fmla="*/ 234 w 331"/>
                <a:gd name="T89" fmla="*/ 45 h 293"/>
                <a:gd name="T90" fmla="*/ 239 w 331"/>
                <a:gd name="T91" fmla="*/ 57 h 293"/>
                <a:gd name="T92" fmla="*/ 253 w 331"/>
                <a:gd name="T93" fmla="*/ 68 h 293"/>
                <a:gd name="T94" fmla="*/ 276 w 331"/>
                <a:gd name="T95" fmla="*/ 78 h 293"/>
                <a:gd name="T96" fmla="*/ 283 w 331"/>
                <a:gd name="T97" fmla="*/ 85 h 293"/>
                <a:gd name="T98" fmla="*/ 293 w 331"/>
                <a:gd name="T99" fmla="*/ 90 h 293"/>
                <a:gd name="T100" fmla="*/ 302 w 331"/>
                <a:gd name="T101" fmla="*/ 97 h 293"/>
                <a:gd name="T102" fmla="*/ 307 w 331"/>
                <a:gd name="T103" fmla="*/ 109 h 293"/>
                <a:gd name="T104" fmla="*/ 319 w 331"/>
                <a:gd name="T105" fmla="*/ 113 h 293"/>
                <a:gd name="T106" fmla="*/ 331 w 331"/>
                <a:gd name="T107" fmla="*/ 118 h 293"/>
                <a:gd name="T108" fmla="*/ 324 w 331"/>
                <a:gd name="T109" fmla="*/ 125 h 293"/>
                <a:gd name="T110" fmla="*/ 326 w 331"/>
                <a:gd name="T111" fmla="*/ 134 h 293"/>
                <a:gd name="T112" fmla="*/ 324 w 331"/>
                <a:gd name="T113" fmla="*/ 146 h 293"/>
                <a:gd name="T114" fmla="*/ 293 w 331"/>
                <a:gd name="T115" fmla="*/ 149 h 293"/>
                <a:gd name="T116" fmla="*/ 229 w 331"/>
                <a:gd name="T117" fmla="*/ 153 h 293"/>
                <a:gd name="T118" fmla="*/ 205 w 331"/>
                <a:gd name="T119" fmla="*/ 165 h 293"/>
                <a:gd name="T120" fmla="*/ 182 w 331"/>
                <a:gd name="T121" fmla="*/ 212 h 2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1"/>
                <a:gd name="T184" fmla="*/ 0 h 293"/>
                <a:gd name="T185" fmla="*/ 331 w 331"/>
                <a:gd name="T186" fmla="*/ 293 h 2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1" h="293">
                  <a:moveTo>
                    <a:pt x="182" y="212"/>
                  </a:moveTo>
                  <a:lnTo>
                    <a:pt x="172" y="229"/>
                  </a:lnTo>
                  <a:lnTo>
                    <a:pt x="187" y="246"/>
                  </a:lnTo>
                  <a:lnTo>
                    <a:pt x="187" y="250"/>
                  </a:lnTo>
                  <a:lnTo>
                    <a:pt x="179" y="255"/>
                  </a:lnTo>
                  <a:lnTo>
                    <a:pt x="177" y="267"/>
                  </a:lnTo>
                  <a:lnTo>
                    <a:pt x="179" y="269"/>
                  </a:lnTo>
                  <a:lnTo>
                    <a:pt x="179" y="286"/>
                  </a:lnTo>
                  <a:lnTo>
                    <a:pt x="177" y="290"/>
                  </a:lnTo>
                  <a:lnTo>
                    <a:pt x="172" y="290"/>
                  </a:lnTo>
                  <a:lnTo>
                    <a:pt x="172" y="293"/>
                  </a:lnTo>
                  <a:lnTo>
                    <a:pt x="172" y="290"/>
                  </a:lnTo>
                  <a:lnTo>
                    <a:pt x="170" y="290"/>
                  </a:lnTo>
                  <a:lnTo>
                    <a:pt x="161" y="279"/>
                  </a:lnTo>
                  <a:lnTo>
                    <a:pt x="146" y="269"/>
                  </a:lnTo>
                  <a:lnTo>
                    <a:pt x="146" y="267"/>
                  </a:lnTo>
                  <a:lnTo>
                    <a:pt x="142" y="267"/>
                  </a:lnTo>
                  <a:lnTo>
                    <a:pt x="139" y="262"/>
                  </a:lnTo>
                  <a:lnTo>
                    <a:pt x="137" y="262"/>
                  </a:lnTo>
                  <a:lnTo>
                    <a:pt x="132" y="255"/>
                  </a:lnTo>
                  <a:lnTo>
                    <a:pt x="125" y="253"/>
                  </a:lnTo>
                  <a:lnTo>
                    <a:pt x="120" y="243"/>
                  </a:lnTo>
                  <a:lnTo>
                    <a:pt x="123" y="243"/>
                  </a:lnTo>
                  <a:lnTo>
                    <a:pt x="125" y="250"/>
                  </a:lnTo>
                  <a:lnTo>
                    <a:pt x="125" y="246"/>
                  </a:lnTo>
                  <a:lnTo>
                    <a:pt x="123" y="243"/>
                  </a:lnTo>
                  <a:lnTo>
                    <a:pt x="116" y="238"/>
                  </a:lnTo>
                  <a:lnTo>
                    <a:pt x="113" y="238"/>
                  </a:lnTo>
                  <a:lnTo>
                    <a:pt x="106" y="236"/>
                  </a:lnTo>
                  <a:lnTo>
                    <a:pt x="97" y="229"/>
                  </a:lnTo>
                  <a:lnTo>
                    <a:pt x="92" y="227"/>
                  </a:lnTo>
                  <a:lnTo>
                    <a:pt x="90" y="222"/>
                  </a:lnTo>
                  <a:lnTo>
                    <a:pt x="83" y="215"/>
                  </a:lnTo>
                  <a:lnTo>
                    <a:pt x="76" y="212"/>
                  </a:lnTo>
                  <a:lnTo>
                    <a:pt x="66" y="205"/>
                  </a:lnTo>
                  <a:lnTo>
                    <a:pt x="59" y="198"/>
                  </a:lnTo>
                  <a:lnTo>
                    <a:pt x="50" y="196"/>
                  </a:lnTo>
                  <a:lnTo>
                    <a:pt x="40" y="186"/>
                  </a:lnTo>
                  <a:lnTo>
                    <a:pt x="28" y="182"/>
                  </a:lnTo>
                  <a:lnTo>
                    <a:pt x="16" y="170"/>
                  </a:lnTo>
                  <a:lnTo>
                    <a:pt x="9" y="170"/>
                  </a:lnTo>
                  <a:lnTo>
                    <a:pt x="2" y="165"/>
                  </a:lnTo>
                  <a:lnTo>
                    <a:pt x="5" y="163"/>
                  </a:lnTo>
                  <a:lnTo>
                    <a:pt x="5" y="153"/>
                  </a:lnTo>
                  <a:lnTo>
                    <a:pt x="2" y="142"/>
                  </a:lnTo>
                  <a:lnTo>
                    <a:pt x="2" y="139"/>
                  </a:lnTo>
                  <a:lnTo>
                    <a:pt x="0" y="139"/>
                  </a:lnTo>
                  <a:lnTo>
                    <a:pt x="0" y="130"/>
                  </a:lnTo>
                  <a:lnTo>
                    <a:pt x="5" y="116"/>
                  </a:lnTo>
                  <a:lnTo>
                    <a:pt x="5" y="106"/>
                  </a:lnTo>
                  <a:lnTo>
                    <a:pt x="16" y="99"/>
                  </a:lnTo>
                  <a:lnTo>
                    <a:pt x="19" y="90"/>
                  </a:lnTo>
                  <a:lnTo>
                    <a:pt x="19" y="75"/>
                  </a:lnTo>
                  <a:lnTo>
                    <a:pt x="40" y="61"/>
                  </a:lnTo>
                  <a:lnTo>
                    <a:pt x="40" y="59"/>
                  </a:lnTo>
                  <a:lnTo>
                    <a:pt x="42" y="57"/>
                  </a:lnTo>
                  <a:lnTo>
                    <a:pt x="42" y="52"/>
                  </a:lnTo>
                  <a:lnTo>
                    <a:pt x="45" y="45"/>
                  </a:lnTo>
                  <a:lnTo>
                    <a:pt x="52" y="38"/>
                  </a:lnTo>
                  <a:lnTo>
                    <a:pt x="59" y="35"/>
                  </a:lnTo>
                  <a:lnTo>
                    <a:pt x="59" y="33"/>
                  </a:lnTo>
                  <a:lnTo>
                    <a:pt x="64" y="5"/>
                  </a:lnTo>
                  <a:lnTo>
                    <a:pt x="64" y="2"/>
                  </a:lnTo>
                  <a:lnTo>
                    <a:pt x="68" y="2"/>
                  </a:lnTo>
                  <a:lnTo>
                    <a:pt x="92" y="5"/>
                  </a:lnTo>
                  <a:lnTo>
                    <a:pt x="92" y="16"/>
                  </a:lnTo>
                  <a:lnTo>
                    <a:pt x="90" y="21"/>
                  </a:lnTo>
                  <a:lnTo>
                    <a:pt x="92" y="38"/>
                  </a:lnTo>
                  <a:lnTo>
                    <a:pt x="97" y="38"/>
                  </a:lnTo>
                  <a:lnTo>
                    <a:pt x="102" y="45"/>
                  </a:lnTo>
                  <a:lnTo>
                    <a:pt x="106" y="45"/>
                  </a:lnTo>
                  <a:lnTo>
                    <a:pt x="109" y="49"/>
                  </a:lnTo>
                  <a:lnTo>
                    <a:pt x="113" y="52"/>
                  </a:lnTo>
                  <a:lnTo>
                    <a:pt x="116" y="52"/>
                  </a:lnTo>
                  <a:lnTo>
                    <a:pt x="142" y="26"/>
                  </a:lnTo>
                  <a:lnTo>
                    <a:pt x="146" y="19"/>
                  </a:lnTo>
                  <a:lnTo>
                    <a:pt x="156" y="16"/>
                  </a:lnTo>
                  <a:lnTo>
                    <a:pt x="165" y="12"/>
                  </a:lnTo>
                  <a:lnTo>
                    <a:pt x="172" y="5"/>
                  </a:lnTo>
                  <a:lnTo>
                    <a:pt x="172" y="2"/>
                  </a:lnTo>
                  <a:lnTo>
                    <a:pt x="179" y="0"/>
                  </a:lnTo>
                  <a:lnTo>
                    <a:pt x="194" y="0"/>
                  </a:lnTo>
                  <a:lnTo>
                    <a:pt x="198" y="5"/>
                  </a:lnTo>
                  <a:lnTo>
                    <a:pt x="205" y="12"/>
                  </a:lnTo>
                  <a:lnTo>
                    <a:pt x="205" y="16"/>
                  </a:lnTo>
                  <a:lnTo>
                    <a:pt x="210" y="19"/>
                  </a:lnTo>
                  <a:lnTo>
                    <a:pt x="210" y="33"/>
                  </a:lnTo>
                  <a:lnTo>
                    <a:pt x="220" y="33"/>
                  </a:lnTo>
                  <a:lnTo>
                    <a:pt x="229" y="38"/>
                  </a:lnTo>
                  <a:lnTo>
                    <a:pt x="234" y="45"/>
                  </a:lnTo>
                  <a:lnTo>
                    <a:pt x="229" y="52"/>
                  </a:lnTo>
                  <a:lnTo>
                    <a:pt x="239" y="57"/>
                  </a:lnTo>
                  <a:lnTo>
                    <a:pt x="246" y="59"/>
                  </a:lnTo>
                  <a:lnTo>
                    <a:pt x="253" y="68"/>
                  </a:lnTo>
                  <a:lnTo>
                    <a:pt x="274" y="78"/>
                  </a:lnTo>
                  <a:lnTo>
                    <a:pt x="276" y="78"/>
                  </a:lnTo>
                  <a:lnTo>
                    <a:pt x="279" y="83"/>
                  </a:lnTo>
                  <a:lnTo>
                    <a:pt x="283" y="85"/>
                  </a:lnTo>
                  <a:lnTo>
                    <a:pt x="291" y="85"/>
                  </a:lnTo>
                  <a:lnTo>
                    <a:pt x="293" y="90"/>
                  </a:lnTo>
                  <a:lnTo>
                    <a:pt x="300" y="97"/>
                  </a:lnTo>
                  <a:lnTo>
                    <a:pt x="302" y="97"/>
                  </a:lnTo>
                  <a:lnTo>
                    <a:pt x="302" y="109"/>
                  </a:lnTo>
                  <a:lnTo>
                    <a:pt x="307" y="109"/>
                  </a:lnTo>
                  <a:lnTo>
                    <a:pt x="309" y="113"/>
                  </a:lnTo>
                  <a:lnTo>
                    <a:pt x="319" y="113"/>
                  </a:lnTo>
                  <a:lnTo>
                    <a:pt x="326" y="116"/>
                  </a:lnTo>
                  <a:lnTo>
                    <a:pt x="331" y="118"/>
                  </a:lnTo>
                  <a:lnTo>
                    <a:pt x="326" y="123"/>
                  </a:lnTo>
                  <a:lnTo>
                    <a:pt x="324" y="125"/>
                  </a:lnTo>
                  <a:lnTo>
                    <a:pt x="324" y="134"/>
                  </a:lnTo>
                  <a:lnTo>
                    <a:pt x="326" y="134"/>
                  </a:lnTo>
                  <a:lnTo>
                    <a:pt x="326" y="142"/>
                  </a:lnTo>
                  <a:lnTo>
                    <a:pt x="324" y="146"/>
                  </a:lnTo>
                  <a:lnTo>
                    <a:pt x="309" y="146"/>
                  </a:lnTo>
                  <a:lnTo>
                    <a:pt x="293" y="149"/>
                  </a:lnTo>
                  <a:lnTo>
                    <a:pt x="276" y="149"/>
                  </a:lnTo>
                  <a:lnTo>
                    <a:pt x="229" y="153"/>
                  </a:lnTo>
                  <a:lnTo>
                    <a:pt x="213" y="156"/>
                  </a:lnTo>
                  <a:lnTo>
                    <a:pt x="205" y="165"/>
                  </a:lnTo>
                  <a:lnTo>
                    <a:pt x="203" y="170"/>
                  </a:lnTo>
                  <a:lnTo>
                    <a:pt x="182" y="2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8" name="Freeform 267">
              <a:extLst>
                <a:ext uri="{FF2B5EF4-FFF2-40B4-BE49-F238E27FC236}">
                  <a16:creationId xmlns:a16="http://schemas.microsoft.com/office/drawing/2014/main" id="{6B80E8B9-B10C-4E35-AFF2-B509C1B244B6}"/>
                </a:ext>
              </a:extLst>
            </p:cNvPr>
            <p:cNvSpPr>
              <a:spLocks/>
            </p:cNvSpPr>
            <p:nvPr/>
          </p:nvSpPr>
          <p:spPr bwMode="gray">
            <a:xfrm rot="47099">
              <a:off x="1676308" y="4178272"/>
              <a:ext cx="130676" cy="55333"/>
            </a:xfrm>
            <a:custGeom>
              <a:avLst/>
              <a:gdLst>
                <a:gd name="T0" fmla="*/ 246 w 281"/>
                <a:gd name="T1" fmla="*/ 107 h 119"/>
                <a:gd name="T2" fmla="*/ 232 w 281"/>
                <a:gd name="T3" fmla="*/ 95 h 119"/>
                <a:gd name="T4" fmla="*/ 222 w 281"/>
                <a:gd name="T5" fmla="*/ 81 h 119"/>
                <a:gd name="T6" fmla="*/ 217 w 281"/>
                <a:gd name="T7" fmla="*/ 74 h 119"/>
                <a:gd name="T8" fmla="*/ 206 w 281"/>
                <a:gd name="T9" fmla="*/ 62 h 119"/>
                <a:gd name="T10" fmla="*/ 184 w 281"/>
                <a:gd name="T11" fmla="*/ 64 h 119"/>
                <a:gd name="T12" fmla="*/ 177 w 281"/>
                <a:gd name="T13" fmla="*/ 74 h 119"/>
                <a:gd name="T14" fmla="*/ 158 w 281"/>
                <a:gd name="T15" fmla="*/ 81 h 119"/>
                <a:gd name="T16" fmla="*/ 128 w 281"/>
                <a:gd name="T17" fmla="*/ 114 h 119"/>
                <a:gd name="T18" fmla="*/ 121 w 281"/>
                <a:gd name="T19" fmla="*/ 111 h 119"/>
                <a:gd name="T20" fmla="*/ 114 w 281"/>
                <a:gd name="T21" fmla="*/ 107 h 119"/>
                <a:gd name="T22" fmla="*/ 104 w 281"/>
                <a:gd name="T23" fmla="*/ 100 h 119"/>
                <a:gd name="T24" fmla="*/ 104 w 281"/>
                <a:gd name="T25" fmla="*/ 78 h 119"/>
                <a:gd name="T26" fmla="*/ 80 w 281"/>
                <a:gd name="T27" fmla="*/ 64 h 119"/>
                <a:gd name="T28" fmla="*/ 76 w 281"/>
                <a:gd name="T29" fmla="*/ 67 h 119"/>
                <a:gd name="T30" fmla="*/ 71 w 281"/>
                <a:gd name="T31" fmla="*/ 97 h 119"/>
                <a:gd name="T32" fmla="*/ 57 w 281"/>
                <a:gd name="T33" fmla="*/ 107 h 119"/>
                <a:gd name="T34" fmla="*/ 54 w 281"/>
                <a:gd name="T35" fmla="*/ 119 h 119"/>
                <a:gd name="T36" fmla="*/ 47 w 281"/>
                <a:gd name="T37" fmla="*/ 111 h 119"/>
                <a:gd name="T38" fmla="*/ 40 w 281"/>
                <a:gd name="T39" fmla="*/ 97 h 119"/>
                <a:gd name="T40" fmla="*/ 38 w 281"/>
                <a:gd name="T41" fmla="*/ 90 h 119"/>
                <a:gd name="T42" fmla="*/ 21 w 281"/>
                <a:gd name="T43" fmla="*/ 83 h 119"/>
                <a:gd name="T44" fmla="*/ 7 w 281"/>
                <a:gd name="T45" fmla="*/ 74 h 119"/>
                <a:gd name="T46" fmla="*/ 12 w 281"/>
                <a:gd name="T47" fmla="*/ 64 h 119"/>
                <a:gd name="T48" fmla="*/ 7 w 281"/>
                <a:gd name="T49" fmla="*/ 55 h 119"/>
                <a:gd name="T50" fmla="*/ 14 w 281"/>
                <a:gd name="T51" fmla="*/ 43 h 119"/>
                <a:gd name="T52" fmla="*/ 31 w 281"/>
                <a:gd name="T53" fmla="*/ 41 h 119"/>
                <a:gd name="T54" fmla="*/ 52 w 281"/>
                <a:gd name="T55" fmla="*/ 26 h 119"/>
                <a:gd name="T56" fmla="*/ 36 w 281"/>
                <a:gd name="T57" fmla="*/ 38 h 119"/>
                <a:gd name="T58" fmla="*/ 36 w 281"/>
                <a:gd name="T59" fmla="*/ 33 h 119"/>
                <a:gd name="T60" fmla="*/ 62 w 281"/>
                <a:gd name="T61" fmla="*/ 24 h 119"/>
                <a:gd name="T62" fmla="*/ 85 w 281"/>
                <a:gd name="T63" fmla="*/ 26 h 119"/>
                <a:gd name="T64" fmla="*/ 92 w 281"/>
                <a:gd name="T65" fmla="*/ 26 h 119"/>
                <a:gd name="T66" fmla="*/ 104 w 281"/>
                <a:gd name="T67" fmla="*/ 22 h 119"/>
                <a:gd name="T68" fmla="*/ 114 w 281"/>
                <a:gd name="T69" fmla="*/ 15 h 119"/>
                <a:gd name="T70" fmla="*/ 121 w 281"/>
                <a:gd name="T71" fmla="*/ 10 h 119"/>
                <a:gd name="T72" fmla="*/ 135 w 281"/>
                <a:gd name="T73" fmla="*/ 3 h 119"/>
                <a:gd name="T74" fmla="*/ 151 w 281"/>
                <a:gd name="T75" fmla="*/ 10 h 119"/>
                <a:gd name="T76" fmla="*/ 175 w 281"/>
                <a:gd name="T77" fmla="*/ 41 h 119"/>
                <a:gd name="T78" fmla="*/ 182 w 281"/>
                <a:gd name="T79" fmla="*/ 43 h 119"/>
                <a:gd name="T80" fmla="*/ 191 w 281"/>
                <a:gd name="T81" fmla="*/ 50 h 119"/>
                <a:gd name="T82" fmla="*/ 222 w 281"/>
                <a:gd name="T83" fmla="*/ 55 h 119"/>
                <a:gd name="T84" fmla="*/ 239 w 281"/>
                <a:gd name="T85" fmla="*/ 41 h 119"/>
                <a:gd name="T86" fmla="*/ 262 w 281"/>
                <a:gd name="T87" fmla="*/ 48 h 119"/>
                <a:gd name="T88" fmla="*/ 279 w 281"/>
                <a:gd name="T89" fmla="*/ 62 h 119"/>
                <a:gd name="T90" fmla="*/ 281 w 281"/>
                <a:gd name="T91" fmla="*/ 107 h 119"/>
                <a:gd name="T92" fmla="*/ 246 w 281"/>
                <a:gd name="T93" fmla="*/ 111 h 11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81"/>
                <a:gd name="T142" fmla="*/ 0 h 119"/>
                <a:gd name="T143" fmla="*/ 281 w 281"/>
                <a:gd name="T144" fmla="*/ 119 h 11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81" h="119">
                  <a:moveTo>
                    <a:pt x="246" y="111"/>
                  </a:moveTo>
                  <a:lnTo>
                    <a:pt x="246" y="107"/>
                  </a:lnTo>
                  <a:lnTo>
                    <a:pt x="241" y="100"/>
                  </a:lnTo>
                  <a:lnTo>
                    <a:pt x="232" y="95"/>
                  </a:lnTo>
                  <a:lnTo>
                    <a:pt x="222" y="95"/>
                  </a:lnTo>
                  <a:lnTo>
                    <a:pt x="222" y="81"/>
                  </a:lnTo>
                  <a:lnTo>
                    <a:pt x="217" y="78"/>
                  </a:lnTo>
                  <a:lnTo>
                    <a:pt x="217" y="74"/>
                  </a:lnTo>
                  <a:lnTo>
                    <a:pt x="210" y="67"/>
                  </a:lnTo>
                  <a:lnTo>
                    <a:pt x="206" y="62"/>
                  </a:lnTo>
                  <a:lnTo>
                    <a:pt x="191" y="62"/>
                  </a:lnTo>
                  <a:lnTo>
                    <a:pt x="184" y="64"/>
                  </a:lnTo>
                  <a:lnTo>
                    <a:pt x="184" y="67"/>
                  </a:lnTo>
                  <a:lnTo>
                    <a:pt x="177" y="74"/>
                  </a:lnTo>
                  <a:lnTo>
                    <a:pt x="168" y="78"/>
                  </a:lnTo>
                  <a:lnTo>
                    <a:pt x="158" y="81"/>
                  </a:lnTo>
                  <a:lnTo>
                    <a:pt x="154" y="88"/>
                  </a:lnTo>
                  <a:lnTo>
                    <a:pt x="128" y="114"/>
                  </a:lnTo>
                  <a:lnTo>
                    <a:pt x="125" y="114"/>
                  </a:lnTo>
                  <a:lnTo>
                    <a:pt x="121" y="111"/>
                  </a:lnTo>
                  <a:lnTo>
                    <a:pt x="118" y="107"/>
                  </a:lnTo>
                  <a:lnTo>
                    <a:pt x="114" y="107"/>
                  </a:lnTo>
                  <a:lnTo>
                    <a:pt x="109" y="100"/>
                  </a:lnTo>
                  <a:lnTo>
                    <a:pt x="104" y="100"/>
                  </a:lnTo>
                  <a:lnTo>
                    <a:pt x="102" y="83"/>
                  </a:lnTo>
                  <a:lnTo>
                    <a:pt x="104" y="78"/>
                  </a:lnTo>
                  <a:lnTo>
                    <a:pt x="104" y="67"/>
                  </a:lnTo>
                  <a:lnTo>
                    <a:pt x="80" y="64"/>
                  </a:lnTo>
                  <a:lnTo>
                    <a:pt x="76" y="64"/>
                  </a:lnTo>
                  <a:lnTo>
                    <a:pt x="76" y="67"/>
                  </a:lnTo>
                  <a:lnTo>
                    <a:pt x="71" y="95"/>
                  </a:lnTo>
                  <a:lnTo>
                    <a:pt x="71" y="97"/>
                  </a:lnTo>
                  <a:lnTo>
                    <a:pt x="64" y="100"/>
                  </a:lnTo>
                  <a:lnTo>
                    <a:pt x="57" y="107"/>
                  </a:lnTo>
                  <a:lnTo>
                    <a:pt x="54" y="114"/>
                  </a:lnTo>
                  <a:lnTo>
                    <a:pt x="54" y="119"/>
                  </a:lnTo>
                  <a:lnTo>
                    <a:pt x="52" y="119"/>
                  </a:lnTo>
                  <a:lnTo>
                    <a:pt x="47" y="111"/>
                  </a:lnTo>
                  <a:lnTo>
                    <a:pt x="47" y="104"/>
                  </a:lnTo>
                  <a:lnTo>
                    <a:pt x="40" y="97"/>
                  </a:lnTo>
                  <a:lnTo>
                    <a:pt x="40" y="95"/>
                  </a:lnTo>
                  <a:lnTo>
                    <a:pt x="38" y="90"/>
                  </a:lnTo>
                  <a:lnTo>
                    <a:pt x="28" y="88"/>
                  </a:lnTo>
                  <a:lnTo>
                    <a:pt x="21" y="83"/>
                  </a:lnTo>
                  <a:lnTo>
                    <a:pt x="12" y="78"/>
                  </a:lnTo>
                  <a:lnTo>
                    <a:pt x="7" y="74"/>
                  </a:lnTo>
                  <a:lnTo>
                    <a:pt x="7" y="67"/>
                  </a:lnTo>
                  <a:lnTo>
                    <a:pt x="12" y="64"/>
                  </a:lnTo>
                  <a:lnTo>
                    <a:pt x="7" y="57"/>
                  </a:lnTo>
                  <a:lnTo>
                    <a:pt x="7" y="55"/>
                  </a:lnTo>
                  <a:lnTo>
                    <a:pt x="0" y="48"/>
                  </a:lnTo>
                  <a:lnTo>
                    <a:pt x="14" y="43"/>
                  </a:lnTo>
                  <a:lnTo>
                    <a:pt x="24" y="43"/>
                  </a:lnTo>
                  <a:lnTo>
                    <a:pt x="31" y="41"/>
                  </a:lnTo>
                  <a:lnTo>
                    <a:pt x="52" y="33"/>
                  </a:lnTo>
                  <a:lnTo>
                    <a:pt x="52" y="26"/>
                  </a:lnTo>
                  <a:lnTo>
                    <a:pt x="47" y="26"/>
                  </a:lnTo>
                  <a:lnTo>
                    <a:pt x="36" y="38"/>
                  </a:lnTo>
                  <a:lnTo>
                    <a:pt x="28" y="38"/>
                  </a:lnTo>
                  <a:lnTo>
                    <a:pt x="36" y="33"/>
                  </a:lnTo>
                  <a:lnTo>
                    <a:pt x="47" y="26"/>
                  </a:lnTo>
                  <a:lnTo>
                    <a:pt x="62" y="24"/>
                  </a:lnTo>
                  <a:lnTo>
                    <a:pt x="85" y="24"/>
                  </a:lnTo>
                  <a:lnTo>
                    <a:pt x="85" y="26"/>
                  </a:lnTo>
                  <a:lnTo>
                    <a:pt x="88" y="31"/>
                  </a:lnTo>
                  <a:lnTo>
                    <a:pt x="92" y="26"/>
                  </a:lnTo>
                  <a:lnTo>
                    <a:pt x="92" y="24"/>
                  </a:lnTo>
                  <a:lnTo>
                    <a:pt x="104" y="22"/>
                  </a:lnTo>
                  <a:lnTo>
                    <a:pt x="111" y="22"/>
                  </a:lnTo>
                  <a:lnTo>
                    <a:pt x="114" y="15"/>
                  </a:lnTo>
                  <a:lnTo>
                    <a:pt x="118" y="15"/>
                  </a:lnTo>
                  <a:lnTo>
                    <a:pt x="121" y="10"/>
                  </a:lnTo>
                  <a:lnTo>
                    <a:pt x="128" y="15"/>
                  </a:lnTo>
                  <a:lnTo>
                    <a:pt x="135" y="3"/>
                  </a:lnTo>
                  <a:lnTo>
                    <a:pt x="144" y="0"/>
                  </a:lnTo>
                  <a:lnTo>
                    <a:pt x="151" y="10"/>
                  </a:lnTo>
                  <a:lnTo>
                    <a:pt x="175" y="10"/>
                  </a:lnTo>
                  <a:lnTo>
                    <a:pt x="175" y="41"/>
                  </a:lnTo>
                  <a:lnTo>
                    <a:pt x="177" y="41"/>
                  </a:lnTo>
                  <a:lnTo>
                    <a:pt x="182" y="43"/>
                  </a:lnTo>
                  <a:lnTo>
                    <a:pt x="184" y="43"/>
                  </a:lnTo>
                  <a:lnTo>
                    <a:pt x="191" y="50"/>
                  </a:lnTo>
                  <a:lnTo>
                    <a:pt x="201" y="57"/>
                  </a:lnTo>
                  <a:lnTo>
                    <a:pt x="222" y="55"/>
                  </a:lnTo>
                  <a:lnTo>
                    <a:pt x="222" y="41"/>
                  </a:lnTo>
                  <a:lnTo>
                    <a:pt x="239" y="41"/>
                  </a:lnTo>
                  <a:lnTo>
                    <a:pt x="251" y="43"/>
                  </a:lnTo>
                  <a:lnTo>
                    <a:pt x="262" y="48"/>
                  </a:lnTo>
                  <a:lnTo>
                    <a:pt x="279" y="48"/>
                  </a:lnTo>
                  <a:lnTo>
                    <a:pt x="279" y="62"/>
                  </a:lnTo>
                  <a:lnTo>
                    <a:pt x="281" y="81"/>
                  </a:lnTo>
                  <a:lnTo>
                    <a:pt x="281" y="107"/>
                  </a:lnTo>
                  <a:lnTo>
                    <a:pt x="241" y="114"/>
                  </a:lnTo>
                  <a:lnTo>
                    <a:pt x="246" y="11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79" name="Freeform 268">
              <a:extLst>
                <a:ext uri="{FF2B5EF4-FFF2-40B4-BE49-F238E27FC236}">
                  <a16:creationId xmlns:a16="http://schemas.microsoft.com/office/drawing/2014/main" id="{6EFF2EC8-F607-42B0-94E0-86C6007091B3}"/>
                </a:ext>
              </a:extLst>
            </p:cNvPr>
            <p:cNvSpPr>
              <a:spLocks/>
            </p:cNvSpPr>
            <p:nvPr/>
          </p:nvSpPr>
          <p:spPr bwMode="gray">
            <a:xfrm rot="47099">
              <a:off x="1975326" y="2743670"/>
              <a:ext cx="7906" cy="8834"/>
            </a:xfrm>
            <a:custGeom>
              <a:avLst/>
              <a:gdLst>
                <a:gd name="T0" fmla="*/ 17 w 17"/>
                <a:gd name="T1" fmla="*/ 2 h 19"/>
                <a:gd name="T2" fmla="*/ 17 w 17"/>
                <a:gd name="T3" fmla="*/ 0 h 19"/>
                <a:gd name="T4" fmla="*/ 17 w 17"/>
                <a:gd name="T5" fmla="*/ 12 h 19"/>
                <a:gd name="T6" fmla="*/ 12 w 17"/>
                <a:gd name="T7" fmla="*/ 17 h 19"/>
                <a:gd name="T8" fmla="*/ 5 w 17"/>
                <a:gd name="T9" fmla="*/ 17 h 19"/>
                <a:gd name="T10" fmla="*/ 3 w 17"/>
                <a:gd name="T11" fmla="*/ 19 h 19"/>
                <a:gd name="T12" fmla="*/ 0 w 17"/>
                <a:gd name="T13" fmla="*/ 17 h 19"/>
                <a:gd name="T14" fmla="*/ 0 w 17"/>
                <a:gd name="T15" fmla="*/ 12 h 19"/>
                <a:gd name="T16" fmla="*/ 3 w 17"/>
                <a:gd name="T17" fmla="*/ 12 h 19"/>
                <a:gd name="T18" fmla="*/ 3 w 17"/>
                <a:gd name="T19" fmla="*/ 9 h 19"/>
                <a:gd name="T20" fmla="*/ 10 w 17"/>
                <a:gd name="T21" fmla="*/ 5 h 19"/>
                <a:gd name="T22" fmla="*/ 10 w 17"/>
                <a:gd name="T23" fmla="*/ 2 h 19"/>
                <a:gd name="T24" fmla="*/ 12 w 17"/>
                <a:gd name="T25" fmla="*/ 0 h 19"/>
                <a:gd name="T26" fmla="*/ 12 w 17"/>
                <a:gd name="T27" fmla="*/ 2 h 19"/>
                <a:gd name="T28" fmla="*/ 17 w 17"/>
                <a:gd name="T29" fmla="*/ 2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9"/>
                <a:gd name="T47" fmla="*/ 17 w 1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9">
                  <a:moveTo>
                    <a:pt x="17" y="2"/>
                  </a:moveTo>
                  <a:lnTo>
                    <a:pt x="17" y="0"/>
                  </a:lnTo>
                  <a:lnTo>
                    <a:pt x="17" y="12"/>
                  </a:lnTo>
                  <a:lnTo>
                    <a:pt x="12" y="17"/>
                  </a:lnTo>
                  <a:lnTo>
                    <a:pt x="5" y="17"/>
                  </a:lnTo>
                  <a:lnTo>
                    <a:pt x="3" y="19"/>
                  </a:lnTo>
                  <a:lnTo>
                    <a:pt x="0" y="17"/>
                  </a:lnTo>
                  <a:lnTo>
                    <a:pt x="0" y="12"/>
                  </a:lnTo>
                  <a:lnTo>
                    <a:pt x="3" y="12"/>
                  </a:lnTo>
                  <a:lnTo>
                    <a:pt x="3" y="9"/>
                  </a:lnTo>
                  <a:lnTo>
                    <a:pt x="10" y="5"/>
                  </a:lnTo>
                  <a:lnTo>
                    <a:pt x="10" y="2"/>
                  </a:lnTo>
                  <a:lnTo>
                    <a:pt x="12" y="0"/>
                  </a:lnTo>
                  <a:lnTo>
                    <a:pt x="12" y="2"/>
                  </a:lnTo>
                  <a:lnTo>
                    <a:pt x="1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0" name="Freeform 269">
              <a:extLst>
                <a:ext uri="{FF2B5EF4-FFF2-40B4-BE49-F238E27FC236}">
                  <a16:creationId xmlns:a16="http://schemas.microsoft.com/office/drawing/2014/main" id="{63C6CE1C-00F2-4969-A523-9044C0D6F68C}"/>
                </a:ext>
              </a:extLst>
            </p:cNvPr>
            <p:cNvSpPr>
              <a:spLocks/>
            </p:cNvSpPr>
            <p:nvPr/>
          </p:nvSpPr>
          <p:spPr bwMode="gray">
            <a:xfrm rot="47099">
              <a:off x="1954981" y="2703832"/>
              <a:ext cx="3255" cy="3255"/>
            </a:xfrm>
            <a:custGeom>
              <a:avLst/>
              <a:gdLst>
                <a:gd name="T0" fmla="*/ 5 w 7"/>
                <a:gd name="T1" fmla="*/ 0 h 7"/>
                <a:gd name="T2" fmla="*/ 7 w 7"/>
                <a:gd name="T3" fmla="*/ 5 h 7"/>
                <a:gd name="T4" fmla="*/ 7 w 7"/>
                <a:gd name="T5" fmla="*/ 7 h 7"/>
                <a:gd name="T6" fmla="*/ 0 w 7"/>
                <a:gd name="T7" fmla="*/ 7 h 7"/>
                <a:gd name="T8" fmla="*/ 0 w 7"/>
                <a:gd name="T9" fmla="*/ 0 h 7"/>
                <a:gd name="T10" fmla="*/ 5 w 7"/>
                <a:gd name="T11" fmla="*/ 0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5" y="0"/>
                  </a:moveTo>
                  <a:lnTo>
                    <a:pt x="7" y="5"/>
                  </a:lnTo>
                  <a:lnTo>
                    <a:pt x="7" y="7"/>
                  </a:lnTo>
                  <a:lnTo>
                    <a:pt x="0" y="7"/>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1" name="Freeform 270">
              <a:extLst>
                <a:ext uri="{FF2B5EF4-FFF2-40B4-BE49-F238E27FC236}">
                  <a16:creationId xmlns:a16="http://schemas.microsoft.com/office/drawing/2014/main" id="{A6193123-B057-40A5-AA7C-C18C25AEDEA7}"/>
                </a:ext>
              </a:extLst>
            </p:cNvPr>
            <p:cNvSpPr>
              <a:spLocks/>
            </p:cNvSpPr>
            <p:nvPr/>
          </p:nvSpPr>
          <p:spPr bwMode="gray">
            <a:xfrm rot="47099">
              <a:off x="1905495" y="2709885"/>
              <a:ext cx="35342" cy="18599"/>
            </a:xfrm>
            <a:custGeom>
              <a:avLst/>
              <a:gdLst>
                <a:gd name="T0" fmla="*/ 47 w 76"/>
                <a:gd name="T1" fmla="*/ 3 h 40"/>
                <a:gd name="T2" fmla="*/ 50 w 76"/>
                <a:gd name="T3" fmla="*/ 3 h 40"/>
                <a:gd name="T4" fmla="*/ 54 w 76"/>
                <a:gd name="T5" fmla="*/ 7 h 40"/>
                <a:gd name="T6" fmla="*/ 64 w 76"/>
                <a:gd name="T7" fmla="*/ 17 h 40"/>
                <a:gd name="T8" fmla="*/ 66 w 76"/>
                <a:gd name="T9" fmla="*/ 19 h 40"/>
                <a:gd name="T10" fmla="*/ 76 w 76"/>
                <a:gd name="T11" fmla="*/ 31 h 40"/>
                <a:gd name="T12" fmla="*/ 76 w 76"/>
                <a:gd name="T13" fmla="*/ 40 h 40"/>
                <a:gd name="T14" fmla="*/ 73 w 76"/>
                <a:gd name="T15" fmla="*/ 40 h 40"/>
                <a:gd name="T16" fmla="*/ 71 w 76"/>
                <a:gd name="T17" fmla="*/ 36 h 40"/>
                <a:gd name="T18" fmla="*/ 64 w 76"/>
                <a:gd name="T19" fmla="*/ 36 h 40"/>
                <a:gd name="T20" fmla="*/ 59 w 76"/>
                <a:gd name="T21" fmla="*/ 40 h 40"/>
                <a:gd name="T22" fmla="*/ 50 w 76"/>
                <a:gd name="T23" fmla="*/ 36 h 40"/>
                <a:gd name="T24" fmla="*/ 47 w 76"/>
                <a:gd name="T25" fmla="*/ 33 h 40"/>
                <a:gd name="T26" fmla="*/ 24 w 76"/>
                <a:gd name="T27" fmla="*/ 33 h 40"/>
                <a:gd name="T28" fmla="*/ 17 w 76"/>
                <a:gd name="T29" fmla="*/ 31 h 40"/>
                <a:gd name="T30" fmla="*/ 14 w 76"/>
                <a:gd name="T31" fmla="*/ 31 h 40"/>
                <a:gd name="T32" fmla="*/ 14 w 76"/>
                <a:gd name="T33" fmla="*/ 33 h 40"/>
                <a:gd name="T34" fmla="*/ 9 w 76"/>
                <a:gd name="T35" fmla="*/ 31 h 40"/>
                <a:gd name="T36" fmla="*/ 7 w 76"/>
                <a:gd name="T37" fmla="*/ 31 h 40"/>
                <a:gd name="T38" fmla="*/ 0 w 76"/>
                <a:gd name="T39" fmla="*/ 26 h 40"/>
                <a:gd name="T40" fmla="*/ 0 w 76"/>
                <a:gd name="T41" fmla="*/ 17 h 40"/>
                <a:gd name="T42" fmla="*/ 2 w 76"/>
                <a:gd name="T43" fmla="*/ 12 h 40"/>
                <a:gd name="T44" fmla="*/ 7 w 76"/>
                <a:gd name="T45" fmla="*/ 10 h 40"/>
                <a:gd name="T46" fmla="*/ 14 w 76"/>
                <a:gd name="T47" fmla="*/ 10 h 40"/>
                <a:gd name="T48" fmla="*/ 19 w 76"/>
                <a:gd name="T49" fmla="*/ 7 h 40"/>
                <a:gd name="T50" fmla="*/ 31 w 76"/>
                <a:gd name="T51" fmla="*/ 3 h 40"/>
                <a:gd name="T52" fmla="*/ 33 w 76"/>
                <a:gd name="T53" fmla="*/ 0 h 40"/>
                <a:gd name="T54" fmla="*/ 43 w 76"/>
                <a:gd name="T55" fmla="*/ 0 h 40"/>
                <a:gd name="T56" fmla="*/ 47 w 76"/>
                <a:gd name="T57" fmla="*/ 3 h 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6"/>
                <a:gd name="T88" fmla="*/ 0 h 40"/>
                <a:gd name="T89" fmla="*/ 76 w 76"/>
                <a:gd name="T90" fmla="*/ 40 h 4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6" h="40">
                  <a:moveTo>
                    <a:pt x="47" y="3"/>
                  </a:moveTo>
                  <a:lnTo>
                    <a:pt x="50" y="3"/>
                  </a:lnTo>
                  <a:lnTo>
                    <a:pt x="54" y="7"/>
                  </a:lnTo>
                  <a:lnTo>
                    <a:pt x="64" y="17"/>
                  </a:lnTo>
                  <a:lnTo>
                    <a:pt x="66" y="19"/>
                  </a:lnTo>
                  <a:lnTo>
                    <a:pt x="76" y="31"/>
                  </a:lnTo>
                  <a:lnTo>
                    <a:pt x="76" y="40"/>
                  </a:lnTo>
                  <a:lnTo>
                    <a:pt x="73" y="40"/>
                  </a:lnTo>
                  <a:lnTo>
                    <a:pt x="71" y="36"/>
                  </a:lnTo>
                  <a:lnTo>
                    <a:pt x="64" y="36"/>
                  </a:lnTo>
                  <a:lnTo>
                    <a:pt x="59" y="40"/>
                  </a:lnTo>
                  <a:lnTo>
                    <a:pt x="50" y="36"/>
                  </a:lnTo>
                  <a:lnTo>
                    <a:pt x="47" y="33"/>
                  </a:lnTo>
                  <a:lnTo>
                    <a:pt x="24" y="33"/>
                  </a:lnTo>
                  <a:lnTo>
                    <a:pt x="17" y="31"/>
                  </a:lnTo>
                  <a:lnTo>
                    <a:pt x="14" y="31"/>
                  </a:lnTo>
                  <a:lnTo>
                    <a:pt x="14" y="33"/>
                  </a:lnTo>
                  <a:lnTo>
                    <a:pt x="9" y="31"/>
                  </a:lnTo>
                  <a:lnTo>
                    <a:pt x="7" y="31"/>
                  </a:lnTo>
                  <a:lnTo>
                    <a:pt x="0" y="26"/>
                  </a:lnTo>
                  <a:lnTo>
                    <a:pt x="0" y="17"/>
                  </a:lnTo>
                  <a:lnTo>
                    <a:pt x="2" y="12"/>
                  </a:lnTo>
                  <a:lnTo>
                    <a:pt x="7" y="10"/>
                  </a:lnTo>
                  <a:lnTo>
                    <a:pt x="14" y="10"/>
                  </a:lnTo>
                  <a:lnTo>
                    <a:pt x="19" y="7"/>
                  </a:lnTo>
                  <a:lnTo>
                    <a:pt x="31" y="3"/>
                  </a:lnTo>
                  <a:lnTo>
                    <a:pt x="33" y="0"/>
                  </a:lnTo>
                  <a:lnTo>
                    <a:pt x="43" y="0"/>
                  </a:lnTo>
                  <a:lnTo>
                    <a:pt x="47"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2" name="Freeform 271">
              <a:extLst>
                <a:ext uri="{FF2B5EF4-FFF2-40B4-BE49-F238E27FC236}">
                  <a16:creationId xmlns:a16="http://schemas.microsoft.com/office/drawing/2014/main" id="{A11BA6D0-A0E8-4BAB-BDA3-E6572C999513}"/>
                </a:ext>
              </a:extLst>
            </p:cNvPr>
            <p:cNvSpPr>
              <a:spLocks/>
            </p:cNvSpPr>
            <p:nvPr/>
          </p:nvSpPr>
          <p:spPr bwMode="gray">
            <a:xfrm rot="47099">
              <a:off x="1949499" y="2695861"/>
              <a:ext cx="4651" cy="4649"/>
            </a:xfrm>
            <a:custGeom>
              <a:avLst/>
              <a:gdLst>
                <a:gd name="T0" fmla="*/ 5 w 10"/>
                <a:gd name="T1" fmla="*/ 5 h 10"/>
                <a:gd name="T2" fmla="*/ 10 w 10"/>
                <a:gd name="T3" fmla="*/ 8 h 10"/>
                <a:gd name="T4" fmla="*/ 10 w 10"/>
                <a:gd name="T5" fmla="*/ 10 h 10"/>
                <a:gd name="T6" fmla="*/ 3 w 10"/>
                <a:gd name="T7" fmla="*/ 10 h 10"/>
                <a:gd name="T8" fmla="*/ 0 w 10"/>
                <a:gd name="T9" fmla="*/ 8 h 10"/>
                <a:gd name="T10" fmla="*/ 0 w 10"/>
                <a:gd name="T11" fmla="*/ 5 h 10"/>
                <a:gd name="T12" fmla="*/ 3 w 10"/>
                <a:gd name="T13" fmla="*/ 0 h 10"/>
                <a:gd name="T14" fmla="*/ 5 w 10"/>
                <a:gd name="T15" fmla="*/ 0 h 10"/>
                <a:gd name="T16" fmla="*/ 5 w 10"/>
                <a:gd name="T17" fmla="*/ 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0"/>
                <a:gd name="T29" fmla="*/ 10 w 1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0">
                  <a:moveTo>
                    <a:pt x="5" y="5"/>
                  </a:moveTo>
                  <a:lnTo>
                    <a:pt x="10" y="8"/>
                  </a:lnTo>
                  <a:lnTo>
                    <a:pt x="10" y="10"/>
                  </a:lnTo>
                  <a:lnTo>
                    <a:pt x="3" y="10"/>
                  </a:lnTo>
                  <a:lnTo>
                    <a:pt x="0" y="8"/>
                  </a:lnTo>
                  <a:lnTo>
                    <a:pt x="0" y="5"/>
                  </a:lnTo>
                  <a:lnTo>
                    <a:pt x="3" y="0"/>
                  </a:lnTo>
                  <a:lnTo>
                    <a:pt x="5" y="0"/>
                  </a:lnTo>
                  <a:lnTo>
                    <a:pt x="5"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3" name="Freeform 272">
              <a:extLst>
                <a:ext uri="{FF2B5EF4-FFF2-40B4-BE49-F238E27FC236}">
                  <a16:creationId xmlns:a16="http://schemas.microsoft.com/office/drawing/2014/main" id="{B0D936D7-6B8C-42C7-B071-3017CACB9DA6}"/>
                </a:ext>
              </a:extLst>
            </p:cNvPr>
            <p:cNvSpPr>
              <a:spLocks/>
            </p:cNvSpPr>
            <p:nvPr/>
          </p:nvSpPr>
          <p:spPr bwMode="gray">
            <a:xfrm rot="47099">
              <a:off x="1940619" y="2627920"/>
              <a:ext cx="15347" cy="11159"/>
            </a:xfrm>
            <a:custGeom>
              <a:avLst/>
              <a:gdLst>
                <a:gd name="T0" fmla="*/ 31 w 33"/>
                <a:gd name="T1" fmla="*/ 2 h 24"/>
                <a:gd name="T2" fmla="*/ 24 w 33"/>
                <a:gd name="T3" fmla="*/ 7 h 24"/>
                <a:gd name="T4" fmla="*/ 10 w 33"/>
                <a:gd name="T5" fmla="*/ 14 h 24"/>
                <a:gd name="T6" fmla="*/ 7 w 33"/>
                <a:gd name="T7" fmla="*/ 19 h 24"/>
                <a:gd name="T8" fmla="*/ 0 w 33"/>
                <a:gd name="T9" fmla="*/ 24 h 24"/>
                <a:gd name="T10" fmla="*/ 3 w 33"/>
                <a:gd name="T11" fmla="*/ 19 h 24"/>
                <a:gd name="T12" fmla="*/ 3 w 33"/>
                <a:gd name="T13" fmla="*/ 17 h 24"/>
                <a:gd name="T14" fmla="*/ 14 w 33"/>
                <a:gd name="T15" fmla="*/ 9 h 24"/>
                <a:gd name="T16" fmla="*/ 17 w 33"/>
                <a:gd name="T17" fmla="*/ 9 h 24"/>
                <a:gd name="T18" fmla="*/ 21 w 33"/>
                <a:gd name="T19" fmla="*/ 7 h 24"/>
                <a:gd name="T20" fmla="*/ 26 w 33"/>
                <a:gd name="T21" fmla="*/ 2 h 24"/>
                <a:gd name="T22" fmla="*/ 31 w 33"/>
                <a:gd name="T23" fmla="*/ 0 h 24"/>
                <a:gd name="T24" fmla="*/ 33 w 33"/>
                <a:gd name="T25" fmla="*/ 0 h 24"/>
                <a:gd name="T26" fmla="*/ 31 w 33"/>
                <a:gd name="T27" fmla="*/ 2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4"/>
                <a:gd name="T44" fmla="*/ 33 w 33"/>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4">
                  <a:moveTo>
                    <a:pt x="31" y="2"/>
                  </a:moveTo>
                  <a:lnTo>
                    <a:pt x="24" y="7"/>
                  </a:lnTo>
                  <a:lnTo>
                    <a:pt x="10" y="14"/>
                  </a:lnTo>
                  <a:lnTo>
                    <a:pt x="7" y="19"/>
                  </a:lnTo>
                  <a:lnTo>
                    <a:pt x="0" y="24"/>
                  </a:lnTo>
                  <a:lnTo>
                    <a:pt x="3" y="19"/>
                  </a:lnTo>
                  <a:lnTo>
                    <a:pt x="3" y="17"/>
                  </a:lnTo>
                  <a:lnTo>
                    <a:pt x="14" y="9"/>
                  </a:lnTo>
                  <a:lnTo>
                    <a:pt x="17" y="9"/>
                  </a:lnTo>
                  <a:lnTo>
                    <a:pt x="21" y="7"/>
                  </a:lnTo>
                  <a:lnTo>
                    <a:pt x="26" y="2"/>
                  </a:lnTo>
                  <a:lnTo>
                    <a:pt x="31" y="0"/>
                  </a:lnTo>
                  <a:lnTo>
                    <a:pt x="33" y="0"/>
                  </a:lnTo>
                  <a:lnTo>
                    <a:pt x="31"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4" name="Freeform 273">
              <a:extLst>
                <a:ext uri="{FF2B5EF4-FFF2-40B4-BE49-F238E27FC236}">
                  <a16:creationId xmlns:a16="http://schemas.microsoft.com/office/drawing/2014/main" id="{89581769-2EA3-49DF-BA12-EC7B5C5F26BF}"/>
                </a:ext>
              </a:extLst>
            </p:cNvPr>
            <p:cNvSpPr>
              <a:spLocks/>
            </p:cNvSpPr>
            <p:nvPr/>
          </p:nvSpPr>
          <p:spPr bwMode="gray">
            <a:xfrm rot="47099">
              <a:off x="1942649" y="2580432"/>
              <a:ext cx="3255" cy="13484"/>
            </a:xfrm>
            <a:custGeom>
              <a:avLst/>
              <a:gdLst>
                <a:gd name="T0" fmla="*/ 4 w 7"/>
                <a:gd name="T1" fmla="*/ 0 h 29"/>
                <a:gd name="T2" fmla="*/ 7 w 7"/>
                <a:gd name="T3" fmla="*/ 5 h 29"/>
                <a:gd name="T4" fmla="*/ 4 w 7"/>
                <a:gd name="T5" fmla="*/ 22 h 29"/>
                <a:gd name="T6" fmla="*/ 4 w 7"/>
                <a:gd name="T7" fmla="*/ 29 h 29"/>
                <a:gd name="T8" fmla="*/ 4 w 7"/>
                <a:gd name="T9" fmla="*/ 12 h 29"/>
                <a:gd name="T10" fmla="*/ 0 w 7"/>
                <a:gd name="T11" fmla="*/ 5 h 29"/>
                <a:gd name="T12" fmla="*/ 4 w 7"/>
                <a:gd name="T13" fmla="*/ 0 h 29"/>
                <a:gd name="T14" fmla="*/ 0 60000 65536"/>
                <a:gd name="T15" fmla="*/ 0 60000 65536"/>
                <a:gd name="T16" fmla="*/ 0 60000 65536"/>
                <a:gd name="T17" fmla="*/ 0 60000 65536"/>
                <a:gd name="T18" fmla="*/ 0 60000 65536"/>
                <a:gd name="T19" fmla="*/ 0 60000 65536"/>
                <a:gd name="T20" fmla="*/ 0 60000 65536"/>
                <a:gd name="T21" fmla="*/ 0 w 7"/>
                <a:gd name="T22" fmla="*/ 0 h 29"/>
                <a:gd name="T23" fmla="*/ 7 w 7"/>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29">
                  <a:moveTo>
                    <a:pt x="4" y="0"/>
                  </a:moveTo>
                  <a:lnTo>
                    <a:pt x="7" y="5"/>
                  </a:lnTo>
                  <a:lnTo>
                    <a:pt x="4" y="22"/>
                  </a:lnTo>
                  <a:lnTo>
                    <a:pt x="4" y="29"/>
                  </a:lnTo>
                  <a:lnTo>
                    <a:pt x="4" y="12"/>
                  </a:lnTo>
                  <a:lnTo>
                    <a:pt x="0" y="5"/>
                  </a:lnTo>
                  <a:lnTo>
                    <a:pt x="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5" name="Freeform 274">
              <a:extLst>
                <a:ext uri="{FF2B5EF4-FFF2-40B4-BE49-F238E27FC236}">
                  <a16:creationId xmlns:a16="http://schemas.microsoft.com/office/drawing/2014/main" id="{E9BE422E-4E8F-457F-B4D2-0F173D688605}"/>
                </a:ext>
              </a:extLst>
            </p:cNvPr>
            <p:cNvSpPr>
              <a:spLocks/>
            </p:cNvSpPr>
            <p:nvPr/>
          </p:nvSpPr>
          <p:spPr bwMode="gray">
            <a:xfrm rot="47099">
              <a:off x="1944712" y="2565124"/>
              <a:ext cx="4651" cy="14414"/>
            </a:xfrm>
            <a:custGeom>
              <a:avLst/>
              <a:gdLst>
                <a:gd name="T0" fmla="*/ 0 w 10"/>
                <a:gd name="T1" fmla="*/ 31 h 31"/>
                <a:gd name="T2" fmla="*/ 0 w 10"/>
                <a:gd name="T3" fmla="*/ 22 h 31"/>
                <a:gd name="T4" fmla="*/ 3 w 10"/>
                <a:gd name="T5" fmla="*/ 17 h 31"/>
                <a:gd name="T6" fmla="*/ 0 w 10"/>
                <a:gd name="T7" fmla="*/ 15 h 31"/>
                <a:gd name="T8" fmla="*/ 0 w 10"/>
                <a:gd name="T9" fmla="*/ 0 h 31"/>
                <a:gd name="T10" fmla="*/ 3 w 10"/>
                <a:gd name="T11" fmla="*/ 0 h 31"/>
                <a:gd name="T12" fmla="*/ 10 w 10"/>
                <a:gd name="T13" fmla="*/ 12 h 31"/>
                <a:gd name="T14" fmla="*/ 10 w 10"/>
                <a:gd name="T15" fmla="*/ 24 h 31"/>
                <a:gd name="T16" fmla="*/ 3 w 10"/>
                <a:gd name="T17" fmla="*/ 29 h 31"/>
                <a:gd name="T18" fmla="*/ 0 w 10"/>
                <a:gd name="T19" fmla="*/ 31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31"/>
                <a:gd name="T32" fmla="*/ 10 w 10"/>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31">
                  <a:moveTo>
                    <a:pt x="0" y="31"/>
                  </a:moveTo>
                  <a:lnTo>
                    <a:pt x="0" y="22"/>
                  </a:lnTo>
                  <a:lnTo>
                    <a:pt x="3" y="17"/>
                  </a:lnTo>
                  <a:lnTo>
                    <a:pt x="0" y="15"/>
                  </a:lnTo>
                  <a:lnTo>
                    <a:pt x="0" y="0"/>
                  </a:lnTo>
                  <a:lnTo>
                    <a:pt x="3" y="0"/>
                  </a:lnTo>
                  <a:lnTo>
                    <a:pt x="10" y="12"/>
                  </a:lnTo>
                  <a:lnTo>
                    <a:pt x="10" y="24"/>
                  </a:lnTo>
                  <a:lnTo>
                    <a:pt x="3" y="29"/>
                  </a:lnTo>
                  <a:lnTo>
                    <a:pt x="0" y="3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6" name="Freeform 275">
              <a:extLst>
                <a:ext uri="{FF2B5EF4-FFF2-40B4-BE49-F238E27FC236}">
                  <a16:creationId xmlns:a16="http://schemas.microsoft.com/office/drawing/2014/main" id="{6196077B-C7E7-4D47-9924-5341A4728030}"/>
                </a:ext>
              </a:extLst>
            </p:cNvPr>
            <p:cNvSpPr>
              <a:spLocks/>
            </p:cNvSpPr>
            <p:nvPr/>
          </p:nvSpPr>
          <p:spPr bwMode="gray">
            <a:xfrm rot="47099">
              <a:off x="1916303" y="2567096"/>
              <a:ext cx="9766" cy="16274"/>
            </a:xfrm>
            <a:custGeom>
              <a:avLst/>
              <a:gdLst>
                <a:gd name="T0" fmla="*/ 5 w 21"/>
                <a:gd name="T1" fmla="*/ 35 h 35"/>
                <a:gd name="T2" fmla="*/ 0 w 21"/>
                <a:gd name="T3" fmla="*/ 28 h 35"/>
                <a:gd name="T4" fmla="*/ 5 w 21"/>
                <a:gd name="T5" fmla="*/ 26 h 35"/>
                <a:gd name="T6" fmla="*/ 5 w 21"/>
                <a:gd name="T7" fmla="*/ 24 h 35"/>
                <a:gd name="T8" fmla="*/ 12 w 21"/>
                <a:gd name="T9" fmla="*/ 19 h 35"/>
                <a:gd name="T10" fmla="*/ 14 w 21"/>
                <a:gd name="T11" fmla="*/ 17 h 35"/>
                <a:gd name="T12" fmla="*/ 16 w 21"/>
                <a:gd name="T13" fmla="*/ 17 h 35"/>
                <a:gd name="T14" fmla="*/ 16 w 21"/>
                <a:gd name="T15" fmla="*/ 12 h 35"/>
                <a:gd name="T16" fmla="*/ 21 w 21"/>
                <a:gd name="T17" fmla="*/ 12 h 35"/>
                <a:gd name="T18" fmla="*/ 21 w 21"/>
                <a:gd name="T19" fmla="*/ 0 h 35"/>
                <a:gd name="T20" fmla="*/ 21 w 21"/>
                <a:gd name="T21" fmla="*/ 19 h 35"/>
                <a:gd name="T22" fmla="*/ 12 w 21"/>
                <a:gd name="T23" fmla="*/ 28 h 35"/>
                <a:gd name="T24" fmla="*/ 7 w 21"/>
                <a:gd name="T25" fmla="*/ 33 h 35"/>
                <a:gd name="T26" fmla="*/ 5 w 21"/>
                <a:gd name="T27" fmla="*/ 35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35"/>
                <a:gd name="T44" fmla="*/ 21 w 21"/>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35">
                  <a:moveTo>
                    <a:pt x="5" y="35"/>
                  </a:moveTo>
                  <a:lnTo>
                    <a:pt x="0" y="28"/>
                  </a:lnTo>
                  <a:lnTo>
                    <a:pt x="5" y="26"/>
                  </a:lnTo>
                  <a:lnTo>
                    <a:pt x="5" y="24"/>
                  </a:lnTo>
                  <a:lnTo>
                    <a:pt x="12" y="19"/>
                  </a:lnTo>
                  <a:lnTo>
                    <a:pt x="14" y="17"/>
                  </a:lnTo>
                  <a:lnTo>
                    <a:pt x="16" y="17"/>
                  </a:lnTo>
                  <a:lnTo>
                    <a:pt x="16" y="12"/>
                  </a:lnTo>
                  <a:lnTo>
                    <a:pt x="21" y="12"/>
                  </a:lnTo>
                  <a:lnTo>
                    <a:pt x="21" y="0"/>
                  </a:lnTo>
                  <a:lnTo>
                    <a:pt x="21" y="19"/>
                  </a:lnTo>
                  <a:lnTo>
                    <a:pt x="12" y="28"/>
                  </a:lnTo>
                  <a:lnTo>
                    <a:pt x="7" y="33"/>
                  </a:lnTo>
                  <a:lnTo>
                    <a:pt x="5" y="3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7" name="Freeform 276">
              <a:extLst>
                <a:ext uri="{FF2B5EF4-FFF2-40B4-BE49-F238E27FC236}">
                  <a16:creationId xmlns:a16="http://schemas.microsoft.com/office/drawing/2014/main" id="{77D36BEE-CECF-403A-A57C-3061ACF9B819}"/>
                </a:ext>
              </a:extLst>
            </p:cNvPr>
            <p:cNvSpPr>
              <a:spLocks/>
            </p:cNvSpPr>
            <p:nvPr/>
          </p:nvSpPr>
          <p:spPr bwMode="gray">
            <a:xfrm rot="47099">
              <a:off x="1923666" y="2564006"/>
              <a:ext cx="19066" cy="33944"/>
            </a:xfrm>
            <a:custGeom>
              <a:avLst/>
              <a:gdLst>
                <a:gd name="T0" fmla="*/ 12 w 41"/>
                <a:gd name="T1" fmla="*/ 73 h 73"/>
                <a:gd name="T2" fmla="*/ 15 w 41"/>
                <a:gd name="T3" fmla="*/ 71 h 73"/>
                <a:gd name="T4" fmla="*/ 19 w 41"/>
                <a:gd name="T5" fmla="*/ 54 h 73"/>
                <a:gd name="T6" fmla="*/ 19 w 41"/>
                <a:gd name="T7" fmla="*/ 42 h 73"/>
                <a:gd name="T8" fmla="*/ 22 w 41"/>
                <a:gd name="T9" fmla="*/ 42 h 73"/>
                <a:gd name="T10" fmla="*/ 22 w 41"/>
                <a:gd name="T11" fmla="*/ 40 h 73"/>
                <a:gd name="T12" fmla="*/ 15 w 41"/>
                <a:gd name="T13" fmla="*/ 40 h 73"/>
                <a:gd name="T14" fmla="*/ 15 w 41"/>
                <a:gd name="T15" fmla="*/ 42 h 73"/>
                <a:gd name="T16" fmla="*/ 12 w 41"/>
                <a:gd name="T17" fmla="*/ 50 h 73"/>
                <a:gd name="T18" fmla="*/ 8 w 41"/>
                <a:gd name="T19" fmla="*/ 64 h 73"/>
                <a:gd name="T20" fmla="*/ 8 w 41"/>
                <a:gd name="T21" fmla="*/ 71 h 73"/>
                <a:gd name="T22" fmla="*/ 5 w 41"/>
                <a:gd name="T23" fmla="*/ 71 h 73"/>
                <a:gd name="T24" fmla="*/ 0 w 41"/>
                <a:gd name="T25" fmla="*/ 66 h 73"/>
                <a:gd name="T26" fmla="*/ 0 w 41"/>
                <a:gd name="T27" fmla="*/ 59 h 73"/>
                <a:gd name="T28" fmla="*/ 5 w 41"/>
                <a:gd name="T29" fmla="*/ 47 h 73"/>
                <a:gd name="T30" fmla="*/ 8 w 41"/>
                <a:gd name="T31" fmla="*/ 35 h 73"/>
                <a:gd name="T32" fmla="*/ 12 w 41"/>
                <a:gd name="T33" fmla="*/ 33 h 73"/>
                <a:gd name="T34" fmla="*/ 12 w 41"/>
                <a:gd name="T35" fmla="*/ 7 h 73"/>
                <a:gd name="T36" fmla="*/ 8 w 41"/>
                <a:gd name="T37" fmla="*/ 7 h 73"/>
                <a:gd name="T38" fmla="*/ 8 w 41"/>
                <a:gd name="T39" fmla="*/ 2 h 73"/>
                <a:gd name="T40" fmla="*/ 12 w 41"/>
                <a:gd name="T41" fmla="*/ 7 h 73"/>
                <a:gd name="T42" fmla="*/ 15 w 41"/>
                <a:gd name="T43" fmla="*/ 14 h 73"/>
                <a:gd name="T44" fmla="*/ 15 w 41"/>
                <a:gd name="T45" fmla="*/ 35 h 73"/>
                <a:gd name="T46" fmla="*/ 19 w 41"/>
                <a:gd name="T47" fmla="*/ 33 h 73"/>
                <a:gd name="T48" fmla="*/ 19 w 41"/>
                <a:gd name="T49" fmla="*/ 0 h 73"/>
                <a:gd name="T50" fmla="*/ 24 w 41"/>
                <a:gd name="T51" fmla="*/ 0 h 73"/>
                <a:gd name="T52" fmla="*/ 24 w 41"/>
                <a:gd name="T53" fmla="*/ 2 h 73"/>
                <a:gd name="T54" fmla="*/ 29 w 41"/>
                <a:gd name="T55" fmla="*/ 7 h 73"/>
                <a:gd name="T56" fmla="*/ 38 w 41"/>
                <a:gd name="T57" fmla="*/ 7 h 73"/>
                <a:gd name="T58" fmla="*/ 38 w 41"/>
                <a:gd name="T59" fmla="*/ 17 h 73"/>
                <a:gd name="T60" fmla="*/ 41 w 41"/>
                <a:gd name="T61" fmla="*/ 19 h 73"/>
                <a:gd name="T62" fmla="*/ 38 w 41"/>
                <a:gd name="T63" fmla="*/ 31 h 73"/>
                <a:gd name="T64" fmla="*/ 38 w 41"/>
                <a:gd name="T65" fmla="*/ 57 h 73"/>
                <a:gd name="T66" fmla="*/ 38 w 41"/>
                <a:gd name="T67" fmla="*/ 9 h 73"/>
                <a:gd name="T68" fmla="*/ 36 w 41"/>
                <a:gd name="T69" fmla="*/ 9 h 73"/>
                <a:gd name="T70" fmla="*/ 36 w 41"/>
                <a:gd name="T71" fmla="*/ 26 h 73"/>
                <a:gd name="T72" fmla="*/ 38 w 41"/>
                <a:gd name="T73" fmla="*/ 31 h 73"/>
                <a:gd name="T74" fmla="*/ 36 w 41"/>
                <a:gd name="T75" fmla="*/ 50 h 73"/>
                <a:gd name="T76" fmla="*/ 36 w 41"/>
                <a:gd name="T77" fmla="*/ 59 h 73"/>
                <a:gd name="T78" fmla="*/ 36 w 41"/>
                <a:gd name="T79" fmla="*/ 31 h 73"/>
                <a:gd name="T80" fmla="*/ 31 w 41"/>
                <a:gd name="T81" fmla="*/ 31 h 73"/>
                <a:gd name="T82" fmla="*/ 31 w 41"/>
                <a:gd name="T83" fmla="*/ 26 h 73"/>
                <a:gd name="T84" fmla="*/ 31 w 41"/>
                <a:gd name="T85" fmla="*/ 31 h 73"/>
                <a:gd name="T86" fmla="*/ 29 w 41"/>
                <a:gd name="T87" fmla="*/ 33 h 73"/>
                <a:gd name="T88" fmla="*/ 29 w 41"/>
                <a:gd name="T89" fmla="*/ 59 h 73"/>
                <a:gd name="T90" fmla="*/ 24 w 41"/>
                <a:gd name="T91" fmla="*/ 64 h 73"/>
                <a:gd name="T92" fmla="*/ 19 w 41"/>
                <a:gd name="T93" fmla="*/ 64 h 73"/>
                <a:gd name="T94" fmla="*/ 12 w 41"/>
                <a:gd name="T95" fmla="*/ 73 h 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
                <a:gd name="T145" fmla="*/ 0 h 73"/>
                <a:gd name="T146" fmla="*/ 41 w 41"/>
                <a:gd name="T147" fmla="*/ 73 h 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 h="73">
                  <a:moveTo>
                    <a:pt x="12" y="73"/>
                  </a:moveTo>
                  <a:lnTo>
                    <a:pt x="15" y="71"/>
                  </a:lnTo>
                  <a:lnTo>
                    <a:pt x="19" y="54"/>
                  </a:lnTo>
                  <a:lnTo>
                    <a:pt x="19" y="42"/>
                  </a:lnTo>
                  <a:lnTo>
                    <a:pt x="22" y="42"/>
                  </a:lnTo>
                  <a:lnTo>
                    <a:pt x="22" y="40"/>
                  </a:lnTo>
                  <a:lnTo>
                    <a:pt x="15" y="40"/>
                  </a:lnTo>
                  <a:lnTo>
                    <a:pt x="15" y="42"/>
                  </a:lnTo>
                  <a:lnTo>
                    <a:pt x="12" y="50"/>
                  </a:lnTo>
                  <a:lnTo>
                    <a:pt x="8" y="64"/>
                  </a:lnTo>
                  <a:lnTo>
                    <a:pt x="8" y="71"/>
                  </a:lnTo>
                  <a:lnTo>
                    <a:pt x="5" y="71"/>
                  </a:lnTo>
                  <a:lnTo>
                    <a:pt x="0" y="66"/>
                  </a:lnTo>
                  <a:lnTo>
                    <a:pt x="0" y="59"/>
                  </a:lnTo>
                  <a:lnTo>
                    <a:pt x="5" y="47"/>
                  </a:lnTo>
                  <a:lnTo>
                    <a:pt x="8" y="35"/>
                  </a:lnTo>
                  <a:lnTo>
                    <a:pt x="12" y="33"/>
                  </a:lnTo>
                  <a:lnTo>
                    <a:pt x="12" y="7"/>
                  </a:lnTo>
                  <a:lnTo>
                    <a:pt x="8" y="7"/>
                  </a:lnTo>
                  <a:lnTo>
                    <a:pt x="8" y="2"/>
                  </a:lnTo>
                  <a:lnTo>
                    <a:pt x="12" y="7"/>
                  </a:lnTo>
                  <a:lnTo>
                    <a:pt x="15" y="14"/>
                  </a:lnTo>
                  <a:lnTo>
                    <a:pt x="15" y="35"/>
                  </a:lnTo>
                  <a:lnTo>
                    <a:pt x="19" y="33"/>
                  </a:lnTo>
                  <a:lnTo>
                    <a:pt x="19" y="0"/>
                  </a:lnTo>
                  <a:lnTo>
                    <a:pt x="24" y="0"/>
                  </a:lnTo>
                  <a:lnTo>
                    <a:pt x="24" y="2"/>
                  </a:lnTo>
                  <a:lnTo>
                    <a:pt x="29" y="7"/>
                  </a:lnTo>
                  <a:lnTo>
                    <a:pt x="38" y="7"/>
                  </a:lnTo>
                  <a:lnTo>
                    <a:pt x="38" y="17"/>
                  </a:lnTo>
                  <a:lnTo>
                    <a:pt x="41" y="19"/>
                  </a:lnTo>
                  <a:lnTo>
                    <a:pt x="38" y="31"/>
                  </a:lnTo>
                  <a:lnTo>
                    <a:pt x="38" y="57"/>
                  </a:lnTo>
                  <a:lnTo>
                    <a:pt x="38" y="9"/>
                  </a:lnTo>
                  <a:lnTo>
                    <a:pt x="36" y="9"/>
                  </a:lnTo>
                  <a:lnTo>
                    <a:pt x="36" y="26"/>
                  </a:lnTo>
                  <a:lnTo>
                    <a:pt x="38" y="31"/>
                  </a:lnTo>
                  <a:lnTo>
                    <a:pt x="36" y="50"/>
                  </a:lnTo>
                  <a:lnTo>
                    <a:pt x="36" y="59"/>
                  </a:lnTo>
                  <a:lnTo>
                    <a:pt x="36" y="31"/>
                  </a:lnTo>
                  <a:lnTo>
                    <a:pt x="31" y="31"/>
                  </a:lnTo>
                  <a:lnTo>
                    <a:pt x="31" y="26"/>
                  </a:lnTo>
                  <a:lnTo>
                    <a:pt x="31" y="31"/>
                  </a:lnTo>
                  <a:lnTo>
                    <a:pt x="29" y="33"/>
                  </a:lnTo>
                  <a:lnTo>
                    <a:pt x="29" y="59"/>
                  </a:lnTo>
                  <a:lnTo>
                    <a:pt x="24" y="64"/>
                  </a:lnTo>
                  <a:lnTo>
                    <a:pt x="19" y="64"/>
                  </a:lnTo>
                  <a:lnTo>
                    <a:pt x="12" y="7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8" name="Freeform 277">
              <a:extLst>
                <a:ext uri="{FF2B5EF4-FFF2-40B4-BE49-F238E27FC236}">
                  <a16:creationId xmlns:a16="http://schemas.microsoft.com/office/drawing/2014/main" id="{31D7ABD4-BD4E-4F6A-929F-B729BF9F085A}"/>
                </a:ext>
              </a:extLst>
            </p:cNvPr>
            <p:cNvSpPr>
              <a:spLocks/>
            </p:cNvSpPr>
            <p:nvPr/>
          </p:nvSpPr>
          <p:spPr bwMode="gray">
            <a:xfrm rot="47099">
              <a:off x="1923024" y="2555982"/>
              <a:ext cx="3255" cy="7904"/>
            </a:xfrm>
            <a:custGeom>
              <a:avLst/>
              <a:gdLst>
                <a:gd name="T0" fmla="*/ 2 w 7"/>
                <a:gd name="T1" fmla="*/ 3 h 17"/>
                <a:gd name="T2" fmla="*/ 7 w 7"/>
                <a:gd name="T3" fmla="*/ 8 h 17"/>
                <a:gd name="T4" fmla="*/ 7 w 7"/>
                <a:gd name="T5" fmla="*/ 10 h 17"/>
                <a:gd name="T6" fmla="*/ 2 w 7"/>
                <a:gd name="T7" fmla="*/ 17 h 17"/>
                <a:gd name="T8" fmla="*/ 2 w 7"/>
                <a:gd name="T9" fmla="*/ 12 h 17"/>
                <a:gd name="T10" fmla="*/ 0 w 7"/>
                <a:gd name="T11" fmla="*/ 3 h 17"/>
                <a:gd name="T12" fmla="*/ 0 w 7"/>
                <a:gd name="T13" fmla="*/ 0 h 17"/>
                <a:gd name="T14" fmla="*/ 2 w 7"/>
                <a:gd name="T15" fmla="*/ 0 h 17"/>
                <a:gd name="T16" fmla="*/ 2 w 7"/>
                <a:gd name="T17" fmla="*/ 3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7"/>
                <a:gd name="T29" fmla="*/ 7 w 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7">
                  <a:moveTo>
                    <a:pt x="2" y="3"/>
                  </a:moveTo>
                  <a:lnTo>
                    <a:pt x="7" y="8"/>
                  </a:lnTo>
                  <a:lnTo>
                    <a:pt x="7" y="10"/>
                  </a:lnTo>
                  <a:lnTo>
                    <a:pt x="2" y="17"/>
                  </a:lnTo>
                  <a:lnTo>
                    <a:pt x="2" y="12"/>
                  </a:lnTo>
                  <a:lnTo>
                    <a:pt x="0" y="3"/>
                  </a:lnTo>
                  <a:lnTo>
                    <a:pt x="0" y="0"/>
                  </a:lnTo>
                  <a:lnTo>
                    <a:pt x="2" y="0"/>
                  </a:lnTo>
                  <a:lnTo>
                    <a:pt x="2"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89" name="Freeform 278">
              <a:extLst>
                <a:ext uri="{FF2B5EF4-FFF2-40B4-BE49-F238E27FC236}">
                  <a16:creationId xmlns:a16="http://schemas.microsoft.com/office/drawing/2014/main" id="{5705486D-AC40-48A9-9EC3-FCA338EC0800}"/>
                </a:ext>
              </a:extLst>
            </p:cNvPr>
            <p:cNvSpPr>
              <a:spLocks/>
            </p:cNvSpPr>
            <p:nvPr/>
          </p:nvSpPr>
          <p:spPr bwMode="gray">
            <a:xfrm rot="47099">
              <a:off x="1914224" y="2553995"/>
              <a:ext cx="2325" cy="6510"/>
            </a:xfrm>
            <a:custGeom>
              <a:avLst/>
              <a:gdLst>
                <a:gd name="T0" fmla="*/ 5 w 5"/>
                <a:gd name="T1" fmla="*/ 4 h 14"/>
                <a:gd name="T2" fmla="*/ 5 w 5"/>
                <a:gd name="T3" fmla="*/ 14 h 14"/>
                <a:gd name="T4" fmla="*/ 3 w 5"/>
                <a:gd name="T5" fmla="*/ 14 h 14"/>
                <a:gd name="T6" fmla="*/ 3 w 5"/>
                <a:gd name="T7" fmla="*/ 12 h 14"/>
                <a:gd name="T8" fmla="*/ 0 w 5"/>
                <a:gd name="T9" fmla="*/ 7 h 14"/>
                <a:gd name="T10" fmla="*/ 0 w 5"/>
                <a:gd name="T11" fmla="*/ 4 h 14"/>
                <a:gd name="T12" fmla="*/ 3 w 5"/>
                <a:gd name="T13" fmla="*/ 0 h 14"/>
                <a:gd name="T14" fmla="*/ 3 w 5"/>
                <a:gd name="T15" fmla="*/ 4 h 14"/>
                <a:gd name="T16" fmla="*/ 5 w 5"/>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4"/>
                <a:gd name="T29" fmla="*/ 5 w 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4">
                  <a:moveTo>
                    <a:pt x="5" y="4"/>
                  </a:moveTo>
                  <a:lnTo>
                    <a:pt x="5" y="14"/>
                  </a:lnTo>
                  <a:lnTo>
                    <a:pt x="3" y="14"/>
                  </a:lnTo>
                  <a:lnTo>
                    <a:pt x="3" y="12"/>
                  </a:lnTo>
                  <a:lnTo>
                    <a:pt x="0" y="7"/>
                  </a:lnTo>
                  <a:lnTo>
                    <a:pt x="0" y="4"/>
                  </a:lnTo>
                  <a:lnTo>
                    <a:pt x="3" y="0"/>
                  </a:lnTo>
                  <a:lnTo>
                    <a:pt x="3" y="4"/>
                  </a:lnTo>
                  <a:lnTo>
                    <a:pt x="5"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0" name="Freeform 279">
              <a:extLst>
                <a:ext uri="{FF2B5EF4-FFF2-40B4-BE49-F238E27FC236}">
                  <a16:creationId xmlns:a16="http://schemas.microsoft.com/office/drawing/2014/main" id="{6D09EED8-A8D5-42BD-AB92-892DC4BC1A96}"/>
                </a:ext>
              </a:extLst>
            </p:cNvPr>
            <p:cNvSpPr>
              <a:spLocks/>
            </p:cNvSpPr>
            <p:nvPr/>
          </p:nvSpPr>
          <p:spPr bwMode="gray">
            <a:xfrm rot="47099">
              <a:off x="1914262" y="2551693"/>
              <a:ext cx="5580" cy="5579"/>
            </a:xfrm>
            <a:custGeom>
              <a:avLst/>
              <a:gdLst>
                <a:gd name="T0" fmla="*/ 5 w 12"/>
                <a:gd name="T1" fmla="*/ 0 h 12"/>
                <a:gd name="T2" fmla="*/ 5 w 12"/>
                <a:gd name="T3" fmla="*/ 2 h 12"/>
                <a:gd name="T4" fmla="*/ 12 w 12"/>
                <a:gd name="T5" fmla="*/ 9 h 12"/>
                <a:gd name="T6" fmla="*/ 12 w 12"/>
                <a:gd name="T7" fmla="*/ 12 h 12"/>
                <a:gd name="T8" fmla="*/ 10 w 12"/>
                <a:gd name="T9" fmla="*/ 12 h 12"/>
                <a:gd name="T10" fmla="*/ 5 w 12"/>
                <a:gd name="T11" fmla="*/ 9 h 12"/>
                <a:gd name="T12" fmla="*/ 5 w 12"/>
                <a:gd name="T13" fmla="*/ 5 h 12"/>
                <a:gd name="T14" fmla="*/ 0 w 12"/>
                <a:gd name="T15" fmla="*/ 5 h 12"/>
                <a:gd name="T16" fmla="*/ 3 w 12"/>
                <a:gd name="T17" fmla="*/ 2 h 12"/>
                <a:gd name="T18" fmla="*/ 3 w 12"/>
                <a:gd name="T19" fmla="*/ 0 h 12"/>
                <a:gd name="T20" fmla="*/ 5 w 12"/>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2"/>
                <a:gd name="T35" fmla="*/ 12 w 12"/>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2">
                  <a:moveTo>
                    <a:pt x="5" y="0"/>
                  </a:moveTo>
                  <a:lnTo>
                    <a:pt x="5" y="2"/>
                  </a:lnTo>
                  <a:lnTo>
                    <a:pt x="12" y="9"/>
                  </a:lnTo>
                  <a:lnTo>
                    <a:pt x="12" y="12"/>
                  </a:lnTo>
                  <a:lnTo>
                    <a:pt x="10" y="12"/>
                  </a:lnTo>
                  <a:lnTo>
                    <a:pt x="5" y="9"/>
                  </a:lnTo>
                  <a:lnTo>
                    <a:pt x="5" y="5"/>
                  </a:lnTo>
                  <a:lnTo>
                    <a:pt x="0" y="5"/>
                  </a:lnTo>
                  <a:lnTo>
                    <a:pt x="3" y="2"/>
                  </a:lnTo>
                  <a:lnTo>
                    <a:pt x="3"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1" name="Freeform 280">
              <a:extLst>
                <a:ext uri="{FF2B5EF4-FFF2-40B4-BE49-F238E27FC236}">
                  <a16:creationId xmlns:a16="http://schemas.microsoft.com/office/drawing/2014/main" id="{0E00909B-57F6-4E3A-B61C-18F30A1B0295}"/>
                </a:ext>
              </a:extLst>
            </p:cNvPr>
            <p:cNvSpPr>
              <a:spLocks/>
            </p:cNvSpPr>
            <p:nvPr/>
          </p:nvSpPr>
          <p:spPr bwMode="gray">
            <a:xfrm rot="47099">
              <a:off x="1909030" y="2525092"/>
              <a:ext cx="2325" cy="7904"/>
            </a:xfrm>
            <a:custGeom>
              <a:avLst/>
              <a:gdLst>
                <a:gd name="T0" fmla="*/ 5 w 5"/>
                <a:gd name="T1" fmla="*/ 0 h 17"/>
                <a:gd name="T2" fmla="*/ 5 w 5"/>
                <a:gd name="T3" fmla="*/ 17 h 17"/>
                <a:gd name="T4" fmla="*/ 0 w 5"/>
                <a:gd name="T5" fmla="*/ 12 h 17"/>
                <a:gd name="T6" fmla="*/ 0 w 5"/>
                <a:gd name="T7" fmla="*/ 0 h 17"/>
                <a:gd name="T8" fmla="*/ 5 w 5"/>
                <a:gd name="T9" fmla="*/ 0 h 17"/>
                <a:gd name="T10" fmla="*/ 0 60000 65536"/>
                <a:gd name="T11" fmla="*/ 0 60000 65536"/>
                <a:gd name="T12" fmla="*/ 0 60000 65536"/>
                <a:gd name="T13" fmla="*/ 0 60000 65536"/>
                <a:gd name="T14" fmla="*/ 0 60000 65536"/>
                <a:gd name="T15" fmla="*/ 0 w 5"/>
                <a:gd name="T16" fmla="*/ 0 h 17"/>
                <a:gd name="T17" fmla="*/ 5 w 5"/>
                <a:gd name="T18" fmla="*/ 17 h 17"/>
              </a:gdLst>
              <a:ahLst/>
              <a:cxnLst>
                <a:cxn ang="T10">
                  <a:pos x="T0" y="T1"/>
                </a:cxn>
                <a:cxn ang="T11">
                  <a:pos x="T2" y="T3"/>
                </a:cxn>
                <a:cxn ang="T12">
                  <a:pos x="T4" y="T5"/>
                </a:cxn>
                <a:cxn ang="T13">
                  <a:pos x="T6" y="T7"/>
                </a:cxn>
                <a:cxn ang="T14">
                  <a:pos x="T8" y="T9"/>
                </a:cxn>
              </a:cxnLst>
              <a:rect l="T15" t="T16" r="T17" b="T18"/>
              <a:pathLst>
                <a:path w="5" h="17">
                  <a:moveTo>
                    <a:pt x="5" y="0"/>
                  </a:moveTo>
                  <a:lnTo>
                    <a:pt x="5" y="17"/>
                  </a:lnTo>
                  <a:lnTo>
                    <a:pt x="0" y="12"/>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2" name="Freeform 281">
              <a:extLst>
                <a:ext uri="{FF2B5EF4-FFF2-40B4-BE49-F238E27FC236}">
                  <a16:creationId xmlns:a16="http://schemas.microsoft.com/office/drawing/2014/main" id="{9D0A81E6-EC4A-4E43-A85C-BFD3ABCA0E39}"/>
                </a:ext>
              </a:extLst>
            </p:cNvPr>
            <p:cNvSpPr>
              <a:spLocks/>
            </p:cNvSpPr>
            <p:nvPr/>
          </p:nvSpPr>
          <p:spPr bwMode="gray">
            <a:xfrm rot="47099">
              <a:off x="2101079" y="2390554"/>
              <a:ext cx="4186" cy="9765"/>
            </a:xfrm>
            <a:custGeom>
              <a:avLst/>
              <a:gdLst>
                <a:gd name="T0" fmla="*/ 7 w 9"/>
                <a:gd name="T1" fmla="*/ 5 h 21"/>
                <a:gd name="T2" fmla="*/ 7 w 9"/>
                <a:gd name="T3" fmla="*/ 7 h 21"/>
                <a:gd name="T4" fmla="*/ 9 w 9"/>
                <a:gd name="T5" fmla="*/ 7 h 21"/>
                <a:gd name="T6" fmla="*/ 9 w 9"/>
                <a:gd name="T7" fmla="*/ 17 h 21"/>
                <a:gd name="T8" fmla="*/ 7 w 9"/>
                <a:gd name="T9" fmla="*/ 21 h 21"/>
                <a:gd name="T10" fmla="*/ 2 w 9"/>
                <a:gd name="T11" fmla="*/ 14 h 21"/>
                <a:gd name="T12" fmla="*/ 0 w 9"/>
                <a:gd name="T13" fmla="*/ 7 h 21"/>
                <a:gd name="T14" fmla="*/ 0 w 9"/>
                <a:gd name="T15" fmla="*/ 5 h 21"/>
                <a:gd name="T16" fmla="*/ 2 w 9"/>
                <a:gd name="T17" fmla="*/ 0 h 21"/>
                <a:gd name="T18" fmla="*/ 7 w 9"/>
                <a:gd name="T19" fmla="*/ 0 h 21"/>
                <a:gd name="T20" fmla="*/ 7 w 9"/>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21"/>
                <a:gd name="T35" fmla="*/ 9 w 9"/>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21">
                  <a:moveTo>
                    <a:pt x="7" y="5"/>
                  </a:moveTo>
                  <a:lnTo>
                    <a:pt x="7" y="7"/>
                  </a:lnTo>
                  <a:lnTo>
                    <a:pt x="9" y="7"/>
                  </a:lnTo>
                  <a:lnTo>
                    <a:pt x="9" y="17"/>
                  </a:lnTo>
                  <a:lnTo>
                    <a:pt x="7" y="21"/>
                  </a:lnTo>
                  <a:lnTo>
                    <a:pt x="2" y="14"/>
                  </a:lnTo>
                  <a:lnTo>
                    <a:pt x="0" y="7"/>
                  </a:lnTo>
                  <a:lnTo>
                    <a:pt x="0" y="5"/>
                  </a:lnTo>
                  <a:lnTo>
                    <a:pt x="2"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3" name="Freeform 282">
              <a:extLst>
                <a:ext uri="{FF2B5EF4-FFF2-40B4-BE49-F238E27FC236}">
                  <a16:creationId xmlns:a16="http://schemas.microsoft.com/office/drawing/2014/main" id="{8CFC50AC-6AE5-4723-A9B4-9B5DD86E6D77}"/>
                </a:ext>
              </a:extLst>
            </p:cNvPr>
            <p:cNvSpPr>
              <a:spLocks/>
            </p:cNvSpPr>
            <p:nvPr/>
          </p:nvSpPr>
          <p:spPr bwMode="gray">
            <a:xfrm rot="47099">
              <a:off x="1875304" y="2442327"/>
              <a:ext cx="3255" cy="4649"/>
            </a:xfrm>
            <a:custGeom>
              <a:avLst/>
              <a:gdLst>
                <a:gd name="T0" fmla="*/ 2 w 7"/>
                <a:gd name="T1" fmla="*/ 2 h 10"/>
                <a:gd name="T2" fmla="*/ 2 w 7"/>
                <a:gd name="T3" fmla="*/ 10 h 10"/>
                <a:gd name="T4" fmla="*/ 0 w 7"/>
                <a:gd name="T5" fmla="*/ 10 h 10"/>
                <a:gd name="T6" fmla="*/ 0 w 7"/>
                <a:gd name="T7" fmla="*/ 0 h 10"/>
                <a:gd name="T8" fmla="*/ 7 w 7"/>
                <a:gd name="T9" fmla="*/ 0 h 10"/>
                <a:gd name="T10" fmla="*/ 7 w 7"/>
                <a:gd name="T11" fmla="*/ 2 h 10"/>
                <a:gd name="T12" fmla="*/ 2 w 7"/>
                <a:gd name="T13" fmla="*/ 2 h 10"/>
                <a:gd name="T14" fmla="*/ 0 60000 65536"/>
                <a:gd name="T15" fmla="*/ 0 60000 65536"/>
                <a:gd name="T16" fmla="*/ 0 60000 65536"/>
                <a:gd name="T17" fmla="*/ 0 60000 65536"/>
                <a:gd name="T18" fmla="*/ 0 60000 65536"/>
                <a:gd name="T19" fmla="*/ 0 60000 65536"/>
                <a:gd name="T20" fmla="*/ 0 60000 65536"/>
                <a:gd name="T21" fmla="*/ 0 w 7"/>
                <a:gd name="T22" fmla="*/ 0 h 10"/>
                <a:gd name="T23" fmla="*/ 7 w 7"/>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0">
                  <a:moveTo>
                    <a:pt x="2" y="2"/>
                  </a:moveTo>
                  <a:lnTo>
                    <a:pt x="2" y="10"/>
                  </a:lnTo>
                  <a:lnTo>
                    <a:pt x="0" y="10"/>
                  </a:lnTo>
                  <a:lnTo>
                    <a:pt x="0" y="0"/>
                  </a:lnTo>
                  <a:lnTo>
                    <a:pt x="7" y="0"/>
                  </a:lnTo>
                  <a:lnTo>
                    <a:pt x="7" y="2"/>
                  </a:lnTo>
                  <a:lnTo>
                    <a:pt x="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4" name="Freeform 283">
              <a:extLst>
                <a:ext uri="{FF2B5EF4-FFF2-40B4-BE49-F238E27FC236}">
                  <a16:creationId xmlns:a16="http://schemas.microsoft.com/office/drawing/2014/main" id="{C6CEDA0E-C459-413C-B55F-66FABA3302A0}"/>
                </a:ext>
              </a:extLst>
            </p:cNvPr>
            <p:cNvSpPr>
              <a:spLocks/>
            </p:cNvSpPr>
            <p:nvPr/>
          </p:nvSpPr>
          <p:spPr bwMode="gray">
            <a:xfrm rot="47099">
              <a:off x="1876317" y="2434910"/>
              <a:ext cx="4651" cy="7440"/>
            </a:xfrm>
            <a:custGeom>
              <a:avLst/>
              <a:gdLst>
                <a:gd name="T0" fmla="*/ 7 w 10"/>
                <a:gd name="T1" fmla="*/ 0 h 16"/>
                <a:gd name="T2" fmla="*/ 10 w 10"/>
                <a:gd name="T3" fmla="*/ 2 h 16"/>
                <a:gd name="T4" fmla="*/ 10 w 10"/>
                <a:gd name="T5" fmla="*/ 4 h 16"/>
                <a:gd name="T6" fmla="*/ 7 w 10"/>
                <a:gd name="T7" fmla="*/ 9 h 16"/>
                <a:gd name="T8" fmla="*/ 5 w 10"/>
                <a:gd name="T9" fmla="*/ 11 h 16"/>
                <a:gd name="T10" fmla="*/ 0 w 10"/>
                <a:gd name="T11" fmla="*/ 16 h 16"/>
                <a:gd name="T12" fmla="*/ 0 w 10"/>
                <a:gd name="T13" fmla="*/ 4 h 16"/>
                <a:gd name="T14" fmla="*/ 5 w 10"/>
                <a:gd name="T15" fmla="*/ 0 h 16"/>
                <a:gd name="T16" fmla="*/ 7 w 1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6"/>
                <a:gd name="T29" fmla="*/ 10 w 1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6">
                  <a:moveTo>
                    <a:pt x="7" y="0"/>
                  </a:moveTo>
                  <a:lnTo>
                    <a:pt x="10" y="2"/>
                  </a:lnTo>
                  <a:lnTo>
                    <a:pt x="10" y="4"/>
                  </a:lnTo>
                  <a:lnTo>
                    <a:pt x="7" y="9"/>
                  </a:lnTo>
                  <a:lnTo>
                    <a:pt x="5" y="11"/>
                  </a:lnTo>
                  <a:lnTo>
                    <a:pt x="0" y="16"/>
                  </a:lnTo>
                  <a:lnTo>
                    <a:pt x="0" y="4"/>
                  </a:lnTo>
                  <a:lnTo>
                    <a:pt x="5"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5" name="Freeform 284">
              <a:extLst>
                <a:ext uri="{FF2B5EF4-FFF2-40B4-BE49-F238E27FC236}">
                  <a16:creationId xmlns:a16="http://schemas.microsoft.com/office/drawing/2014/main" id="{0704F3D0-772C-4F56-9B96-8EAD32BE7DF2}"/>
                </a:ext>
              </a:extLst>
            </p:cNvPr>
            <p:cNvSpPr>
              <a:spLocks/>
            </p:cNvSpPr>
            <p:nvPr/>
          </p:nvSpPr>
          <p:spPr bwMode="gray">
            <a:xfrm rot="47099">
              <a:off x="2097728" y="2326829"/>
              <a:ext cx="8371" cy="15344"/>
            </a:xfrm>
            <a:custGeom>
              <a:avLst/>
              <a:gdLst>
                <a:gd name="T0" fmla="*/ 9 w 18"/>
                <a:gd name="T1" fmla="*/ 5 h 33"/>
                <a:gd name="T2" fmla="*/ 16 w 18"/>
                <a:gd name="T3" fmla="*/ 5 h 33"/>
                <a:gd name="T4" fmla="*/ 16 w 18"/>
                <a:gd name="T5" fmla="*/ 7 h 33"/>
                <a:gd name="T6" fmla="*/ 18 w 18"/>
                <a:gd name="T7" fmla="*/ 7 h 33"/>
                <a:gd name="T8" fmla="*/ 18 w 18"/>
                <a:gd name="T9" fmla="*/ 21 h 33"/>
                <a:gd name="T10" fmla="*/ 16 w 18"/>
                <a:gd name="T11" fmla="*/ 21 h 33"/>
                <a:gd name="T12" fmla="*/ 11 w 18"/>
                <a:gd name="T13" fmla="*/ 31 h 33"/>
                <a:gd name="T14" fmla="*/ 9 w 18"/>
                <a:gd name="T15" fmla="*/ 31 h 33"/>
                <a:gd name="T16" fmla="*/ 9 w 18"/>
                <a:gd name="T17" fmla="*/ 33 h 33"/>
                <a:gd name="T18" fmla="*/ 2 w 18"/>
                <a:gd name="T19" fmla="*/ 33 h 33"/>
                <a:gd name="T20" fmla="*/ 2 w 18"/>
                <a:gd name="T21" fmla="*/ 26 h 33"/>
                <a:gd name="T22" fmla="*/ 0 w 18"/>
                <a:gd name="T23" fmla="*/ 21 h 33"/>
                <a:gd name="T24" fmla="*/ 0 w 18"/>
                <a:gd name="T25" fmla="*/ 5 h 33"/>
                <a:gd name="T26" fmla="*/ 2 w 18"/>
                <a:gd name="T27" fmla="*/ 0 h 33"/>
                <a:gd name="T28" fmla="*/ 9 w 18"/>
                <a:gd name="T29" fmla="*/ 0 h 33"/>
                <a:gd name="T30" fmla="*/ 9 w 18"/>
                <a:gd name="T31" fmla="*/ 5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33"/>
                <a:gd name="T50" fmla="*/ 18 w 18"/>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33">
                  <a:moveTo>
                    <a:pt x="9" y="5"/>
                  </a:moveTo>
                  <a:lnTo>
                    <a:pt x="16" y="5"/>
                  </a:lnTo>
                  <a:lnTo>
                    <a:pt x="16" y="7"/>
                  </a:lnTo>
                  <a:lnTo>
                    <a:pt x="18" y="7"/>
                  </a:lnTo>
                  <a:lnTo>
                    <a:pt x="18" y="21"/>
                  </a:lnTo>
                  <a:lnTo>
                    <a:pt x="16" y="21"/>
                  </a:lnTo>
                  <a:lnTo>
                    <a:pt x="11" y="31"/>
                  </a:lnTo>
                  <a:lnTo>
                    <a:pt x="9" y="31"/>
                  </a:lnTo>
                  <a:lnTo>
                    <a:pt x="9" y="33"/>
                  </a:lnTo>
                  <a:lnTo>
                    <a:pt x="2" y="33"/>
                  </a:lnTo>
                  <a:lnTo>
                    <a:pt x="2" y="26"/>
                  </a:lnTo>
                  <a:lnTo>
                    <a:pt x="0" y="21"/>
                  </a:lnTo>
                  <a:lnTo>
                    <a:pt x="0" y="5"/>
                  </a:lnTo>
                  <a:lnTo>
                    <a:pt x="2" y="0"/>
                  </a:lnTo>
                  <a:lnTo>
                    <a:pt x="9" y="0"/>
                  </a:lnTo>
                  <a:lnTo>
                    <a:pt x="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6" name="Freeform 285">
              <a:extLst>
                <a:ext uri="{FF2B5EF4-FFF2-40B4-BE49-F238E27FC236}">
                  <a16:creationId xmlns:a16="http://schemas.microsoft.com/office/drawing/2014/main" id="{7A0D3EE9-E851-4E5D-8CFB-E99DE8142045}"/>
                </a:ext>
              </a:extLst>
            </p:cNvPr>
            <p:cNvSpPr>
              <a:spLocks/>
            </p:cNvSpPr>
            <p:nvPr/>
          </p:nvSpPr>
          <p:spPr bwMode="gray">
            <a:xfrm rot="47099">
              <a:off x="1894634" y="2387748"/>
              <a:ext cx="7441" cy="7904"/>
            </a:xfrm>
            <a:custGeom>
              <a:avLst/>
              <a:gdLst>
                <a:gd name="T0" fmla="*/ 16 w 16"/>
                <a:gd name="T1" fmla="*/ 5 h 17"/>
                <a:gd name="T2" fmla="*/ 16 w 16"/>
                <a:gd name="T3" fmla="*/ 7 h 17"/>
                <a:gd name="T4" fmla="*/ 12 w 16"/>
                <a:gd name="T5" fmla="*/ 9 h 17"/>
                <a:gd name="T6" fmla="*/ 2 w 16"/>
                <a:gd name="T7" fmla="*/ 14 h 17"/>
                <a:gd name="T8" fmla="*/ 2 w 16"/>
                <a:gd name="T9" fmla="*/ 17 h 17"/>
                <a:gd name="T10" fmla="*/ 0 w 16"/>
                <a:gd name="T11" fmla="*/ 14 h 17"/>
                <a:gd name="T12" fmla="*/ 2 w 16"/>
                <a:gd name="T13" fmla="*/ 9 h 17"/>
                <a:gd name="T14" fmla="*/ 2 w 16"/>
                <a:gd name="T15" fmla="*/ 7 h 17"/>
                <a:gd name="T16" fmla="*/ 9 w 16"/>
                <a:gd name="T17" fmla="*/ 5 h 17"/>
                <a:gd name="T18" fmla="*/ 16 w 16"/>
                <a:gd name="T19" fmla="*/ 0 h 17"/>
                <a:gd name="T20" fmla="*/ 16 w 16"/>
                <a:gd name="T21" fmla="*/ 5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7"/>
                <a:gd name="T35" fmla="*/ 16 w 16"/>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7">
                  <a:moveTo>
                    <a:pt x="16" y="5"/>
                  </a:moveTo>
                  <a:lnTo>
                    <a:pt x="16" y="7"/>
                  </a:lnTo>
                  <a:lnTo>
                    <a:pt x="12" y="9"/>
                  </a:lnTo>
                  <a:lnTo>
                    <a:pt x="2" y="14"/>
                  </a:lnTo>
                  <a:lnTo>
                    <a:pt x="2" y="17"/>
                  </a:lnTo>
                  <a:lnTo>
                    <a:pt x="0" y="14"/>
                  </a:lnTo>
                  <a:lnTo>
                    <a:pt x="2" y="9"/>
                  </a:lnTo>
                  <a:lnTo>
                    <a:pt x="2" y="7"/>
                  </a:lnTo>
                  <a:lnTo>
                    <a:pt x="9" y="5"/>
                  </a:lnTo>
                  <a:lnTo>
                    <a:pt x="16" y="0"/>
                  </a:lnTo>
                  <a:lnTo>
                    <a:pt x="16"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7" name="Freeform 286">
              <a:extLst>
                <a:ext uri="{FF2B5EF4-FFF2-40B4-BE49-F238E27FC236}">
                  <a16:creationId xmlns:a16="http://schemas.microsoft.com/office/drawing/2014/main" id="{977586E2-C51D-41E6-B206-4C51BABE2FF5}"/>
                </a:ext>
              </a:extLst>
            </p:cNvPr>
            <p:cNvSpPr>
              <a:spLocks/>
            </p:cNvSpPr>
            <p:nvPr/>
          </p:nvSpPr>
          <p:spPr bwMode="gray">
            <a:xfrm rot="47099">
              <a:off x="2124723" y="2259362"/>
              <a:ext cx="16741" cy="11625"/>
            </a:xfrm>
            <a:custGeom>
              <a:avLst/>
              <a:gdLst>
                <a:gd name="T0" fmla="*/ 33 w 36"/>
                <a:gd name="T1" fmla="*/ 2 h 25"/>
                <a:gd name="T2" fmla="*/ 33 w 36"/>
                <a:gd name="T3" fmla="*/ 7 h 25"/>
                <a:gd name="T4" fmla="*/ 36 w 36"/>
                <a:gd name="T5" fmla="*/ 9 h 25"/>
                <a:gd name="T6" fmla="*/ 36 w 36"/>
                <a:gd name="T7" fmla="*/ 25 h 25"/>
                <a:gd name="T8" fmla="*/ 29 w 36"/>
                <a:gd name="T9" fmla="*/ 25 h 25"/>
                <a:gd name="T10" fmla="*/ 19 w 36"/>
                <a:gd name="T11" fmla="*/ 23 h 25"/>
                <a:gd name="T12" fmla="*/ 17 w 36"/>
                <a:gd name="T13" fmla="*/ 18 h 25"/>
                <a:gd name="T14" fmla="*/ 3 w 36"/>
                <a:gd name="T15" fmla="*/ 18 h 25"/>
                <a:gd name="T16" fmla="*/ 0 w 36"/>
                <a:gd name="T17" fmla="*/ 16 h 25"/>
                <a:gd name="T18" fmla="*/ 0 w 36"/>
                <a:gd name="T19" fmla="*/ 14 h 25"/>
                <a:gd name="T20" fmla="*/ 3 w 36"/>
                <a:gd name="T21" fmla="*/ 9 h 25"/>
                <a:gd name="T22" fmla="*/ 10 w 36"/>
                <a:gd name="T23" fmla="*/ 2 h 25"/>
                <a:gd name="T24" fmla="*/ 12 w 36"/>
                <a:gd name="T25" fmla="*/ 2 h 25"/>
                <a:gd name="T26" fmla="*/ 12 w 36"/>
                <a:gd name="T27" fmla="*/ 0 h 25"/>
                <a:gd name="T28" fmla="*/ 33 w 36"/>
                <a:gd name="T29" fmla="*/ 0 h 25"/>
                <a:gd name="T30" fmla="*/ 33 w 36"/>
                <a:gd name="T31" fmla="*/ 2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5"/>
                <a:gd name="T50" fmla="*/ 36 w 3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5">
                  <a:moveTo>
                    <a:pt x="33" y="2"/>
                  </a:moveTo>
                  <a:lnTo>
                    <a:pt x="33" y="7"/>
                  </a:lnTo>
                  <a:lnTo>
                    <a:pt x="36" y="9"/>
                  </a:lnTo>
                  <a:lnTo>
                    <a:pt x="36" y="25"/>
                  </a:lnTo>
                  <a:lnTo>
                    <a:pt x="29" y="25"/>
                  </a:lnTo>
                  <a:lnTo>
                    <a:pt x="19" y="23"/>
                  </a:lnTo>
                  <a:lnTo>
                    <a:pt x="17" y="18"/>
                  </a:lnTo>
                  <a:lnTo>
                    <a:pt x="3" y="18"/>
                  </a:lnTo>
                  <a:lnTo>
                    <a:pt x="0" y="16"/>
                  </a:lnTo>
                  <a:lnTo>
                    <a:pt x="0" y="14"/>
                  </a:lnTo>
                  <a:lnTo>
                    <a:pt x="3" y="9"/>
                  </a:lnTo>
                  <a:lnTo>
                    <a:pt x="10" y="2"/>
                  </a:lnTo>
                  <a:lnTo>
                    <a:pt x="12" y="2"/>
                  </a:lnTo>
                  <a:lnTo>
                    <a:pt x="12" y="0"/>
                  </a:lnTo>
                  <a:lnTo>
                    <a:pt x="33" y="0"/>
                  </a:lnTo>
                  <a:lnTo>
                    <a:pt x="33"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8" name="Freeform 287">
              <a:extLst>
                <a:ext uri="{FF2B5EF4-FFF2-40B4-BE49-F238E27FC236}">
                  <a16:creationId xmlns:a16="http://schemas.microsoft.com/office/drawing/2014/main" id="{0414B14C-E9E6-444F-A00C-E43A3712EFE8}"/>
                </a:ext>
              </a:extLst>
            </p:cNvPr>
            <p:cNvSpPr>
              <a:spLocks/>
            </p:cNvSpPr>
            <p:nvPr/>
          </p:nvSpPr>
          <p:spPr bwMode="gray">
            <a:xfrm rot="47099">
              <a:off x="2114057" y="2260060"/>
              <a:ext cx="4186" cy="5579"/>
            </a:xfrm>
            <a:custGeom>
              <a:avLst/>
              <a:gdLst>
                <a:gd name="T0" fmla="*/ 7 w 9"/>
                <a:gd name="T1" fmla="*/ 5 h 12"/>
                <a:gd name="T2" fmla="*/ 9 w 9"/>
                <a:gd name="T3" fmla="*/ 5 h 12"/>
                <a:gd name="T4" fmla="*/ 9 w 9"/>
                <a:gd name="T5" fmla="*/ 7 h 12"/>
                <a:gd name="T6" fmla="*/ 2 w 9"/>
                <a:gd name="T7" fmla="*/ 7 h 12"/>
                <a:gd name="T8" fmla="*/ 2 w 9"/>
                <a:gd name="T9" fmla="*/ 12 h 12"/>
                <a:gd name="T10" fmla="*/ 0 w 9"/>
                <a:gd name="T11" fmla="*/ 12 h 12"/>
                <a:gd name="T12" fmla="*/ 0 w 9"/>
                <a:gd name="T13" fmla="*/ 0 h 12"/>
                <a:gd name="T14" fmla="*/ 7 w 9"/>
                <a:gd name="T15" fmla="*/ 0 h 12"/>
                <a:gd name="T16" fmla="*/ 7 w 9"/>
                <a:gd name="T17" fmla="*/ 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2"/>
                <a:gd name="T29" fmla="*/ 9 w 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2">
                  <a:moveTo>
                    <a:pt x="7" y="5"/>
                  </a:moveTo>
                  <a:lnTo>
                    <a:pt x="9" y="5"/>
                  </a:lnTo>
                  <a:lnTo>
                    <a:pt x="9" y="7"/>
                  </a:lnTo>
                  <a:lnTo>
                    <a:pt x="2" y="7"/>
                  </a:lnTo>
                  <a:lnTo>
                    <a:pt x="2" y="12"/>
                  </a:lnTo>
                  <a:lnTo>
                    <a:pt x="0" y="12"/>
                  </a:lnTo>
                  <a:lnTo>
                    <a:pt x="0"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199" name="Freeform 288">
              <a:extLst>
                <a:ext uri="{FF2B5EF4-FFF2-40B4-BE49-F238E27FC236}">
                  <a16:creationId xmlns:a16="http://schemas.microsoft.com/office/drawing/2014/main" id="{694476B6-94CB-4D05-8366-87601F1EC4DC}"/>
                </a:ext>
              </a:extLst>
            </p:cNvPr>
            <p:cNvSpPr>
              <a:spLocks/>
            </p:cNvSpPr>
            <p:nvPr/>
          </p:nvSpPr>
          <p:spPr bwMode="gray">
            <a:xfrm rot="47099">
              <a:off x="1598770" y="2394835"/>
              <a:ext cx="4651" cy="4185"/>
            </a:xfrm>
            <a:custGeom>
              <a:avLst/>
              <a:gdLst>
                <a:gd name="T0" fmla="*/ 3 w 10"/>
                <a:gd name="T1" fmla="*/ 9 h 9"/>
                <a:gd name="T2" fmla="*/ 3 w 10"/>
                <a:gd name="T3" fmla="*/ 7 h 9"/>
                <a:gd name="T4" fmla="*/ 0 w 10"/>
                <a:gd name="T5" fmla="*/ 7 h 9"/>
                <a:gd name="T6" fmla="*/ 0 w 10"/>
                <a:gd name="T7" fmla="*/ 2 h 9"/>
                <a:gd name="T8" fmla="*/ 3 w 10"/>
                <a:gd name="T9" fmla="*/ 2 h 9"/>
                <a:gd name="T10" fmla="*/ 8 w 10"/>
                <a:gd name="T11" fmla="*/ 0 h 9"/>
                <a:gd name="T12" fmla="*/ 10 w 10"/>
                <a:gd name="T13" fmla="*/ 7 h 9"/>
                <a:gd name="T14" fmla="*/ 10 w 10"/>
                <a:gd name="T15" fmla="*/ 9 h 9"/>
                <a:gd name="T16" fmla="*/ 3 w 10"/>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9"/>
                <a:gd name="T29" fmla="*/ 10 w 10"/>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9">
                  <a:moveTo>
                    <a:pt x="3" y="9"/>
                  </a:moveTo>
                  <a:lnTo>
                    <a:pt x="3" y="7"/>
                  </a:lnTo>
                  <a:lnTo>
                    <a:pt x="0" y="7"/>
                  </a:lnTo>
                  <a:lnTo>
                    <a:pt x="0" y="2"/>
                  </a:lnTo>
                  <a:lnTo>
                    <a:pt x="3" y="2"/>
                  </a:lnTo>
                  <a:lnTo>
                    <a:pt x="8" y="0"/>
                  </a:lnTo>
                  <a:lnTo>
                    <a:pt x="10" y="7"/>
                  </a:lnTo>
                  <a:lnTo>
                    <a:pt x="10" y="9"/>
                  </a:lnTo>
                  <a:lnTo>
                    <a:pt x="3"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0" name="Freeform 289">
              <a:extLst>
                <a:ext uri="{FF2B5EF4-FFF2-40B4-BE49-F238E27FC236}">
                  <a16:creationId xmlns:a16="http://schemas.microsoft.com/office/drawing/2014/main" id="{FBB34267-B754-4C71-B92E-FCD1595A20A4}"/>
                </a:ext>
              </a:extLst>
            </p:cNvPr>
            <p:cNvSpPr>
              <a:spLocks/>
            </p:cNvSpPr>
            <p:nvPr/>
          </p:nvSpPr>
          <p:spPr bwMode="gray">
            <a:xfrm rot="47099">
              <a:off x="2123013" y="2251391"/>
              <a:ext cx="10696" cy="5579"/>
            </a:xfrm>
            <a:custGeom>
              <a:avLst/>
              <a:gdLst>
                <a:gd name="T0" fmla="*/ 7 w 23"/>
                <a:gd name="T1" fmla="*/ 0 h 12"/>
                <a:gd name="T2" fmla="*/ 7 w 23"/>
                <a:gd name="T3" fmla="*/ 2 h 12"/>
                <a:gd name="T4" fmla="*/ 16 w 23"/>
                <a:gd name="T5" fmla="*/ 2 h 12"/>
                <a:gd name="T6" fmla="*/ 21 w 23"/>
                <a:gd name="T7" fmla="*/ 9 h 12"/>
                <a:gd name="T8" fmla="*/ 23 w 23"/>
                <a:gd name="T9" fmla="*/ 9 h 12"/>
                <a:gd name="T10" fmla="*/ 21 w 23"/>
                <a:gd name="T11" fmla="*/ 9 h 12"/>
                <a:gd name="T12" fmla="*/ 21 w 23"/>
                <a:gd name="T13" fmla="*/ 12 h 12"/>
                <a:gd name="T14" fmla="*/ 4 w 23"/>
                <a:gd name="T15" fmla="*/ 12 h 12"/>
                <a:gd name="T16" fmla="*/ 0 w 23"/>
                <a:gd name="T17" fmla="*/ 9 h 12"/>
                <a:gd name="T18" fmla="*/ 0 w 23"/>
                <a:gd name="T19" fmla="*/ 0 h 12"/>
                <a:gd name="T20" fmla="*/ 7 w 2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2"/>
                <a:gd name="T35" fmla="*/ 23 w 2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2">
                  <a:moveTo>
                    <a:pt x="7" y="0"/>
                  </a:moveTo>
                  <a:lnTo>
                    <a:pt x="7" y="2"/>
                  </a:lnTo>
                  <a:lnTo>
                    <a:pt x="16" y="2"/>
                  </a:lnTo>
                  <a:lnTo>
                    <a:pt x="21" y="9"/>
                  </a:lnTo>
                  <a:lnTo>
                    <a:pt x="23" y="9"/>
                  </a:lnTo>
                  <a:lnTo>
                    <a:pt x="21" y="9"/>
                  </a:lnTo>
                  <a:lnTo>
                    <a:pt x="21" y="12"/>
                  </a:lnTo>
                  <a:lnTo>
                    <a:pt x="4" y="12"/>
                  </a:lnTo>
                  <a:lnTo>
                    <a:pt x="0" y="9"/>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1" name="Freeform 290">
              <a:extLst>
                <a:ext uri="{FF2B5EF4-FFF2-40B4-BE49-F238E27FC236}">
                  <a16:creationId xmlns:a16="http://schemas.microsoft.com/office/drawing/2014/main" id="{1715F37D-6DB4-4F4F-8806-E4E60E0EF2AF}"/>
                </a:ext>
              </a:extLst>
            </p:cNvPr>
            <p:cNvSpPr>
              <a:spLocks/>
            </p:cNvSpPr>
            <p:nvPr/>
          </p:nvSpPr>
          <p:spPr bwMode="gray">
            <a:xfrm rot="47099">
              <a:off x="1613480" y="2375041"/>
              <a:ext cx="4651" cy="930"/>
            </a:xfrm>
            <a:custGeom>
              <a:avLst/>
              <a:gdLst>
                <a:gd name="T0" fmla="*/ 7 w 10"/>
                <a:gd name="T1" fmla="*/ 2 h 2"/>
                <a:gd name="T2" fmla="*/ 0 w 10"/>
                <a:gd name="T3" fmla="*/ 2 h 2"/>
                <a:gd name="T4" fmla="*/ 0 w 10"/>
                <a:gd name="T5" fmla="*/ 0 h 2"/>
                <a:gd name="T6" fmla="*/ 10 w 10"/>
                <a:gd name="T7" fmla="*/ 0 h 2"/>
                <a:gd name="T8" fmla="*/ 7 w 10"/>
                <a:gd name="T9" fmla="*/ 2 h 2"/>
                <a:gd name="T10" fmla="*/ 0 60000 65536"/>
                <a:gd name="T11" fmla="*/ 0 60000 65536"/>
                <a:gd name="T12" fmla="*/ 0 60000 65536"/>
                <a:gd name="T13" fmla="*/ 0 60000 65536"/>
                <a:gd name="T14" fmla="*/ 0 60000 65536"/>
                <a:gd name="T15" fmla="*/ 0 w 10"/>
                <a:gd name="T16" fmla="*/ 0 h 2"/>
                <a:gd name="T17" fmla="*/ 10 w 10"/>
                <a:gd name="T18" fmla="*/ 2 h 2"/>
              </a:gdLst>
              <a:ahLst/>
              <a:cxnLst>
                <a:cxn ang="T10">
                  <a:pos x="T0" y="T1"/>
                </a:cxn>
                <a:cxn ang="T11">
                  <a:pos x="T2" y="T3"/>
                </a:cxn>
                <a:cxn ang="T12">
                  <a:pos x="T4" y="T5"/>
                </a:cxn>
                <a:cxn ang="T13">
                  <a:pos x="T6" y="T7"/>
                </a:cxn>
                <a:cxn ang="T14">
                  <a:pos x="T8" y="T9"/>
                </a:cxn>
              </a:cxnLst>
              <a:rect l="T15" t="T16" r="T17" b="T18"/>
              <a:pathLst>
                <a:path w="10" h="2">
                  <a:moveTo>
                    <a:pt x="7" y="2"/>
                  </a:moveTo>
                  <a:lnTo>
                    <a:pt x="0" y="2"/>
                  </a:lnTo>
                  <a:lnTo>
                    <a:pt x="0" y="0"/>
                  </a:lnTo>
                  <a:lnTo>
                    <a:pt x="10" y="0"/>
                  </a:lnTo>
                  <a:lnTo>
                    <a:pt x="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2" name="Freeform 291">
              <a:extLst>
                <a:ext uri="{FF2B5EF4-FFF2-40B4-BE49-F238E27FC236}">
                  <a16:creationId xmlns:a16="http://schemas.microsoft.com/office/drawing/2014/main" id="{CB29C563-87BB-4ADA-96D2-6642BDC60AE5}"/>
                </a:ext>
              </a:extLst>
            </p:cNvPr>
            <p:cNvSpPr>
              <a:spLocks/>
            </p:cNvSpPr>
            <p:nvPr/>
          </p:nvSpPr>
          <p:spPr bwMode="gray">
            <a:xfrm rot="47099">
              <a:off x="1846847" y="2331375"/>
              <a:ext cx="19531" cy="35803"/>
            </a:xfrm>
            <a:custGeom>
              <a:avLst/>
              <a:gdLst>
                <a:gd name="T0" fmla="*/ 40 w 42"/>
                <a:gd name="T1" fmla="*/ 54 h 77"/>
                <a:gd name="T2" fmla="*/ 35 w 42"/>
                <a:gd name="T3" fmla="*/ 54 h 77"/>
                <a:gd name="T4" fmla="*/ 35 w 42"/>
                <a:gd name="T5" fmla="*/ 56 h 77"/>
                <a:gd name="T6" fmla="*/ 40 w 42"/>
                <a:gd name="T7" fmla="*/ 61 h 77"/>
                <a:gd name="T8" fmla="*/ 40 w 42"/>
                <a:gd name="T9" fmla="*/ 66 h 77"/>
                <a:gd name="T10" fmla="*/ 35 w 42"/>
                <a:gd name="T11" fmla="*/ 73 h 77"/>
                <a:gd name="T12" fmla="*/ 33 w 42"/>
                <a:gd name="T13" fmla="*/ 77 h 77"/>
                <a:gd name="T14" fmla="*/ 31 w 42"/>
                <a:gd name="T15" fmla="*/ 73 h 77"/>
                <a:gd name="T16" fmla="*/ 26 w 42"/>
                <a:gd name="T17" fmla="*/ 66 h 77"/>
                <a:gd name="T18" fmla="*/ 19 w 42"/>
                <a:gd name="T19" fmla="*/ 63 h 77"/>
                <a:gd name="T20" fmla="*/ 14 w 42"/>
                <a:gd name="T21" fmla="*/ 63 h 77"/>
                <a:gd name="T22" fmla="*/ 9 w 42"/>
                <a:gd name="T23" fmla="*/ 61 h 77"/>
                <a:gd name="T24" fmla="*/ 7 w 42"/>
                <a:gd name="T25" fmla="*/ 49 h 77"/>
                <a:gd name="T26" fmla="*/ 2 w 42"/>
                <a:gd name="T27" fmla="*/ 47 h 77"/>
                <a:gd name="T28" fmla="*/ 0 w 42"/>
                <a:gd name="T29" fmla="*/ 33 h 77"/>
                <a:gd name="T30" fmla="*/ 2 w 42"/>
                <a:gd name="T31" fmla="*/ 28 h 77"/>
                <a:gd name="T32" fmla="*/ 2 w 42"/>
                <a:gd name="T33" fmla="*/ 23 h 77"/>
                <a:gd name="T34" fmla="*/ 7 w 42"/>
                <a:gd name="T35" fmla="*/ 9 h 77"/>
                <a:gd name="T36" fmla="*/ 7 w 42"/>
                <a:gd name="T37" fmla="*/ 7 h 77"/>
                <a:gd name="T38" fmla="*/ 9 w 42"/>
                <a:gd name="T39" fmla="*/ 4 h 77"/>
                <a:gd name="T40" fmla="*/ 17 w 42"/>
                <a:gd name="T41" fmla="*/ 4 h 77"/>
                <a:gd name="T42" fmla="*/ 19 w 42"/>
                <a:gd name="T43" fmla="*/ 0 h 77"/>
                <a:gd name="T44" fmla="*/ 24 w 42"/>
                <a:gd name="T45" fmla="*/ 0 h 77"/>
                <a:gd name="T46" fmla="*/ 26 w 42"/>
                <a:gd name="T47" fmla="*/ 4 h 77"/>
                <a:gd name="T48" fmla="*/ 31 w 42"/>
                <a:gd name="T49" fmla="*/ 4 h 77"/>
                <a:gd name="T50" fmla="*/ 31 w 42"/>
                <a:gd name="T51" fmla="*/ 7 h 77"/>
                <a:gd name="T52" fmla="*/ 33 w 42"/>
                <a:gd name="T53" fmla="*/ 9 h 77"/>
                <a:gd name="T54" fmla="*/ 35 w 42"/>
                <a:gd name="T55" fmla="*/ 9 h 77"/>
                <a:gd name="T56" fmla="*/ 40 w 42"/>
                <a:gd name="T57" fmla="*/ 21 h 77"/>
                <a:gd name="T58" fmla="*/ 42 w 42"/>
                <a:gd name="T59" fmla="*/ 33 h 77"/>
                <a:gd name="T60" fmla="*/ 40 w 42"/>
                <a:gd name="T61" fmla="*/ 33 h 77"/>
                <a:gd name="T62" fmla="*/ 40 w 42"/>
                <a:gd name="T63" fmla="*/ 54 h 7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77"/>
                <a:gd name="T98" fmla="*/ 42 w 42"/>
                <a:gd name="T99" fmla="*/ 77 h 7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77">
                  <a:moveTo>
                    <a:pt x="40" y="54"/>
                  </a:moveTo>
                  <a:lnTo>
                    <a:pt x="35" y="54"/>
                  </a:lnTo>
                  <a:lnTo>
                    <a:pt x="35" y="56"/>
                  </a:lnTo>
                  <a:lnTo>
                    <a:pt x="40" y="61"/>
                  </a:lnTo>
                  <a:lnTo>
                    <a:pt x="40" y="66"/>
                  </a:lnTo>
                  <a:lnTo>
                    <a:pt x="35" y="73"/>
                  </a:lnTo>
                  <a:lnTo>
                    <a:pt x="33" y="77"/>
                  </a:lnTo>
                  <a:lnTo>
                    <a:pt x="31" y="73"/>
                  </a:lnTo>
                  <a:lnTo>
                    <a:pt x="26" y="66"/>
                  </a:lnTo>
                  <a:lnTo>
                    <a:pt x="19" y="63"/>
                  </a:lnTo>
                  <a:lnTo>
                    <a:pt x="14" y="63"/>
                  </a:lnTo>
                  <a:lnTo>
                    <a:pt x="9" y="61"/>
                  </a:lnTo>
                  <a:lnTo>
                    <a:pt x="7" y="49"/>
                  </a:lnTo>
                  <a:lnTo>
                    <a:pt x="2" y="47"/>
                  </a:lnTo>
                  <a:lnTo>
                    <a:pt x="0" y="33"/>
                  </a:lnTo>
                  <a:lnTo>
                    <a:pt x="2" y="28"/>
                  </a:lnTo>
                  <a:lnTo>
                    <a:pt x="2" y="23"/>
                  </a:lnTo>
                  <a:lnTo>
                    <a:pt x="7" y="9"/>
                  </a:lnTo>
                  <a:lnTo>
                    <a:pt x="7" y="7"/>
                  </a:lnTo>
                  <a:lnTo>
                    <a:pt x="9" y="4"/>
                  </a:lnTo>
                  <a:lnTo>
                    <a:pt x="17" y="4"/>
                  </a:lnTo>
                  <a:lnTo>
                    <a:pt x="19" y="0"/>
                  </a:lnTo>
                  <a:lnTo>
                    <a:pt x="24" y="0"/>
                  </a:lnTo>
                  <a:lnTo>
                    <a:pt x="26" y="4"/>
                  </a:lnTo>
                  <a:lnTo>
                    <a:pt x="31" y="4"/>
                  </a:lnTo>
                  <a:lnTo>
                    <a:pt x="31" y="7"/>
                  </a:lnTo>
                  <a:lnTo>
                    <a:pt x="33" y="9"/>
                  </a:lnTo>
                  <a:lnTo>
                    <a:pt x="35" y="9"/>
                  </a:lnTo>
                  <a:lnTo>
                    <a:pt x="40" y="21"/>
                  </a:lnTo>
                  <a:lnTo>
                    <a:pt x="42" y="33"/>
                  </a:lnTo>
                  <a:lnTo>
                    <a:pt x="40" y="33"/>
                  </a:lnTo>
                  <a:lnTo>
                    <a:pt x="40" y="5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3" name="Freeform 292">
              <a:extLst>
                <a:ext uri="{FF2B5EF4-FFF2-40B4-BE49-F238E27FC236}">
                  <a16:creationId xmlns:a16="http://schemas.microsoft.com/office/drawing/2014/main" id="{C8B63D86-B76A-467F-A618-DF24EC2C5995}"/>
                </a:ext>
              </a:extLst>
            </p:cNvPr>
            <p:cNvSpPr>
              <a:spLocks/>
            </p:cNvSpPr>
            <p:nvPr/>
          </p:nvSpPr>
          <p:spPr bwMode="gray">
            <a:xfrm rot="47099">
              <a:off x="2115468" y="2222925"/>
              <a:ext cx="11161" cy="9765"/>
            </a:xfrm>
            <a:custGeom>
              <a:avLst/>
              <a:gdLst>
                <a:gd name="T0" fmla="*/ 21 w 24"/>
                <a:gd name="T1" fmla="*/ 0 h 21"/>
                <a:gd name="T2" fmla="*/ 24 w 24"/>
                <a:gd name="T3" fmla="*/ 7 h 21"/>
                <a:gd name="T4" fmla="*/ 21 w 24"/>
                <a:gd name="T5" fmla="*/ 11 h 21"/>
                <a:gd name="T6" fmla="*/ 21 w 24"/>
                <a:gd name="T7" fmla="*/ 16 h 21"/>
                <a:gd name="T8" fmla="*/ 17 w 24"/>
                <a:gd name="T9" fmla="*/ 16 h 21"/>
                <a:gd name="T10" fmla="*/ 14 w 24"/>
                <a:gd name="T11" fmla="*/ 21 h 21"/>
                <a:gd name="T12" fmla="*/ 5 w 24"/>
                <a:gd name="T13" fmla="*/ 21 h 21"/>
                <a:gd name="T14" fmla="*/ 0 w 24"/>
                <a:gd name="T15" fmla="*/ 16 h 21"/>
                <a:gd name="T16" fmla="*/ 0 w 24"/>
                <a:gd name="T17" fmla="*/ 7 h 21"/>
                <a:gd name="T18" fmla="*/ 5 w 24"/>
                <a:gd name="T19" fmla="*/ 7 h 21"/>
                <a:gd name="T20" fmla="*/ 5 w 24"/>
                <a:gd name="T21" fmla="*/ 4 h 21"/>
                <a:gd name="T22" fmla="*/ 14 w 24"/>
                <a:gd name="T23" fmla="*/ 4 h 21"/>
                <a:gd name="T24" fmla="*/ 9 w 24"/>
                <a:gd name="T25" fmla="*/ 0 h 21"/>
                <a:gd name="T26" fmla="*/ 21 w 2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21"/>
                <a:gd name="T44" fmla="*/ 24 w 24"/>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21">
                  <a:moveTo>
                    <a:pt x="21" y="0"/>
                  </a:moveTo>
                  <a:lnTo>
                    <a:pt x="24" y="7"/>
                  </a:lnTo>
                  <a:lnTo>
                    <a:pt x="21" y="11"/>
                  </a:lnTo>
                  <a:lnTo>
                    <a:pt x="21" y="16"/>
                  </a:lnTo>
                  <a:lnTo>
                    <a:pt x="17" y="16"/>
                  </a:lnTo>
                  <a:lnTo>
                    <a:pt x="14" y="21"/>
                  </a:lnTo>
                  <a:lnTo>
                    <a:pt x="5" y="21"/>
                  </a:lnTo>
                  <a:lnTo>
                    <a:pt x="0" y="16"/>
                  </a:lnTo>
                  <a:lnTo>
                    <a:pt x="0" y="7"/>
                  </a:lnTo>
                  <a:lnTo>
                    <a:pt x="5" y="7"/>
                  </a:lnTo>
                  <a:lnTo>
                    <a:pt x="5" y="4"/>
                  </a:lnTo>
                  <a:lnTo>
                    <a:pt x="14" y="4"/>
                  </a:lnTo>
                  <a:lnTo>
                    <a:pt x="9" y="0"/>
                  </a:lnTo>
                  <a:lnTo>
                    <a:pt x="21"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4" name="Freeform 293">
              <a:extLst>
                <a:ext uri="{FF2B5EF4-FFF2-40B4-BE49-F238E27FC236}">
                  <a16:creationId xmlns:a16="http://schemas.microsoft.com/office/drawing/2014/main" id="{B897761E-A4CD-4496-AB97-CBF20F5EC094}"/>
                </a:ext>
              </a:extLst>
            </p:cNvPr>
            <p:cNvSpPr>
              <a:spLocks/>
            </p:cNvSpPr>
            <p:nvPr/>
          </p:nvSpPr>
          <p:spPr bwMode="gray">
            <a:xfrm rot="47099">
              <a:off x="1881244" y="2315944"/>
              <a:ext cx="6510" cy="1394"/>
            </a:xfrm>
            <a:custGeom>
              <a:avLst/>
              <a:gdLst>
                <a:gd name="T0" fmla="*/ 3 w 14"/>
                <a:gd name="T1" fmla="*/ 0 h 3"/>
                <a:gd name="T2" fmla="*/ 14 w 14"/>
                <a:gd name="T3" fmla="*/ 0 h 3"/>
                <a:gd name="T4" fmla="*/ 14 w 14"/>
                <a:gd name="T5" fmla="*/ 3 h 3"/>
                <a:gd name="T6" fmla="*/ 0 w 14"/>
                <a:gd name="T7" fmla="*/ 3 h 3"/>
                <a:gd name="T8" fmla="*/ 3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3" y="0"/>
                  </a:moveTo>
                  <a:lnTo>
                    <a:pt x="14" y="0"/>
                  </a:lnTo>
                  <a:lnTo>
                    <a:pt x="14" y="3"/>
                  </a:lnTo>
                  <a:lnTo>
                    <a:pt x="0" y="3"/>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5" name="Freeform 294">
              <a:extLst>
                <a:ext uri="{FF2B5EF4-FFF2-40B4-BE49-F238E27FC236}">
                  <a16:creationId xmlns:a16="http://schemas.microsoft.com/office/drawing/2014/main" id="{4347152A-0DE5-4A28-A1D3-DC282143FF88}"/>
                </a:ext>
              </a:extLst>
            </p:cNvPr>
            <p:cNvSpPr>
              <a:spLocks/>
            </p:cNvSpPr>
            <p:nvPr/>
          </p:nvSpPr>
          <p:spPr bwMode="gray">
            <a:xfrm rot="47099">
              <a:off x="2111293" y="2224680"/>
              <a:ext cx="4186" cy="4649"/>
            </a:xfrm>
            <a:custGeom>
              <a:avLst/>
              <a:gdLst>
                <a:gd name="T0" fmla="*/ 9 w 9"/>
                <a:gd name="T1" fmla="*/ 0 h 10"/>
                <a:gd name="T2" fmla="*/ 9 w 9"/>
                <a:gd name="T3" fmla="*/ 3 h 10"/>
                <a:gd name="T4" fmla="*/ 7 w 9"/>
                <a:gd name="T5" fmla="*/ 7 h 10"/>
                <a:gd name="T6" fmla="*/ 7 w 9"/>
                <a:gd name="T7" fmla="*/ 10 h 10"/>
                <a:gd name="T8" fmla="*/ 0 w 9"/>
                <a:gd name="T9" fmla="*/ 10 h 10"/>
                <a:gd name="T10" fmla="*/ 2 w 9"/>
                <a:gd name="T11" fmla="*/ 3 h 10"/>
                <a:gd name="T12" fmla="*/ 7 w 9"/>
                <a:gd name="T13" fmla="*/ 0 h 10"/>
                <a:gd name="T14" fmla="*/ 9 w 9"/>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0"/>
                <a:gd name="T26" fmla="*/ 9 w 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0">
                  <a:moveTo>
                    <a:pt x="9" y="0"/>
                  </a:moveTo>
                  <a:lnTo>
                    <a:pt x="9" y="3"/>
                  </a:lnTo>
                  <a:lnTo>
                    <a:pt x="7" y="7"/>
                  </a:lnTo>
                  <a:lnTo>
                    <a:pt x="7" y="10"/>
                  </a:lnTo>
                  <a:lnTo>
                    <a:pt x="0" y="10"/>
                  </a:lnTo>
                  <a:lnTo>
                    <a:pt x="2" y="3"/>
                  </a:lnTo>
                  <a:lnTo>
                    <a:pt x="7"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6" name="Freeform 295">
              <a:extLst>
                <a:ext uri="{FF2B5EF4-FFF2-40B4-BE49-F238E27FC236}">
                  <a16:creationId xmlns:a16="http://schemas.microsoft.com/office/drawing/2014/main" id="{8BC70E2C-C400-4FB6-8C21-7707746C16A3}"/>
                </a:ext>
              </a:extLst>
            </p:cNvPr>
            <p:cNvSpPr>
              <a:spLocks/>
            </p:cNvSpPr>
            <p:nvPr/>
          </p:nvSpPr>
          <p:spPr bwMode="gray">
            <a:xfrm rot="47099">
              <a:off x="1942037" y="2290789"/>
              <a:ext cx="14416" cy="3255"/>
            </a:xfrm>
            <a:custGeom>
              <a:avLst/>
              <a:gdLst>
                <a:gd name="T0" fmla="*/ 7 w 31"/>
                <a:gd name="T1" fmla="*/ 0 h 7"/>
                <a:gd name="T2" fmla="*/ 14 w 31"/>
                <a:gd name="T3" fmla="*/ 2 h 7"/>
                <a:gd name="T4" fmla="*/ 17 w 31"/>
                <a:gd name="T5" fmla="*/ 2 h 7"/>
                <a:gd name="T6" fmla="*/ 17 w 31"/>
                <a:gd name="T7" fmla="*/ 0 h 7"/>
                <a:gd name="T8" fmla="*/ 28 w 31"/>
                <a:gd name="T9" fmla="*/ 0 h 7"/>
                <a:gd name="T10" fmla="*/ 31 w 31"/>
                <a:gd name="T11" fmla="*/ 2 h 7"/>
                <a:gd name="T12" fmla="*/ 28 w 31"/>
                <a:gd name="T13" fmla="*/ 7 h 7"/>
                <a:gd name="T14" fmla="*/ 5 w 31"/>
                <a:gd name="T15" fmla="*/ 7 h 7"/>
                <a:gd name="T16" fmla="*/ 5 w 31"/>
                <a:gd name="T17" fmla="*/ 2 h 7"/>
                <a:gd name="T18" fmla="*/ 0 w 31"/>
                <a:gd name="T19" fmla="*/ 2 h 7"/>
                <a:gd name="T20" fmla="*/ 5 w 31"/>
                <a:gd name="T21" fmla="*/ 0 h 7"/>
                <a:gd name="T22" fmla="*/ 7 w 31"/>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7"/>
                <a:gd name="T38" fmla="*/ 31 w 31"/>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7">
                  <a:moveTo>
                    <a:pt x="7" y="0"/>
                  </a:moveTo>
                  <a:lnTo>
                    <a:pt x="14" y="2"/>
                  </a:lnTo>
                  <a:lnTo>
                    <a:pt x="17" y="2"/>
                  </a:lnTo>
                  <a:lnTo>
                    <a:pt x="17" y="0"/>
                  </a:lnTo>
                  <a:lnTo>
                    <a:pt x="28" y="0"/>
                  </a:lnTo>
                  <a:lnTo>
                    <a:pt x="31" y="2"/>
                  </a:lnTo>
                  <a:lnTo>
                    <a:pt x="28" y="7"/>
                  </a:lnTo>
                  <a:lnTo>
                    <a:pt x="5" y="7"/>
                  </a:lnTo>
                  <a:lnTo>
                    <a:pt x="5" y="2"/>
                  </a:lnTo>
                  <a:lnTo>
                    <a:pt x="0" y="2"/>
                  </a:lnTo>
                  <a:lnTo>
                    <a:pt x="5"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7" name="Freeform 296">
              <a:extLst>
                <a:ext uri="{FF2B5EF4-FFF2-40B4-BE49-F238E27FC236}">
                  <a16:creationId xmlns:a16="http://schemas.microsoft.com/office/drawing/2014/main" id="{6C0B0214-C1C6-4D37-9CAF-6D9A9784FFC4}"/>
                </a:ext>
              </a:extLst>
            </p:cNvPr>
            <p:cNvSpPr>
              <a:spLocks/>
            </p:cNvSpPr>
            <p:nvPr/>
          </p:nvSpPr>
          <p:spPr bwMode="gray">
            <a:xfrm rot="47099">
              <a:off x="2000515" y="2261891"/>
              <a:ext cx="23252" cy="11159"/>
            </a:xfrm>
            <a:custGeom>
              <a:avLst/>
              <a:gdLst>
                <a:gd name="T0" fmla="*/ 29 w 50"/>
                <a:gd name="T1" fmla="*/ 5 h 24"/>
                <a:gd name="T2" fmla="*/ 38 w 50"/>
                <a:gd name="T3" fmla="*/ 5 h 24"/>
                <a:gd name="T4" fmla="*/ 50 w 50"/>
                <a:gd name="T5" fmla="*/ 9 h 24"/>
                <a:gd name="T6" fmla="*/ 50 w 50"/>
                <a:gd name="T7" fmla="*/ 16 h 24"/>
                <a:gd name="T8" fmla="*/ 45 w 50"/>
                <a:gd name="T9" fmla="*/ 21 h 24"/>
                <a:gd name="T10" fmla="*/ 43 w 50"/>
                <a:gd name="T11" fmla="*/ 21 h 24"/>
                <a:gd name="T12" fmla="*/ 33 w 50"/>
                <a:gd name="T13" fmla="*/ 24 h 24"/>
                <a:gd name="T14" fmla="*/ 29 w 50"/>
                <a:gd name="T15" fmla="*/ 24 h 24"/>
                <a:gd name="T16" fmla="*/ 26 w 50"/>
                <a:gd name="T17" fmla="*/ 21 h 24"/>
                <a:gd name="T18" fmla="*/ 19 w 50"/>
                <a:gd name="T19" fmla="*/ 9 h 24"/>
                <a:gd name="T20" fmla="*/ 19 w 50"/>
                <a:gd name="T21" fmla="*/ 7 h 24"/>
                <a:gd name="T22" fmla="*/ 10 w 50"/>
                <a:gd name="T23" fmla="*/ 7 h 24"/>
                <a:gd name="T24" fmla="*/ 5 w 50"/>
                <a:gd name="T25" fmla="*/ 9 h 24"/>
                <a:gd name="T26" fmla="*/ 0 w 50"/>
                <a:gd name="T27" fmla="*/ 5 h 24"/>
                <a:gd name="T28" fmla="*/ 5 w 50"/>
                <a:gd name="T29" fmla="*/ 5 h 24"/>
                <a:gd name="T30" fmla="*/ 19 w 50"/>
                <a:gd name="T31" fmla="*/ 0 h 24"/>
                <a:gd name="T32" fmla="*/ 26 w 50"/>
                <a:gd name="T33" fmla="*/ 0 h 24"/>
                <a:gd name="T34" fmla="*/ 29 w 50"/>
                <a:gd name="T35" fmla="*/ 5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24"/>
                <a:gd name="T56" fmla="*/ 50 w 5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24">
                  <a:moveTo>
                    <a:pt x="29" y="5"/>
                  </a:moveTo>
                  <a:lnTo>
                    <a:pt x="38" y="5"/>
                  </a:lnTo>
                  <a:lnTo>
                    <a:pt x="50" y="9"/>
                  </a:lnTo>
                  <a:lnTo>
                    <a:pt x="50" y="16"/>
                  </a:lnTo>
                  <a:lnTo>
                    <a:pt x="45" y="21"/>
                  </a:lnTo>
                  <a:lnTo>
                    <a:pt x="43" y="21"/>
                  </a:lnTo>
                  <a:lnTo>
                    <a:pt x="33" y="24"/>
                  </a:lnTo>
                  <a:lnTo>
                    <a:pt x="29" y="24"/>
                  </a:lnTo>
                  <a:lnTo>
                    <a:pt x="26" y="21"/>
                  </a:lnTo>
                  <a:lnTo>
                    <a:pt x="19" y="9"/>
                  </a:lnTo>
                  <a:lnTo>
                    <a:pt x="19" y="7"/>
                  </a:lnTo>
                  <a:lnTo>
                    <a:pt x="10" y="7"/>
                  </a:lnTo>
                  <a:lnTo>
                    <a:pt x="5" y="9"/>
                  </a:lnTo>
                  <a:lnTo>
                    <a:pt x="0" y="5"/>
                  </a:lnTo>
                  <a:lnTo>
                    <a:pt x="5" y="5"/>
                  </a:lnTo>
                  <a:lnTo>
                    <a:pt x="19" y="0"/>
                  </a:lnTo>
                  <a:lnTo>
                    <a:pt x="26" y="0"/>
                  </a:lnTo>
                  <a:lnTo>
                    <a:pt x="2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8" name="Freeform 297">
              <a:extLst>
                <a:ext uri="{FF2B5EF4-FFF2-40B4-BE49-F238E27FC236}">
                  <a16:creationId xmlns:a16="http://schemas.microsoft.com/office/drawing/2014/main" id="{962ECE81-E6AF-4B31-839E-B4F9D62FC748}"/>
                </a:ext>
              </a:extLst>
            </p:cNvPr>
            <p:cNvSpPr>
              <a:spLocks/>
            </p:cNvSpPr>
            <p:nvPr/>
          </p:nvSpPr>
          <p:spPr bwMode="gray">
            <a:xfrm rot="47099">
              <a:off x="1773473" y="2321648"/>
              <a:ext cx="36273" cy="39523"/>
            </a:xfrm>
            <a:custGeom>
              <a:avLst/>
              <a:gdLst>
                <a:gd name="T0" fmla="*/ 61 w 78"/>
                <a:gd name="T1" fmla="*/ 0 h 85"/>
                <a:gd name="T2" fmla="*/ 75 w 78"/>
                <a:gd name="T3" fmla="*/ 0 h 85"/>
                <a:gd name="T4" fmla="*/ 75 w 78"/>
                <a:gd name="T5" fmla="*/ 7 h 85"/>
                <a:gd name="T6" fmla="*/ 78 w 78"/>
                <a:gd name="T7" fmla="*/ 16 h 85"/>
                <a:gd name="T8" fmla="*/ 78 w 78"/>
                <a:gd name="T9" fmla="*/ 23 h 85"/>
                <a:gd name="T10" fmla="*/ 71 w 78"/>
                <a:gd name="T11" fmla="*/ 28 h 85"/>
                <a:gd name="T12" fmla="*/ 71 w 78"/>
                <a:gd name="T13" fmla="*/ 33 h 85"/>
                <a:gd name="T14" fmla="*/ 68 w 78"/>
                <a:gd name="T15" fmla="*/ 33 h 85"/>
                <a:gd name="T16" fmla="*/ 63 w 78"/>
                <a:gd name="T17" fmla="*/ 35 h 85"/>
                <a:gd name="T18" fmla="*/ 63 w 78"/>
                <a:gd name="T19" fmla="*/ 47 h 85"/>
                <a:gd name="T20" fmla="*/ 61 w 78"/>
                <a:gd name="T21" fmla="*/ 49 h 85"/>
                <a:gd name="T22" fmla="*/ 56 w 78"/>
                <a:gd name="T23" fmla="*/ 52 h 85"/>
                <a:gd name="T24" fmla="*/ 56 w 78"/>
                <a:gd name="T25" fmla="*/ 56 h 85"/>
                <a:gd name="T26" fmla="*/ 54 w 78"/>
                <a:gd name="T27" fmla="*/ 56 h 85"/>
                <a:gd name="T28" fmla="*/ 54 w 78"/>
                <a:gd name="T29" fmla="*/ 63 h 85"/>
                <a:gd name="T30" fmla="*/ 47 w 78"/>
                <a:gd name="T31" fmla="*/ 73 h 85"/>
                <a:gd name="T32" fmla="*/ 45 w 78"/>
                <a:gd name="T33" fmla="*/ 75 h 85"/>
                <a:gd name="T34" fmla="*/ 37 w 78"/>
                <a:gd name="T35" fmla="*/ 75 h 85"/>
                <a:gd name="T36" fmla="*/ 37 w 78"/>
                <a:gd name="T37" fmla="*/ 73 h 85"/>
                <a:gd name="T38" fmla="*/ 28 w 78"/>
                <a:gd name="T39" fmla="*/ 73 h 85"/>
                <a:gd name="T40" fmla="*/ 28 w 78"/>
                <a:gd name="T41" fmla="*/ 75 h 85"/>
                <a:gd name="T42" fmla="*/ 23 w 78"/>
                <a:gd name="T43" fmla="*/ 75 h 85"/>
                <a:gd name="T44" fmla="*/ 23 w 78"/>
                <a:gd name="T45" fmla="*/ 80 h 85"/>
                <a:gd name="T46" fmla="*/ 21 w 78"/>
                <a:gd name="T47" fmla="*/ 82 h 85"/>
                <a:gd name="T48" fmla="*/ 21 w 78"/>
                <a:gd name="T49" fmla="*/ 85 h 85"/>
                <a:gd name="T50" fmla="*/ 19 w 78"/>
                <a:gd name="T51" fmla="*/ 85 h 85"/>
                <a:gd name="T52" fmla="*/ 19 w 78"/>
                <a:gd name="T53" fmla="*/ 80 h 85"/>
                <a:gd name="T54" fmla="*/ 14 w 78"/>
                <a:gd name="T55" fmla="*/ 73 h 85"/>
                <a:gd name="T56" fmla="*/ 12 w 78"/>
                <a:gd name="T57" fmla="*/ 68 h 85"/>
                <a:gd name="T58" fmla="*/ 4 w 78"/>
                <a:gd name="T59" fmla="*/ 66 h 85"/>
                <a:gd name="T60" fmla="*/ 4 w 78"/>
                <a:gd name="T61" fmla="*/ 63 h 85"/>
                <a:gd name="T62" fmla="*/ 0 w 78"/>
                <a:gd name="T63" fmla="*/ 63 h 85"/>
                <a:gd name="T64" fmla="*/ 4 w 78"/>
                <a:gd name="T65" fmla="*/ 59 h 85"/>
                <a:gd name="T66" fmla="*/ 4 w 78"/>
                <a:gd name="T67" fmla="*/ 56 h 85"/>
                <a:gd name="T68" fmla="*/ 7 w 78"/>
                <a:gd name="T69" fmla="*/ 52 h 85"/>
                <a:gd name="T70" fmla="*/ 7 w 78"/>
                <a:gd name="T71" fmla="*/ 49 h 85"/>
                <a:gd name="T72" fmla="*/ 12 w 78"/>
                <a:gd name="T73" fmla="*/ 49 h 85"/>
                <a:gd name="T74" fmla="*/ 14 w 78"/>
                <a:gd name="T75" fmla="*/ 35 h 85"/>
                <a:gd name="T76" fmla="*/ 12 w 78"/>
                <a:gd name="T77" fmla="*/ 33 h 85"/>
                <a:gd name="T78" fmla="*/ 12 w 78"/>
                <a:gd name="T79" fmla="*/ 26 h 85"/>
                <a:gd name="T80" fmla="*/ 14 w 78"/>
                <a:gd name="T81" fmla="*/ 16 h 85"/>
                <a:gd name="T82" fmla="*/ 19 w 78"/>
                <a:gd name="T83" fmla="*/ 11 h 85"/>
                <a:gd name="T84" fmla="*/ 21 w 78"/>
                <a:gd name="T85" fmla="*/ 16 h 85"/>
                <a:gd name="T86" fmla="*/ 23 w 78"/>
                <a:gd name="T87" fmla="*/ 16 h 85"/>
                <a:gd name="T88" fmla="*/ 23 w 78"/>
                <a:gd name="T89" fmla="*/ 19 h 85"/>
                <a:gd name="T90" fmla="*/ 30 w 78"/>
                <a:gd name="T91" fmla="*/ 19 h 85"/>
                <a:gd name="T92" fmla="*/ 37 w 78"/>
                <a:gd name="T93" fmla="*/ 11 h 85"/>
                <a:gd name="T94" fmla="*/ 37 w 78"/>
                <a:gd name="T95" fmla="*/ 9 h 85"/>
                <a:gd name="T96" fmla="*/ 40 w 78"/>
                <a:gd name="T97" fmla="*/ 9 h 85"/>
                <a:gd name="T98" fmla="*/ 40 w 78"/>
                <a:gd name="T99" fmla="*/ 7 h 85"/>
                <a:gd name="T100" fmla="*/ 54 w 78"/>
                <a:gd name="T101" fmla="*/ 7 h 85"/>
                <a:gd name="T102" fmla="*/ 54 w 78"/>
                <a:gd name="T103" fmla="*/ 2 h 85"/>
                <a:gd name="T104" fmla="*/ 56 w 78"/>
                <a:gd name="T105" fmla="*/ 0 h 85"/>
                <a:gd name="T106" fmla="*/ 61 w 78"/>
                <a:gd name="T107" fmla="*/ 0 h 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8"/>
                <a:gd name="T163" fmla="*/ 0 h 85"/>
                <a:gd name="T164" fmla="*/ 78 w 78"/>
                <a:gd name="T165" fmla="*/ 85 h 8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8" h="85">
                  <a:moveTo>
                    <a:pt x="61" y="0"/>
                  </a:moveTo>
                  <a:lnTo>
                    <a:pt x="75" y="0"/>
                  </a:lnTo>
                  <a:lnTo>
                    <a:pt x="75" y="7"/>
                  </a:lnTo>
                  <a:lnTo>
                    <a:pt x="78" y="16"/>
                  </a:lnTo>
                  <a:lnTo>
                    <a:pt x="78" y="23"/>
                  </a:lnTo>
                  <a:lnTo>
                    <a:pt x="71" y="28"/>
                  </a:lnTo>
                  <a:lnTo>
                    <a:pt x="71" y="33"/>
                  </a:lnTo>
                  <a:lnTo>
                    <a:pt x="68" y="33"/>
                  </a:lnTo>
                  <a:lnTo>
                    <a:pt x="63" y="35"/>
                  </a:lnTo>
                  <a:lnTo>
                    <a:pt x="63" y="47"/>
                  </a:lnTo>
                  <a:lnTo>
                    <a:pt x="61" y="49"/>
                  </a:lnTo>
                  <a:lnTo>
                    <a:pt x="56" y="52"/>
                  </a:lnTo>
                  <a:lnTo>
                    <a:pt x="56" y="56"/>
                  </a:lnTo>
                  <a:lnTo>
                    <a:pt x="54" y="56"/>
                  </a:lnTo>
                  <a:lnTo>
                    <a:pt x="54" y="63"/>
                  </a:lnTo>
                  <a:lnTo>
                    <a:pt x="47" y="73"/>
                  </a:lnTo>
                  <a:lnTo>
                    <a:pt x="45" y="75"/>
                  </a:lnTo>
                  <a:lnTo>
                    <a:pt x="37" y="75"/>
                  </a:lnTo>
                  <a:lnTo>
                    <a:pt x="37" y="73"/>
                  </a:lnTo>
                  <a:lnTo>
                    <a:pt x="28" y="73"/>
                  </a:lnTo>
                  <a:lnTo>
                    <a:pt x="28" y="75"/>
                  </a:lnTo>
                  <a:lnTo>
                    <a:pt x="23" y="75"/>
                  </a:lnTo>
                  <a:lnTo>
                    <a:pt x="23" y="80"/>
                  </a:lnTo>
                  <a:lnTo>
                    <a:pt x="21" y="82"/>
                  </a:lnTo>
                  <a:lnTo>
                    <a:pt x="21" y="85"/>
                  </a:lnTo>
                  <a:lnTo>
                    <a:pt x="19" y="85"/>
                  </a:lnTo>
                  <a:lnTo>
                    <a:pt x="19" y="80"/>
                  </a:lnTo>
                  <a:lnTo>
                    <a:pt x="14" y="73"/>
                  </a:lnTo>
                  <a:lnTo>
                    <a:pt x="12" y="68"/>
                  </a:lnTo>
                  <a:lnTo>
                    <a:pt x="4" y="66"/>
                  </a:lnTo>
                  <a:lnTo>
                    <a:pt x="4" y="63"/>
                  </a:lnTo>
                  <a:lnTo>
                    <a:pt x="0" y="63"/>
                  </a:lnTo>
                  <a:lnTo>
                    <a:pt x="4" y="59"/>
                  </a:lnTo>
                  <a:lnTo>
                    <a:pt x="4" y="56"/>
                  </a:lnTo>
                  <a:lnTo>
                    <a:pt x="7" y="52"/>
                  </a:lnTo>
                  <a:lnTo>
                    <a:pt x="7" y="49"/>
                  </a:lnTo>
                  <a:lnTo>
                    <a:pt x="12" y="49"/>
                  </a:lnTo>
                  <a:lnTo>
                    <a:pt x="14" y="35"/>
                  </a:lnTo>
                  <a:lnTo>
                    <a:pt x="12" y="33"/>
                  </a:lnTo>
                  <a:lnTo>
                    <a:pt x="12" y="26"/>
                  </a:lnTo>
                  <a:lnTo>
                    <a:pt x="14" y="16"/>
                  </a:lnTo>
                  <a:lnTo>
                    <a:pt x="19" y="11"/>
                  </a:lnTo>
                  <a:lnTo>
                    <a:pt x="21" y="16"/>
                  </a:lnTo>
                  <a:lnTo>
                    <a:pt x="23" y="16"/>
                  </a:lnTo>
                  <a:lnTo>
                    <a:pt x="23" y="19"/>
                  </a:lnTo>
                  <a:lnTo>
                    <a:pt x="30" y="19"/>
                  </a:lnTo>
                  <a:lnTo>
                    <a:pt x="37" y="11"/>
                  </a:lnTo>
                  <a:lnTo>
                    <a:pt x="37" y="9"/>
                  </a:lnTo>
                  <a:lnTo>
                    <a:pt x="40" y="9"/>
                  </a:lnTo>
                  <a:lnTo>
                    <a:pt x="40" y="7"/>
                  </a:lnTo>
                  <a:lnTo>
                    <a:pt x="54" y="7"/>
                  </a:lnTo>
                  <a:lnTo>
                    <a:pt x="54" y="2"/>
                  </a:lnTo>
                  <a:lnTo>
                    <a:pt x="56" y="0"/>
                  </a:lnTo>
                  <a:lnTo>
                    <a:pt x="61"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09" name="Freeform 298">
              <a:extLst>
                <a:ext uri="{FF2B5EF4-FFF2-40B4-BE49-F238E27FC236}">
                  <a16:creationId xmlns:a16="http://schemas.microsoft.com/office/drawing/2014/main" id="{FD8664F4-340D-4E38-9DF3-6389F8EE1472}"/>
                </a:ext>
              </a:extLst>
            </p:cNvPr>
            <p:cNvSpPr>
              <a:spLocks/>
            </p:cNvSpPr>
            <p:nvPr/>
          </p:nvSpPr>
          <p:spPr bwMode="gray">
            <a:xfrm rot="47099">
              <a:off x="1863026" y="2280910"/>
              <a:ext cx="19997" cy="15344"/>
            </a:xfrm>
            <a:custGeom>
              <a:avLst/>
              <a:gdLst>
                <a:gd name="T0" fmla="*/ 14 w 43"/>
                <a:gd name="T1" fmla="*/ 2 h 33"/>
                <a:gd name="T2" fmla="*/ 24 w 43"/>
                <a:gd name="T3" fmla="*/ 2 h 33"/>
                <a:gd name="T4" fmla="*/ 26 w 43"/>
                <a:gd name="T5" fmla="*/ 0 h 33"/>
                <a:gd name="T6" fmla="*/ 33 w 43"/>
                <a:gd name="T7" fmla="*/ 2 h 33"/>
                <a:gd name="T8" fmla="*/ 38 w 43"/>
                <a:gd name="T9" fmla="*/ 2 h 33"/>
                <a:gd name="T10" fmla="*/ 43 w 43"/>
                <a:gd name="T11" fmla="*/ 12 h 33"/>
                <a:gd name="T12" fmla="*/ 43 w 43"/>
                <a:gd name="T13" fmla="*/ 21 h 33"/>
                <a:gd name="T14" fmla="*/ 38 w 43"/>
                <a:gd name="T15" fmla="*/ 28 h 33"/>
                <a:gd name="T16" fmla="*/ 33 w 43"/>
                <a:gd name="T17" fmla="*/ 33 h 33"/>
                <a:gd name="T18" fmla="*/ 31 w 43"/>
                <a:gd name="T19" fmla="*/ 33 h 33"/>
                <a:gd name="T20" fmla="*/ 24 w 43"/>
                <a:gd name="T21" fmla="*/ 28 h 33"/>
                <a:gd name="T22" fmla="*/ 17 w 43"/>
                <a:gd name="T23" fmla="*/ 26 h 33"/>
                <a:gd name="T24" fmla="*/ 14 w 43"/>
                <a:gd name="T25" fmla="*/ 21 h 33"/>
                <a:gd name="T26" fmla="*/ 9 w 43"/>
                <a:gd name="T27" fmla="*/ 21 h 33"/>
                <a:gd name="T28" fmla="*/ 9 w 43"/>
                <a:gd name="T29" fmla="*/ 19 h 33"/>
                <a:gd name="T30" fmla="*/ 7 w 43"/>
                <a:gd name="T31" fmla="*/ 19 h 33"/>
                <a:gd name="T32" fmla="*/ 2 w 43"/>
                <a:gd name="T33" fmla="*/ 16 h 33"/>
                <a:gd name="T34" fmla="*/ 0 w 43"/>
                <a:gd name="T35" fmla="*/ 16 h 33"/>
                <a:gd name="T36" fmla="*/ 0 w 43"/>
                <a:gd name="T37" fmla="*/ 12 h 33"/>
                <a:gd name="T38" fmla="*/ 2 w 43"/>
                <a:gd name="T39" fmla="*/ 5 h 33"/>
                <a:gd name="T40" fmla="*/ 7 w 43"/>
                <a:gd name="T41" fmla="*/ 2 h 33"/>
                <a:gd name="T42" fmla="*/ 14 w 43"/>
                <a:gd name="T43" fmla="*/ 2 h 3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
                <a:gd name="T67" fmla="*/ 0 h 33"/>
                <a:gd name="T68" fmla="*/ 43 w 43"/>
                <a:gd name="T69" fmla="*/ 33 h 3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 h="33">
                  <a:moveTo>
                    <a:pt x="14" y="2"/>
                  </a:moveTo>
                  <a:lnTo>
                    <a:pt x="24" y="2"/>
                  </a:lnTo>
                  <a:lnTo>
                    <a:pt x="26" y="0"/>
                  </a:lnTo>
                  <a:lnTo>
                    <a:pt x="33" y="2"/>
                  </a:lnTo>
                  <a:lnTo>
                    <a:pt x="38" y="2"/>
                  </a:lnTo>
                  <a:lnTo>
                    <a:pt x="43" y="12"/>
                  </a:lnTo>
                  <a:lnTo>
                    <a:pt x="43" y="21"/>
                  </a:lnTo>
                  <a:lnTo>
                    <a:pt x="38" y="28"/>
                  </a:lnTo>
                  <a:lnTo>
                    <a:pt x="33" y="33"/>
                  </a:lnTo>
                  <a:lnTo>
                    <a:pt x="31" y="33"/>
                  </a:lnTo>
                  <a:lnTo>
                    <a:pt x="24" y="28"/>
                  </a:lnTo>
                  <a:lnTo>
                    <a:pt x="17" y="26"/>
                  </a:lnTo>
                  <a:lnTo>
                    <a:pt x="14" y="21"/>
                  </a:lnTo>
                  <a:lnTo>
                    <a:pt x="9" y="21"/>
                  </a:lnTo>
                  <a:lnTo>
                    <a:pt x="9" y="19"/>
                  </a:lnTo>
                  <a:lnTo>
                    <a:pt x="7" y="19"/>
                  </a:lnTo>
                  <a:lnTo>
                    <a:pt x="2" y="16"/>
                  </a:lnTo>
                  <a:lnTo>
                    <a:pt x="0" y="16"/>
                  </a:lnTo>
                  <a:lnTo>
                    <a:pt x="0" y="12"/>
                  </a:lnTo>
                  <a:lnTo>
                    <a:pt x="2" y="5"/>
                  </a:lnTo>
                  <a:lnTo>
                    <a:pt x="7" y="2"/>
                  </a:lnTo>
                  <a:lnTo>
                    <a:pt x="1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0" name="Freeform 299">
              <a:extLst>
                <a:ext uri="{FF2B5EF4-FFF2-40B4-BE49-F238E27FC236}">
                  <a16:creationId xmlns:a16="http://schemas.microsoft.com/office/drawing/2014/main" id="{9DF90678-12F5-47AC-9108-39FCB5645C55}"/>
                </a:ext>
              </a:extLst>
            </p:cNvPr>
            <p:cNvSpPr>
              <a:spLocks/>
            </p:cNvSpPr>
            <p:nvPr/>
          </p:nvSpPr>
          <p:spPr bwMode="gray">
            <a:xfrm rot="47099">
              <a:off x="1634160" y="2324649"/>
              <a:ext cx="6510" cy="2325"/>
            </a:xfrm>
            <a:custGeom>
              <a:avLst/>
              <a:gdLst>
                <a:gd name="T0" fmla="*/ 9 w 14"/>
                <a:gd name="T1" fmla="*/ 0 h 5"/>
                <a:gd name="T2" fmla="*/ 14 w 14"/>
                <a:gd name="T3" fmla="*/ 0 h 5"/>
                <a:gd name="T4" fmla="*/ 14 w 14"/>
                <a:gd name="T5" fmla="*/ 5 h 5"/>
                <a:gd name="T6" fmla="*/ 4 w 14"/>
                <a:gd name="T7" fmla="*/ 5 h 5"/>
                <a:gd name="T8" fmla="*/ 0 w 14"/>
                <a:gd name="T9" fmla="*/ 0 h 5"/>
                <a:gd name="T10" fmla="*/ 9 w 14"/>
                <a:gd name="T11" fmla="*/ 0 h 5"/>
                <a:gd name="T12" fmla="*/ 0 60000 65536"/>
                <a:gd name="T13" fmla="*/ 0 60000 65536"/>
                <a:gd name="T14" fmla="*/ 0 60000 65536"/>
                <a:gd name="T15" fmla="*/ 0 60000 65536"/>
                <a:gd name="T16" fmla="*/ 0 60000 65536"/>
                <a:gd name="T17" fmla="*/ 0 60000 65536"/>
                <a:gd name="T18" fmla="*/ 0 w 14"/>
                <a:gd name="T19" fmla="*/ 0 h 5"/>
                <a:gd name="T20" fmla="*/ 14 w 14"/>
                <a:gd name="T21" fmla="*/ 5 h 5"/>
              </a:gdLst>
              <a:ahLst/>
              <a:cxnLst>
                <a:cxn ang="T12">
                  <a:pos x="T0" y="T1"/>
                </a:cxn>
                <a:cxn ang="T13">
                  <a:pos x="T2" y="T3"/>
                </a:cxn>
                <a:cxn ang="T14">
                  <a:pos x="T4" y="T5"/>
                </a:cxn>
                <a:cxn ang="T15">
                  <a:pos x="T6" y="T7"/>
                </a:cxn>
                <a:cxn ang="T16">
                  <a:pos x="T8" y="T9"/>
                </a:cxn>
                <a:cxn ang="T17">
                  <a:pos x="T10" y="T11"/>
                </a:cxn>
              </a:cxnLst>
              <a:rect l="T18" t="T19" r="T20" b="T21"/>
              <a:pathLst>
                <a:path w="14" h="5">
                  <a:moveTo>
                    <a:pt x="9" y="0"/>
                  </a:moveTo>
                  <a:lnTo>
                    <a:pt x="14" y="0"/>
                  </a:lnTo>
                  <a:lnTo>
                    <a:pt x="14" y="5"/>
                  </a:lnTo>
                  <a:lnTo>
                    <a:pt x="4" y="5"/>
                  </a:lnTo>
                  <a:lnTo>
                    <a:pt x="0"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1" name="Freeform 300">
              <a:extLst>
                <a:ext uri="{FF2B5EF4-FFF2-40B4-BE49-F238E27FC236}">
                  <a16:creationId xmlns:a16="http://schemas.microsoft.com/office/drawing/2014/main" id="{1749599B-9512-4429-862C-D6B8C0DA6D63}"/>
                </a:ext>
              </a:extLst>
            </p:cNvPr>
            <p:cNvSpPr>
              <a:spLocks/>
            </p:cNvSpPr>
            <p:nvPr/>
          </p:nvSpPr>
          <p:spPr bwMode="gray">
            <a:xfrm rot="47099">
              <a:off x="2092687" y="2190497"/>
              <a:ext cx="6976" cy="5579"/>
            </a:xfrm>
            <a:custGeom>
              <a:avLst/>
              <a:gdLst>
                <a:gd name="T0" fmla="*/ 3 w 15"/>
                <a:gd name="T1" fmla="*/ 0 h 12"/>
                <a:gd name="T2" fmla="*/ 10 w 15"/>
                <a:gd name="T3" fmla="*/ 7 h 12"/>
                <a:gd name="T4" fmla="*/ 15 w 15"/>
                <a:gd name="T5" fmla="*/ 9 h 12"/>
                <a:gd name="T6" fmla="*/ 15 w 15"/>
                <a:gd name="T7" fmla="*/ 12 h 12"/>
                <a:gd name="T8" fmla="*/ 10 w 15"/>
                <a:gd name="T9" fmla="*/ 9 h 12"/>
                <a:gd name="T10" fmla="*/ 7 w 15"/>
                <a:gd name="T11" fmla="*/ 9 h 12"/>
                <a:gd name="T12" fmla="*/ 0 w 15"/>
                <a:gd name="T13" fmla="*/ 2 h 12"/>
                <a:gd name="T14" fmla="*/ 0 w 15"/>
                <a:gd name="T15" fmla="*/ 0 h 12"/>
                <a:gd name="T16" fmla="*/ 3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3" y="0"/>
                  </a:moveTo>
                  <a:lnTo>
                    <a:pt x="10" y="7"/>
                  </a:lnTo>
                  <a:lnTo>
                    <a:pt x="15" y="9"/>
                  </a:lnTo>
                  <a:lnTo>
                    <a:pt x="15" y="12"/>
                  </a:lnTo>
                  <a:lnTo>
                    <a:pt x="10" y="9"/>
                  </a:lnTo>
                  <a:lnTo>
                    <a:pt x="7" y="9"/>
                  </a:lnTo>
                  <a:lnTo>
                    <a:pt x="0" y="2"/>
                  </a:lnTo>
                  <a:lnTo>
                    <a:pt x="0" y="0"/>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2" name="Freeform 301">
              <a:extLst>
                <a:ext uri="{FF2B5EF4-FFF2-40B4-BE49-F238E27FC236}">
                  <a16:creationId xmlns:a16="http://schemas.microsoft.com/office/drawing/2014/main" id="{A8A9EB4A-2D02-42A6-8BC6-8366E76DCCEF}"/>
                </a:ext>
              </a:extLst>
            </p:cNvPr>
            <p:cNvSpPr>
              <a:spLocks/>
            </p:cNvSpPr>
            <p:nvPr/>
          </p:nvSpPr>
          <p:spPr bwMode="gray">
            <a:xfrm rot="47099">
              <a:off x="2103990" y="2180868"/>
              <a:ext cx="4186" cy="4185"/>
            </a:xfrm>
            <a:custGeom>
              <a:avLst/>
              <a:gdLst>
                <a:gd name="T0" fmla="*/ 2 w 9"/>
                <a:gd name="T1" fmla="*/ 4 h 9"/>
                <a:gd name="T2" fmla="*/ 7 w 9"/>
                <a:gd name="T3" fmla="*/ 4 h 9"/>
                <a:gd name="T4" fmla="*/ 9 w 9"/>
                <a:gd name="T5" fmla="*/ 7 h 9"/>
                <a:gd name="T6" fmla="*/ 9 w 9"/>
                <a:gd name="T7" fmla="*/ 9 h 9"/>
                <a:gd name="T8" fmla="*/ 7 w 9"/>
                <a:gd name="T9" fmla="*/ 9 h 9"/>
                <a:gd name="T10" fmla="*/ 7 w 9"/>
                <a:gd name="T11" fmla="*/ 7 h 9"/>
                <a:gd name="T12" fmla="*/ 2 w 9"/>
                <a:gd name="T13" fmla="*/ 7 h 9"/>
                <a:gd name="T14" fmla="*/ 2 w 9"/>
                <a:gd name="T15" fmla="*/ 4 h 9"/>
                <a:gd name="T16" fmla="*/ 0 w 9"/>
                <a:gd name="T17" fmla="*/ 4 h 9"/>
                <a:gd name="T18" fmla="*/ 0 w 9"/>
                <a:gd name="T19" fmla="*/ 0 h 9"/>
                <a:gd name="T20" fmla="*/ 2 w 9"/>
                <a:gd name="T21" fmla="*/ 0 h 9"/>
                <a:gd name="T22" fmla="*/ 2 w 9"/>
                <a:gd name="T23" fmla="*/ 4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9"/>
                <a:gd name="T38" fmla="*/ 9 w 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9">
                  <a:moveTo>
                    <a:pt x="2" y="4"/>
                  </a:moveTo>
                  <a:lnTo>
                    <a:pt x="7" y="4"/>
                  </a:lnTo>
                  <a:lnTo>
                    <a:pt x="9" y="7"/>
                  </a:lnTo>
                  <a:lnTo>
                    <a:pt x="9" y="9"/>
                  </a:lnTo>
                  <a:lnTo>
                    <a:pt x="7" y="9"/>
                  </a:lnTo>
                  <a:lnTo>
                    <a:pt x="7" y="7"/>
                  </a:lnTo>
                  <a:lnTo>
                    <a:pt x="2" y="7"/>
                  </a:lnTo>
                  <a:lnTo>
                    <a:pt x="2" y="4"/>
                  </a:lnTo>
                  <a:lnTo>
                    <a:pt x="0" y="4"/>
                  </a:lnTo>
                  <a:lnTo>
                    <a:pt x="0" y="0"/>
                  </a:lnTo>
                  <a:lnTo>
                    <a:pt x="2" y="0"/>
                  </a:lnTo>
                  <a:lnTo>
                    <a:pt x="2"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3" name="Freeform 302">
              <a:extLst>
                <a:ext uri="{FF2B5EF4-FFF2-40B4-BE49-F238E27FC236}">
                  <a16:creationId xmlns:a16="http://schemas.microsoft.com/office/drawing/2014/main" id="{E4D90D9C-84C7-4825-B640-C415A573EF95}"/>
                </a:ext>
              </a:extLst>
            </p:cNvPr>
            <p:cNvSpPr>
              <a:spLocks/>
            </p:cNvSpPr>
            <p:nvPr/>
          </p:nvSpPr>
          <p:spPr bwMode="gray">
            <a:xfrm rot="47099">
              <a:off x="2099743" y="2180887"/>
              <a:ext cx="15347" cy="13019"/>
            </a:xfrm>
            <a:custGeom>
              <a:avLst/>
              <a:gdLst>
                <a:gd name="T0" fmla="*/ 4 w 33"/>
                <a:gd name="T1" fmla="*/ 4 h 28"/>
                <a:gd name="T2" fmla="*/ 4 w 33"/>
                <a:gd name="T3" fmla="*/ 7 h 28"/>
                <a:gd name="T4" fmla="*/ 9 w 33"/>
                <a:gd name="T5" fmla="*/ 7 h 28"/>
                <a:gd name="T6" fmla="*/ 18 w 33"/>
                <a:gd name="T7" fmla="*/ 16 h 28"/>
                <a:gd name="T8" fmla="*/ 18 w 33"/>
                <a:gd name="T9" fmla="*/ 21 h 28"/>
                <a:gd name="T10" fmla="*/ 26 w 33"/>
                <a:gd name="T11" fmla="*/ 21 h 28"/>
                <a:gd name="T12" fmla="*/ 28 w 33"/>
                <a:gd name="T13" fmla="*/ 23 h 28"/>
                <a:gd name="T14" fmla="*/ 33 w 33"/>
                <a:gd name="T15" fmla="*/ 28 h 28"/>
                <a:gd name="T16" fmla="*/ 23 w 33"/>
                <a:gd name="T17" fmla="*/ 28 h 28"/>
                <a:gd name="T18" fmla="*/ 16 w 33"/>
                <a:gd name="T19" fmla="*/ 23 h 28"/>
                <a:gd name="T20" fmla="*/ 9 w 33"/>
                <a:gd name="T21" fmla="*/ 16 h 28"/>
                <a:gd name="T22" fmla="*/ 2 w 33"/>
                <a:gd name="T23" fmla="*/ 7 h 28"/>
                <a:gd name="T24" fmla="*/ 0 w 33"/>
                <a:gd name="T25" fmla="*/ 7 h 28"/>
                <a:gd name="T26" fmla="*/ 2 w 33"/>
                <a:gd name="T27" fmla="*/ 0 h 28"/>
                <a:gd name="T28" fmla="*/ 4 w 33"/>
                <a:gd name="T29" fmla="*/ 4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28"/>
                <a:gd name="T47" fmla="*/ 33 w 33"/>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28">
                  <a:moveTo>
                    <a:pt x="4" y="4"/>
                  </a:moveTo>
                  <a:lnTo>
                    <a:pt x="4" y="7"/>
                  </a:lnTo>
                  <a:lnTo>
                    <a:pt x="9" y="7"/>
                  </a:lnTo>
                  <a:lnTo>
                    <a:pt x="18" y="16"/>
                  </a:lnTo>
                  <a:lnTo>
                    <a:pt x="18" y="21"/>
                  </a:lnTo>
                  <a:lnTo>
                    <a:pt x="26" y="21"/>
                  </a:lnTo>
                  <a:lnTo>
                    <a:pt x="28" y="23"/>
                  </a:lnTo>
                  <a:lnTo>
                    <a:pt x="33" y="28"/>
                  </a:lnTo>
                  <a:lnTo>
                    <a:pt x="23" y="28"/>
                  </a:lnTo>
                  <a:lnTo>
                    <a:pt x="16" y="23"/>
                  </a:lnTo>
                  <a:lnTo>
                    <a:pt x="9" y="16"/>
                  </a:lnTo>
                  <a:lnTo>
                    <a:pt x="2" y="7"/>
                  </a:lnTo>
                  <a:lnTo>
                    <a:pt x="0" y="7"/>
                  </a:lnTo>
                  <a:lnTo>
                    <a:pt x="2" y="0"/>
                  </a:lnTo>
                  <a:lnTo>
                    <a:pt x="4"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4" name="Freeform 303">
              <a:extLst>
                <a:ext uri="{FF2B5EF4-FFF2-40B4-BE49-F238E27FC236}">
                  <a16:creationId xmlns:a16="http://schemas.microsoft.com/office/drawing/2014/main" id="{64AF1766-2561-4FE0-B0BF-3B8725321480}"/>
                </a:ext>
              </a:extLst>
            </p:cNvPr>
            <p:cNvSpPr>
              <a:spLocks/>
            </p:cNvSpPr>
            <p:nvPr/>
          </p:nvSpPr>
          <p:spPr bwMode="gray">
            <a:xfrm rot="47099">
              <a:off x="1878585" y="2267628"/>
              <a:ext cx="18602" cy="11159"/>
            </a:xfrm>
            <a:custGeom>
              <a:avLst/>
              <a:gdLst>
                <a:gd name="T0" fmla="*/ 38 w 40"/>
                <a:gd name="T1" fmla="*/ 15 h 24"/>
                <a:gd name="T2" fmla="*/ 40 w 40"/>
                <a:gd name="T3" fmla="*/ 15 h 24"/>
                <a:gd name="T4" fmla="*/ 40 w 40"/>
                <a:gd name="T5" fmla="*/ 24 h 24"/>
                <a:gd name="T6" fmla="*/ 24 w 40"/>
                <a:gd name="T7" fmla="*/ 24 h 24"/>
                <a:gd name="T8" fmla="*/ 24 w 40"/>
                <a:gd name="T9" fmla="*/ 22 h 24"/>
                <a:gd name="T10" fmla="*/ 21 w 40"/>
                <a:gd name="T11" fmla="*/ 22 h 24"/>
                <a:gd name="T12" fmla="*/ 10 w 40"/>
                <a:gd name="T13" fmla="*/ 15 h 24"/>
                <a:gd name="T14" fmla="*/ 5 w 40"/>
                <a:gd name="T15" fmla="*/ 15 h 24"/>
                <a:gd name="T16" fmla="*/ 0 w 40"/>
                <a:gd name="T17" fmla="*/ 10 h 24"/>
                <a:gd name="T18" fmla="*/ 0 w 40"/>
                <a:gd name="T19" fmla="*/ 8 h 24"/>
                <a:gd name="T20" fmla="*/ 5 w 40"/>
                <a:gd name="T21" fmla="*/ 5 h 24"/>
                <a:gd name="T22" fmla="*/ 14 w 40"/>
                <a:gd name="T23" fmla="*/ 0 h 24"/>
                <a:gd name="T24" fmla="*/ 17 w 40"/>
                <a:gd name="T25" fmla="*/ 5 h 24"/>
                <a:gd name="T26" fmla="*/ 28 w 40"/>
                <a:gd name="T27" fmla="*/ 5 h 24"/>
                <a:gd name="T28" fmla="*/ 33 w 40"/>
                <a:gd name="T29" fmla="*/ 8 h 24"/>
                <a:gd name="T30" fmla="*/ 33 w 40"/>
                <a:gd name="T31" fmla="*/ 10 h 24"/>
                <a:gd name="T32" fmla="*/ 38 w 40"/>
                <a:gd name="T33" fmla="*/ 15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24"/>
                <a:gd name="T53" fmla="*/ 40 w 40"/>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24">
                  <a:moveTo>
                    <a:pt x="38" y="15"/>
                  </a:moveTo>
                  <a:lnTo>
                    <a:pt x="40" y="15"/>
                  </a:lnTo>
                  <a:lnTo>
                    <a:pt x="40" y="24"/>
                  </a:lnTo>
                  <a:lnTo>
                    <a:pt x="24" y="24"/>
                  </a:lnTo>
                  <a:lnTo>
                    <a:pt x="24" y="22"/>
                  </a:lnTo>
                  <a:lnTo>
                    <a:pt x="21" y="22"/>
                  </a:lnTo>
                  <a:lnTo>
                    <a:pt x="10" y="15"/>
                  </a:lnTo>
                  <a:lnTo>
                    <a:pt x="5" y="15"/>
                  </a:lnTo>
                  <a:lnTo>
                    <a:pt x="0" y="10"/>
                  </a:lnTo>
                  <a:lnTo>
                    <a:pt x="0" y="8"/>
                  </a:lnTo>
                  <a:lnTo>
                    <a:pt x="5" y="5"/>
                  </a:lnTo>
                  <a:lnTo>
                    <a:pt x="14" y="0"/>
                  </a:lnTo>
                  <a:lnTo>
                    <a:pt x="17" y="5"/>
                  </a:lnTo>
                  <a:lnTo>
                    <a:pt x="28" y="5"/>
                  </a:lnTo>
                  <a:lnTo>
                    <a:pt x="33" y="8"/>
                  </a:lnTo>
                  <a:lnTo>
                    <a:pt x="33" y="10"/>
                  </a:lnTo>
                  <a:lnTo>
                    <a:pt x="38" y="1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5" name="Freeform 304">
              <a:extLst>
                <a:ext uri="{FF2B5EF4-FFF2-40B4-BE49-F238E27FC236}">
                  <a16:creationId xmlns:a16="http://schemas.microsoft.com/office/drawing/2014/main" id="{DF5B9CD5-30B5-45E1-9886-8CF74F3DC436}"/>
                </a:ext>
              </a:extLst>
            </p:cNvPr>
            <p:cNvSpPr>
              <a:spLocks/>
            </p:cNvSpPr>
            <p:nvPr/>
          </p:nvSpPr>
          <p:spPr bwMode="gray">
            <a:xfrm rot="47099">
              <a:off x="1960399" y="2239363"/>
              <a:ext cx="5580" cy="5579"/>
            </a:xfrm>
            <a:custGeom>
              <a:avLst/>
              <a:gdLst>
                <a:gd name="T0" fmla="*/ 9 w 12"/>
                <a:gd name="T1" fmla="*/ 4 h 12"/>
                <a:gd name="T2" fmla="*/ 12 w 12"/>
                <a:gd name="T3" fmla="*/ 4 h 12"/>
                <a:gd name="T4" fmla="*/ 9 w 12"/>
                <a:gd name="T5" fmla="*/ 7 h 12"/>
                <a:gd name="T6" fmla="*/ 9 w 12"/>
                <a:gd name="T7" fmla="*/ 12 h 12"/>
                <a:gd name="T8" fmla="*/ 0 w 12"/>
                <a:gd name="T9" fmla="*/ 12 h 12"/>
                <a:gd name="T10" fmla="*/ 2 w 12"/>
                <a:gd name="T11" fmla="*/ 12 h 12"/>
                <a:gd name="T12" fmla="*/ 2 w 12"/>
                <a:gd name="T13" fmla="*/ 7 h 12"/>
                <a:gd name="T14" fmla="*/ 9 w 12"/>
                <a:gd name="T15" fmla="*/ 4 h 12"/>
                <a:gd name="T16" fmla="*/ 9 w 12"/>
                <a:gd name="T17" fmla="*/ 0 h 12"/>
                <a:gd name="T18" fmla="*/ 9 w 12"/>
                <a:gd name="T19" fmla="*/ 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9" y="4"/>
                  </a:moveTo>
                  <a:lnTo>
                    <a:pt x="12" y="4"/>
                  </a:lnTo>
                  <a:lnTo>
                    <a:pt x="9" y="7"/>
                  </a:lnTo>
                  <a:lnTo>
                    <a:pt x="9" y="12"/>
                  </a:lnTo>
                  <a:lnTo>
                    <a:pt x="0" y="12"/>
                  </a:lnTo>
                  <a:lnTo>
                    <a:pt x="2" y="12"/>
                  </a:lnTo>
                  <a:lnTo>
                    <a:pt x="2" y="7"/>
                  </a:lnTo>
                  <a:lnTo>
                    <a:pt x="9" y="4"/>
                  </a:lnTo>
                  <a:lnTo>
                    <a:pt x="9" y="0"/>
                  </a:lnTo>
                  <a:lnTo>
                    <a:pt x="9"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6" name="Freeform 305">
              <a:extLst>
                <a:ext uri="{FF2B5EF4-FFF2-40B4-BE49-F238E27FC236}">
                  <a16:creationId xmlns:a16="http://schemas.microsoft.com/office/drawing/2014/main" id="{F4FA7F5C-551D-4754-BB37-AEF169C42BD7}"/>
                </a:ext>
              </a:extLst>
            </p:cNvPr>
            <p:cNvSpPr>
              <a:spLocks/>
            </p:cNvSpPr>
            <p:nvPr/>
          </p:nvSpPr>
          <p:spPr bwMode="gray">
            <a:xfrm rot="47099">
              <a:off x="2101735" y="2176180"/>
              <a:ext cx="3255" cy="3255"/>
            </a:xfrm>
            <a:custGeom>
              <a:avLst/>
              <a:gdLst>
                <a:gd name="T0" fmla="*/ 5 w 7"/>
                <a:gd name="T1" fmla="*/ 0 h 7"/>
                <a:gd name="T2" fmla="*/ 7 w 7"/>
                <a:gd name="T3" fmla="*/ 0 h 7"/>
                <a:gd name="T4" fmla="*/ 7 w 7"/>
                <a:gd name="T5" fmla="*/ 3 h 7"/>
                <a:gd name="T6" fmla="*/ 5 w 7"/>
                <a:gd name="T7" fmla="*/ 7 h 7"/>
                <a:gd name="T8" fmla="*/ 0 w 7"/>
                <a:gd name="T9" fmla="*/ 7 h 7"/>
                <a:gd name="T10" fmla="*/ 0 w 7"/>
                <a:gd name="T11" fmla="*/ 0 h 7"/>
                <a:gd name="T12" fmla="*/ 5 w 7"/>
                <a:gd name="T13" fmla="*/ 0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5" y="0"/>
                  </a:moveTo>
                  <a:lnTo>
                    <a:pt x="7" y="0"/>
                  </a:lnTo>
                  <a:lnTo>
                    <a:pt x="7" y="3"/>
                  </a:lnTo>
                  <a:lnTo>
                    <a:pt x="5" y="7"/>
                  </a:lnTo>
                  <a:lnTo>
                    <a:pt x="0" y="7"/>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7" name="Freeform 306">
              <a:extLst>
                <a:ext uri="{FF2B5EF4-FFF2-40B4-BE49-F238E27FC236}">
                  <a16:creationId xmlns:a16="http://schemas.microsoft.com/office/drawing/2014/main" id="{7F1B1A96-BB6D-4CE5-A75B-E54156F50595}"/>
                </a:ext>
              </a:extLst>
            </p:cNvPr>
            <p:cNvSpPr>
              <a:spLocks/>
            </p:cNvSpPr>
            <p:nvPr/>
          </p:nvSpPr>
          <p:spPr bwMode="gray">
            <a:xfrm rot="47099">
              <a:off x="2096200" y="2172859"/>
              <a:ext cx="4651" cy="3255"/>
            </a:xfrm>
            <a:custGeom>
              <a:avLst/>
              <a:gdLst>
                <a:gd name="T0" fmla="*/ 3 w 10"/>
                <a:gd name="T1" fmla="*/ 5 h 7"/>
                <a:gd name="T2" fmla="*/ 8 w 10"/>
                <a:gd name="T3" fmla="*/ 5 h 7"/>
                <a:gd name="T4" fmla="*/ 8 w 10"/>
                <a:gd name="T5" fmla="*/ 0 h 7"/>
                <a:gd name="T6" fmla="*/ 10 w 10"/>
                <a:gd name="T7" fmla="*/ 7 h 7"/>
                <a:gd name="T8" fmla="*/ 8 w 10"/>
                <a:gd name="T9" fmla="*/ 7 h 7"/>
                <a:gd name="T10" fmla="*/ 0 w 10"/>
                <a:gd name="T11" fmla="*/ 5 h 7"/>
                <a:gd name="T12" fmla="*/ 3 w 10"/>
                <a:gd name="T13" fmla="*/ 5 h 7"/>
                <a:gd name="T14" fmla="*/ 0 60000 65536"/>
                <a:gd name="T15" fmla="*/ 0 60000 65536"/>
                <a:gd name="T16" fmla="*/ 0 60000 65536"/>
                <a:gd name="T17" fmla="*/ 0 60000 65536"/>
                <a:gd name="T18" fmla="*/ 0 60000 65536"/>
                <a:gd name="T19" fmla="*/ 0 60000 65536"/>
                <a:gd name="T20" fmla="*/ 0 60000 65536"/>
                <a:gd name="T21" fmla="*/ 0 w 10"/>
                <a:gd name="T22" fmla="*/ 0 h 7"/>
                <a:gd name="T23" fmla="*/ 10 w 10"/>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7">
                  <a:moveTo>
                    <a:pt x="3" y="5"/>
                  </a:moveTo>
                  <a:lnTo>
                    <a:pt x="8" y="5"/>
                  </a:lnTo>
                  <a:lnTo>
                    <a:pt x="8" y="0"/>
                  </a:lnTo>
                  <a:lnTo>
                    <a:pt x="10" y="7"/>
                  </a:lnTo>
                  <a:lnTo>
                    <a:pt x="8" y="7"/>
                  </a:lnTo>
                  <a:lnTo>
                    <a:pt x="0" y="5"/>
                  </a:lnTo>
                  <a:lnTo>
                    <a:pt x="3"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8" name="Freeform 307">
              <a:extLst>
                <a:ext uri="{FF2B5EF4-FFF2-40B4-BE49-F238E27FC236}">
                  <a16:creationId xmlns:a16="http://schemas.microsoft.com/office/drawing/2014/main" id="{A1CACA9F-2DE7-4C25-B139-6F839EF783A3}"/>
                </a:ext>
              </a:extLst>
            </p:cNvPr>
            <p:cNvSpPr>
              <a:spLocks/>
            </p:cNvSpPr>
            <p:nvPr/>
          </p:nvSpPr>
          <p:spPr bwMode="gray">
            <a:xfrm rot="47099">
              <a:off x="2088699" y="2175125"/>
              <a:ext cx="11161" cy="7440"/>
            </a:xfrm>
            <a:custGeom>
              <a:avLst/>
              <a:gdLst>
                <a:gd name="T0" fmla="*/ 9 w 24"/>
                <a:gd name="T1" fmla="*/ 0 h 16"/>
                <a:gd name="T2" fmla="*/ 9 w 24"/>
                <a:gd name="T3" fmla="*/ 2 h 16"/>
                <a:gd name="T4" fmla="*/ 12 w 24"/>
                <a:gd name="T5" fmla="*/ 9 h 16"/>
                <a:gd name="T6" fmla="*/ 16 w 24"/>
                <a:gd name="T7" fmla="*/ 9 h 16"/>
                <a:gd name="T8" fmla="*/ 19 w 24"/>
                <a:gd name="T9" fmla="*/ 5 h 16"/>
                <a:gd name="T10" fmla="*/ 24 w 24"/>
                <a:gd name="T11" fmla="*/ 9 h 16"/>
                <a:gd name="T12" fmla="*/ 24 w 24"/>
                <a:gd name="T13" fmla="*/ 16 h 16"/>
                <a:gd name="T14" fmla="*/ 19 w 24"/>
                <a:gd name="T15" fmla="*/ 12 h 16"/>
                <a:gd name="T16" fmla="*/ 0 w 24"/>
                <a:gd name="T17" fmla="*/ 12 h 16"/>
                <a:gd name="T18" fmla="*/ 0 w 24"/>
                <a:gd name="T19" fmla="*/ 9 h 16"/>
                <a:gd name="T20" fmla="*/ 2 w 24"/>
                <a:gd name="T21" fmla="*/ 5 h 16"/>
                <a:gd name="T22" fmla="*/ 2 w 24"/>
                <a:gd name="T23" fmla="*/ 0 h 16"/>
                <a:gd name="T24" fmla="*/ 9 w 2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16"/>
                <a:gd name="T41" fmla="*/ 24 w 2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16">
                  <a:moveTo>
                    <a:pt x="9" y="0"/>
                  </a:moveTo>
                  <a:lnTo>
                    <a:pt x="9" y="2"/>
                  </a:lnTo>
                  <a:lnTo>
                    <a:pt x="12" y="9"/>
                  </a:lnTo>
                  <a:lnTo>
                    <a:pt x="16" y="9"/>
                  </a:lnTo>
                  <a:lnTo>
                    <a:pt x="19" y="5"/>
                  </a:lnTo>
                  <a:lnTo>
                    <a:pt x="24" y="9"/>
                  </a:lnTo>
                  <a:lnTo>
                    <a:pt x="24" y="16"/>
                  </a:lnTo>
                  <a:lnTo>
                    <a:pt x="19" y="12"/>
                  </a:lnTo>
                  <a:lnTo>
                    <a:pt x="0" y="12"/>
                  </a:lnTo>
                  <a:lnTo>
                    <a:pt x="0" y="9"/>
                  </a:lnTo>
                  <a:lnTo>
                    <a:pt x="2" y="5"/>
                  </a:lnTo>
                  <a:lnTo>
                    <a:pt x="2"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19" name="Freeform 308">
              <a:extLst>
                <a:ext uri="{FF2B5EF4-FFF2-40B4-BE49-F238E27FC236}">
                  <a16:creationId xmlns:a16="http://schemas.microsoft.com/office/drawing/2014/main" id="{9E457323-7520-4C7E-AC38-BB96D2823589}"/>
                </a:ext>
              </a:extLst>
            </p:cNvPr>
            <p:cNvSpPr>
              <a:spLocks/>
            </p:cNvSpPr>
            <p:nvPr/>
          </p:nvSpPr>
          <p:spPr bwMode="gray">
            <a:xfrm rot="47099">
              <a:off x="1864348" y="2256670"/>
              <a:ext cx="8835" cy="6510"/>
            </a:xfrm>
            <a:custGeom>
              <a:avLst/>
              <a:gdLst>
                <a:gd name="T0" fmla="*/ 15 w 19"/>
                <a:gd name="T1" fmla="*/ 5 h 14"/>
                <a:gd name="T2" fmla="*/ 15 w 19"/>
                <a:gd name="T3" fmla="*/ 14 h 14"/>
                <a:gd name="T4" fmla="*/ 5 w 19"/>
                <a:gd name="T5" fmla="*/ 14 h 14"/>
                <a:gd name="T6" fmla="*/ 5 w 19"/>
                <a:gd name="T7" fmla="*/ 12 h 14"/>
                <a:gd name="T8" fmla="*/ 0 w 19"/>
                <a:gd name="T9" fmla="*/ 12 h 14"/>
                <a:gd name="T10" fmla="*/ 5 w 19"/>
                <a:gd name="T11" fmla="*/ 7 h 14"/>
                <a:gd name="T12" fmla="*/ 7 w 19"/>
                <a:gd name="T13" fmla="*/ 5 h 14"/>
                <a:gd name="T14" fmla="*/ 15 w 19"/>
                <a:gd name="T15" fmla="*/ 5 h 14"/>
                <a:gd name="T16" fmla="*/ 15 w 19"/>
                <a:gd name="T17" fmla="*/ 0 h 14"/>
                <a:gd name="T18" fmla="*/ 19 w 19"/>
                <a:gd name="T19" fmla="*/ 0 h 14"/>
                <a:gd name="T20" fmla="*/ 15 w 19"/>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4"/>
                <a:gd name="T35" fmla="*/ 19 w 1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4">
                  <a:moveTo>
                    <a:pt x="15" y="5"/>
                  </a:moveTo>
                  <a:lnTo>
                    <a:pt x="15" y="14"/>
                  </a:lnTo>
                  <a:lnTo>
                    <a:pt x="5" y="14"/>
                  </a:lnTo>
                  <a:lnTo>
                    <a:pt x="5" y="12"/>
                  </a:lnTo>
                  <a:lnTo>
                    <a:pt x="0" y="12"/>
                  </a:lnTo>
                  <a:lnTo>
                    <a:pt x="5" y="7"/>
                  </a:lnTo>
                  <a:lnTo>
                    <a:pt x="7" y="5"/>
                  </a:lnTo>
                  <a:lnTo>
                    <a:pt x="15" y="5"/>
                  </a:lnTo>
                  <a:lnTo>
                    <a:pt x="15" y="0"/>
                  </a:lnTo>
                  <a:lnTo>
                    <a:pt x="19" y="0"/>
                  </a:lnTo>
                  <a:lnTo>
                    <a:pt x="15"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0" name="Freeform 309">
              <a:extLst>
                <a:ext uri="{FF2B5EF4-FFF2-40B4-BE49-F238E27FC236}">
                  <a16:creationId xmlns:a16="http://schemas.microsoft.com/office/drawing/2014/main" id="{8157AEF2-58FA-4B56-B6B8-AB773AA059F8}"/>
                </a:ext>
              </a:extLst>
            </p:cNvPr>
            <p:cNvSpPr>
              <a:spLocks/>
            </p:cNvSpPr>
            <p:nvPr/>
          </p:nvSpPr>
          <p:spPr bwMode="gray">
            <a:xfrm rot="47099">
              <a:off x="2074485" y="2161865"/>
              <a:ext cx="4651" cy="4185"/>
            </a:xfrm>
            <a:custGeom>
              <a:avLst/>
              <a:gdLst>
                <a:gd name="T0" fmla="*/ 3 w 10"/>
                <a:gd name="T1" fmla="*/ 0 h 9"/>
                <a:gd name="T2" fmla="*/ 7 w 10"/>
                <a:gd name="T3" fmla="*/ 0 h 9"/>
                <a:gd name="T4" fmla="*/ 10 w 10"/>
                <a:gd name="T5" fmla="*/ 4 h 9"/>
                <a:gd name="T6" fmla="*/ 10 w 10"/>
                <a:gd name="T7" fmla="*/ 9 h 9"/>
                <a:gd name="T8" fmla="*/ 7 w 10"/>
                <a:gd name="T9" fmla="*/ 9 h 9"/>
                <a:gd name="T10" fmla="*/ 3 w 10"/>
                <a:gd name="T11" fmla="*/ 7 h 9"/>
                <a:gd name="T12" fmla="*/ 3 w 10"/>
                <a:gd name="T13" fmla="*/ 4 h 9"/>
                <a:gd name="T14" fmla="*/ 0 w 10"/>
                <a:gd name="T15" fmla="*/ 4 h 9"/>
                <a:gd name="T16" fmla="*/ 0 w 10"/>
                <a:gd name="T17" fmla="*/ 0 h 9"/>
                <a:gd name="T18" fmla="*/ 3 w 10"/>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9"/>
                <a:gd name="T32" fmla="*/ 10 w 10"/>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9">
                  <a:moveTo>
                    <a:pt x="3" y="0"/>
                  </a:moveTo>
                  <a:lnTo>
                    <a:pt x="7" y="0"/>
                  </a:lnTo>
                  <a:lnTo>
                    <a:pt x="10" y="4"/>
                  </a:lnTo>
                  <a:lnTo>
                    <a:pt x="10" y="9"/>
                  </a:lnTo>
                  <a:lnTo>
                    <a:pt x="7" y="9"/>
                  </a:lnTo>
                  <a:lnTo>
                    <a:pt x="3" y="7"/>
                  </a:lnTo>
                  <a:lnTo>
                    <a:pt x="3" y="4"/>
                  </a:lnTo>
                  <a:lnTo>
                    <a:pt x="0" y="4"/>
                  </a:lnTo>
                  <a:lnTo>
                    <a:pt x="0" y="0"/>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1" name="Freeform 310">
              <a:extLst>
                <a:ext uri="{FF2B5EF4-FFF2-40B4-BE49-F238E27FC236}">
                  <a16:creationId xmlns:a16="http://schemas.microsoft.com/office/drawing/2014/main" id="{9A60BE2F-BAA4-453A-9D22-45D517202D42}"/>
                </a:ext>
              </a:extLst>
            </p:cNvPr>
            <p:cNvSpPr>
              <a:spLocks/>
            </p:cNvSpPr>
            <p:nvPr/>
          </p:nvSpPr>
          <p:spPr bwMode="gray">
            <a:xfrm rot="47099">
              <a:off x="1932283" y="2220360"/>
              <a:ext cx="3255" cy="6510"/>
            </a:xfrm>
            <a:custGeom>
              <a:avLst/>
              <a:gdLst>
                <a:gd name="T0" fmla="*/ 0 w 7"/>
                <a:gd name="T1" fmla="*/ 4 h 14"/>
                <a:gd name="T2" fmla="*/ 4 w 7"/>
                <a:gd name="T3" fmla="*/ 7 h 14"/>
                <a:gd name="T4" fmla="*/ 7 w 7"/>
                <a:gd name="T5" fmla="*/ 14 h 14"/>
                <a:gd name="T6" fmla="*/ 4 w 7"/>
                <a:gd name="T7" fmla="*/ 14 h 14"/>
                <a:gd name="T8" fmla="*/ 4 w 7"/>
                <a:gd name="T9" fmla="*/ 11 h 14"/>
                <a:gd name="T10" fmla="*/ 0 w 7"/>
                <a:gd name="T11" fmla="*/ 11 h 14"/>
                <a:gd name="T12" fmla="*/ 0 w 7"/>
                <a:gd name="T13" fmla="*/ 0 h 14"/>
                <a:gd name="T14" fmla="*/ 0 w 7"/>
                <a:gd name="T15" fmla="*/ 4 h 1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4"/>
                <a:gd name="T26" fmla="*/ 7 w 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4">
                  <a:moveTo>
                    <a:pt x="0" y="4"/>
                  </a:moveTo>
                  <a:lnTo>
                    <a:pt x="4" y="7"/>
                  </a:lnTo>
                  <a:lnTo>
                    <a:pt x="7" y="14"/>
                  </a:lnTo>
                  <a:lnTo>
                    <a:pt x="4" y="14"/>
                  </a:lnTo>
                  <a:lnTo>
                    <a:pt x="4" y="11"/>
                  </a:lnTo>
                  <a:lnTo>
                    <a:pt x="0" y="11"/>
                  </a:lnTo>
                  <a:lnTo>
                    <a:pt x="0" y="0"/>
                  </a:lnTo>
                  <a:lnTo>
                    <a:pt x="0"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2" name="Freeform 311">
              <a:extLst>
                <a:ext uri="{FF2B5EF4-FFF2-40B4-BE49-F238E27FC236}">
                  <a16:creationId xmlns:a16="http://schemas.microsoft.com/office/drawing/2014/main" id="{1E03C1D4-D437-4D48-B417-E858633EFD86}"/>
                </a:ext>
              </a:extLst>
            </p:cNvPr>
            <p:cNvSpPr>
              <a:spLocks/>
            </p:cNvSpPr>
            <p:nvPr/>
          </p:nvSpPr>
          <p:spPr bwMode="gray">
            <a:xfrm rot="47099">
              <a:off x="2075931" y="2158621"/>
              <a:ext cx="3255" cy="3255"/>
            </a:xfrm>
            <a:custGeom>
              <a:avLst/>
              <a:gdLst>
                <a:gd name="T0" fmla="*/ 4 w 7"/>
                <a:gd name="T1" fmla="*/ 0 h 7"/>
                <a:gd name="T2" fmla="*/ 7 w 7"/>
                <a:gd name="T3" fmla="*/ 0 h 7"/>
                <a:gd name="T4" fmla="*/ 7 w 7"/>
                <a:gd name="T5" fmla="*/ 7 h 7"/>
                <a:gd name="T6" fmla="*/ 4 w 7"/>
                <a:gd name="T7" fmla="*/ 4 h 7"/>
                <a:gd name="T8" fmla="*/ 0 w 7"/>
                <a:gd name="T9" fmla="*/ 4 h 7"/>
                <a:gd name="T10" fmla="*/ 0 w 7"/>
                <a:gd name="T11" fmla="*/ 0 h 7"/>
                <a:gd name="T12" fmla="*/ 4 w 7"/>
                <a:gd name="T13" fmla="*/ 0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4" y="0"/>
                  </a:moveTo>
                  <a:lnTo>
                    <a:pt x="7" y="0"/>
                  </a:lnTo>
                  <a:lnTo>
                    <a:pt x="7" y="7"/>
                  </a:lnTo>
                  <a:lnTo>
                    <a:pt x="4" y="4"/>
                  </a:lnTo>
                  <a:lnTo>
                    <a:pt x="0" y="4"/>
                  </a:lnTo>
                  <a:lnTo>
                    <a:pt x="0" y="0"/>
                  </a:lnTo>
                  <a:lnTo>
                    <a:pt x="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3" name="Freeform 312">
              <a:extLst>
                <a:ext uri="{FF2B5EF4-FFF2-40B4-BE49-F238E27FC236}">
                  <a16:creationId xmlns:a16="http://schemas.microsoft.com/office/drawing/2014/main" id="{0BEE7657-782A-4C3D-89FB-4772A81476BF}"/>
                </a:ext>
              </a:extLst>
            </p:cNvPr>
            <p:cNvSpPr>
              <a:spLocks/>
            </p:cNvSpPr>
            <p:nvPr/>
          </p:nvSpPr>
          <p:spPr bwMode="gray">
            <a:xfrm rot="47099">
              <a:off x="1920202" y="2220201"/>
              <a:ext cx="4186" cy="5115"/>
            </a:xfrm>
            <a:custGeom>
              <a:avLst/>
              <a:gdLst>
                <a:gd name="T0" fmla="*/ 2 w 9"/>
                <a:gd name="T1" fmla="*/ 4 h 11"/>
                <a:gd name="T2" fmla="*/ 9 w 9"/>
                <a:gd name="T3" fmla="*/ 4 h 11"/>
                <a:gd name="T4" fmla="*/ 7 w 9"/>
                <a:gd name="T5" fmla="*/ 7 h 11"/>
                <a:gd name="T6" fmla="*/ 2 w 9"/>
                <a:gd name="T7" fmla="*/ 11 h 11"/>
                <a:gd name="T8" fmla="*/ 0 w 9"/>
                <a:gd name="T9" fmla="*/ 7 h 11"/>
                <a:gd name="T10" fmla="*/ 2 w 9"/>
                <a:gd name="T11" fmla="*/ 4 h 11"/>
                <a:gd name="T12" fmla="*/ 2 w 9"/>
                <a:gd name="T13" fmla="*/ 0 h 11"/>
                <a:gd name="T14" fmla="*/ 2 w 9"/>
                <a:gd name="T15" fmla="*/ 4 h 11"/>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1"/>
                <a:gd name="T26" fmla="*/ 9 w 9"/>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1">
                  <a:moveTo>
                    <a:pt x="2" y="4"/>
                  </a:moveTo>
                  <a:lnTo>
                    <a:pt x="9" y="4"/>
                  </a:lnTo>
                  <a:lnTo>
                    <a:pt x="7" y="7"/>
                  </a:lnTo>
                  <a:lnTo>
                    <a:pt x="2" y="11"/>
                  </a:lnTo>
                  <a:lnTo>
                    <a:pt x="0" y="7"/>
                  </a:lnTo>
                  <a:lnTo>
                    <a:pt x="2" y="4"/>
                  </a:lnTo>
                  <a:lnTo>
                    <a:pt x="2" y="0"/>
                  </a:lnTo>
                  <a:lnTo>
                    <a:pt x="2"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4" name="Freeform 313">
              <a:extLst>
                <a:ext uri="{FF2B5EF4-FFF2-40B4-BE49-F238E27FC236}">
                  <a16:creationId xmlns:a16="http://schemas.microsoft.com/office/drawing/2014/main" id="{39514666-0DAF-4A6B-B128-49FE74ACE54F}"/>
                </a:ext>
              </a:extLst>
            </p:cNvPr>
            <p:cNvSpPr>
              <a:spLocks/>
            </p:cNvSpPr>
            <p:nvPr/>
          </p:nvSpPr>
          <p:spPr bwMode="gray">
            <a:xfrm rot="47099">
              <a:off x="1930948" y="2214785"/>
              <a:ext cx="6510" cy="8834"/>
            </a:xfrm>
            <a:custGeom>
              <a:avLst/>
              <a:gdLst>
                <a:gd name="T0" fmla="*/ 7 w 14"/>
                <a:gd name="T1" fmla="*/ 0 h 19"/>
                <a:gd name="T2" fmla="*/ 10 w 14"/>
                <a:gd name="T3" fmla="*/ 7 h 19"/>
                <a:gd name="T4" fmla="*/ 10 w 14"/>
                <a:gd name="T5" fmla="*/ 9 h 19"/>
                <a:gd name="T6" fmla="*/ 14 w 14"/>
                <a:gd name="T7" fmla="*/ 19 h 19"/>
                <a:gd name="T8" fmla="*/ 10 w 14"/>
                <a:gd name="T9" fmla="*/ 19 h 19"/>
                <a:gd name="T10" fmla="*/ 7 w 14"/>
                <a:gd name="T11" fmla="*/ 12 h 19"/>
                <a:gd name="T12" fmla="*/ 7 w 14"/>
                <a:gd name="T13" fmla="*/ 7 h 19"/>
                <a:gd name="T14" fmla="*/ 3 w 14"/>
                <a:gd name="T15" fmla="*/ 7 h 19"/>
                <a:gd name="T16" fmla="*/ 0 w 14"/>
                <a:gd name="T17" fmla="*/ 2 h 19"/>
                <a:gd name="T18" fmla="*/ 3 w 14"/>
                <a:gd name="T19" fmla="*/ 2 h 19"/>
                <a:gd name="T20" fmla="*/ 3 w 14"/>
                <a:gd name="T21" fmla="*/ 0 h 19"/>
                <a:gd name="T22" fmla="*/ 7 w 14"/>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9"/>
                <a:gd name="T38" fmla="*/ 14 w 14"/>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9">
                  <a:moveTo>
                    <a:pt x="7" y="0"/>
                  </a:moveTo>
                  <a:lnTo>
                    <a:pt x="10" y="7"/>
                  </a:lnTo>
                  <a:lnTo>
                    <a:pt x="10" y="9"/>
                  </a:lnTo>
                  <a:lnTo>
                    <a:pt x="14" y="19"/>
                  </a:lnTo>
                  <a:lnTo>
                    <a:pt x="10" y="19"/>
                  </a:lnTo>
                  <a:lnTo>
                    <a:pt x="7" y="12"/>
                  </a:lnTo>
                  <a:lnTo>
                    <a:pt x="7" y="7"/>
                  </a:lnTo>
                  <a:lnTo>
                    <a:pt x="3" y="7"/>
                  </a:lnTo>
                  <a:lnTo>
                    <a:pt x="0" y="2"/>
                  </a:lnTo>
                  <a:lnTo>
                    <a:pt x="3" y="2"/>
                  </a:lnTo>
                  <a:lnTo>
                    <a:pt x="3"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5" name="Freeform 314">
              <a:extLst>
                <a:ext uri="{FF2B5EF4-FFF2-40B4-BE49-F238E27FC236}">
                  <a16:creationId xmlns:a16="http://schemas.microsoft.com/office/drawing/2014/main" id="{4D6F5EB2-92EB-472F-8426-B7043D8ECE39}"/>
                </a:ext>
              </a:extLst>
            </p:cNvPr>
            <p:cNvSpPr>
              <a:spLocks/>
            </p:cNvSpPr>
            <p:nvPr/>
          </p:nvSpPr>
          <p:spPr bwMode="gray">
            <a:xfrm rot="47099">
              <a:off x="2060647" y="2149599"/>
              <a:ext cx="6510" cy="12089"/>
            </a:xfrm>
            <a:custGeom>
              <a:avLst/>
              <a:gdLst>
                <a:gd name="T0" fmla="*/ 11 w 14"/>
                <a:gd name="T1" fmla="*/ 2 h 26"/>
                <a:gd name="T2" fmla="*/ 11 w 14"/>
                <a:gd name="T3" fmla="*/ 7 h 26"/>
                <a:gd name="T4" fmla="*/ 14 w 14"/>
                <a:gd name="T5" fmla="*/ 7 h 26"/>
                <a:gd name="T6" fmla="*/ 14 w 14"/>
                <a:gd name="T7" fmla="*/ 14 h 26"/>
                <a:gd name="T8" fmla="*/ 11 w 14"/>
                <a:gd name="T9" fmla="*/ 16 h 26"/>
                <a:gd name="T10" fmla="*/ 11 w 14"/>
                <a:gd name="T11" fmla="*/ 19 h 26"/>
                <a:gd name="T12" fmla="*/ 4 w 14"/>
                <a:gd name="T13" fmla="*/ 23 h 26"/>
                <a:gd name="T14" fmla="*/ 4 w 14"/>
                <a:gd name="T15" fmla="*/ 26 h 26"/>
                <a:gd name="T16" fmla="*/ 4 w 14"/>
                <a:gd name="T17" fmla="*/ 23 h 26"/>
                <a:gd name="T18" fmla="*/ 0 w 14"/>
                <a:gd name="T19" fmla="*/ 19 h 26"/>
                <a:gd name="T20" fmla="*/ 0 w 14"/>
                <a:gd name="T21" fmla="*/ 16 h 26"/>
                <a:gd name="T22" fmla="*/ 4 w 14"/>
                <a:gd name="T23" fmla="*/ 14 h 26"/>
                <a:gd name="T24" fmla="*/ 4 w 14"/>
                <a:gd name="T25" fmla="*/ 2 h 26"/>
                <a:gd name="T26" fmla="*/ 7 w 14"/>
                <a:gd name="T27" fmla="*/ 0 h 26"/>
                <a:gd name="T28" fmla="*/ 11 w 14"/>
                <a:gd name="T29" fmla="*/ 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6"/>
                <a:gd name="T47" fmla="*/ 14 w 14"/>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6">
                  <a:moveTo>
                    <a:pt x="11" y="2"/>
                  </a:moveTo>
                  <a:lnTo>
                    <a:pt x="11" y="7"/>
                  </a:lnTo>
                  <a:lnTo>
                    <a:pt x="14" y="7"/>
                  </a:lnTo>
                  <a:lnTo>
                    <a:pt x="14" y="14"/>
                  </a:lnTo>
                  <a:lnTo>
                    <a:pt x="11" y="16"/>
                  </a:lnTo>
                  <a:lnTo>
                    <a:pt x="11" y="19"/>
                  </a:lnTo>
                  <a:lnTo>
                    <a:pt x="4" y="23"/>
                  </a:lnTo>
                  <a:lnTo>
                    <a:pt x="4" y="26"/>
                  </a:lnTo>
                  <a:lnTo>
                    <a:pt x="4" y="23"/>
                  </a:lnTo>
                  <a:lnTo>
                    <a:pt x="0" y="19"/>
                  </a:lnTo>
                  <a:lnTo>
                    <a:pt x="0" y="16"/>
                  </a:lnTo>
                  <a:lnTo>
                    <a:pt x="4" y="14"/>
                  </a:lnTo>
                  <a:lnTo>
                    <a:pt x="4" y="2"/>
                  </a:lnTo>
                  <a:lnTo>
                    <a:pt x="7" y="0"/>
                  </a:lnTo>
                  <a:lnTo>
                    <a:pt x="11"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6" name="Freeform 315">
              <a:extLst>
                <a:ext uri="{FF2B5EF4-FFF2-40B4-BE49-F238E27FC236}">
                  <a16:creationId xmlns:a16="http://schemas.microsoft.com/office/drawing/2014/main" id="{1E5B612A-0D5A-4827-822A-D127C3781919}"/>
                </a:ext>
              </a:extLst>
            </p:cNvPr>
            <p:cNvSpPr>
              <a:spLocks/>
            </p:cNvSpPr>
            <p:nvPr/>
          </p:nvSpPr>
          <p:spPr bwMode="gray">
            <a:xfrm rot="47099">
              <a:off x="2084314" y="2089469"/>
              <a:ext cx="6510" cy="4185"/>
            </a:xfrm>
            <a:custGeom>
              <a:avLst/>
              <a:gdLst>
                <a:gd name="T0" fmla="*/ 7 w 14"/>
                <a:gd name="T1" fmla="*/ 0 h 9"/>
                <a:gd name="T2" fmla="*/ 7 w 14"/>
                <a:gd name="T3" fmla="*/ 2 h 9"/>
                <a:gd name="T4" fmla="*/ 7 w 14"/>
                <a:gd name="T5" fmla="*/ 0 h 9"/>
                <a:gd name="T6" fmla="*/ 12 w 14"/>
                <a:gd name="T7" fmla="*/ 0 h 9"/>
                <a:gd name="T8" fmla="*/ 14 w 14"/>
                <a:gd name="T9" fmla="*/ 2 h 9"/>
                <a:gd name="T10" fmla="*/ 14 w 14"/>
                <a:gd name="T11" fmla="*/ 9 h 9"/>
                <a:gd name="T12" fmla="*/ 5 w 14"/>
                <a:gd name="T13" fmla="*/ 9 h 9"/>
                <a:gd name="T14" fmla="*/ 0 w 14"/>
                <a:gd name="T15" fmla="*/ 2 h 9"/>
                <a:gd name="T16" fmla="*/ 5 w 14"/>
                <a:gd name="T17" fmla="*/ 0 h 9"/>
                <a:gd name="T18" fmla="*/ 7 w 14"/>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9"/>
                <a:gd name="T32" fmla="*/ 14 w 14"/>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9">
                  <a:moveTo>
                    <a:pt x="7" y="0"/>
                  </a:moveTo>
                  <a:lnTo>
                    <a:pt x="7" y="2"/>
                  </a:lnTo>
                  <a:lnTo>
                    <a:pt x="7" y="0"/>
                  </a:lnTo>
                  <a:lnTo>
                    <a:pt x="12" y="0"/>
                  </a:lnTo>
                  <a:lnTo>
                    <a:pt x="14" y="2"/>
                  </a:lnTo>
                  <a:lnTo>
                    <a:pt x="14" y="9"/>
                  </a:lnTo>
                  <a:lnTo>
                    <a:pt x="5" y="9"/>
                  </a:lnTo>
                  <a:lnTo>
                    <a:pt x="0" y="2"/>
                  </a:lnTo>
                  <a:lnTo>
                    <a:pt x="5"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7" name="Freeform 316">
              <a:extLst>
                <a:ext uri="{FF2B5EF4-FFF2-40B4-BE49-F238E27FC236}">
                  <a16:creationId xmlns:a16="http://schemas.microsoft.com/office/drawing/2014/main" id="{CF11A64E-D712-4ED1-AFBF-2905A778CF66}"/>
                </a:ext>
              </a:extLst>
            </p:cNvPr>
            <p:cNvSpPr>
              <a:spLocks/>
            </p:cNvSpPr>
            <p:nvPr/>
          </p:nvSpPr>
          <p:spPr bwMode="gray">
            <a:xfrm rot="47099">
              <a:off x="1747809" y="2209934"/>
              <a:ext cx="4186" cy="3255"/>
            </a:xfrm>
            <a:custGeom>
              <a:avLst/>
              <a:gdLst>
                <a:gd name="T0" fmla="*/ 9 w 9"/>
                <a:gd name="T1" fmla="*/ 5 h 7"/>
                <a:gd name="T2" fmla="*/ 7 w 9"/>
                <a:gd name="T3" fmla="*/ 5 h 7"/>
                <a:gd name="T4" fmla="*/ 7 w 9"/>
                <a:gd name="T5" fmla="*/ 7 h 7"/>
                <a:gd name="T6" fmla="*/ 2 w 9"/>
                <a:gd name="T7" fmla="*/ 7 h 7"/>
                <a:gd name="T8" fmla="*/ 2 w 9"/>
                <a:gd name="T9" fmla="*/ 5 h 7"/>
                <a:gd name="T10" fmla="*/ 0 w 9"/>
                <a:gd name="T11" fmla="*/ 5 h 7"/>
                <a:gd name="T12" fmla="*/ 2 w 9"/>
                <a:gd name="T13" fmla="*/ 0 h 7"/>
                <a:gd name="T14" fmla="*/ 9 w 9"/>
                <a:gd name="T15" fmla="*/ 0 h 7"/>
                <a:gd name="T16" fmla="*/ 9 w 9"/>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7"/>
                <a:gd name="T29" fmla="*/ 9 w 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7">
                  <a:moveTo>
                    <a:pt x="9" y="5"/>
                  </a:moveTo>
                  <a:lnTo>
                    <a:pt x="7" y="5"/>
                  </a:lnTo>
                  <a:lnTo>
                    <a:pt x="7" y="7"/>
                  </a:lnTo>
                  <a:lnTo>
                    <a:pt x="2" y="7"/>
                  </a:lnTo>
                  <a:lnTo>
                    <a:pt x="2" y="5"/>
                  </a:lnTo>
                  <a:lnTo>
                    <a:pt x="0" y="5"/>
                  </a:lnTo>
                  <a:lnTo>
                    <a:pt x="2" y="0"/>
                  </a:lnTo>
                  <a:lnTo>
                    <a:pt x="9" y="0"/>
                  </a:lnTo>
                  <a:lnTo>
                    <a:pt x="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8" name="Freeform 317">
              <a:extLst>
                <a:ext uri="{FF2B5EF4-FFF2-40B4-BE49-F238E27FC236}">
                  <a16:creationId xmlns:a16="http://schemas.microsoft.com/office/drawing/2014/main" id="{67D3FA6B-390D-4C19-A241-E1673F8120CD}"/>
                </a:ext>
              </a:extLst>
            </p:cNvPr>
            <p:cNvSpPr>
              <a:spLocks/>
            </p:cNvSpPr>
            <p:nvPr/>
          </p:nvSpPr>
          <p:spPr bwMode="gray">
            <a:xfrm rot="47099">
              <a:off x="1702802" y="2215741"/>
              <a:ext cx="126491" cy="112990"/>
            </a:xfrm>
            <a:custGeom>
              <a:avLst/>
              <a:gdLst>
                <a:gd name="T0" fmla="*/ 246 w 272"/>
                <a:gd name="T1" fmla="*/ 172 h 243"/>
                <a:gd name="T2" fmla="*/ 206 w 272"/>
                <a:gd name="T3" fmla="*/ 163 h 243"/>
                <a:gd name="T4" fmla="*/ 184 w 272"/>
                <a:gd name="T5" fmla="*/ 170 h 243"/>
                <a:gd name="T6" fmla="*/ 184 w 272"/>
                <a:gd name="T7" fmla="*/ 156 h 243"/>
                <a:gd name="T8" fmla="*/ 184 w 272"/>
                <a:gd name="T9" fmla="*/ 146 h 243"/>
                <a:gd name="T10" fmla="*/ 154 w 272"/>
                <a:gd name="T11" fmla="*/ 139 h 243"/>
                <a:gd name="T12" fmla="*/ 151 w 272"/>
                <a:gd name="T13" fmla="*/ 130 h 243"/>
                <a:gd name="T14" fmla="*/ 137 w 272"/>
                <a:gd name="T15" fmla="*/ 139 h 243"/>
                <a:gd name="T16" fmla="*/ 135 w 272"/>
                <a:gd name="T17" fmla="*/ 153 h 243"/>
                <a:gd name="T18" fmla="*/ 137 w 272"/>
                <a:gd name="T19" fmla="*/ 172 h 243"/>
                <a:gd name="T20" fmla="*/ 128 w 272"/>
                <a:gd name="T21" fmla="*/ 186 h 243"/>
                <a:gd name="T22" fmla="*/ 114 w 272"/>
                <a:gd name="T23" fmla="*/ 212 h 243"/>
                <a:gd name="T24" fmla="*/ 104 w 272"/>
                <a:gd name="T25" fmla="*/ 229 h 243"/>
                <a:gd name="T26" fmla="*/ 88 w 272"/>
                <a:gd name="T27" fmla="*/ 243 h 243"/>
                <a:gd name="T28" fmla="*/ 71 w 272"/>
                <a:gd name="T29" fmla="*/ 227 h 243"/>
                <a:gd name="T30" fmla="*/ 62 w 272"/>
                <a:gd name="T31" fmla="*/ 194 h 243"/>
                <a:gd name="T32" fmla="*/ 24 w 272"/>
                <a:gd name="T33" fmla="*/ 203 h 243"/>
                <a:gd name="T34" fmla="*/ 17 w 272"/>
                <a:gd name="T35" fmla="*/ 212 h 243"/>
                <a:gd name="T36" fmla="*/ 0 w 272"/>
                <a:gd name="T37" fmla="*/ 212 h 243"/>
                <a:gd name="T38" fmla="*/ 12 w 272"/>
                <a:gd name="T39" fmla="*/ 182 h 243"/>
                <a:gd name="T40" fmla="*/ 24 w 272"/>
                <a:gd name="T41" fmla="*/ 172 h 243"/>
                <a:gd name="T42" fmla="*/ 31 w 272"/>
                <a:gd name="T43" fmla="*/ 156 h 243"/>
                <a:gd name="T44" fmla="*/ 21 w 272"/>
                <a:gd name="T45" fmla="*/ 137 h 243"/>
                <a:gd name="T46" fmla="*/ 21 w 272"/>
                <a:gd name="T47" fmla="*/ 92 h 243"/>
                <a:gd name="T48" fmla="*/ 17 w 272"/>
                <a:gd name="T49" fmla="*/ 78 h 243"/>
                <a:gd name="T50" fmla="*/ 12 w 272"/>
                <a:gd name="T51" fmla="*/ 61 h 243"/>
                <a:gd name="T52" fmla="*/ 17 w 272"/>
                <a:gd name="T53" fmla="*/ 5 h 243"/>
                <a:gd name="T54" fmla="*/ 24 w 272"/>
                <a:gd name="T55" fmla="*/ 9 h 243"/>
                <a:gd name="T56" fmla="*/ 36 w 272"/>
                <a:gd name="T57" fmla="*/ 9 h 243"/>
                <a:gd name="T58" fmla="*/ 45 w 272"/>
                <a:gd name="T59" fmla="*/ 28 h 243"/>
                <a:gd name="T60" fmla="*/ 47 w 272"/>
                <a:gd name="T61" fmla="*/ 35 h 243"/>
                <a:gd name="T62" fmla="*/ 54 w 272"/>
                <a:gd name="T63" fmla="*/ 45 h 243"/>
                <a:gd name="T64" fmla="*/ 69 w 272"/>
                <a:gd name="T65" fmla="*/ 33 h 243"/>
                <a:gd name="T66" fmla="*/ 85 w 272"/>
                <a:gd name="T67" fmla="*/ 42 h 243"/>
                <a:gd name="T68" fmla="*/ 109 w 272"/>
                <a:gd name="T69" fmla="*/ 52 h 243"/>
                <a:gd name="T70" fmla="*/ 121 w 272"/>
                <a:gd name="T71" fmla="*/ 59 h 243"/>
                <a:gd name="T72" fmla="*/ 144 w 272"/>
                <a:gd name="T73" fmla="*/ 68 h 243"/>
                <a:gd name="T74" fmla="*/ 173 w 272"/>
                <a:gd name="T75" fmla="*/ 78 h 243"/>
                <a:gd name="T76" fmla="*/ 199 w 272"/>
                <a:gd name="T77" fmla="*/ 101 h 243"/>
                <a:gd name="T78" fmla="*/ 206 w 272"/>
                <a:gd name="T79" fmla="*/ 113 h 243"/>
                <a:gd name="T80" fmla="*/ 201 w 272"/>
                <a:gd name="T81" fmla="*/ 125 h 243"/>
                <a:gd name="T82" fmla="*/ 201 w 272"/>
                <a:gd name="T83" fmla="*/ 137 h 243"/>
                <a:gd name="T84" fmla="*/ 225 w 272"/>
                <a:gd name="T85" fmla="*/ 123 h 243"/>
                <a:gd name="T86" fmla="*/ 234 w 272"/>
                <a:gd name="T87" fmla="*/ 116 h 243"/>
                <a:gd name="T88" fmla="*/ 251 w 272"/>
                <a:gd name="T89" fmla="*/ 123 h 243"/>
                <a:gd name="T90" fmla="*/ 265 w 272"/>
                <a:gd name="T91" fmla="*/ 132 h 243"/>
                <a:gd name="T92" fmla="*/ 265 w 272"/>
                <a:gd name="T93" fmla="*/ 142 h 243"/>
                <a:gd name="T94" fmla="*/ 255 w 272"/>
                <a:gd name="T95" fmla="*/ 158 h 24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2"/>
                <a:gd name="T145" fmla="*/ 0 h 243"/>
                <a:gd name="T146" fmla="*/ 272 w 272"/>
                <a:gd name="T147" fmla="*/ 243 h 24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2" h="243">
                  <a:moveTo>
                    <a:pt x="248" y="172"/>
                  </a:moveTo>
                  <a:lnTo>
                    <a:pt x="248" y="175"/>
                  </a:lnTo>
                  <a:lnTo>
                    <a:pt x="246" y="175"/>
                  </a:lnTo>
                  <a:lnTo>
                    <a:pt x="246" y="172"/>
                  </a:lnTo>
                  <a:lnTo>
                    <a:pt x="232" y="172"/>
                  </a:lnTo>
                  <a:lnTo>
                    <a:pt x="217" y="165"/>
                  </a:lnTo>
                  <a:lnTo>
                    <a:pt x="206" y="165"/>
                  </a:lnTo>
                  <a:lnTo>
                    <a:pt x="206" y="163"/>
                  </a:lnTo>
                  <a:lnTo>
                    <a:pt x="201" y="163"/>
                  </a:lnTo>
                  <a:lnTo>
                    <a:pt x="194" y="165"/>
                  </a:lnTo>
                  <a:lnTo>
                    <a:pt x="194" y="170"/>
                  </a:lnTo>
                  <a:lnTo>
                    <a:pt x="184" y="170"/>
                  </a:lnTo>
                  <a:lnTo>
                    <a:pt x="184" y="165"/>
                  </a:lnTo>
                  <a:lnTo>
                    <a:pt x="182" y="163"/>
                  </a:lnTo>
                  <a:lnTo>
                    <a:pt x="182" y="158"/>
                  </a:lnTo>
                  <a:lnTo>
                    <a:pt x="184" y="156"/>
                  </a:lnTo>
                  <a:lnTo>
                    <a:pt x="189" y="156"/>
                  </a:lnTo>
                  <a:lnTo>
                    <a:pt x="189" y="153"/>
                  </a:lnTo>
                  <a:lnTo>
                    <a:pt x="184" y="149"/>
                  </a:lnTo>
                  <a:lnTo>
                    <a:pt x="184" y="146"/>
                  </a:lnTo>
                  <a:lnTo>
                    <a:pt x="166" y="146"/>
                  </a:lnTo>
                  <a:lnTo>
                    <a:pt x="161" y="149"/>
                  </a:lnTo>
                  <a:lnTo>
                    <a:pt x="154" y="149"/>
                  </a:lnTo>
                  <a:lnTo>
                    <a:pt x="154" y="139"/>
                  </a:lnTo>
                  <a:lnTo>
                    <a:pt x="158" y="137"/>
                  </a:lnTo>
                  <a:lnTo>
                    <a:pt x="158" y="132"/>
                  </a:lnTo>
                  <a:lnTo>
                    <a:pt x="154" y="130"/>
                  </a:lnTo>
                  <a:lnTo>
                    <a:pt x="151" y="130"/>
                  </a:lnTo>
                  <a:lnTo>
                    <a:pt x="151" y="132"/>
                  </a:lnTo>
                  <a:lnTo>
                    <a:pt x="149" y="132"/>
                  </a:lnTo>
                  <a:lnTo>
                    <a:pt x="142" y="137"/>
                  </a:lnTo>
                  <a:lnTo>
                    <a:pt x="137" y="139"/>
                  </a:lnTo>
                  <a:lnTo>
                    <a:pt x="135" y="139"/>
                  </a:lnTo>
                  <a:lnTo>
                    <a:pt x="135" y="142"/>
                  </a:lnTo>
                  <a:lnTo>
                    <a:pt x="132" y="149"/>
                  </a:lnTo>
                  <a:lnTo>
                    <a:pt x="135" y="153"/>
                  </a:lnTo>
                  <a:lnTo>
                    <a:pt x="135" y="156"/>
                  </a:lnTo>
                  <a:lnTo>
                    <a:pt x="137" y="156"/>
                  </a:lnTo>
                  <a:lnTo>
                    <a:pt x="142" y="165"/>
                  </a:lnTo>
                  <a:lnTo>
                    <a:pt x="137" y="172"/>
                  </a:lnTo>
                  <a:lnTo>
                    <a:pt x="135" y="172"/>
                  </a:lnTo>
                  <a:lnTo>
                    <a:pt x="132" y="175"/>
                  </a:lnTo>
                  <a:lnTo>
                    <a:pt x="128" y="182"/>
                  </a:lnTo>
                  <a:lnTo>
                    <a:pt x="128" y="186"/>
                  </a:lnTo>
                  <a:lnTo>
                    <a:pt x="125" y="189"/>
                  </a:lnTo>
                  <a:lnTo>
                    <a:pt x="118" y="189"/>
                  </a:lnTo>
                  <a:lnTo>
                    <a:pt x="114" y="196"/>
                  </a:lnTo>
                  <a:lnTo>
                    <a:pt x="114" y="212"/>
                  </a:lnTo>
                  <a:lnTo>
                    <a:pt x="111" y="215"/>
                  </a:lnTo>
                  <a:lnTo>
                    <a:pt x="109" y="222"/>
                  </a:lnTo>
                  <a:lnTo>
                    <a:pt x="104" y="227"/>
                  </a:lnTo>
                  <a:lnTo>
                    <a:pt x="104" y="229"/>
                  </a:lnTo>
                  <a:lnTo>
                    <a:pt x="102" y="229"/>
                  </a:lnTo>
                  <a:lnTo>
                    <a:pt x="95" y="238"/>
                  </a:lnTo>
                  <a:lnTo>
                    <a:pt x="88" y="238"/>
                  </a:lnTo>
                  <a:lnTo>
                    <a:pt x="88" y="243"/>
                  </a:lnTo>
                  <a:lnTo>
                    <a:pt x="78" y="243"/>
                  </a:lnTo>
                  <a:lnTo>
                    <a:pt x="76" y="238"/>
                  </a:lnTo>
                  <a:lnTo>
                    <a:pt x="71" y="234"/>
                  </a:lnTo>
                  <a:lnTo>
                    <a:pt x="71" y="227"/>
                  </a:lnTo>
                  <a:lnTo>
                    <a:pt x="69" y="220"/>
                  </a:lnTo>
                  <a:lnTo>
                    <a:pt x="69" y="198"/>
                  </a:lnTo>
                  <a:lnTo>
                    <a:pt x="64" y="196"/>
                  </a:lnTo>
                  <a:lnTo>
                    <a:pt x="62" y="194"/>
                  </a:lnTo>
                  <a:lnTo>
                    <a:pt x="54" y="196"/>
                  </a:lnTo>
                  <a:lnTo>
                    <a:pt x="47" y="196"/>
                  </a:lnTo>
                  <a:lnTo>
                    <a:pt x="40" y="203"/>
                  </a:lnTo>
                  <a:lnTo>
                    <a:pt x="24" y="203"/>
                  </a:lnTo>
                  <a:lnTo>
                    <a:pt x="24" y="205"/>
                  </a:lnTo>
                  <a:lnTo>
                    <a:pt x="21" y="205"/>
                  </a:lnTo>
                  <a:lnTo>
                    <a:pt x="21" y="212"/>
                  </a:lnTo>
                  <a:lnTo>
                    <a:pt x="17" y="212"/>
                  </a:lnTo>
                  <a:lnTo>
                    <a:pt x="17" y="215"/>
                  </a:lnTo>
                  <a:lnTo>
                    <a:pt x="7" y="215"/>
                  </a:lnTo>
                  <a:lnTo>
                    <a:pt x="5" y="212"/>
                  </a:lnTo>
                  <a:lnTo>
                    <a:pt x="0" y="212"/>
                  </a:lnTo>
                  <a:lnTo>
                    <a:pt x="0" y="198"/>
                  </a:lnTo>
                  <a:lnTo>
                    <a:pt x="7" y="186"/>
                  </a:lnTo>
                  <a:lnTo>
                    <a:pt x="7" y="182"/>
                  </a:lnTo>
                  <a:lnTo>
                    <a:pt x="12" y="182"/>
                  </a:lnTo>
                  <a:lnTo>
                    <a:pt x="14" y="179"/>
                  </a:lnTo>
                  <a:lnTo>
                    <a:pt x="17" y="179"/>
                  </a:lnTo>
                  <a:lnTo>
                    <a:pt x="17" y="175"/>
                  </a:lnTo>
                  <a:lnTo>
                    <a:pt x="24" y="172"/>
                  </a:lnTo>
                  <a:lnTo>
                    <a:pt x="31" y="165"/>
                  </a:lnTo>
                  <a:lnTo>
                    <a:pt x="36" y="165"/>
                  </a:lnTo>
                  <a:lnTo>
                    <a:pt x="36" y="158"/>
                  </a:lnTo>
                  <a:lnTo>
                    <a:pt x="31" y="156"/>
                  </a:lnTo>
                  <a:lnTo>
                    <a:pt x="28" y="153"/>
                  </a:lnTo>
                  <a:lnTo>
                    <a:pt x="24" y="149"/>
                  </a:lnTo>
                  <a:lnTo>
                    <a:pt x="21" y="142"/>
                  </a:lnTo>
                  <a:lnTo>
                    <a:pt x="21" y="137"/>
                  </a:lnTo>
                  <a:lnTo>
                    <a:pt x="17" y="123"/>
                  </a:lnTo>
                  <a:lnTo>
                    <a:pt x="17" y="101"/>
                  </a:lnTo>
                  <a:lnTo>
                    <a:pt x="21" y="101"/>
                  </a:lnTo>
                  <a:lnTo>
                    <a:pt x="21" y="92"/>
                  </a:lnTo>
                  <a:lnTo>
                    <a:pt x="17" y="90"/>
                  </a:lnTo>
                  <a:lnTo>
                    <a:pt x="14" y="85"/>
                  </a:lnTo>
                  <a:lnTo>
                    <a:pt x="14" y="78"/>
                  </a:lnTo>
                  <a:lnTo>
                    <a:pt x="17" y="78"/>
                  </a:lnTo>
                  <a:lnTo>
                    <a:pt x="17" y="75"/>
                  </a:lnTo>
                  <a:lnTo>
                    <a:pt x="14" y="68"/>
                  </a:lnTo>
                  <a:lnTo>
                    <a:pt x="14" y="61"/>
                  </a:lnTo>
                  <a:lnTo>
                    <a:pt x="12" y="61"/>
                  </a:lnTo>
                  <a:lnTo>
                    <a:pt x="12" y="12"/>
                  </a:lnTo>
                  <a:lnTo>
                    <a:pt x="14" y="12"/>
                  </a:lnTo>
                  <a:lnTo>
                    <a:pt x="14" y="9"/>
                  </a:lnTo>
                  <a:lnTo>
                    <a:pt x="17" y="5"/>
                  </a:lnTo>
                  <a:lnTo>
                    <a:pt x="21" y="2"/>
                  </a:lnTo>
                  <a:lnTo>
                    <a:pt x="21" y="0"/>
                  </a:lnTo>
                  <a:lnTo>
                    <a:pt x="24" y="0"/>
                  </a:lnTo>
                  <a:lnTo>
                    <a:pt x="24" y="9"/>
                  </a:lnTo>
                  <a:lnTo>
                    <a:pt x="28" y="12"/>
                  </a:lnTo>
                  <a:lnTo>
                    <a:pt x="31" y="9"/>
                  </a:lnTo>
                  <a:lnTo>
                    <a:pt x="31" y="5"/>
                  </a:lnTo>
                  <a:lnTo>
                    <a:pt x="36" y="9"/>
                  </a:lnTo>
                  <a:lnTo>
                    <a:pt x="40" y="9"/>
                  </a:lnTo>
                  <a:lnTo>
                    <a:pt x="47" y="21"/>
                  </a:lnTo>
                  <a:lnTo>
                    <a:pt x="47" y="26"/>
                  </a:lnTo>
                  <a:lnTo>
                    <a:pt x="45" y="28"/>
                  </a:lnTo>
                  <a:lnTo>
                    <a:pt x="40" y="28"/>
                  </a:lnTo>
                  <a:lnTo>
                    <a:pt x="38" y="33"/>
                  </a:lnTo>
                  <a:lnTo>
                    <a:pt x="40" y="35"/>
                  </a:lnTo>
                  <a:lnTo>
                    <a:pt x="47" y="35"/>
                  </a:lnTo>
                  <a:lnTo>
                    <a:pt x="47" y="40"/>
                  </a:lnTo>
                  <a:lnTo>
                    <a:pt x="52" y="40"/>
                  </a:lnTo>
                  <a:lnTo>
                    <a:pt x="54" y="42"/>
                  </a:lnTo>
                  <a:lnTo>
                    <a:pt x="54" y="45"/>
                  </a:lnTo>
                  <a:lnTo>
                    <a:pt x="62" y="59"/>
                  </a:lnTo>
                  <a:lnTo>
                    <a:pt x="64" y="57"/>
                  </a:lnTo>
                  <a:lnTo>
                    <a:pt x="64" y="42"/>
                  </a:lnTo>
                  <a:lnTo>
                    <a:pt x="69" y="33"/>
                  </a:lnTo>
                  <a:lnTo>
                    <a:pt x="76" y="33"/>
                  </a:lnTo>
                  <a:lnTo>
                    <a:pt x="78" y="40"/>
                  </a:lnTo>
                  <a:lnTo>
                    <a:pt x="80" y="40"/>
                  </a:lnTo>
                  <a:lnTo>
                    <a:pt x="85" y="42"/>
                  </a:lnTo>
                  <a:lnTo>
                    <a:pt x="85" y="45"/>
                  </a:lnTo>
                  <a:lnTo>
                    <a:pt x="88" y="49"/>
                  </a:lnTo>
                  <a:lnTo>
                    <a:pt x="92" y="52"/>
                  </a:lnTo>
                  <a:lnTo>
                    <a:pt x="109" y="52"/>
                  </a:lnTo>
                  <a:lnTo>
                    <a:pt x="111" y="49"/>
                  </a:lnTo>
                  <a:lnTo>
                    <a:pt x="118" y="52"/>
                  </a:lnTo>
                  <a:lnTo>
                    <a:pt x="121" y="57"/>
                  </a:lnTo>
                  <a:lnTo>
                    <a:pt x="121" y="59"/>
                  </a:lnTo>
                  <a:lnTo>
                    <a:pt x="125" y="61"/>
                  </a:lnTo>
                  <a:lnTo>
                    <a:pt x="132" y="66"/>
                  </a:lnTo>
                  <a:lnTo>
                    <a:pt x="137" y="68"/>
                  </a:lnTo>
                  <a:lnTo>
                    <a:pt x="144" y="68"/>
                  </a:lnTo>
                  <a:lnTo>
                    <a:pt x="144" y="73"/>
                  </a:lnTo>
                  <a:lnTo>
                    <a:pt x="149" y="75"/>
                  </a:lnTo>
                  <a:lnTo>
                    <a:pt x="166" y="75"/>
                  </a:lnTo>
                  <a:lnTo>
                    <a:pt x="173" y="78"/>
                  </a:lnTo>
                  <a:lnTo>
                    <a:pt x="177" y="83"/>
                  </a:lnTo>
                  <a:lnTo>
                    <a:pt x="184" y="85"/>
                  </a:lnTo>
                  <a:lnTo>
                    <a:pt x="194" y="92"/>
                  </a:lnTo>
                  <a:lnTo>
                    <a:pt x="199" y="101"/>
                  </a:lnTo>
                  <a:lnTo>
                    <a:pt x="199" y="106"/>
                  </a:lnTo>
                  <a:lnTo>
                    <a:pt x="201" y="108"/>
                  </a:lnTo>
                  <a:lnTo>
                    <a:pt x="201" y="113"/>
                  </a:lnTo>
                  <a:lnTo>
                    <a:pt x="206" y="113"/>
                  </a:lnTo>
                  <a:lnTo>
                    <a:pt x="208" y="116"/>
                  </a:lnTo>
                  <a:lnTo>
                    <a:pt x="208" y="123"/>
                  </a:lnTo>
                  <a:lnTo>
                    <a:pt x="206" y="125"/>
                  </a:lnTo>
                  <a:lnTo>
                    <a:pt x="201" y="125"/>
                  </a:lnTo>
                  <a:lnTo>
                    <a:pt x="201" y="130"/>
                  </a:lnTo>
                  <a:lnTo>
                    <a:pt x="199" y="132"/>
                  </a:lnTo>
                  <a:lnTo>
                    <a:pt x="199" y="137"/>
                  </a:lnTo>
                  <a:lnTo>
                    <a:pt x="201" y="137"/>
                  </a:lnTo>
                  <a:lnTo>
                    <a:pt x="215" y="130"/>
                  </a:lnTo>
                  <a:lnTo>
                    <a:pt x="217" y="125"/>
                  </a:lnTo>
                  <a:lnTo>
                    <a:pt x="217" y="123"/>
                  </a:lnTo>
                  <a:lnTo>
                    <a:pt x="225" y="123"/>
                  </a:lnTo>
                  <a:lnTo>
                    <a:pt x="239" y="125"/>
                  </a:lnTo>
                  <a:lnTo>
                    <a:pt x="239" y="123"/>
                  </a:lnTo>
                  <a:lnTo>
                    <a:pt x="234" y="123"/>
                  </a:lnTo>
                  <a:lnTo>
                    <a:pt x="234" y="116"/>
                  </a:lnTo>
                  <a:lnTo>
                    <a:pt x="241" y="116"/>
                  </a:lnTo>
                  <a:lnTo>
                    <a:pt x="241" y="118"/>
                  </a:lnTo>
                  <a:lnTo>
                    <a:pt x="246" y="118"/>
                  </a:lnTo>
                  <a:lnTo>
                    <a:pt x="251" y="123"/>
                  </a:lnTo>
                  <a:lnTo>
                    <a:pt x="255" y="123"/>
                  </a:lnTo>
                  <a:lnTo>
                    <a:pt x="258" y="130"/>
                  </a:lnTo>
                  <a:lnTo>
                    <a:pt x="255" y="132"/>
                  </a:lnTo>
                  <a:lnTo>
                    <a:pt x="265" y="132"/>
                  </a:lnTo>
                  <a:lnTo>
                    <a:pt x="272" y="137"/>
                  </a:lnTo>
                  <a:lnTo>
                    <a:pt x="272" y="139"/>
                  </a:lnTo>
                  <a:lnTo>
                    <a:pt x="269" y="142"/>
                  </a:lnTo>
                  <a:lnTo>
                    <a:pt x="265" y="142"/>
                  </a:lnTo>
                  <a:lnTo>
                    <a:pt x="265" y="146"/>
                  </a:lnTo>
                  <a:lnTo>
                    <a:pt x="262" y="146"/>
                  </a:lnTo>
                  <a:lnTo>
                    <a:pt x="262" y="156"/>
                  </a:lnTo>
                  <a:lnTo>
                    <a:pt x="255" y="158"/>
                  </a:lnTo>
                  <a:lnTo>
                    <a:pt x="251" y="165"/>
                  </a:lnTo>
                  <a:lnTo>
                    <a:pt x="251" y="172"/>
                  </a:lnTo>
                  <a:lnTo>
                    <a:pt x="248" y="17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29" name="Freeform 318">
              <a:extLst>
                <a:ext uri="{FF2B5EF4-FFF2-40B4-BE49-F238E27FC236}">
                  <a16:creationId xmlns:a16="http://schemas.microsoft.com/office/drawing/2014/main" id="{7BB2035D-3016-40DB-940E-EFE96C51AECB}"/>
                </a:ext>
              </a:extLst>
            </p:cNvPr>
            <p:cNvSpPr>
              <a:spLocks/>
            </p:cNvSpPr>
            <p:nvPr/>
          </p:nvSpPr>
          <p:spPr bwMode="gray">
            <a:xfrm rot="47099">
              <a:off x="1720270" y="2209618"/>
              <a:ext cx="13021" cy="18599"/>
            </a:xfrm>
            <a:custGeom>
              <a:avLst/>
              <a:gdLst>
                <a:gd name="T0" fmla="*/ 9 w 28"/>
                <a:gd name="T1" fmla="*/ 5 h 40"/>
                <a:gd name="T2" fmla="*/ 11 w 28"/>
                <a:gd name="T3" fmla="*/ 7 h 40"/>
                <a:gd name="T4" fmla="*/ 16 w 28"/>
                <a:gd name="T5" fmla="*/ 12 h 40"/>
                <a:gd name="T6" fmla="*/ 16 w 28"/>
                <a:gd name="T7" fmla="*/ 14 h 40"/>
                <a:gd name="T8" fmla="*/ 18 w 28"/>
                <a:gd name="T9" fmla="*/ 14 h 40"/>
                <a:gd name="T10" fmla="*/ 18 w 28"/>
                <a:gd name="T11" fmla="*/ 17 h 40"/>
                <a:gd name="T12" fmla="*/ 26 w 28"/>
                <a:gd name="T13" fmla="*/ 24 h 40"/>
                <a:gd name="T14" fmla="*/ 28 w 28"/>
                <a:gd name="T15" fmla="*/ 31 h 40"/>
                <a:gd name="T16" fmla="*/ 28 w 28"/>
                <a:gd name="T17" fmla="*/ 33 h 40"/>
                <a:gd name="T18" fmla="*/ 26 w 28"/>
                <a:gd name="T19" fmla="*/ 38 h 40"/>
                <a:gd name="T20" fmla="*/ 26 w 28"/>
                <a:gd name="T21" fmla="*/ 40 h 40"/>
                <a:gd name="T22" fmla="*/ 21 w 28"/>
                <a:gd name="T23" fmla="*/ 38 h 40"/>
                <a:gd name="T24" fmla="*/ 18 w 28"/>
                <a:gd name="T25" fmla="*/ 38 h 40"/>
                <a:gd name="T26" fmla="*/ 18 w 28"/>
                <a:gd name="T27" fmla="*/ 31 h 40"/>
                <a:gd name="T28" fmla="*/ 16 w 28"/>
                <a:gd name="T29" fmla="*/ 31 h 40"/>
                <a:gd name="T30" fmla="*/ 16 w 28"/>
                <a:gd name="T31" fmla="*/ 28 h 40"/>
                <a:gd name="T32" fmla="*/ 9 w 28"/>
                <a:gd name="T33" fmla="*/ 28 h 40"/>
                <a:gd name="T34" fmla="*/ 4 w 28"/>
                <a:gd name="T35" fmla="*/ 24 h 40"/>
                <a:gd name="T36" fmla="*/ 0 w 28"/>
                <a:gd name="T37" fmla="*/ 7 h 40"/>
                <a:gd name="T38" fmla="*/ 0 w 28"/>
                <a:gd name="T39" fmla="*/ 0 h 40"/>
                <a:gd name="T40" fmla="*/ 9 w 28"/>
                <a:gd name="T41" fmla="*/ 0 h 40"/>
                <a:gd name="T42" fmla="*/ 9 w 28"/>
                <a:gd name="T43" fmla="*/ 5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40"/>
                <a:gd name="T68" fmla="*/ 28 w 28"/>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40">
                  <a:moveTo>
                    <a:pt x="9" y="5"/>
                  </a:moveTo>
                  <a:lnTo>
                    <a:pt x="11" y="7"/>
                  </a:lnTo>
                  <a:lnTo>
                    <a:pt x="16" y="12"/>
                  </a:lnTo>
                  <a:lnTo>
                    <a:pt x="16" y="14"/>
                  </a:lnTo>
                  <a:lnTo>
                    <a:pt x="18" y="14"/>
                  </a:lnTo>
                  <a:lnTo>
                    <a:pt x="18" y="17"/>
                  </a:lnTo>
                  <a:lnTo>
                    <a:pt x="26" y="24"/>
                  </a:lnTo>
                  <a:lnTo>
                    <a:pt x="28" y="31"/>
                  </a:lnTo>
                  <a:lnTo>
                    <a:pt x="28" y="33"/>
                  </a:lnTo>
                  <a:lnTo>
                    <a:pt x="26" y="38"/>
                  </a:lnTo>
                  <a:lnTo>
                    <a:pt x="26" y="40"/>
                  </a:lnTo>
                  <a:lnTo>
                    <a:pt x="21" y="38"/>
                  </a:lnTo>
                  <a:lnTo>
                    <a:pt x="18" y="38"/>
                  </a:lnTo>
                  <a:lnTo>
                    <a:pt x="18" y="31"/>
                  </a:lnTo>
                  <a:lnTo>
                    <a:pt x="16" y="31"/>
                  </a:lnTo>
                  <a:lnTo>
                    <a:pt x="16" y="28"/>
                  </a:lnTo>
                  <a:lnTo>
                    <a:pt x="9" y="28"/>
                  </a:lnTo>
                  <a:lnTo>
                    <a:pt x="4" y="24"/>
                  </a:lnTo>
                  <a:lnTo>
                    <a:pt x="0" y="7"/>
                  </a:lnTo>
                  <a:lnTo>
                    <a:pt x="0" y="0"/>
                  </a:lnTo>
                  <a:lnTo>
                    <a:pt x="9" y="0"/>
                  </a:lnTo>
                  <a:lnTo>
                    <a:pt x="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0" name="Freeform 319">
              <a:extLst>
                <a:ext uri="{FF2B5EF4-FFF2-40B4-BE49-F238E27FC236}">
                  <a16:creationId xmlns:a16="http://schemas.microsoft.com/office/drawing/2014/main" id="{79A261AA-95BF-4839-A2B8-453310291628}"/>
                </a:ext>
              </a:extLst>
            </p:cNvPr>
            <p:cNvSpPr>
              <a:spLocks/>
            </p:cNvSpPr>
            <p:nvPr/>
          </p:nvSpPr>
          <p:spPr bwMode="gray">
            <a:xfrm rot="47099">
              <a:off x="1730124" y="2204256"/>
              <a:ext cx="25113" cy="16739"/>
            </a:xfrm>
            <a:custGeom>
              <a:avLst/>
              <a:gdLst>
                <a:gd name="T0" fmla="*/ 28 w 54"/>
                <a:gd name="T1" fmla="*/ 5 h 36"/>
                <a:gd name="T2" fmla="*/ 31 w 54"/>
                <a:gd name="T3" fmla="*/ 10 h 36"/>
                <a:gd name="T4" fmla="*/ 35 w 54"/>
                <a:gd name="T5" fmla="*/ 12 h 36"/>
                <a:gd name="T6" fmla="*/ 35 w 54"/>
                <a:gd name="T7" fmla="*/ 24 h 36"/>
                <a:gd name="T8" fmla="*/ 45 w 54"/>
                <a:gd name="T9" fmla="*/ 26 h 36"/>
                <a:gd name="T10" fmla="*/ 54 w 54"/>
                <a:gd name="T11" fmla="*/ 26 h 36"/>
                <a:gd name="T12" fmla="*/ 54 w 54"/>
                <a:gd name="T13" fmla="*/ 33 h 36"/>
                <a:gd name="T14" fmla="*/ 40 w 54"/>
                <a:gd name="T15" fmla="*/ 33 h 36"/>
                <a:gd name="T16" fmla="*/ 35 w 54"/>
                <a:gd name="T17" fmla="*/ 36 h 36"/>
                <a:gd name="T18" fmla="*/ 31 w 54"/>
                <a:gd name="T19" fmla="*/ 33 h 36"/>
                <a:gd name="T20" fmla="*/ 35 w 54"/>
                <a:gd name="T21" fmla="*/ 33 h 36"/>
                <a:gd name="T22" fmla="*/ 35 w 54"/>
                <a:gd name="T23" fmla="*/ 26 h 36"/>
                <a:gd name="T24" fmla="*/ 38 w 54"/>
                <a:gd name="T25" fmla="*/ 26 h 36"/>
                <a:gd name="T26" fmla="*/ 31 w 54"/>
                <a:gd name="T27" fmla="*/ 24 h 36"/>
                <a:gd name="T28" fmla="*/ 28 w 54"/>
                <a:gd name="T29" fmla="*/ 26 h 36"/>
                <a:gd name="T30" fmla="*/ 28 w 54"/>
                <a:gd name="T31" fmla="*/ 29 h 36"/>
                <a:gd name="T32" fmla="*/ 21 w 54"/>
                <a:gd name="T33" fmla="*/ 29 h 36"/>
                <a:gd name="T34" fmla="*/ 21 w 54"/>
                <a:gd name="T35" fmla="*/ 24 h 36"/>
                <a:gd name="T36" fmla="*/ 19 w 54"/>
                <a:gd name="T37" fmla="*/ 17 h 36"/>
                <a:gd name="T38" fmla="*/ 14 w 54"/>
                <a:gd name="T39" fmla="*/ 10 h 36"/>
                <a:gd name="T40" fmla="*/ 7 w 54"/>
                <a:gd name="T41" fmla="*/ 10 h 36"/>
                <a:gd name="T42" fmla="*/ 5 w 54"/>
                <a:gd name="T43" fmla="*/ 5 h 36"/>
                <a:gd name="T44" fmla="*/ 0 w 54"/>
                <a:gd name="T45" fmla="*/ 3 h 36"/>
                <a:gd name="T46" fmla="*/ 0 w 54"/>
                <a:gd name="T47" fmla="*/ 0 h 36"/>
                <a:gd name="T48" fmla="*/ 19 w 54"/>
                <a:gd name="T49" fmla="*/ 0 h 36"/>
                <a:gd name="T50" fmla="*/ 19 w 54"/>
                <a:gd name="T51" fmla="*/ 3 h 36"/>
                <a:gd name="T52" fmla="*/ 21 w 54"/>
                <a:gd name="T53" fmla="*/ 5 h 36"/>
                <a:gd name="T54" fmla="*/ 28 w 54"/>
                <a:gd name="T55" fmla="*/ 5 h 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36"/>
                <a:gd name="T86" fmla="*/ 54 w 54"/>
                <a:gd name="T87" fmla="*/ 36 h 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36">
                  <a:moveTo>
                    <a:pt x="28" y="5"/>
                  </a:moveTo>
                  <a:lnTo>
                    <a:pt x="31" y="10"/>
                  </a:lnTo>
                  <a:lnTo>
                    <a:pt x="35" y="12"/>
                  </a:lnTo>
                  <a:lnTo>
                    <a:pt x="35" y="24"/>
                  </a:lnTo>
                  <a:lnTo>
                    <a:pt x="45" y="26"/>
                  </a:lnTo>
                  <a:lnTo>
                    <a:pt x="54" y="26"/>
                  </a:lnTo>
                  <a:lnTo>
                    <a:pt x="54" y="33"/>
                  </a:lnTo>
                  <a:lnTo>
                    <a:pt x="40" y="33"/>
                  </a:lnTo>
                  <a:lnTo>
                    <a:pt x="35" y="36"/>
                  </a:lnTo>
                  <a:lnTo>
                    <a:pt x="31" y="33"/>
                  </a:lnTo>
                  <a:lnTo>
                    <a:pt x="35" y="33"/>
                  </a:lnTo>
                  <a:lnTo>
                    <a:pt x="35" y="26"/>
                  </a:lnTo>
                  <a:lnTo>
                    <a:pt x="38" y="26"/>
                  </a:lnTo>
                  <a:lnTo>
                    <a:pt x="31" y="24"/>
                  </a:lnTo>
                  <a:lnTo>
                    <a:pt x="28" y="26"/>
                  </a:lnTo>
                  <a:lnTo>
                    <a:pt x="28" y="29"/>
                  </a:lnTo>
                  <a:lnTo>
                    <a:pt x="21" y="29"/>
                  </a:lnTo>
                  <a:lnTo>
                    <a:pt x="21" y="24"/>
                  </a:lnTo>
                  <a:lnTo>
                    <a:pt x="19" y="17"/>
                  </a:lnTo>
                  <a:lnTo>
                    <a:pt x="14" y="10"/>
                  </a:lnTo>
                  <a:lnTo>
                    <a:pt x="7" y="10"/>
                  </a:lnTo>
                  <a:lnTo>
                    <a:pt x="5" y="5"/>
                  </a:lnTo>
                  <a:lnTo>
                    <a:pt x="0" y="3"/>
                  </a:lnTo>
                  <a:lnTo>
                    <a:pt x="0" y="0"/>
                  </a:lnTo>
                  <a:lnTo>
                    <a:pt x="19" y="0"/>
                  </a:lnTo>
                  <a:lnTo>
                    <a:pt x="19" y="3"/>
                  </a:lnTo>
                  <a:lnTo>
                    <a:pt x="21" y="5"/>
                  </a:lnTo>
                  <a:lnTo>
                    <a:pt x="28"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1" name="Freeform 320">
              <a:extLst>
                <a:ext uri="{FF2B5EF4-FFF2-40B4-BE49-F238E27FC236}">
                  <a16:creationId xmlns:a16="http://schemas.microsoft.com/office/drawing/2014/main" id="{20DD6EB4-3FC6-40B3-82A4-8DBFEBD5A996}"/>
                </a:ext>
              </a:extLst>
            </p:cNvPr>
            <p:cNvSpPr>
              <a:spLocks/>
            </p:cNvSpPr>
            <p:nvPr/>
          </p:nvSpPr>
          <p:spPr bwMode="gray">
            <a:xfrm rot="47099">
              <a:off x="2074810" y="2070709"/>
              <a:ext cx="2325" cy="3255"/>
            </a:xfrm>
            <a:custGeom>
              <a:avLst/>
              <a:gdLst>
                <a:gd name="T0" fmla="*/ 2 w 5"/>
                <a:gd name="T1" fmla="*/ 0 h 7"/>
                <a:gd name="T2" fmla="*/ 5 w 5"/>
                <a:gd name="T3" fmla="*/ 0 h 7"/>
                <a:gd name="T4" fmla="*/ 5 w 5"/>
                <a:gd name="T5" fmla="*/ 2 h 7"/>
                <a:gd name="T6" fmla="*/ 0 w 5"/>
                <a:gd name="T7" fmla="*/ 7 h 7"/>
                <a:gd name="T8" fmla="*/ 0 w 5"/>
                <a:gd name="T9" fmla="*/ 0 h 7"/>
                <a:gd name="T10" fmla="*/ 2 w 5"/>
                <a:gd name="T11" fmla="*/ 0 h 7"/>
                <a:gd name="T12" fmla="*/ 0 60000 65536"/>
                <a:gd name="T13" fmla="*/ 0 60000 65536"/>
                <a:gd name="T14" fmla="*/ 0 60000 65536"/>
                <a:gd name="T15" fmla="*/ 0 60000 65536"/>
                <a:gd name="T16" fmla="*/ 0 60000 65536"/>
                <a:gd name="T17" fmla="*/ 0 60000 65536"/>
                <a:gd name="T18" fmla="*/ 0 w 5"/>
                <a:gd name="T19" fmla="*/ 0 h 7"/>
                <a:gd name="T20" fmla="*/ 5 w 5"/>
                <a:gd name="T21" fmla="*/ 7 h 7"/>
              </a:gdLst>
              <a:ahLst/>
              <a:cxnLst>
                <a:cxn ang="T12">
                  <a:pos x="T0" y="T1"/>
                </a:cxn>
                <a:cxn ang="T13">
                  <a:pos x="T2" y="T3"/>
                </a:cxn>
                <a:cxn ang="T14">
                  <a:pos x="T4" y="T5"/>
                </a:cxn>
                <a:cxn ang="T15">
                  <a:pos x="T6" y="T7"/>
                </a:cxn>
                <a:cxn ang="T16">
                  <a:pos x="T8" y="T9"/>
                </a:cxn>
                <a:cxn ang="T17">
                  <a:pos x="T10" y="T11"/>
                </a:cxn>
              </a:cxnLst>
              <a:rect l="T18" t="T19" r="T20" b="T21"/>
              <a:pathLst>
                <a:path w="5" h="7">
                  <a:moveTo>
                    <a:pt x="2" y="0"/>
                  </a:moveTo>
                  <a:lnTo>
                    <a:pt x="5" y="0"/>
                  </a:lnTo>
                  <a:lnTo>
                    <a:pt x="5" y="2"/>
                  </a:lnTo>
                  <a:lnTo>
                    <a:pt x="0" y="7"/>
                  </a:lnTo>
                  <a:lnTo>
                    <a:pt x="0" y="0"/>
                  </a:lnTo>
                  <a:lnTo>
                    <a:pt x="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2" name="Freeform 321">
              <a:extLst>
                <a:ext uri="{FF2B5EF4-FFF2-40B4-BE49-F238E27FC236}">
                  <a16:creationId xmlns:a16="http://schemas.microsoft.com/office/drawing/2014/main" id="{1EA122C6-99FB-44FA-A77D-C5FD1F8C1490}"/>
                </a:ext>
              </a:extLst>
            </p:cNvPr>
            <p:cNvSpPr>
              <a:spLocks/>
            </p:cNvSpPr>
            <p:nvPr/>
          </p:nvSpPr>
          <p:spPr bwMode="gray">
            <a:xfrm rot="47099">
              <a:off x="1748058" y="2189964"/>
              <a:ext cx="7441" cy="6975"/>
            </a:xfrm>
            <a:custGeom>
              <a:avLst/>
              <a:gdLst>
                <a:gd name="T0" fmla="*/ 14 w 16"/>
                <a:gd name="T1" fmla="*/ 10 h 15"/>
                <a:gd name="T2" fmla="*/ 14 w 16"/>
                <a:gd name="T3" fmla="*/ 15 h 15"/>
                <a:gd name="T4" fmla="*/ 9 w 16"/>
                <a:gd name="T5" fmla="*/ 15 h 15"/>
                <a:gd name="T6" fmla="*/ 2 w 16"/>
                <a:gd name="T7" fmla="*/ 10 h 15"/>
                <a:gd name="T8" fmla="*/ 0 w 16"/>
                <a:gd name="T9" fmla="*/ 10 h 15"/>
                <a:gd name="T10" fmla="*/ 0 w 16"/>
                <a:gd name="T11" fmla="*/ 0 h 15"/>
                <a:gd name="T12" fmla="*/ 2 w 16"/>
                <a:gd name="T13" fmla="*/ 3 h 15"/>
                <a:gd name="T14" fmla="*/ 7 w 16"/>
                <a:gd name="T15" fmla="*/ 8 h 15"/>
                <a:gd name="T16" fmla="*/ 14 w 16"/>
                <a:gd name="T17" fmla="*/ 8 h 15"/>
                <a:gd name="T18" fmla="*/ 14 w 16"/>
                <a:gd name="T19" fmla="*/ 3 h 15"/>
                <a:gd name="T20" fmla="*/ 16 w 16"/>
                <a:gd name="T21" fmla="*/ 8 h 15"/>
                <a:gd name="T22" fmla="*/ 14 w 16"/>
                <a:gd name="T23" fmla="*/ 8 h 15"/>
                <a:gd name="T24" fmla="*/ 14 w 16"/>
                <a:gd name="T25" fmla="*/ 1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5"/>
                <a:gd name="T41" fmla="*/ 16 w 16"/>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5">
                  <a:moveTo>
                    <a:pt x="14" y="10"/>
                  </a:moveTo>
                  <a:lnTo>
                    <a:pt x="14" y="15"/>
                  </a:lnTo>
                  <a:lnTo>
                    <a:pt x="9" y="15"/>
                  </a:lnTo>
                  <a:lnTo>
                    <a:pt x="2" y="10"/>
                  </a:lnTo>
                  <a:lnTo>
                    <a:pt x="0" y="10"/>
                  </a:lnTo>
                  <a:lnTo>
                    <a:pt x="0" y="0"/>
                  </a:lnTo>
                  <a:lnTo>
                    <a:pt x="2" y="3"/>
                  </a:lnTo>
                  <a:lnTo>
                    <a:pt x="7" y="8"/>
                  </a:lnTo>
                  <a:lnTo>
                    <a:pt x="14" y="8"/>
                  </a:lnTo>
                  <a:lnTo>
                    <a:pt x="14" y="3"/>
                  </a:lnTo>
                  <a:lnTo>
                    <a:pt x="16" y="8"/>
                  </a:lnTo>
                  <a:lnTo>
                    <a:pt x="14" y="8"/>
                  </a:lnTo>
                  <a:lnTo>
                    <a:pt x="14"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3" name="Freeform 322">
              <a:extLst>
                <a:ext uri="{FF2B5EF4-FFF2-40B4-BE49-F238E27FC236}">
                  <a16:creationId xmlns:a16="http://schemas.microsoft.com/office/drawing/2014/main" id="{20341EB3-E51B-4091-8140-6CFCB69863BF}"/>
                </a:ext>
              </a:extLst>
            </p:cNvPr>
            <p:cNvSpPr>
              <a:spLocks/>
            </p:cNvSpPr>
            <p:nvPr/>
          </p:nvSpPr>
          <p:spPr bwMode="gray">
            <a:xfrm rot="47099">
              <a:off x="2004175" y="2100468"/>
              <a:ext cx="7441" cy="3255"/>
            </a:xfrm>
            <a:custGeom>
              <a:avLst/>
              <a:gdLst>
                <a:gd name="T0" fmla="*/ 7 w 16"/>
                <a:gd name="T1" fmla="*/ 0 h 7"/>
                <a:gd name="T2" fmla="*/ 14 w 16"/>
                <a:gd name="T3" fmla="*/ 0 h 7"/>
                <a:gd name="T4" fmla="*/ 16 w 16"/>
                <a:gd name="T5" fmla="*/ 2 h 7"/>
                <a:gd name="T6" fmla="*/ 16 w 16"/>
                <a:gd name="T7" fmla="*/ 7 h 7"/>
                <a:gd name="T8" fmla="*/ 14 w 16"/>
                <a:gd name="T9" fmla="*/ 7 h 7"/>
                <a:gd name="T10" fmla="*/ 9 w 16"/>
                <a:gd name="T11" fmla="*/ 2 h 7"/>
                <a:gd name="T12" fmla="*/ 0 w 16"/>
                <a:gd name="T13" fmla="*/ 2 h 7"/>
                <a:gd name="T14" fmla="*/ 0 w 16"/>
                <a:gd name="T15" fmla="*/ 0 h 7"/>
                <a:gd name="T16" fmla="*/ 7 w 16"/>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7"/>
                <a:gd name="T29" fmla="*/ 16 w 1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7">
                  <a:moveTo>
                    <a:pt x="7" y="0"/>
                  </a:moveTo>
                  <a:lnTo>
                    <a:pt x="14" y="0"/>
                  </a:lnTo>
                  <a:lnTo>
                    <a:pt x="16" y="2"/>
                  </a:lnTo>
                  <a:lnTo>
                    <a:pt x="16" y="7"/>
                  </a:lnTo>
                  <a:lnTo>
                    <a:pt x="14" y="7"/>
                  </a:lnTo>
                  <a:lnTo>
                    <a:pt x="9" y="2"/>
                  </a:lnTo>
                  <a:lnTo>
                    <a:pt x="0" y="2"/>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4" name="Freeform 323">
              <a:extLst>
                <a:ext uri="{FF2B5EF4-FFF2-40B4-BE49-F238E27FC236}">
                  <a16:creationId xmlns:a16="http://schemas.microsoft.com/office/drawing/2014/main" id="{ABF733E1-43AA-446B-8423-3C3E84A46CB1}"/>
                </a:ext>
              </a:extLst>
            </p:cNvPr>
            <p:cNvSpPr>
              <a:spLocks/>
            </p:cNvSpPr>
            <p:nvPr/>
          </p:nvSpPr>
          <p:spPr bwMode="gray">
            <a:xfrm rot="47099">
              <a:off x="1334700" y="2183351"/>
              <a:ext cx="4651" cy="5579"/>
            </a:xfrm>
            <a:custGeom>
              <a:avLst/>
              <a:gdLst>
                <a:gd name="T0" fmla="*/ 10 w 10"/>
                <a:gd name="T1" fmla="*/ 2 h 12"/>
                <a:gd name="T2" fmla="*/ 7 w 10"/>
                <a:gd name="T3" fmla="*/ 10 h 12"/>
                <a:gd name="T4" fmla="*/ 3 w 10"/>
                <a:gd name="T5" fmla="*/ 12 h 12"/>
                <a:gd name="T6" fmla="*/ 0 w 10"/>
                <a:gd name="T7" fmla="*/ 12 h 12"/>
                <a:gd name="T8" fmla="*/ 7 w 10"/>
                <a:gd name="T9" fmla="*/ 0 h 12"/>
                <a:gd name="T10" fmla="*/ 10 w 10"/>
                <a:gd name="T11" fmla="*/ 2 h 12"/>
                <a:gd name="T12" fmla="*/ 0 60000 65536"/>
                <a:gd name="T13" fmla="*/ 0 60000 65536"/>
                <a:gd name="T14" fmla="*/ 0 60000 65536"/>
                <a:gd name="T15" fmla="*/ 0 60000 65536"/>
                <a:gd name="T16" fmla="*/ 0 60000 65536"/>
                <a:gd name="T17" fmla="*/ 0 60000 65536"/>
                <a:gd name="T18" fmla="*/ 0 w 10"/>
                <a:gd name="T19" fmla="*/ 0 h 12"/>
                <a:gd name="T20" fmla="*/ 10 w 1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0" h="12">
                  <a:moveTo>
                    <a:pt x="10" y="2"/>
                  </a:moveTo>
                  <a:lnTo>
                    <a:pt x="7" y="10"/>
                  </a:lnTo>
                  <a:lnTo>
                    <a:pt x="3" y="12"/>
                  </a:lnTo>
                  <a:lnTo>
                    <a:pt x="0" y="12"/>
                  </a:lnTo>
                  <a:lnTo>
                    <a:pt x="7" y="0"/>
                  </a:lnTo>
                  <a:lnTo>
                    <a:pt x="1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5" name="Freeform 324">
              <a:extLst>
                <a:ext uri="{FF2B5EF4-FFF2-40B4-BE49-F238E27FC236}">
                  <a16:creationId xmlns:a16="http://schemas.microsoft.com/office/drawing/2014/main" id="{AE564231-7D0E-4218-ABEC-F334D2784BB7}"/>
                </a:ext>
              </a:extLst>
            </p:cNvPr>
            <p:cNvSpPr>
              <a:spLocks/>
            </p:cNvSpPr>
            <p:nvPr/>
          </p:nvSpPr>
          <p:spPr bwMode="gray">
            <a:xfrm rot="47099">
              <a:off x="2045376" y="2047071"/>
              <a:ext cx="4651" cy="2325"/>
            </a:xfrm>
            <a:custGeom>
              <a:avLst/>
              <a:gdLst>
                <a:gd name="T0" fmla="*/ 7 w 10"/>
                <a:gd name="T1" fmla="*/ 2 h 5"/>
                <a:gd name="T2" fmla="*/ 10 w 10"/>
                <a:gd name="T3" fmla="*/ 2 h 5"/>
                <a:gd name="T4" fmla="*/ 10 w 10"/>
                <a:gd name="T5" fmla="*/ 5 h 5"/>
                <a:gd name="T6" fmla="*/ 0 w 10"/>
                <a:gd name="T7" fmla="*/ 5 h 5"/>
                <a:gd name="T8" fmla="*/ 0 w 10"/>
                <a:gd name="T9" fmla="*/ 2 h 5"/>
                <a:gd name="T10" fmla="*/ 2 w 10"/>
                <a:gd name="T11" fmla="*/ 0 h 5"/>
                <a:gd name="T12" fmla="*/ 2 w 10"/>
                <a:gd name="T13" fmla="*/ 2 h 5"/>
                <a:gd name="T14" fmla="*/ 7 w 10"/>
                <a:gd name="T15" fmla="*/ 2 h 5"/>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5"/>
                <a:gd name="T26" fmla="*/ 10 w 10"/>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5">
                  <a:moveTo>
                    <a:pt x="7" y="2"/>
                  </a:moveTo>
                  <a:lnTo>
                    <a:pt x="10" y="2"/>
                  </a:lnTo>
                  <a:lnTo>
                    <a:pt x="10" y="5"/>
                  </a:lnTo>
                  <a:lnTo>
                    <a:pt x="0" y="5"/>
                  </a:lnTo>
                  <a:lnTo>
                    <a:pt x="0" y="2"/>
                  </a:lnTo>
                  <a:lnTo>
                    <a:pt x="2" y="0"/>
                  </a:lnTo>
                  <a:lnTo>
                    <a:pt x="2" y="2"/>
                  </a:lnTo>
                  <a:lnTo>
                    <a:pt x="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6" name="Freeform 325">
              <a:extLst>
                <a:ext uri="{FF2B5EF4-FFF2-40B4-BE49-F238E27FC236}">
                  <a16:creationId xmlns:a16="http://schemas.microsoft.com/office/drawing/2014/main" id="{29AF115B-C7AD-4023-BEFB-D3FB00CF4266}"/>
                </a:ext>
              </a:extLst>
            </p:cNvPr>
            <p:cNvSpPr>
              <a:spLocks/>
            </p:cNvSpPr>
            <p:nvPr/>
          </p:nvSpPr>
          <p:spPr bwMode="gray">
            <a:xfrm rot="47099">
              <a:off x="2048694" y="2039211"/>
              <a:ext cx="4651" cy="8834"/>
            </a:xfrm>
            <a:custGeom>
              <a:avLst/>
              <a:gdLst>
                <a:gd name="T0" fmla="*/ 0 w 10"/>
                <a:gd name="T1" fmla="*/ 17 h 19"/>
                <a:gd name="T2" fmla="*/ 3 w 10"/>
                <a:gd name="T3" fmla="*/ 17 h 19"/>
                <a:gd name="T4" fmla="*/ 3 w 10"/>
                <a:gd name="T5" fmla="*/ 0 h 19"/>
                <a:gd name="T6" fmla="*/ 10 w 10"/>
                <a:gd name="T7" fmla="*/ 0 h 19"/>
                <a:gd name="T8" fmla="*/ 10 w 10"/>
                <a:gd name="T9" fmla="*/ 5 h 19"/>
                <a:gd name="T10" fmla="*/ 5 w 10"/>
                <a:gd name="T11" fmla="*/ 5 h 19"/>
                <a:gd name="T12" fmla="*/ 5 w 10"/>
                <a:gd name="T13" fmla="*/ 19 h 19"/>
                <a:gd name="T14" fmla="*/ 3 w 10"/>
                <a:gd name="T15" fmla="*/ 19 h 19"/>
                <a:gd name="T16" fmla="*/ 0 w 10"/>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9"/>
                <a:gd name="T29" fmla="*/ 10 w 1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9">
                  <a:moveTo>
                    <a:pt x="0" y="17"/>
                  </a:moveTo>
                  <a:lnTo>
                    <a:pt x="3" y="17"/>
                  </a:lnTo>
                  <a:lnTo>
                    <a:pt x="3" y="0"/>
                  </a:lnTo>
                  <a:lnTo>
                    <a:pt x="10" y="0"/>
                  </a:lnTo>
                  <a:lnTo>
                    <a:pt x="10" y="5"/>
                  </a:lnTo>
                  <a:lnTo>
                    <a:pt x="5" y="5"/>
                  </a:lnTo>
                  <a:lnTo>
                    <a:pt x="5" y="19"/>
                  </a:lnTo>
                  <a:lnTo>
                    <a:pt x="3" y="19"/>
                  </a:lnTo>
                  <a:lnTo>
                    <a:pt x="0" y="1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7" name="Freeform 326">
              <a:extLst>
                <a:ext uri="{FF2B5EF4-FFF2-40B4-BE49-F238E27FC236}">
                  <a16:creationId xmlns:a16="http://schemas.microsoft.com/office/drawing/2014/main" id="{2F16F021-B96E-45F5-8D8C-1E7D1F8892A9}"/>
                </a:ext>
              </a:extLst>
            </p:cNvPr>
            <p:cNvSpPr>
              <a:spLocks/>
            </p:cNvSpPr>
            <p:nvPr/>
          </p:nvSpPr>
          <p:spPr bwMode="gray">
            <a:xfrm rot="47099">
              <a:off x="1342720" y="2174616"/>
              <a:ext cx="3255" cy="6510"/>
            </a:xfrm>
            <a:custGeom>
              <a:avLst/>
              <a:gdLst>
                <a:gd name="T0" fmla="*/ 0 w 7"/>
                <a:gd name="T1" fmla="*/ 5 h 14"/>
                <a:gd name="T2" fmla="*/ 2 w 7"/>
                <a:gd name="T3" fmla="*/ 5 h 14"/>
                <a:gd name="T4" fmla="*/ 2 w 7"/>
                <a:gd name="T5" fmla="*/ 7 h 14"/>
                <a:gd name="T6" fmla="*/ 7 w 7"/>
                <a:gd name="T7" fmla="*/ 12 h 14"/>
                <a:gd name="T8" fmla="*/ 7 w 7"/>
                <a:gd name="T9" fmla="*/ 14 h 14"/>
                <a:gd name="T10" fmla="*/ 2 w 7"/>
                <a:gd name="T11" fmla="*/ 14 h 14"/>
                <a:gd name="T12" fmla="*/ 0 w 7"/>
                <a:gd name="T13" fmla="*/ 12 h 14"/>
                <a:gd name="T14" fmla="*/ 0 w 7"/>
                <a:gd name="T15" fmla="*/ 0 h 14"/>
                <a:gd name="T16" fmla="*/ 0 w 7"/>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4"/>
                <a:gd name="T29" fmla="*/ 7 w 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4">
                  <a:moveTo>
                    <a:pt x="0" y="5"/>
                  </a:moveTo>
                  <a:lnTo>
                    <a:pt x="2" y="5"/>
                  </a:lnTo>
                  <a:lnTo>
                    <a:pt x="2" y="7"/>
                  </a:lnTo>
                  <a:lnTo>
                    <a:pt x="7" y="12"/>
                  </a:lnTo>
                  <a:lnTo>
                    <a:pt x="7" y="14"/>
                  </a:lnTo>
                  <a:lnTo>
                    <a:pt x="2" y="14"/>
                  </a:lnTo>
                  <a:lnTo>
                    <a:pt x="0" y="12"/>
                  </a:lnTo>
                  <a:lnTo>
                    <a:pt x="0" y="0"/>
                  </a:lnTo>
                  <a:lnTo>
                    <a:pt x="0"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8" name="Freeform 327">
              <a:extLst>
                <a:ext uri="{FF2B5EF4-FFF2-40B4-BE49-F238E27FC236}">
                  <a16:creationId xmlns:a16="http://schemas.microsoft.com/office/drawing/2014/main" id="{F62B76D7-0653-4BC5-84CC-9F7E6C78B696}"/>
                </a:ext>
              </a:extLst>
            </p:cNvPr>
            <p:cNvSpPr>
              <a:spLocks/>
            </p:cNvSpPr>
            <p:nvPr/>
          </p:nvSpPr>
          <p:spPr bwMode="gray">
            <a:xfrm rot="47099">
              <a:off x="1539403" y="2179652"/>
              <a:ext cx="5580" cy="3255"/>
            </a:xfrm>
            <a:custGeom>
              <a:avLst/>
              <a:gdLst>
                <a:gd name="T0" fmla="*/ 12 w 12"/>
                <a:gd name="T1" fmla="*/ 2 h 7"/>
                <a:gd name="T2" fmla="*/ 12 w 12"/>
                <a:gd name="T3" fmla="*/ 7 h 7"/>
                <a:gd name="T4" fmla="*/ 5 w 12"/>
                <a:gd name="T5" fmla="*/ 7 h 7"/>
                <a:gd name="T6" fmla="*/ 0 w 12"/>
                <a:gd name="T7" fmla="*/ 2 h 7"/>
                <a:gd name="T8" fmla="*/ 7 w 12"/>
                <a:gd name="T9" fmla="*/ 0 h 7"/>
                <a:gd name="T10" fmla="*/ 12 w 12"/>
                <a:gd name="T11" fmla="*/ 2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2"/>
                  </a:moveTo>
                  <a:lnTo>
                    <a:pt x="12" y="7"/>
                  </a:lnTo>
                  <a:lnTo>
                    <a:pt x="5" y="7"/>
                  </a:lnTo>
                  <a:lnTo>
                    <a:pt x="0" y="2"/>
                  </a:lnTo>
                  <a:lnTo>
                    <a:pt x="7" y="0"/>
                  </a:lnTo>
                  <a:lnTo>
                    <a:pt x="1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39" name="Freeform 328">
              <a:extLst>
                <a:ext uri="{FF2B5EF4-FFF2-40B4-BE49-F238E27FC236}">
                  <a16:creationId xmlns:a16="http://schemas.microsoft.com/office/drawing/2014/main" id="{B3DF51A9-48ED-4606-B175-5D55B46DD898}"/>
                </a:ext>
              </a:extLst>
            </p:cNvPr>
            <p:cNvSpPr>
              <a:spLocks/>
            </p:cNvSpPr>
            <p:nvPr/>
          </p:nvSpPr>
          <p:spPr bwMode="gray">
            <a:xfrm rot="47099">
              <a:off x="2030084" y="2041303"/>
              <a:ext cx="7906" cy="5579"/>
            </a:xfrm>
            <a:custGeom>
              <a:avLst/>
              <a:gdLst>
                <a:gd name="T0" fmla="*/ 12 w 17"/>
                <a:gd name="T1" fmla="*/ 5 h 12"/>
                <a:gd name="T2" fmla="*/ 9 w 17"/>
                <a:gd name="T3" fmla="*/ 7 h 12"/>
                <a:gd name="T4" fmla="*/ 2 w 17"/>
                <a:gd name="T5" fmla="*/ 12 h 12"/>
                <a:gd name="T6" fmla="*/ 0 w 17"/>
                <a:gd name="T7" fmla="*/ 12 h 12"/>
                <a:gd name="T8" fmla="*/ 2 w 17"/>
                <a:gd name="T9" fmla="*/ 7 h 12"/>
                <a:gd name="T10" fmla="*/ 2 w 17"/>
                <a:gd name="T11" fmla="*/ 0 h 12"/>
                <a:gd name="T12" fmla="*/ 17 w 17"/>
                <a:gd name="T13" fmla="*/ 0 h 12"/>
                <a:gd name="T14" fmla="*/ 17 w 17"/>
                <a:gd name="T15" fmla="*/ 5 h 12"/>
                <a:gd name="T16" fmla="*/ 12 w 17"/>
                <a:gd name="T17" fmla="*/ 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2" y="5"/>
                  </a:moveTo>
                  <a:lnTo>
                    <a:pt x="9" y="7"/>
                  </a:lnTo>
                  <a:lnTo>
                    <a:pt x="2" y="12"/>
                  </a:lnTo>
                  <a:lnTo>
                    <a:pt x="0" y="12"/>
                  </a:lnTo>
                  <a:lnTo>
                    <a:pt x="2" y="7"/>
                  </a:lnTo>
                  <a:lnTo>
                    <a:pt x="2" y="0"/>
                  </a:lnTo>
                  <a:lnTo>
                    <a:pt x="17" y="0"/>
                  </a:lnTo>
                  <a:lnTo>
                    <a:pt x="17" y="5"/>
                  </a:lnTo>
                  <a:lnTo>
                    <a:pt x="12"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0" name="Freeform 329">
              <a:extLst>
                <a:ext uri="{FF2B5EF4-FFF2-40B4-BE49-F238E27FC236}">
                  <a16:creationId xmlns:a16="http://schemas.microsoft.com/office/drawing/2014/main" id="{A6DECA63-0CD8-4807-9C01-AB44D2ADA501}"/>
                </a:ext>
              </a:extLst>
            </p:cNvPr>
            <p:cNvSpPr>
              <a:spLocks/>
            </p:cNvSpPr>
            <p:nvPr/>
          </p:nvSpPr>
          <p:spPr bwMode="gray">
            <a:xfrm rot="47099">
              <a:off x="1336350" y="2164763"/>
              <a:ext cx="3255" cy="5579"/>
            </a:xfrm>
            <a:custGeom>
              <a:avLst/>
              <a:gdLst>
                <a:gd name="T0" fmla="*/ 7 w 7"/>
                <a:gd name="T1" fmla="*/ 5 h 12"/>
                <a:gd name="T2" fmla="*/ 4 w 7"/>
                <a:gd name="T3" fmla="*/ 12 h 12"/>
                <a:gd name="T4" fmla="*/ 0 w 7"/>
                <a:gd name="T5" fmla="*/ 5 h 12"/>
                <a:gd name="T6" fmla="*/ 0 w 7"/>
                <a:gd name="T7" fmla="*/ 2 h 12"/>
                <a:gd name="T8" fmla="*/ 7 w 7"/>
                <a:gd name="T9" fmla="*/ 0 h 12"/>
                <a:gd name="T10" fmla="*/ 7 w 7"/>
                <a:gd name="T11" fmla="*/ 5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7" y="5"/>
                  </a:moveTo>
                  <a:lnTo>
                    <a:pt x="4" y="12"/>
                  </a:lnTo>
                  <a:lnTo>
                    <a:pt x="0" y="5"/>
                  </a:lnTo>
                  <a:lnTo>
                    <a:pt x="0" y="2"/>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1" name="Freeform 330">
              <a:extLst>
                <a:ext uri="{FF2B5EF4-FFF2-40B4-BE49-F238E27FC236}">
                  <a16:creationId xmlns:a16="http://schemas.microsoft.com/office/drawing/2014/main" id="{0E368FC9-73C7-4DF3-8ABD-5562621292E0}"/>
                </a:ext>
              </a:extLst>
            </p:cNvPr>
            <p:cNvSpPr>
              <a:spLocks/>
            </p:cNvSpPr>
            <p:nvPr/>
          </p:nvSpPr>
          <p:spPr bwMode="gray">
            <a:xfrm rot="47099">
              <a:off x="1330847" y="2159101"/>
              <a:ext cx="2325" cy="5579"/>
            </a:xfrm>
            <a:custGeom>
              <a:avLst/>
              <a:gdLst>
                <a:gd name="T0" fmla="*/ 2 w 5"/>
                <a:gd name="T1" fmla="*/ 12 h 12"/>
                <a:gd name="T2" fmla="*/ 0 w 5"/>
                <a:gd name="T3" fmla="*/ 7 h 12"/>
                <a:gd name="T4" fmla="*/ 0 w 5"/>
                <a:gd name="T5" fmla="*/ 0 h 12"/>
                <a:gd name="T6" fmla="*/ 5 w 5"/>
                <a:gd name="T7" fmla="*/ 0 h 12"/>
                <a:gd name="T8" fmla="*/ 5 w 5"/>
                <a:gd name="T9" fmla="*/ 7 h 12"/>
                <a:gd name="T10" fmla="*/ 2 w 5"/>
                <a:gd name="T11" fmla="*/ 12 h 12"/>
                <a:gd name="T12" fmla="*/ 0 60000 65536"/>
                <a:gd name="T13" fmla="*/ 0 60000 65536"/>
                <a:gd name="T14" fmla="*/ 0 60000 65536"/>
                <a:gd name="T15" fmla="*/ 0 60000 65536"/>
                <a:gd name="T16" fmla="*/ 0 60000 65536"/>
                <a:gd name="T17" fmla="*/ 0 60000 65536"/>
                <a:gd name="T18" fmla="*/ 0 w 5"/>
                <a:gd name="T19" fmla="*/ 0 h 12"/>
                <a:gd name="T20" fmla="*/ 5 w 5"/>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5" h="12">
                  <a:moveTo>
                    <a:pt x="2" y="12"/>
                  </a:moveTo>
                  <a:lnTo>
                    <a:pt x="0" y="7"/>
                  </a:lnTo>
                  <a:lnTo>
                    <a:pt x="0" y="0"/>
                  </a:lnTo>
                  <a:lnTo>
                    <a:pt x="5" y="0"/>
                  </a:lnTo>
                  <a:lnTo>
                    <a:pt x="5" y="7"/>
                  </a:lnTo>
                  <a:lnTo>
                    <a:pt x="2"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2" name="Freeform 331">
              <a:extLst>
                <a:ext uri="{FF2B5EF4-FFF2-40B4-BE49-F238E27FC236}">
                  <a16:creationId xmlns:a16="http://schemas.microsoft.com/office/drawing/2014/main" id="{32969FA0-0CB5-4C5C-8AB6-A740D13737C7}"/>
                </a:ext>
              </a:extLst>
            </p:cNvPr>
            <p:cNvSpPr>
              <a:spLocks/>
            </p:cNvSpPr>
            <p:nvPr/>
          </p:nvSpPr>
          <p:spPr bwMode="gray">
            <a:xfrm rot="47099">
              <a:off x="1333171" y="2159140"/>
              <a:ext cx="3255" cy="5579"/>
            </a:xfrm>
            <a:custGeom>
              <a:avLst/>
              <a:gdLst>
                <a:gd name="T0" fmla="*/ 4 w 7"/>
                <a:gd name="T1" fmla="*/ 12 h 12"/>
                <a:gd name="T2" fmla="*/ 0 w 7"/>
                <a:gd name="T3" fmla="*/ 12 h 12"/>
                <a:gd name="T4" fmla="*/ 0 w 7"/>
                <a:gd name="T5" fmla="*/ 7 h 12"/>
                <a:gd name="T6" fmla="*/ 4 w 7"/>
                <a:gd name="T7" fmla="*/ 0 h 12"/>
                <a:gd name="T8" fmla="*/ 4 w 7"/>
                <a:gd name="T9" fmla="*/ 5 h 12"/>
                <a:gd name="T10" fmla="*/ 7 w 7"/>
                <a:gd name="T11" fmla="*/ 12 h 12"/>
                <a:gd name="T12" fmla="*/ 4 w 7"/>
                <a:gd name="T13" fmla="*/ 12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4" y="12"/>
                  </a:moveTo>
                  <a:lnTo>
                    <a:pt x="0" y="12"/>
                  </a:lnTo>
                  <a:lnTo>
                    <a:pt x="0" y="7"/>
                  </a:lnTo>
                  <a:lnTo>
                    <a:pt x="4" y="0"/>
                  </a:lnTo>
                  <a:lnTo>
                    <a:pt x="4" y="5"/>
                  </a:lnTo>
                  <a:lnTo>
                    <a:pt x="7" y="12"/>
                  </a:lnTo>
                  <a:lnTo>
                    <a:pt x="4"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3" name="Freeform 332">
              <a:extLst>
                <a:ext uri="{FF2B5EF4-FFF2-40B4-BE49-F238E27FC236}">
                  <a16:creationId xmlns:a16="http://schemas.microsoft.com/office/drawing/2014/main" id="{C83D3650-ED7F-452D-A060-220730EEDD5C}"/>
                </a:ext>
              </a:extLst>
            </p:cNvPr>
            <p:cNvSpPr>
              <a:spLocks/>
            </p:cNvSpPr>
            <p:nvPr/>
          </p:nvSpPr>
          <p:spPr bwMode="gray">
            <a:xfrm rot="47099">
              <a:off x="2020415" y="2033721"/>
              <a:ext cx="6510" cy="6510"/>
            </a:xfrm>
            <a:custGeom>
              <a:avLst/>
              <a:gdLst>
                <a:gd name="T0" fmla="*/ 2 w 14"/>
                <a:gd name="T1" fmla="*/ 0 h 14"/>
                <a:gd name="T2" fmla="*/ 2 w 14"/>
                <a:gd name="T3" fmla="*/ 4 h 14"/>
                <a:gd name="T4" fmla="*/ 9 w 14"/>
                <a:gd name="T5" fmla="*/ 4 h 14"/>
                <a:gd name="T6" fmla="*/ 9 w 14"/>
                <a:gd name="T7" fmla="*/ 7 h 14"/>
                <a:gd name="T8" fmla="*/ 14 w 14"/>
                <a:gd name="T9" fmla="*/ 7 h 14"/>
                <a:gd name="T10" fmla="*/ 9 w 14"/>
                <a:gd name="T11" fmla="*/ 11 h 14"/>
                <a:gd name="T12" fmla="*/ 7 w 14"/>
                <a:gd name="T13" fmla="*/ 11 h 14"/>
                <a:gd name="T14" fmla="*/ 7 w 14"/>
                <a:gd name="T15" fmla="*/ 14 h 14"/>
                <a:gd name="T16" fmla="*/ 2 w 14"/>
                <a:gd name="T17" fmla="*/ 11 h 14"/>
                <a:gd name="T18" fmla="*/ 2 w 14"/>
                <a:gd name="T19" fmla="*/ 7 h 14"/>
                <a:gd name="T20" fmla="*/ 0 w 14"/>
                <a:gd name="T21" fmla="*/ 0 h 14"/>
                <a:gd name="T22" fmla="*/ 2 w 14"/>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4"/>
                <a:gd name="T38" fmla="*/ 14 w 14"/>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4">
                  <a:moveTo>
                    <a:pt x="2" y="0"/>
                  </a:moveTo>
                  <a:lnTo>
                    <a:pt x="2" y="4"/>
                  </a:lnTo>
                  <a:lnTo>
                    <a:pt x="9" y="4"/>
                  </a:lnTo>
                  <a:lnTo>
                    <a:pt x="9" y="7"/>
                  </a:lnTo>
                  <a:lnTo>
                    <a:pt x="14" y="7"/>
                  </a:lnTo>
                  <a:lnTo>
                    <a:pt x="9" y="11"/>
                  </a:lnTo>
                  <a:lnTo>
                    <a:pt x="7" y="11"/>
                  </a:lnTo>
                  <a:lnTo>
                    <a:pt x="7" y="14"/>
                  </a:lnTo>
                  <a:lnTo>
                    <a:pt x="2" y="11"/>
                  </a:lnTo>
                  <a:lnTo>
                    <a:pt x="2" y="7"/>
                  </a:lnTo>
                  <a:lnTo>
                    <a:pt x="0" y="0"/>
                  </a:lnTo>
                  <a:lnTo>
                    <a:pt x="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4" name="Freeform 333">
              <a:extLst>
                <a:ext uri="{FF2B5EF4-FFF2-40B4-BE49-F238E27FC236}">
                  <a16:creationId xmlns:a16="http://schemas.microsoft.com/office/drawing/2014/main" id="{78799769-1591-442F-A0E5-65159C072BAE}"/>
                </a:ext>
              </a:extLst>
            </p:cNvPr>
            <p:cNvSpPr>
              <a:spLocks/>
            </p:cNvSpPr>
            <p:nvPr/>
          </p:nvSpPr>
          <p:spPr bwMode="gray">
            <a:xfrm rot="47099">
              <a:off x="1336456" y="2155000"/>
              <a:ext cx="3255" cy="9765"/>
            </a:xfrm>
            <a:custGeom>
              <a:avLst/>
              <a:gdLst>
                <a:gd name="T0" fmla="*/ 0 w 7"/>
                <a:gd name="T1" fmla="*/ 21 h 21"/>
                <a:gd name="T2" fmla="*/ 0 w 7"/>
                <a:gd name="T3" fmla="*/ 2 h 21"/>
                <a:gd name="T4" fmla="*/ 4 w 7"/>
                <a:gd name="T5" fmla="*/ 0 h 21"/>
                <a:gd name="T6" fmla="*/ 4 w 7"/>
                <a:gd name="T7" fmla="*/ 2 h 21"/>
                <a:gd name="T8" fmla="*/ 7 w 7"/>
                <a:gd name="T9" fmla="*/ 2 h 21"/>
                <a:gd name="T10" fmla="*/ 7 w 7"/>
                <a:gd name="T11" fmla="*/ 14 h 21"/>
                <a:gd name="T12" fmla="*/ 0 w 7"/>
                <a:gd name="T13" fmla="*/ 21 h 21"/>
                <a:gd name="T14" fmla="*/ 0 60000 65536"/>
                <a:gd name="T15" fmla="*/ 0 60000 65536"/>
                <a:gd name="T16" fmla="*/ 0 60000 65536"/>
                <a:gd name="T17" fmla="*/ 0 60000 65536"/>
                <a:gd name="T18" fmla="*/ 0 60000 65536"/>
                <a:gd name="T19" fmla="*/ 0 60000 65536"/>
                <a:gd name="T20" fmla="*/ 0 60000 65536"/>
                <a:gd name="T21" fmla="*/ 0 w 7"/>
                <a:gd name="T22" fmla="*/ 0 h 21"/>
                <a:gd name="T23" fmla="*/ 7 w 7"/>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21">
                  <a:moveTo>
                    <a:pt x="0" y="21"/>
                  </a:moveTo>
                  <a:lnTo>
                    <a:pt x="0" y="2"/>
                  </a:lnTo>
                  <a:lnTo>
                    <a:pt x="4" y="0"/>
                  </a:lnTo>
                  <a:lnTo>
                    <a:pt x="4" y="2"/>
                  </a:lnTo>
                  <a:lnTo>
                    <a:pt x="7" y="2"/>
                  </a:lnTo>
                  <a:lnTo>
                    <a:pt x="7" y="14"/>
                  </a:lnTo>
                  <a:lnTo>
                    <a:pt x="0" y="2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5" name="Freeform 334">
              <a:extLst>
                <a:ext uri="{FF2B5EF4-FFF2-40B4-BE49-F238E27FC236}">
                  <a16:creationId xmlns:a16="http://schemas.microsoft.com/office/drawing/2014/main" id="{19D532F0-0CB7-43D0-AC2E-5EF19FF54D54}"/>
                </a:ext>
              </a:extLst>
            </p:cNvPr>
            <p:cNvSpPr>
              <a:spLocks/>
            </p:cNvSpPr>
            <p:nvPr/>
          </p:nvSpPr>
          <p:spPr bwMode="gray">
            <a:xfrm rot="47099">
              <a:off x="1507545" y="2161529"/>
              <a:ext cx="3255" cy="5579"/>
            </a:xfrm>
            <a:custGeom>
              <a:avLst/>
              <a:gdLst>
                <a:gd name="T0" fmla="*/ 7 w 7"/>
                <a:gd name="T1" fmla="*/ 5 h 12"/>
                <a:gd name="T2" fmla="*/ 7 w 7"/>
                <a:gd name="T3" fmla="*/ 7 h 12"/>
                <a:gd name="T4" fmla="*/ 3 w 7"/>
                <a:gd name="T5" fmla="*/ 12 h 12"/>
                <a:gd name="T6" fmla="*/ 0 w 7"/>
                <a:gd name="T7" fmla="*/ 12 h 12"/>
                <a:gd name="T8" fmla="*/ 0 w 7"/>
                <a:gd name="T9" fmla="*/ 5 h 12"/>
                <a:gd name="T10" fmla="*/ 3 w 7"/>
                <a:gd name="T11" fmla="*/ 0 h 12"/>
                <a:gd name="T12" fmla="*/ 7 w 7"/>
                <a:gd name="T13" fmla="*/ 0 h 12"/>
                <a:gd name="T14" fmla="*/ 7 w 7"/>
                <a:gd name="T15" fmla="*/ 5 h 12"/>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2"/>
                <a:gd name="T26" fmla="*/ 7 w 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2">
                  <a:moveTo>
                    <a:pt x="7" y="5"/>
                  </a:moveTo>
                  <a:lnTo>
                    <a:pt x="7" y="7"/>
                  </a:lnTo>
                  <a:lnTo>
                    <a:pt x="3" y="12"/>
                  </a:lnTo>
                  <a:lnTo>
                    <a:pt x="0" y="12"/>
                  </a:lnTo>
                  <a:lnTo>
                    <a:pt x="0" y="5"/>
                  </a:lnTo>
                  <a:lnTo>
                    <a:pt x="3"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6" name="Freeform 335">
              <a:extLst>
                <a:ext uri="{FF2B5EF4-FFF2-40B4-BE49-F238E27FC236}">
                  <a16:creationId xmlns:a16="http://schemas.microsoft.com/office/drawing/2014/main" id="{38DB5577-FD11-454C-99FB-E0EA9DDEF55D}"/>
                </a:ext>
              </a:extLst>
            </p:cNvPr>
            <p:cNvSpPr>
              <a:spLocks/>
            </p:cNvSpPr>
            <p:nvPr/>
          </p:nvSpPr>
          <p:spPr bwMode="gray">
            <a:xfrm rot="47099">
              <a:off x="1331072" y="2143771"/>
              <a:ext cx="4186" cy="3255"/>
            </a:xfrm>
            <a:custGeom>
              <a:avLst/>
              <a:gdLst>
                <a:gd name="T0" fmla="*/ 5 w 9"/>
                <a:gd name="T1" fmla="*/ 7 h 7"/>
                <a:gd name="T2" fmla="*/ 0 w 9"/>
                <a:gd name="T3" fmla="*/ 7 h 7"/>
                <a:gd name="T4" fmla="*/ 0 w 9"/>
                <a:gd name="T5" fmla="*/ 5 h 7"/>
                <a:gd name="T6" fmla="*/ 2 w 9"/>
                <a:gd name="T7" fmla="*/ 5 h 7"/>
                <a:gd name="T8" fmla="*/ 2 w 9"/>
                <a:gd name="T9" fmla="*/ 0 h 7"/>
                <a:gd name="T10" fmla="*/ 9 w 9"/>
                <a:gd name="T11" fmla="*/ 5 h 7"/>
                <a:gd name="T12" fmla="*/ 5 w 9"/>
                <a:gd name="T13" fmla="*/ 7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5" y="7"/>
                  </a:moveTo>
                  <a:lnTo>
                    <a:pt x="0" y="7"/>
                  </a:lnTo>
                  <a:lnTo>
                    <a:pt x="0" y="5"/>
                  </a:lnTo>
                  <a:lnTo>
                    <a:pt x="2" y="5"/>
                  </a:lnTo>
                  <a:lnTo>
                    <a:pt x="2" y="0"/>
                  </a:lnTo>
                  <a:lnTo>
                    <a:pt x="9" y="5"/>
                  </a:lnTo>
                  <a:lnTo>
                    <a:pt x="5"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7" name="Freeform 336">
              <a:extLst>
                <a:ext uri="{FF2B5EF4-FFF2-40B4-BE49-F238E27FC236}">
                  <a16:creationId xmlns:a16="http://schemas.microsoft.com/office/drawing/2014/main" id="{91CDE07C-8FCA-47A4-AA88-399CA88DFC0C}"/>
                </a:ext>
              </a:extLst>
            </p:cNvPr>
            <p:cNvSpPr>
              <a:spLocks/>
            </p:cNvSpPr>
            <p:nvPr/>
          </p:nvSpPr>
          <p:spPr bwMode="gray">
            <a:xfrm rot="47099">
              <a:off x="1291605" y="2139045"/>
              <a:ext cx="4186" cy="3255"/>
            </a:xfrm>
            <a:custGeom>
              <a:avLst/>
              <a:gdLst>
                <a:gd name="T0" fmla="*/ 9 w 9"/>
                <a:gd name="T1" fmla="*/ 2 h 7"/>
                <a:gd name="T2" fmla="*/ 7 w 9"/>
                <a:gd name="T3" fmla="*/ 2 h 7"/>
                <a:gd name="T4" fmla="*/ 0 w 9"/>
                <a:gd name="T5" fmla="*/ 7 h 7"/>
                <a:gd name="T6" fmla="*/ 9 w 9"/>
                <a:gd name="T7" fmla="*/ 0 h 7"/>
                <a:gd name="T8" fmla="*/ 9 w 9"/>
                <a:gd name="T9" fmla="*/ 2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9" y="2"/>
                  </a:moveTo>
                  <a:lnTo>
                    <a:pt x="7" y="2"/>
                  </a:lnTo>
                  <a:lnTo>
                    <a:pt x="0" y="7"/>
                  </a:lnTo>
                  <a:lnTo>
                    <a:pt x="9" y="0"/>
                  </a:lnTo>
                  <a:lnTo>
                    <a:pt x="9"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8" name="Freeform 337">
              <a:extLst>
                <a:ext uri="{FF2B5EF4-FFF2-40B4-BE49-F238E27FC236}">
                  <a16:creationId xmlns:a16="http://schemas.microsoft.com/office/drawing/2014/main" id="{FF018CEA-2C0E-4A77-8DFF-0BDA592EAE64}"/>
                </a:ext>
              </a:extLst>
            </p:cNvPr>
            <p:cNvSpPr>
              <a:spLocks/>
            </p:cNvSpPr>
            <p:nvPr/>
          </p:nvSpPr>
          <p:spPr bwMode="gray">
            <a:xfrm rot="47099">
              <a:off x="1336652" y="2143841"/>
              <a:ext cx="3255" cy="3255"/>
            </a:xfrm>
            <a:custGeom>
              <a:avLst/>
              <a:gdLst>
                <a:gd name="T0" fmla="*/ 7 w 7"/>
                <a:gd name="T1" fmla="*/ 5 h 7"/>
                <a:gd name="T2" fmla="*/ 7 w 7"/>
                <a:gd name="T3" fmla="*/ 7 h 7"/>
                <a:gd name="T4" fmla="*/ 0 w 7"/>
                <a:gd name="T5" fmla="*/ 7 h 7"/>
                <a:gd name="T6" fmla="*/ 0 w 7"/>
                <a:gd name="T7" fmla="*/ 5 h 7"/>
                <a:gd name="T8" fmla="*/ 4 w 7"/>
                <a:gd name="T9" fmla="*/ 0 h 7"/>
                <a:gd name="T10" fmla="*/ 7 w 7"/>
                <a:gd name="T11" fmla="*/ 0 h 7"/>
                <a:gd name="T12" fmla="*/ 7 w 7"/>
                <a:gd name="T13" fmla="*/ 5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7" y="5"/>
                  </a:moveTo>
                  <a:lnTo>
                    <a:pt x="7" y="7"/>
                  </a:lnTo>
                  <a:lnTo>
                    <a:pt x="0" y="7"/>
                  </a:lnTo>
                  <a:lnTo>
                    <a:pt x="0" y="5"/>
                  </a:lnTo>
                  <a:lnTo>
                    <a:pt x="4"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49" name="Freeform 338">
              <a:extLst>
                <a:ext uri="{FF2B5EF4-FFF2-40B4-BE49-F238E27FC236}">
                  <a16:creationId xmlns:a16="http://schemas.microsoft.com/office/drawing/2014/main" id="{23F4F91B-2506-4B38-9806-BEF26B33ACAB}"/>
                </a:ext>
              </a:extLst>
            </p:cNvPr>
            <p:cNvSpPr>
              <a:spLocks/>
            </p:cNvSpPr>
            <p:nvPr/>
          </p:nvSpPr>
          <p:spPr bwMode="gray">
            <a:xfrm rot="47099">
              <a:off x="1321337" y="2140399"/>
              <a:ext cx="6510" cy="5579"/>
            </a:xfrm>
            <a:custGeom>
              <a:avLst/>
              <a:gdLst>
                <a:gd name="T0" fmla="*/ 9 w 14"/>
                <a:gd name="T1" fmla="*/ 5 h 12"/>
                <a:gd name="T2" fmla="*/ 14 w 14"/>
                <a:gd name="T3" fmla="*/ 5 h 12"/>
                <a:gd name="T4" fmla="*/ 14 w 14"/>
                <a:gd name="T5" fmla="*/ 12 h 12"/>
                <a:gd name="T6" fmla="*/ 9 w 14"/>
                <a:gd name="T7" fmla="*/ 12 h 12"/>
                <a:gd name="T8" fmla="*/ 7 w 14"/>
                <a:gd name="T9" fmla="*/ 7 h 12"/>
                <a:gd name="T10" fmla="*/ 2 w 14"/>
                <a:gd name="T11" fmla="*/ 7 h 12"/>
                <a:gd name="T12" fmla="*/ 2 w 14"/>
                <a:gd name="T13" fmla="*/ 5 h 12"/>
                <a:gd name="T14" fmla="*/ 0 w 14"/>
                <a:gd name="T15" fmla="*/ 5 h 12"/>
                <a:gd name="T16" fmla="*/ 0 w 14"/>
                <a:gd name="T17" fmla="*/ 0 h 12"/>
                <a:gd name="T18" fmla="*/ 2 w 14"/>
                <a:gd name="T19" fmla="*/ 0 h 12"/>
                <a:gd name="T20" fmla="*/ 7 w 14"/>
                <a:gd name="T21" fmla="*/ 5 h 12"/>
                <a:gd name="T22" fmla="*/ 9 w 14"/>
                <a:gd name="T23" fmla="*/ 5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2"/>
                <a:gd name="T38" fmla="*/ 14 w 14"/>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2">
                  <a:moveTo>
                    <a:pt x="9" y="5"/>
                  </a:moveTo>
                  <a:lnTo>
                    <a:pt x="14" y="5"/>
                  </a:lnTo>
                  <a:lnTo>
                    <a:pt x="14" y="12"/>
                  </a:lnTo>
                  <a:lnTo>
                    <a:pt x="9" y="12"/>
                  </a:lnTo>
                  <a:lnTo>
                    <a:pt x="7" y="7"/>
                  </a:lnTo>
                  <a:lnTo>
                    <a:pt x="2" y="7"/>
                  </a:lnTo>
                  <a:lnTo>
                    <a:pt x="2" y="5"/>
                  </a:lnTo>
                  <a:lnTo>
                    <a:pt x="0" y="5"/>
                  </a:lnTo>
                  <a:lnTo>
                    <a:pt x="0" y="0"/>
                  </a:lnTo>
                  <a:lnTo>
                    <a:pt x="2" y="0"/>
                  </a:lnTo>
                  <a:lnTo>
                    <a:pt x="7" y="5"/>
                  </a:lnTo>
                  <a:lnTo>
                    <a:pt x="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0" name="Freeform 339">
              <a:extLst>
                <a:ext uri="{FF2B5EF4-FFF2-40B4-BE49-F238E27FC236}">
                  <a16:creationId xmlns:a16="http://schemas.microsoft.com/office/drawing/2014/main" id="{8B2CFB43-369C-4EB4-A7D9-B467D939BDA4}"/>
                </a:ext>
              </a:extLst>
            </p:cNvPr>
            <p:cNvSpPr>
              <a:spLocks/>
            </p:cNvSpPr>
            <p:nvPr/>
          </p:nvSpPr>
          <p:spPr bwMode="gray">
            <a:xfrm rot="47099">
              <a:off x="1316753" y="2136138"/>
              <a:ext cx="4651" cy="4185"/>
            </a:xfrm>
            <a:custGeom>
              <a:avLst/>
              <a:gdLst>
                <a:gd name="T0" fmla="*/ 7 w 10"/>
                <a:gd name="T1" fmla="*/ 0 h 9"/>
                <a:gd name="T2" fmla="*/ 7 w 10"/>
                <a:gd name="T3" fmla="*/ 2 h 9"/>
                <a:gd name="T4" fmla="*/ 10 w 10"/>
                <a:gd name="T5" fmla="*/ 7 h 9"/>
                <a:gd name="T6" fmla="*/ 7 w 10"/>
                <a:gd name="T7" fmla="*/ 9 h 9"/>
                <a:gd name="T8" fmla="*/ 3 w 10"/>
                <a:gd name="T9" fmla="*/ 7 h 9"/>
                <a:gd name="T10" fmla="*/ 0 w 10"/>
                <a:gd name="T11" fmla="*/ 2 h 9"/>
                <a:gd name="T12" fmla="*/ 3 w 10"/>
                <a:gd name="T13" fmla="*/ 0 h 9"/>
                <a:gd name="T14" fmla="*/ 7 w 10"/>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9"/>
                <a:gd name="T26" fmla="*/ 10 w 10"/>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9">
                  <a:moveTo>
                    <a:pt x="7" y="0"/>
                  </a:moveTo>
                  <a:lnTo>
                    <a:pt x="7" y="2"/>
                  </a:lnTo>
                  <a:lnTo>
                    <a:pt x="10" y="7"/>
                  </a:lnTo>
                  <a:lnTo>
                    <a:pt x="7" y="9"/>
                  </a:lnTo>
                  <a:lnTo>
                    <a:pt x="3" y="7"/>
                  </a:lnTo>
                  <a:lnTo>
                    <a:pt x="0" y="2"/>
                  </a:lnTo>
                  <a:lnTo>
                    <a:pt x="3"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1" name="Freeform 340">
              <a:extLst>
                <a:ext uri="{FF2B5EF4-FFF2-40B4-BE49-F238E27FC236}">
                  <a16:creationId xmlns:a16="http://schemas.microsoft.com/office/drawing/2014/main" id="{BA6421D8-8F76-4685-8884-2716753B0B15}"/>
                </a:ext>
              </a:extLst>
            </p:cNvPr>
            <p:cNvSpPr>
              <a:spLocks/>
            </p:cNvSpPr>
            <p:nvPr/>
          </p:nvSpPr>
          <p:spPr bwMode="gray">
            <a:xfrm rot="47099">
              <a:off x="1306113" y="2132284"/>
              <a:ext cx="6510" cy="3720"/>
            </a:xfrm>
            <a:custGeom>
              <a:avLst/>
              <a:gdLst>
                <a:gd name="T0" fmla="*/ 14 w 14"/>
                <a:gd name="T1" fmla="*/ 5 h 8"/>
                <a:gd name="T2" fmla="*/ 14 w 14"/>
                <a:gd name="T3" fmla="*/ 8 h 8"/>
                <a:gd name="T4" fmla="*/ 0 w 14"/>
                <a:gd name="T5" fmla="*/ 8 h 8"/>
                <a:gd name="T6" fmla="*/ 2 w 14"/>
                <a:gd name="T7" fmla="*/ 8 h 8"/>
                <a:gd name="T8" fmla="*/ 14 w 14"/>
                <a:gd name="T9" fmla="*/ 0 h 8"/>
                <a:gd name="T10" fmla="*/ 14 w 14"/>
                <a:gd name="T11" fmla="*/ 5 h 8"/>
                <a:gd name="T12" fmla="*/ 0 60000 65536"/>
                <a:gd name="T13" fmla="*/ 0 60000 65536"/>
                <a:gd name="T14" fmla="*/ 0 60000 65536"/>
                <a:gd name="T15" fmla="*/ 0 60000 65536"/>
                <a:gd name="T16" fmla="*/ 0 60000 65536"/>
                <a:gd name="T17" fmla="*/ 0 60000 65536"/>
                <a:gd name="T18" fmla="*/ 0 w 14"/>
                <a:gd name="T19" fmla="*/ 0 h 8"/>
                <a:gd name="T20" fmla="*/ 14 w 14"/>
                <a:gd name="T21" fmla="*/ 8 h 8"/>
              </a:gdLst>
              <a:ahLst/>
              <a:cxnLst>
                <a:cxn ang="T12">
                  <a:pos x="T0" y="T1"/>
                </a:cxn>
                <a:cxn ang="T13">
                  <a:pos x="T2" y="T3"/>
                </a:cxn>
                <a:cxn ang="T14">
                  <a:pos x="T4" y="T5"/>
                </a:cxn>
                <a:cxn ang="T15">
                  <a:pos x="T6" y="T7"/>
                </a:cxn>
                <a:cxn ang="T16">
                  <a:pos x="T8" y="T9"/>
                </a:cxn>
                <a:cxn ang="T17">
                  <a:pos x="T10" y="T11"/>
                </a:cxn>
              </a:cxnLst>
              <a:rect l="T18" t="T19" r="T20" b="T21"/>
              <a:pathLst>
                <a:path w="14" h="8">
                  <a:moveTo>
                    <a:pt x="14" y="5"/>
                  </a:moveTo>
                  <a:lnTo>
                    <a:pt x="14" y="8"/>
                  </a:lnTo>
                  <a:lnTo>
                    <a:pt x="0" y="8"/>
                  </a:lnTo>
                  <a:lnTo>
                    <a:pt x="2" y="8"/>
                  </a:lnTo>
                  <a:lnTo>
                    <a:pt x="14" y="0"/>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2" name="Freeform 341">
              <a:extLst>
                <a:ext uri="{FF2B5EF4-FFF2-40B4-BE49-F238E27FC236}">
                  <a16:creationId xmlns:a16="http://schemas.microsoft.com/office/drawing/2014/main" id="{ACFB48F4-0C7B-477C-90C6-516A1E50027D}"/>
                </a:ext>
              </a:extLst>
            </p:cNvPr>
            <p:cNvSpPr>
              <a:spLocks/>
            </p:cNvSpPr>
            <p:nvPr/>
          </p:nvSpPr>
          <p:spPr bwMode="gray">
            <a:xfrm rot="47099">
              <a:off x="1858338" y="2079991"/>
              <a:ext cx="25113" cy="15344"/>
            </a:xfrm>
            <a:custGeom>
              <a:avLst/>
              <a:gdLst>
                <a:gd name="T0" fmla="*/ 37 w 54"/>
                <a:gd name="T1" fmla="*/ 7 h 33"/>
                <a:gd name="T2" fmla="*/ 37 w 54"/>
                <a:gd name="T3" fmla="*/ 4 h 33"/>
                <a:gd name="T4" fmla="*/ 47 w 54"/>
                <a:gd name="T5" fmla="*/ 4 h 33"/>
                <a:gd name="T6" fmla="*/ 47 w 54"/>
                <a:gd name="T7" fmla="*/ 7 h 33"/>
                <a:gd name="T8" fmla="*/ 54 w 54"/>
                <a:gd name="T9" fmla="*/ 16 h 33"/>
                <a:gd name="T10" fmla="*/ 54 w 54"/>
                <a:gd name="T11" fmla="*/ 23 h 33"/>
                <a:gd name="T12" fmla="*/ 47 w 54"/>
                <a:gd name="T13" fmla="*/ 23 h 33"/>
                <a:gd name="T14" fmla="*/ 37 w 54"/>
                <a:gd name="T15" fmla="*/ 26 h 33"/>
                <a:gd name="T16" fmla="*/ 33 w 54"/>
                <a:gd name="T17" fmla="*/ 26 h 33"/>
                <a:gd name="T18" fmla="*/ 33 w 54"/>
                <a:gd name="T19" fmla="*/ 30 h 33"/>
                <a:gd name="T20" fmla="*/ 25 w 54"/>
                <a:gd name="T21" fmla="*/ 30 h 33"/>
                <a:gd name="T22" fmla="*/ 25 w 54"/>
                <a:gd name="T23" fmla="*/ 33 h 33"/>
                <a:gd name="T24" fmla="*/ 16 w 54"/>
                <a:gd name="T25" fmla="*/ 33 h 33"/>
                <a:gd name="T26" fmla="*/ 16 w 54"/>
                <a:gd name="T27" fmla="*/ 30 h 33"/>
                <a:gd name="T28" fmla="*/ 9 w 54"/>
                <a:gd name="T29" fmla="*/ 30 h 33"/>
                <a:gd name="T30" fmla="*/ 9 w 54"/>
                <a:gd name="T31" fmla="*/ 26 h 33"/>
                <a:gd name="T32" fmla="*/ 2 w 54"/>
                <a:gd name="T33" fmla="*/ 23 h 33"/>
                <a:gd name="T34" fmla="*/ 2 w 54"/>
                <a:gd name="T35" fmla="*/ 16 h 33"/>
                <a:gd name="T36" fmla="*/ 0 w 54"/>
                <a:gd name="T37" fmla="*/ 16 h 33"/>
                <a:gd name="T38" fmla="*/ 0 w 54"/>
                <a:gd name="T39" fmla="*/ 14 h 33"/>
                <a:gd name="T40" fmla="*/ 2 w 54"/>
                <a:gd name="T41" fmla="*/ 14 h 33"/>
                <a:gd name="T42" fmla="*/ 2 w 54"/>
                <a:gd name="T43" fmla="*/ 9 h 33"/>
                <a:gd name="T44" fmla="*/ 9 w 54"/>
                <a:gd name="T45" fmla="*/ 7 h 33"/>
                <a:gd name="T46" fmla="*/ 9 w 54"/>
                <a:gd name="T47" fmla="*/ 0 h 33"/>
                <a:gd name="T48" fmla="*/ 14 w 54"/>
                <a:gd name="T49" fmla="*/ 0 h 33"/>
                <a:gd name="T50" fmla="*/ 16 w 54"/>
                <a:gd name="T51" fmla="*/ 4 h 33"/>
                <a:gd name="T52" fmla="*/ 18 w 54"/>
                <a:gd name="T53" fmla="*/ 7 h 33"/>
                <a:gd name="T54" fmla="*/ 37 w 54"/>
                <a:gd name="T55" fmla="*/ 7 h 3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33"/>
                <a:gd name="T86" fmla="*/ 54 w 54"/>
                <a:gd name="T87" fmla="*/ 33 h 3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33">
                  <a:moveTo>
                    <a:pt x="37" y="7"/>
                  </a:moveTo>
                  <a:lnTo>
                    <a:pt x="37" y="4"/>
                  </a:lnTo>
                  <a:lnTo>
                    <a:pt x="47" y="4"/>
                  </a:lnTo>
                  <a:lnTo>
                    <a:pt x="47" y="7"/>
                  </a:lnTo>
                  <a:lnTo>
                    <a:pt x="54" y="16"/>
                  </a:lnTo>
                  <a:lnTo>
                    <a:pt x="54" y="23"/>
                  </a:lnTo>
                  <a:lnTo>
                    <a:pt x="47" y="23"/>
                  </a:lnTo>
                  <a:lnTo>
                    <a:pt x="37" y="26"/>
                  </a:lnTo>
                  <a:lnTo>
                    <a:pt x="33" y="26"/>
                  </a:lnTo>
                  <a:lnTo>
                    <a:pt x="33" y="30"/>
                  </a:lnTo>
                  <a:lnTo>
                    <a:pt x="25" y="30"/>
                  </a:lnTo>
                  <a:lnTo>
                    <a:pt x="25" y="33"/>
                  </a:lnTo>
                  <a:lnTo>
                    <a:pt x="16" y="33"/>
                  </a:lnTo>
                  <a:lnTo>
                    <a:pt x="16" y="30"/>
                  </a:lnTo>
                  <a:lnTo>
                    <a:pt x="9" y="30"/>
                  </a:lnTo>
                  <a:lnTo>
                    <a:pt x="9" y="26"/>
                  </a:lnTo>
                  <a:lnTo>
                    <a:pt x="2" y="23"/>
                  </a:lnTo>
                  <a:lnTo>
                    <a:pt x="2" y="16"/>
                  </a:lnTo>
                  <a:lnTo>
                    <a:pt x="0" y="16"/>
                  </a:lnTo>
                  <a:lnTo>
                    <a:pt x="0" y="14"/>
                  </a:lnTo>
                  <a:lnTo>
                    <a:pt x="2" y="14"/>
                  </a:lnTo>
                  <a:lnTo>
                    <a:pt x="2" y="9"/>
                  </a:lnTo>
                  <a:lnTo>
                    <a:pt x="9" y="7"/>
                  </a:lnTo>
                  <a:lnTo>
                    <a:pt x="9" y="0"/>
                  </a:lnTo>
                  <a:lnTo>
                    <a:pt x="14" y="0"/>
                  </a:lnTo>
                  <a:lnTo>
                    <a:pt x="16" y="4"/>
                  </a:lnTo>
                  <a:lnTo>
                    <a:pt x="18" y="7"/>
                  </a:lnTo>
                  <a:lnTo>
                    <a:pt x="3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3" name="Freeform 342">
              <a:extLst>
                <a:ext uri="{FF2B5EF4-FFF2-40B4-BE49-F238E27FC236}">
                  <a16:creationId xmlns:a16="http://schemas.microsoft.com/office/drawing/2014/main" id="{1CD3DE6C-24DD-4425-B5B8-4CB56712350C}"/>
                </a:ext>
              </a:extLst>
            </p:cNvPr>
            <p:cNvSpPr>
              <a:spLocks/>
            </p:cNvSpPr>
            <p:nvPr/>
          </p:nvSpPr>
          <p:spPr bwMode="gray">
            <a:xfrm rot="47099">
              <a:off x="1985184" y="2027645"/>
              <a:ext cx="4651" cy="1860"/>
            </a:xfrm>
            <a:custGeom>
              <a:avLst/>
              <a:gdLst>
                <a:gd name="T0" fmla="*/ 3 w 10"/>
                <a:gd name="T1" fmla="*/ 0 h 4"/>
                <a:gd name="T2" fmla="*/ 10 w 10"/>
                <a:gd name="T3" fmla="*/ 0 h 4"/>
                <a:gd name="T4" fmla="*/ 10 w 10"/>
                <a:gd name="T5" fmla="*/ 2 h 4"/>
                <a:gd name="T6" fmla="*/ 5 w 10"/>
                <a:gd name="T7" fmla="*/ 4 h 4"/>
                <a:gd name="T8" fmla="*/ 3 w 10"/>
                <a:gd name="T9" fmla="*/ 4 h 4"/>
                <a:gd name="T10" fmla="*/ 0 w 10"/>
                <a:gd name="T11" fmla="*/ 0 h 4"/>
                <a:gd name="T12" fmla="*/ 3 w 10"/>
                <a:gd name="T13" fmla="*/ 0 h 4"/>
                <a:gd name="T14" fmla="*/ 0 60000 65536"/>
                <a:gd name="T15" fmla="*/ 0 60000 65536"/>
                <a:gd name="T16" fmla="*/ 0 60000 65536"/>
                <a:gd name="T17" fmla="*/ 0 60000 65536"/>
                <a:gd name="T18" fmla="*/ 0 60000 65536"/>
                <a:gd name="T19" fmla="*/ 0 60000 65536"/>
                <a:gd name="T20" fmla="*/ 0 60000 65536"/>
                <a:gd name="T21" fmla="*/ 0 w 10"/>
                <a:gd name="T22" fmla="*/ 0 h 4"/>
                <a:gd name="T23" fmla="*/ 10 w 10"/>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4">
                  <a:moveTo>
                    <a:pt x="3" y="0"/>
                  </a:moveTo>
                  <a:lnTo>
                    <a:pt x="10" y="0"/>
                  </a:lnTo>
                  <a:lnTo>
                    <a:pt x="10" y="2"/>
                  </a:lnTo>
                  <a:lnTo>
                    <a:pt x="5" y="4"/>
                  </a:lnTo>
                  <a:lnTo>
                    <a:pt x="3" y="4"/>
                  </a:lnTo>
                  <a:lnTo>
                    <a:pt x="0" y="0"/>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4" name="Freeform 343">
              <a:extLst>
                <a:ext uri="{FF2B5EF4-FFF2-40B4-BE49-F238E27FC236}">
                  <a16:creationId xmlns:a16="http://schemas.microsoft.com/office/drawing/2014/main" id="{FBA799ED-1697-4347-8890-A18525144AE8}"/>
                </a:ext>
              </a:extLst>
            </p:cNvPr>
            <p:cNvSpPr>
              <a:spLocks/>
            </p:cNvSpPr>
            <p:nvPr/>
          </p:nvSpPr>
          <p:spPr bwMode="gray">
            <a:xfrm rot="47099">
              <a:off x="1395758" y="2140466"/>
              <a:ext cx="3255" cy="4185"/>
            </a:xfrm>
            <a:custGeom>
              <a:avLst/>
              <a:gdLst>
                <a:gd name="T0" fmla="*/ 7 w 7"/>
                <a:gd name="T1" fmla="*/ 0 h 9"/>
                <a:gd name="T2" fmla="*/ 7 w 7"/>
                <a:gd name="T3" fmla="*/ 7 h 9"/>
                <a:gd name="T4" fmla="*/ 3 w 7"/>
                <a:gd name="T5" fmla="*/ 9 h 9"/>
                <a:gd name="T6" fmla="*/ 0 w 7"/>
                <a:gd name="T7" fmla="*/ 2 h 9"/>
                <a:gd name="T8" fmla="*/ 3 w 7"/>
                <a:gd name="T9" fmla="*/ 0 h 9"/>
                <a:gd name="T10" fmla="*/ 7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7" y="0"/>
                  </a:moveTo>
                  <a:lnTo>
                    <a:pt x="7" y="7"/>
                  </a:lnTo>
                  <a:lnTo>
                    <a:pt x="3" y="9"/>
                  </a:lnTo>
                  <a:lnTo>
                    <a:pt x="0" y="2"/>
                  </a:lnTo>
                  <a:lnTo>
                    <a:pt x="3"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5" name="Freeform 344">
              <a:extLst>
                <a:ext uri="{FF2B5EF4-FFF2-40B4-BE49-F238E27FC236}">
                  <a16:creationId xmlns:a16="http://schemas.microsoft.com/office/drawing/2014/main" id="{A2CF18EE-C356-41B2-8576-CB834346DA01}"/>
                </a:ext>
              </a:extLst>
            </p:cNvPr>
            <p:cNvSpPr>
              <a:spLocks/>
            </p:cNvSpPr>
            <p:nvPr/>
          </p:nvSpPr>
          <p:spPr bwMode="gray">
            <a:xfrm rot="47099">
              <a:off x="1313600" y="2129119"/>
              <a:ext cx="4651" cy="3255"/>
            </a:xfrm>
            <a:custGeom>
              <a:avLst/>
              <a:gdLst>
                <a:gd name="T0" fmla="*/ 10 w 10"/>
                <a:gd name="T1" fmla="*/ 0 h 7"/>
                <a:gd name="T2" fmla="*/ 7 w 10"/>
                <a:gd name="T3" fmla="*/ 5 h 7"/>
                <a:gd name="T4" fmla="*/ 3 w 10"/>
                <a:gd name="T5" fmla="*/ 7 h 7"/>
                <a:gd name="T6" fmla="*/ 0 w 10"/>
                <a:gd name="T7" fmla="*/ 7 h 7"/>
                <a:gd name="T8" fmla="*/ 3 w 10"/>
                <a:gd name="T9" fmla="*/ 5 h 7"/>
                <a:gd name="T10" fmla="*/ 7 w 10"/>
                <a:gd name="T11" fmla="*/ 0 h 7"/>
                <a:gd name="T12" fmla="*/ 10 w 10"/>
                <a:gd name="T13" fmla="*/ 0 h 7"/>
                <a:gd name="T14" fmla="*/ 0 60000 65536"/>
                <a:gd name="T15" fmla="*/ 0 60000 65536"/>
                <a:gd name="T16" fmla="*/ 0 60000 65536"/>
                <a:gd name="T17" fmla="*/ 0 60000 65536"/>
                <a:gd name="T18" fmla="*/ 0 60000 65536"/>
                <a:gd name="T19" fmla="*/ 0 60000 65536"/>
                <a:gd name="T20" fmla="*/ 0 60000 65536"/>
                <a:gd name="T21" fmla="*/ 0 w 10"/>
                <a:gd name="T22" fmla="*/ 0 h 7"/>
                <a:gd name="T23" fmla="*/ 10 w 10"/>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7">
                  <a:moveTo>
                    <a:pt x="10" y="0"/>
                  </a:moveTo>
                  <a:lnTo>
                    <a:pt x="7" y="5"/>
                  </a:lnTo>
                  <a:lnTo>
                    <a:pt x="3" y="7"/>
                  </a:lnTo>
                  <a:lnTo>
                    <a:pt x="0" y="7"/>
                  </a:lnTo>
                  <a:lnTo>
                    <a:pt x="3" y="5"/>
                  </a:lnTo>
                  <a:lnTo>
                    <a:pt x="7" y="0"/>
                  </a:lnTo>
                  <a:lnTo>
                    <a:pt x="1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6" name="Freeform 345">
              <a:extLst>
                <a:ext uri="{FF2B5EF4-FFF2-40B4-BE49-F238E27FC236}">
                  <a16:creationId xmlns:a16="http://schemas.microsoft.com/office/drawing/2014/main" id="{3EB1CC24-F1AB-43AF-AD9C-90A610599D67}"/>
                </a:ext>
              </a:extLst>
            </p:cNvPr>
            <p:cNvSpPr>
              <a:spLocks/>
            </p:cNvSpPr>
            <p:nvPr/>
          </p:nvSpPr>
          <p:spPr bwMode="gray">
            <a:xfrm rot="47099">
              <a:off x="1972132" y="2028409"/>
              <a:ext cx="6510" cy="4649"/>
            </a:xfrm>
            <a:custGeom>
              <a:avLst/>
              <a:gdLst>
                <a:gd name="T0" fmla="*/ 9 w 14"/>
                <a:gd name="T1" fmla="*/ 10 h 10"/>
                <a:gd name="T2" fmla="*/ 0 w 14"/>
                <a:gd name="T3" fmla="*/ 10 h 10"/>
                <a:gd name="T4" fmla="*/ 0 w 14"/>
                <a:gd name="T5" fmla="*/ 2 h 10"/>
                <a:gd name="T6" fmla="*/ 7 w 14"/>
                <a:gd name="T7" fmla="*/ 0 h 10"/>
                <a:gd name="T8" fmla="*/ 9 w 14"/>
                <a:gd name="T9" fmla="*/ 0 h 10"/>
                <a:gd name="T10" fmla="*/ 14 w 14"/>
                <a:gd name="T11" fmla="*/ 7 h 10"/>
                <a:gd name="T12" fmla="*/ 9 w 14"/>
                <a:gd name="T13" fmla="*/ 7 h 10"/>
                <a:gd name="T14" fmla="*/ 9 w 14"/>
                <a:gd name="T15" fmla="*/ 10 h 10"/>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0"/>
                <a:gd name="T26" fmla="*/ 14 w 14"/>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0">
                  <a:moveTo>
                    <a:pt x="9" y="10"/>
                  </a:moveTo>
                  <a:lnTo>
                    <a:pt x="0" y="10"/>
                  </a:lnTo>
                  <a:lnTo>
                    <a:pt x="0" y="2"/>
                  </a:lnTo>
                  <a:lnTo>
                    <a:pt x="7" y="0"/>
                  </a:lnTo>
                  <a:lnTo>
                    <a:pt x="9" y="0"/>
                  </a:lnTo>
                  <a:lnTo>
                    <a:pt x="14" y="7"/>
                  </a:lnTo>
                  <a:lnTo>
                    <a:pt x="9" y="7"/>
                  </a:lnTo>
                  <a:lnTo>
                    <a:pt x="9"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7" name="Freeform 346">
              <a:extLst>
                <a:ext uri="{FF2B5EF4-FFF2-40B4-BE49-F238E27FC236}">
                  <a16:creationId xmlns:a16="http://schemas.microsoft.com/office/drawing/2014/main" id="{405743FF-58C1-400F-AC40-047941F76A83}"/>
                </a:ext>
              </a:extLst>
            </p:cNvPr>
            <p:cNvSpPr>
              <a:spLocks/>
            </p:cNvSpPr>
            <p:nvPr/>
          </p:nvSpPr>
          <p:spPr bwMode="gray">
            <a:xfrm rot="47099">
              <a:off x="1673070" y="2121996"/>
              <a:ext cx="10696" cy="23249"/>
            </a:xfrm>
            <a:custGeom>
              <a:avLst/>
              <a:gdLst>
                <a:gd name="T0" fmla="*/ 16 w 23"/>
                <a:gd name="T1" fmla="*/ 17 h 50"/>
                <a:gd name="T2" fmla="*/ 19 w 23"/>
                <a:gd name="T3" fmla="*/ 17 h 50"/>
                <a:gd name="T4" fmla="*/ 19 w 23"/>
                <a:gd name="T5" fmla="*/ 24 h 50"/>
                <a:gd name="T6" fmla="*/ 23 w 23"/>
                <a:gd name="T7" fmla="*/ 26 h 50"/>
                <a:gd name="T8" fmla="*/ 23 w 23"/>
                <a:gd name="T9" fmla="*/ 48 h 50"/>
                <a:gd name="T10" fmla="*/ 19 w 23"/>
                <a:gd name="T11" fmla="*/ 50 h 50"/>
                <a:gd name="T12" fmla="*/ 16 w 23"/>
                <a:gd name="T13" fmla="*/ 50 h 50"/>
                <a:gd name="T14" fmla="*/ 9 w 23"/>
                <a:gd name="T15" fmla="*/ 48 h 50"/>
                <a:gd name="T16" fmla="*/ 7 w 23"/>
                <a:gd name="T17" fmla="*/ 43 h 50"/>
                <a:gd name="T18" fmla="*/ 7 w 23"/>
                <a:gd name="T19" fmla="*/ 41 h 50"/>
                <a:gd name="T20" fmla="*/ 2 w 23"/>
                <a:gd name="T21" fmla="*/ 38 h 50"/>
                <a:gd name="T22" fmla="*/ 2 w 23"/>
                <a:gd name="T23" fmla="*/ 33 h 50"/>
                <a:gd name="T24" fmla="*/ 7 w 23"/>
                <a:gd name="T25" fmla="*/ 38 h 50"/>
                <a:gd name="T26" fmla="*/ 7 w 23"/>
                <a:gd name="T27" fmla="*/ 26 h 50"/>
                <a:gd name="T28" fmla="*/ 2 w 23"/>
                <a:gd name="T29" fmla="*/ 26 h 50"/>
                <a:gd name="T30" fmla="*/ 0 w 23"/>
                <a:gd name="T31" fmla="*/ 24 h 50"/>
                <a:gd name="T32" fmla="*/ 0 w 23"/>
                <a:gd name="T33" fmla="*/ 15 h 50"/>
                <a:gd name="T34" fmla="*/ 2 w 23"/>
                <a:gd name="T35" fmla="*/ 5 h 50"/>
                <a:gd name="T36" fmla="*/ 7 w 23"/>
                <a:gd name="T37" fmla="*/ 5 h 50"/>
                <a:gd name="T38" fmla="*/ 7 w 23"/>
                <a:gd name="T39" fmla="*/ 0 h 50"/>
                <a:gd name="T40" fmla="*/ 9 w 23"/>
                <a:gd name="T41" fmla="*/ 5 h 50"/>
                <a:gd name="T42" fmla="*/ 11 w 23"/>
                <a:gd name="T43" fmla="*/ 5 h 50"/>
                <a:gd name="T44" fmla="*/ 11 w 23"/>
                <a:gd name="T45" fmla="*/ 7 h 50"/>
                <a:gd name="T46" fmla="*/ 16 w 23"/>
                <a:gd name="T47" fmla="*/ 7 h 50"/>
                <a:gd name="T48" fmla="*/ 16 w 23"/>
                <a:gd name="T49" fmla="*/ 17 h 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50"/>
                <a:gd name="T77" fmla="*/ 23 w 23"/>
                <a:gd name="T78" fmla="*/ 50 h 5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50">
                  <a:moveTo>
                    <a:pt x="16" y="17"/>
                  </a:moveTo>
                  <a:lnTo>
                    <a:pt x="19" y="17"/>
                  </a:lnTo>
                  <a:lnTo>
                    <a:pt x="19" y="24"/>
                  </a:lnTo>
                  <a:lnTo>
                    <a:pt x="23" y="26"/>
                  </a:lnTo>
                  <a:lnTo>
                    <a:pt x="23" y="48"/>
                  </a:lnTo>
                  <a:lnTo>
                    <a:pt x="19" y="50"/>
                  </a:lnTo>
                  <a:lnTo>
                    <a:pt x="16" y="50"/>
                  </a:lnTo>
                  <a:lnTo>
                    <a:pt x="9" y="48"/>
                  </a:lnTo>
                  <a:lnTo>
                    <a:pt x="7" y="43"/>
                  </a:lnTo>
                  <a:lnTo>
                    <a:pt x="7" y="41"/>
                  </a:lnTo>
                  <a:lnTo>
                    <a:pt x="2" y="38"/>
                  </a:lnTo>
                  <a:lnTo>
                    <a:pt x="2" y="33"/>
                  </a:lnTo>
                  <a:lnTo>
                    <a:pt x="7" y="38"/>
                  </a:lnTo>
                  <a:lnTo>
                    <a:pt x="7" y="26"/>
                  </a:lnTo>
                  <a:lnTo>
                    <a:pt x="2" y="26"/>
                  </a:lnTo>
                  <a:lnTo>
                    <a:pt x="0" y="24"/>
                  </a:lnTo>
                  <a:lnTo>
                    <a:pt x="0" y="15"/>
                  </a:lnTo>
                  <a:lnTo>
                    <a:pt x="2" y="5"/>
                  </a:lnTo>
                  <a:lnTo>
                    <a:pt x="7" y="5"/>
                  </a:lnTo>
                  <a:lnTo>
                    <a:pt x="7" y="0"/>
                  </a:lnTo>
                  <a:lnTo>
                    <a:pt x="9" y="5"/>
                  </a:lnTo>
                  <a:lnTo>
                    <a:pt x="11" y="5"/>
                  </a:lnTo>
                  <a:lnTo>
                    <a:pt x="11" y="7"/>
                  </a:lnTo>
                  <a:lnTo>
                    <a:pt x="16" y="7"/>
                  </a:lnTo>
                  <a:lnTo>
                    <a:pt x="16" y="1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8" name="Freeform 347">
              <a:extLst>
                <a:ext uri="{FF2B5EF4-FFF2-40B4-BE49-F238E27FC236}">
                  <a16:creationId xmlns:a16="http://schemas.microsoft.com/office/drawing/2014/main" id="{F88248B1-71F4-439A-99EE-17D31D73C046}"/>
                </a:ext>
              </a:extLst>
            </p:cNvPr>
            <p:cNvSpPr>
              <a:spLocks/>
            </p:cNvSpPr>
            <p:nvPr/>
          </p:nvSpPr>
          <p:spPr bwMode="gray">
            <a:xfrm rot="47099">
              <a:off x="1283943" y="2121273"/>
              <a:ext cx="4651" cy="3255"/>
            </a:xfrm>
            <a:custGeom>
              <a:avLst/>
              <a:gdLst>
                <a:gd name="T0" fmla="*/ 7 w 10"/>
                <a:gd name="T1" fmla="*/ 5 h 7"/>
                <a:gd name="T2" fmla="*/ 5 w 10"/>
                <a:gd name="T3" fmla="*/ 5 h 7"/>
                <a:gd name="T4" fmla="*/ 5 w 10"/>
                <a:gd name="T5" fmla="*/ 7 h 7"/>
                <a:gd name="T6" fmla="*/ 0 w 10"/>
                <a:gd name="T7" fmla="*/ 7 h 7"/>
                <a:gd name="T8" fmla="*/ 0 w 10"/>
                <a:gd name="T9" fmla="*/ 5 h 7"/>
                <a:gd name="T10" fmla="*/ 5 w 10"/>
                <a:gd name="T11" fmla="*/ 0 h 7"/>
                <a:gd name="T12" fmla="*/ 10 w 10"/>
                <a:gd name="T13" fmla="*/ 0 h 7"/>
                <a:gd name="T14" fmla="*/ 10 w 10"/>
                <a:gd name="T15" fmla="*/ 5 h 7"/>
                <a:gd name="T16" fmla="*/ 7 w 10"/>
                <a:gd name="T17" fmla="*/ 5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7"/>
                <a:gd name="T29" fmla="*/ 10 w 10"/>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7">
                  <a:moveTo>
                    <a:pt x="7" y="5"/>
                  </a:moveTo>
                  <a:lnTo>
                    <a:pt x="5" y="5"/>
                  </a:lnTo>
                  <a:lnTo>
                    <a:pt x="5" y="7"/>
                  </a:lnTo>
                  <a:lnTo>
                    <a:pt x="0" y="7"/>
                  </a:lnTo>
                  <a:lnTo>
                    <a:pt x="0" y="5"/>
                  </a:lnTo>
                  <a:lnTo>
                    <a:pt x="5" y="0"/>
                  </a:lnTo>
                  <a:lnTo>
                    <a:pt x="10" y="0"/>
                  </a:lnTo>
                  <a:lnTo>
                    <a:pt x="10" y="5"/>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59" name="Freeform 348">
              <a:extLst>
                <a:ext uri="{FF2B5EF4-FFF2-40B4-BE49-F238E27FC236}">
                  <a16:creationId xmlns:a16="http://schemas.microsoft.com/office/drawing/2014/main" id="{E89DE7CD-8F29-4A48-AE42-760A9BE0D489}"/>
                </a:ext>
              </a:extLst>
            </p:cNvPr>
            <p:cNvSpPr>
              <a:spLocks/>
            </p:cNvSpPr>
            <p:nvPr/>
          </p:nvSpPr>
          <p:spPr bwMode="gray">
            <a:xfrm rot="47099">
              <a:off x="1825077" y="2081480"/>
              <a:ext cx="37203" cy="47428"/>
            </a:xfrm>
            <a:custGeom>
              <a:avLst/>
              <a:gdLst>
                <a:gd name="T0" fmla="*/ 37 w 80"/>
                <a:gd name="T1" fmla="*/ 99 h 102"/>
                <a:gd name="T2" fmla="*/ 28 w 80"/>
                <a:gd name="T3" fmla="*/ 102 h 102"/>
                <a:gd name="T4" fmla="*/ 23 w 80"/>
                <a:gd name="T5" fmla="*/ 102 h 102"/>
                <a:gd name="T6" fmla="*/ 23 w 80"/>
                <a:gd name="T7" fmla="*/ 99 h 102"/>
                <a:gd name="T8" fmla="*/ 21 w 80"/>
                <a:gd name="T9" fmla="*/ 99 h 102"/>
                <a:gd name="T10" fmla="*/ 11 w 80"/>
                <a:gd name="T11" fmla="*/ 85 h 102"/>
                <a:gd name="T12" fmla="*/ 11 w 80"/>
                <a:gd name="T13" fmla="*/ 78 h 102"/>
                <a:gd name="T14" fmla="*/ 7 w 80"/>
                <a:gd name="T15" fmla="*/ 76 h 102"/>
                <a:gd name="T16" fmla="*/ 4 w 80"/>
                <a:gd name="T17" fmla="*/ 69 h 102"/>
                <a:gd name="T18" fmla="*/ 0 w 80"/>
                <a:gd name="T19" fmla="*/ 66 h 102"/>
                <a:gd name="T20" fmla="*/ 0 w 80"/>
                <a:gd name="T21" fmla="*/ 26 h 102"/>
                <a:gd name="T22" fmla="*/ 4 w 80"/>
                <a:gd name="T23" fmla="*/ 17 h 102"/>
                <a:gd name="T24" fmla="*/ 4 w 80"/>
                <a:gd name="T25" fmla="*/ 12 h 102"/>
                <a:gd name="T26" fmla="*/ 7 w 80"/>
                <a:gd name="T27" fmla="*/ 12 h 102"/>
                <a:gd name="T28" fmla="*/ 14 w 80"/>
                <a:gd name="T29" fmla="*/ 5 h 102"/>
                <a:gd name="T30" fmla="*/ 23 w 80"/>
                <a:gd name="T31" fmla="*/ 5 h 102"/>
                <a:gd name="T32" fmla="*/ 23 w 80"/>
                <a:gd name="T33" fmla="*/ 3 h 102"/>
                <a:gd name="T34" fmla="*/ 28 w 80"/>
                <a:gd name="T35" fmla="*/ 0 h 102"/>
                <a:gd name="T36" fmla="*/ 37 w 80"/>
                <a:gd name="T37" fmla="*/ 0 h 102"/>
                <a:gd name="T38" fmla="*/ 45 w 80"/>
                <a:gd name="T39" fmla="*/ 3 h 102"/>
                <a:gd name="T40" fmla="*/ 45 w 80"/>
                <a:gd name="T41" fmla="*/ 0 h 102"/>
                <a:gd name="T42" fmla="*/ 54 w 80"/>
                <a:gd name="T43" fmla="*/ 0 h 102"/>
                <a:gd name="T44" fmla="*/ 61 w 80"/>
                <a:gd name="T45" fmla="*/ 5 h 102"/>
                <a:gd name="T46" fmla="*/ 61 w 80"/>
                <a:gd name="T47" fmla="*/ 10 h 102"/>
                <a:gd name="T48" fmla="*/ 63 w 80"/>
                <a:gd name="T49" fmla="*/ 17 h 102"/>
                <a:gd name="T50" fmla="*/ 63 w 80"/>
                <a:gd name="T51" fmla="*/ 22 h 102"/>
                <a:gd name="T52" fmla="*/ 68 w 80"/>
                <a:gd name="T53" fmla="*/ 29 h 102"/>
                <a:gd name="T54" fmla="*/ 71 w 80"/>
                <a:gd name="T55" fmla="*/ 36 h 102"/>
                <a:gd name="T56" fmla="*/ 78 w 80"/>
                <a:gd name="T57" fmla="*/ 50 h 102"/>
                <a:gd name="T58" fmla="*/ 80 w 80"/>
                <a:gd name="T59" fmla="*/ 57 h 102"/>
                <a:gd name="T60" fmla="*/ 80 w 80"/>
                <a:gd name="T61" fmla="*/ 66 h 102"/>
                <a:gd name="T62" fmla="*/ 78 w 80"/>
                <a:gd name="T63" fmla="*/ 76 h 102"/>
                <a:gd name="T64" fmla="*/ 71 w 80"/>
                <a:gd name="T65" fmla="*/ 78 h 102"/>
                <a:gd name="T66" fmla="*/ 68 w 80"/>
                <a:gd name="T67" fmla="*/ 83 h 102"/>
                <a:gd name="T68" fmla="*/ 63 w 80"/>
                <a:gd name="T69" fmla="*/ 90 h 102"/>
                <a:gd name="T70" fmla="*/ 61 w 80"/>
                <a:gd name="T71" fmla="*/ 90 h 102"/>
                <a:gd name="T72" fmla="*/ 54 w 80"/>
                <a:gd name="T73" fmla="*/ 92 h 102"/>
                <a:gd name="T74" fmla="*/ 52 w 80"/>
                <a:gd name="T75" fmla="*/ 92 h 102"/>
                <a:gd name="T76" fmla="*/ 45 w 80"/>
                <a:gd name="T77" fmla="*/ 97 h 102"/>
                <a:gd name="T78" fmla="*/ 37 w 80"/>
                <a:gd name="T79" fmla="*/ 99 h 1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102"/>
                <a:gd name="T122" fmla="*/ 80 w 80"/>
                <a:gd name="T123" fmla="*/ 102 h 1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102">
                  <a:moveTo>
                    <a:pt x="37" y="99"/>
                  </a:moveTo>
                  <a:lnTo>
                    <a:pt x="28" y="102"/>
                  </a:lnTo>
                  <a:lnTo>
                    <a:pt x="23" y="102"/>
                  </a:lnTo>
                  <a:lnTo>
                    <a:pt x="23" y="99"/>
                  </a:lnTo>
                  <a:lnTo>
                    <a:pt x="21" y="99"/>
                  </a:lnTo>
                  <a:lnTo>
                    <a:pt x="11" y="85"/>
                  </a:lnTo>
                  <a:lnTo>
                    <a:pt x="11" y="78"/>
                  </a:lnTo>
                  <a:lnTo>
                    <a:pt x="7" y="76"/>
                  </a:lnTo>
                  <a:lnTo>
                    <a:pt x="4" y="69"/>
                  </a:lnTo>
                  <a:lnTo>
                    <a:pt x="0" y="66"/>
                  </a:lnTo>
                  <a:lnTo>
                    <a:pt x="0" y="26"/>
                  </a:lnTo>
                  <a:lnTo>
                    <a:pt x="4" y="17"/>
                  </a:lnTo>
                  <a:lnTo>
                    <a:pt x="4" y="12"/>
                  </a:lnTo>
                  <a:lnTo>
                    <a:pt x="7" y="12"/>
                  </a:lnTo>
                  <a:lnTo>
                    <a:pt x="14" y="5"/>
                  </a:lnTo>
                  <a:lnTo>
                    <a:pt x="23" y="5"/>
                  </a:lnTo>
                  <a:lnTo>
                    <a:pt x="23" y="3"/>
                  </a:lnTo>
                  <a:lnTo>
                    <a:pt x="28" y="0"/>
                  </a:lnTo>
                  <a:lnTo>
                    <a:pt x="37" y="0"/>
                  </a:lnTo>
                  <a:lnTo>
                    <a:pt x="45" y="3"/>
                  </a:lnTo>
                  <a:lnTo>
                    <a:pt x="45" y="0"/>
                  </a:lnTo>
                  <a:lnTo>
                    <a:pt x="54" y="0"/>
                  </a:lnTo>
                  <a:lnTo>
                    <a:pt x="61" y="5"/>
                  </a:lnTo>
                  <a:lnTo>
                    <a:pt x="61" y="10"/>
                  </a:lnTo>
                  <a:lnTo>
                    <a:pt x="63" y="17"/>
                  </a:lnTo>
                  <a:lnTo>
                    <a:pt x="63" y="22"/>
                  </a:lnTo>
                  <a:lnTo>
                    <a:pt x="68" y="29"/>
                  </a:lnTo>
                  <a:lnTo>
                    <a:pt x="71" y="36"/>
                  </a:lnTo>
                  <a:lnTo>
                    <a:pt x="78" y="50"/>
                  </a:lnTo>
                  <a:lnTo>
                    <a:pt x="80" y="57"/>
                  </a:lnTo>
                  <a:lnTo>
                    <a:pt x="80" y="66"/>
                  </a:lnTo>
                  <a:lnTo>
                    <a:pt x="78" y="76"/>
                  </a:lnTo>
                  <a:lnTo>
                    <a:pt x="71" y="78"/>
                  </a:lnTo>
                  <a:lnTo>
                    <a:pt x="68" y="83"/>
                  </a:lnTo>
                  <a:lnTo>
                    <a:pt x="63" y="90"/>
                  </a:lnTo>
                  <a:lnTo>
                    <a:pt x="61" y="90"/>
                  </a:lnTo>
                  <a:lnTo>
                    <a:pt x="54" y="92"/>
                  </a:lnTo>
                  <a:lnTo>
                    <a:pt x="52" y="92"/>
                  </a:lnTo>
                  <a:lnTo>
                    <a:pt x="45" y="97"/>
                  </a:lnTo>
                  <a:lnTo>
                    <a:pt x="37" y="9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0" name="Freeform 349">
              <a:extLst>
                <a:ext uri="{FF2B5EF4-FFF2-40B4-BE49-F238E27FC236}">
                  <a16:creationId xmlns:a16="http://schemas.microsoft.com/office/drawing/2014/main" id="{9E822135-0FD5-4A32-8640-5EE2356A15F1}"/>
                </a:ext>
              </a:extLst>
            </p:cNvPr>
            <p:cNvSpPr>
              <a:spLocks/>
            </p:cNvSpPr>
            <p:nvPr/>
          </p:nvSpPr>
          <p:spPr bwMode="gray">
            <a:xfrm rot="47099">
              <a:off x="1789829" y="2094264"/>
              <a:ext cx="5580" cy="7440"/>
            </a:xfrm>
            <a:custGeom>
              <a:avLst/>
              <a:gdLst>
                <a:gd name="T0" fmla="*/ 2 w 12"/>
                <a:gd name="T1" fmla="*/ 4 h 16"/>
                <a:gd name="T2" fmla="*/ 7 w 12"/>
                <a:gd name="T3" fmla="*/ 0 h 16"/>
                <a:gd name="T4" fmla="*/ 9 w 12"/>
                <a:gd name="T5" fmla="*/ 4 h 16"/>
                <a:gd name="T6" fmla="*/ 12 w 12"/>
                <a:gd name="T7" fmla="*/ 4 h 16"/>
                <a:gd name="T8" fmla="*/ 12 w 12"/>
                <a:gd name="T9" fmla="*/ 9 h 16"/>
                <a:gd name="T10" fmla="*/ 9 w 12"/>
                <a:gd name="T11" fmla="*/ 16 h 16"/>
                <a:gd name="T12" fmla="*/ 7 w 12"/>
                <a:gd name="T13" fmla="*/ 16 h 16"/>
                <a:gd name="T14" fmla="*/ 2 w 12"/>
                <a:gd name="T15" fmla="*/ 14 h 16"/>
                <a:gd name="T16" fmla="*/ 0 w 12"/>
                <a:gd name="T17" fmla="*/ 9 h 16"/>
                <a:gd name="T18" fmla="*/ 0 w 12"/>
                <a:gd name="T19" fmla="*/ 4 h 16"/>
                <a:gd name="T20" fmla="*/ 2 w 12"/>
                <a:gd name="T21" fmla="*/ 4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6"/>
                <a:gd name="T35" fmla="*/ 12 w 1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6">
                  <a:moveTo>
                    <a:pt x="2" y="4"/>
                  </a:moveTo>
                  <a:lnTo>
                    <a:pt x="7" y="0"/>
                  </a:lnTo>
                  <a:lnTo>
                    <a:pt x="9" y="4"/>
                  </a:lnTo>
                  <a:lnTo>
                    <a:pt x="12" y="4"/>
                  </a:lnTo>
                  <a:lnTo>
                    <a:pt x="12" y="9"/>
                  </a:lnTo>
                  <a:lnTo>
                    <a:pt x="9" y="16"/>
                  </a:lnTo>
                  <a:lnTo>
                    <a:pt x="7" y="16"/>
                  </a:lnTo>
                  <a:lnTo>
                    <a:pt x="2" y="14"/>
                  </a:lnTo>
                  <a:lnTo>
                    <a:pt x="0" y="9"/>
                  </a:lnTo>
                  <a:lnTo>
                    <a:pt x="0" y="4"/>
                  </a:lnTo>
                  <a:lnTo>
                    <a:pt x="2"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1" name="Freeform 350">
              <a:extLst>
                <a:ext uri="{FF2B5EF4-FFF2-40B4-BE49-F238E27FC236}">
                  <a16:creationId xmlns:a16="http://schemas.microsoft.com/office/drawing/2014/main" id="{093ACA3C-5FBC-4A02-BBA3-79DE64C81939}"/>
                </a:ext>
              </a:extLst>
            </p:cNvPr>
            <p:cNvSpPr>
              <a:spLocks/>
            </p:cNvSpPr>
            <p:nvPr/>
          </p:nvSpPr>
          <p:spPr bwMode="gray">
            <a:xfrm rot="47099">
              <a:off x="1741326" y="2106613"/>
              <a:ext cx="4651" cy="2325"/>
            </a:xfrm>
            <a:custGeom>
              <a:avLst/>
              <a:gdLst>
                <a:gd name="T0" fmla="*/ 10 w 10"/>
                <a:gd name="T1" fmla="*/ 2 h 5"/>
                <a:gd name="T2" fmla="*/ 10 w 10"/>
                <a:gd name="T3" fmla="*/ 5 h 5"/>
                <a:gd name="T4" fmla="*/ 2 w 10"/>
                <a:gd name="T5" fmla="*/ 2 h 5"/>
                <a:gd name="T6" fmla="*/ 0 w 10"/>
                <a:gd name="T7" fmla="*/ 2 h 5"/>
                <a:gd name="T8" fmla="*/ 2 w 10"/>
                <a:gd name="T9" fmla="*/ 0 h 5"/>
                <a:gd name="T10" fmla="*/ 10 w 10"/>
                <a:gd name="T11" fmla="*/ 0 h 5"/>
                <a:gd name="T12" fmla="*/ 10 w 10"/>
                <a:gd name="T13" fmla="*/ 2 h 5"/>
                <a:gd name="T14" fmla="*/ 0 60000 65536"/>
                <a:gd name="T15" fmla="*/ 0 60000 65536"/>
                <a:gd name="T16" fmla="*/ 0 60000 65536"/>
                <a:gd name="T17" fmla="*/ 0 60000 65536"/>
                <a:gd name="T18" fmla="*/ 0 60000 65536"/>
                <a:gd name="T19" fmla="*/ 0 60000 65536"/>
                <a:gd name="T20" fmla="*/ 0 60000 65536"/>
                <a:gd name="T21" fmla="*/ 0 w 10"/>
                <a:gd name="T22" fmla="*/ 0 h 5"/>
                <a:gd name="T23" fmla="*/ 10 w 10"/>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5">
                  <a:moveTo>
                    <a:pt x="10" y="2"/>
                  </a:moveTo>
                  <a:lnTo>
                    <a:pt x="10" y="5"/>
                  </a:lnTo>
                  <a:lnTo>
                    <a:pt x="2" y="2"/>
                  </a:lnTo>
                  <a:lnTo>
                    <a:pt x="0" y="2"/>
                  </a:lnTo>
                  <a:lnTo>
                    <a:pt x="2" y="0"/>
                  </a:lnTo>
                  <a:lnTo>
                    <a:pt x="10" y="0"/>
                  </a:lnTo>
                  <a:lnTo>
                    <a:pt x="1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2" name="Freeform 351">
              <a:extLst>
                <a:ext uri="{FF2B5EF4-FFF2-40B4-BE49-F238E27FC236}">
                  <a16:creationId xmlns:a16="http://schemas.microsoft.com/office/drawing/2014/main" id="{AA30D7D8-DCF0-47EA-943A-879A628E29A5}"/>
                </a:ext>
              </a:extLst>
            </p:cNvPr>
            <p:cNvSpPr>
              <a:spLocks/>
            </p:cNvSpPr>
            <p:nvPr/>
          </p:nvSpPr>
          <p:spPr bwMode="gray">
            <a:xfrm rot="47099">
              <a:off x="1858546" y="2068706"/>
              <a:ext cx="6510" cy="7440"/>
            </a:xfrm>
            <a:custGeom>
              <a:avLst/>
              <a:gdLst>
                <a:gd name="T0" fmla="*/ 0 w 14"/>
                <a:gd name="T1" fmla="*/ 0 h 16"/>
                <a:gd name="T2" fmla="*/ 2 w 14"/>
                <a:gd name="T3" fmla="*/ 0 h 16"/>
                <a:gd name="T4" fmla="*/ 7 w 14"/>
                <a:gd name="T5" fmla="*/ 5 h 16"/>
                <a:gd name="T6" fmla="*/ 14 w 14"/>
                <a:gd name="T7" fmla="*/ 7 h 16"/>
                <a:gd name="T8" fmla="*/ 14 w 14"/>
                <a:gd name="T9" fmla="*/ 16 h 16"/>
                <a:gd name="T10" fmla="*/ 9 w 14"/>
                <a:gd name="T11" fmla="*/ 16 h 16"/>
                <a:gd name="T12" fmla="*/ 9 w 14"/>
                <a:gd name="T13" fmla="*/ 14 h 16"/>
                <a:gd name="T14" fmla="*/ 0 w 14"/>
                <a:gd name="T15" fmla="*/ 7 h 16"/>
                <a:gd name="T16" fmla="*/ 0 w 14"/>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6"/>
                <a:gd name="T29" fmla="*/ 14 w 1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6">
                  <a:moveTo>
                    <a:pt x="0" y="0"/>
                  </a:moveTo>
                  <a:lnTo>
                    <a:pt x="2" y="0"/>
                  </a:lnTo>
                  <a:lnTo>
                    <a:pt x="7" y="5"/>
                  </a:lnTo>
                  <a:lnTo>
                    <a:pt x="14" y="7"/>
                  </a:lnTo>
                  <a:lnTo>
                    <a:pt x="14" y="16"/>
                  </a:lnTo>
                  <a:lnTo>
                    <a:pt x="9" y="16"/>
                  </a:lnTo>
                  <a:lnTo>
                    <a:pt x="9" y="14"/>
                  </a:lnTo>
                  <a:lnTo>
                    <a:pt x="0" y="7"/>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3" name="Freeform 352">
              <a:extLst>
                <a:ext uri="{FF2B5EF4-FFF2-40B4-BE49-F238E27FC236}">
                  <a16:creationId xmlns:a16="http://schemas.microsoft.com/office/drawing/2014/main" id="{D8B3501A-2B30-4C36-8F71-9D741ABE2B36}"/>
                </a:ext>
              </a:extLst>
            </p:cNvPr>
            <p:cNvSpPr>
              <a:spLocks/>
            </p:cNvSpPr>
            <p:nvPr/>
          </p:nvSpPr>
          <p:spPr bwMode="gray">
            <a:xfrm rot="47099">
              <a:off x="1296141" y="2113550"/>
              <a:ext cx="6976" cy="3255"/>
            </a:xfrm>
            <a:custGeom>
              <a:avLst/>
              <a:gdLst>
                <a:gd name="T0" fmla="*/ 12 w 15"/>
                <a:gd name="T1" fmla="*/ 7 h 7"/>
                <a:gd name="T2" fmla="*/ 0 w 15"/>
                <a:gd name="T3" fmla="*/ 7 h 7"/>
                <a:gd name="T4" fmla="*/ 0 w 15"/>
                <a:gd name="T5" fmla="*/ 5 h 7"/>
                <a:gd name="T6" fmla="*/ 5 w 15"/>
                <a:gd name="T7" fmla="*/ 5 h 7"/>
                <a:gd name="T8" fmla="*/ 12 w 15"/>
                <a:gd name="T9" fmla="*/ 0 h 7"/>
                <a:gd name="T10" fmla="*/ 12 w 15"/>
                <a:gd name="T11" fmla="*/ 5 h 7"/>
                <a:gd name="T12" fmla="*/ 15 w 15"/>
                <a:gd name="T13" fmla="*/ 7 h 7"/>
                <a:gd name="T14" fmla="*/ 12 w 15"/>
                <a:gd name="T15" fmla="*/ 7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12" y="7"/>
                  </a:moveTo>
                  <a:lnTo>
                    <a:pt x="0" y="7"/>
                  </a:lnTo>
                  <a:lnTo>
                    <a:pt x="0" y="5"/>
                  </a:lnTo>
                  <a:lnTo>
                    <a:pt x="5" y="5"/>
                  </a:lnTo>
                  <a:lnTo>
                    <a:pt x="12" y="0"/>
                  </a:lnTo>
                  <a:lnTo>
                    <a:pt x="12" y="5"/>
                  </a:lnTo>
                  <a:lnTo>
                    <a:pt x="15" y="7"/>
                  </a:lnTo>
                  <a:lnTo>
                    <a:pt x="12"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4" name="Freeform 353">
              <a:extLst>
                <a:ext uri="{FF2B5EF4-FFF2-40B4-BE49-F238E27FC236}">
                  <a16:creationId xmlns:a16="http://schemas.microsoft.com/office/drawing/2014/main" id="{BF5FF631-3E31-49A9-A5D7-1FFCE5CEDD97}"/>
                </a:ext>
              </a:extLst>
            </p:cNvPr>
            <p:cNvSpPr>
              <a:spLocks/>
            </p:cNvSpPr>
            <p:nvPr/>
          </p:nvSpPr>
          <p:spPr bwMode="gray">
            <a:xfrm rot="47099">
              <a:off x="1389436" y="2125078"/>
              <a:ext cx="9766" cy="7440"/>
            </a:xfrm>
            <a:custGeom>
              <a:avLst/>
              <a:gdLst>
                <a:gd name="T0" fmla="*/ 14 w 21"/>
                <a:gd name="T1" fmla="*/ 2 h 16"/>
                <a:gd name="T2" fmla="*/ 17 w 21"/>
                <a:gd name="T3" fmla="*/ 2 h 16"/>
                <a:gd name="T4" fmla="*/ 17 w 21"/>
                <a:gd name="T5" fmla="*/ 7 h 16"/>
                <a:gd name="T6" fmla="*/ 21 w 21"/>
                <a:gd name="T7" fmla="*/ 7 h 16"/>
                <a:gd name="T8" fmla="*/ 21 w 21"/>
                <a:gd name="T9" fmla="*/ 11 h 16"/>
                <a:gd name="T10" fmla="*/ 17 w 21"/>
                <a:gd name="T11" fmla="*/ 16 h 16"/>
                <a:gd name="T12" fmla="*/ 12 w 21"/>
                <a:gd name="T13" fmla="*/ 16 h 16"/>
                <a:gd name="T14" fmla="*/ 12 w 21"/>
                <a:gd name="T15" fmla="*/ 11 h 16"/>
                <a:gd name="T16" fmla="*/ 5 w 21"/>
                <a:gd name="T17" fmla="*/ 9 h 16"/>
                <a:gd name="T18" fmla="*/ 0 w 21"/>
                <a:gd name="T19" fmla="*/ 2 h 16"/>
                <a:gd name="T20" fmla="*/ 0 w 21"/>
                <a:gd name="T21" fmla="*/ 0 h 16"/>
                <a:gd name="T22" fmla="*/ 14 w 21"/>
                <a:gd name="T23" fmla="*/ 0 h 16"/>
                <a:gd name="T24" fmla="*/ 14 w 21"/>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16"/>
                <a:gd name="T41" fmla="*/ 21 w 21"/>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16">
                  <a:moveTo>
                    <a:pt x="14" y="2"/>
                  </a:moveTo>
                  <a:lnTo>
                    <a:pt x="17" y="2"/>
                  </a:lnTo>
                  <a:lnTo>
                    <a:pt x="17" y="7"/>
                  </a:lnTo>
                  <a:lnTo>
                    <a:pt x="21" y="7"/>
                  </a:lnTo>
                  <a:lnTo>
                    <a:pt x="21" y="11"/>
                  </a:lnTo>
                  <a:lnTo>
                    <a:pt x="17" y="16"/>
                  </a:lnTo>
                  <a:lnTo>
                    <a:pt x="12" y="16"/>
                  </a:lnTo>
                  <a:lnTo>
                    <a:pt x="12" y="11"/>
                  </a:lnTo>
                  <a:lnTo>
                    <a:pt x="5" y="9"/>
                  </a:lnTo>
                  <a:lnTo>
                    <a:pt x="0" y="2"/>
                  </a:lnTo>
                  <a:lnTo>
                    <a:pt x="0" y="0"/>
                  </a:lnTo>
                  <a:lnTo>
                    <a:pt x="14" y="0"/>
                  </a:lnTo>
                  <a:lnTo>
                    <a:pt x="1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5" name="Freeform 354">
              <a:extLst>
                <a:ext uri="{FF2B5EF4-FFF2-40B4-BE49-F238E27FC236}">
                  <a16:creationId xmlns:a16="http://schemas.microsoft.com/office/drawing/2014/main" id="{D919E446-7778-4B15-A370-A90565924FDA}"/>
                </a:ext>
              </a:extLst>
            </p:cNvPr>
            <p:cNvSpPr>
              <a:spLocks/>
            </p:cNvSpPr>
            <p:nvPr/>
          </p:nvSpPr>
          <p:spPr bwMode="gray">
            <a:xfrm rot="47099">
              <a:off x="1789984" y="2082175"/>
              <a:ext cx="5580" cy="8834"/>
            </a:xfrm>
            <a:custGeom>
              <a:avLst/>
              <a:gdLst>
                <a:gd name="T0" fmla="*/ 7 w 12"/>
                <a:gd name="T1" fmla="*/ 19 h 19"/>
                <a:gd name="T2" fmla="*/ 7 w 12"/>
                <a:gd name="T3" fmla="*/ 16 h 19"/>
                <a:gd name="T4" fmla="*/ 2 w 12"/>
                <a:gd name="T5" fmla="*/ 16 h 19"/>
                <a:gd name="T6" fmla="*/ 0 w 12"/>
                <a:gd name="T7" fmla="*/ 14 h 19"/>
                <a:gd name="T8" fmla="*/ 2 w 12"/>
                <a:gd name="T9" fmla="*/ 9 h 19"/>
                <a:gd name="T10" fmla="*/ 7 w 12"/>
                <a:gd name="T11" fmla="*/ 9 h 19"/>
                <a:gd name="T12" fmla="*/ 7 w 12"/>
                <a:gd name="T13" fmla="*/ 2 h 19"/>
                <a:gd name="T14" fmla="*/ 0 w 12"/>
                <a:gd name="T15" fmla="*/ 2 h 19"/>
                <a:gd name="T16" fmla="*/ 0 w 12"/>
                <a:gd name="T17" fmla="*/ 0 h 19"/>
                <a:gd name="T18" fmla="*/ 12 w 12"/>
                <a:gd name="T19" fmla="*/ 0 h 19"/>
                <a:gd name="T20" fmla="*/ 12 w 12"/>
                <a:gd name="T21" fmla="*/ 7 h 19"/>
                <a:gd name="T22" fmla="*/ 9 w 12"/>
                <a:gd name="T23" fmla="*/ 7 h 19"/>
                <a:gd name="T24" fmla="*/ 7 w 12"/>
                <a:gd name="T25" fmla="*/ 9 h 19"/>
                <a:gd name="T26" fmla="*/ 12 w 12"/>
                <a:gd name="T27" fmla="*/ 9 h 19"/>
                <a:gd name="T28" fmla="*/ 12 w 12"/>
                <a:gd name="T29" fmla="*/ 14 h 19"/>
                <a:gd name="T30" fmla="*/ 9 w 12"/>
                <a:gd name="T31" fmla="*/ 16 h 19"/>
                <a:gd name="T32" fmla="*/ 7 w 12"/>
                <a:gd name="T33" fmla="*/ 19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9"/>
                <a:gd name="T53" fmla="*/ 12 w 12"/>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9">
                  <a:moveTo>
                    <a:pt x="7" y="19"/>
                  </a:moveTo>
                  <a:lnTo>
                    <a:pt x="7" y="16"/>
                  </a:lnTo>
                  <a:lnTo>
                    <a:pt x="2" y="16"/>
                  </a:lnTo>
                  <a:lnTo>
                    <a:pt x="0" y="14"/>
                  </a:lnTo>
                  <a:lnTo>
                    <a:pt x="2" y="9"/>
                  </a:lnTo>
                  <a:lnTo>
                    <a:pt x="7" y="9"/>
                  </a:lnTo>
                  <a:lnTo>
                    <a:pt x="7" y="2"/>
                  </a:lnTo>
                  <a:lnTo>
                    <a:pt x="0" y="2"/>
                  </a:lnTo>
                  <a:lnTo>
                    <a:pt x="0" y="0"/>
                  </a:lnTo>
                  <a:lnTo>
                    <a:pt x="12" y="0"/>
                  </a:lnTo>
                  <a:lnTo>
                    <a:pt x="12" y="7"/>
                  </a:lnTo>
                  <a:lnTo>
                    <a:pt x="9" y="7"/>
                  </a:lnTo>
                  <a:lnTo>
                    <a:pt x="7" y="9"/>
                  </a:lnTo>
                  <a:lnTo>
                    <a:pt x="12" y="9"/>
                  </a:lnTo>
                  <a:lnTo>
                    <a:pt x="12" y="14"/>
                  </a:lnTo>
                  <a:lnTo>
                    <a:pt x="9" y="16"/>
                  </a:lnTo>
                  <a:lnTo>
                    <a:pt x="7" y="1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6" name="Freeform 355">
              <a:extLst>
                <a:ext uri="{FF2B5EF4-FFF2-40B4-BE49-F238E27FC236}">
                  <a16:creationId xmlns:a16="http://schemas.microsoft.com/office/drawing/2014/main" id="{8E03452D-C15C-4925-9737-DDFFD0A9F9D9}"/>
                </a:ext>
              </a:extLst>
            </p:cNvPr>
            <p:cNvSpPr>
              <a:spLocks/>
            </p:cNvSpPr>
            <p:nvPr/>
          </p:nvSpPr>
          <p:spPr bwMode="gray">
            <a:xfrm rot="47099">
              <a:off x="1847481" y="2062973"/>
              <a:ext cx="6510" cy="4649"/>
            </a:xfrm>
            <a:custGeom>
              <a:avLst/>
              <a:gdLst>
                <a:gd name="T0" fmla="*/ 5 w 14"/>
                <a:gd name="T1" fmla="*/ 0 h 10"/>
                <a:gd name="T2" fmla="*/ 7 w 14"/>
                <a:gd name="T3" fmla="*/ 0 h 10"/>
                <a:gd name="T4" fmla="*/ 14 w 14"/>
                <a:gd name="T5" fmla="*/ 5 h 10"/>
                <a:gd name="T6" fmla="*/ 14 w 14"/>
                <a:gd name="T7" fmla="*/ 10 h 10"/>
                <a:gd name="T8" fmla="*/ 5 w 14"/>
                <a:gd name="T9" fmla="*/ 10 h 10"/>
                <a:gd name="T10" fmla="*/ 5 w 14"/>
                <a:gd name="T11" fmla="*/ 5 h 10"/>
                <a:gd name="T12" fmla="*/ 0 w 14"/>
                <a:gd name="T13" fmla="*/ 5 h 10"/>
                <a:gd name="T14" fmla="*/ 0 w 14"/>
                <a:gd name="T15" fmla="*/ 0 h 10"/>
                <a:gd name="T16" fmla="*/ 5 w 14"/>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5" y="0"/>
                  </a:moveTo>
                  <a:lnTo>
                    <a:pt x="7" y="0"/>
                  </a:lnTo>
                  <a:lnTo>
                    <a:pt x="14" y="5"/>
                  </a:lnTo>
                  <a:lnTo>
                    <a:pt x="14" y="10"/>
                  </a:lnTo>
                  <a:lnTo>
                    <a:pt x="5" y="10"/>
                  </a:lnTo>
                  <a:lnTo>
                    <a:pt x="5" y="5"/>
                  </a:lnTo>
                  <a:lnTo>
                    <a:pt x="0" y="5"/>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7" name="Freeform 356">
              <a:extLst>
                <a:ext uri="{FF2B5EF4-FFF2-40B4-BE49-F238E27FC236}">
                  <a16:creationId xmlns:a16="http://schemas.microsoft.com/office/drawing/2014/main" id="{E9D1499A-428A-483B-8C0F-B9D11465B4E6}"/>
                </a:ext>
              </a:extLst>
            </p:cNvPr>
            <p:cNvSpPr>
              <a:spLocks/>
            </p:cNvSpPr>
            <p:nvPr/>
          </p:nvSpPr>
          <p:spPr bwMode="gray">
            <a:xfrm rot="47099">
              <a:off x="1840908" y="2063858"/>
              <a:ext cx="13021" cy="12089"/>
            </a:xfrm>
            <a:custGeom>
              <a:avLst/>
              <a:gdLst>
                <a:gd name="T0" fmla="*/ 12 w 28"/>
                <a:gd name="T1" fmla="*/ 3 h 26"/>
                <a:gd name="T2" fmla="*/ 14 w 28"/>
                <a:gd name="T3" fmla="*/ 8 h 26"/>
                <a:gd name="T4" fmla="*/ 21 w 28"/>
                <a:gd name="T5" fmla="*/ 10 h 26"/>
                <a:gd name="T6" fmla="*/ 21 w 28"/>
                <a:gd name="T7" fmla="*/ 15 h 26"/>
                <a:gd name="T8" fmla="*/ 23 w 28"/>
                <a:gd name="T9" fmla="*/ 15 h 26"/>
                <a:gd name="T10" fmla="*/ 23 w 28"/>
                <a:gd name="T11" fmla="*/ 19 h 26"/>
                <a:gd name="T12" fmla="*/ 28 w 28"/>
                <a:gd name="T13" fmla="*/ 26 h 26"/>
                <a:gd name="T14" fmla="*/ 21 w 28"/>
                <a:gd name="T15" fmla="*/ 26 h 26"/>
                <a:gd name="T16" fmla="*/ 21 w 28"/>
                <a:gd name="T17" fmla="*/ 24 h 26"/>
                <a:gd name="T18" fmla="*/ 12 w 28"/>
                <a:gd name="T19" fmla="*/ 24 h 26"/>
                <a:gd name="T20" fmla="*/ 12 w 28"/>
                <a:gd name="T21" fmla="*/ 19 h 26"/>
                <a:gd name="T22" fmla="*/ 4 w 28"/>
                <a:gd name="T23" fmla="*/ 19 h 26"/>
                <a:gd name="T24" fmla="*/ 4 w 28"/>
                <a:gd name="T25" fmla="*/ 17 h 26"/>
                <a:gd name="T26" fmla="*/ 0 w 28"/>
                <a:gd name="T27" fmla="*/ 17 h 26"/>
                <a:gd name="T28" fmla="*/ 0 w 28"/>
                <a:gd name="T29" fmla="*/ 0 h 26"/>
                <a:gd name="T30" fmla="*/ 12 w 28"/>
                <a:gd name="T31" fmla="*/ 0 h 26"/>
                <a:gd name="T32" fmla="*/ 12 w 28"/>
                <a:gd name="T33" fmla="*/ 3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26"/>
                <a:gd name="T53" fmla="*/ 28 w 28"/>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26">
                  <a:moveTo>
                    <a:pt x="12" y="3"/>
                  </a:moveTo>
                  <a:lnTo>
                    <a:pt x="14" y="8"/>
                  </a:lnTo>
                  <a:lnTo>
                    <a:pt x="21" y="10"/>
                  </a:lnTo>
                  <a:lnTo>
                    <a:pt x="21" y="15"/>
                  </a:lnTo>
                  <a:lnTo>
                    <a:pt x="23" y="15"/>
                  </a:lnTo>
                  <a:lnTo>
                    <a:pt x="23" y="19"/>
                  </a:lnTo>
                  <a:lnTo>
                    <a:pt x="28" y="26"/>
                  </a:lnTo>
                  <a:lnTo>
                    <a:pt x="21" y="26"/>
                  </a:lnTo>
                  <a:lnTo>
                    <a:pt x="21" y="24"/>
                  </a:lnTo>
                  <a:lnTo>
                    <a:pt x="12" y="24"/>
                  </a:lnTo>
                  <a:lnTo>
                    <a:pt x="12" y="19"/>
                  </a:lnTo>
                  <a:lnTo>
                    <a:pt x="4" y="19"/>
                  </a:lnTo>
                  <a:lnTo>
                    <a:pt x="4" y="17"/>
                  </a:lnTo>
                  <a:lnTo>
                    <a:pt x="0" y="17"/>
                  </a:lnTo>
                  <a:lnTo>
                    <a:pt x="0" y="0"/>
                  </a:lnTo>
                  <a:lnTo>
                    <a:pt x="12" y="0"/>
                  </a:lnTo>
                  <a:lnTo>
                    <a:pt x="12"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8" name="Freeform 357">
              <a:extLst>
                <a:ext uri="{FF2B5EF4-FFF2-40B4-BE49-F238E27FC236}">
                  <a16:creationId xmlns:a16="http://schemas.microsoft.com/office/drawing/2014/main" id="{E219CB6C-1DC1-4846-AA54-4666787B458E}"/>
                </a:ext>
              </a:extLst>
            </p:cNvPr>
            <p:cNvSpPr>
              <a:spLocks/>
            </p:cNvSpPr>
            <p:nvPr/>
          </p:nvSpPr>
          <p:spPr bwMode="gray">
            <a:xfrm rot="47099">
              <a:off x="1935044" y="2020505"/>
              <a:ext cx="13021" cy="3255"/>
            </a:xfrm>
            <a:custGeom>
              <a:avLst/>
              <a:gdLst>
                <a:gd name="T0" fmla="*/ 0 w 28"/>
                <a:gd name="T1" fmla="*/ 2 h 7"/>
                <a:gd name="T2" fmla="*/ 7 w 28"/>
                <a:gd name="T3" fmla="*/ 2 h 7"/>
                <a:gd name="T4" fmla="*/ 11 w 28"/>
                <a:gd name="T5" fmla="*/ 0 h 7"/>
                <a:gd name="T6" fmla="*/ 28 w 28"/>
                <a:gd name="T7" fmla="*/ 0 h 7"/>
                <a:gd name="T8" fmla="*/ 28 w 28"/>
                <a:gd name="T9" fmla="*/ 2 h 7"/>
                <a:gd name="T10" fmla="*/ 4 w 28"/>
                <a:gd name="T11" fmla="*/ 2 h 7"/>
                <a:gd name="T12" fmla="*/ 4 w 28"/>
                <a:gd name="T13" fmla="*/ 7 h 7"/>
                <a:gd name="T14" fmla="*/ 0 w 28"/>
                <a:gd name="T15" fmla="*/ 7 h 7"/>
                <a:gd name="T16" fmla="*/ 0 w 28"/>
                <a:gd name="T17" fmla="*/ 2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7"/>
                <a:gd name="T29" fmla="*/ 28 w 2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7">
                  <a:moveTo>
                    <a:pt x="0" y="2"/>
                  </a:moveTo>
                  <a:lnTo>
                    <a:pt x="7" y="2"/>
                  </a:lnTo>
                  <a:lnTo>
                    <a:pt x="11" y="0"/>
                  </a:lnTo>
                  <a:lnTo>
                    <a:pt x="28" y="0"/>
                  </a:lnTo>
                  <a:lnTo>
                    <a:pt x="28" y="2"/>
                  </a:lnTo>
                  <a:lnTo>
                    <a:pt x="4" y="2"/>
                  </a:lnTo>
                  <a:lnTo>
                    <a:pt x="4" y="7"/>
                  </a:lnTo>
                  <a:lnTo>
                    <a:pt x="0" y="7"/>
                  </a:lnTo>
                  <a:lnTo>
                    <a:pt x="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69" name="Freeform 358">
              <a:extLst>
                <a:ext uri="{FF2B5EF4-FFF2-40B4-BE49-F238E27FC236}">
                  <a16:creationId xmlns:a16="http://schemas.microsoft.com/office/drawing/2014/main" id="{909BCC9E-BD8A-4501-91E4-7F683AAE8BAD}"/>
                </a:ext>
              </a:extLst>
            </p:cNvPr>
            <p:cNvSpPr>
              <a:spLocks/>
            </p:cNvSpPr>
            <p:nvPr/>
          </p:nvSpPr>
          <p:spPr bwMode="gray">
            <a:xfrm rot="47099">
              <a:off x="1431368" y="2117757"/>
              <a:ext cx="11161" cy="11159"/>
            </a:xfrm>
            <a:custGeom>
              <a:avLst/>
              <a:gdLst>
                <a:gd name="T0" fmla="*/ 24 w 24"/>
                <a:gd name="T1" fmla="*/ 7 h 24"/>
                <a:gd name="T2" fmla="*/ 24 w 24"/>
                <a:gd name="T3" fmla="*/ 12 h 24"/>
                <a:gd name="T4" fmla="*/ 21 w 24"/>
                <a:gd name="T5" fmla="*/ 17 h 24"/>
                <a:gd name="T6" fmla="*/ 19 w 24"/>
                <a:gd name="T7" fmla="*/ 24 h 24"/>
                <a:gd name="T8" fmla="*/ 19 w 24"/>
                <a:gd name="T9" fmla="*/ 19 h 24"/>
                <a:gd name="T10" fmla="*/ 14 w 24"/>
                <a:gd name="T11" fmla="*/ 19 h 24"/>
                <a:gd name="T12" fmla="*/ 12 w 24"/>
                <a:gd name="T13" fmla="*/ 17 h 24"/>
                <a:gd name="T14" fmla="*/ 7 w 24"/>
                <a:gd name="T15" fmla="*/ 17 h 24"/>
                <a:gd name="T16" fmla="*/ 5 w 24"/>
                <a:gd name="T17" fmla="*/ 12 h 24"/>
                <a:gd name="T18" fmla="*/ 0 w 24"/>
                <a:gd name="T19" fmla="*/ 12 h 24"/>
                <a:gd name="T20" fmla="*/ 0 w 24"/>
                <a:gd name="T21" fmla="*/ 9 h 24"/>
                <a:gd name="T22" fmla="*/ 5 w 24"/>
                <a:gd name="T23" fmla="*/ 7 h 24"/>
                <a:gd name="T24" fmla="*/ 12 w 24"/>
                <a:gd name="T25" fmla="*/ 7 h 24"/>
                <a:gd name="T26" fmla="*/ 12 w 24"/>
                <a:gd name="T27" fmla="*/ 0 h 24"/>
                <a:gd name="T28" fmla="*/ 14 w 24"/>
                <a:gd name="T29" fmla="*/ 0 h 24"/>
                <a:gd name="T30" fmla="*/ 21 w 24"/>
                <a:gd name="T31" fmla="*/ 2 h 24"/>
                <a:gd name="T32" fmla="*/ 24 w 24"/>
                <a:gd name="T33" fmla="*/ 2 h 24"/>
                <a:gd name="T34" fmla="*/ 24 w 24"/>
                <a:gd name="T35" fmla="*/ 7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
                <a:gd name="T55" fmla="*/ 0 h 24"/>
                <a:gd name="T56" fmla="*/ 24 w 24"/>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 h="24">
                  <a:moveTo>
                    <a:pt x="24" y="7"/>
                  </a:moveTo>
                  <a:lnTo>
                    <a:pt x="24" y="12"/>
                  </a:lnTo>
                  <a:lnTo>
                    <a:pt x="21" y="17"/>
                  </a:lnTo>
                  <a:lnTo>
                    <a:pt x="19" y="24"/>
                  </a:lnTo>
                  <a:lnTo>
                    <a:pt x="19" y="19"/>
                  </a:lnTo>
                  <a:lnTo>
                    <a:pt x="14" y="19"/>
                  </a:lnTo>
                  <a:lnTo>
                    <a:pt x="12" y="17"/>
                  </a:lnTo>
                  <a:lnTo>
                    <a:pt x="7" y="17"/>
                  </a:lnTo>
                  <a:lnTo>
                    <a:pt x="5" y="12"/>
                  </a:lnTo>
                  <a:lnTo>
                    <a:pt x="0" y="12"/>
                  </a:lnTo>
                  <a:lnTo>
                    <a:pt x="0" y="9"/>
                  </a:lnTo>
                  <a:lnTo>
                    <a:pt x="5" y="7"/>
                  </a:lnTo>
                  <a:lnTo>
                    <a:pt x="12" y="7"/>
                  </a:lnTo>
                  <a:lnTo>
                    <a:pt x="12" y="0"/>
                  </a:lnTo>
                  <a:lnTo>
                    <a:pt x="14" y="0"/>
                  </a:lnTo>
                  <a:lnTo>
                    <a:pt x="21" y="2"/>
                  </a:lnTo>
                  <a:lnTo>
                    <a:pt x="24" y="2"/>
                  </a:lnTo>
                  <a:lnTo>
                    <a:pt x="2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0" name="Freeform 359">
              <a:extLst>
                <a:ext uri="{FF2B5EF4-FFF2-40B4-BE49-F238E27FC236}">
                  <a16:creationId xmlns:a16="http://schemas.microsoft.com/office/drawing/2014/main" id="{7EC367F8-5F3D-4BEF-BD71-94E3FCE7BCB4}"/>
                </a:ext>
              </a:extLst>
            </p:cNvPr>
            <p:cNvSpPr>
              <a:spLocks/>
            </p:cNvSpPr>
            <p:nvPr/>
          </p:nvSpPr>
          <p:spPr bwMode="gray">
            <a:xfrm rot="47099">
              <a:off x="1621755" y="2107291"/>
              <a:ext cx="3255" cy="7440"/>
            </a:xfrm>
            <a:custGeom>
              <a:avLst/>
              <a:gdLst>
                <a:gd name="T0" fmla="*/ 2 w 7"/>
                <a:gd name="T1" fmla="*/ 16 h 16"/>
                <a:gd name="T2" fmla="*/ 2 w 7"/>
                <a:gd name="T3" fmla="*/ 14 h 16"/>
                <a:gd name="T4" fmla="*/ 0 w 7"/>
                <a:gd name="T5" fmla="*/ 14 h 16"/>
                <a:gd name="T6" fmla="*/ 0 w 7"/>
                <a:gd name="T7" fmla="*/ 0 h 16"/>
                <a:gd name="T8" fmla="*/ 7 w 7"/>
                <a:gd name="T9" fmla="*/ 11 h 16"/>
                <a:gd name="T10" fmla="*/ 7 w 7"/>
                <a:gd name="T11" fmla="*/ 16 h 16"/>
                <a:gd name="T12" fmla="*/ 2 w 7"/>
                <a:gd name="T13" fmla="*/ 16 h 16"/>
                <a:gd name="T14" fmla="*/ 0 60000 65536"/>
                <a:gd name="T15" fmla="*/ 0 60000 65536"/>
                <a:gd name="T16" fmla="*/ 0 60000 65536"/>
                <a:gd name="T17" fmla="*/ 0 60000 65536"/>
                <a:gd name="T18" fmla="*/ 0 60000 65536"/>
                <a:gd name="T19" fmla="*/ 0 60000 65536"/>
                <a:gd name="T20" fmla="*/ 0 60000 65536"/>
                <a:gd name="T21" fmla="*/ 0 w 7"/>
                <a:gd name="T22" fmla="*/ 0 h 16"/>
                <a:gd name="T23" fmla="*/ 7 w 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6">
                  <a:moveTo>
                    <a:pt x="2" y="16"/>
                  </a:moveTo>
                  <a:lnTo>
                    <a:pt x="2" y="14"/>
                  </a:lnTo>
                  <a:lnTo>
                    <a:pt x="0" y="14"/>
                  </a:lnTo>
                  <a:lnTo>
                    <a:pt x="0" y="0"/>
                  </a:lnTo>
                  <a:lnTo>
                    <a:pt x="7" y="11"/>
                  </a:lnTo>
                  <a:lnTo>
                    <a:pt x="7" y="16"/>
                  </a:lnTo>
                  <a:lnTo>
                    <a:pt x="2" y="1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1" name="Freeform 360">
              <a:extLst>
                <a:ext uri="{FF2B5EF4-FFF2-40B4-BE49-F238E27FC236}">
                  <a16:creationId xmlns:a16="http://schemas.microsoft.com/office/drawing/2014/main" id="{3E5B68A4-F9FD-4972-AD7C-D0290448C41D}"/>
                </a:ext>
              </a:extLst>
            </p:cNvPr>
            <p:cNvSpPr>
              <a:spLocks/>
            </p:cNvSpPr>
            <p:nvPr/>
          </p:nvSpPr>
          <p:spPr bwMode="gray">
            <a:xfrm rot="47099">
              <a:off x="1618599" y="2101667"/>
              <a:ext cx="3255" cy="4185"/>
            </a:xfrm>
            <a:custGeom>
              <a:avLst/>
              <a:gdLst>
                <a:gd name="T0" fmla="*/ 7 w 7"/>
                <a:gd name="T1" fmla="*/ 9 h 9"/>
                <a:gd name="T2" fmla="*/ 4 w 7"/>
                <a:gd name="T3" fmla="*/ 7 h 9"/>
                <a:gd name="T4" fmla="*/ 0 w 7"/>
                <a:gd name="T5" fmla="*/ 7 h 9"/>
                <a:gd name="T6" fmla="*/ 0 w 7"/>
                <a:gd name="T7" fmla="*/ 2 h 9"/>
                <a:gd name="T8" fmla="*/ 4 w 7"/>
                <a:gd name="T9" fmla="*/ 0 h 9"/>
                <a:gd name="T10" fmla="*/ 7 w 7"/>
                <a:gd name="T11" fmla="*/ 0 h 9"/>
                <a:gd name="T12" fmla="*/ 7 w 7"/>
                <a:gd name="T13" fmla="*/ 9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7" y="9"/>
                  </a:moveTo>
                  <a:lnTo>
                    <a:pt x="4" y="7"/>
                  </a:lnTo>
                  <a:lnTo>
                    <a:pt x="0" y="7"/>
                  </a:lnTo>
                  <a:lnTo>
                    <a:pt x="0" y="2"/>
                  </a:lnTo>
                  <a:lnTo>
                    <a:pt x="4" y="0"/>
                  </a:lnTo>
                  <a:lnTo>
                    <a:pt x="7" y="0"/>
                  </a:lnTo>
                  <a:lnTo>
                    <a:pt x="7" y="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2" name="Freeform 361">
              <a:extLst>
                <a:ext uri="{FF2B5EF4-FFF2-40B4-BE49-F238E27FC236}">
                  <a16:creationId xmlns:a16="http://schemas.microsoft.com/office/drawing/2014/main" id="{3DE5C710-51EC-40AD-A238-4A99197F35F5}"/>
                </a:ext>
              </a:extLst>
            </p:cNvPr>
            <p:cNvSpPr>
              <a:spLocks/>
            </p:cNvSpPr>
            <p:nvPr/>
          </p:nvSpPr>
          <p:spPr bwMode="gray">
            <a:xfrm rot="47099">
              <a:off x="1458918" y="2108347"/>
              <a:ext cx="7906" cy="13950"/>
            </a:xfrm>
            <a:custGeom>
              <a:avLst/>
              <a:gdLst>
                <a:gd name="T0" fmla="*/ 9 w 17"/>
                <a:gd name="T1" fmla="*/ 7 h 30"/>
                <a:gd name="T2" fmla="*/ 12 w 17"/>
                <a:gd name="T3" fmla="*/ 9 h 30"/>
                <a:gd name="T4" fmla="*/ 12 w 17"/>
                <a:gd name="T5" fmla="*/ 14 h 30"/>
                <a:gd name="T6" fmla="*/ 17 w 17"/>
                <a:gd name="T7" fmla="*/ 14 h 30"/>
                <a:gd name="T8" fmla="*/ 17 w 17"/>
                <a:gd name="T9" fmla="*/ 23 h 30"/>
                <a:gd name="T10" fmla="*/ 12 w 17"/>
                <a:gd name="T11" fmla="*/ 28 h 30"/>
                <a:gd name="T12" fmla="*/ 12 w 17"/>
                <a:gd name="T13" fmla="*/ 23 h 30"/>
                <a:gd name="T14" fmla="*/ 9 w 17"/>
                <a:gd name="T15" fmla="*/ 23 h 30"/>
                <a:gd name="T16" fmla="*/ 9 w 17"/>
                <a:gd name="T17" fmla="*/ 30 h 30"/>
                <a:gd name="T18" fmla="*/ 5 w 17"/>
                <a:gd name="T19" fmla="*/ 30 h 30"/>
                <a:gd name="T20" fmla="*/ 0 w 17"/>
                <a:gd name="T21" fmla="*/ 28 h 30"/>
                <a:gd name="T22" fmla="*/ 0 w 17"/>
                <a:gd name="T23" fmla="*/ 4 h 30"/>
                <a:gd name="T24" fmla="*/ 2 w 17"/>
                <a:gd name="T25" fmla="*/ 4 h 30"/>
                <a:gd name="T26" fmla="*/ 2 w 17"/>
                <a:gd name="T27" fmla="*/ 0 h 30"/>
                <a:gd name="T28" fmla="*/ 5 w 17"/>
                <a:gd name="T29" fmla="*/ 4 h 30"/>
                <a:gd name="T30" fmla="*/ 9 w 17"/>
                <a:gd name="T31" fmla="*/ 4 h 30"/>
                <a:gd name="T32" fmla="*/ 9 w 17"/>
                <a:gd name="T33" fmla="*/ 7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30"/>
                <a:gd name="T53" fmla="*/ 17 w 17"/>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30">
                  <a:moveTo>
                    <a:pt x="9" y="7"/>
                  </a:moveTo>
                  <a:lnTo>
                    <a:pt x="12" y="9"/>
                  </a:lnTo>
                  <a:lnTo>
                    <a:pt x="12" y="14"/>
                  </a:lnTo>
                  <a:lnTo>
                    <a:pt x="17" y="14"/>
                  </a:lnTo>
                  <a:lnTo>
                    <a:pt x="17" y="23"/>
                  </a:lnTo>
                  <a:lnTo>
                    <a:pt x="12" y="28"/>
                  </a:lnTo>
                  <a:lnTo>
                    <a:pt x="12" y="23"/>
                  </a:lnTo>
                  <a:lnTo>
                    <a:pt x="9" y="23"/>
                  </a:lnTo>
                  <a:lnTo>
                    <a:pt x="9" y="30"/>
                  </a:lnTo>
                  <a:lnTo>
                    <a:pt x="5" y="30"/>
                  </a:lnTo>
                  <a:lnTo>
                    <a:pt x="0" y="28"/>
                  </a:lnTo>
                  <a:lnTo>
                    <a:pt x="0" y="4"/>
                  </a:lnTo>
                  <a:lnTo>
                    <a:pt x="2" y="4"/>
                  </a:lnTo>
                  <a:lnTo>
                    <a:pt x="2" y="0"/>
                  </a:lnTo>
                  <a:lnTo>
                    <a:pt x="5" y="4"/>
                  </a:lnTo>
                  <a:lnTo>
                    <a:pt x="9" y="4"/>
                  </a:lnTo>
                  <a:lnTo>
                    <a:pt x="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3" name="Freeform 362">
              <a:extLst>
                <a:ext uri="{FF2B5EF4-FFF2-40B4-BE49-F238E27FC236}">
                  <a16:creationId xmlns:a16="http://schemas.microsoft.com/office/drawing/2014/main" id="{A268A8F3-AF9F-44C2-9091-5E0EB9E7A0C7}"/>
                </a:ext>
              </a:extLst>
            </p:cNvPr>
            <p:cNvSpPr>
              <a:spLocks/>
            </p:cNvSpPr>
            <p:nvPr/>
          </p:nvSpPr>
          <p:spPr bwMode="gray">
            <a:xfrm rot="47099">
              <a:off x="1464586" y="2105144"/>
              <a:ext cx="4186" cy="7440"/>
            </a:xfrm>
            <a:custGeom>
              <a:avLst/>
              <a:gdLst>
                <a:gd name="T0" fmla="*/ 5 w 9"/>
                <a:gd name="T1" fmla="*/ 0 h 16"/>
                <a:gd name="T2" fmla="*/ 7 w 9"/>
                <a:gd name="T3" fmla="*/ 4 h 16"/>
                <a:gd name="T4" fmla="*/ 9 w 9"/>
                <a:gd name="T5" fmla="*/ 11 h 16"/>
                <a:gd name="T6" fmla="*/ 7 w 9"/>
                <a:gd name="T7" fmla="*/ 16 h 16"/>
                <a:gd name="T8" fmla="*/ 5 w 9"/>
                <a:gd name="T9" fmla="*/ 16 h 16"/>
                <a:gd name="T10" fmla="*/ 5 w 9"/>
                <a:gd name="T11" fmla="*/ 14 h 16"/>
                <a:gd name="T12" fmla="*/ 0 w 9"/>
                <a:gd name="T13" fmla="*/ 14 h 16"/>
                <a:gd name="T14" fmla="*/ 0 w 9"/>
                <a:gd name="T15" fmla="*/ 4 h 16"/>
                <a:gd name="T16" fmla="*/ 5 w 9"/>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6"/>
                <a:gd name="T29" fmla="*/ 9 w 9"/>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6">
                  <a:moveTo>
                    <a:pt x="5" y="0"/>
                  </a:moveTo>
                  <a:lnTo>
                    <a:pt x="7" y="4"/>
                  </a:lnTo>
                  <a:lnTo>
                    <a:pt x="9" y="11"/>
                  </a:lnTo>
                  <a:lnTo>
                    <a:pt x="7" y="16"/>
                  </a:lnTo>
                  <a:lnTo>
                    <a:pt x="5" y="16"/>
                  </a:lnTo>
                  <a:lnTo>
                    <a:pt x="5" y="14"/>
                  </a:lnTo>
                  <a:lnTo>
                    <a:pt x="0" y="14"/>
                  </a:lnTo>
                  <a:lnTo>
                    <a:pt x="0" y="4"/>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4" name="Freeform 363">
              <a:extLst>
                <a:ext uri="{FF2B5EF4-FFF2-40B4-BE49-F238E27FC236}">
                  <a16:creationId xmlns:a16="http://schemas.microsoft.com/office/drawing/2014/main" id="{02AC5A6E-5E50-4624-9901-D3B007A9BFFF}"/>
                </a:ext>
              </a:extLst>
            </p:cNvPr>
            <p:cNvSpPr>
              <a:spLocks/>
            </p:cNvSpPr>
            <p:nvPr/>
          </p:nvSpPr>
          <p:spPr bwMode="gray">
            <a:xfrm rot="47099">
              <a:off x="1442786" y="2102514"/>
              <a:ext cx="3255" cy="4185"/>
            </a:xfrm>
            <a:custGeom>
              <a:avLst/>
              <a:gdLst>
                <a:gd name="T0" fmla="*/ 7 w 7"/>
                <a:gd name="T1" fmla="*/ 0 h 9"/>
                <a:gd name="T2" fmla="*/ 7 w 7"/>
                <a:gd name="T3" fmla="*/ 2 h 9"/>
                <a:gd name="T4" fmla="*/ 4 w 7"/>
                <a:gd name="T5" fmla="*/ 9 h 9"/>
                <a:gd name="T6" fmla="*/ 0 w 7"/>
                <a:gd name="T7" fmla="*/ 9 h 9"/>
                <a:gd name="T8" fmla="*/ 0 w 7"/>
                <a:gd name="T9" fmla="*/ 0 h 9"/>
                <a:gd name="T10" fmla="*/ 7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7" y="0"/>
                  </a:moveTo>
                  <a:lnTo>
                    <a:pt x="7" y="2"/>
                  </a:lnTo>
                  <a:lnTo>
                    <a:pt x="4" y="9"/>
                  </a:lnTo>
                  <a:lnTo>
                    <a:pt x="0" y="9"/>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5" name="Freeform 364">
              <a:extLst>
                <a:ext uri="{FF2B5EF4-FFF2-40B4-BE49-F238E27FC236}">
                  <a16:creationId xmlns:a16="http://schemas.microsoft.com/office/drawing/2014/main" id="{03863B9C-8678-4C1D-B945-C7E9C91C0EFD}"/>
                </a:ext>
              </a:extLst>
            </p:cNvPr>
            <p:cNvSpPr>
              <a:spLocks/>
            </p:cNvSpPr>
            <p:nvPr/>
          </p:nvSpPr>
          <p:spPr bwMode="gray">
            <a:xfrm rot="47099">
              <a:off x="1606671" y="2088505"/>
              <a:ext cx="6510" cy="6510"/>
            </a:xfrm>
            <a:custGeom>
              <a:avLst/>
              <a:gdLst>
                <a:gd name="T0" fmla="*/ 7 w 14"/>
                <a:gd name="T1" fmla="*/ 14 h 14"/>
                <a:gd name="T2" fmla="*/ 0 w 14"/>
                <a:gd name="T3" fmla="*/ 11 h 14"/>
                <a:gd name="T4" fmla="*/ 0 w 14"/>
                <a:gd name="T5" fmla="*/ 0 h 14"/>
                <a:gd name="T6" fmla="*/ 7 w 14"/>
                <a:gd name="T7" fmla="*/ 0 h 14"/>
                <a:gd name="T8" fmla="*/ 7 w 14"/>
                <a:gd name="T9" fmla="*/ 4 h 14"/>
                <a:gd name="T10" fmla="*/ 9 w 14"/>
                <a:gd name="T11" fmla="*/ 7 h 14"/>
                <a:gd name="T12" fmla="*/ 14 w 14"/>
                <a:gd name="T13" fmla="*/ 11 h 14"/>
                <a:gd name="T14" fmla="*/ 9 w 14"/>
                <a:gd name="T15" fmla="*/ 14 h 14"/>
                <a:gd name="T16" fmla="*/ 7 w 14"/>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4"/>
                <a:gd name="T29" fmla="*/ 14 w 1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4">
                  <a:moveTo>
                    <a:pt x="7" y="14"/>
                  </a:moveTo>
                  <a:lnTo>
                    <a:pt x="0" y="11"/>
                  </a:lnTo>
                  <a:lnTo>
                    <a:pt x="0" y="0"/>
                  </a:lnTo>
                  <a:lnTo>
                    <a:pt x="7" y="0"/>
                  </a:lnTo>
                  <a:lnTo>
                    <a:pt x="7" y="4"/>
                  </a:lnTo>
                  <a:lnTo>
                    <a:pt x="9" y="7"/>
                  </a:lnTo>
                  <a:lnTo>
                    <a:pt x="14" y="11"/>
                  </a:lnTo>
                  <a:lnTo>
                    <a:pt x="9" y="14"/>
                  </a:lnTo>
                  <a:lnTo>
                    <a:pt x="7"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6" name="Freeform 365">
              <a:extLst>
                <a:ext uri="{FF2B5EF4-FFF2-40B4-BE49-F238E27FC236}">
                  <a16:creationId xmlns:a16="http://schemas.microsoft.com/office/drawing/2014/main" id="{7C32982C-9625-414C-9470-711B0FF47365}"/>
                </a:ext>
              </a:extLst>
            </p:cNvPr>
            <p:cNvSpPr>
              <a:spLocks/>
            </p:cNvSpPr>
            <p:nvPr/>
          </p:nvSpPr>
          <p:spPr bwMode="gray">
            <a:xfrm rot="47099">
              <a:off x="1777261" y="2052291"/>
              <a:ext cx="13021" cy="25109"/>
            </a:xfrm>
            <a:custGeom>
              <a:avLst/>
              <a:gdLst>
                <a:gd name="T0" fmla="*/ 19 w 28"/>
                <a:gd name="T1" fmla="*/ 0 h 54"/>
                <a:gd name="T2" fmla="*/ 23 w 28"/>
                <a:gd name="T3" fmla="*/ 0 h 54"/>
                <a:gd name="T4" fmla="*/ 28 w 28"/>
                <a:gd name="T5" fmla="*/ 7 h 54"/>
                <a:gd name="T6" fmla="*/ 28 w 28"/>
                <a:gd name="T7" fmla="*/ 9 h 54"/>
                <a:gd name="T8" fmla="*/ 23 w 28"/>
                <a:gd name="T9" fmla="*/ 14 h 54"/>
                <a:gd name="T10" fmla="*/ 23 w 28"/>
                <a:gd name="T11" fmla="*/ 26 h 54"/>
                <a:gd name="T12" fmla="*/ 21 w 28"/>
                <a:gd name="T13" fmla="*/ 31 h 54"/>
                <a:gd name="T14" fmla="*/ 21 w 28"/>
                <a:gd name="T15" fmla="*/ 42 h 54"/>
                <a:gd name="T16" fmla="*/ 19 w 28"/>
                <a:gd name="T17" fmla="*/ 47 h 54"/>
                <a:gd name="T18" fmla="*/ 14 w 28"/>
                <a:gd name="T19" fmla="*/ 47 h 54"/>
                <a:gd name="T20" fmla="*/ 14 w 28"/>
                <a:gd name="T21" fmla="*/ 49 h 54"/>
                <a:gd name="T22" fmla="*/ 12 w 28"/>
                <a:gd name="T23" fmla="*/ 49 h 54"/>
                <a:gd name="T24" fmla="*/ 12 w 28"/>
                <a:gd name="T25" fmla="*/ 54 h 54"/>
                <a:gd name="T26" fmla="*/ 4 w 28"/>
                <a:gd name="T27" fmla="*/ 54 h 54"/>
                <a:gd name="T28" fmla="*/ 4 w 28"/>
                <a:gd name="T29" fmla="*/ 49 h 54"/>
                <a:gd name="T30" fmla="*/ 0 w 28"/>
                <a:gd name="T31" fmla="*/ 47 h 54"/>
                <a:gd name="T32" fmla="*/ 4 w 28"/>
                <a:gd name="T33" fmla="*/ 47 h 54"/>
                <a:gd name="T34" fmla="*/ 4 w 28"/>
                <a:gd name="T35" fmla="*/ 31 h 54"/>
                <a:gd name="T36" fmla="*/ 12 w 28"/>
                <a:gd name="T37" fmla="*/ 31 h 54"/>
                <a:gd name="T38" fmla="*/ 12 w 28"/>
                <a:gd name="T39" fmla="*/ 26 h 54"/>
                <a:gd name="T40" fmla="*/ 14 w 28"/>
                <a:gd name="T41" fmla="*/ 23 h 54"/>
                <a:gd name="T42" fmla="*/ 14 w 28"/>
                <a:gd name="T43" fmla="*/ 14 h 54"/>
                <a:gd name="T44" fmla="*/ 12 w 28"/>
                <a:gd name="T45" fmla="*/ 7 h 54"/>
                <a:gd name="T46" fmla="*/ 14 w 28"/>
                <a:gd name="T47" fmla="*/ 2 h 54"/>
                <a:gd name="T48" fmla="*/ 14 w 28"/>
                <a:gd name="T49" fmla="*/ 0 h 54"/>
                <a:gd name="T50" fmla="*/ 19 w 28"/>
                <a:gd name="T51" fmla="*/ 0 h 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8"/>
                <a:gd name="T79" fmla="*/ 0 h 54"/>
                <a:gd name="T80" fmla="*/ 28 w 28"/>
                <a:gd name="T81" fmla="*/ 54 h 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8" h="54">
                  <a:moveTo>
                    <a:pt x="19" y="0"/>
                  </a:moveTo>
                  <a:lnTo>
                    <a:pt x="23" y="0"/>
                  </a:lnTo>
                  <a:lnTo>
                    <a:pt x="28" y="7"/>
                  </a:lnTo>
                  <a:lnTo>
                    <a:pt x="28" y="9"/>
                  </a:lnTo>
                  <a:lnTo>
                    <a:pt x="23" y="14"/>
                  </a:lnTo>
                  <a:lnTo>
                    <a:pt x="23" y="26"/>
                  </a:lnTo>
                  <a:lnTo>
                    <a:pt x="21" y="31"/>
                  </a:lnTo>
                  <a:lnTo>
                    <a:pt x="21" y="42"/>
                  </a:lnTo>
                  <a:lnTo>
                    <a:pt x="19" y="47"/>
                  </a:lnTo>
                  <a:lnTo>
                    <a:pt x="14" y="47"/>
                  </a:lnTo>
                  <a:lnTo>
                    <a:pt x="14" y="49"/>
                  </a:lnTo>
                  <a:lnTo>
                    <a:pt x="12" y="49"/>
                  </a:lnTo>
                  <a:lnTo>
                    <a:pt x="12" y="54"/>
                  </a:lnTo>
                  <a:lnTo>
                    <a:pt x="4" y="54"/>
                  </a:lnTo>
                  <a:lnTo>
                    <a:pt x="4" y="49"/>
                  </a:lnTo>
                  <a:lnTo>
                    <a:pt x="0" y="47"/>
                  </a:lnTo>
                  <a:lnTo>
                    <a:pt x="4" y="47"/>
                  </a:lnTo>
                  <a:lnTo>
                    <a:pt x="4" y="31"/>
                  </a:lnTo>
                  <a:lnTo>
                    <a:pt x="12" y="31"/>
                  </a:lnTo>
                  <a:lnTo>
                    <a:pt x="12" y="26"/>
                  </a:lnTo>
                  <a:lnTo>
                    <a:pt x="14" y="23"/>
                  </a:lnTo>
                  <a:lnTo>
                    <a:pt x="14" y="14"/>
                  </a:lnTo>
                  <a:lnTo>
                    <a:pt x="12" y="7"/>
                  </a:lnTo>
                  <a:lnTo>
                    <a:pt x="14" y="2"/>
                  </a:lnTo>
                  <a:lnTo>
                    <a:pt x="14" y="0"/>
                  </a:lnTo>
                  <a:lnTo>
                    <a:pt x="1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7" name="Freeform 366">
              <a:extLst>
                <a:ext uri="{FF2B5EF4-FFF2-40B4-BE49-F238E27FC236}">
                  <a16:creationId xmlns:a16="http://schemas.microsoft.com/office/drawing/2014/main" id="{92EE4CDC-7132-4A87-A280-4C55B9357CE3}"/>
                </a:ext>
              </a:extLst>
            </p:cNvPr>
            <p:cNvSpPr>
              <a:spLocks/>
            </p:cNvSpPr>
            <p:nvPr/>
          </p:nvSpPr>
          <p:spPr bwMode="gray">
            <a:xfrm rot="47099">
              <a:off x="1610882" y="2086222"/>
              <a:ext cx="4186" cy="7440"/>
            </a:xfrm>
            <a:custGeom>
              <a:avLst/>
              <a:gdLst>
                <a:gd name="T0" fmla="*/ 7 w 9"/>
                <a:gd name="T1" fmla="*/ 0 h 16"/>
                <a:gd name="T2" fmla="*/ 9 w 9"/>
                <a:gd name="T3" fmla="*/ 0 h 16"/>
                <a:gd name="T4" fmla="*/ 9 w 9"/>
                <a:gd name="T5" fmla="*/ 5 h 16"/>
                <a:gd name="T6" fmla="*/ 7 w 9"/>
                <a:gd name="T7" fmla="*/ 12 h 16"/>
                <a:gd name="T8" fmla="*/ 7 w 9"/>
                <a:gd name="T9" fmla="*/ 16 h 16"/>
                <a:gd name="T10" fmla="*/ 0 w 9"/>
                <a:gd name="T11" fmla="*/ 9 h 16"/>
                <a:gd name="T12" fmla="*/ 0 w 9"/>
                <a:gd name="T13" fmla="*/ 5 h 16"/>
                <a:gd name="T14" fmla="*/ 5 w 9"/>
                <a:gd name="T15" fmla="*/ 0 h 16"/>
                <a:gd name="T16" fmla="*/ 7 w 9"/>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6"/>
                <a:gd name="T29" fmla="*/ 9 w 9"/>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6">
                  <a:moveTo>
                    <a:pt x="7" y="0"/>
                  </a:moveTo>
                  <a:lnTo>
                    <a:pt x="9" y="0"/>
                  </a:lnTo>
                  <a:lnTo>
                    <a:pt x="9" y="5"/>
                  </a:lnTo>
                  <a:lnTo>
                    <a:pt x="7" y="12"/>
                  </a:lnTo>
                  <a:lnTo>
                    <a:pt x="7" y="16"/>
                  </a:lnTo>
                  <a:lnTo>
                    <a:pt x="0" y="9"/>
                  </a:lnTo>
                  <a:lnTo>
                    <a:pt x="0" y="5"/>
                  </a:lnTo>
                  <a:lnTo>
                    <a:pt x="5"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8" name="Freeform 367">
              <a:extLst>
                <a:ext uri="{FF2B5EF4-FFF2-40B4-BE49-F238E27FC236}">
                  <a16:creationId xmlns:a16="http://schemas.microsoft.com/office/drawing/2014/main" id="{CC9AF337-A2EF-45A9-A22D-8441DB059A93}"/>
                </a:ext>
              </a:extLst>
            </p:cNvPr>
            <p:cNvSpPr>
              <a:spLocks/>
            </p:cNvSpPr>
            <p:nvPr/>
          </p:nvSpPr>
          <p:spPr bwMode="gray">
            <a:xfrm rot="47099">
              <a:off x="1801644" y="2043773"/>
              <a:ext cx="10696" cy="13019"/>
            </a:xfrm>
            <a:custGeom>
              <a:avLst/>
              <a:gdLst>
                <a:gd name="T0" fmla="*/ 4 w 23"/>
                <a:gd name="T1" fmla="*/ 2 h 28"/>
                <a:gd name="T2" fmla="*/ 16 w 23"/>
                <a:gd name="T3" fmla="*/ 2 h 28"/>
                <a:gd name="T4" fmla="*/ 16 w 23"/>
                <a:gd name="T5" fmla="*/ 0 h 28"/>
                <a:gd name="T6" fmla="*/ 19 w 23"/>
                <a:gd name="T7" fmla="*/ 0 h 28"/>
                <a:gd name="T8" fmla="*/ 19 w 23"/>
                <a:gd name="T9" fmla="*/ 2 h 28"/>
                <a:gd name="T10" fmla="*/ 23 w 23"/>
                <a:gd name="T11" fmla="*/ 2 h 28"/>
                <a:gd name="T12" fmla="*/ 23 w 23"/>
                <a:gd name="T13" fmla="*/ 9 h 28"/>
                <a:gd name="T14" fmla="*/ 19 w 23"/>
                <a:gd name="T15" fmla="*/ 12 h 28"/>
                <a:gd name="T16" fmla="*/ 19 w 23"/>
                <a:gd name="T17" fmla="*/ 26 h 28"/>
                <a:gd name="T18" fmla="*/ 16 w 23"/>
                <a:gd name="T19" fmla="*/ 28 h 28"/>
                <a:gd name="T20" fmla="*/ 9 w 23"/>
                <a:gd name="T21" fmla="*/ 28 h 28"/>
                <a:gd name="T22" fmla="*/ 9 w 23"/>
                <a:gd name="T23" fmla="*/ 26 h 28"/>
                <a:gd name="T24" fmla="*/ 4 w 23"/>
                <a:gd name="T25" fmla="*/ 26 h 28"/>
                <a:gd name="T26" fmla="*/ 2 w 23"/>
                <a:gd name="T27" fmla="*/ 19 h 28"/>
                <a:gd name="T28" fmla="*/ 0 w 23"/>
                <a:gd name="T29" fmla="*/ 9 h 28"/>
                <a:gd name="T30" fmla="*/ 0 w 23"/>
                <a:gd name="T31" fmla="*/ 5 h 28"/>
                <a:gd name="T32" fmla="*/ 2 w 23"/>
                <a:gd name="T33" fmla="*/ 5 h 28"/>
                <a:gd name="T34" fmla="*/ 2 w 23"/>
                <a:gd name="T35" fmla="*/ 2 h 28"/>
                <a:gd name="T36" fmla="*/ 4 w 23"/>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28"/>
                <a:gd name="T59" fmla="*/ 23 w 23"/>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28">
                  <a:moveTo>
                    <a:pt x="4" y="2"/>
                  </a:moveTo>
                  <a:lnTo>
                    <a:pt x="16" y="2"/>
                  </a:lnTo>
                  <a:lnTo>
                    <a:pt x="16" y="0"/>
                  </a:lnTo>
                  <a:lnTo>
                    <a:pt x="19" y="0"/>
                  </a:lnTo>
                  <a:lnTo>
                    <a:pt x="19" y="2"/>
                  </a:lnTo>
                  <a:lnTo>
                    <a:pt x="23" y="2"/>
                  </a:lnTo>
                  <a:lnTo>
                    <a:pt x="23" y="9"/>
                  </a:lnTo>
                  <a:lnTo>
                    <a:pt x="19" y="12"/>
                  </a:lnTo>
                  <a:lnTo>
                    <a:pt x="19" y="26"/>
                  </a:lnTo>
                  <a:lnTo>
                    <a:pt x="16" y="28"/>
                  </a:lnTo>
                  <a:lnTo>
                    <a:pt x="9" y="28"/>
                  </a:lnTo>
                  <a:lnTo>
                    <a:pt x="9" y="26"/>
                  </a:lnTo>
                  <a:lnTo>
                    <a:pt x="4" y="26"/>
                  </a:lnTo>
                  <a:lnTo>
                    <a:pt x="2" y="19"/>
                  </a:lnTo>
                  <a:lnTo>
                    <a:pt x="0" y="9"/>
                  </a:lnTo>
                  <a:lnTo>
                    <a:pt x="0" y="5"/>
                  </a:lnTo>
                  <a:lnTo>
                    <a:pt x="2" y="5"/>
                  </a:lnTo>
                  <a:lnTo>
                    <a:pt x="2" y="2"/>
                  </a:lnTo>
                  <a:lnTo>
                    <a:pt x="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79" name="Freeform 368">
              <a:extLst>
                <a:ext uri="{FF2B5EF4-FFF2-40B4-BE49-F238E27FC236}">
                  <a16:creationId xmlns:a16="http://schemas.microsoft.com/office/drawing/2014/main" id="{3C859C49-D2FD-44E3-9CC7-E1BA66FFED6D}"/>
                </a:ext>
              </a:extLst>
            </p:cNvPr>
            <p:cNvSpPr>
              <a:spLocks/>
            </p:cNvSpPr>
            <p:nvPr/>
          </p:nvSpPr>
          <p:spPr bwMode="gray">
            <a:xfrm rot="47099">
              <a:off x="1448086" y="2086326"/>
              <a:ext cx="5580" cy="9765"/>
            </a:xfrm>
            <a:custGeom>
              <a:avLst/>
              <a:gdLst>
                <a:gd name="T0" fmla="*/ 10 w 12"/>
                <a:gd name="T1" fmla="*/ 7 h 21"/>
                <a:gd name="T2" fmla="*/ 12 w 12"/>
                <a:gd name="T3" fmla="*/ 11 h 21"/>
                <a:gd name="T4" fmla="*/ 12 w 12"/>
                <a:gd name="T5" fmla="*/ 14 h 21"/>
                <a:gd name="T6" fmla="*/ 10 w 12"/>
                <a:gd name="T7" fmla="*/ 16 h 21"/>
                <a:gd name="T8" fmla="*/ 5 w 12"/>
                <a:gd name="T9" fmla="*/ 21 h 21"/>
                <a:gd name="T10" fmla="*/ 3 w 12"/>
                <a:gd name="T11" fmla="*/ 21 h 21"/>
                <a:gd name="T12" fmla="*/ 3 w 12"/>
                <a:gd name="T13" fmla="*/ 16 h 21"/>
                <a:gd name="T14" fmla="*/ 5 w 12"/>
                <a:gd name="T15" fmla="*/ 11 h 21"/>
                <a:gd name="T16" fmla="*/ 5 w 12"/>
                <a:gd name="T17" fmla="*/ 7 h 21"/>
                <a:gd name="T18" fmla="*/ 3 w 12"/>
                <a:gd name="T19" fmla="*/ 7 h 21"/>
                <a:gd name="T20" fmla="*/ 0 w 12"/>
                <a:gd name="T21" fmla="*/ 4 h 21"/>
                <a:gd name="T22" fmla="*/ 0 w 12"/>
                <a:gd name="T23" fmla="*/ 0 h 21"/>
                <a:gd name="T24" fmla="*/ 3 w 12"/>
                <a:gd name="T25" fmla="*/ 0 h 21"/>
                <a:gd name="T26" fmla="*/ 10 w 12"/>
                <a:gd name="T27" fmla="*/ 4 h 21"/>
                <a:gd name="T28" fmla="*/ 10 w 12"/>
                <a:gd name="T29" fmla="*/ 7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21"/>
                <a:gd name="T47" fmla="*/ 12 w 12"/>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21">
                  <a:moveTo>
                    <a:pt x="10" y="7"/>
                  </a:moveTo>
                  <a:lnTo>
                    <a:pt x="12" y="11"/>
                  </a:lnTo>
                  <a:lnTo>
                    <a:pt x="12" y="14"/>
                  </a:lnTo>
                  <a:lnTo>
                    <a:pt x="10" y="16"/>
                  </a:lnTo>
                  <a:lnTo>
                    <a:pt x="5" y="21"/>
                  </a:lnTo>
                  <a:lnTo>
                    <a:pt x="3" y="21"/>
                  </a:lnTo>
                  <a:lnTo>
                    <a:pt x="3" y="16"/>
                  </a:lnTo>
                  <a:lnTo>
                    <a:pt x="5" y="11"/>
                  </a:lnTo>
                  <a:lnTo>
                    <a:pt x="5" y="7"/>
                  </a:lnTo>
                  <a:lnTo>
                    <a:pt x="3" y="7"/>
                  </a:lnTo>
                  <a:lnTo>
                    <a:pt x="0" y="4"/>
                  </a:lnTo>
                  <a:lnTo>
                    <a:pt x="0" y="0"/>
                  </a:lnTo>
                  <a:lnTo>
                    <a:pt x="3" y="0"/>
                  </a:lnTo>
                  <a:lnTo>
                    <a:pt x="10" y="4"/>
                  </a:lnTo>
                  <a:lnTo>
                    <a:pt x="10"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0" name="Freeform 369">
              <a:extLst>
                <a:ext uri="{FF2B5EF4-FFF2-40B4-BE49-F238E27FC236}">
                  <a16:creationId xmlns:a16="http://schemas.microsoft.com/office/drawing/2014/main" id="{220C59A3-8F11-4F2E-9934-E12F834BB0E9}"/>
                </a:ext>
              </a:extLst>
            </p:cNvPr>
            <p:cNvSpPr>
              <a:spLocks/>
            </p:cNvSpPr>
            <p:nvPr/>
          </p:nvSpPr>
          <p:spPr bwMode="gray">
            <a:xfrm rot="47099">
              <a:off x="1517396" y="2085909"/>
              <a:ext cx="9766" cy="8834"/>
            </a:xfrm>
            <a:custGeom>
              <a:avLst/>
              <a:gdLst>
                <a:gd name="T0" fmla="*/ 21 w 21"/>
                <a:gd name="T1" fmla="*/ 7 h 19"/>
                <a:gd name="T2" fmla="*/ 21 w 21"/>
                <a:gd name="T3" fmla="*/ 19 h 19"/>
                <a:gd name="T4" fmla="*/ 14 w 21"/>
                <a:gd name="T5" fmla="*/ 19 h 19"/>
                <a:gd name="T6" fmla="*/ 14 w 21"/>
                <a:gd name="T7" fmla="*/ 17 h 19"/>
                <a:gd name="T8" fmla="*/ 12 w 21"/>
                <a:gd name="T9" fmla="*/ 14 h 19"/>
                <a:gd name="T10" fmla="*/ 7 w 21"/>
                <a:gd name="T11" fmla="*/ 10 h 19"/>
                <a:gd name="T12" fmla="*/ 5 w 21"/>
                <a:gd name="T13" fmla="*/ 10 h 19"/>
                <a:gd name="T14" fmla="*/ 5 w 21"/>
                <a:gd name="T15" fmla="*/ 7 h 19"/>
                <a:gd name="T16" fmla="*/ 0 w 21"/>
                <a:gd name="T17" fmla="*/ 7 h 19"/>
                <a:gd name="T18" fmla="*/ 0 w 21"/>
                <a:gd name="T19" fmla="*/ 0 h 19"/>
                <a:gd name="T20" fmla="*/ 0 w 21"/>
                <a:gd name="T21" fmla="*/ 3 h 19"/>
                <a:gd name="T22" fmla="*/ 12 w 21"/>
                <a:gd name="T23" fmla="*/ 3 h 19"/>
                <a:gd name="T24" fmla="*/ 12 w 21"/>
                <a:gd name="T25" fmla="*/ 7 h 19"/>
                <a:gd name="T26" fmla="*/ 14 w 21"/>
                <a:gd name="T27" fmla="*/ 7 h 19"/>
                <a:gd name="T28" fmla="*/ 17 w 21"/>
                <a:gd name="T29" fmla="*/ 3 h 19"/>
                <a:gd name="T30" fmla="*/ 21 w 21"/>
                <a:gd name="T31" fmla="*/ 7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19"/>
                <a:gd name="T50" fmla="*/ 21 w 21"/>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19">
                  <a:moveTo>
                    <a:pt x="21" y="7"/>
                  </a:moveTo>
                  <a:lnTo>
                    <a:pt x="21" y="19"/>
                  </a:lnTo>
                  <a:lnTo>
                    <a:pt x="14" y="19"/>
                  </a:lnTo>
                  <a:lnTo>
                    <a:pt x="14" y="17"/>
                  </a:lnTo>
                  <a:lnTo>
                    <a:pt x="12" y="14"/>
                  </a:lnTo>
                  <a:lnTo>
                    <a:pt x="7" y="10"/>
                  </a:lnTo>
                  <a:lnTo>
                    <a:pt x="5" y="10"/>
                  </a:lnTo>
                  <a:lnTo>
                    <a:pt x="5" y="7"/>
                  </a:lnTo>
                  <a:lnTo>
                    <a:pt x="0" y="7"/>
                  </a:lnTo>
                  <a:lnTo>
                    <a:pt x="0" y="0"/>
                  </a:lnTo>
                  <a:lnTo>
                    <a:pt x="0" y="3"/>
                  </a:lnTo>
                  <a:lnTo>
                    <a:pt x="12" y="3"/>
                  </a:lnTo>
                  <a:lnTo>
                    <a:pt x="12" y="7"/>
                  </a:lnTo>
                  <a:lnTo>
                    <a:pt x="14" y="7"/>
                  </a:lnTo>
                  <a:lnTo>
                    <a:pt x="17" y="3"/>
                  </a:lnTo>
                  <a:lnTo>
                    <a:pt x="21"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1" name="Freeform 370">
              <a:extLst>
                <a:ext uri="{FF2B5EF4-FFF2-40B4-BE49-F238E27FC236}">
                  <a16:creationId xmlns:a16="http://schemas.microsoft.com/office/drawing/2014/main" id="{7D3BE5B5-CCFF-4B90-BD7A-1EB2844AC492}"/>
                </a:ext>
              </a:extLst>
            </p:cNvPr>
            <p:cNvSpPr>
              <a:spLocks/>
            </p:cNvSpPr>
            <p:nvPr/>
          </p:nvSpPr>
          <p:spPr bwMode="gray">
            <a:xfrm rot="47099">
              <a:off x="1929910" y="1987367"/>
              <a:ext cx="5580" cy="4185"/>
            </a:xfrm>
            <a:custGeom>
              <a:avLst/>
              <a:gdLst>
                <a:gd name="T0" fmla="*/ 4 w 12"/>
                <a:gd name="T1" fmla="*/ 7 h 9"/>
                <a:gd name="T2" fmla="*/ 4 w 12"/>
                <a:gd name="T3" fmla="*/ 9 h 9"/>
                <a:gd name="T4" fmla="*/ 0 w 12"/>
                <a:gd name="T5" fmla="*/ 9 h 9"/>
                <a:gd name="T6" fmla="*/ 0 w 12"/>
                <a:gd name="T7" fmla="*/ 7 h 9"/>
                <a:gd name="T8" fmla="*/ 2 w 12"/>
                <a:gd name="T9" fmla="*/ 7 h 9"/>
                <a:gd name="T10" fmla="*/ 2 w 12"/>
                <a:gd name="T11" fmla="*/ 0 h 9"/>
                <a:gd name="T12" fmla="*/ 12 w 12"/>
                <a:gd name="T13" fmla="*/ 0 h 9"/>
                <a:gd name="T14" fmla="*/ 12 w 12"/>
                <a:gd name="T15" fmla="*/ 4 h 9"/>
                <a:gd name="T16" fmla="*/ 4 w 12"/>
                <a:gd name="T17" fmla="*/ 4 h 9"/>
                <a:gd name="T18" fmla="*/ 4 w 12"/>
                <a:gd name="T19" fmla="*/ 7 h 9"/>
                <a:gd name="T20" fmla="*/ 9 w 12"/>
                <a:gd name="T21" fmla="*/ 7 h 9"/>
                <a:gd name="T22" fmla="*/ 4 w 12"/>
                <a:gd name="T23" fmla="*/ 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9"/>
                <a:gd name="T38" fmla="*/ 12 w 12"/>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9">
                  <a:moveTo>
                    <a:pt x="4" y="7"/>
                  </a:moveTo>
                  <a:lnTo>
                    <a:pt x="4" y="9"/>
                  </a:lnTo>
                  <a:lnTo>
                    <a:pt x="0" y="9"/>
                  </a:lnTo>
                  <a:lnTo>
                    <a:pt x="0" y="7"/>
                  </a:lnTo>
                  <a:lnTo>
                    <a:pt x="2" y="7"/>
                  </a:lnTo>
                  <a:lnTo>
                    <a:pt x="2" y="0"/>
                  </a:lnTo>
                  <a:lnTo>
                    <a:pt x="12" y="0"/>
                  </a:lnTo>
                  <a:lnTo>
                    <a:pt x="12" y="4"/>
                  </a:lnTo>
                  <a:lnTo>
                    <a:pt x="4" y="4"/>
                  </a:lnTo>
                  <a:lnTo>
                    <a:pt x="4" y="7"/>
                  </a:lnTo>
                  <a:lnTo>
                    <a:pt x="9" y="7"/>
                  </a:lnTo>
                  <a:lnTo>
                    <a:pt x="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2" name="Freeform 371">
              <a:extLst>
                <a:ext uri="{FF2B5EF4-FFF2-40B4-BE49-F238E27FC236}">
                  <a16:creationId xmlns:a16="http://schemas.microsoft.com/office/drawing/2014/main" id="{6DC68417-AA55-411E-A049-9C68C004DE9A}"/>
                </a:ext>
              </a:extLst>
            </p:cNvPr>
            <p:cNvSpPr>
              <a:spLocks/>
            </p:cNvSpPr>
            <p:nvPr/>
          </p:nvSpPr>
          <p:spPr bwMode="gray">
            <a:xfrm rot="47099">
              <a:off x="1528546" y="2085133"/>
              <a:ext cx="9766" cy="12089"/>
            </a:xfrm>
            <a:custGeom>
              <a:avLst/>
              <a:gdLst>
                <a:gd name="T0" fmla="*/ 14 w 21"/>
                <a:gd name="T1" fmla="*/ 2 h 26"/>
                <a:gd name="T2" fmla="*/ 16 w 21"/>
                <a:gd name="T3" fmla="*/ 5 h 26"/>
                <a:gd name="T4" fmla="*/ 21 w 21"/>
                <a:gd name="T5" fmla="*/ 5 h 26"/>
                <a:gd name="T6" fmla="*/ 21 w 21"/>
                <a:gd name="T7" fmla="*/ 19 h 26"/>
                <a:gd name="T8" fmla="*/ 16 w 21"/>
                <a:gd name="T9" fmla="*/ 21 h 26"/>
                <a:gd name="T10" fmla="*/ 16 w 21"/>
                <a:gd name="T11" fmla="*/ 26 h 26"/>
                <a:gd name="T12" fmla="*/ 7 w 21"/>
                <a:gd name="T13" fmla="*/ 26 h 26"/>
                <a:gd name="T14" fmla="*/ 9 w 21"/>
                <a:gd name="T15" fmla="*/ 19 h 26"/>
                <a:gd name="T16" fmla="*/ 9 w 21"/>
                <a:gd name="T17" fmla="*/ 5 h 26"/>
                <a:gd name="T18" fmla="*/ 5 w 21"/>
                <a:gd name="T19" fmla="*/ 5 h 26"/>
                <a:gd name="T20" fmla="*/ 5 w 21"/>
                <a:gd name="T21" fmla="*/ 9 h 26"/>
                <a:gd name="T22" fmla="*/ 7 w 21"/>
                <a:gd name="T23" fmla="*/ 9 h 26"/>
                <a:gd name="T24" fmla="*/ 7 w 21"/>
                <a:gd name="T25" fmla="*/ 12 h 26"/>
                <a:gd name="T26" fmla="*/ 5 w 21"/>
                <a:gd name="T27" fmla="*/ 21 h 26"/>
                <a:gd name="T28" fmla="*/ 0 w 21"/>
                <a:gd name="T29" fmla="*/ 21 h 26"/>
                <a:gd name="T30" fmla="*/ 0 w 21"/>
                <a:gd name="T31" fmla="*/ 2 h 26"/>
                <a:gd name="T32" fmla="*/ 5 w 21"/>
                <a:gd name="T33" fmla="*/ 0 h 26"/>
                <a:gd name="T34" fmla="*/ 9 w 21"/>
                <a:gd name="T35" fmla="*/ 0 h 26"/>
                <a:gd name="T36" fmla="*/ 14 w 21"/>
                <a:gd name="T37" fmla="*/ 2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6"/>
                <a:gd name="T59" fmla="*/ 21 w 21"/>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6">
                  <a:moveTo>
                    <a:pt x="14" y="2"/>
                  </a:moveTo>
                  <a:lnTo>
                    <a:pt x="16" y="5"/>
                  </a:lnTo>
                  <a:lnTo>
                    <a:pt x="21" y="5"/>
                  </a:lnTo>
                  <a:lnTo>
                    <a:pt x="21" y="19"/>
                  </a:lnTo>
                  <a:lnTo>
                    <a:pt x="16" y="21"/>
                  </a:lnTo>
                  <a:lnTo>
                    <a:pt x="16" y="26"/>
                  </a:lnTo>
                  <a:lnTo>
                    <a:pt x="7" y="26"/>
                  </a:lnTo>
                  <a:lnTo>
                    <a:pt x="9" y="19"/>
                  </a:lnTo>
                  <a:lnTo>
                    <a:pt x="9" y="5"/>
                  </a:lnTo>
                  <a:lnTo>
                    <a:pt x="5" y="5"/>
                  </a:lnTo>
                  <a:lnTo>
                    <a:pt x="5" y="9"/>
                  </a:lnTo>
                  <a:lnTo>
                    <a:pt x="7" y="9"/>
                  </a:lnTo>
                  <a:lnTo>
                    <a:pt x="7" y="12"/>
                  </a:lnTo>
                  <a:lnTo>
                    <a:pt x="5" y="21"/>
                  </a:lnTo>
                  <a:lnTo>
                    <a:pt x="0" y="21"/>
                  </a:lnTo>
                  <a:lnTo>
                    <a:pt x="0" y="2"/>
                  </a:lnTo>
                  <a:lnTo>
                    <a:pt x="5" y="0"/>
                  </a:lnTo>
                  <a:lnTo>
                    <a:pt x="9" y="0"/>
                  </a:lnTo>
                  <a:lnTo>
                    <a:pt x="1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3" name="Freeform 372">
              <a:extLst>
                <a:ext uri="{FF2B5EF4-FFF2-40B4-BE49-F238E27FC236}">
                  <a16:creationId xmlns:a16="http://schemas.microsoft.com/office/drawing/2014/main" id="{AE4938A1-9F81-4A1A-9ABA-0D17E76EA092}"/>
                </a:ext>
              </a:extLst>
            </p:cNvPr>
            <p:cNvSpPr>
              <a:spLocks/>
            </p:cNvSpPr>
            <p:nvPr/>
          </p:nvSpPr>
          <p:spPr bwMode="gray">
            <a:xfrm rot="47099">
              <a:off x="1921999" y="1985863"/>
              <a:ext cx="5580" cy="7904"/>
            </a:xfrm>
            <a:custGeom>
              <a:avLst/>
              <a:gdLst>
                <a:gd name="T0" fmla="*/ 5 w 12"/>
                <a:gd name="T1" fmla="*/ 0 h 17"/>
                <a:gd name="T2" fmla="*/ 10 w 12"/>
                <a:gd name="T3" fmla="*/ 0 h 17"/>
                <a:gd name="T4" fmla="*/ 10 w 12"/>
                <a:gd name="T5" fmla="*/ 7 h 17"/>
                <a:gd name="T6" fmla="*/ 12 w 12"/>
                <a:gd name="T7" fmla="*/ 12 h 17"/>
                <a:gd name="T8" fmla="*/ 10 w 12"/>
                <a:gd name="T9" fmla="*/ 17 h 17"/>
                <a:gd name="T10" fmla="*/ 0 w 12"/>
                <a:gd name="T11" fmla="*/ 17 h 17"/>
                <a:gd name="T12" fmla="*/ 0 w 12"/>
                <a:gd name="T13" fmla="*/ 12 h 17"/>
                <a:gd name="T14" fmla="*/ 3 w 12"/>
                <a:gd name="T15" fmla="*/ 7 h 17"/>
                <a:gd name="T16" fmla="*/ 3 w 12"/>
                <a:gd name="T17" fmla="*/ 0 h 17"/>
                <a:gd name="T18" fmla="*/ 5 w 12"/>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7"/>
                <a:gd name="T32" fmla="*/ 12 w 12"/>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7">
                  <a:moveTo>
                    <a:pt x="5" y="0"/>
                  </a:moveTo>
                  <a:lnTo>
                    <a:pt x="10" y="0"/>
                  </a:lnTo>
                  <a:lnTo>
                    <a:pt x="10" y="7"/>
                  </a:lnTo>
                  <a:lnTo>
                    <a:pt x="12" y="12"/>
                  </a:lnTo>
                  <a:lnTo>
                    <a:pt x="10" y="17"/>
                  </a:lnTo>
                  <a:lnTo>
                    <a:pt x="0" y="17"/>
                  </a:lnTo>
                  <a:lnTo>
                    <a:pt x="0" y="12"/>
                  </a:lnTo>
                  <a:lnTo>
                    <a:pt x="3" y="7"/>
                  </a:lnTo>
                  <a:lnTo>
                    <a:pt x="3"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4" name="Freeform 373">
              <a:extLst>
                <a:ext uri="{FF2B5EF4-FFF2-40B4-BE49-F238E27FC236}">
                  <a16:creationId xmlns:a16="http://schemas.microsoft.com/office/drawing/2014/main" id="{E252CBA2-C185-4972-9672-B14B7DCF13C1}"/>
                </a:ext>
              </a:extLst>
            </p:cNvPr>
            <p:cNvSpPr>
              <a:spLocks/>
            </p:cNvSpPr>
            <p:nvPr/>
          </p:nvSpPr>
          <p:spPr bwMode="gray">
            <a:xfrm rot="47099">
              <a:off x="1777548" y="2036933"/>
              <a:ext cx="10696" cy="13950"/>
            </a:xfrm>
            <a:custGeom>
              <a:avLst/>
              <a:gdLst>
                <a:gd name="T0" fmla="*/ 19 w 23"/>
                <a:gd name="T1" fmla="*/ 0 h 30"/>
                <a:gd name="T2" fmla="*/ 21 w 23"/>
                <a:gd name="T3" fmla="*/ 2 h 30"/>
                <a:gd name="T4" fmla="*/ 23 w 23"/>
                <a:gd name="T5" fmla="*/ 2 h 30"/>
                <a:gd name="T6" fmla="*/ 23 w 23"/>
                <a:gd name="T7" fmla="*/ 14 h 30"/>
                <a:gd name="T8" fmla="*/ 21 w 23"/>
                <a:gd name="T9" fmla="*/ 16 h 30"/>
                <a:gd name="T10" fmla="*/ 19 w 23"/>
                <a:gd name="T11" fmla="*/ 19 h 30"/>
                <a:gd name="T12" fmla="*/ 14 w 23"/>
                <a:gd name="T13" fmla="*/ 19 h 30"/>
                <a:gd name="T14" fmla="*/ 14 w 23"/>
                <a:gd name="T15" fmla="*/ 26 h 30"/>
                <a:gd name="T16" fmla="*/ 12 w 23"/>
                <a:gd name="T17" fmla="*/ 23 h 30"/>
                <a:gd name="T18" fmla="*/ 7 w 23"/>
                <a:gd name="T19" fmla="*/ 23 h 30"/>
                <a:gd name="T20" fmla="*/ 7 w 23"/>
                <a:gd name="T21" fmla="*/ 30 h 30"/>
                <a:gd name="T22" fmla="*/ 0 w 23"/>
                <a:gd name="T23" fmla="*/ 30 h 30"/>
                <a:gd name="T24" fmla="*/ 0 w 23"/>
                <a:gd name="T25" fmla="*/ 26 h 30"/>
                <a:gd name="T26" fmla="*/ 4 w 23"/>
                <a:gd name="T27" fmla="*/ 26 h 30"/>
                <a:gd name="T28" fmla="*/ 4 w 23"/>
                <a:gd name="T29" fmla="*/ 19 h 30"/>
                <a:gd name="T30" fmla="*/ 7 w 23"/>
                <a:gd name="T31" fmla="*/ 19 h 30"/>
                <a:gd name="T32" fmla="*/ 4 w 23"/>
                <a:gd name="T33" fmla="*/ 16 h 30"/>
                <a:gd name="T34" fmla="*/ 7 w 23"/>
                <a:gd name="T35" fmla="*/ 16 h 30"/>
                <a:gd name="T36" fmla="*/ 7 w 23"/>
                <a:gd name="T37" fmla="*/ 9 h 30"/>
                <a:gd name="T38" fmla="*/ 14 w 23"/>
                <a:gd name="T39" fmla="*/ 9 h 30"/>
                <a:gd name="T40" fmla="*/ 14 w 23"/>
                <a:gd name="T41" fmla="*/ 0 h 30"/>
                <a:gd name="T42" fmla="*/ 19 w 23"/>
                <a:gd name="T43" fmla="*/ 0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30"/>
                <a:gd name="T68" fmla="*/ 23 w 23"/>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30">
                  <a:moveTo>
                    <a:pt x="19" y="0"/>
                  </a:moveTo>
                  <a:lnTo>
                    <a:pt x="21" y="2"/>
                  </a:lnTo>
                  <a:lnTo>
                    <a:pt x="23" y="2"/>
                  </a:lnTo>
                  <a:lnTo>
                    <a:pt x="23" y="14"/>
                  </a:lnTo>
                  <a:lnTo>
                    <a:pt x="21" y="16"/>
                  </a:lnTo>
                  <a:lnTo>
                    <a:pt x="19" y="19"/>
                  </a:lnTo>
                  <a:lnTo>
                    <a:pt x="14" y="19"/>
                  </a:lnTo>
                  <a:lnTo>
                    <a:pt x="14" y="26"/>
                  </a:lnTo>
                  <a:lnTo>
                    <a:pt x="12" y="23"/>
                  </a:lnTo>
                  <a:lnTo>
                    <a:pt x="7" y="23"/>
                  </a:lnTo>
                  <a:lnTo>
                    <a:pt x="7" y="30"/>
                  </a:lnTo>
                  <a:lnTo>
                    <a:pt x="0" y="30"/>
                  </a:lnTo>
                  <a:lnTo>
                    <a:pt x="0" y="26"/>
                  </a:lnTo>
                  <a:lnTo>
                    <a:pt x="4" y="26"/>
                  </a:lnTo>
                  <a:lnTo>
                    <a:pt x="4" y="19"/>
                  </a:lnTo>
                  <a:lnTo>
                    <a:pt x="7" y="19"/>
                  </a:lnTo>
                  <a:lnTo>
                    <a:pt x="4" y="16"/>
                  </a:lnTo>
                  <a:lnTo>
                    <a:pt x="7" y="16"/>
                  </a:lnTo>
                  <a:lnTo>
                    <a:pt x="7" y="9"/>
                  </a:lnTo>
                  <a:lnTo>
                    <a:pt x="14" y="9"/>
                  </a:lnTo>
                  <a:lnTo>
                    <a:pt x="14" y="0"/>
                  </a:lnTo>
                  <a:lnTo>
                    <a:pt x="1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5" name="Freeform 374">
              <a:extLst>
                <a:ext uri="{FF2B5EF4-FFF2-40B4-BE49-F238E27FC236}">
                  <a16:creationId xmlns:a16="http://schemas.microsoft.com/office/drawing/2014/main" id="{F0B9A97A-5DB6-49F5-B428-39A3BE84E103}"/>
                </a:ext>
              </a:extLst>
            </p:cNvPr>
            <p:cNvSpPr>
              <a:spLocks/>
            </p:cNvSpPr>
            <p:nvPr/>
          </p:nvSpPr>
          <p:spPr bwMode="gray">
            <a:xfrm rot="47099">
              <a:off x="1718821" y="2051438"/>
              <a:ext cx="5580" cy="3255"/>
            </a:xfrm>
            <a:custGeom>
              <a:avLst/>
              <a:gdLst>
                <a:gd name="T0" fmla="*/ 0 w 12"/>
                <a:gd name="T1" fmla="*/ 0 h 7"/>
                <a:gd name="T2" fmla="*/ 8 w 12"/>
                <a:gd name="T3" fmla="*/ 0 h 7"/>
                <a:gd name="T4" fmla="*/ 10 w 12"/>
                <a:gd name="T5" fmla="*/ 2 h 7"/>
                <a:gd name="T6" fmla="*/ 12 w 12"/>
                <a:gd name="T7" fmla="*/ 7 h 7"/>
                <a:gd name="T8" fmla="*/ 3 w 12"/>
                <a:gd name="T9" fmla="*/ 7 h 7"/>
                <a:gd name="T10" fmla="*/ 0 w 12"/>
                <a:gd name="T11" fmla="*/ 2 h 7"/>
                <a:gd name="T12" fmla="*/ 0 w 12"/>
                <a:gd name="T13" fmla="*/ 0 h 7"/>
                <a:gd name="T14" fmla="*/ 0 60000 65536"/>
                <a:gd name="T15" fmla="*/ 0 60000 65536"/>
                <a:gd name="T16" fmla="*/ 0 60000 65536"/>
                <a:gd name="T17" fmla="*/ 0 60000 65536"/>
                <a:gd name="T18" fmla="*/ 0 60000 65536"/>
                <a:gd name="T19" fmla="*/ 0 60000 65536"/>
                <a:gd name="T20" fmla="*/ 0 60000 65536"/>
                <a:gd name="T21" fmla="*/ 0 w 12"/>
                <a:gd name="T22" fmla="*/ 0 h 7"/>
                <a:gd name="T23" fmla="*/ 12 w 1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7">
                  <a:moveTo>
                    <a:pt x="0" y="0"/>
                  </a:moveTo>
                  <a:lnTo>
                    <a:pt x="8" y="0"/>
                  </a:lnTo>
                  <a:lnTo>
                    <a:pt x="10" y="2"/>
                  </a:lnTo>
                  <a:lnTo>
                    <a:pt x="12" y="7"/>
                  </a:lnTo>
                  <a:lnTo>
                    <a:pt x="3" y="7"/>
                  </a:lnTo>
                  <a:lnTo>
                    <a:pt x="0" y="2"/>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6" name="Freeform 375">
              <a:extLst>
                <a:ext uri="{FF2B5EF4-FFF2-40B4-BE49-F238E27FC236}">
                  <a16:creationId xmlns:a16="http://schemas.microsoft.com/office/drawing/2014/main" id="{441BA5AE-84AB-4EDC-A0C0-F09C05234B36}"/>
                </a:ext>
              </a:extLst>
            </p:cNvPr>
            <p:cNvSpPr>
              <a:spLocks/>
            </p:cNvSpPr>
            <p:nvPr/>
          </p:nvSpPr>
          <p:spPr bwMode="gray">
            <a:xfrm rot="47099">
              <a:off x="1748679" y="2039856"/>
              <a:ext cx="19997" cy="13019"/>
            </a:xfrm>
            <a:custGeom>
              <a:avLst/>
              <a:gdLst>
                <a:gd name="T0" fmla="*/ 29 w 43"/>
                <a:gd name="T1" fmla="*/ 7 h 28"/>
                <a:gd name="T2" fmla="*/ 29 w 43"/>
                <a:gd name="T3" fmla="*/ 2 h 28"/>
                <a:gd name="T4" fmla="*/ 36 w 43"/>
                <a:gd name="T5" fmla="*/ 0 h 28"/>
                <a:gd name="T6" fmla="*/ 40 w 43"/>
                <a:gd name="T7" fmla="*/ 0 h 28"/>
                <a:gd name="T8" fmla="*/ 40 w 43"/>
                <a:gd name="T9" fmla="*/ 2 h 28"/>
                <a:gd name="T10" fmla="*/ 43 w 43"/>
                <a:gd name="T11" fmla="*/ 7 h 28"/>
                <a:gd name="T12" fmla="*/ 43 w 43"/>
                <a:gd name="T13" fmla="*/ 9 h 28"/>
                <a:gd name="T14" fmla="*/ 40 w 43"/>
                <a:gd name="T15" fmla="*/ 12 h 28"/>
                <a:gd name="T16" fmla="*/ 40 w 43"/>
                <a:gd name="T17" fmla="*/ 16 h 28"/>
                <a:gd name="T18" fmla="*/ 36 w 43"/>
                <a:gd name="T19" fmla="*/ 19 h 28"/>
                <a:gd name="T20" fmla="*/ 22 w 43"/>
                <a:gd name="T21" fmla="*/ 19 h 28"/>
                <a:gd name="T22" fmla="*/ 26 w 43"/>
                <a:gd name="T23" fmla="*/ 23 h 28"/>
                <a:gd name="T24" fmla="*/ 29 w 43"/>
                <a:gd name="T25" fmla="*/ 26 h 28"/>
                <a:gd name="T26" fmla="*/ 29 w 43"/>
                <a:gd name="T27" fmla="*/ 28 h 28"/>
                <a:gd name="T28" fmla="*/ 22 w 43"/>
                <a:gd name="T29" fmla="*/ 28 h 28"/>
                <a:gd name="T30" fmla="*/ 19 w 43"/>
                <a:gd name="T31" fmla="*/ 26 h 28"/>
                <a:gd name="T32" fmla="*/ 17 w 43"/>
                <a:gd name="T33" fmla="*/ 23 h 28"/>
                <a:gd name="T34" fmla="*/ 10 w 43"/>
                <a:gd name="T35" fmla="*/ 23 h 28"/>
                <a:gd name="T36" fmla="*/ 10 w 43"/>
                <a:gd name="T37" fmla="*/ 19 h 28"/>
                <a:gd name="T38" fmla="*/ 5 w 43"/>
                <a:gd name="T39" fmla="*/ 23 h 28"/>
                <a:gd name="T40" fmla="*/ 0 w 43"/>
                <a:gd name="T41" fmla="*/ 23 h 28"/>
                <a:gd name="T42" fmla="*/ 0 w 43"/>
                <a:gd name="T43" fmla="*/ 16 h 28"/>
                <a:gd name="T44" fmla="*/ 5 w 43"/>
                <a:gd name="T45" fmla="*/ 16 h 28"/>
                <a:gd name="T46" fmla="*/ 5 w 43"/>
                <a:gd name="T47" fmla="*/ 9 h 28"/>
                <a:gd name="T48" fmla="*/ 12 w 43"/>
                <a:gd name="T49" fmla="*/ 9 h 28"/>
                <a:gd name="T50" fmla="*/ 12 w 43"/>
                <a:gd name="T51" fmla="*/ 7 h 28"/>
                <a:gd name="T52" fmla="*/ 17 w 43"/>
                <a:gd name="T53" fmla="*/ 7 h 28"/>
                <a:gd name="T54" fmla="*/ 19 w 43"/>
                <a:gd name="T55" fmla="*/ 9 h 28"/>
                <a:gd name="T56" fmla="*/ 22 w 43"/>
                <a:gd name="T57" fmla="*/ 12 h 28"/>
                <a:gd name="T58" fmla="*/ 26 w 43"/>
                <a:gd name="T59" fmla="*/ 9 h 28"/>
                <a:gd name="T60" fmla="*/ 29 w 43"/>
                <a:gd name="T61" fmla="*/ 7 h 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
                <a:gd name="T94" fmla="*/ 0 h 28"/>
                <a:gd name="T95" fmla="*/ 43 w 43"/>
                <a:gd name="T96" fmla="*/ 28 h 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 h="28">
                  <a:moveTo>
                    <a:pt x="29" y="7"/>
                  </a:moveTo>
                  <a:lnTo>
                    <a:pt x="29" y="2"/>
                  </a:lnTo>
                  <a:lnTo>
                    <a:pt x="36" y="0"/>
                  </a:lnTo>
                  <a:lnTo>
                    <a:pt x="40" y="0"/>
                  </a:lnTo>
                  <a:lnTo>
                    <a:pt x="40" y="2"/>
                  </a:lnTo>
                  <a:lnTo>
                    <a:pt x="43" y="7"/>
                  </a:lnTo>
                  <a:lnTo>
                    <a:pt x="43" y="9"/>
                  </a:lnTo>
                  <a:lnTo>
                    <a:pt x="40" y="12"/>
                  </a:lnTo>
                  <a:lnTo>
                    <a:pt x="40" y="16"/>
                  </a:lnTo>
                  <a:lnTo>
                    <a:pt x="36" y="19"/>
                  </a:lnTo>
                  <a:lnTo>
                    <a:pt x="22" y="19"/>
                  </a:lnTo>
                  <a:lnTo>
                    <a:pt x="26" y="23"/>
                  </a:lnTo>
                  <a:lnTo>
                    <a:pt x="29" y="26"/>
                  </a:lnTo>
                  <a:lnTo>
                    <a:pt x="29" y="28"/>
                  </a:lnTo>
                  <a:lnTo>
                    <a:pt x="22" y="28"/>
                  </a:lnTo>
                  <a:lnTo>
                    <a:pt x="19" y="26"/>
                  </a:lnTo>
                  <a:lnTo>
                    <a:pt x="17" y="23"/>
                  </a:lnTo>
                  <a:lnTo>
                    <a:pt x="10" y="23"/>
                  </a:lnTo>
                  <a:lnTo>
                    <a:pt x="10" y="19"/>
                  </a:lnTo>
                  <a:lnTo>
                    <a:pt x="5" y="23"/>
                  </a:lnTo>
                  <a:lnTo>
                    <a:pt x="0" y="23"/>
                  </a:lnTo>
                  <a:lnTo>
                    <a:pt x="0" y="16"/>
                  </a:lnTo>
                  <a:lnTo>
                    <a:pt x="5" y="16"/>
                  </a:lnTo>
                  <a:lnTo>
                    <a:pt x="5" y="9"/>
                  </a:lnTo>
                  <a:lnTo>
                    <a:pt x="12" y="9"/>
                  </a:lnTo>
                  <a:lnTo>
                    <a:pt x="12" y="7"/>
                  </a:lnTo>
                  <a:lnTo>
                    <a:pt x="17" y="7"/>
                  </a:lnTo>
                  <a:lnTo>
                    <a:pt x="19" y="9"/>
                  </a:lnTo>
                  <a:lnTo>
                    <a:pt x="22" y="12"/>
                  </a:lnTo>
                  <a:lnTo>
                    <a:pt x="26" y="9"/>
                  </a:lnTo>
                  <a:lnTo>
                    <a:pt x="2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7" name="Freeform 376">
              <a:extLst>
                <a:ext uri="{FF2B5EF4-FFF2-40B4-BE49-F238E27FC236}">
                  <a16:creationId xmlns:a16="http://schemas.microsoft.com/office/drawing/2014/main" id="{8CA3A8B1-76A3-4ECE-81F3-B8208361965F}"/>
                </a:ext>
              </a:extLst>
            </p:cNvPr>
            <p:cNvSpPr>
              <a:spLocks/>
            </p:cNvSpPr>
            <p:nvPr/>
          </p:nvSpPr>
          <p:spPr bwMode="gray">
            <a:xfrm rot="47099">
              <a:off x="1703431" y="2054482"/>
              <a:ext cx="5580" cy="3255"/>
            </a:xfrm>
            <a:custGeom>
              <a:avLst/>
              <a:gdLst>
                <a:gd name="T0" fmla="*/ 10 w 12"/>
                <a:gd name="T1" fmla="*/ 2 h 7"/>
                <a:gd name="T2" fmla="*/ 5 w 12"/>
                <a:gd name="T3" fmla="*/ 2 h 7"/>
                <a:gd name="T4" fmla="*/ 5 w 12"/>
                <a:gd name="T5" fmla="*/ 7 h 7"/>
                <a:gd name="T6" fmla="*/ 10 w 12"/>
                <a:gd name="T7" fmla="*/ 7 h 7"/>
                <a:gd name="T8" fmla="*/ 0 w 12"/>
                <a:gd name="T9" fmla="*/ 7 h 7"/>
                <a:gd name="T10" fmla="*/ 0 w 12"/>
                <a:gd name="T11" fmla="*/ 0 h 7"/>
                <a:gd name="T12" fmla="*/ 12 w 12"/>
                <a:gd name="T13" fmla="*/ 0 h 7"/>
                <a:gd name="T14" fmla="*/ 10 w 12"/>
                <a:gd name="T15" fmla="*/ 0 h 7"/>
                <a:gd name="T16" fmla="*/ 10 w 12"/>
                <a:gd name="T17" fmla="*/ 2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7"/>
                <a:gd name="T29" fmla="*/ 12 w 12"/>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7">
                  <a:moveTo>
                    <a:pt x="10" y="2"/>
                  </a:moveTo>
                  <a:lnTo>
                    <a:pt x="5" y="2"/>
                  </a:lnTo>
                  <a:lnTo>
                    <a:pt x="5" y="7"/>
                  </a:lnTo>
                  <a:lnTo>
                    <a:pt x="10" y="7"/>
                  </a:lnTo>
                  <a:lnTo>
                    <a:pt x="0" y="7"/>
                  </a:lnTo>
                  <a:lnTo>
                    <a:pt x="0" y="0"/>
                  </a:lnTo>
                  <a:lnTo>
                    <a:pt x="12" y="0"/>
                  </a:lnTo>
                  <a:lnTo>
                    <a:pt x="10" y="0"/>
                  </a:lnTo>
                  <a:lnTo>
                    <a:pt x="1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8" name="Freeform 377">
              <a:extLst>
                <a:ext uri="{FF2B5EF4-FFF2-40B4-BE49-F238E27FC236}">
                  <a16:creationId xmlns:a16="http://schemas.microsoft.com/office/drawing/2014/main" id="{9430A7A7-BDCA-4DEF-88E3-FEFEB6939DA2}"/>
                </a:ext>
              </a:extLst>
            </p:cNvPr>
            <p:cNvSpPr>
              <a:spLocks/>
            </p:cNvSpPr>
            <p:nvPr/>
          </p:nvSpPr>
          <p:spPr bwMode="gray">
            <a:xfrm rot="47099">
              <a:off x="1720261" y="2048193"/>
              <a:ext cx="4186" cy="3255"/>
            </a:xfrm>
            <a:custGeom>
              <a:avLst/>
              <a:gdLst>
                <a:gd name="T0" fmla="*/ 0 w 9"/>
                <a:gd name="T1" fmla="*/ 0 h 7"/>
                <a:gd name="T2" fmla="*/ 5 w 9"/>
                <a:gd name="T3" fmla="*/ 0 h 7"/>
                <a:gd name="T4" fmla="*/ 7 w 9"/>
                <a:gd name="T5" fmla="*/ 4 h 7"/>
                <a:gd name="T6" fmla="*/ 9 w 9"/>
                <a:gd name="T7" fmla="*/ 7 h 7"/>
                <a:gd name="T8" fmla="*/ 5 w 9"/>
                <a:gd name="T9" fmla="*/ 7 h 7"/>
                <a:gd name="T10" fmla="*/ 0 w 9"/>
                <a:gd name="T11" fmla="*/ 4 h 7"/>
                <a:gd name="T12" fmla="*/ 0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0" y="0"/>
                  </a:moveTo>
                  <a:lnTo>
                    <a:pt x="5" y="0"/>
                  </a:lnTo>
                  <a:lnTo>
                    <a:pt x="7" y="4"/>
                  </a:lnTo>
                  <a:lnTo>
                    <a:pt x="9" y="7"/>
                  </a:lnTo>
                  <a:lnTo>
                    <a:pt x="5" y="7"/>
                  </a:lnTo>
                  <a:lnTo>
                    <a:pt x="0" y="4"/>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89" name="Freeform 378">
              <a:extLst>
                <a:ext uri="{FF2B5EF4-FFF2-40B4-BE49-F238E27FC236}">
                  <a16:creationId xmlns:a16="http://schemas.microsoft.com/office/drawing/2014/main" id="{5C5DBF9E-5AA5-4818-957F-231C29B6BDED}"/>
                </a:ext>
              </a:extLst>
            </p:cNvPr>
            <p:cNvSpPr>
              <a:spLocks/>
            </p:cNvSpPr>
            <p:nvPr/>
          </p:nvSpPr>
          <p:spPr bwMode="gray">
            <a:xfrm rot="47099">
              <a:off x="1589260" y="2069194"/>
              <a:ext cx="5580" cy="6975"/>
            </a:xfrm>
            <a:custGeom>
              <a:avLst/>
              <a:gdLst>
                <a:gd name="T0" fmla="*/ 7 w 12"/>
                <a:gd name="T1" fmla="*/ 15 h 15"/>
                <a:gd name="T2" fmla="*/ 0 w 12"/>
                <a:gd name="T3" fmla="*/ 7 h 15"/>
                <a:gd name="T4" fmla="*/ 7 w 12"/>
                <a:gd name="T5" fmla="*/ 0 h 15"/>
                <a:gd name="T6" fmla="*/ 12 w 12"/>
                <a:gd name="T7" fmla="*/ 0 h 15"/>
                <a:gd name="T8" fmla="*/ 12 w 12"/>
                <a:gd name="T9" fmla="*/ 15 h 15"/>
                <a:gd name="T10" fmla="*/ 7 w 12"/>
                <a:gd name="T11" fmla="*/ 15 h 15"/>
                <a:gd name="T12" fmla="*/ 0 60000 65536"/>
                <a:gd name="T13" fmla="*/ 0 60000 65536"/>
                <a:gd name="T14" fmla="*/ 0 60000 65536"/>
                <a:gd name="T15" fmla="*/ 0 60000 65536"/>
                <a:gd name="T16" fmla="*/ 0 60000 65536"/>
                <a:gd name="T17" fmla="*/ 0 60000 65536"/>
                <a:gd name="T18" fmla="*/ 0 w 12"/>
                <a:gd name="T19" fmla="*/ 0 h 15"/>
                <a:gd name="T20" fmla="*/ 12 w 1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2" h="15">
                  <a:moveTo>
                    <a:pt x="7" y="15"/>
                  </a:moveTo>
                  <a:lnTo>
                    <a:pt x="0" y="7"/>
                  </a:lnTo>
                  <a:lnTo>
                    <a:pt x="7" y="0"/>
                  </a:lnTo>
                  <a:lnTo>
                    <a:pt x="12" y="0"/>
                  </a:lnTo>
                  <a:lnTo>
                    <a:pt x="12" y="15"/>
                  </a:lnTo>
                  <a:lnTo>
                    <a:pt x="7" y="1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0" name="Freeform 379">
              <a:extLst>
                <a:ext uri="{FF2B5EF4-FFF2-40B4-BE49-F238E27FC236}">
                  <a16:creationId xmlns:a16="http://schemas.microsoft.com/office/drawing/2014/main" id="{EC9BA8F5-15C7-48C4-877A-8FFBA6E275EA}"/>
                </a:ext>
              </a:extLst>
            </p:cNvPr>
            <p:cNvSpPr>
              <a:spLocks/>
            </p:cNvSpPr>
            <p:nvPr/>
          </p:nvSpPr>
          <p:spPr bwMode="gray">
            <a:xfrm rot="47099">
              <a:off x="1474431" y="2075028"/>
              <a:ext cx="68361" cy="56728"/>
            </a:xfrm>
            <a:custGeom>
              <a:avLst/>
              <a:gdLst>
                <a:gd name="T0" fmla="*/ 130 w 147"/>
                <a:gd name="T1" fmla="*/ 87 h 122"/>
                <a:gd name="T2" fmla="*/ 132 w 147"/>
                <a:gd name="T3" fmla="*/ 87 h 122"/>
                <a:gd name="T4" fmla="*/ 137 w 147"/>
                <a:gd name="T5" fmla="*/ 82 h 122"/>
                <a:gd name="T6" fmla="*/ 147 w 147"/>
                <a:gd name="T7" fmla="*/ 87 h 122"/>
                <a:gd name="T8" fmla="*/ 137 w 147"/>
                <a:gd name="T9" fmla="*/ 101 h 122"/>
                <a:gd name="T10" fmla="*/ 125 w 147"/>
                <a:gd name="T11" fmla="*/ 96 h 122"/>
                <a:gd name="T12" fmla="*/ 121 w 147"/>
                <a:gd name="T13" fmla="*/ 106 h 122"/>
                <a:gd name="T14" fmla="*/ 113 w 147"/>
                <a:gd name="T15" fmla="*/ 120 h 122"/>
                <a:gd name="T16" fmla="*/ 104 w 147"/>
                <a:gd name="T17" fmla="*/ 122 h 122"/>
                <a:gd name="T18" fmla="*/ 90 w 147"/>
                <a:gd name="T19" fmla="*/ 118 h 122"/>
                <a:gd name="T20" fmla="*/ 83 w 147"/>
                <a:gd name="T21" fmla="*/ 120 h 122"/>
                <a:gd name="T22" fmla="*/ 69 w 147"/>
                <a:gd name="T23" fmla="*/ 118 h 122"/>
                <a:gd name="T24" fmla="*/ 66 w 147"/>
                <a:gd name="T25" fmla="*/ 111 h 122"/>
                <a:gd name="T26" fmla="*/ 57 w 147"/>
                <a:gd name="T27" fmla="*/ 106 h 122"/>
                <a:gd name="T28" fmla="*/ 50 w 147"/>
                <a:gd name="T29" fmla="*/ 106 h 122"/>
                <a:gd name="T30" fmla="*/ 45 w 147"/>
                <a:gd name="T31" fmla="*/ 101 h 122"/>
                <a:gd name="T32" fmla="*/ 45 w 147"/>
                <a:gd name="T33" fmla="*/ 96 h 122"/>
                <a:gd name="T34" fmla="*/ 43 w 147"/>
                <a:gd name="T35" fmla="*/ 94 h 122"/>
                <a:gd name="T36" fmla="*/ 40 w 147"/>
                <a:gd name="T37" fmla="*/ 101 h 122"/>
                <a:gd name="T38" fmla="*/ 28 w 147"/>
                <a:gd name="T39" fmla="*/ 96 h 122"/>
                <a:gd name="T40" fmla="*/ 24 w 147"/>
                <a:gd name="T41" fmla="*/ 89 h 122"/>
                <a:gd name="T42" fmla="*/ 26 w 147"/>
                <a:gd name="T43" fmla="*/ 82 h 122"/>
                <a:gd name="T44" fmla="*/ 17 w 147"/>
                <a:gd name="T45" fmla="*/ 87 h 122"/>
                <a:gd name="T46" fmla="*/ 19 w 147"/>
                <a:gd name="T47" fmla="*/ 89 h 122"/>
                <a:gd name="T48" fmla="*/ 12 w 147"/>
                <a:gd name="T49" fmla="*/ 89 h 122"/>
                <a:gd name="T50" fmla="*/ 7 w 147"/>
                <a:gd name="T51" fmla="*/ 87 h 122"/>
                <a:gd name="T52" fmla="*/ 2 w 147"/>
                <a:gd name="T53" fmla="*/ 80 h 122"/>
                <a:gd name="T54" fmla="*/ 0 w 147"/>
                <a:gd name="T55" fmla="*/ 77 h 122"/>
                <a:gd name="T56" fmla="*/ 2 w 147"/>
                <a:gd name="T57" fmla="*/ 66 h 122"/>
                <a:gd name="T58" fmla="*/ 12 w 147"/>
                <a:gd name="T59" fmla="*/ 63 h 122"/>
                <a:gd name="T60" fmla="*/ 19 w 147"/>
                <a:gd name="T61" fmla="*/ 66 h 122"/>
                <a:gd name="T62" fmla="*/ 28 w 147"/>
                <a:gd name="T63" fmla="*/ 61 h 122"/>
                <a:gd name="T64" fmla="*/ 35 w 147"/>
                <a:gd name="T65" fmla="*/ 54 h 122"/>
                <a:gd name="T66" fmla="*/ 40 w 147"/>
                <a:gd name="T67" fmla="*/ 49 h 122"/>
                <a:gd name="T68" fmla="*/ 35 w 147"/>
                <a:gd name="T69" fmla="*/ 42 h 122"/>
                <a:gd name="T70" fmla="*/ 33 w 147"/>
                <a:gd name="T71" fmla="*/ 37 h 122"/>
                <a:gd name="T72" fmla="*/ 35 w 147"/>
                <a:gd name="T73" fmla="*/ 37 h 122"/>
                <a:gd name="T74" fmla="*/ 33 w 147"/>
                <a:gd name="T75" fmla="*/ 26 h 122"/>
                <a:gd name="T76" fmla="*/ 40 w 147"/>
                <a:gd name="T77" fmla="*/ 30 h 122"/>
                <a:gd name="T78" fmla="*/ 43 w 147"/>
                <a:gd name="T79" fmla="*/ 37 h 122"/>
                <a:gd name="T80" fmla="*/ 52 w 147"/>
                <a:gd name="T81" fmla="*/ 40 h 122"/>
                <a:gd name="T82" fmla="*/ 45 w 147"/>
                <a:gd name="T83" fmla="*/ 33 h 122"/>
                <a:gd name="T84" fmla="*/ 43 w 147"/>
                <a:gd name="T85" fmla="*/ 26 h 122"/>
                <a:gd name="T86" fmla="*/ 40 w 147"/>
                <a:gd name="T87" fmla="*/ 14 h 122"/>
                <a:gd name="T88" fmla="*/ 43 w 147"/>
                <a:gd name="T89" fmla="*/ 7 h 122"/>
                <a:gd name="T90" fmla="*/ 50 w 147"/>
                <a:gd name="T91" fmla="*/ 4 h 122"/>
                <a:gd name="T92" fmla="*/ 52 w 147"/>
                <a:gd name="T93" fmla="*/ 0 h 122"/>
                <a:gd name="T94" fmla="*/ 59 w 147"/>
                <a:gd name="T95" fmla="*/ 7 h 122"/>
                <a:gd name="T96" fmla="*/ 64 w 147"/>
                <a:gd name="T97" fmla="*/ 9 h 122"/>
                <a:gd name="T98" fmla="*/ 73 w 147"/>
                <a:gd name="T99" fmla="*/ 16 h 122"/>
                <a:gd name="T100" fmla="*/ 66 w 147"/>
                <a:gd name="T101" fmla="*/ 21 h 122"/>
                <a:gd name="T102" fmla="*/ 73 w 147"/>
                <a:gd name="T103" fmla="*/ 21 h 122"/>
                <a:gd name="T104" fmla="*/ 76 w 147"/>
                <a:gd name="T105" fmla="*/ 16 h 122"/>
                <a:gd name="T106" fmla="*/ 80 w 147"/>
                <a:gd name="T107" fmla="*/ 26 h 122"/>
                <a:gd name="T108" fmla="*/ 85 w 147"/>
                <a:gd name="T109" fmla="*/ 33 h 122"/>
                <a:gd name="T110" fmla="*/ 99 w 147"/>
                <a:gd name="T111" fmla="*/ 40 h 122"/>
                <a:gd name="T112" fmla="*/ 109 w 147"/>
                <a:gd name="T113" fmla="*/ 49 h 122"/>
                <a:gd name="T114" fmla="*/ 113 w 147"/>
                <a:gd name="T115" fmla="*/ 70 h 122"/>
                <a:gd name="T116" fmla="*/ 113 w 147"/>
                <a:gd name="T117" fmla="*/ 61 h 122"/>
                <a:gd name="T118" fmla="*/ 121 w 147"/>
                <a:gd name="T119" fmla="*/ 63 h 122"/>
                <a:gd name="T120" fmla="*/ 123 w 147"/>
                <a:gd name="T121" fmla="*/ 80 h 122"/>
                <a:gd name="T122" fmla="*/ 125 w 147"/>
                <a:gd name="T123" fmla="*/ 82 h 1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7"/>
                <a:gd name="T187" fmla="*/ 0 h 122"/>
                <a:gd name="T188" fmla="*/ 147 w 147"/>
                <a:gd name="T189" fmla="*/ 122 h 1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7" h="122">
                  <a:moveTo>
                    <a:pt x="125" y="82"/>
                  </a:moveTo>
                  <a:lnTo>
                    <a:pt x="130" y="87"/>
                  </a:lnTo>
                  <a:lnTo>
                    <a:pt x="132" y="89"/>
                  </a:lnTo>
                  <a:lnTo>
                    <a:pt x="132" y="87"/>
                  </a:lnTo>
                  <a:lnTo>
                    <a:pt x="137" y="87"/>
                  </a:lnTo>
                  <a:lnTo>
                    <a:pt x="137" y="82"/>
                  </a:lnTo>
                  <a:lnTo>
                    <a:pt x="142" y="82"/>
                  </a:lnTo>
                  <a:lnTo>
                    <a:pt x="147" y="87"/>
                  </a:lnTo>
                  <a:lnTo>
                    <a:pt x="142" y="89"/>
                  </a:lnTo>
                  <a:lnTo>
                    <a:pt x="137" y="101"/>
                  </a:lnTo>
                  <a:lnTo>
                    <a:pt x="132" y="96"/>
                  </a:lnTo>
                  <a:lnTo>
                    <a:pt x="125" y="96"/>
                  </a:lnTo>
                  <a:lnTo>
                    <a:pt x="125" y="103"/>
                  </a:lnTo>
                  <a:lnTo>
                    <a:pt x="121" y="106"/>
                  </a:lnTo>
                  <a:lnTo>
                    <a:pt x="116" y="113"/>
                  </a:lnTo>
                  <a:lnTo>
                    <a:pt x="113" y="120"/>
                  </a:lnTo>
                  <a:lnTo>
                    <a:pt x="109" y="120"/>
                  </a:lnTo>
                  <a:lnTo>
                    <a:pt x="104" y="122"/>
                  </a:lnTo>
                  <a:lnTo>
                    <a:pt x="97" y="120"/>
                  </a:lnTo>
                  <a:lnTo>
                    <a:pt x="90" y="118"/>
                  </a:lnTo>
                  <a:lnTo>
                    <a:pt x="83" y="118"/>
                  </a:lnTo>
                  <a:lnTo>
                    <a:pt x="83" y="120"/>
                  </a:lnTo>
                  <a:lnTo>
                    <a:pt x="73" y="118"/>
                  </a:lnTo>
                  <a:lnTo>
                    <a:pt x="69" y="118"/>
                  </a:lnTo>
                  <a:lnTo>
                    <a:pt x="69" y="113"/>
                  </a:lnTo>
                  <a:lnTo>
                    <a:pt x="66" y="111"/>
                  </a:lnTo>
                  <a:lnTo>
                    <a:pt x="64" y="111"/>
                  </a:lnTo>
                  <a:lnTo>
                    <a:pt x="57" y="106"/>
                  </a:lnTo>
                  <a:lnTo>
                    <a:pt x="52" y="103"/>
                  </a:lnTo>
                  <a:lnTo>
                    <a:pt x="50" y="106"/>
                  </a:lnTo>
                  <a:lnTo>
                    <a:pt x="45" y="103"/>
                  </a:lnTo>
                  <a:lnTo>
                    <a:pt x="45" y="101"/>
                  </a:lnTo>
                  <a:lnTo>
                    <a:pt x="43" y="101"/>
                  </a:lnTo>
                  <a:lnTo>
                    <a:pt x="45" y="96"/>
                  </a:lnTo>
                  <a:lnTo>
                    <a:pt x="45" y="94"/>
                  </a:lnTo>
                  <a:lnTo>
                    <a:pt x="43" y="94"/>
                  </a:lnTo>
                  <a:lnTo>
                    <a:pt x="40" y="89"/>
                  </a:lnTo>
                  <a:lnTo>
                    <a:pt x="40" y="101"/>
                  </a:lnTo>
                  <a:lnTo>
                    <a:pt x="35" y="101"/>
                  </a:lnTo>
                  <a:lnTo>
                    <a:pt x="28" y="96"/>
                  </a:lnTo>
                  <a:lnTo>
                    <a:pt x="26" y="94"/>
                  </a:lnTo>
                  <a:lnTo>
                    <a:pt x="24" y="89"/>
                  </a:lnTo>
                  <a:lnTo>
                    <a:pt x="26" y="87"/>
                  </a:lnTo>
                  <a:lnTo>
                    <a:pt x="26" y="82"/>
                  </a:lnTo>
                  <a:lnTo>
                    <a:pt x="17" y="82"/>
                  </a:lnTo>
                  <a:lnTo>
                    <a:pt x="17" y="87"/>
                  </a:lnTo>
                  <a:lnTo>
                    <a:pt x="19" y="87"/>
                  </a:lnTo>
                  <a:lnTo>
                    <a:pt x="19" y="89"/>
                  </a:lnTo>
                  <a:lnTo>
                    <a:pt x="12" y="94"/>
                  </a:lnTo>
                  <a:lnTo>
                    <a:pt x="12" y="89"/>
                  </a:lnTo>
                  <a:lnTo>
                    <a:pt x="10" y="89"/>
                  </a:lnTo>
                  <a:lnTo>
                    <a:pt x="7" y="87"/>
                  </a:lnTo>
                  <a:lnTo>
                    <a:pt x="7" y="82"/>
                  </a:lnTo>
                  <a:lnTo>
                    <a:pt x="2" y="80"/>
                  </a:lnTo>
                  <a:lnTo>
                    <a:pt x="2" y="77"/>
                  </a:lnTo>
                  <a:lnTo>
                    <a:pt x="0" y="77"/>
                  </a:lnTo>
                  <a:lnTo>
                    <a:pt x="2" y="70"/>
                  </a:lnTo>
                  <a:lnTo>
                    <a:pt x="2" y="66"/>
                  </a:lnTo>
                  <a:lnTo>
                    <a:pt x="10" y="63"/>
                  </a:lnTo>
                  <a:lnTo>
                    <a:pt x="12" y="63"/>
                  </a:lnTo>
                  <a:lnTo>
                    <a:pt x="12" y="66"/>
                  </a:lnTo>
                  <a:lnTo>
                    <a:pt x="19" y="66"/>
                  </a:lnTo>
                  <a:lnTo>
                    <a:pt x="26" y="63"/>
                  </a:lnTo>
                  <a:lnTo>
                    <a:pt x="28" y="61"/>
                  </a:lnTo>
                  <a:lnTo>
                    <a:pt x="33" y="54"/>
                  </a:lnTo>
                  <a:lnTo>
                    <a:pt x="35" y="54"/>
                  </a:lnTo>
                  <a:lnTo>
                    <a:pt x="35" y="49"/>
                  </a:lnTo>
                  <a:lnTo>
                    <a:pt x="40" y="49"/>
                  </a:lnTo>
                  <a:lnTo>
                    <a:pt x="35" y="47"/>
                  </a:lnTo>
                  <a:lnTo>
                    <a:pt x="35" y="42"/>
                  </a:lnTo>
                  <a:lnTo>
                    <a:pt x="33" y="42"/>
                  </a:lnTo>
                  <a:lnTo>
                    <a:pt x="33" y="37"/>
                  </a:lnTo>
                  <a:lnTo>
                    <a:pt x="40" y="37"/>
                  </a:lnTo>
                  <a:lnTo>
                    <a:pt x="35" y="37"/>
                  </a:lnTo>
                  <a:lnTo>
                    <a:pt x="33" y="33"/>
                  </a:lnTo>
                  <a:lnTo>
                    <a:pt x="33" y="26"/>
                  </a:lnTo>
                  <a:lnTo>
                    <a:pt x="40" y="26"/>
                  </a:lnTo>
                  <a:lnTo>
                    <a:pt x="40" y="30"/>
                  </a:lnTo>
                  <a:lnTo>
                    <a:pt x="43" y="33"/>
                  </a:lnTo>
                  <a:lnTo>
                    <a:pt x="43" y="37"/>
                  </a:lnTo>
                  <a:lnTo>
                    <a:pt x="50" y="40"/>
                  </a:lnTo>
                  <a:lnTo>
                    <a:pt x="52" y="40"/>
                  </a:lnTo>
                  <a:lnTo>
                    <a:pt x="50" y="37"/>
                  </a:lnTo>
                  <a:lnTo>
                    <a:pt x="45" y="33"/>
                  </a:lnTo>
                  <a:lnTo>
                    <a:pt x="43" y="30"/>
                  </a:lnTo>
                  <a:lnTo>
                    <a:pt x="43" y="26"/>
                  </a:lnTo>
                  <a:lnTo>
                    <a:pt x="40" y="26"/>
                  </a:lnTo>
                  <a:lnTo>
                    <a:pt x="40" y="14"/>
                  </a:lnTo>
                  <a:lnTo>
                    <a:pt x="43" y="14"/>
                  </a:lnTo>
                  <a:lnTo>
                    <a:pt x="43" y="7"/>
                  </a:lnTo>
                  <a:lnTo>
                    <a:pt x="45" y="7"/>
                  </a:lnTo>
                  <a:lnTo>
                    <a:pt x="50" y="4"/>
                  </a:lnTo>
                  <a:lnTo>
                    <a:pt x="50" y="0"/>
                  </a:lnTo>
                  <a:lnTo>
                    <a:pt x="52" y="0"/>
                  </a:lnTo>
                  <a:lnTo>
                    <a:pt x="59" y="4"/>
                  </a:lnTo>
                  <a:lnTo>
                    <a:pt x="59" y="7"/>
                  </a:lnTo>
                  <a:lnTo>
                    <a:pt x="64" y="7"/>
                  </a:lnTo>
                  <a:lnTo>
                    <a:pt x="64" y="9"/>
                  </a:lnTo>
                  <a:lnTo>
                    <a:pt x="69" y="9"/>
                  </a:lnTo>
                  <a:lnTo>
                    <a:pt x="73" y="16"/>
                  </a:lnTo>
                  <a:lnTo>
                    <a:pt x="66" y="16"/>
                  </a:lnTo>
                  <a:lnTo>
                    <a:pt x="66" y="21"/>
                  </a:lnTo>
                  <a:lnTo>
                    <a:pt x="69" y="23"/>
                  </a:lnTo>
                  <a:lnTo>
                    <a:pt x="73" y="21"/>
                  </a:lnTo>
                  <a:lnTo>
                    <a:pt x="73" y="16"/>
                  </a:lnTo>
                  <a:lnTo>
                    <a:pt x="76" y="16"/>
                  </a:lnTo>
                  <a:lnTo>
                    <a:pt x="80" y="23"/>
                  </a:lnTo>
                  <a:lnTo>
                    <a:pt x="80" y="26"/>
                  </a:lnTo>
                  <a:lnTo>
                    <a:pt x="85" y="30"/>
                  </a:lnTo>
                  <a:lnTo>
                    <a:pt x="85" y="33"/>
                  </a:lnTo>
                  <a:lnTo>
                    <a:pt x="97" y="37"/>
                  </a:lnTo>
                  <a:lnTo>
                    <a:pt x="99" y="40"/>
                  </a:lnTo>
                  <a:lnTo>
                    <a:pt x="106" y="42"/>
                  </a:lnTo>
                  <a:lnTo>
                    <a:pt x="109" y="49"/>
                  </a:lnTo>
                  <a:lnTo>
                    <a:pt x="109" y="70"/>
                  </a:lnTo>
                  <a:lnTo>
                    <a:pt x="113" y="70"/>
                  </a:lnTo>
                  <a:lnTo>
                    <a:pt x="113" y="73"/>
                  </a:lnTo>
                  <a:lnTo>
                    <a:pt x="113" y="61"/>
                  </a:lnTo>
                  <a:lnTo>
                    <a:pt x="116" y="54"/>
                  </a:lnTo>
                  <a:lnTo>
                    <a:pt x="121" y="63"/>
                  </a:lnTo>
                  <a:lnTo>
                    <a:pt x="121" y="73"/>
                  </a:lnTo>
                  <a:lnTo>
                    <a:pt x="123" y="80"/>
                  </a:lnTo>
                  <a:lnTo>
                    <a:pt x="125" y="87"/>
                  </a:lnTo>
                  <a:lnTo>
                    <a:pt x="125" y="8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1" name="Freeform 380">
              <a:extLst>
                <a:ext uri="{FF2B5EF4-FFF2-40B4-BE49-F238E27FC236}">
                  <a16:creationId xmlns:a16="http://schemas.microsoft.com/office/drawing/2014/main" id="{68BD4F63-2C2C-4520-9036-2484F842C2A8}"/>
                </a:ext>
              </a:extLst>
            </p:cNvPr>
            <p:cNvSpPr>
              <a:spLocks/>
            </p:cNvSpPr>
            <p:nvPr/>
          </p:nvSpPr>
          <p:spPr bwMode="gray">
            <a:xfrm rot="47099">
              <a:off x="1505525" y="2071286"/>
              <a:ext cx="3255" cy="5579"/>
            </a:xfrm>
            <a:custGeom>
              <a:avLst/>
              <a:gdLst>
                <a:gd name="T0" fmla="*/ 3 w 7"/>
                <a:gd name="T1" fmla="*/ 5 h 12"/>
                <a:gd name="T2" fmla="*/ 3 w 7"/>
                <a:gd name="T3" fmla="*/ 8 h 12"/>
                <a:gd name="T4" fmla="*/ 7 w 7"/>
                <a:gd name="T5" fmla="*/ 8 h 12"/>
                <a:gd name="T6" fmla="*/ 7 w 7"/>
                <a:gd name="T7" fmla="*/ 12 h 12"/>
                <a:gd name="T8" fmla="*/ 7 w 7"/>
                <a:gd name="T9" fmla="*/ 8 h 12"/>
                <a:gd name="T10" fmla="*/ 0 w 7"/>
                <a:gd name="T11" fmla="*/ 8 h 12"/>
                <a:gd name="T12" fmla="*/ 0 w 7"/>
                <a:gd name="T13" fmla="*/ 0 h 12"/>
                <a:gd name="T14" fmla="*/ 3 w 7"/>
                <a:gd name="T15" fmla="*/ 0 h 12"/>
                <a:gd name="T16" fmla="*/ 3 w 7"/>
                <a:gd name="T17" fmla="*/ 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2"/>
                <a:gd name="T29" fmla="*/ 7 w 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2">
                  <a:moveTo>
                    <a:pt x="3" y="5"/>
                  </a:moveTo>
                  <a:lnTo>
                    <a:pt x="3" y="8"/>
                  </a:lnTo>
                  <a:lnTo>
                    <a:pt x="7" y="8"/>
                  </a:lnTo>
                  <a:lnTo>
                    <a:pt x="7" y="12"/>
                  </a:lnTo>
                  <a:lnTo>
                    <a:pt x="7" y="8"/>
                  </a:lnTo>
                  <a:lnTo>
                    <a:pt x="0" y="8"/>
                  </a:lnTo>
                  <a:lnTo>
                    <a:pt x="0" y="0"/>
                  </a:lnTo>
                  <a:lnTo>
                    <a:pt x="3" y="0"/>
                  </a:lnTo>
                  <a:lnTo>
                    <a:pt x="3"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2" name="Freeform 381">
              <a:extLst>
                <a:ext uri="{FF2B5EF4-FFF2-40B4-BE49-F238E27FC236}">
                  <a16:creationId xmlns:a16="http://schemas.microsoft.com/office/drawing/2014/main" id="{DFF53F4C-3FAE-451D-A47F-E568E2CF7664}"/>
                </a:ext>
              </a:extLst>
            </p:cNvPr>
            <p:cNvSpPr>
              <a:spLocks/>
            </p:cNvSpPr>
            <p:nvPr/>
          </p:nvSpPr>
          <p:spPr bwMode="gray">
            <a:xfrm rot="47099">
              <a:off x="1649979" y="2050553"/>
              <a:ext cx="13951" cy="6510"/>
            </a:xfrm>
            <a:custGeom>
              <a:avLst/>
              <a:gdLst>
                <a:gd name="T0" fmla="*/ 4 w 30"/>
                <a:gd name="T1" fmla="*/ 2 h 14"/>
                <a:gd name="T2" fmla="*/ 11 w 30"/>
                <a:gd name="T3" fmla="*/ 2 h 14"/>
                <a:gd name="T4" fmla="*/ 11 w 30"/>
                <a:gd name="T5" fmla="*/ 0 h 14"/>
                <a:gd name="T6" fmla="*/ 7 w 30"/>
                <a:gd name="T7" fmla="*/ 0 h 14"/>
                <a:gd name="T8" fmla="*/ 14 w 30"/>
                <a:gd name="T9" fmla="*/ 0 h 14"/>
                <a:gd name="T10" fmla="*/ 14 w 30"/>
                <a:gd name="T11" fmla="*/ 2 h 14"/>
                <a:gd name="T12" fmla="*/ 21 w 30"/>
                <a:gd name="T13" fmla="*/ 2 h 14"/>
                <a:gd name="T14" fmla="*/ 23 w 30"/>
                <a:gd name="T15" fmla="*/ 0 h 14"/>
                <a:gd name="T16" fmla="*/ 28 w 30"/>
                <a:gd name="T17" fmla="*/ 0 h 14"/>
                <a:gd name="T18" fmla="*/ 28 w 30"/>
                <a:gd name="T19" fmla="*/ 2 h 14"/>
                <a:gd name="T20" fmla="*/ 30 w 30"/>
                <a:gd name="T21" fmla="*/ 2 h 14"/>
                <a:gd name="T22" fmla="*/ 30 w 30"/>
                <a:gd name="T23" fmla="*/ 9 h 14"/>
                <a:gd name="T24" fmla="*/ 28 w 30"/>
                <a:gd name="T25" fmla="*/ 14 h 14"/>
                <a:gd name="T26" fmla="*/ 19 w 30"/>
                <a:gd name="T27" fmla="*/ 14 h 14"/>
                <a:gd name="T28" fmla="*/ 19 w 30"/>
                <a:gd name="T29" fmla="*/ 9 h 14"/>
                <a:gd name="T30" fmla="*/ 14 w 30"/>
                <a:gd name="T31" fmla="*/ 9 h 14"/>
                <a:gd name="T32" fmla="*/ 14 w 30"/>
                <a:gd name="T33" fmla="*/ 14 h 14"/>
                <a:gd name="T34" fmla="*/ 11 w 30"/>
                <a:gd name="T35" fmla="*/ 14 h 14"/>
                <a:gd name="T36" fmla="*/ 11 w 30"/>
                <a:gd name="T37" fmla="*/ 9 h 14"/>
                <a:gd name="T38" fmla="*/ 7 w 30"/>
                <a:gd name="T39" fmla="*/ 9 h 14"/>
                <a:gd name="T40" fmla="*/ 4 w 30"/>
                <a:gd name="T41" fmla="*/ 7 h 14"/>
                <a:gd name="T42" fmla="*/ 0 w 30"/>
                <a:gd name="T43" fmla="*/ 7 h 14"/>
                <a:gd name="T44" fmla="*/ 4 w 30"/>
                <a:gd name="T45" fmla="*/ 2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14"/>
                <a:gd name="T71" fmla="*/ 30 w 30"/>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14">
                  <a:moveTo>
                    <a:pt x="4" y="2"/>
                  </a:moveTo>
                  <a:lnTo>
                    <a:pt x="11" y="2"/>
                  </a:lnTo>
                  <a:lnTo>
                    <a:pt x="11" y="0"/>
                  </a:lnTo>
                  <a:lnTo>
                    <a:pt x="7" y="0"/>
                  </a:lnTo>
                  <a:lnTo>
                    <a:pt x="14" y="0"/>
                  </a:lnTo>
                  <a:lnTo>
                    <a:pt x="14" y="2"/>
                  </a:lnTo>
                  <a:lnTo>
                    <a:pt x="21" y="2"/>
                  </a:lnTo>
                  <a:lnTo>
                    <a:pt x="23" y="0"/>
                  </a:lnTo>
                  <a:lnTo>
                    <a:pt x="28" y="0"/>
                  </a:lnTo>
                  <a:lnTo>
                    <a:pt x="28" y="2"/>
                  </a:lnTo>
                  <a:lnTo>
                    <a:pt x="30" y="2"/>
                  </a:lnTo>
                  <a:lnTo>
                    <a:pt x="30" y="9"/>
                  </a:lnTo>
                  <a:lnTo>
                    <a:pt x="28" y="14"/>
                  </a:lnTo>
                  <a:lnTo>
                    <a:pt x="19" y="14"/>
                  </a:lnTo>
                  <a:lnTo>
                    <a:pt x="19" y="9"/>
                  </a:lnTo>
                  <a:lnTo>
                    <a:pt x="14" y="9"/>
                  </a:lnTo>
                  <a:lnTo>
                    <a:pt x="14" y="14"/>
                  </a:lnTo>
                  <a:lnTo>
                    <a:pt x="11" y="14"/>
                  </a:lnTo>
                  <a:lnTo>
                    <a:pt x="11" y="9"/>
                  </a:lnTo>
                  <a:lnTo>
                    <a:pt x="7" y="9"/>
                  </a:lnTo>
                  <a:lnTo>
                    <a:pt x="4" y="7"/>
                  </a:lnTo>
                  <a:lnTo>
                    <a:pt x="0" y="7"/>
                  </a:lnTo>
                  <a:lnTo>
                    <a:pt x="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3" name="Freeform 382">
              <a:extLst>
                <a:ext uri="{FF2B5EF4-FFF2-40B4-BE49-F238E27FC236}">
                  <a16:creationId xmlns:a16="http://schemas.microsoft.com/office/drawing/2014/main" id="{CADF3FCF-E5D2-4FD5-BD0F-8C4AC7C8FBC0}"/>
                </a:ext>
              </a:extLst>
            </p:cNvPr>
            <p:cNvSpPr>
              <a:spLocks/>
            </p:cNvSpPr>
            <p:nvPr/>
          </p:nvSpPr>
          <p:spPr bwMode="gray">
            <a:xfrm rot="47099">
              <a:off x="1459844" y="2043240"/>
              <a:ext cx="5580" cy="8834"/>
            </a:xfrm>
            <a:custGeom>
              <a:avLst/>
              <a:gdLst>
                <a:gd name="T0" fmla="*/ 5 w 12"/>
                <a:gd name="T1" fmla="*/ 0 h 19"/>
                <a:gd name="T2" fmla="*/ 9 w 12"/>
                <a:gd name="T3" fmla="*/ 3 h 19"/>
                <a:gd name="T4" fmla="*/ 9 w 12"/>
                <a:gd name="T5" fmla="*/ 7 h 19"/>
                <a:gd name="T6" fmla="*/ 12 w 12"/>
                <a:gd name="T7" fmla="*/ 10 h 19"/>
                <a:gd name="T8" fmla="*/ 12 w 12"/>
                <a:gd name="T9" fmla="*/ 19 h 19"/>
                <a:gd name="T10" fmla="*/ 12 w 12"/>
                <a:gd name="T11" fmla="*/ 17 h 19"/>
                <a:gd name="T12" fmla="*/ 5 w 12"/>
                <a:gd name="T13" fmla="*/ 12 h 19"/>
                <a:gd name="T14" fmla="*/ 2 w 12"/>
                <a:gd name="T15" fmla="*/ 10 h 19"/>
                <a:gd name="T16" fmla="*/ 0 w 12"/>
                <a:gd name="T17" fmla="*/ 10 h 19"/>
                <a:gd name="T18" fmla="*/ 0 w 12"/>
                <a:gd name="T19" fmla="*/ 0 h 19"/>
                <a:gd name="T20" fmla="*/ 5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5" y="0"/>
                  </a:moveTo>
                  <a:lnTo>
                    <a:pt x="9" y="3"/>
                  </a:lnTo>
                  <a:lnTo>
                    <a:pt x="9" y="7"/>
                  </a:lnTo>
                  <a:lnTo>
                    <a:pt x="12" y="10"/>
                  </a:lnTo>
                  <a:lnTo>
                    <a:pt x="12" y="19"/>
                  </a:lnTo>
                  <a:lnTo>
                    <a:pt x="12" y="17"/>
                  </a:lnTo>
                  <a:lnTo>
                    <a:pt x="5" y="12"/>
                  </a:lnTo>
                  <a:lnTo>
                    <a:pt x="2" y="10"/>
                  </a:lnTo>
                  <a:lnTo>
                    <a:pt x="0" y="10"/>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4" name="Freeform 383">
              <a:extLst>
                <a:ext uri="{FF2B5EF4-FFF2-40B4-BE49-F238E27FC236}">
                  <a16:creationId xmlns:a16="http://schemas.microsoft.com/office/drawing/2014/main" id="{78EF079B-7A97-4411-99FA-D895365CDB1A}"/>
                </a:ext>
              </a:extLst>
            </p:cNvPr>
            <p:cNvSpPr>
              <a:spLocks/>
            </p:cNvSpPr>
            <p:nvPr/>
          </p:nvSpPr>
          <p:spPr bwMode="gray">
            <a:xfrm rot="47099">
              <a:off x="1845640" y="1956480"/>
              <a:ext cx="9766" cy="11159"/>
            </a:xfrm>
            <a:custGeom>
              <a:avLst/>
              <a:gdLst>
                <a:gd name="T0" fmla="*/ 7 w 21"/>
                <a:gd name="T1" fmla="*/ 5 h 24"/>
                <a:gd name="T2" fmla="*/ 12 w 21"/>
                <a:gd name="T3" fmla="*/ 0 h 24"/>
                <a:gd name="T4" fmla="*/ 14 w 21"/>
                <a:gd name="T5" fmla="*/ 5 h 24"/>
                <a:gd name="T6" fmla="*/ 16 w 21"/>
                <a:gd name="T7" fmla="*/ 0 h 24"/>
                <a:gd name="T8" fmla="*/ 21 w 21"/>
                <a:gd name="T9" fmla="*/ 0 h 24"/>
                <a:gd name="T10" fmla="*/ 21 w 21"/>
                <a:gd name="T11" fmla="*/ 12 h 24"/>
                <a:gd name="T12" fmla="*/ 16 w 21"/>
                <a:gd name="T13" fmla="*/ 14 h 24"/>
                <a:gd name="T14" fmla="*/ 14 w 21"/>
                <a:gd name="T15" fmla="*/ 16 h 24"/>
                <a:gd name="T16" fmla="*/ 12 w 21"/>
                <a:gd name="T17" fmla="*/ 21 h 24"/>
                <a:gd name="T18" fmla="*/ 12 w 21"/>
                <a:gd name="T19" fmla="*/ 24 h 24"/>
                <a:gd name="T20" fmla="*/ 7 w 21"/>
                <a:gd name="T21" fmla="*/ 24 h 24"/>
                <a:gd name="T22" fmla="*/ 0 w 21"/>
                <a:gd name="T23" fmla="*/ 21 h 24"/>
                <a:gd name="T24" fmla="*/ 0 w 21"/>
                <a:gd name="T25" fmla="*/ 16 h 24"/>
                <a:gd name="T26" fmla="*/ 5 w 21"/>
                <a:gd name="T27" fmla="*/ 16 h 24"/>
                <a:gd name="T28" fmla="*/ 5 w 21"/>
                <a:gd name="T29" fmla="*/ 12 h 24"/>
                <a:gd name="T30" fmla="*/ 0 w 21"/>
                <a:gd name="T31" fmla="*/ 7 h 24"/>
                <a:gd name="T32" fmla="*/ 0 w 21"/>
                <a:gd name="T33" fmla="*/ 5 h 24"/>
                <a:gd name="T34" fmla="*/ 5 w 21"/>
                <a:gd name="T35" fmla="*/ 0 h 24"/>
                <a:gd name="T36" fmla="*/ 7 w 21"/>
                <a:gd name="T37" fmla="*/ 5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24"/>
                <a:gd name="T59" fmla="*/ 21 w 21"/>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24">
                  <a:moveTo>
                    <a:pt x="7" y="5"/>
                  </a:moveTo>
                  <a:lnTo>
                    <a:pt x="12" y="0"/>
                  </a:lnTo>
                  <a:lnTo>
                    <a:pt x="14" y="5"/>
                  </a:lnTo>
                  <a:lnTo>
                    <a:pt x="16" y="0"/>
                  </a:lnTo>
                  <a:lnTo>
                    <a:pt x="21" y="0"/>
                  </a:lnTo>
                  <a:lnTo>
                    <a:pt x="21" y="12"/>
                  </a:lnTo>
                  <a:lnTo>
                    <a:pt x="16" y="14"/>
                  </a:lnTo>
                  <a:lnTo>
                    <a:pt x="14" y="16"/>
                  </a:lnTo>
                  <a:lnTo>
                    <a:pt x="12" y="21"/>
                  </a:lnTo>
                  <a:lnTo>
                    <a:pt x="12" y="24"/>
                  </a:lnTo>
                  <a:lnTo>
                    <a:pt x="7" y="24"/>
                  </a:lnTo>
                  <a:lnTo>
                    <a:pt x="0" y="21"/>
                  </a:lnTo>
                  <a:lnTo>
                    <a:pt x="0" y="16"/>
                  </a:lnTo>
                  <a:lnTo>
                    <a:pt x="5" y="16"/>
                  </a:lnTo>
                  <a:lnTo>
                    <a:pt x="5" y="12"/>
                  </a:lnTo>
                  <a:lnTo>
                    <a:pt x="0" y="7"/>
                  </a:lnTo>
                  <a:lnTo>
                    <a:pt x="0" y="5"/>
                  </a:lnTo>
                  <a:lnTo>
                    <a:pt x="5"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5" name="Freeform 384">
              <a:extLst>
                <a:ext uri="{FF2B5EF4-FFF2-40B4-BE49-F238E27FC236}">
                  <a16:creationId xmlns:a16="http://schemas.microsoft.com/office/drawing/2014/main" id="{D4B4EF90-8205-459E-A083-F7B20BE27C71}"/>
                </a:ext>
              </a:extLst>
            </p:cNvPr>
            <p:cNvSpPr>
              <a:spLocks/>
            </p:cNvSpPr>
            <p:nvPr/>
          </p:nvSpPr>
          <p:spPr bwMode="gray">
            <a:xfrm rot="47099">
              <a:off x="1853212" y="1950959"/>
              <a:ext cx="3255" cy="3255"/>
            </a:xfrm>
            <a:custGeom>
              <a:avLst/>
              <a:gdLst>
                <a:gd name="T0" fmla="*/ 7 w 7"/>
                <a:gd name="T1" fmla="*/ 0 h 7"/>
                <a:gd name="T2" fmla="*/ 7 w 7"/>
                <a:gd name="T3" fmla="*/ 2 h 7"/>
                <a:gd name="T4" fmla="*/ 5 w 7"/>
                <a:gd name="T5" fmla="*/ 7 h 7"/>
                <a:gd name="T6" fmla="*/ 0 w 7"/>
                <a:gd name="T7" fmla="*/ 7 h 7"/>
                <a:gd name="T8" fmla="*/ 0 w 7"/>
                <a:gd name="T9" fmla="*/ 2 h 7"/>
                <a:gd name="T10" fmla="*/ 5 w 7"/>
                <a:gd name="T11" fmla="*/ 0 h 7"/>
                <a:gd name="T12" fmla="*/ 7 w 7"/>
                <a:gd name="T13" fmla="*/ 0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7" y="0"/>
                  </a:moveTo>
                  <a:lnTo>
                    <a:pt x="7" y="2"/>
                  </a:lnTo>
                  <a:lnTo>
                    <a:pt x="5" y="7"/>
                  </a:lnTo>
                  <a:lnTo>
                    <a:pt x="0" y="7"/>
                  </a:lnTo>
                  <a:lnTo>
                    <a:pt x="0" y="2"/>
                  </a:lnTo>
                  <a:lnTo>
                    <a:pt x="5"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6" name="Freeform 385">
              <a:extLst>
                <a:ext uri="{FF2B5EF4-FFF2-40B4-BE49-F238E27FC236}">
                  <a16:creationId xmlns:a16="http://schemas.microsoft.com/office/drawing/2014/main" id="{74CB711A-A345-47B5-BB73-8FDD8493C173}"/>
                </a:ext>
              </a:extLst>
            </p:cNvPr>
            <p:cNvSpPr>
              <a:spLocks/>
            </p:cNvSpPr>
            <p:nvPr/>
          </p:nvSpPr>
          <p:spPr bwMode="gray">
            <a:xfrm rot="47099">
              <a:off x="1515109" y="2017939"/>
              <a:ext cx="3255" cy="3255"/>
            </a:xfrm>
            <a:custGeom>
              <a:avLst/>
              <a:gdLst>
                <a:gd name="T0" fmla="*/ 0 w 7"/>
                <a:gd name="T1" fmla="*/ 0 h 7"/>
                <a:gd name="T2" fmla="*/ 5 w 7"/>
                <a:gd name="T3" fmla="*/ 0 h 7"/>
                <a:gd name="T4" fmla="*/ 7 w 7"/>
                <a:gd name="T5" fmla="*/ 2 h 7"/>
                <a:gd name="T6" fmla="*/ 5 w 7"/>
                <a:gd name="T7" fmla="*/ 7 h 7"/>
                <a:gd name="T8" fmla="*/ 0 w 7"/>
                <a:gd name="T9" fmla="*/ 7 h 7"/>
                <a:gd name="T10" fmla="*/ 0 w 7"/>
                <a:gd name="T11" fmla="*/ 0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0" y="0"/>
                  </a:moveTo>
                  <a:lnTo>
                    <a:pt x="5" y="0"/>
                  </a:lnTo>
                  <a:lnTo>
                    <a:pt x="7" y="2"/>
                  </a:lnTo>
                  <a:lnTo>
                    <a:pt x="5" y="7"/>
                  </a:lnTo>
                  <a:lnTo>
                    <a:pt x="0" y="7"/>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7" name="Freeform 386">
              <a:extLst>
                <a:ext uri="{FF2B5EF4-FFF2-40B4-BE49-F238E27FC236}">
                  <a16:creationId xmlns:a16="http://schemas.microsoft.com/office/drawing/2014/main" id="{98B899D3-7CA6-4D31-BA4F-F4E03641C7D8}"/>
                </a:ext>
              </a:extLst>
            </p:cNvPr>
            <p:cNvSpPr>
              <a:spLocks/>
            </p:cNvSpPr>
            <p:nvPr/>
          </p:nvSpPr>
          <p:spPr bwMode="gray">
            <a:xfrm rot="47099">
              <a:off x="1819294" y="1944958"/>
              <a:ext cx="9766" cy="10230"/>
            </a:xfrm>
            <a:custGeom>
              <a:avLst/>
              <a:gdLst>
                <a:gd name="T0" fmla="*/ 17 w 21"/>
                <a:gd name="T1" fmla="*/ 22 h 22"/>
                <a:gd name="T2" fmla="*/ 14 w 21"/>
                <a:gd name="T3" fmla="*/ 19 h 22"/>
                <a:gd name="T4" fmla="*/ 10 w 21"/>
                <a:gd name="T5" fmla="*/ 19 h 22"/>
                <a:gd name="T6" fmla="*/ 10 w 21"/>
                <a:gd name="T7" fmla="*/ 14 h 22"/>
                <a:gd name="T8" fmla="*/ 7 w 21"/>
                <a:gd name="T9" fmla="*/ 12 h 22"/>
                <a:gd name="T10" fmla="*/ 5 w 21"/>
                <a:gd name="T11" fmla="*/ 7 h 22"/>
                <a:gd name="T12" fmla="*/ 0 w 21"/>
                <a:gd name="T13" fmla="*/ 5 h 22"/>
                <a:gd name="T14" fmla="*/ 5 w 21"/>
                <a:gd name="T15" fmla="*/ 5 h 22"/>
                <a:gd name="T16" fmla="*/ 5 w 21"/>
                <a:gd name="T17" fmla="*/ 0 h 22"/>
                <a:gd name="T18" fmla="*/ 10 w 21"/>
                <a:gd name="T19" fmla="*/ 0 h 22"/>
                <a:gd name="T20" fmla="*/ 10 w 21"/>
                <a:gd name="T21" fmla="*/ 7 h 22"/>
                <a:gd name="T22" fmla="*/ 14 w 21"/>
                <a:gd name="T23" fmla="*/ 5 h 22"/>
                <a:gd name="T24" fmla="*/ 14 w 21"/>
                <a:gd name="T25" fmla="*/ 0 h 22"/>
                <a:gd name="T26" fmla="*/ 21 w 21"/>
                <a:gd name="T27" fmla="*/ 5 h 22"/>
                <a:gd name="T28" fmla="*/ 21 w 21"/>
                <a:gd name="T29" fmla="*/ 7 h 22"/>
                <a:gd name="T30" fmla="*/ 17 w 21"/>
                <a:gd name="T31" fmla="*/ 7 h 22"/>
                <a:gd name="T32" fmla="*/ 17 w 21"/>
                <a:gd name="T33" fmla="*/ 14 h 22"/>
                <a:gd name="T34" fmla="*/ 21 w 21"/>
                <a:gd name="T35" fmla="*/ 19 h 22"/>
                <a:gd name="T36" fmla="*/ 21 w 21"/>
                <a:gd name="T37" fmla="*/ 22 h 22"/>
                <a:gd name="T38" fmla="*/ 17 w 21"/>
                <a:gd name="T39" fmla="*/ 22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22"/>
                <a:gd name="T62" fmla="*/ 21 w 21"/>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22">
                  <a:moveTo>
                    <a:pt x="17" y="22"/>
                  </a:moveTo>
                  <a:lnTo>
                    <a:pt x="14" y="19"/>
                  </a:lnTo>
                  <a:lnTo>
                    <a:pt x="10" y="19"/>
                  </a:lnTo>
                  <a:lnTo>
                    <a:pt x="10" y="14"/>
                  </a:lnTo>
                  <a:lnTo>
                    <a:pt x="7" y="12"/>
                  </a:lnTo>
                  <a:lnTo>
                    <a:pt x="5" y="7"/>
                  </a:lnTo>
                  <a:lnTo>
                    <a:pt x="0" y="5"/>
                  </a:lnTo>
                  <a:lnTo>
                    <a:pt x="5" y="5"/>
                  </a:lnTo>
                  <a:lnTo>
                    <a:pt x="5" y="0"/>
                  </a:lnTo>
                  <a:lnTo>
                    <a:pt x="10" y="0"/>
                  </a:lnTo>
                  <a:lnTo>
                    <a:pt x="10" y="7"/>
                  </a:lnTo>
                  <a:lnTo>
                    <a:pt x="14" y="5"/>
                  </a:lnTo>
                  <a:lnTo>
                    <a:pt x="14" y="0"/>
                  </a:lnTo>
                  <a:lnTo>
                    <a:pt x="21" y="5"/>
                  </a:lnTo>
                  <a:lnTo>
                    <a:pt x="21" y="7"/>
                  </a:lnTo>
                  <a:lnTo>
                    <a:pt x="17" y="7"/>
                  </a:lnTo>
                  <a:lnTo>
                    <a:pt x="17" y="14"/>
                  </a:lnTo>
                  <a:lnTo>
                    <a:pt x="21" y="19"/>
                  </a:lnTo>
                  <a:lnTo>
                    <a:pt x="21" y="22"/>
                  </a:lnTo>
                  <a:lnTo>
                    <a:pt x="17" y="2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8" name="Freeform 387">
              <a:extLst>
                <a:ext uri="{FF2B5EF4-FFF2-40B4-BE49-F238E27FC236}">
                  <a16:creationId xmlns:a16="http://schemas.microsoft.com/office/drawing/2014/main" id="{909C4F20-1598-42DF-910F-2ABE76DD5FFE}"/>
                </a:ext>
              </a:extLst>
            </p:cNvPr>
            <p:cNvSpPr>
              <a:spLocks/>
            </p:cNvSpPr>
            <p:nvPr/>
          </p:nvSpPr>
          <p:spPr bwMode="gray">
            <a:xfrm rot="47099">
              <a:off x="1822658" y="1939389"/>
              <a:ext cx="4651" cy="5579"/>
            </a:xfrm>
            <a:custGeom>
              <a:avLst/>
              <a:gdLst>
                <a:gd name="T0" fmla="*/ 3 w 10"/>
                <a:gd name="T1" fmla="*/ 3 h 12"/>
                <a:gd name="T2" fmla="*/ 3 w 10"/>
                <a:gd name="T3" fmla="*/ 0 h 12"/>
                <a:gd name="T4" fmla="*/ 10 w 10"/>
                <a:gd name="T5" fmla="*/ 0 h 12"/>
                <a:gd name="T6" fmla="*/ 10 w 10"/>
                <a:gd name="T7" fmla="*/ 12 h 12"/>
                <a:gd name="T8" fmla="*/ 7 w 10"/>
                <a:gd name="T9" fmla="*/ 12 h 12"/>
                <a:gd name="T10" fmla="*/ 7 w 10"/>
                <a:gd name="T11" fmla="*/ 10 h 12"/>
                <a:gd name="T12" fmla="*/ 0 w 10"/>
                <a:gd name="T13" fmla="*/ 10 h 12"/>
                <a:gd name="T14" fmla="*/ 0 w 10"/>
                <a:gd name="T15" fmla="*/ 3 h 12"/>
                <a:gd name="T16" fmla="*/ 3 w 10"/>
                <a:gd name="T17" fmla="*/ 3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2"/>
                <a:gd name="T29" fmla="*/ 10 w 10"/>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2">
                  <a:moveTo>
                    <a:pt x="3" y="3"/>
                  </a:moveTo>
                  <a:lnTo>
                    <a:pt x="3" y="0"/>
                  </a:lnTo>
                  <a:lnTo>
                    <a:pt x="10" y="0"/>
                  </a:lnTo>
                  <a:lnTo>
                    <a:pt x="10" y="12"/>
                  </a:lnTo>
                  <a:lnTo>
                    <a:pt x="7" y="12"/>
                  </a:lnTo>
                  <a:lnTo>
                    <a:pt x="7" y="10"/>
                  </a:lnTo>
                  <a:lnTo>
                    <a:pt x="0" y="10"/>
                  </a:lnTo>
                  <a:lnTo>
                    <a:pt x="0" y="3"/>
                  </a:lnTo>
                  <a:lnTo>
                    <a:pt x="3"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299" name="Freeform 388">
              <a:extLst>
                <a:ext uri="{FF2B5EF4-FFF2-40B4-BE49-F238E27FC236}">
                  <a16:creationId xmlns:a16="http://schemas.microsoft.com/office/drawing/2014/main" id="{ACDFE78A-F246-419D-BB97-24ADFA27965C}"/>
                </a:ext>
              </a:extLst>
            </p:cNvPr>
            <p:cNvSpPr>
              <a:spLocks/>
            </p:cNvSpPr>
            <p:nvPr/>
          </p:nvSpPr>
          <p:spPr bwMode="gray">
            <a:xfrm rot="47099">
              <a:off x="1818448" y="1940701"/>
              <a:ext cx="930" cy="6510"/>
            </a:xfrm>
            <a:custGeom>
              <a:avLst/>
              <a:gdLst>
                <a:gd name="T0" fmla="*/ 2 w 2"/>
                <a:gd name="T1" fmla="*/ 0 h 14"/>
                <a:gd name="T2" fmla="*/ 2 w 2"/>
                <a:gd name="T3" fmla="*/ 14 h 14"/>
                <a:gd name="T4" fmla="*/ 0 w 2"/>
                <a:gd name="T5" fmla="*/ 9 h 14"/>
                <a:gd name="T6" fmla="*/ 0 w 2"/>
                <a:gd name="T7" fmla="*/ 0 h 14"/>
                <a:gd name="T8" fmla="*/ 2 w 2"/>
                <a:gd name="T9" fmla="*/ 0 h 14"/>
                <a:gd name="T10" fmla="*/ 0 60000 65536"/>
                <a:gd name="T11" fmla="*/ 0 60000 65536"/>
                <a:gd name="T12" fmla="*/ 0 60000 65536"/>
                <a:gd name="T13" fmla="*/ 0 60000 65536"/>
                <a:gd name="T14" fmla="*/ 0 60000 65536"/>
                <a:gd name="T15" fmla="*/ 0 w 2"/>
                <a:gd name="T16" fmla="*/ 0 h 14"/>
                <a:gd name="T17" fmla="*/ 2 w 2"/>
                <a:gd name="T18" fmla="*/ 14 h 14"/>
              </a:gdLst>
              <a:ahLst/>
              <a:cxnLst>
                <a:cxn ang="T10">
                  <a:pos x="T0" y="T1"/>
                </a:cxn>
                <a:cxn ang="T11">
                  <a:pos x="T2" y="T3"/>
                </a:cxn>
                <a:cxn ang="T12">
                  <a:pos x="T4" y="T5"/>
                </a:cxn>
                <a:cxn ang="T13">
                  <a:pos x="T6" y="T7"/>
                </a:cxn>
                <a:cxn ang="T14">
                  <a:pos x="T8" y="T9"/>
                </a:cxn>
              </a:cxnLst>
              <a:rect l="T15" t="T16" r="T17" b="T18"/>
              <a:pathLst>
                <a:path w="2" h="14">
                  <a:moveTo>
                    <a:pt x="2" y="0"/>
                  </a:moveTo>
                  <a:lnTo>
                    <a:pt x="2" y="14"/>
                  </a:lnTo>
                  <a:lnTo>
                    <a:pt x="0" y="9"/>
                  </a:lnTo>
                  <a:lnTo>
                    <a:pt x="0" y="0"/>
                  </a:lnTo>
                  <a:lnTo>
                    <a:pt x="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0" name="Freeform 389">
              <a:extLst>
                <a:ext uri="{FF2B5EF4-FFF2-40B4-BE49-F238E27FC236}">
                  <a16:creationId xmlns:a16="http://schemas.microsoft.com/office/drawing/2014/main" id="{BCC4D864-FBC7-4A8E-9CEB-645282A7B34F}"/>
                </a:ext>
              </a:extLst>
            </p:cNvPr>
            <p:cNvSpPr>
              <a:spLocks/>
            </p:cNvSpPr>
            <p:nvPr/>
          </p:nvSpPr>
          <p:spPr bwMode="gray">
            <a:xfrm rot="47099">
              <a:off x="1529833" y="1994890"/>
              <a:ext cx="3255" cy="4649"/>
            </a:xfrm>
            <a:custGeom>
              <a:avLst/>
              <a:gdLst>
                <a:gd name="T0" fmla="*/ 5 w 7"/>
                <a:gd name="T1" fmla="*/ 0 h 10"/>
                <a:gd name="T2" fmla="*/ 7 w 7"/>
                <a:gd name="T3" fmla="*/ 0 h 10"/>
                <a:gd name="T4" fmla="*/ 7 w 7"/>
                <a:gd name="T5" fmla="*/ 10 h 10"/>
                <a:gd name="T6" fmla="*/ 0 w 7"/>
                <a:gd name="T7" fmla="*/ 10 h 10"/>
                <a:gd name="T8" fmla="*/ 0 w 7"/>
                <a:gd name="T9" fmla="*/ 0 h 10"/>
                <a:gd name="T10" fmla="*/ 5 w 7"/>
                <a:gd name="T11" fmla="*/ 0 h 10"/>
                <a:gd name="T12" fmla="*/ 0 60000 65536"/>
                <a:gd name="T13" fmla="*/ 0 60000 65536"/>
                <a:gd name="T14" fmla="*/ 0 60000 65536"/>
                <a:gd name="T15" fmla="*/ 0 60000 65536"/>
                <a:gd name="T16" fmla="*/ 0 60000 65536"/>
                <a:gd name="T17" fmla="*/ 0 60000 65536"/>
                <a:gd name="T18" fmla="*/ 0 w 7"/>
                <a:gd name="T19" fmla="*/ 0 h 10"/>
                <a:gd name="T20" fmla="*/ 7 w 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7" h="10">
                  <a:moveTo>
                    <a:pt x="5" y="0"/>
                  </a:moveTo>
                  <a:lnTo>
                    <a:pt x="7" y="0"/>
                  </a:lnTo>
                  <a:lnTo>
                    <a:pt x="7" y="10"/>
                  </a:lnTo>
                  <a:lnTo>
                    <a:pt x="0" y="10"/>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1" name="Freeform 390">
              <a:extLst>
                <a:ext uri="{FF2B5EF4-FFF2-40B4-BE49-F238E27FC236}">
                  <a16:creationId xmlns:a16="http://schemas.microsoft.com/office/drawing/2014/main" id="{973C0E7D-9626-41B7-A339-AF1EDD31F39F}"/>
                </a:ext>
              </a:extLst>
            </p:cNvPr>
            <p:cNvSpPr>
              <a:spLocks/>
            </p:cNvSpPr>
            <p:nvPr/>
          </p:nvSpPr>
          <p:spPr bwMode="gray">
            <a:xfrm rot="47099">
              <a:off x="1516177" y="1987602"/>
              <a:ext cx="254842" cy="249229"/>
            </a:xfrm>
            <a:custGeom>
              <a:avLst/>
              <a:gdLst>
                <a:gd name="T0" fmla="*/ 35 w 548"/>
                <a:gd name="T1" fmla="*/ 451 h 536"/>
                <a:gd name="T2" fmla="*/ 40 w 548"/>
                <a:gd name="T3" fmla="*/ 456 h 536"/>
                <a:gd name="T4" fmla="*/ 64 w 548"/>
                <a:gd name="T5" fmla="*/ 411 h 536"/>
                <a:gd name="T6" fmla="*/ 66 w 548"/>
                <a:gd name="T7" fmla="*/ 345 h 536"/>
                <a:gd name="T8" fmla="*/ 111 w 548"/>
                <a:gd name="T9" fmla="*/ 303 h 536"/>
                <a:gd name="T10" fmla="*/ 92 w 548"/>
                <a:gd name="T11" fmla="*/ 274 h 536"/>
                <a:gd name="T12" fmla="*/ 87 w 548"/>
                <a:gd name="T13" fmla="*/ 258 h 536"/>
                <a:gd name="T14" fmla="*/ 97 w 548"/>
                <a:gd name="T15" fmla="*/ 239 h 536"/>
                <a:gd name="T16" fmla="*/ 90 w 548"/>
                <a:gd name="T17" fmla="*/ 225 h 536"/>
                <a:gd name="T18" fmla="*/ 64 w 548"/>
                <a:gd name="T19" fmla="*/ 215 h 536"/>
                <a:gd name="T20" fmla="*/ 19 w 548"/>
                <a:gd name="T21" fmla="*/ 184 h 536"/>
                <a:gd name="T22" fmla="*/ 16 w 548"/>
                <a:gd name="T23" fmla="*/ 128 h 536"/>
                <a:gd name="T24" fmla="*/ 14 w 548"/>
                <a:gd name="T25" fmla="*/ 125 h 536"/>
                <a:gd name="T26" fmla="*/ 0 w 548"/>
                <a:gd name="T27" fmla="*/ 85 h 536"/>
                <a:gd name="T28" fmla="*/ 19 w 548"/>
                <a:gd name="T29" fmla="*/ 62 h 536"/>
                <a:gd name="T30" fmla="*/ 23 w 548"/>
                <a:gd name="T31" fmla="*/ 36 h 536"/>
                <a:gd name="T32" fmla="*/ 33 w 548"/>
                <a:gd name="T33" fmla="*/ 7 h 536"/>
                <a:gd name="T34" fmla="*/ 57 w 548"/>
                <a:gd name="T35" fmla="*/ 19 h 536"/>
                <a:gd name="T36" fmla="*/ 75 w 548"/>
                <a:gd name="T37" fmla="*/ 29 h 536"/>
                <a:gd name="T38" fmla="*/ 104 w 548"/>
                <a:gd name="T39" fmla="*/ 62 h 536"/>
                <a:gd name="T40" fmla="*/ 132 w 548"/>
                <a:gd name="T41" fmla="*/ 118 h 536"/>
                <a:gd name="T42" fmla="*/ 160 w 548"/>
                <a:gd name="T43" fmla="*/ 151 h 536"/>
                <a:gd name="T44" fmla="*/ 144 w 548"/>
                <a:gd name="T45" fmla="*/ 173 h 536"/>
                <a:gd name="T46" fmla="*/ 130 w 548"/>
                <a:gd name="T47" fmla="*/ 199 h 536"/>
                <a:gd name="T48" fmla="*/ 177 w 548"/>
                <a:gd name="T49" fmla="*/ 196 h 536"/>
                <a:gd name="T50" fmla="*/ 201 w 548"/>
                <a:gd name="T51" fmla="*/ 206 h 536"/>
                <a:gd name="T52" fmla="*/ 184 w 548"/>
                <a:gd name="T53" fmla="*/ 229 h 536"/>
                <a:gd name="T54" fmla="*/ 208 w 548"/>
                <a:gd name="T55" fmla="*/ 258 h 536"/>
                <a:gd name="T56" fmla="*/ 212 w 548"/>
                <a:gd name="T57" fmla="*/ 298 h 536"/>
                <a:gd name="T58" fmla="*/ 234 w 548"/>
                <a:gd name="T59" fmla="*/ 272 h 536"/>
                <a:gd name="T60" fmla="*/ 250 w 548"/>
                <a:gd name="T61" fmla="*/ 218 h 536"/>
                <a:gd name="T62" fmla="*/ 290 w 548"/>
                <a:gd name="T63" fmla="*/ 255 h 536"/>
                <a:gd name="T64" fmla="*/ 297 w 548"/>
                <a:gd name="T65" fmla="*/ 305 h 536"/>
                <a:gd name="T66" fmla="*/ 305 w 548"/>
                <a:gd name="T67" fmla="*/ 352 h 536"/>
                <a:gd name="T68" fmla="*/ 338 w 548"/>
                <a:gd name="T69" fmla="*/ 399 h 536"/>
                <a:gd name="T70" fmla="*/ 366 w 548"/>
                <a:gd name="T71" fmla="*/ 371 h 536"/>
                <a:gd name="T72" fmla="*/ 371 w 548"/>
                <a:gd name="T73" fmla="*/ 295 h 536"/>
                <a:gd name="T74" fmla="*/ 378 w 548"/>
                <a:gd name="T75" fmla="*/ 241 h 536"/>
                <a:gd name="T76" fmla="*/ 385 w 548"/>
                <a:gd name="T77" fmla="*/ 225 h 536"/>
                <a:gd name="T78" fmla="*/ 380 w 548"/>
                <a:gd name="T79" fmla="*/ 206 h 536"/>
                <a:gd name="T80" fmla="*/ 364 w 548"/>
                <a:gd name="T81" fmla="*/ 189 h 536"/>
                <a:gd name="T82" fmla="*/ 347 w 548"/>
                <a:gd name="T83" fmla="*/ 151 h 536"/>
                <a:gd name="T84" fmla="*/ 387 w 548"/>
                <a:gd name="T85" fmla="*/ 142 h 536"/>
                <a:gd name="T86" fmla="*/ 453 w 548"/>
                <a:gd name="T87" fmla="*/ 149 h 536"/>
                <a:gd name="T88" fmla="*/ 463 w 548"/>
                <a:gd name="T89" fmla="*/ 177 h 536"/>
                <a:gd name="T90" fmla="*/ 498 w 548"/>
                <a:gd name="T91" fmla="*/ 182 h 536"/>
                <a:gd name="T92" fmla="*/ 491 w 548"/>
                <a:gd name="T93" fmla="*/ 201 h 536"/>
                <a:gd name="T94" fmla="*/ 491 w 548"/>
                <a:gd name="T95" fmla="*/ 241 h 536"/>
                <a:gd name="T96" fmla="*/ 484 w 548"/>
                <a:gd name="T97" fmla="*/ 255 h 536"/>
                <a:gd name="T98" fmla="*/ 498 w 548"/>
                <a:gd name="T99" fmla="*/ 265 h 536"/>
                <a:gd name="T100" fmla="*/ 531 w 548"/>
                <a:gd name="T101" fmla="*/ 310 h 536"/>
                <a:gd name="T102" fmla="*/ 531 w 548"/>
                <a:gd name="T103" fmla="*/ 376 h 536"/>
                <a:gd name="T104" fmla="*/ 491 w 548"/>
                <a:gd name="T105" fmla="*/ 435 h 536"/>
                <a:gd name="T106" fmla="*/ 470 w 548"/>
                <a:gd name="T107" fmla="*/ 409 h 536"/>
                <a:gd name="T108" fmla="*/ 430 w 548"/>
                <a:gd name="T109" fmla="*/ 392 h 536"/>
                <a:gd name="T110" fmla="*/ 430 w 548"/>
                <a:gd name="T111" fmla="*/ 399 h 536"/>
                <a:gd name="T112" fmla="*/ 442 w 548"/>
                <a:gd name="T113" fmla="*/ 402 h 536"/>
                <a:gd name="T114" fmla="*/ 486 w 548"/>
                <a:gd name="T115" fmla="*/ 447 h 536"/>
                <a:gd name="T116" fmla="*/ 458 w 548"/>
                <a:gd name="T117" fmla="*/ 440 h 536"/>
                <a:gd name="T118" fmla="*/ 444 w 548"/>
                <a:gd name="T119" fmla="*/ 456 h 536"/>
                <a:gd name="T120" fmla="*/ 418 w 548"/>
                <a:gd name="T121" fmla="*/ 432 h 536"/>
                <a:gd name="T122" fmla="*/ 378 w 548"/>
                <a:gd name="T123" fmla="*/ 449 h 536"/>
                <a:gd name="T124" fmla="*/ 404 w 548"/>
                <a:gd name="T125" fmla="*/ 492 h 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8"/>
                <a:gd name="T190" fmla="*/ 0 h 536"/>
                <a:gd name="T191" fmla="*/ 548 w 548"/>
                <a:gd name="T192" fmla="*/ 536 h 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8" h="536">
                  <a:moveTo>
                    <a:pt x="40" y="435"/>
                  </a:moveTo>
                  <a:lnTo>
                    <a:pt x="40" y="440"/>
                  </a:lnTo>
                  <a:lnTo>
                    <a:pt x="35" y="442"/>
                  </a:lnTo>
                  <a:lnTo>
                    <a:pt x="40" y="442"/>
                  </a:lnTo>
                  <a:lnTo>
                    <a:pt x="35" y="447"/>
                  </a:lnTo>
                  <a:lnTo>
                    <a:pt x="31" y="442"/>
                  </a:lnTo>
                  <a:lnTo>
                    <a:pt x="31" y="435"/>
                  </a:lnTo>
                  <a:lnTo>
                    <a:pt x="23" y="435"/>
                  </a:lnTo>
                  <a:lnTo>
                    <a:pt x="26" y="442"/>
                  </a:lnTo>
                  <a:lnTo>
                    <a:pt x="31" y="447"/>
                  </a:lnTo>
                  <a:lnTo>
                    <a:pt x="35" y="451"/>
                  </a:lnTo>
                  <a:lnTo>
                    <a:pt x="35" y="456"/>
                  </a:lnTo>
                  <a:lnTo>
                    <a:pt x="40" y="458"/>
                  </a:lnTo>
                  <a:lnTo>
                    <a:pt x="42" y="458"/>
                  </a:lnTo>
                  <a:lnTo>
                    <a:pt x="42" y="463"/>
                  </a:lnTo>
                  <a:lnTo>
                    <a:pt x="47" y="463"/>
                  </a:lnTo>
                  <a:lnTo>
                    <a:pt x="49" y="468"/>
                  </a:lnTo>
                  <a:lnTo>
                    <a:pt x="49" y="473"/>
                  </a:lnTo>
                  <a:lnTo>
                    <a:pt x="52" y="468"/>
                  </a:lnTo>
                  <a:lnTo>
                    <a:pt x="52" y="466"/>
                  </a:lnTo>
                  <a:lnTo>
                    <a:pt x="49" y="463"/>
                  </a:lnTo>
                  <a:lnTo>
                    <a:pt x="40" y="456"/>
                  </a:lnTo>
                  <a:lnTo>
                    <a:pt x="35" y="449"/>
                  </a:lnTo>
                  <a:lnTo>
                    <a:pt x="35" y="447"/>
                  </a:lnTo>
                  <a:lnTo>
                    <a:pt x="47" y="447"/>
                  </a:lnTo>
                  <a:lnTo>
                    <a:pt x="49" y="449"/>
                  </a:lnTo>
                  <a:lnTo>
                    <a:pt x="66" y="449"/>
                  </a:lnTo>
                  <a:lnTo>
                    <a:pt x="66" y="442"/>
                  </a:lnTo>
                  <a:lnTo>
                    <a:pt x="64" y="440"/>
                  </a:lnTo>
                  <a:lnTo>
                    <a:pt x="64" y="423"/>
                  </a:lnTo>
                  <a:lnTo>
                    <a:pt x="66" y="416"/>
                  </a:lnTo>
                  <a:lnTo>
                    <a:pt x="66" y="411"/>
                  </a:lnTo>
                  <a:lnTo>
                    <a:pt x="64" y="411"/>
                  </a:lnTo>
                  <a:lnTo>
                    <a:pt x="59" y="409"/>
                  </a:lnTo>
                  <a:lnTo>
                    <a:pt x="59" y="392"/>
                  </a:lnTo>
                  <a:lnTo>
                    <a:pt x="52" y="385"/>
                  </a:lnTo>
                  <a:lnTo>
                    <a:pt x="52" y="383"/>
                  </a:lnTo>
                  <a:lnTo>
                    <a:pt x="47" y="378"/>
                  </a:lnTo>
                  <a:lnTo>
                    <a:pt x="47" y="371"/>
                  </a:lnTo>
                  <a:lnTo>
                    <a:pt x="49" y="371"/>
                  </a:lnTo>
                  <a:lnTo>
                    <a:pt x="49" y="366"/>
                  </a:lnTo>
                  <a:lnTo>
                    <a:pt x="52" y="355"/>
                  </a:lnTo>
                  <a:lnTo>
                    <a:pt x="52" y="345"/>
                  </a:lnTo>
                  <a:lnTo>
                    <a:pt x="66" y="345"/>
                  </a:lnTo>
                  <a:lnTo>
                    <a:pt x="66" y="350"/>
                  </a:lnTo>
                  <a:lnTo>
                    <a:pt x="75" y="350"/>
                  </a:lnTo>
                  <a:lnTo>
                    <a:pt x="75" y="345"/>
                  </a:lnTo>
                  <a:lnTo>
                    <a:pt x="80" y="338"/>
                  </a:lnTo>
                  <a:lnTo>
                    <a:pt x="87" y="331"/>
                  </a:lnTo>
                  <a:lnTo>
                    <a:pt x="92" y="326"/>
                  </a:lnTo>
                  <a:lnTo>
                    <a:pt x="92" y="312"/>
                  </a:lnTo>
                  <a:lnTo>
                    <a:pt x="97" y="310"/>
                  </a:lnTo>
                  <a:lnTo>
                    <a:pt x="104" y="310"/>
                  </a:lnTo>
                  <a:lnTo>
                    <a:pt x="104" y="305"/>
                  </a:lnTo>
                  <a:lnTo>
                    <a:pt x="111" y="303"/>
                  </a:lnTo>
                  <a:lnTo>
                    <a:pt x="113" y="295"/>
                  </a:lnTo>
                  <a:lnTo>
                    <a:pt x="111" y="295"/>
                  </a:lnTo>
                  <a:lnTo>
                    <a:pt x="111" y="293"/>
                  </a:lnTo>
                  <a:lnTo>
                    <a:pt x="106" y="293"/>
                  </a:lnTo>
                  <a:lnTo>
                    <a:pt x="106" y="279"/>
                  </a:lnTo>
                  <a:lnTo>
                    <a:pt x="111" y="274"/>
                  </a:lnTo>
                  <a:lnTo>
                    <a:pt x="106" y="265"/>
                  </a:lnTo>
                  <a:lnTo>
                    <a:pt x="104" y="262"/>
                  </a:lnTo>
                  <a:lnTo>
                    <a:pt x="97" y="265"/>
                  </a:lnTo>
                  <a:lnTo>
                    <a:pt x="92" y="269"/>
                  </a:lnTo>
                  <a:lnTo>
                    <a:pt x="92" y="274"/>
                  </a:lnTo>
                  <a:lnTo>
                    <a:pt x="97" y="274"/>
                  </a:lnTo>
                  <a:lnTo>
                    <a:pt x="99" y="272"/>
                  </a:lnTo>
                  <a:lnTo>
                    <a:pt x="97" y="279"/>
                  </a:lnTo>
                  <a:lnTo>
                    <a:pt x="92" y="281"/>
                  </a:lnTo>
                  <a:lnTo>
                    <a:pt x="90" y="286"/>
                  </a:lnTo>
                  <a:lnTo>
                    <a:pt x="75" y="286"/>
                  </a:lnTo>
                  <a:lnTo>
                    <a:pt x="75" y="272"/>
                  </a:lnTo>
                  <a:lnTo>
                    <a:pt x="73" y="265"/>
                  </a:lnTo>
                  <a:lnTo>
                    <a:pt x="75" y="265"/>
                  </a:lnTo>
                  <a:lnTo>
                    <a:pt x="80" y="262"/>
                  </a:lnTo>
                  <a:lnTo>
                    <a:pt x="87" y="258"/>
                  </a:lnTo>
                  <a:lnTo>
                    <a:pt x="90" y="253"/>
                  </a:lnTo>
                  <a:lnTo>
                    <a:pt x="83" y="253"/>
                  </a:lnTo>
                  <a:lnTo>
                    <a:pt x="83" y="248"/>
                  </a:lnTo>
                  <a:lnTo>
                    <a:pt x="80" y="234"/>
                  </a:lnTo>
                  <a:lnTo>
                    <a:pt x="83" y="234"/>
                  </a:lnTo>
                  <a:lnTo>
                    <a:pt x="87" y="232"/>
                  </a:lnTo>
                  <a:lnTo>
                    <a:pt x="92" y="232"/>
                  </a:lnTo>
                  <a:lnTo>
                    <a:pt x="99" y="225"/>
                  </a:lnTo>
                  <a:lnTo>
                    <a:pt x="104" y="222"/>
                  </a:lnTo>
                  <a:lnTo>
                    <a:pt x="99" y="232"/>
                  </a:lnTo>
                  <a:lnTo>
                    <a:pt x="97" y="239"/>
                  </a:lnTo>
                  <a:lnTo>
                    <a:pt x="97" y="246"/>
                  </a:lnTo>
                  <a:lnTo>
                    <a:pt x="104" y="239"/>
                  </a:lnTo>
                  <a:lnTo>
                    <a:pt x="106" y="232"/>
                  </a:lnTo>
                  <a:lnTo>
                    <a:pt x="111" y="229"/>
                  </a:lnTo>
                  <a:lnTo>
                    <a:pt x="104" y="229"/>
                  </a:lnTo>
                  <a:lnTo>
                    <a:pt x="104" y="225"/>
                  </a:lnTo>
                  <a:lnTo>
                    <a:pt x="106" y="225"/>
                  </a:lnTo>
                  <a:lnTo>
                    <a:pt x="106" y="215"/>
                  </a:lnTo>
                  <a:lnTo>
                    <a:pt x="99" y="215"/>
                  </a:lnTo>
                  <a:lnTo>
                    <a:pt x="92" y="222"/>
                  </a:lnTo>
                  <a:lnTo>
                    <a:pt x="90" y="225"/>
                  </a:lnTo>
                  <a:lnTo>
                    <a:pt x="80" y="225"/>
                  </a:lnTo>
                  <a:lnTo>
                    <a:pt x="80" y="222"/>
                  </a:lnTo>
                  <a:lnTo>
                    <a:pt x="73" y="218"/>
                  </a:lnTo>
                  <a:lnTo>
                    <a:pt x="73" y="215"/>
                  </a:lnTo>
                  <a:lnTo>
                    <a:pt x="71" y="208"/>
                  </a:lnTo>
                  <a:lnTo>
                    <a:pt x="66" y="206"/>
                  </a:lnTo>
                  <a:lnTo>
                    <a:pt x="64" y="206"/>
                  </a:lnTo>
                  <a:lnTo>
                    <a:pt x="64" y="208"/>
                  </a:lnTo>
                  <a:lnTo>
                    <a:pt x="66" y="213"/>
                  </a:lnTo>
                  <a:lnTo>
                    <a:pt x="64" y="213"/>
                  </a:lnTo>
                  <a:lnTo>
                    <a:pt x="64" y="215"/>
                  </a:lnTo>
                  <a:lnTo>
                    <a:pt x="59" y="215"/>
                  </a:lnTo>
                  <a:lnTo>
                    <a:pt x="59" y="213"/>
                  </a:lnTo>
                  <a:lnTo>
                    <a:pt x="52" y="213"/>
                  </a:lnTo>
                  <a:lnTo>
                    <a:pt x="49" y="208"/>
                  </a:lnTo>
                  <a:lnTo>
                    <a:pt x="42" y="206"/>
                  </a:lnTo>
                  <a:lnTo>
                    <a:pt x="40" y="201"/>
                  </a:lnTo>
                  <a:lnTo>
                    <a:pt x="35" y="199"/>
                  </a:lnTo>
                  <a:lnTo>
                    <a:pt x="26" y="199"/>
                  </a:lnTo>
                  <a:lnTo>
                    <a:pt x="23" y="196"/>
                  </a:lnTo>
                  <a:lnTo>
                    <a:pt x="19" y="192"/>
                  </a:lnTo>
                  <a:lnTo>
                    <a:pt x="19" y="184"/>
                  </a:lnTo>
                  <a:lnTo>
                    <a:pt x="16" y="182"/>
                  </a:lnTo>
                  <a:lnTo>
                    <a:pt x="14" y="182"/>
                  </a:lnTo>
                  <a:lnTo>
                    <a:pt x="9" y="177"/>
                  </a:lnTo>
                  <a:lnTo>
                    <a:pt x="9" y="175"/>
                  </a:lnTo>
                  <a:lnTo>
                    <a:pt x="7" y="173"/>
                  </a:lnTo>
                  <a:lnTo>
                    <a:pt x="7" y="168"/>
                  </a:lnTo>
                  <a:lnTo>
                    <a:pt x="2" y="161"/>
                  </a:lnTo>
                  <a:lnTo>
                    <a:pt x="2" y="151"/>
                  </a:lnTo>
                  <a:lnTo>
                    <a:pt x="9" y="135"/>
                  </a:lnTo>
                  <a:lnTo>
                    <a:pt x="14" y="132"/>
                  </a:lnTo>
                  <a:lnTo>
                    <a:pt x="16" y="128"/>
                  </a:lnTo>
                  <a:lnTo>
                    <a:pt x="19" y="132"/>
                  </a:lnTo>
                  <a:lnTo>
                    <a:pt x="26" y="132"/>
                  </a:lnTo>
                  <a:lnTo>
                    <a:pt x="23" y="132"/>
                  </a:lnTo>
                  <a:lnTo>
                    <a:pt x="19" y="128"/>
                  </a:lnTo>
                  <a:lnTo>
                    <a:pt x="16" y="125"/>
                  </a:lnTo>
                  <a:lnTo>
                    <a:pt x="16" y="121"/>
                  </a:lnTo>
                  <a:lnTo>
                    <a:pt x="19" y="118"/>
                  </a:lnTo>
                  <a:lnTo>
                    <a:pt x="23" y="118"/>
                  </a:lnTo>
                  <a:lnTo>
                    <a:pt x="19" y="118"/>
                  </a:lnTo>
                  <a:lnTo>
                    <a:pt x="16" y="121"/>
                  </a:lnTo>
                  <a:lnTo>
                    <a:pt x="14" y="125"/>
                  </a:lnTo>
                  <a:lnTo>
                    <a:pt x="7" y="121"/>
                  </a:lnTo>
                  <a:lnTo>
                    <a:pt x="7" y="116"/>
                  </a:lnTo>
                  <a:lnTo>
                    <a:pt x="2" y="116"/>
                  </a:lnTo>
                  <a:lnTo>
                    <a:pt x="0" y="111"/>
                  </a:lnTo>
                  <a:lnTo>
                    <a:pt x="0" y="102"/>
                  </a:lnTo>
                  <a:lnTo>
                    <a:pt x="2" y="99"/>
                  </a:lnTo>
                  <a:lnTo>
                    <a:pt x="2" y="88"/>
                  </a:lnTo>
                  <a:lnTo>
                    <a:pt x="7" y="85"/>
                  </a:lnTo>
                  <a:lnTo>
                    <a:pt x="2" y="80"/>
                  </a:lnTo>
                  <a:lnTo>
                    <a:pt x="2" y="85"/>
                  </a:lnTo>
                  <a:lnTo>
                    <a:pt x="0" y="85"/>
                  </a:lnTo>
                  <a:lnTo>
                    <a:pt x="0" y="80"/>
                  </a:lnTo>
                  <a:lnTo>
                    <a:pt x="2" y="78"/>
                  </a:lnTo>
                  <a:lnTo>
                    <a:pt x="2" y="71"/>
                  </a:lnTo>
                  <a:lnTo>
                    <a:pt x="0" y="69"/>
                  </a:lnTo>
                  <a:lnTo>
                    <a:pt x="7" y="64"/>
                  </a:lnTo>
                  <a:lnTo>
                    <a:pt x="7" y="62"/>
                  </a:lnTo>
                  <a:lnTo>
                    <a:pt x="9" y="62"/>
                  </a:lnTo>
                  <a:lnTo>
                    <a:pt x="9" y="59"/>
                  </a:lnTo>
                  <a:lnTo>
                    <a:pt x="14" y="55"/>
                  </a:lnTo>
                  <a:lnTo>
                    <a:pt x="16" y="59"/>
                  </a:lnTo>
                  <a:lnTo>
                    <a:pt x="19" y="62"/>
                  </a:lnTo>
                  <a:lnTo>
                    <a:pt x="19" y="64"/>
                  </a:lnTo>
                  <a:lnTo>
                    <a:pt x="23" y="69"/>
                  </a:lnTo>
                  <a:lnTo>
                    <a:pt x="26" y="69"/>
                  </a:lnTo>
                  <a:lnTo>
                    <a:pt x="31" y="64"/>
                  </a:lnTo>
                  <a:lnTo>
                    <a:pt x="31" y="59"/>
                  </a:lnTo>
                  <a:lnTo>
                    <a:pt x="26" y="47"/>
                  </a:lnTo>
                  <a:lnTo>
                    <a:pt x="19" y="47"/>
                  </a:lnTo>
                  <a:lnTo>
                    <a:pt x="16" y="45"/>
                  </a:lnTo>
                  <a:lnTo>
                    <a:pt x="16" y="38"/>
                  </a:lnTo>
                  <a:lnTo>
                    <a:pt x="19" y="38"/>
                  </a:lnTo>
                  <a:lnTo>
                    <a:pt x="23" y="36"/>
                  </a:lnTo>
                  <a:lnTo>
                    <a:pt x="26" y="31"/>
                  </a:lnTo>
                  <a:lnTo>
                    <a:pt x="31" y="29"/>
                  </a:lnTo>
                  <a:lnTo>
                    <a:pt x="33" y="29"/>
                  </a:lnTo>
                  <a:lnTo>
                    <a:pt x="33" y="19"/>
                  </a:lnTo>
                  <a:lnTo>
                    <a:pt x="47" y="19"/>
                  </a:lnTo>
                  <a:lnTo>
                    <a:pt x="49" y="14"/>
                  </a:lnTo>
                  <a:lnTo>
                    <a:pt x="47" y="19"/>
                  </a:lnTo>
                  <a:lnTo>
                    <a:pt x="42" y="14"/>
                  </a:lnTo>
                  <a:lnTo>
                    <a:pt x="35" y="19"/>
                  </a:lnTo>
                  <a:lnTo>
                    <a:pt x="33" y="19"/>
                  </a:lnTo>
                  <a:lnTo>
                    <a:pt x="33" y="7"/>
                  </a:lnTo>
                  <a:lnTo>
                    <a:pt x="40" y="5"/>
                  </a:lnTo>
                  <a:lnTo>
                    <a:pt x="49" y="5"/>
                  </a:lnTo>
                  <a:lnTo>
                    <a:pt x="49" y="0"/>
                  </a:lnTo>
                  <a:lnTo>
                    <a:pt x="52" y="5"/>
                  </a:lnTo>
                  <a:lnTo>
                    <a:pt x="57" y="7"/>
                  </a:lnTo>
                  <a:lnTo>
                    <a:pt x="57" y="14"/>
                  </a:lnTo>
                  <a:lnTo>
                    <a:pt x="52" y="14"/>
                  </a:lnTo>
                  <a:lnTo>
                    <a:pt x="49" y="19"/>
                  </a:lnTo>
                  <a:lnTo>
                    <a:pt x="52" y="24"/>
                  </a:lnTo>
                  <a:lnTo>
                    <a:pt x="52" y="21"/>
                  </a:lnTo>
                  <a:lnTo>
                    <a:pt x="57" y="19"/>
                  </a:lnTo>
                  <a:lnTo>
                    <a:pt x="59" y="19"/>
                  </a:lnTo>
                  <a:lnTo>
                    <a:pt x="59" y="31"/>
                  </a:lnTo>
                  <a:lnTo>
                    <a:pt x="64" y="24"/>
                  </a:lnTo>
                  <a:lnTo>
                    <a:pt x="64" y="21"/>
                  </a:lnTo>
                  <a:lnTo>
                    <a:pt x="71" y="21"/>
                  </a:lnTo>
                  <a:lnTo>
                    <a:pt x="71" y="24"/>
                  </a:lnTo>
                  <a:lnTo>
                    <a:pt x="73" y="24"/>
                  </a:lnTo>
                  <a:lnTo>
                    <a:pt x="73" y="21"/>
                  </a:lnTo>
                  <a:lnTo>
                    <a:pt x="75" y="21"/>
                  </a:lnTo>
                  <a:lnTo>
                    <a:pt x="80" y="24"/>
                  </a:lnTo>
                  <a:lnTo>
                    <a:pt x="75" y="29"/>
                  </a:lnTo>
                  <a:lnTo>
                    <a:pt x="75" y="31"/>
                  </a:lnTo>
                  <a:lnTo>
                    <a:pt x="80" y="38"/>
                  </a:lnTo>
                  <a:lnTo>
                    <a:pt x="87" y="38"/>
                  </a:lnTo>
                  <a:lnTo>
                    <a:pt x="87" y="40"/>
                  </a:lnTo>
                  <a:lnTo>
                    <a:pt x="90" y="40"/>
                  </a:lnTo>
                  <a:lnTo>
                    <a:pt x="92" y="45"/>
                  </a:lnTo>
                  <a:lnTo>
                    <a:pt x="97" y="45"/>
                  </a:lnTo>
                  <a:lnTo>
                    <a:pt x="97" y="52"/>
                  </a:lnTo>
                  <a:lnTo>
                    <a:pt x="99" y="55"/>
                  </a:lnTo>
                  <a:lnTo>
                    <a:pt x="104" y="55"/>
                  </a:lnTo>
                  <a:lnTo>
                    <a:pt x="104" y="62"/>
                  </a:lnTo>
                  <a:lnTo>
                    <a:pt x="106" y="64"/>
                  </a:lnTo>
                  <a:lnTo>
                    <a:pt x="111" y="71"/>
                  </a:lnTo>
                  <a:lnTo>
                    <a:pt x="111" y="92"/>
                  </a:lnTo>
                  <a:lnTo>
                    <a:pt x="106" y="99"/>
                  </a:lnTo>
                  <a:lnTo>
                    <a:pt x="111" y="102"/>
                  </a:lnTo>
                  <a:lnTo>
                    <a:pt x="113" y="102"/>
                  </a:lnTo>
                  <a:lnTo>
                    <a:pt x="116" y="104"/>
                  </a:lnTo>
                  <a:lnTo>
                    <a:pt x="120" y="109"/>
                  </a:lnTo>
                  <a:lnTo>
                    <a:pt x="120" y="111"/>
                  </a:lnTo>
                  <a:lnTo>
                    <a:pt x="127" y="111"/>
                  </a:lnTo>
                  <a:lnTo>
                    <a:pt x="132" y="118"/>
                  </a:lnTo>
                  <a:lnTo>
                    <a:pt x="137" y="118"/>
                  </a:lnTo>
                  <a:lnTo>
                    <a:pt x="132" y="121"/>
                  </a:lnTo>
                  <a:lnTo>
                    <a:pt x="132" y="128"/>
                  </a:lnTo>
                  <a:lnTo>
                    <a:pt x="139" y="128"/>
                  </a:lnTo>
                  <a:lnTo>
                    <a:pt x="144" y="135"/>
                  </a:lnTo>
                  <a:lnTo>
                    <a:pt x="144" y="144"/>
                  </a:lnTo>
                  <a:lnTo>
                    <a:pt x="146" y="144"/>
                  </a:lnTo>
                  <a:lnTo>
                    <a:pt x="146" y="137"/>
                  </a:lnTo>
                  <a:lnTo>
                    <a:pt x="153" y="137"/>
                  </a:lnTo>
                  <a:lnTo>
                    <a:pt x="156" y="149"/>
                  </a:lnTo>
                  <a:lnTo>
                    <a:pt x="160" y="151"/>
                  </a:lnTo>
                  <a:lnTo>
                    <a:pt x="160" y="156"/>
                  </a:lnTo>
                  <a:lnTo>
                    <a:pt x="149" y="158"/>
                  </a:lnTo>
                  <a:lnTo>
                    <a:pt x="144" y="158"/>
                  </a:lnTo>
                  <a:lnTo>
                    <a:pt x="137" y="151"/>
                  </a:lnTo>
                  <a:lnTo>
                    <a:pt x="132" y="158"/>
                  </a:lnTo>
                  <a:lnTo>
                    <a:pt x="132" y="166"/>
                  </a:lnTo>
                  <a:lnTo>
                    <a:pt x="137" y="161"/>
                  </a:lnTo>
                  <a:lnTo>
                    <a:pt x="146" y="161"/>
                  </a:lnTo>
                  <a:lnTo>
                    <a:pt x="146" y="166"/>
                  </a:lnTo>
                  <a:lnTo>
                    <a:pt x="149" y="168"/>
                  </a:lnTo>
                  <a:lnTo>
                    <a:pt x="144" y="173"/>
                  </a:lnTo>
                  <a:lnTo>
                    <a:pt x="144" y="175"/>
                  </a:lnTo>
                  <a:lnTo>
                    <a:pt x="137" y="182"/>
                  </a:lnTo>
                  <a:lnTo>
                    <a:pt x="132" y="189"/>
                  </a:lnTo>
                  <a:lnTo>
                    <a:pt x="130" y="192"/>
                  </a:lnTo>
                  <a:lnTo>
                    <a:pt x="127" y="196"/>
                  </a:lnTo>
                  <a:lnTo>
                    <a:pt x="132" y="196"/>
                  </a:lnTo>
                  <a:lnTo>
                    <a:pt x="130" y="199"/>
                  </a:lnTo>
                  <a:lnTo>
                    <a:pt x="123" y="199"/>
                  </a:lnTo>
                  <a:lnTo>
                    <a:pt x="123" y="201"/>
                  </a:lnTo>
                  <a:lnTo>
                    <a:pt x="130" y="201"/>
                  </a:lnTo>
                  <a:lnTo>
                    <a:pt x="130" y="199"/>
                  </a:lnTo>
                  <a:lnTo>
                    <a:pt x="132" y="199"/>
                  </a:lnTo>
                  <a:lnTo>
                    <a:pt x="139" y="196"/>
                  </a:lnTo>
                  <a:lnTo>
                    <a:pt x="139" y="199"/>
                  </a:lnTo>
                  <a:lnTo>
                    <a:pt x="144" y="201"/>
                  </a:lnTo>
                  <a:lnTo>
                    <a:pt x="149" y="201"/>
                  </a:lnTo>
                  <a:lnTo>
                    <a:pt x="144" y="201"/>
                  </a:lnTo>
                  <a:lnTo>
                    <a:pt x="149" y="208"/>
                  </a:lnTo>
                  <a:lnTo>
                    <a:pt x="153" y="213"/>
                  </a:lnTo>
                  <a:lnTo>
                    <a:pt x="160" y="213"/>
                  </a:lnTo>
                  <a:lnTo>
                    <a:pt x="168" y="196"/>
                  </a:lnTo>
                  <a:lnTo>
                    <a:pt x="177" y="196"/>
                  </a:lnTo>
                  <a:lnTo>
                    <a:pt x="179" y="199"/>
                  </a:lnTo>
                  <a:lnTo>
                    <a:pt x="172" y="206"/>
                  </a:lnTo>
                  <a:lnTo>
                    <a:pt x="170" y="208"/>
                  </a:lnTo>
                  <a:lnTo>
                    <a:pt x="168" y="208"/>
                  </a:lnTo>
                  <a:lnTo>
                    <a:pt x="170" y="208"/>
                  </a:lnTo>
                  <a:lnTo>
                    <a:pt x="172" y="206"/>
                  </a:lnTo>
                  <a:lnTo>
                    <a:pt x="179" y="206"/>
                  </a:lnTo>
                  <a:lnTo>
                    <a:pt x="179" y="208"/>
                  </a:lnTo>
                  <a:lnTo>
                    <a:pt x="194" y="208"/>
                  </a:lnTo>
                  <a:lnTo>
                    <a:pt x="194" y="206"/>
                  </a:lnTo>
                  <a:lnTo>
                    <a:pt x="201" y="206"/>
                  </a:lnTo>
                  <a:lnTo>
                    <a:pt x="203" y="208"/>
                  </a:lnTo>
                  <a:lnTo>
                    <a:pt x="208" y="213"/>
                  </a:lnTo>
                  <a:lnTo>
                    <a:pt x="194" y="213"/>
                  </a:lnTo>
                  <a:lnTo>
                    <a:pt x="196" y="213"/>
                  </a:lnTo>
                  <a:lnTo>
                    <a:pt x="201" y="215"/>
                  </a:lnTo>
                  <a:lnTo>
                    <a:pt x="196" y="218"/>
                  </a:lnTo>
                  <a:lnTo>
                    <a:pt x="194" y="218"/>
                  </a:lnTo>
                  <a:lnTo>
                    <a:pt x="194" y="229"/>
                  </a:lnTo>
                  <a:lnTo>
                    <a:pt x="189" y="229"/>
                  </a:lnTo>
                  <a:lnTo>
                    <a:pt x="189" y="232"/>
                  </a:lnTo>
                  <a:lnTo>
                    <a:pt x="184" y="229"/>
                  </a:lnTo>
                  <a:lnTo>
                    <a:pt x="179" y="229"/>
                  </a:lnTo>
                  <a:lnTo>
                    <a:pt x="177" y="225"/>
                  </a:lnTo>
                  <a:lnTo>
                    <a:pt x="172" y="222"/>
                  </a:lnTo>
                  <a:lnTo>
                    <a:pt x="177" y="225"/>
                  </a:lnTo>
                  <a:lnTo>
                    <a:pt x="184" y="232"/>
                  </a:lnTo>
                  <a:lnTo>
                    <a:pt x="186" y="232"/>
                  </a:lnTo>
                  <a:lnTo>
                    <a:pt x="189" y="239"/>
                  </a:lnTo>
                  <a:lnTo>
                    <a:pt x="196" y="239"/>
                  </a:lnTo>
                  <a:lnTo>
                    <a:pt x="201" y="246"/>
                  </a:lnTo>
                  <a:lnTo>
                    <a:pt x="208" y="255"/>
                  </a:lnTo>
                  <a:lnTo>
                    <a:pt x="208" y="258"/>
                  </a:lnTo>
                  <a:lnTo>
                    <a:pt x="210" y="258"/>
                  </a:lnTo>
                  <a:lnTo>
                    <a:pt x="210" y="262"/>
                  </a:lnTo>
                  <a:lnTo>
                    <a:pt x="212" y="262"/>
                  </a:lnTo>
                  <a:lnTo>
                    <a:pt x="212" y="269"/>
                  </a:lnTo>
                  <a:lnTo>
                    <a:pt x="210" y="269"/>
                  </a:lnTo>
                  <a:lnTo>
                    <a:pt x="210" y="274"/>
                  </a:lnTo>
                  <a:lnTo>
                    <a:pt x="212" y="274"/>
                  </a:lnTo>
                  <a:lnTo>
                    <a:pt x="212" y="295"/>
                  </a:lnTo>
                  <a:lnTo>
                    <a:pt x="210" y="295"/>
                  </a:lnTo>
                  <a:lnTo>
                    <a:pt x="210" y="298"/>
                  </a:lnTo>
                  <a:lnTo>
                    <a:pt x="212" y="298"/>
                  </a:lnTo>
                  <a:lnTo>
                    <a:pt x="212" y="303"/>
                  </a:lnTo>
                  <a:lnTo>
                    <a:pt x="220" y="303"/>
                  </a:lnTo>
                  <a:lnTo>
                    <a:pt x="220" y="305"/>
                  </a:lnTo>
                  <a:lnTo>
                    <a:pt x="227" y="314"/>
                  </a:lnTo>
                  <a:lnTo>
                    <a:pt x="229" y="314"/>
                  </a:lnTo>
                  <a:lnTo>
                    <a:pt x="229" y="305"/>
                  </a:lnTo>
                  <a:lnTo>
                    <a:pt x="234" y="298"/>
                  </a:lnTo>
                  <a:lnTo>
                    <a:pt x="234" y="286"/>
                  </a:lnTo>
                  <a:lnTo>
                    <a:pt x="229" y="281"/>
                  </a:lnTo>
                  <a:lnTo>
                    <a:pt x="234" y="279"/>
                  </a:lnTo>
                  <a:lnTo>
                    <a:pt x="234" y="272"/>
                  </a:lnTo>
                  <a:lnTo>
                    <a:pt x="236" y="274"/>
                  </a:lnTo>
                  <a:lnTo>
                    <a:pt x="236" y="262"/>
                  </a:lnTo>
                  <a:lnTo>
                    <a:pt x="234" y="258"/>
                  </a:lnTo>
                  <a:lnTo>
                    <a:pt x="234" y="241"/>
                  </a:lnTo>
                  <a:lnTo>
                    <a:pt x="236" y="239"/>
                  </a:lnTo>
                  <a:lnTo>
                    <a:pt x="236" y="234"/>
                  </a:lnTo>
                  <a:lnTo>
                    <a:pt x="241" y="234"/>
                  </a:lnTo>
                  <a:lnTo>
                    <a:pt x="241" y="222"/>
                  </a:lnTo>
                  <a:lnTo>
                    <a:pt x="248" y="222"/>
                  </a:lnTo>
                  <a:lnTo>
                    <a:pt x="248" y="218"/>
                  </a:lnTo>
                  <a:lnTo>
                    <a:pt x="250" y="218"/>
                  </a:lnTo>
                  <a:lnTo>
                    <a:pt x="250" y="222"/>
                  </a:lnTo>
                  <a:lnTo>
                    <a:pt x="253" y="222"/>
                  </a:lnTo>
                  <a:lnTo>
                    <a:pt x="253" y="225"/>
                  </a:lnTo>
                  <a:lnTo>
                    <a:pt x="257" y="229"/>
                  </a:lnTo>
                  <a:lnTo>
                    <a:pt x="260" y="232"/>
                  </a:lnTo>
                  <a:lnTo>
                    <a:pt x="267" y="239"/>
                  </a:lnTo>
                  <a:lnTo>
                    <a:pt x="274" y="241"/>
                  </a:lnTo>
                  <a:lnTo>
                    <a:pt x="281" y="246"/>
                  </a:lnTo>
                  <a:lnTo>
                    <a:pt x="283" y="246"/>
                  </a:lnTo>
                  <a:lnTo>
                    <a:pt x="286" y="253"/>
                  </a:lnTo>
                  <a:lnTo>
                    <a:pt x="290" y="255"/>
                  </a:lnTo>
                  <a:lnTo>
                    <a:pt x="293" y="258"/>
                  </a:lnTo>
                  <a:lnTo>
                    <a:pt x="293" y="262"/>
                  </a:lnTo>
                  <a:lnTo>
                    <a:pt x="297" y="265"/>
                  </a:lnTo>
                  <a:lnTo>
                    <a:pt x="297" y="274"/>
                  </a:lnTo>
                  <a:lnTo>
                    <a:pt x="300" y="281"/>
                  </a:lnTo>
                  <a:lnTo>
                    <a:pt x="305" y="286"/>
                  </a:lnTo>
                  <a:lnTo>
                    <a:pt x="305" y="288"/>
                  </a:lnTo>
                  <a:lnTo>
                    <a:pt x="307" y="295"/>
                  </a:lnTo>
                  <a:lnTo>
                    <a:pt x="307" y="303"/>
                  </a:lnTo>
                  <a:lnTo>
                    <a:pt x="305" y="305"/>
                  </a:lnTo>
                  <a:lnTo>
                    <a:pt x="297" y="305"/>
                  </a:lnTo>
                  <a:lnTo>
                    <a:pt x="290" y="295"/>
                  </a:lnTo>
                  <a:lnTo>
                    <a:pt x="286" y="303"/>
                  </a:lnTo>
                  <a:lnTo>
                    <a:pt x="286" y="305"/>
                  </a:lnTo>
                  <a:lnTo>
                    <a:pt x="290" y="305"/>
                  </a:lnTo>
                  <a:lnTo>
                    <a:pt x="293" y="314"/>
                  </a:lnTo>
                  <a:lnTo>
                    <a:pt x="293" y="321"/>
                  </a:lnTo>
                  <a:lnTo>
                    <a:pt x="290" y="321"/>
                  </a:lnTo>
                  <a:lnTo>
                    <a:pt x="293" y="329"/>
                  </a:lnTo>
                  <a:lnTo>
                    <a:pt x="297" y="343"/>
                  </a:lnTo>
                  <a:lnTo>
                    <a:pt x="300" y="343"/>
                  </a:lnTo>
                  <a:lnTo>
                    <a:pt x="305" y="352"/>
                  </a:lnTo>
                  <a:lnTo>
                    <a:pt x="307" y="355"/>
                  </a:lnTo>
                  <a:lnTo>
                    <a:pt x="309" y="355"/>
                  </a:lnTo>
                  <a:lnTo>
                    <a:pt x="314" y="359"/>
                  </a:lnTo>
                  <a:lnTo>
                    <a:pt x="316" y="362"/>
                  </a:lnTo>
                  <a:lnTo>
                    <a:pt x="321" y="366"/>
                  </a:lnTo>
                  <a:lnTo>
                    <a:pt x="326" y="371"/>
                  </a:lnTo>
                  <a:lnTo>
                    <a:pt x="331" y="376"/>
                  </a:lnTo>
                  <a:lnTo>
                    <a:pt x="333" y="378"/>
                  </a:lnTo>
                  <a:lnTo>
                    <a:pt x="340" y="385"/>
                  </a:lnTo>
                  <a:lnTo>
                    <a:pt x="338" y="390"/>
                  </a:lnTo>
                  <a:lnTo>
                    <a:pt x="338" y="399"/>
                  </a:lnTo>
                  <a:lnTo>
                    <a:pt x="345" y="392"/>
                  </a:lnTo>
                  <a:lnTo>
                    <a:pt x="345" y="390"/>
                  </a:lnTo>
                  <a:lnTo>
                    <a:pt x="349" y="385"/>
                  </a:lnTo>
                  <a:lnTo>
                    <a:pt x="354" y="383"/>
                  </a:lnTo>
                  <a:lnTo>
                    <a:pt x="349" y="378"/>
                  </a:lnTo>
                  <a:lnTo>
                    <a:pt x="347" y="376"/>
                  </a:lnTo>
                  <a:lnTo>
                    <a:pt x="354" y="369"/>
                  </a:lnTo>
                  <a:lnTo>
                    <a:pt x="357" y="366"/>
                  </a:lnTo>
                  <a:lnTo>
                    <a:pt x="361" y="369"/>
                  </a:lnTo>
                  <a:lnTo>
                    <a:pt x="361" y="371"/>
                  </a:lnTo>
                  <a:lnTo>
                    <a:pt x="366" y="371"/>
                  </a:lnTo>
                  <a:lnTo>
                    <a:pt x="366" y="359"/>
                  </a:lnTo>
                  <a:lnTo>
                    <a:pt x="364" y="359"/>
                  </a:lnTo>
                  <a:lnTo>
                    <a:pt x="364" y="350"/>
                  </a:lnTo>
                  <a:lnTo>
                    <a:pt x="361" y="343"/>
                  </a:lnTo>
                  <a:lnTo>
                    <a:pt x="364" y="329"/>
                  </a:lnTo>
                  <a:lnTo>
                    <a:pt x="364" y="326"/>
                  </a:lnTo>
                  <a:lnTo>
                    <a:pt x="371" y="314"/>
                  </a:lnTo>
                  <a:lnTo>
                    <a:pt x="371" y="312"/>
                  </a:lnTo>
                  <a:lnTo>
                    <a:pt x="373" y="305"/>
                  </a:lnTo>
                  <a:lnTo>
                    <a:pt x="373" y="303"/>
                  </a:lnTo>
                  <a:lnTo>
                    <a:pt x="371" y="295"/>
                  </a:lnTo>
                  <a:lnTo>
                    <a:pt x="371" y="286"/>
                  </a:lnTo>
                  <a:lnTo>
                    <a:pt x="373" y="274"/>
                  </a:lnTo>
                  <a:lnTo>
                    <a:pt x="371" y="269"/>
                  </a:lnTo>
                  <a:lnTo>
                    <a:pt x="366" y="258"/>
                  </a:lnTo>
                  <a:lnTo>
                    <a:pt x="366" y="248"/>
                  </a:lnTo>
                  <a:lnTo>
                    <a:pt x="371" y="246"/>
                  </a:lnTo>
                  <a:lnTo>
                    <a:pt x="371" y="248"/>
                  </a:lnTo>
                  <a:lnTo>
                    <a:pt x="373" y="246"/>
                  </a:lnTo>
                  <a:lnTo>
                    <a:pt x="373" y="241"/>
                  </a:lnTo>
                  <a:lnTo>
                    <a:pt x="371" y="241"/>
                  </a:lnTo>
                  <a:lnTo>
                    <a:pt x="378" y="241"/>
                  </a:lnTo>
                  <a:lnTo>
                    <a:pt x="378" y="246"/>
                  </a:lnTo>
                  <a:lnTo>
                    <a:pt x="385" y="246"/>
                  </a:lnTo>
                  <a:lnTo>
                    <a:pt x="385" y="241"/>
                  </a:lnTo>
                  <a:lnTo>
                    <a:pt x="397" y="241"/>
                  </a:lnTo>
                  <a:lnTo>
                    <a:pt x="397" y="239"/>
                  </a:lnTo>
                  <a:lnTo>
                    <a:pt x="394" y="234"/>
                  </a:lnTo>
                  <a:lnTo>
                    <a:pt x="385" y="234"/>
                  </a:lnTo>
                  <a:lnTo>
                    <a:pt x="380" y="232"/>
                  </a:lnTo>
                  <a:lnTo>
                    <a:pt x="387" y="232"/>
                  </a:lnTo>
                  <a:lnTo>
                    <a:pt x="387" y="229"/>
                  </a:lnTo>
                  <a:lnTo>
                    <a:pt x="385" y="225"/>
                  </a:lnTo>
                  <a:lnTo>
                    <a:pt x="380" y="225"/>
                  </a:lnTo>
                  <a:lnTo>
                    <a:pt x="390" y="225"/>
                  </a:lnTo>
                  <a:lnTo>
                    <a:pt x="390" y="222"/>
                  </a:lnTo>
                  <a:lnTo>
                    <a:pt x="387" y="222"/>
                  </a:lnTo>
                  <a:lnTo>
                    <a:pt x="385" y="218"/>
                  </a:lnTo>
                  <a:lnTo>
                    <a:pt x="397" y="218"/>
                  </a:lnTo>
                  <a:lnTo>
                    <a:pt x="397" y="215"/>
                  </a:lnTo>
                  <a:lnTo>
                    <a:pt x="390" y="215"/>
                  </a:lnTo>
                  <a:lnTo>
                    <a:pt x="385" y="213"/>
                  </a:lnTo>
                  <a:lnTo>
                    <a:pt x="378" y="213"/>
                  </a:lnTo>
                  <a:lnTo>
                    <a:pt x="380" y="206"/>
                  </a:lnTo>
                  <a:lnTo>
                    <a:pt x="378" y="206"/>
                  </a:lnTo>
                  <a:lnTo>
                    <a:pt x="378" y="208"/>
                  </a:lnTo>
                  <a:lnTo>
                    <a:pt x="373" y="208"/>
                  </a:lnTo>
                  <a:lnTo>
                    <a:pt x="373" y="213"/>
                  </a:lnTo>
                  <a:lnTo>
                    <a:pt x="371" y="208"/>
                  </a:lnTo>
                  <a:lnTo>
                    <a:pt x="373" y="206"/>
                  </a:lnTo>
                  <a:lnTo>
                    <a:pt x="366" y="206"/>
                  </a:lnTo>
                  <a:lnTo>
                    <a:pt x="364" y="199"/>
                  </a:lnTo>
                  <a:lnTo>
                    <a:pt x="361" y="196"/>
                  </a:lnTo>
                  <a:lnTo>
                    <a:pt x="361" y="189"/>
                  </a:lnTo>
                  <a:lnTo>
                    <a:pt x="364" y="189"/>
                  </a:lnTo>
                  <a:lnTo>
                    <a:pt x="364" y="182"/>
                  </a:lnTo>
                  <a:lnTo>
                    <a:pt x="361" y="182"/>
                  </a:lnTo>
                  <a:lnTo>
                    <a:pt x="361" y="184"/>
                  </a:lnTo>
                  <a:lnTo>
                    <a:pt x="357" y="184"/>
                  </a:lnTo>
                  <a:lnTo>
                    <a:pt x="357" y="182"/>
                  </a:lnTo>
                  <a:lnTo>
                    <a:pt x="354" y="168"/>
                  </a:lnTo>
                  <a:lnTo>
                    <a:pt x="349" y="158"/>
                  </a:lnTo>
                  <a:lnTo>
                    <a:pt x="354" y="156"/>
                  </a:lnTo>
                  <a:lnTo>
                    <a:pt x="357" y="158"/>
                  </a:lnTo>
                  <a:lnTo>
                    <a:pt x="357" y="151"/>
                  </a:lnTo>
                  <a:lnTo>
                    <a:pt x="347" y="151"/>
                  </a:lnTo>
                  <a:lnTo>
                    <a:pt x="347" y="149"/>
                  </a:lnTo>
                  <a:lnTo>
                    <a:pt x="354" y="149"/>
                  </a:lnTo>
                  <a:lnTo>
                    <a:pt x="357" y="151"/>
                  </a:lnTo>
                  <a:lnTo>
                    <a:pt x="361" y="151"/>
                  </a:lnTo>
                  <a:lnTo>
                    <a:pt x="361" y="156"/>
                  </a:lnTo>
                  <a:lnTo>
                    <a:pt x="364" y="156"/>
                  </a:lnTo>
                  <a:lnTo>
                    <a:pt x="371" y="149"/>
                  </a:lnTo>
                  <a:lnTo>
                    <a:pt x="378" y="144"/>
                  </a:lnTo>
                  <a:lnTo>
                    <a:pt x="380" y="144"/>
                  </a:lnTo>
                  <a:lnTo>
                    <a:pt x="380" y="142"/>
                  </a:lnTo>
                  <a:lnTo>
                    <a:pt x="387" y="142"/>
                  </a:lnTo>
                  <a:lnTo>
                    <a:pt x="390" y="144"/>
                  </a:lnTo>
                  <a:lnTo>
                    <a:pt x="394" y="144"/>
                  </a:lnTo>
                  <a:lnTo>
                    <a:pt x="394" y="149"/>
                  </a:lnTo>
                  <a:lnTo>
                    <a:pt x="401" y="149"/>
                  </a:lnTo>
                  <a:lnTo>
                    <a:pt x="406" y="151"/>
                  </a:lnTo>
                  <a:lnTo>
                    <a:pt x="420" y="151"/>
                  </a:lnTo>
                  <a:lnTo>
                    <a:pt x="420" y="149"/>
                  </a:lnTo>
                  <a:lnTo>
                    <a:pt x="430" y="149"/>
                  </a:lnTo>
                  <a:lnTo>
                    <a:pt x="437" y="144"/>
                  </a:lnTo>
                  <a:lnTo>
                    <a:pt x="453" y="144"/>
                  </a:lnTo>
                  <a:lnTo>
                    <a:pt x="453" y="149"/>
                  </a:lnTo>
                  <a:lnTo>
                    <a:pt x="444" y="149"/>
                  </a:lnTo>
                  <a:lnTo>
                    <a:pt x="444" y="156"/>
                  </a:lnTo>
                  <a:lnTo>
                    <a:pt x="446" y="156"/>
                  </a:lnTo>
                  <a:lnTo>
                    <a:pt x="446" y="158"/>
                  </a:lnTo>
                  <a:lnTo>
                    <a:pt x="451" y="158"/>
                  </a:lnTo>
                  <a:lnTo>
                    <a:pt x="451" y="161"/>
                  </a:lnTo>
                  <a:lnTo>
                    <a:pt x="427" y="161"/>
                  </a:lnTo>
                  <a:lnTo>
                    <a:pt x="446" y="161"/>
                  </a:lnTo>
                  <a:lnTo>
                    <a:pt x="458" y="166"/>
                  </a:lnTo>
                  <a:lnTo>
                    <a:pt x="460" y="166"/>
                  </a:lnTo>
                  <a:lnTo>
                    <a:pt x="463" y="177"/>
                  </a:lnTo>
                  <a:lnTo>
                    <a:pt x="463" y="182"/>
                  </a:lnTo>
                  <a:lnTo>
                    <a:pt x="468" y="177"/>
                  </a:lnTo>
                  <a:lnTo>
                    <a:pt x="470" y="177"/>
                  </a:lnTo>
                  <a:lnTo>
                    <a:pt x="475" y="175"/>
                  </a:lnTo>
                  <a:lnTo>
                    <a:pt x="482" y="173"/>
                  </a:lnTo>
                  <a:lnTo>
                    <a:pt x="484" y="175"/>
                  </a:lnTo>
                  <a:lnTo>
                    <a:pt x="491" y="177"/>
                  </a:lnTo>
                  <a:lnTo>
                    <a:pt x="491" y="175"/>
                  </a:lnTo>
                  <a:lnTo>
                    <a:pt x="494" y="175"/>
                  </a:lnTo>
                  <a:lnTo>
                    <a:pt x="494" y="177"/>
                  </a:lnTo>
                  <a:lnTo>
                    <a:pt x="498" y="182"/>
                  </a:lnTo>
                  <a:lnTo>
                    <a:pt x="498" y="184"/>
                  </a:lnTo>
                  <a:lnTo>
                    <a:pt x="494" y="196"/>
                  </a:lnTo>
                  <a:lnTo>
                    <a:pt x="491" y="196"/>
                  </a:lnTo>
                  <a:lnTo>
                    <a:pt x="491" y="199"/>
                  </a:lnTo>
                  <a:lnTo>
                    <a:pt x="486" y="201"/>
                  </a:lnTo>
                  <a:lnTo>
                    <a:pt x="484" y="206"/>
                  </a:lnTo>
                  <a:lnTo>
                    <a:pt x="482" y="206"/>
                  </a:lnTo>
                  <a:lnTo>
                    <a:pt x="482" y="208"/>
                  </a:lnTo>
                  <a:lnTo>
                    <a:pt x="484" y="208"/>
                  </a:lnTo>
                  <a:lnTo>
                    <a:pt x="486" y="206"/>
                  </a:lnTo>
                  <a:lnTo>
                    <a:pt x="491" y="201"/>
                  </a:lnTo>
                  <a:lnTo>
                    <a:pt x="494" y="206"/>
                  </a:lnTo>
                  <a:lnTo>
                    <a:pt x="503" y="206"/>
                  </a:lnTo>
                  <a:lnTo>
                    <a:pt x="510" y="213"/>
                  </a:lnTo>
                  <a:lnTo>
                    <a:pt x="510" y="225"/>
                  </a:lnTo>
                  <a:lnTo>
                    <a:pt x="503" y="232"/>
                  </a:lnTo>
                  <a:lnTo>
                    <a:pt x="501" y="234"/>
                  </a:lnTo>
                  <a:lnTo>
                    <a:pt x="498" y="239"/>
                  </a:lnTo>
                  <a:lnTo>
                    <a:pt x="498" y="241"/>
                  </a:lnTo>
                  <a:lnTo>
                    <a:pt x="494" y="246"/>
                  </a:lnTo>
                  <a:lnTo>
                    <a:pt x="491" y="246"/>
                  </a:lnTo>
                  <a:lnTo>
                    <a:pt x="491" y="241"/>
                  </a:lnTo>
                  <a:lnTo>
                    <a:pt x="486" y="241"/>
                  </a:lnTo>
                  <a:lnTo>
                    <a:pt x="484" y="239"/>
                  </a:lnTo>
                  <a:lnTo>
                    <a:pt x="484" y="241"/>
                  </a:lnTo>
                  <a:lnTo>
                    <a:pt x="486" y="241"/>
                  </a:lnTo>
                  <a:lnTo>
                    <a:pt x="486" y="246"/>
                  </a:lnTo>
                  <a:lnTo>
                    <a:pt x="477" y="246"/>
                  </a:lnTo>
                  <a:lnTo>
                    <a:pt x="475" y="241"/>
                  </a:lnTo>
                  <a:lnTo>
                    <a:pt x="470" y="246"/>
                  </a:lnTo>
                  <a:lnTo>
                    <a:pt x="477" y="248"/>
                  </a:lnTo>
                  <a:lnTo>
                    <a:pt x="477" y="253"/>
                  </a:lnTo>
                  <a:lnTo>
                    <a:pt x="484" y="255"/>
                  </a:lnTo>
                  <a:lnTo>
                    <a:pt x="484" y="258"/>
                  </a:lnTo>
                  <a:lnTo>
                    <a:pt x="482" y="258"/>
                  </a:lnTo>
                  <a:lnTo>
                    <a:pt x="482" y="262"/>
                  </a:lnTo>
                  <a:lnTo>
                    <a:pt x="491" y="262"/>
                  </a:lnTo>
                  <a:lnTo>
                    <a:pt x="491" y="269"/>
                  </a:lnTo>
                  <a:lnTo>
                    <a:pt x="486" y="269"/>
                  </a:lnTo>
                  <a:lnTo>
                    <a:pt x="486" y="272"/>
                  </a:lnTo>
                  <a:lnTo>
                    <a:pt x="491" y="272"/>
                  </a:lnTo>
                  <a:lnTo>
                    <a:pt x="494" y="274"/>
                  </a:lnTo>
                  <a:lnTo>
                    <a:pt x="498" y="274"/>
                  </a:lnTo>
                  <a:lnTo>
                    <a:pt x="498" y="265"/>
                  </a:lnTo>
                  <a:lnTo>
                    <a:pt x="501" y="265"/>
                  </a:lnTo>
                  <a:lnTo>
                    <a:pt x="501" y="272"/>
                  </a:lnTo>
                  <a:lnTo>
                    <a:pt x="498" y="274"/>
                  </a:lnTo>
                  <a:lnTo>
                    <a:pt x="498" y="286"/>
                  </a:lnTo>
                  <a:lnTo>
                    <a:pt x="503" y="293"/>
                  </a:lnTo>
                  <a:lnTo>
                    <a:pt x="515" y="298"/>
                  </a:lnTo>
                  <a:lnTo>
                    <a:pt x="520" y="303"/>
                  </a:lnTo>
                  <a:lnTo>
                    <a:pt x="520" y="305"/>
                  </a:lnTo>
                  <a:lnTo>
                    <a:pt x="524" y="305"/>
                  </a:lnTo>
                  <a:lnTo>
                    <a:pt x="527" y="310"/>
                  </a:lnTo>
                  <a:lnTo>
                    <a:pt x="531" y="310"/>
                  </a:lnTo>
                  <a:lnTo>
                    <a:pt x="534" y="312"/>
                  </a:lnTo>
                  <a:lnTo>
                    <a:pt x="543" y="321"/>
                  </a:lnTo>
                  <a:lnTo>
                    <a:pt x="543" y="345"/>
                  </a:lnTo>
                  <a:lnTo>
                    <a:pt x="548" y="345"/>
                  </a:lnTo>
                  <a:lnTo>
                    <a:pt x="548" y="362"/>
                  </a:lnTo>
                  <a:lnTo>
                    <a:pt x="543" y="366"/>
                  </a:lnTo>
                  <a:lnTo>
                    <a:pt x="541" y="369"/>
                  </a:lnTo>
                  <a:lnTo>
                    <a:pt x="538" y="366"/>
                  </a:lnTo>
                  <a:lnTo>
                    <a:pt x="534" y="366"/>
                  </a:lnTo>
                  <a:lnTo>
                    <a:pt x="531" y="369"/>
                  </a:lnTo>
                  <a:lnTo>
                    <a:pt x="531" y="376"/>
                  </a:lnTo>
                  <a:lnTo>
                    <a:pt x="527" y="390"/>
                  </a:lnTo>
                  <a:lnTo>
                    <a:pt x="524" y="395"/>
                  </a:lnTo>
                  <a:lnTo>
                    <a:pt x="520" y="399"/>
                  </a:lnTo>
                  <a:lnTo>
                    <a:pt x="520" y="409"/>
                  </a:lnTo>
                  <a:lnTo>
                    <a:pt x="517" y="411"/>
                  </a:lnTo>
                  <a:lnTo>
                    <a:pt x="510" y="411"/>
                  </a:lnTo>
                  <a:lnTo>
                    <a:pt x="503" y="416"/>
                  </a:lnTo>
                  <a:lnTo>
                    <a:pt x="508" y="418"/>
                  </a:lnTo>
                  <a:lnTo>
                    <a:pt x="503" y="423"/>
                  </a:lnTo>
                  <a:lnTo>
                    <a:pt x="498" y="435"/>
                  </a:lnTo>
                  <a:lnTo>
                    <a:pt x="491" y="435"/>
                  </a:lnTo>
                  <a:lnTo>
                    <a:pt x="486" y="432"/>
                  </a:lnTo>
                  <a:lnTo>
                    <a:pt x="486" y="430"/>
                  </a:lnTo>
                  <a:lnTo>
                    <a:pt x="486" y="432"/>
                  </a:lnTo>
                  <a:lnTo>
                    <a:pt x="491" y="432"/>
                  </a:lnTo>
                  <a:lnTo>
                    <a:pt x="486" y="430"/>
                  </a:lnTo>
                  <a:lnTo>
                    <a:pt x="484" y="423"/>
                  </a:lnTo>
                  <a:lnTo>
                    <a:pt x="477" y="423"/>
                  </a:lnTo>
                  <a:lnTo>
                    <a:pt x="470" y="418"/>
                  </a:lnTo>
                  <a:lnTo>
                    <a:pt x="468" y="411"/>
                  </a:lnTo>
                  <a:lnTo>
                    <a:pt x="468" y="409"/>
                  </a:lnTo>
                  <a:lnTo>
                    <a:pt x="470" y="409"/>
                  </a:lnTo>
                  <a:lnTo>
                    <a:pt x="468" y="399"/>
                  </a:lnTo>
                  <a:lnTo>
                    <a:pt x="468" y="392"/>
                  </a:lnTo>
                  <a:lnTo>
                    <a:pt x="468" y="399"/>
                  </a:lnTo>
                  <a:lnTo>
                    <a:pt x="463" y="409"/>
                  </a:lnTo>
                  <a:lnTo>
                    <a:pt x="458" y="409"/>
                  </a:lnTo>
                  <a:lnTo>
                    <a:pt x="451" y="402"/>
                  </a:lnTo>
                  <a:lnTo>
                    <a:pt x="446" y="390"/>
                  </a:lnTo>
                  <a:lnTo>
                    <a:pt x="430" y="390"/>
                  </a:lnTo>
                  <a:lnTo>
                    <a:pt x="430" y="385"/>
                  </a:lnTo>
                  <a:lnTo>
                    <a:pt x="427" y="385"/>
                  </a:lnTo>
                  <a:lnTo>
                    <a:pt x="430" y="392"/>
                  </a:lnTo>
                  <a:lnTo>
                    <a:pt x="434" y="390"/>
                  </a:lnTo>
                  <a:lnTo>
                    <a:pt x="437" y="390"/>
                  </a:lnTo>
                  <a:lnTo>
                    <a:pt x="437" y="392"/>
                  </a:lnTo>
                  <a:lnTo>
                    <a:pt x="430" y="392"/>
                  </a:lnTo>
                  <a:lnTo>
                    <a:pt x="427" y="395"/>
                  </a:lnTo>
                  <a:lnTo>
                    <a:pt x="423" y="395"/>
                  </a:lnTo>
                  <a:lnTo>
                    <a:pt x="423" y="399"/>
                  </a:lnTo>
                  <a:lnTo>
                    <a:pt x="420" y="402"/>
                  </a:lnTo>
                  <a:lnTo>
                    <a:pt x="423" y="406"/>
                  </a:lnTo>
                  <a:lnTo>
                    <a:pt x="430" y="402"/>
                  </a:lnTo>
                  <a:lnTo>
                    <a:pt x="430" y="399"/>
                  </a:lnTo>
                  <a:lnTo>
                    <a:pt x="434" y="395"/>
                  </a:lnTo>
                  <a:lnTo>
                    <a:pt x="434" y="392"/>
                  </a:lnTo>
                  <a:lnTo>
                    <a:pt x="442" y="392"/>
                  </a:lnTo>
                  <a:lnTo>
                    <a:pt x="444" y="395"/>
                  </a:lnTo>
                  <a:lnTo>
                    <a:pt x="442" y="399"/>
                  </a:lnTo>
                  <a:lnTo>
                    <a:pt x="442" y="395"/>
                  </a:lnTo>
                  <a:lnTo>
                    <a:pt x="437" y="399"/>
                  </a:lnTo>
                  <a:lnTo>
                    <a:pt x="444" y="399"/>
                  </a:lnTo>
                  <a:lnTo>
                    <a:pt x="444" y="402"/>
                  </a:lnTo>
                  <a:lnTo>
                    <a:pt x="446" y="402"/>
                  </a:lnTo>
                  <a:lnTo>
                    <a:pt x="442" y="402"/>
                  </a:lnTo>
                  <a:lnTo>
                    <a:pt x="451" y="406"/>
                  </a:lnTo>
                  <a:lnTo>
                    <a:pt x="451" y="411"/>
                  </a:lnTo>
                  <a:lnTo>
                    <a:pt x="463" y="411"/>
                  </a:lnTo>
                  <a:lnTo>
                    <a:pt x="463" y="418"/>
                  </a:lnTo>
                  <a:lnTo>
                    <a:pt x="468" y="423"/>
                  </a:lnTo>
                  <a:lnTo>
                    <a:pt x="475" y="430"/>
                  </a:lnTo>
                  <a:lnTo>
                    <a:pt x="477" y="430"/>
                  </a:lnTo>
                  <a:lnTo>
                    <a:pt x="477" y="435"/>
                  </a:lnTo>
                  <a:lnTo>
                    <a:pt x="484" y="442"/>
                  </a:lnTo>
                  <a:lnTo>
                    <a:pt x="484" y="447"/>
                  </a:lnTo>
                  <a:lnTo>
                    <a:pt x="486" y="447"/>
                  </a:lnTo>
                  <a:lnTo>
                    <a:pt x="491" y="449"/>
                  </a:lnTo>
                  <a:lnTo>
                    <a:pt x="486" y="451"/>
                  </a:lnTo>
                  <a:lnTo>
                    <a:pt x="484" y="456"/>
                  </a:lnTo>
                  <a:lnTo>
                    <a:pt x="482" y="451"/>
                  </a:lnTo>
                  <a:lnTo>
                    <a:pt x="475" y="449"/>
                  </a:lnTo>
                  <a:lnTo>
                    <a:pt x="470" y="447"/>
                  </a:lnTo>
                  <a:lnTo>
                    <a:pt x="470" y="442"/>
                  </a:lnTo>
                  <a:lnTo>
                    <a:pt x="468" y="442"/>
                  </a:lnTo>
                  <a:lnTo>
                    <a:pt x="463" y="447"/>
                  </a:lnTo>
                  <a:lnTo>
                    <a:pt x="460" y="442"/>
                  </a:lnTo>
                  <a:lnTo>
                    <a:pt x="458" y="440"/>
                  </a:lnTo>
                  <a:lnTo>
                    <a:pt x="453" y="440"/>
                  </a:lnTo>
                  <a:lnTo>
                    <a:pt x="453" y="447"/>
                  </a:lnTo>
                  <a:lnTo>
                    <a:pt x="458" y="449"/>
                  </a:lnTo>
                  <a:lnTo>
                    <a:pt x="463" y="451"/>
                  </a:lnTo>
                  <a:lnTo>
                    <a:pt x="463" y="456"/>
                  </a:lnTo>
                  <a:lnTo>
                    <a:pt x="468" y="458"/>
                  </a:lnTo>
                  <a:lnTo>
                    <a:pt x="460" y="458"/>
                  </a:lnTo>
                  <a:lnTo>
                    <a:pt x="453" y="456"/>
                  </a:lnTo>
                  <a:lnTo>
                    <a:pt x="446" y="451"/>
                  </a:lnTo>
                  <a:lnTo>
                    <a:pt x="444" y="451"/>
                  </a:lnTo>
                  <a:lnTo>
                    <a:pt x="444" y="456"/>
                  </a:lnTo>
                  <a:lnTo>
                    <a:pt x="442" y="456"/>
                  </a:lnTo>
                  <a:lnTo>
                    <a:pt x="437" y="451"/>
                  </a:lnTo>
                  <a:lnTo>
                    <a:pt x="434" y="456"/>
                  </a:lnTo>
                  <a:lnTo>
                    <a:pt x="430" y="456"/>
                  </a:lnTo>
                  <a:lnTo>
                    <a:pt x="430" y="451"/>
                  </a:lnTo>
                  <a:lnTo>
                    <a:pt x="427" y="447"/>
                  </a:lnTo>
                  <a:lnTo>
                    <a:pt x="423" y="442"/>
                  </a:lnTo>
                  <a:lnTo>
                    <a:pt x="423" y="440"/>
                  </a:lnTo>
                  <a:lnTo>
                    <a:pt x="418" y="432"/>
                  </a:lnTo>
                  <a:lnTo>
                    <a:pt x="418" y="430"/>
                  </a:lnTo>
                  <a:lnTo>
                    <a:pt x="418" y="432"/>
                  </a:lnTo>
                  <a:lnTo>
                    <a:pt x="413" y="432"/>
                  </a:lnTo>
                  <a:lnTo>
                    <a:pt x="411" y="435"/>
                  </a:lnTo>
                  <a:lnTo>
                    <a:pt x="406" y="440"/>
                  </a:lnTo>
                  <a:lnTo>
                    <a:pt x="401" y="440"/>
                  </a:lnTo>
                  <a:lnTo>
                    <a:pt x="397" y="442"/>
                  </a:lnTo>
                  <a:lnTo>
                    <a:pt x="380" y="442"/>
                  </a:lnTo>
                  <a:lnTo>
                    <a:pt x="380" y="447"/>
                  </a:lnTo>
                  <a:lnTo>
                    <a:pt x="373" y="447"/>
                  </a:lnTo>
                  <a:lnTo>
                    <a:pt x="373" y="442"/>
                  </a:lnTo>
                  <a:lnTo>
                    <a:pt x="373" y="447"/>
                  </a:lnTo>
                  <a:lnTo>
                    <a:pt x="378" y="449"/>
                  </a:lnTo>
                  <a:lnTo>
                    <a:pt x="380" y="451"/>
                  </a:lnTo>
                  <a:lnTo>
                    <a:pt x="373" y="451"/>
                  </a:lnTo>
                  <a:lnTo>
                    <a:pt x="380" y="463"/>
                  </a:lnTo>
                  <a:lnTo>
                    <a:pt x="394" y="463"/>
                  </a:lnTo>
                  <a:lnTo>
                    <a:pt x="401" y="466"/>
                  </a:lnTo>
                  <a:lnTo>
                    <a:pt x="404" y="466"/>
                  </a:lnTo>
                  <a:lnTo>
                    <a:pt x="411" y="468"/>
                  </a:lnTo>
                  <a:lnTo>
                    <a:pt x="411" y="482"/>
                  </a:lnTo>
                  <a:lnTo>
                    <a:pt x="406" y="487"/>
                  </a:lnTo>
                  <a:lnTo>
                    <a:pt x="404" y="489"/>
                  </a:lnTo>
                  <a:lnTo>
                    <a:pt x="404" y="492"/>
                  </a:lnTo>
                  <a:lnTo>
                    <a:pt x="401" y="496"/>
                  </a:lnTo>
                  <a:lnTo>
                    <a:pt x="397" y="496"/>
                  </a:lnTo>
                  <a:lnTo>
                    <a:pt x="397" y="506"/>
                  </a:lnTo>
                  <a:lnTo>
                    <a:pt x="401" y="508"/>
                  </a:lnTo>
                  <a:lnTo>
                    <a:pt x="397" y="515"/>
                  </a:lnTo>
                  <a:lnTo>
                    <a:pt x="390" y="522"/>
                  </a:lnTo>
                  <a:lnTo>
                    <a:pt x="390" y="529"/>
                  </a:lnTo>
                  <a:lnTo>
                    <a:pt x="385" y="529"/>
                  </a:lnTo>
                  <a:lnTo>
                    <a:pt x="385" y="53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2" name="Freeform 391">
              <a:extLst>
                <a:ext uri="{FF2B5EF4-FFF2-40B4-BE49-F238E27FC236}">
                  <a16:creationId xmlns:a16="http://schemas.microsoft.com/office/drawing/2014/main" id="{3B158E43-14F7-4954-8BE2-BEF4D34008E8}"/>
                </a:ext>
              </a:extLst>
            </p:cNvPr>
            <p:cNvSpPr>
              <a:spLocks/>
            </p:cNvSpPr>
            <p:nvPr/>
          </p:nvSpPr>
          <p:spPr bwMode="gray">
            <a:xfrm rot="47099">
              <a:off x="1142546" y="2044069"/>
              <a:ext cx="554791" cy="434757"/>
            </a:xfrm>
            <a:custGeom>
              <a:avLst/>
              <a:gdLst>
                <a:gd name="T0" fmla="*/ 1120 w 1193"/>
                <a:gd name="T1" fmla="*/ 408 h 935"/>
                <a:gd name="T2" fmla="*/ 1068 w 1193"/>
                <a:gd name="T3" fmla="*/ 387 h 935"/>
                <a:gd name="T4" fmla="*/ 1052 w 1193"/>
                <a:gd name="T5" fmla="*/ 392 h 935"/>
                <a:gd name="T6" fmla="*/ 1047 w 1193"/>
                <a:gd name="T7" fmla="*/ 394 h 935"/>
                <a:gd name="T8" fmla="*/ 1144 w 1193"/>
                <a:gd name="T9" fmla="*/ 434 h 935"/>
                <a:gd name="T10" fmla="*/ 1179 w 1193"/>
                <a:gd name="T11" fmla="*/ 477 h 935"/>
                <a:gd name="T12" fmla="*/ 1125 w 1193"/>
                <a:gd name="T13" fmla="*/ 545 h 935"/>
                <a:gd name="T14" fmla="*/ 1113 w 1193"/>
                <a:gd name="T15" fmla="*/ 557 h 935"/>
                <a:gd name="T16" fmla="*/ 1085 w 1193"/>
                <a:gd name="T17" fmla="*/ 545 h 935"/>
                <a:gd name="T18" fmla="*/ 1089 w 1193"/>
                <a:gd name="T19" fmla="*/ 562 h 935"/>
                <a:gd name="T20" fmla="*/ 1073 w 1193"/>
                <a:gd name="T21" fmla="*/ 586 h 935"/>
                <a:gd name="T22" fmla="*/ 1033 w 1193"/>
                <a:gd name="T23" fmla="*/ 586 h 935"/>
                <a:gd name="T24" fmla="*/ 945 w 1193"/>
                <a:gd name="T25" fmla="*/ 557 h 935"/>
                <a:gd name="T26" fmla="*/ 955 w 1193"/>
                <a:gd name="T27" fmla="*/ 574 h 935"/>
                <a:gd name="T28" fmla="*/ 1011 w 1193"/>
                <a:gd name="T29" fmla="*/ 593 h 935"/>
                <a:gd name="T30" fmla="*/ 1028 w 1193"/>
                <a:gd name="T31" fmla="*/ 593 h 935"/>
                <a:gd name="T32" fmla="*/ 1075 w 1193"/>
                <a:gd name="T33" fmla="*/ 649 h 935"/>
                <a:gd name="T34" fmla="*/ 1019 w 1193"/>
                <a:gd name="T35" fmla="*/ 682 h 935"/>
                <a:gd name="T36" fmla="*/ 1007 w 1193"/>
                <a:gd name="T37" fmla="*/ 716 h 935"/>
                <a:gd name="T38" fmla="*/ 1000 w 1193"/>
                <a:gd name="T39" fmla="*/ 723 h 935"/>
                <a:gd name="T40" fmla="*/ 983 w 1193"/>
                <a:gd name="T41" fmla="*/ 749 h 935"/>
                <a:gd name="T42" fmla="*/ 971 w 1193"/>
                <a:gd name="T43" fmla="*/ 775 h 935"/>
                <a:gd name="T44" fmla="*/ 943 w 1193"/>
                <a:gd name="T45" fmla="*/ 867 h 935"/>
                <a:gd name="T46" fmla="*/ 761 w 1193"/>
                <a:gd name="T47" fmla="*/ 935 h 935"/>
                <a:gd name="T48" fmla="*/ 57 w 1193"/>
                <a:gd name="T49" fmla="*/ 16 h 935"/>
                <a:gd name="T50" fmla="*/ 111 w 1193"/>
                <a:gd name="T51" fmla="*/ 64 h 935"/>
                <a:gd name="T52" fmla="*/ 170 w 1193"/>
                <a:gd name="T53" fmla="*/ 101 h 935"/>
                <a:gd name="T54" fmla="*/ 208 w 1193"/>
                <a:gd name="T55" fmla="*/ 104 h 935"/>
                <a:gd name="T56" fmla="*/ 213 w 1193"/>
                <a:gd name="T57" fmla="*/ 158 h 935"/>
                <a:gd name="T58" fmla="*/ 178 w 1193"/>
                <a:gd name="T59" fmla="*/ 186 h 935"/>
                <a:gd name="T60" fmla="*/ 244 w 1193"/>
                <a:gd name="T61" fmla="*/ 215 h 935"/>
                <a:gd name="T62" fmla="*/ 324 w 1193"/>
                <a:gd name="T63" fmla="*/ 222 h 935"/>
                <a:gd name="T64" fmla="*/ 357 w 1193"/>
                <a:gd name="T65" fmla="*/ 217 h 935"/>
                <a:gd name="T66" fmla="*/ 390 w 1193"/>
                <a:gd name="T67" fmla="*/ 257 h 935"/>
                <a:gd name="T68" fmla="*/ 414 w 1193"/>
                <a:gd name="T69" fmla="*/ 274 h 935"/>
                <a:gd name="T70" fmla="*/ 395 w 1193"/>
                <a:gd name="T71" fmla="*/ 297 h 935"/>
                <a:gd name="T72" fmla="*/ 421 w 1193"/>
                <a:gd name="T73" fmla="*/ 340 h 935"/>
                <a:gd name="T74" fmla="*/ 428 w 1193"/>
                <a:gd name="T75" fmla="*/ 297 h 935"/>
                <a:gd name="T76" fmla="*/ 442 w 1193"/>
                <a:gd name="T77" fmla="*/ 312 h 935"/>
                <a:gd name="T78" fmla="*/ 430 w 1193"/>
                <a:gd name="T79" fmla="*/ 227 h 935"/>
                <a:gd name="T80" fmla="*/ 442 w 1193"/>
                <a:gd name="T81" fmla="*/ 210 h 935"/>
                <a:gd name="T82" fmla="*/ 478 w 1193"/>
                <a:gd name="T83" fmla="*/ 208 h 935"/>
                <a:gd name="T84" fmla="*/ 478 w 1193"/>
                <a:gd name="T85" fmla="*/ 175 h 935"/>
                <a:gd name="T86" fmla="*/ 430 w 1193"/>
                <a:gd name="T87" fmla="*/ 186 h 935"/>
                <a:gd name="T88" fmla="*/ 414 w 1193"/>
                <a:gd name="T89" fmla="*/ 186 h 935"/>
                <a:gd name="T90" fmla="*/ 444 w 1193"/>
                <a:gd name="T91" fmla="*/ 158 h 935"/>
                <a:gd name="T92" fmla="*/ 504 w 1193"/>
                <a:gd name="T93" fmla="*/ 146 h 935"/>
                <a:gd name="T94" fmla="*/ 534 w 1193"/>
                <a:gd name="T95" fmla="*/ 198 h 935"/>
                <a:gd name="T96" fmla="*/ 558 w 1193"/>
                <a:gd name="T97" fmla="*/ 222 h 935"/>
                <a:gd name="T98" fmla="*/ 596 w 1193"/>
                <a:gd name="T99" fmla="*/ 238 h 935"/>
                <a:gd name="T100" fmla="*/ 664 w 1193"/>
                <a:gd name="T101" fmla="*/ 250 h 935"/>
                <a:gd name="T102" fmla="*/ 744 w 1193"/>
                <a:gd name="T103" fmla="*/ 241 h 935"/>
                <a:gd name="T104" fmla="*/ 778 w 1193"/>
                <a:gd name="T105" fmla="*/ 262 h 935"/>
                <a:gd name="T106" fmla="*/ 775 w 1193"/>
                <a:gd name="T107" fmla="*/ 227 h 935"/>
                <a:gd name="T108" fmla="*/ 749 w 1193"/>
                <a:gd name="T109" fmla="*/ 222 h 935"/>
                <a:gd name="T110" fmla="*/ 754 w 1193"/>
                <a:gd name="T111" fmla="*/ 201 h 935"/>
                <a:gd name="T112" fmla="*/ 775 w 1193"/>
                <a:gd name="T113" fmla="*/ 184 h 935"/>
                <a:gd name="T114" fmla="*/ 801 w 1193"/>
                <a:gd name="T115" fmla="*/ 208 h 935"/>
                <a:gd name="T116" fmla="*/ 815 w 1193"/>
                <a:gd name="T117" fmla="*/ 224 h 935"/>
                <a:gd name="T118" fmla="*/ 832 w 1193"/>
                <a:gd name="T119" fmla="*/ 217 h 935"/>
                <a:gd name="T120" fmla="*/ 830 w 1193"/>
                <a:gd name="T121" fmla="*/ 278 h 935"/>
                <a:gd name="T122" fmla="*/ 848 w 1193"/>
                <a:gd name="T123" fmla="*/ 290 h 935"/>
                <a:gd name="T124" fmla="*/ 848 w 1193"/>
                <a:gd name="T125" fmla="*/ 314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93"/>
                <a:gd name="T190" fmla="*/ 0 h 935"/>
                <a:gd name="T191" fmla="*/ 1193 w 1193"/>
                <a:gd name="T192" fmla="*/ 935 h 9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93" h="935">
                  <a:moveTo>
                    <a:pt x="1184" y="408"/>
                  </a:moveTo>
                  <a:lnTo>
                    <a:pt x="1179" y="408"/>
                  </a:lnTo>
                  <a:lnTo>
                    <a:pt x="1179" y="418"/>
                  </a:lnTo>
                  <a:lnTo>
                    <a:pt x="1172" y="425"/>
                  </a:lnTo>
                  <a:lnTo>
                    <a:pt x="1170" y="425"/>
                  </a:lnTo>
                  <a:lnTo>
                    <a:pt x="1156" y="427"/>
                  </a:lnTo>
                  <a:lnTo>
                    <a:pt x="1148" y="427"/>
                  </a:lnTo>
                  <a:lnTo>
                    <a:pt x="1146" y="425"/>
                  </a:lnTo>
                  <a:lnTo>
                    <a:pt x="1139" y="420"/>
                  </a:lnTo>
                  <a:lnTo>
                    <a:pt x="1137" y="418"/>
                  </a:lnTo>
                  <a:lnTo>
                    <a:pt x="1132" y="416"/>
                  </a:lnTo>
                  <a:lnTo>
                    <a:pt x="1122" y="408"/>
                  </a:lnTo>
                  <a:lnTo>
                    <a:pt x="1120" y="408"/>
                  </a:lnTo>
                  <a:lnTo>
                    <a:pt x="1113" y="404"/>
                  </a:lnTo>
                  <a:lnTo>
                    <a:pt x="1125" y="404"/>
                  </a:lnTo>
                  <a:lnTo>
                    <a:pt x="1113" y="401"/>
                  </a:lnTo>
                  <a:lnTo>
                    <a:pt x="1106" y="401"/>
                  </a:lnTo>
                  <a:lnTo>
                    <a:pt x="1104" y="399"/>
                  </a:lnTo>
                  <a:lnTo>
                    <a:pt x="1099" y="399"/>
                  </a:lnTo>
                  <a:lnTo>
                    <a:pt x="1099" y="394"/>
                  </a:lnTo>
                  <a:lnTo>
                    <a:pt x="1089" y="392"/>
                  </a:lnTo>
                  <a:lnTo>
                    <a:pt x="1082" y="387"/>
                  </a:lnTo>
                  <a:lnTo>
                    <a:pt x="1080" y="385"/>
                  </a:lnTo>
                  <a:lnTo>
                    <a:pt x="1066" y="385"/>
                  </a:lnTo>
                  <a:lnTo>
                    <a:pt x="1068" y="385"/>
                  </a:lnTo>
                  <a:lnTo>
                    <a:pt x="1068" y="387"/>
                  </a:lnTo>
                  <a:lnTo>
                    <a:pt x="1073" y="387"/>
                  </a:lnTo>
                  <a:lnTo>
                    <a:pt x="1075" y="392"/>
                  </a:lnTo>
                  <a:lnTo>
                    <a:pt x="1075" y="394"/>
                  </a:lnTo>
                  <a:lnTo>
                    <a:pt x="1073" y="394"/>
                  </a:lnTo>
                  <a:lnTo>
                    <a:pt x="1068" y="392"/>
                  </a:lnTo>
                  <a:lnTo>
                    <a:pt x="1059" y="392"/>
                  </a:lnTo>
                  <a:lnTo>
                    <a:pt x="1059" y="394"/>
                  </a:lnTo>
                  <a:lnTo>
                    <a:pt x="1052" y="394"/>
                  </a:lnTo>
                  <a:lnTo>
                    <a:pt x="1049" y="392"/>
                  </a:lnTo>
                  <a:lnTo>
                    <a:pt x="1056" y="392"/>
                  </a:lnTo>
                  <a:lnTo>
                    <a:pt x="1059" y="387"/>
                  </a:lnTo>
                  <a:lnTo>
                    <a:pt x="1056" y="387"/>
                  </a:lnTo>
                  <a:lnTo>
                    <a:pt x="1052" y="392"/>
                  </a:lnTo>
                  <a:lnTo>
                    <a:pt x="1026" y="392"/>
                  </a:lnTo>
                  <a:lnTo>
                    <a:pt x="1016" y="387"/>
                  </a:lnTo>
                  <a:lnTo>
                    <a:pt x="1011" y="392"/>
                  </a:lnTo>
                  <a:lnTo>
                    <a:pt x="1016" y="394"/>
                  </a:lnTo>
                  <a:lnTo>
                    <a:pt x="1016" y="399"/>
                  </a:lnTo>
                  <a:lnTo>
                    <a:pt x="1023" y="399"/>
                  </a:lnTo>
                  <a:lnTo>
                    <a:pt x="1028" y="401"/>
                  </a:lnTo>
                  <a:lnTo>
                    <a:pt x="1028" y="399"/>
                  </a:lnTo>
                  <a:lnTo>
                    <a:pt x="1026" y="394"/>
                  </a:lnTo>
                  <a:lnTo>
                    <a:pt x="1026" y="392"/>
                  </a:lnTo>
                  <a:lnTo>
                    <a:pt x="1033" y="392"/>
                  </a:lnTo>
                  <a:lnTo>
                    <a:pt x="1040" y="394"/>
                  </a:lnTo>
                  <a:lnTo>
                    <a:pt x="1047" y="394"/>
                  </a:lnTo>
                  <a:lnTo>
                    <a:pt x="1066" y="399"/>
                  </a:lnTo>
                  <a:lnTo>
                    <a:pt x="1068" y="399"/>
                  </a:lnTo>
                  <a:lnTo>
                    <a:pt x="1080" y="401"/>
                  </a:lnTo>
                  <a:lnTo>
                    <a:pt x="1080" y="404"/>
                  </a:lnTo>
                  <a:lnTo>
                    <a:pt x="1082" y="404"/>
                  </a:lnTo>
                  <a:lnTo>
                    <a:pt x="1092" y="418"/>
                  </a:lnTo>
                  <a:lnTo>
                    <a:pt x="1099" y="420"/>
                  </a:lnTo>
                  <a:lnTo>
                    <a:pt x="1106" y="427"/>
                  </a:lnTo>
                  <a:lnTo>
                    <a:pt x="1108" y="434"/>
                  </a:lnTo>
                  <a:lnTo>
                    <a:pt x="1122" y="434"/>
                  </a:lnTo>
                  <a:lnTo>
                    <a:pt x="1125" y="432"/>
                  </a:lnTo>
                  <a:lnTo>
                    <a:pt x="1130" y="434"/>
                  </a:lnTo>
                  <a:lnTo>
                    <a:pt x="1144" y="434"/>
                  </a:lnTo>
                  <a:lnTo>
                    <a:pt x="1146" y="432"/>
                  </a:lnTo>
                  <a:lnTo>
                    <a:pt x="1146" y="434"/>
                  </a:lnTo>
                  <a:lnTo>
                    <a:pt x="1148" y="432"/>
                  </a:lnTo>
                  <a:lnTo>
                    <a:pt x="1153" y="432"/>
                  </a:lnTo>
                  <a:lnTo>
                    <a:pt x="1160" y="427"/>
                  </a:lnTo>
                  <a:lnTo>
                    <a:pt x="1186" y="427"/>
                  </a:lnTo>
                  <a:lnTo>
                    <a:pt x="1189" y="434"/>
                  </a:lnTo>
                  <a:lnTo>
                    <a:pt x="1193" y="437"/>
                  </a:lnTo>
                  <a:lnTo>
                    <a:pt x="1193" y="444"/>
                  </a:lnTo>
                  <a:lnTo>
                    <a:pt x="1189" y="444"/>
                  </a:lnTo>
                  <a:lnTo>
                    <a:pt x="1189" y="449"/>
                  </a:lnTo>
                  <a:lnTo>
                    <a:pt x="1186" y="451"/>
                  </a:lnTo>
                  <a:lnTo>
                    <a:pt x="1179" y="477"/>
                  </a:lnTo>
                  <a:lnTo>
                    <a:pt x="1179" y="484"/>
                  </a:lnTo>
                  <a:lnTo>
                    <a:pt x="1177" y="491"/>
                  </a:lnTo>
                  <a:lnTo>
                    <a:pt x="1172" y="496"/>
                  </a:lnTo>
                  <a:lnTo>
                    <a:pt x="1170" y="496"/>
                  </a:lnTo>
                  <a:lnTo>
                    <a:pt x="1170" y="524"/>
                  </a:lnTo>
                  <a:lnTo>
                    <a:pt x="1163" y="531"/>
                  </a:lnTo>
                  <a:lnTo>
                    <a:pt x="1156" y="534"/>
                  </a:lnTo>
                  <a:lnTo>
                    <a:pt x="1148" y="545"/>
                  </a:lnTo>
                  <a:lnTo>
                    <a:pt x="1144" y="548"/>
                  </a:lnTo>
                  <a:lnTo>
                    <a:pt x="1144" y="553"/>
                  </a:lnTo>
                  <a:lnTo>
                    <a:pt x="1132" y="548"/>
                  </a:lnTo>
                  <a:lnTo>
                    <a:pt x="1130" y="548"/>
                  </a:lnTo>
                  <a:lnTo>
                    <a:pt x="1125" y="545"/>
                  </a:lnTo>
                  <a:lnTo>
                    <a:pt x="1122" y="541"/>
                  </a:lnTo>
                  <a:lnTo>
                    <a:pt x="1122" y="538"/>
                  </a:lnTo>
                  <a:lnTo>
                    <a:pt x="1120" y="538"/>
                  </a:lnTo>
                  <a:lnTo>
                    <a:pt x="1122" y="548"/>
                  </a:lnTo>
                  <a:lnTo>
                    <a:pt x="1130" y="553"/>
                  </a:lnTo>
                  <a:lnTo>
                    <a:pt x="1130" y="555"/>
                  </a:lnTo>
                  <a:lnTo>
                    <a:pt x="1122" y="555"/>
                  </a:lnTo>
                  <a:lnTo>
                    <a:pt x="1120" y="553"/>
                  </a:lnTo>
                  <a:lnTo>
                    <a:pt x="1115" y="548"/>
                  </a:lnTo>
                  <a:lnTo>
                    <a:pt x="1108" y="545"/>
                  </a:lnTo>
                  <a:lnTo>
                    <a:pt x="1108" y="555"/>
                  </a:lnTo>
                  <a:lnTo>
                    <a:pt x="1113" y="555"/>
                  </a:lnTo>
                  <a:lnTo>
                    <a:pt x="1113" y="557"/>
                  </a:lnTo>
                  <a:lnTo>
                    <a:pt x="1113" y="555"/>
                  </a:lnTo>
                  <a:lnTo>
                    <a:pt x="1108" y="553"/>
                  </a:lnTo>
                  <a:lnTo>
                    <a:pt x="1106" y="548"/>
                  </a:lnTo>
                  <a:lnTo>
                    <a:pt x="1104" y="545"/>
                  </a:lnTo>
                  <a:lnTo>
                    <a:pt x="1104" y="548"/>
                  </a:lnTo>
                  <a:lnTo>
                    <a:pt x="1099" y="548"/>
                  </a:lnTo>
                  <a:lnTo>
                    <a:pt x="1096" y="545"/>
                  </a:lnTo>
                  <a:lnTo>
                    <a:pt x="1099" y="541"/>
                  </a:lnTo>
                  <a:lnTo>
                    <a:pt x="1099" y="534"/>
                  </a:lnTo>
                  <a:lnTo>
                    <a:pt x="1096" y="531"/>
                  </a:lnTo>
                  <a:lnTo>
                    <a:pt x="1096" y="541"/>
                  </a:lnTo>
                  <a:lnTo>
                    <a:pt x="1089" y="541"/>
                  </a:lnTo>
                  <a:lnTo>
                    <a:pt x="1085" y="545"/>
                  </a:lnTo>
                  <a:lnTo>
                    <a:pt x="1089" y="545"/>
                  </a:lnTo>
                  <a:lnTo>
                    <a:pt x="1092" y="548"/>
                  </a:lnTo>
                  <a:lnTo>
                    <a:pt x="1096" y="553"/>
                  </a:lnTo>
                  <a:lnTo>
                    <a:pt x="1096" y="555"/>
                  </a:lnTo>
                  <a:lnTo>
                    <a:pt x="1099" y="555"/>
                  </a:lnTo>
                  <a:lnTo>
                    <a:pt x="1099" y="562"/>
                  </a:lnTo>
                  <a:lnTo>
                    <a:pt x="1092" y="562"/>
                  </a:lnTo>
                  <a:lnTo>
                    <a:pt x="1096" y="557"/>
                  </a:lnTo>
                  <a:lnTo>
                    <a:pt x="1092" y="557"/>
                  </a:lnTo>
                  <a:lnTo>
                    <a:pt x="1092" y="555"/>
                  </a:lnTo>
                  <a:lnTo>
                    <a:pt x="1082" y="555"/>
                  </a:lnTo>
                  <a:lnTo>
                    <a:pt x="1082" y="557"/>
                  </a:lnTo>
                  <a:lnTo>
                    <a:pt x="1089" y="562"/>
                  </a:lnTo>
                  <a:lnTo>
                    <a:pt x="1096" y="571"/>
                  </a:lnTo>
                  <a:lnTo>
                    <a:pt x="1096" y="574"/>
                  </a:lnTo>
                  <a:lnTo>
                    <a:pt x="1092" y="579"/>
                  </a:lnTo>
                  <a:lnTo>
                    <a:pt x="1092" y="588"/>
                  </a:lnTo>
                  <a:lnTo>
                    <a:pt x="1089" y="588"/>
                  </a:lnTo>
                  <a:lnTo>
                    <a:pt x="1089" y="593"/>
                  </a:lnTo>
                  <a:lnTo>
                    <a:pt x="1080" y="593"/>
                  </a:lnTo>
                  <a:lnTo>
                    <a:pt x="1080" y="588"/>
                  </a:lnTo>
                  <a:lnTo>
                    <a:pt x="1075" y="586"/>
                  </a:lnTo>
                  <a:lnTo>
                    <a:pt x="1068" y="586"/>
                  </a:lnTo>
                  <a:lnTo>
                    <a:pt x="1068" y="588"/>
                  </a:lnTo>
                  <a:lnTo>
                    <a:pt x="1073" y="588"/>
                  </a:lnTo>
                  <a:lnTo>
                    <a:pt x="1073" y="586"/>
                  </a:lnTo>
                  <a:lnTo>
                    <a:pt x="1075" y="588"/>
                  </a:lnTo>
                  <a:lnTo>
                    <a:pt x="1075" y="593"/>
                  </a:lnTo>
                  <a:lnTo>
                    <a:pt x="1068" y="595"/>
                  </a:lnTo>
                  <a:lnTo>
                    <a:pt x="1066" y="597"/>
                  </a:lnTo>
                  <a:lnTo>
                    <a:pt x="1059" y="597"/>
                  </a:lnTo>
                  <a:lnTo>
                    <a:pt x="1059" y="595"/>
                  </a:lnTo>
                  <a:lnTo>
                    <a:pt x="1056" y="595"/>
                  </a:lnTo>
                  <a:lnTo>
                    <a:pt x="1052" y="593"/>
                  </a:lnTo>
                  <a:lnTo>
                    <a:pt x="1040" y="593"/>
                  </a:lnTo>
                  <a:lnTo>
                    <a:pt x="1042" y="588"/>
                  </a:lnTo>
                  <a:lnTo>
                    <a:pt x="1040" y="588"/>
                  </a:lnTo>
                  <a:lnTo>
                    <a:pt x="1035" y="586"/>
                  </a:lnTo>
                  <a:lnTo>
                    <a:pt x="1033" y="586"/>
                  </a:lnTo>
                  <a:lnTo>
                    <a:pt x="1033" y="588"/>
                  </a:lnTo>
                  <a:lnTo>
                    <a:pt x="1019" y="586"/>
                  </a:lnTo>
                  <a:lnTo>
                    <a:pt x="1011" y="588"/>
                  </a:lnTo>
                  <a:lnTo>
                    <a:pt x="1009" y="588"/>
                  </a:lnTo>
                  <a:lnTo>
                    <a:pt x="1009" y="586"/>
                  </a:lnTo>
                  <a:lnTo>
                    <a:pt x="1000" y="581"/>
                  </a:lnTo>
                  <a:lnTo>
                    <a:pt x="985" y="581"/>
                  </a:lnTo>
                  <a:lnTo>
                    <a:pt x="976" y="574"/>
                  </a:lnTo>
                  <a:lnTo>
                    <a:pt x="967" y="571"/>
                  </a:lnTo>
                  <a:lnTo>
                    <a:pt x="962" y="571"/>
                  </a:lnTo>
                  <a:lnTo>
                    <a:pt x="955" y="569"/>
                  </a:lnTo>
                  <a:lnTo>
                    <a:pt x="948" y="562"/>
                  </a:lnTo>
                  <a:lnTo>
                    <a:pt x="945" y="557"/>
                  </a:lnTo>
                  <a:lnTo>
                    <a:pt x="943" y="555"/>
                  </a:lnTo>
                  <a:lnTo>
                    <a:pt x="945" y="562"/>
                  </a:lnTo>
                  <a:lnTo>
                    <a:pt x="948" y="564"/>
                  </a:lnTo>
                  <a:lnTo>
                    <a:pt x="948" y="571"/>
                  </a:lnTo>
                  <a:lnTo>
                    <a:pt x="945" y="571"/>
                  </a:lnTo>
                  <a:lnTo>
                    <a:pt x="943" y="574"/>
                  </a:lnTo>
                  <a:lnTo>
                    <a:pt x="948" y="579"/>
                  </a:lnTo>
                  <a:lnTo>
                    <a:pt x="952" y="581"/>
                  </a:lnTo>
                  <a:lnTo>
                    <a:pt x="955" y="586"/>
                  </a:lnTo>
                  <a:lnTo>
                    <a:pt x="962" y="586"/>
                  </a:lnTo>
                  <a:lnTo>
                    <a:pt x="967" y="581"/>
                  </a:lnTo>
                  <a:lnTo>
                    <a:pt x="962" y="581"/>
                  </a:lnTo>
                  <a:lnTo>
                    <a:pt x="955" y="574"/>
                  </a:lnTo>
                  <a:lnTo>
                    <a:pt x="955" y="571"/>
                  </a:lnTo>
                  <a:lnTo>
                    <a:pt x="959" y="571"/>
                  </a:lnTo>
                  <a:lnTo>
                    <a:pt x="962" y="574"/>
                  </a:lnTo>
                  <a:lnTo>
                    <a:pt x="969" y="579"/>
                  </a:lnTo>
                  <a:lnTo>
                    <a:pt x="976" y="581"/>
                  </a:lnTo>
                  <a:lnTo>
                    <a:pt x="983" y="581"/>
                  </a:lnTo>
                  <a:lnTo>
                    <a:pt x="988" y="586"/>
                  </a:lnTo>
                  <a:lnTo>
                    <a:pt x="993" y="581"/>
                  </a:lnTo>
                  <a:lnTo>
                    <a:pt x="995" y="581"/>
                  </a:lnTo>
                  <a:lnTo>
                    <a:pt x="1000" y="586"/>
                  </a:lnTo>
                  <a:lnTo>
                    <a:pt x="1000" y="588"/>
                  </a:lnTo>
                  <a:lnTo>
                    <a:pt x="1009" y="588"/>
                  </a:lnTo>
                  <a:lnTo>
                    <a:pt x="1011" y="593"/>
                  </a:lnTo>
                  <a:lnTo>
                    <a:pt x="1009" y="597"/>
                  </a:lnTo>
                  <a:lnTo>
                    <a:pt x="1007" y="597"/>
                  </a:lnTo>
                  <a:lnTo>
                    <a:pt x="1002" y="602"/>
                  </a:lnTo>
                  <a:lnTo>
                    <a:pt x="1000" y="605"/>
                  </a:lnTo>
                  <a:lnTo>
                    <a:pt x="1000" y="609"/>
                  </a:lnTo>
                  <a:lnTo>
                    <a:pt x="1002" y="605"/>
                  </a:lnTo>
                  <a:lnTo>
                    <a:pt x="1007" y="605"/>
                  </a:lnTo>
                  <a:lnTo>
                    <a:pt x="1009" y="597"/>
                  </a:lnTo>
                  <a:lnTo>
                    <a:pt x="1011" y="597"/>
                  </a:lnTo>
                  <a:lnTo>
                    <a:pt x="1019" y="593"/>
                  </a:lnTo>
                  <a:lnTo>
                    <a:pt x="1023" y="588"/>
                  </a:lnTo>
                  <a:lnTo>
                    <a:pt x="1028" y="588"/>
                  </a:lnTo>
                  <a:lnTo>
                    <a:pt x="1028" y="593"/>
                  </a:lnTo>
                  <a:lnTo>
                    <a:pt x="1033" y="595"/>
                  </a:lnTo>
                  <a:lnTo>
                    <a:pt x="1033" y="597"/>
                  </a:lnTo>
                  <a:lnTo>
                    <a:pt x="1042" y="602"/>
                  </a:lnTo>
                  <a:lnTo>
                    <a:pt x="1049" y="605"/>
                  </a:lnTo>
                  <a:lnTo>
                    <a:pt x="1052" y="605"/>
                  </a:lnTo>
                  <a:lnTo>
                    <a:pt x="1063" y="609"/>
                  </a:lnTo>
                  <a:lnTo>
                    <a:pt x="1066" y="612"/>
                  </a:lnTo>
                  <a:lnTo>
                    <a:pt x="1063" y="612"/>
                  </a:lnTo>
                  <a:lnTo>
                    <a:pt x="1068" y="614"/>
                  </a:lnTo>
                  <a:lnTo>
                    <a:pt x="1073" y="614"/>
                  </a:lnTo>
                  <a:lnTo>
                    <a:pt x="1075" y="626"/>
                  </a:lnTo>
                  <a:lnTo>
                    <a:pt x="1080" y="642"/>
                  </a:lnTo>
                  <a:lnTo>
                    <a:pt x="1075" y="649"/>
                  </a:lnTo>
                  <a:lnTo>
                    <a:pt x="1075" y="652"/>
                  </a:lnTo>
                  <a:lnTo>
                    <a:pt x="1063" y="652"/>
                  </a:lnTo>
                  <a:lnTo>
                    <a:pt x="1059" y="654"/>
                  </a:lnTo>
                  <a:lnTo>
                    <a:pt x="1059" y="661"/>
                  </a:lnTo>
                  <a:lnTo>
                    <a:pt x="1052" y="668"/>
                  </a:lnTo>
                  <a:lnTo>
                    <a:pt x="1042" y="668"/>
                  </a:lnTo>
                  <a:lnTo>
                    <a:pt x="1033" y="666"/>
                  </a:lnTo>
                  <a:lnTo>
                    <a:pt x="1026" y="666"/>
                  </a:lnTo>
                  <a:lnTo>
                    <a:pt x="1023" y="668"/>
                  </a:lnTo>
                  <a:lnTo>
                    <a:pt x="1009" y="668"/>
                  </a:lnTo>
                  <a:lnTo>
                    <a:pt x="1009" y="671"/>
                  </a:lnTo>
                  <a:lnTo>
                    <a:pt x="1011" y="678"/>
                  </a:lnTo>
                  <a:lnTo>
                    <a:pt x="1019" y="682"/>
                  </a:lnTo>
                  <a:lnTo>
                    <a:pt x="1033" y="682"/>
                  </a:lnTo>
                  <a:lnTo>
                    <a:pt x="1033" y="692"/>
                  </a:lnTo>
                  <a:lnTo>
                    <a:pt x="1026" y="694"/>
                  </a:lnTo>
                  <a:lnTo>
                    <a:pt x="1023" y="690"/>
                  </a:lnTo>
                  <a:lnTo>
                    <a:pt x="1016" y="690"/>
                  </a:lnTo>
                  <a:lnTo>
                    <a:pt x="1019" y="692"/>
                  </a:lnTo>
                  <a:lnTo>
                    <a:pt x="1016" y="694"/>
                  </a:lnTo>
                  <a:lnTo>
                    <a:pt x="1007" y="694"/>
                  </a:lnTo>
                  <a:lnTo>
                    <a:pt x="1007" y="701"/>
                  </a:lnTo>
                  <a:lnTo>
                    <a:pt x="1000" y="701"/>
                  </a:lnTo>
                  <a:lnTo>
                    <a:pt x="1000" y="706"/>
                  </a:lnTo>
                  <a:lnTo>
                    <a:pt x="1002" y="711"/>
                  </a:lnTo>
                  <a:lnTo>
                    <a:pt x="1007" y="716"/>
                  </a:lnTo>
                  <a:lnTo>
                    <a:pt x="1007" y="723"/>
                  </a:lnTo>
                  <a:lnTo>
                    <a:pt x="1009" y="725"/>
                  </a:lnTo>
                  <a:lnTo>
                    <a:pt x="1011" y="730"/>
                  </a:lnTo>
                  <a:lnTo>
                    <a:pt x="1009" y="730"/>
                  </a:lnTo>
                  <a:lnTo>
                    <a:pt x="1007" y="725"/>
                  </a:lnTo>
                  <a:lnTo>
                    <a:pt x="1002" y="718"/>
                  </a:lnTo>
                  <a:lnTo>
                    <a:pt x="1000" y="718"/>
                  </a:lnTo>
                  <a:lnTo>
                    <a:pt x="995" y="716"/>
                  </a:lnTo>
                  <a:lnTo>
                    <a:pt x="985" y="716"/>
                  </a:lnTo>
                  <a:lnTo>
                    <a:pt x="995" y="723"/>
                  </a:lnTo>
                  <a:lnTo>
                    <a:pt x="995" y="718"/>
                  </a:lnTo>
                  <a:lnTo>
                    <a:pt x="995" y="723"/>
                  </a:lnTo>
                  <a:lnTo>
                    <a:pt x="1000" y="723"/>
                  </a:lnTo>
                  <a:lnTo>
                    <a:pt x="1000" y="730"/>
                  </a:lnTo>
                  <a:lnTo>
                    <a:pt x="993" y="725"/>
                  </a:lnTo>
                  <a:lnTo>
                    <a:pt x="988" y="730"/>
                  </a:lnTo>
                  <a:lnTo>
                    <a:pt x="985" y="732"/>
                  </a:lnTo>
                  <a:lnTo>
                    <a:pt x="988" y="734"/>
                  </a:lnTo>
                  <a:lnTo>
                    <a:pt x="988" y="732"/>
                  </a:lnTo>
                  <a:lnTo>
                    <a:pt x="995" y="734"/>
                  </a:lnTo>
                  <a:lnTo>
                    <a:pt x="993" y="739"/>
                  </a:lnTo>
                  <a:lnTo>
                    <a:pt x="985" y="742"/>
                  </a:lnTo>
                  <a:lnTo>
                    <a:pt x="976" y="742"/>
                  </a:lnTo>
                  <a:lnTo>
                    <a:pt x="976" y="746"/>
                  </a:lnTo>
                  <a:lnTo>
                    <a:pt x="978" y="746"/>
                  </a:lnTo>
                  <a:lnTo>
                    <a:pt x="983" y="749"/>
                  </a:lnTo>
                  <a:lnTo>
                    <a:pt x="983" y="756"/>
                  </a:lnTo>
                  <a:lnTo>
                    <a:pt x="978" y="756"/>
                  </a:lnTo>
                  <a:lnTo>
                    <a:pt x="976" y="751"/>
                  </a:lnTo>
                  <a:lnTo>
                    <a:pt x="967" y="751"/>
                  </a:lnTo>
                  <a:lnTo>
                    <a:pt x="969" y="756"/>
                  </a:lnTo>
                  <a:lnTo>
                    <a:pt x="969" y="758"/>
                  </a:lnTo>
                  <a:lnTo>
                    <a:pt x="976" y="763"/>
                  </a:lnTo>
                  <a:lnTo>
                    <a:pt x="983" y="763"/>
                  </a:lnTo>
                  <a:lnTo>
                    <a:pt x="985" y="765"/>
                  </a:lnTo>
                  <a:lnTo>
                    <a:pt x="985" y="768"/>
                  </a:lnTo>
                  <a:lnTo>
                    <a:pt x="978" y="772"/>
                  </a:lnTo>
                  <a:lnTo>
                    <a:pt x="976" y="772"/>
                  </a:lnTo>
                  <a:lnTo>
                    <a:pt x="971" y="775"/>
                  </a:lnTo>
                  <a:lnTo>
                    <a:pt x="969" y="779"/>
                  </a:lnTo>
                  <a:lnTo>
                    <a:pt x="959" y="786"/>
                  </a:lnTo>
                  <a:lnTo>
                    <a:pt x="955" y="796"/>
                  </a:lnTo>
                  <a:lnTo>
                    <a:pt x="955" y="803"/>
                  </a:lnTo>
                  <a:lnTo>
                    <a:pt x="962" y="803"/>
                  </a:lnTo>
                  <a:lnTo>
                    <a:pt x="962" y="808"/>
                  </a:lnTo>
                  <a:lnTo>
                    <a:pt x="959" y="808"/>
                  </a:lnTo>
                  <a:lnTo>
                    <a:pt x="955" y="819"/>
                  </a:lnTo>
                  <a:lnTo>
                    <a:pt x="952" y="831"/>
                  </a:lnTo>
                  <a:lnTo>
                    <a:pt x="948" y="843"/>
                  </a:lnTo>
                  <a:lnTo>
                    <a:pt x="945" y="848"/>
                  </a:lnTo>
                  <a:lnTo>
                    <a:pt x="943" y="855"/>
                  </a:lnTo>
                  <a:lnTo>
                    <a:pt x="943" y="867"/>
                  </a:lnTo>
                  <a:lnTo>
                    <a:pt x="938" y="879"/>
                  </a:lnTo>
                  <a:lnTo>
                    <a:pt x="931" y="879"/>
                  </a:lnTo>
                  <a:lnTo>
                    <a:pt x="931" y="886"/>
                  </a:lnTo>
                  <a:lnTo>
                    <a:pt x="936" y="888"/>
                  </a:lnTo>
                  <a:lnTo>
                    <a:pt x="936" y="909"/>
                  </a:lnTo>
                  <a:lnTo>
                    <a:pt x="931" y="919"/>
                  </a:lnTo>
                  <a:lnTo>
                    <a:pt x="931" y="923"/>
                  </a:lnTo>
                  <a:lnTo>
                    <a:pt x="929" y="926"/>
                  </a:lnTo>
                  <a:lnTo>
                    <a:pt x="903" y="928"/>
                  </a:lnTo>
                  <a:lnTo>
                    <a:pt x="865" y="928"/>
                  </a:lnTo>
                  <a:lnTo>
                    <a:pt x="848" y="933"/>
                  </a:lnTo>
                  <a:lnTo>
                    <a:pt x="766" y="933"/>
                  </a:lnTo>
                  <a:lnTo>
                    <a:pt x="761" y="935"/>
                  </a:lnTo>
                  <a:lnTo>
                    <a:pt x="631" y="935"/>
                  </a:lnTo>
                  <a:lnTo>
                    <a:pt x="615" y="933"/>
                  </a:lnTo>
                  <a:lnTo>
                    <a:pt x="605" y="933"/>
                  </a:lnTo>
                  <a:lnTo>
                    <a:pt x="617" y="557"/>
                  </a:lnTo>
                  <a:lnTo>
                    <a:pt x="338" y="484"/>
                  </a:lnTo>
                  <a:lnTo>
                    <a:pt x="298" y="420"/>
                  </a:lnTo>
                  <a:lnTo>
                    <a:pt x="227" y="408"/>
                  </a:lnTo>
                  <a:lnTo>
                    <a:pt x="0" y="130"/>
                  </a:lnTo>
                  <a:lnTo>
                    <a:pt x="48" y="0"/>
                  </a:lnTo>
                  <a:lnTo>
                    <a:pt x="48" y="4"/>
                  </a:lnTo>
                  <a:lnTo>
                    <a:pt x="52" y="14"/>
                  </a:lnTo>
                  <a:lnTo>
                    <a:pt x="52" y="16"/>
                  </a:lnTo>
                  <a:lnTo>
                    <a:pt x="57" y="16"/>
                  </a:lnTo>
                  <a:lnTo>
                    <a:pt x="64" y="23"/>
                  </a:lnTo>
                  <a:lnTo>
                    <a:pt x="74" y="30"/>
                  </a:lnTo>
                  <a:lnTo>
                    <a:pt x="76" y="33"/>
                  </a:lnTo>
                  <a:lnTo>
                    <a:pt x="83" y="33"/>
                  </a:lnTo>
                  <a:lnTo>
                    <a:pt x="90" y="40"/>
                  </a:lnTo>
                  <a:lnTo>
                    <a:pt x="92" y="40"/>
                  </a:lnTo>
                  <a:lnTo>
                    <a:pt x="97" y="45"/>
                  </a:lnTo>
                  <a:lnTo>
                    <a:pt x="97" y="47"/>
                  </a:lnTo>
                  <a:lnTo>
                    <a:pt x="100" y="47"/>
                  </a:lnTo>
                  <a:lnTo>
                    <a:pt x="100" y="49"/>
                  </a:lnTo>
                  <a:lnTo>
                    <a:pt x="104" y="54"/>
                  </a:lnTo>
                  <a:lnTo>
                    <a:pt x="104" y="56"/>
                  </a:lnTo>
                  <a:lnTo>
                    <a:pt x="111" y="64"/>
                  </a:lnTo>
                  <a:lnTo>
                    <a:pt x="114" y="68"/>
                  </a:lnTo>
                  <a:lnTo>
                    <a:pt x="116" y="73"/>
                  </a:lnTo>
                  <a:lnTo>
                    <a:pt x="123" y="73"/>
                  </a:lnTo>
                  <a:lnTo>
                    <a:pt x="128" y="78"/>
                  </a:lnTo>
                  <a:lnTo>
                    <a:pt x="130" y="78"/>
                  </a:lnTo>
                  <a:lnTo>
                    <a:pt x="133" y="85"/>
                  </a:lnTo>
                  <a:lnTo>
                    <a:pt x="137" y="85"/>
                  </a:lnTo>
                  <a:lnTo>
                    <a:pt x="137" y="87"/>
                  </a:lnTo>
                  <a:lnTo>
                    <a:pt x="147" y="87"/>
                  </a:lnTo>
                  <a:lnTo>
                    <a:pt x="149" y="90"/>
                  </a:lnTo>
                  <a:lnTo>
                    <a:pt x="156" y="94"/>
                  </a:lnTo>
                  <a:lnTo>
                    <a:pt x="163" y="94"/>
                  </a:lnTo>
                  <a:lnTo>
                    <a:pt x="170" y="101"/>
                  </a:lnTo>
                  <a:lnTo>
                    <a:pt x="173" y="101"/>
                  </a:lnTo>
                  <a:lnTo>
                    <a:pt x="170" y="94"/>
                  </a:lnTo>
                  <a:lnTo>
                    <a:pt x="168" y="87"/>
                  </a:lnTo>
                  <a:lnTo>
                    <a:pt x="170" y="85"/>
                  </a:lnTo>
                  <a:lnTo>
                    <a:pt x="173" y="87"/>
                  </a:lnTo>
                  <a:lnTo>
                    <a:pt x="178" y="90"/>
                  </a:lnTo>
                  <a:lnTo>
                    <a:pt x="180" y="94"/>
                  </a:lnTo>
                  <a:lnTo>
                    <a:pt x="185" y="90"/>
                  </a:lnTo>
                  <a:lnTo>
                    <a:pt x="185" y="87"/>
                  </a:lnTo>
                  <a:lnTo>
                    <a:pt x="189" y="90"/>
                  </a:lnTo>
                  <a:lnTo>
                    <a:pt x="194" y="94"/>
                  </a:lnTo>
                  <a:lnTo>
                    <a:pt x="204" y="104"/>
                  </a:lnTo>
                  <a:lnTo>
                    <a:pt x="208" y="104"/>
                  </a:lnTo>
                  <a:lnTo>
                    <a:pt x="211" y="111"/>
                  </a:lnTo>
                  <a:lnTo>
                    <a:pt x="211" y="113"/>
                  </a:lnTo>
                  <a:lnTo>
                    <a:pt x="213" y="113"/>
                  </a:lnTo>
                  <a:lnTo>
                    <a:pt x="213" y="118"/>
                  </a:lnTo>
                  <a:lnTo>
                    <a:pt x="218" y="118"/>
                  </a:lnTo>
                  <a:lnTo>
                    <a:pt x="220" y="120"/>
                  </a:lnTo>
                  <a:lnTo>
                    <a:pt x="220" y="127"/>
                  </a:lnTo>
                  <a:lnTo>
                    <a:pt x="225" y="130"/>
                  </a:lnTo>
                  <a:lnTo>
                    <a:pt x="225" y="134"/>
                  </a:lnTo>
                  <a:lnTo>
                    <a:pt x="227" y="141"/>
                  </a:lnTo>
                  <a:lnTo>
                    <a:pt x="227" y="165"/>
                  </a:lnTo>
                  <a:lnTo>
                    <a:pt x="213" y="165"/>
                  </a:lnTo>
                  <a:lnTo>
                    <a:pt x="213" y="158"/>
                  </a:lnTo>
                  <a:lnTo>
                    <a:pt x="204" y="158"/>
                  </a:lnTo>
                  <a:lnTo>
                    <a:pt x="201" y="165"/>
                  </a:lnTo>
                  <a:lnTo>
                    <a:pt x="189" y="165"/>
                  </a:lnTo>
                  <a:lnTo>
                    <a:pt x="187" y="160"/>
                  </a:lnTo>
                  <a:lnTo>
                    <a:pt x="185" y="160"/>
                  </a:lnTo>
                  <a:lnTo>
                    <a:pt x="180" y="175"/>
                  </a:lnTo>
                  <a:lnTo>
                    <a:pt x="185" y="175"/>
                  </a:lnTo>
                  <a:lnTo>
                    <a:pt x="180" y="177"/>
                  </a:lnTo>
                  <a:lnTo>
                    <a:pt x="178" y="177"/>
                  </a:lnTo>
                  <a:lnTo>
                    <a:pt x="170" y="182"/>
                  </a:lnTo>
                  <a:lnTo>
                    <a:pt x="168" y="182"/>
                  </a:lnTo>
                  <a:lnTo>
                    <a:pt x="168" y="184"/>
                  </a:lnTo>
                  <a:lnTo>
                    <a:pt x="178" y="186"/>
                  </a:lnTo>
                  <a:lnTo>
                    <a:pt x="178" y="191"/>
                  </a:lnTo>
                  <a:lnTo>
                    <a:pt x="180" y="193"/>
                  </a:lnTo>
                  <a:lnTo>
                    <a:pt x="194" y="193"/>
                  </a:lnTo>
                  <a:lnTo>
                    <a:pt x="194" y="198"/>
                  </a:lnTo>
                  <a:lnTo>
                    <a:pt x="208" y="208"/>
                  </a:lnTo>
                  <a:lnTo>
                    <a:pt x="208" y="203"/>
                  </a:lnTo>
                  <a:lnTo>
                    <a:pt x="211" y="203"/>
                  </a:lnTo>
                  <a:lnTo>
                    <a:pt x="213" y="208"/>
                  </a:lnTo>
                  <a:lnTo>
                    <a:pt x="218" y="208"/>
                  </a:lnTo>
                  <a:lnTo>
                    <a:pt x="218" y="210"/>
                  </a:lnTo>
                  <a:lnTo>
                    <a:pt x="225" y="210"/>
                  </a:lnTo>
                  <a:lnTo>
                    <a:pt x="225" y="215"/>
                  </a:lnTo>
                  <a:lnTo>
                    <a:pt x="244" y="215"/>
                  </a:lnTo>
                  <a:lnTo>
                    <a:pt x="244" y="217"/>
                  </a:lnTo>
                  <a:lnTo>
                    <a:pt x="251" y="217"/>
                  </a:lnTo>
                  <a:lnTo>
                    <a:pt x="258" y="222"/>
                  </a:lnTo>
                  <a:lnTo>
                    <a:pt x="270" y="222"/>
                  </a:lnTo>
                  <a:lnTo>
                    <a:pt x="277" y="217"/>
                  </a:lnTo>
                  <a:lnTo>
                    <a:pt x="291" y="217"/>
                  </a:lnTo>
                  <a:lnTo>
                    <a:pt x="293" y="222"/>
                  </a:lnTo>
                  <a:lnTo>
                    <a:pt x="305" y="222"/>
                  </a:lnTo>
                  <a:lnTo>
                    <a:pt x="307" y="217"/>
                  </a:lnTo>
                  <a:lnTo>
                    <a:pt x="310" y="217"/>
                  </a:lnTo>
                  <a:lnTo>
                    <a:pt x="315" y="215"/>
                  </a:lnTo>
                  <a:lnTo>
                    <a:pt x="315" y="222"/>
                  </a:lnTo>
                  <a:lnTo>
                    <a:pt x="324" y="222"/>
                  </a:lnTo>
                  <a:lnTo>
                    <a:pt x="324" y="217"/>
                  </a:lnTo>
                  <a:lnTo>
                    <a:pt x="326" y="217"/>
                  </a:lnTo>
                  <a:lnTo>
                    <a:pt x="326" y="215"/>
                  </a:lnTo>
                  <a:lnTo>
                    <a:pt x="341" y="208"/>
                  </a:lnTo>
                  <a:lnTo>
                    <a:pt x="348" y="208"/>
                  </a:lnTo>
                  <a:lnTo>
                    <a:pt x="350" y="203"/>
                  </a:lnTo>
                  <a:lnTo>
                    <a:pt x="355" y="203"/>
                  </a:lnTo>
                  <a:lnTo>
                    <a:pt x="355" y="208"/>
                  </a:lnTo>
                  <a:lnTo>
                    <a:pt x="357" y="210"/>
                  </a:lnTo>
                  <a:lnTo>
                    <a:pt x="355" y="215"/>
                  </a:lnTo>
                  <a:lnTo>
                    <a:pt x="355" y="222"/>
                  </a:lnTo>
                  <a:lnTo>
                    <a:pt x="357" y="222"/>
                  </a:lnTo>
                  <a:lnTo>
                    <a:pt x="357" y="217"/>
                  </a:lnTo>
                  <a:lnTo>
                    <a:pt x="362" y="217"/>
                  </a:lnTo>
                  <a:lnTo>
                    <a:pt x="362" y="231"/>
                  </a:lnTo>
                  <a:lnTo>
                    <a:pt x="367" y="234"/>
                  </a:lnTo>
                  <a:lnTo>
                    <a:pt x="383" y="234"/>
                  </a:lnTo>
                  <a:lnTo>
                    <a:pt x="383" y="241"/>
                  </a:lnTo>
                  <a:lnTo>
                    <a:pt x="388" y="250"/>
                  </a:lnTo>
                  <a:lnTo>
                    <a:pt x="383" y="255"/>
                  </a:lnTo>
                  <a:lnTo>
                    <a:pt x="381" y="255"/>
                  </a:lnTo>
                  <a:lnTo>
                    <a:pt x="381" y="257"/>
                  </a:lnTo>
                  <a:lnTo>
                    <a:pt x="388" y="264"/>
                  </a:lnTo>
                  <a:lnTo>
                    <a:pt x="388" y="267"/>
                  </a:lnTo>
                  <a:lnTo>
                    <a:pt x="390" y="264"/>
                  </a:lnTo>
                  <a:lnTo>
                    <a:pt x="390" y="257"/>
                  </a:lnTo>
                  <a:lnTo>
                    <a:pt x="395" y="250"/>
                  </a:lnTo>
                  <a:lnTo>
                    <a:pt x="395" y="243"/>
                  </a:lnTo>
                  <a:lnTo>
                    <a:pt x="397" y="243"/>
                  </a:lnTo>
                  <a:lnTo>
                    <a:pt x="397" y="248"/>
                  </a:lnTo>
                  <a:lnTo>
                    <a:pt x="402" y="257"/>
                  </a:lnTo>
                  <a:lnTo>
                    <a:pt x="397" y="262"/>
                  </a:lnTo>
                  <a:lnTo>
                    <a:pt x="397" y="267"/>
                  </a:lnTo>
                  <a:lnTo>
                    <a:pt x="402" y="271"/>
                  </a:lnTo>
                  <a:lnTo>
                    <a:pt x="402" y="264"/>
                  </a:lnTo>
                  <a:lnTo>
                    <a:pt x="404" y="262"/>
                  </a:lnTo>
                  <a:lnTo>
                    <a:pt x="407" y="264"/>
                  </a:lnTo>
                  <a:lnTo>
                    <a:pt x="407" y="267"/>
                  </a:lnTo>
                  <a:lnTo>
                    <a:pt x="414" y="274"/>
                  </a:lnTo>
                  <a:lnTo>
                    <a:pt x="414" y="278"/>
                  </a:lnTo>
                  <a:lnTo>
                    <a:pt x="418" y="281"/>
                  </a:lnTo>
                  <a:lnTo>
                    <a:pt x="418" y="297"/>
                  </a:lnTo>
                  <a:lnTo>
                    <a:pt x="414" y="297"/>
                  </a:lnTo>
                  <a:lnTo>
                    <a:pt x="414" y="295"/>
                  </a:lnTo>
                  <a:lnTo>
                    <a:pt x="407" y="295"/>
                  </a:lnTo>
                  <a:lnTo>
                    <a:pt x="407" y="297"/>
                  </a:lnTo>
                  <a:lnTo>
                    <a:pt x="404" y="297"/>
                  </a:lnTo>
                  <a:lnTo>
                    <a:pt x="397" y="290"/>
                  </a:lnTo>
                  <a:lnTo>
                    <a:pt x="395" y="290"/>
                  </a:lnTo>
                  <a:lnTo>
                    <a:pt x="395" y="288"/>
                  </a:lnTo>
                  <a:lnTo>
                    <a:pt x="390" y="288"/>
                  </a:lnTo>
                  <a:lnTo>
                    <a:pt x="395" y="297"/>
                  </a:lnTo>
                  <a:lnTo>
                    <a:pt x="397" y="295"/>
                  </a:lnTo>
                  <a:lnTo>
                    <a:pt x="397" y="297"/>
                  </a:lnTo>
                  <a:lnTo>
                    <a:pt x="402" y="302"/>
                  </a:lnTo>
                  <a:lnTo>
                    <a:pt x="404" y="304"/>
                  </a:lnTo>
                  <a:lnTo>
                    <a:pt x="407" y="304"/>
                  </a:lnTo>
                  <a:lnTo>
                    <a:pt x="407" y="307"/>
                  </a:lnTo>
                  <a:lnTo>
                    <a:pt x="411" y="319"/>
                  </a:lnTo>
                  <a:lnTo>
                    <a:pt x="411" y="330"/>
                  </a:lnTo>
                  <a:lnTo>
                    <a:pt x="414" y="330"/>
                  </a:lnTo>
                  <a:lnTo>
                    <a:pt x="414" y="323"/>
                  </a:lnTo>
                  <a:lnTo>
                    <a:pt x="418" y="330"/>
                  </a:lnTo>
                  <a:lnTo>
                    <a:pt x="418" y="335"/>
                  </a:lnTo>
                  <a:lnTo>
                    <a:pt x="421" y="340"/>
                  </a:lnTo>
                  <a:lnTo>
                    <a:pt x="421" y="345"/>
                  </a:lnTo>
                  <a:lnTo>
                    <a:pt x="428" y="352"/>
                  </a:lnTo>
                  <a:lnTo>
                    <a:pt x="430" y="361"/>
                  </a:lnTo>
                  <a:lnTo>
                    <a:pt x="435" y="361"/>
                  </a:lnTo>
                  <a:lnTo>
                    <a:pt x="435" y="359"/>
                  </a:lnTo>
                  <a:lnTo>
                    <a:pt x="430" y="352"/>
                  </a:lnTo>
                  <a:lnTo>
                    <a:pt x="428" y="347"/>
                  </a:lnTo>
                  <a:lnTo>
                    <a:pt x="423" y="338"/>
                  </a:lnTo>
                  <a:lnTo>
                    <a:pt x="421" y="335"/>
                  </a:lnTo>
                  <a:lnTo>
                    <a:pt x="421" y="312"/>
                  </a:lnTo>
                  <a:lnTo>
                    <a:pt x="423" y="304"/>
                  </a:lnTo>
                  <a:lnTo>
                    <a:pt x="423" y="297"/>
                  </a:lnTo>
                  <a:lnTo>
                    <a:pt x="428" y="297"/>
                  </a:lnTo>
                  <a:lnTo>
                    <a:pt x="428" y="302"/>
                  </a:lnTo>
                  <a:lnTo>
                    <a:pt x="430" y="312"/>
                  </a:lnTo>
                  <a:lnTo>
                    <a:pt x="423" y="312"/>
                  </a:lnTo>
                  <a:lnTo>
                    <a:pt x="423" y="307"/>
                  </a:lnTo>
                  <a:lnTo>
                    <a:pt x="423" y="319"/>
                  </a:lnTo>
                  <a:lnTo>
                    <a:pt x="428" y="319"/>
                  </a:lnTo>
                  <a:lnTo>
                    <a:pt x="430" y="321"/>
                  </a:lnTo>
                  <a:lnTo>
                    <a:pt x="430" y="307"/>
                  </a:lnTo>
                  <a:lnTo>
                    <a:pt x="435" y="307"/>
                  </a:lnTo>
                  <a:lnTo>
                    <a:pt x="437" y="314"/>
                  </a:lnTo>
                  <a:lnTo>
                    <a:pt x="442" y="314"/>
                  </a:lnTo>
                  <a:lnTo>
                    <a:pt x="442" y="321"/>
                  </a:lnTo>
                  <a:lnTo>
                    <a:pt x="442" y="312"/>
                  </a:lnTo>
                  <a:lnTo>
                    <a:pt x="437" y="307"/>
                  </a:lnTo>
                  <a:lnTo>
                    <a:pt x="437" y="295"/>
                  </a:lnTo>
                  <a:lnTo>
                    <a:pt x="435" y="290"/>
                  </a:lnTo>
                  <a:lnTo>
                    <a:pt x="430" y="288"/>
                  </a:lnTo>
                  <a:lnTo>
                    <a:pt x="430" y="283"/>
                  </a:lnTo>
                  <a:lnTo>
                    <a:pt x="428" y="271"/>
                  </a:lnTo>
                  <a:lnTo>
                    <a:pt x="430" y="262"/>
                  </a:lnTo>
                  <a:lnTo>
                    <a:pt x="428" y="255"/>
                  </a:lnTo>
                  <a:lnTo>
                    <a:pt x="428" y="250"/>
                  </a:lnTo>
                  <a:lnTo>
                    <a:pt x="421" y="243"/>
                  </a:lnTo>
                  <a:lnTo>
                    <a:pt x="421" y="234"/>
                  </a:lnTo>
                  <a:lnTo>
                    <a:pt x="423" y="227"/>
                  </a:lnTo>
                  <a:lnTo>
                    <a:pt x="430" y="227"/>
                  </a:lnTo>
                  <a:lnTo>
                    <a:pt x="430" y="224"/>
                  </a:lnTo>
                  <a:lnTo>
                    <a:pt x="435" y="224"/>
                  </a:lnTo>
                  <a:lnTo>
                    <a:pt x="435" y="222"/>
                  </a:lnTo>
                  <a:lnTo>
                    <a:pt x="430" y="217"/>
                  </a:lnTo>
                  <a:lnTo>
                    <a:pt x="428" y="215"/>
                  </a:lnTo>
                  <a:lnTo>
                    <a:pt x="428" y="208"/>
                  </a:lnTo>
                  <a:lnTo>
                    <a:pt x="435" y="208"/>
                  </a:lnTo>
                  <a:lnTo>
                    <a:pt x="435" y="210"/>
                  </a:lnTo>
                  <a:lnTo>
                    <a:pt x="430" y="210"/>
                  </a:lnTo>
                  <a:lnTo>
                    <a:pt x="428" y="215"/>
                  </a:lnTo>
                  <a:lnTo>
                    <a:pt x="435" y="215"/>
                  </a:lnTo>
                  <a:lnTo>
                    <a:pt x="435" y="210"/>
                  </a:lnTo>
                  <a:lnTo>
                    <a:pt x="442" y="210"/>
                  </a:lnTo>
                  <a:lnTo>
                    <a:pt x="442" y="215"/>
                  </a:lnTo>
                  <a:lnTo>
                    <a:pt x="444" y="215"/>
                  </a:lnTo>
                  <a:lnTo>
                    <a:pt x="447" y="210"/>
                  </a:lnTo>
                  <a:lnTo>
                    <a:pt x="452" y="210"/>
                  </a:lnTo>
                  <a:lnTo>
                    <a:pt x="454" y="208"/>
                  </a:lnTo>
                  <a:lnTo>
                    <a:pt x="454" y="210"/>
                  </a:lnTo>
                  <a:lnTo>
                    <a:pt x="461" y="208"/>
                  </a:lnTo>
                  <a:lnTo>
                    <a:pt x="463" y="208"/>
                  </a:lnTo>
                  <a:lnTo>
                    <a:pt x="468" y="201"/>
                  </a:lnTo>
                  <a:lnTo>
                    <a:pt x="470" y="198"/>
                  </a:lnTo>
                  <a:lnTo>
                    <a:pt x="475" y="198"/>
                  </a:lnTo>
                  <a:lnTo>
                    <a:pt x="478" y="203"/>
                  </a:lnTo>
                  <a:lnTo>
                    <a:pt x="478" y="208"/>
                  </a:lnTo>
                  <a:lnTo>
                    <a:pt x="482" y="203"/>
                  </a:lnTo>
                  <a:lnTo>
                    <a:pt x="478" y="201"/>
                  </a:lnTo>
                  <a:lnTo>
                    <a:pt x="478" y="191"/>
                  </a:lnTo>
                  <a:lnTo>
                    <a:pt x="482" y="191"/>
                  </a:lnTo>
                  <a:lnTo>
                    <a:pt x="487" y="186"/>
                  </a:lnTo>
                  <a:lnTo>
                    <a:pt x="501" y="184"/>
                  </a:lnTo>
                  <a:lnTo>
                    <a:pt x="504" y="184"/>
                  </a:lnTo>
                  <a:lnTo>
                    <a:pt x="504" y="170"/>
                  </a:lnTo>
                  <a:lnTo>
                    <a:pt x="508" y="167"/>
                  </a:lnTo>
                  <a:lnTo>
                    <a:pt x="494" y="167"/>
                  </a:lnTo>
                  <a:lnTo>
                    <a:pt x="487" y="170"/>
                  </a:lnTo>
                  <a:lnTo>
                    <a:pt x="485" y="175"/>
                  </a:lnTo>
                  <a:lnTo>
                    <a:pt x="478" y="175"/>
                  </a:lnTo>
                  <a:lnTo>
                    <a:pt x="475" y="177"/>
                  </a:lnTo>
                  <a:lnTo>
                    <a:pt x="475" y="184"/>
                  </a:lnTo>
                  <a:lnTo>
                    <a:pt x="478" y="184"/>
                  </a:lnTo>
                  <a:lnTo>
                    <a:pt x="475" y="193"/>
                  </a:lnTo>
                  <a:lnTo>
                    <a:pt x="475" y="191"/>
                  </a:lnTo>
                  <a:lnTo>
                    <a:pt x="468" y="184"/>
                  </a:lnTo>
                  <a:lnTo>
                    <a:pt x="461" y="186"/>
                  </a:lnTo>
                  <a:lnTo>
                    <a:pt x="454" y="193"/>
                  </a:lnTo>
                  <a:lnTo>
                    <a:pt x="452" y="193"/>
                  </a:lnTo>
                  <a:lnTo>
                    <a:pt x="452" y="191"/>
                  </a:lnTo>
                  <a:lnTo>
                    <a:pt x="447" y="191"/>
                  </a:lnTo>
                  <a:lnTo>
                    <a:pt x="435" y="184"/>
                  </a:lnTo>
                  <a:lnTo>
                    <a:pt x="430" y="186"/>
                  </a:lnTo>
                  <a:lnTo>
                    <a:pt x="430" y="193"/>
                  </a:lnTo>
                  <a:lnTo>
                    <a:pt x="435" y="198"/>
                  </a:lnTo>
                  <a:lnTo>
                    <a:pt x="437" y="201"/>
                  </a:lnTo>
                  <a:lnTo>
                    <a:pt x="423" y="201"/>
                  </a:lnTo>
                  <a:lnTo>
                    <a:pt x="421" y="198"/>
                  </a:lnTo>
                  <a:lnTo>
                    <a:pt x="418" y="201"/>
                  </a:lnTo>
                  <a:lnTo>
                    <a:pt x="414" y="203"/>
                  </a:lnTo>
                  <a:lnTo>
                    <a:pt x="411" y="203"/>
                  </a:lnTo>
                  <a:lnTo>
                    <a:pt x="411" y="198"/>
                  </a:lnTo>
                  <a:lnTo>
                    <a:pt x="414" y="201"/>
                  </a:lnTo>
                  <a:lnTo>
                    <a:pt x="411" y="201"/>
                  </a:lnTo>
                  <a:lnTo>
                    <a:pt x="414" y="201"/>
                  </a:lnTo>
                  <a:lnTo>
                    <a:pt x="414" y="186"/>
                  </a:lnTo>
                  <a:lnTo>
                    <a:pt x="411" y="186"/>
                  </a:lnTo>
                  <a:lnTo>
                    <a:pt x="407" y="191"/>
                  </a:lnTo>
                  <a:lnTo>
                    <a:pt x="402" y="191"/>
                  </a:lnTo>
                  <a:lnTo>
                    <a:pt x="397" y="186"/>
                  </a:lnTo>
                  <a:lnTo>
                    <a:pt x="402" y="182"/>
                  </a:lnTo>
                  <a:lnTo>
                    <a:pt x="407" y="182"/>
                  </a:lnTo>
                  <a:lnTo>
                    <a:pt x="407" y="177"/>
                  </a:lnTo>
                  <a:lnTo>
                    <a:pt x="411" y="175"/>
                  </a:lnTo>
                  <a:lnTo>
                    <a:pt x="414" y="167"/>
                  </a:lnTo>
                  <a:lnTo>
                    <a:pt x="418" y="165"/>
                  </a:lnTo>
                  <a:lnTo>
                    <a:pt x="418" y="160"/>
                  </a:lnTo>
                  <a:lnTo>
                    <a:pt x="437" y="160"/>
                  </a:lnTo>
                  <a:lnTo>
                    <a:pt x="444" y="158"/>
                  </a:lnTo>
                  <a:lnTo>
                    <a:pt x="452" y="158"/>
                  </a:lnTo>
                  <a:lnTo>
                    <a:pt x="459" y="153"/>
                  </a:lnTo>
                  <a:lnTo>
                    <a:pt x="461" y="153"/>
                  </a:lnTo>
                  <a:lnTo>
                    <a:pt x="468" y="151"/>
                  </a:lnTo>
                  <a:lnTo>
                    <a:pt x="470" y="146"/>
                  </a:lnTo>
                  <a:lnTo>
                    <a:pt x="478" y="146"/>
                  </a:lnTo>
                  <a:lnTo>
                    <a:pt x="487" y="144"/>
                  </a:lnTo>
                  <a:lnTo>
                    <a:pt x="492" y="141"/>
                  </a:lnTo>
                  <a:lnTo>
                    <a:pt x="492" y="137"/>
                  </a:lnTo>
                  <a:lnTo>
                    <a:pt x="494" y="141"/>
                  </a:lnTo>
                  <a:lnTo>
                    <a:pt x="499" y="141"/>
                  </a:lnTo>
                  <a:lnTo>
                    <a:pt x="504" y="144"/>
                  </a:lnTo>
                  <a:lnTo>
                    <a:pt x="504" y="146"/>
                  </a:lnTo>
                  <a:lnTo>
                    <a:pt x="508" y="146"/>
                  </a:lnTo>
                  <a:lnTo>
                    <a:pt x="515" y="160"/>
                  </a:lnTo>
                  <a:lnTo>
                    <a:pt x="515" y="182"/>
                  </a:lnTo>
                  <a:lnTo>
                    <a:pt x="511" y="184"/>
                  </a:lnTo>
                  <a:lnTo>
                    <a:pt x="511" y="186"/>
                  </a:lnTo>
                  <a:lnTo>
                    <a:pt x="515" y="186"/>
                  </a:lnTo>
                  <a:lnTo>
                    <a:pt x="518" y="191"/>
                  </a:lnTo>
                  <a:lnTo>
                    <a:pt x="518" y="193"/>
                  </a:lnTo>
                  <a:lnTo>
                    <a:pt x="525" y="201"/>
                  </a:lnTo>
                  <a:lnTo>
                    <a:pt x="527" y="201"/>
                  </a:lnTo>
                  <a:lnTo>
                    <a:pt x="527" y="198"/>
                  </a:lnTo>
                  <a:lnTo>
                    <a:pt x="532" y="193"/>
                  </a:lnTo>
                  <a:lnTo>
                    <a:pt x="534" y="198"/>
                  </a:lnTo>
                  <a:lnTo>
                    <a:pt x="532" y="198"/>
                  </a:lnTo>
                  <a:lnTo>
                    <a:pt x="532" y="201"/>
                  </a:lnTo>
                  <a:lnTo>
                    <a:pt x="527" y="201"/>
                  </a:lnTo>
                  <a:lnTo>
                    <a:pt x="527" y="203"/>
                  </a:lnTo>
                  <a:lnTo>
                    <a:pt x="541" y="203"/>
                  </a:lnTo>
                  <a:lnTo>
                    <a:pt x="541" y="208"/>
                  </a:lnTo>
                  <a:lnTo>
                    <a:pt x="539" y="210"/>
                  </a:lnTo>
                  <a:lnTo>
                    <a:pt x="541" y="217"/>
                  </a:lnTo>
                  <a:lnTo>
                    <a:pt x="541" y="222"/>
                  </a:lnTo>
                  <a:lnTo>
                    <a:pt x="548" y="222"/>
                  </a:lnTo>
                  <a:lnTo>
                    <a:pt x="551" y="224"/>
                  </a:lnTo>
                  <a:lnTo>
                    <a:pt x="558" y="224"/>
                  </a:lnTo>
                  <a:lnTo>
                    <a:pt x="558" y="222"/>
                  </a:lnTo>
                  <a:lnTo>
                    <a:pt x="560" y="222"/>
                  </a:lnTo>
                  <a:lnTo>
                    <a:pt x="560" y="224"/>
                  </a:lnTo>
                  <a:lnTo>
                    <a:pt x="567" y="224"/>
                  </a:lnTo>
                  <a:lnTo>
                    <a:pt x="574" y="222"/>
                  </a:lnTo>
                  <a:lnTo>
                    <a:pt x="574" y="217"/>
                  </a:lnTo>
                  <a:lnTo>
                    <a:pt x="579" y="215"/>
                  </a:lnTo>
                  <a:lnTo>
                    <a:pt x="581" y="210"/>
                  </a:lnTo>
                  <a:lnTo>
                    <a:pt x="581" y="227"/>
                  </a:lnTo>
                  <a:lnTo>
                    <a:pt x="584" y="231"/>
                  </a:lnTo>
                  <a:lnTo>
                    <a:pt x="589" y="231"/>
                  </a:lnTo>
                  <a:lnTo>
                    <a:pt x="591" y="234"/>
                  </a:lnTo>
                  <a:lnTo>
                    <a:pt x="596" y="234"/>
                  </a:lnTo>
                  <a:lnTo>
                    <a:pt x="596" y="238"/>
                  </a:lnTo>
                  <a:lnTo>
                    <a:pt x="600" y="243"/>
                  </a:lnTo>
                  <a:lnTo>
                    <a:pt x="605" y="243"/>
                  </a:lnTo>
                  <a:lnTo>
                    <a:pt x="607" y="248"/>
                  </a:lnTo>
                  <a:lnTo>
                    <a:pt x="615" y="248"/>
                  </a:lnTo>
                  <a:lnTo>
                    <a:pt x="615" y="250"/>
                  </a:lnTo>
                  <a:lnTo>
                    <a:pt x="617" y="250"/>
                  </a:lnTo>
                  <a:lnTo>
                    <a:pt x="622" y="248"/>
                  </a:lnTo>
                  <a:lnTo>
                    <a:pt x="629" y="250"/>
                  </a:lnTo>
                  <a:lnTo>
                    <a:pt x="636" y="255"/>
                  </a:lnTo>
                  <a:lnTo>
                    <a:pt x="638" y="257"/>
                  </a:lnTo>
                  <a:lnTo>
                    <a:pt x="645" y="257"/>
                  </a:lnTo>
                  <a:lnTo>
                    <a:pt x="645" y="250"/>
                  </a:lnTo>
                  <a:lnTo>
                    <a:pt x="664" y="250"/>
                  </a:lnTo>
                  <a:lnTo>
                    <a:pt x="669" y="248"/>
                  </a:lnTo>
                  <a:lnTo>
                    <a:pt x="671" y="243"/>
                  </a:lnTo>
                  <a:lnTo>
                    <a:pt x="693" y="243"/>
                  </a:lnTo>
                  <a:lnTo>
                    <a:pt x="702" y="248"/>
                  </a:lnTo>
                  <a:lnTo>
                    <a:pt x="716" y="248"/>
                  </a:lnTo>
                  <a:lnTo>
                    <a:pt x="719" y="250"/>
                  </a:lnTo>
                  <a:lnTo>
                    <a:pt x="721" y="255"/>
                  </a:lnTo>
                  <a:lnTo>
                    <a:pt x="733" y="255"/>
                  </a:lnTo>
                  <a:lnTo>
                    <a:pt x="737" y="250"/>
                  </a:lnTo>
                  <a:lnTo>
                    <a:pt x="749" y="248"/>
                  </a:lnTo>
                  <a:lnTo>
                    <a:pt x="752" y="248"/>
                  </a:lnTo>
                  <a:lnTo>
                    <a:pt x="749" y="241"/>
                  </a:lnTo>
                  <a:lnTo>
                    <a:pt x="744" y="241"/>
                  </a:lnTo>
                  <a:lnTo>
                    <a:pt x="742" y="238"/>
                  </a:lnTo>
                  <a:lnTo>
                    <a:pt x="742" y="234"/>
                  </a:lnTo>
                  <a:lnTo>
                    <a:pt x="737" y="234"/>
                  </a:lnTo>
                  <a:lnTo>
                    <a:pt x="737" y="224"/>
                  </a:lnTo>
                  <a:lnTo>
                    <a:pt x="744" y="224"/>
                  </a:lnTo>
                  <a:lnTo>
                    <a:pt x="752" y="234"/>
                  </a:lnTo>
                  <a:lnTo>
                    <a:pt x="754" y="234"/>
                  </a:lnTo>
                  <a:lnTo>
                    <a:pt x="759" y="238"/>
                  </a:lnTo>
                  <a:lnTo>
                    <a:pt x="759" y="243"/>
                  </a:lnTo>
                  <a:lnTo>
                    <a:pt x="761" y="248"/>
                  </a:lnTo>
                  <a:lnTo>
                    <a:pt x="766" y="250"/>
                  </a:lnTo>
                  <a:lnTo>
                    <a:pt x="773" y="257"/>
                  </a:lnTo>
                  <a:lnTo>
                    <a:pt x="778" y="262"/>
                  </a:lnTo>
                  <a:lnTo>
                    <a:pt x="778" y="264"/>
                  </a:lnTo>
                  <a:lnTo>
                    <a:pt x="782" y="264"/>
                  </a:lnTo>
                  <a:lnTo>
                    <a:pt x="785" y="262"/>
                  </a:lnTo>
                  <a:lnTo>
                    <a:pt x="789" y="262"/>
                  </a:lnTo>
                  <a:lnTo>
                    <a:pt x="789" y="257"/>
                  </a:lnTo>
                  <a:lnTo>
                    <a:pt x="794" y="257"/>
                  </a:lnTo>
                  <a:lnTo>
                    <a:pt x="794" y="248"/>
                  </a:lnTo>
                  <a:lnTo>
                    <a:pt x="792" y="234"/>
                  </a:lnTo>
                  <a:lnTo>
                    <a:pt x="789" y="234"/>
                  </a:lnTo>
                  <a:lnTo>
                    <a:pt x="789" y="238"/>
                  </a:lnTo>
                  <a:lnTo>
                    <a:pt x="785" y="238"/>
                  </a:lnTo>
                  <a:lnTo>
                    <a:pt x="785" y="234"/>
                  </a:lnTo>
                  <a:lnTo>
                    <a:pt x="775" y="227"/>
                  </a:lnTo>
                  <a:lnTo>
                    <a:pt x="768" y="231"/>
                  </a:lnTo>
                  <a:lnTo>
                    <a:pt x="766" y="234"/>
                  </a:lnTo>
                  <a:lnTo>
                    <a:pt x="761" y="234"/>
                  </a:lnTo>
                  <a:lnTo>
                    <a:pt x="761" y="243"/>
                  </a:lnTo>
                  <a:lnTo>
                    <a:pt x="759" y="241"/>
                  </a:lnTo>
                  <a:lnTo>
                    <a:pt x="759" y="234"/>
                  </a:lnTo>
                  <a:lnTo>
                    <a:pt x="754" y="234"/>
                  </a:lnTo>
                  <a:lnTo>
                    <a:pt x="754" y="231"/>
                  </a:lnTo>
                  <a:lnTo>
                    <a:pt x="752" y="231"/>
                  </a:lnTo>
                  <a:lnTo>
                    <a:pt x="752" y="227"/>
                  </a:lnTo>
                  <a:lnTo>
                    <a:pt x="744" y="217"/>
                  </a:lnTo>
                  <a:lnTo>
                    <a:pt x="749" y="215"/>
                  </a:lnTo>
                  <a:lnTo>
                    <a:pt x="749" y="222"/>
                  </a:lnTo>
                  <a:lnTo>
                    <a:pt x="752" y="222"/>
                  </a:lnTo>
                  <a:lnTo>
                    <a:pt x="752" y="210"/>
                  </a:lnTo>
                  <a:lnTo>
                    <a:pt x="749" y="210"/>
                  </a:lnTo>
                  <a:lnTo>
                    <a:pt x="744" y="208"/>
                  </a:lnTo>
                  <a:lnTo>
                    <a:pt x="744" y="203"/>
                  </a:lnTo>
                  <a:lnTo>
                    <a:pt x="742" y="203"/>
                  </a:lnTo>
                  <a:lnTo>
                    <a:pt x="737" y="198"/>
                  </a:lnTo>
                  <a:lnTo>
                    <a:pt x="744" y="198"/>
                  </a:lnTo>
                  <a:lnTo>
                    <a:pt x="744" y="201"/>
                  </a:lnTo>
                  <a:lnTo>
                    <a:pt x="749" y="198"/>
                  </a:lnTo>
                  <a:lnTo>
                    <a:pt x="744" y="193"/>
                  </a:lnTo>
                  <a:lnTo>
                    <a:pt x="752" y="198"/>
                  </a:lnTo>
                  <a:lnTo>
                    <a:pt x="754" y="201"/>
                  </a:lnTo>
                  <a:lnTo>
                    <a:pt x="761" y="201"/>
                  </a:lnTo>
                  <a:lnTo>
                    <a:pt x="766" y="193"/>
                  </a:lnTo>
                  <a:lnTo>
                    <a:pt x="768" y="193"/>
                  </a:lnTo>
                  <a:lnTo>
                    <a:pt x="773" y="198"/>
                  </a:lnTo>
                  <a:lnTo>
                    <a:pt x="773" y="193"/>
                  </a:lnTo>
                  <a:lnTo>
                    <a:pt x="768" y="193"/>
                  </a:lnTo>
                  <a:lnTo>
                    <a:pt x="768" y="191"/>
                  </a:lnTo>
                  <a:lnTo>
                    <a:pt x="766" y="191"/>
                  </a:lnTo>
                  <a:lnTo>
                    <a:pt x="761" y="184"/>
                  </a:lnTo>
                  <a:lnTo>
                    <a:pt x="761" y="182"/>
                  </a:lnTo>
                  <a:lnTo>
                    <a:pt x="768" y="182"/>
                  </a:lnTo>
                  <a:lnTo>
                    <a:pt x="773" y="184"/>
                  </a:lnTo>
                  <a:lnTo>
                    <a:pt x="775" y="184"/>
                  </a:lnTo>
                  <a:lnTo>
                    <a:pt x="775" y="191"/>
                  </a:lnTo>
                  <a:lnTo>
                    <a:pt x="778" y="191"/>
                  </a:lnTo>
                  <a:lnTo>
                    <a:pt x="778" y="186"/>
                  </a:lnTo>
                  <a:lnTo>
                    <a:pt x="778" y="191"/>
                  </a:lnTo>
                  <a:lnTo>
                    <a:pt x="775" y="186"/>
                  </a:lnTo>
                  <a:lnTo>
                    <a:pt x="778" y="184"/>
                  </a:lnTo>
                  <a:lnTo>
                    <a:pt x="785" y="184"/>
                  </a:lnTo>
                  <a:lnTo>
                    <a:pt x="789" y="186"/>
                  </a:lnTo>
                  <a:lnTo>
                    <a:pt x="792" y="193"/>
                  </a:lnTo>
                  <a:lnTo>
                    <a:pt x="794" y="198"/>
                  </a:lnTo>
                  <a:lnTo>
                    <a:pt x="794" y="203"/>
                  </a:lnTo>
                  <a:lnTo>
                    <a:pt x="799" y="208"/>
                  </a:lnTo>
                  <a:lnTo>
                    <a:pt x="801" y="208"/>
                  </a:lnTo>
                  <a:lnTo>
                    <a:pt x="806" y="203"/>
                  </a:lnTo>
                  <a:lnTo>
                    <a:pt x="813" y="203"/>
                  </a:lnTo>
                  <a:lnTo>
                    <a:pt x="813" y="201"/>
                  </a:lnTo>
                  <a:lnTo>
                    <a:pt x="818" y="201"/>
                  </a:lnTo>
                  <a:lnTo>
                    <a:pt x="815" y="208"/>
                  </a:lnTo>
                  <a:lnTo>
                    <a:pt x="815" y="210"/>
                  </a:lnTo>
                  <a:lnTo>
                    <a:pt x="813" y="217"/>
                  </a:lnTo>
                  <a:lnTo>
                    <a:pt x="808" y="222"/>
                  </a:lnTo>
                  <a:lnTo>
                    <a:pt x="806" y="222"/>
                  </a:lnTo>
                  <a:lnTo>
                    <a:pt x="806" y="224"/>
                  </a:lnTo>
                  <a:lnTo>
                    <a:pt x="808" y="227"/>
                  </a:lnTo>
                  <a:lnTo>
                    <a:pt x="808" y="224"/>
                  </a:lnTo>
                  <a:lnTo>
                    <a:pt x="815" y="224"/>
                  </a:lnTo>
                  <a:lnTo>
                    <a:pt x="818" y="222"/>
                  </a:lnTo>
                  <a:lnTo>
                    <a:pt x="815" y="217"/>
                  </a:lnTo>
                  <a:lnTo>
                    <a:pt x="815" y="222"/>
                  </a:lnTo>
                  <a:lnTo>
                    <a:pt x="815" y="215"/>
                  </a:lnTo>
                  <a:lnTo>
                    <a:pt x="818" y="215"/>
                  </a:lnTo>
                  <a:lnTo>
                    <a:pt x="822" y="210"/>
                  </a:lnTo>
                  <a:lnTo>
                    <a:pt x="822" y="208"/>
                  </a:lnTo>
                  <a:lnTo>
                    <a:pt x="825" y="208"/>
                  </a:lnTo>
                  <a:lnTo>
                    <a:pt x="832" y="203"/>
                  </a:lnTo>
                  <a:lnTo>
                    <a:pt x="832" y="210"/>
                  </a:lnTo>
                  <a:lnTo>
                    <a:pt x="830" y="210"/>
                  </a:lnTo>
                  <a:lnTo>
                    <a:pt x="832" y="215"/>
                  </a:lnTo>
                  <a:lnTo>
                    <a:pt x="832" y="217"/>
                  </a:lnTo>
                  <a:lnTo>
                    <a:pt x="830" y="224"/>
                  </a:lnTo>
                  <a:lnTo>
                    <a:pt x="830" y="234"/>
                  </a:lnTo>
                  <a:lnTo>
                    <a:pt x="825" y="241"/>
                  </a:lnTo>
                  <a:lnTo>
                    <a:pt x="830" y="255"/>
                  </a:lnTo>
                  <a:lnTo>
                    <a:pt x="830" y="262"/>
                  </a:lnTo>
                  <a:lnTo>
                    <a:pt x="825" y="262"/>
                  </a:lnTo>
                  <a:lnTo>
                    <a:pt x="825" y="257"/>
                  </a:lnTo>
                  <a:lnTo>
                    <a:pt x="822" y="262"/>
                  </a:lnTo>
                  <a:lnTo>
                    <a:pt x="818" y="267"/>
                  </a:lnTo>
                  <a:lnTo>
                    <a:pt x="818" y="274"/>
                  </a:lnTo>
                  <a:lnTo>
                    <a:pt x="822" y="271"/>
                  </a:lnTo>
                  <a:lnTo>
                    <a:pt x="825" y="274"/>
                  </a:lnTo>
                  <a:lnTo>
                    <a:pt x="830" y="278"/>
                  </a:lnTo>
                  <a:lnTo>
                    <a:pt x="832" y="274"/>
                  </a:lnTo>
                  <a:lnTo>
                    <a:pt x="832" y="283"/>
                  </a:lnTo>
                  <a:lnTo>
                    <a:pt x="830" y="283"/>
                  </a:lnTo>
                  <a:lnTo>
                    <a:pt x="830" y="290"/>
                  </a:lnTo>
                  <a:lnTo>
                    <a:pt x="832" y="295"/>
                  </a:lnTo>
                  <a:lnTo>
                    <a:pt x="834" y="295"/>
                  </a:lnTo>
                  <a:lnTo>
                    <a:pt x="839" y="288"/>
                  </a:lnTo>
                  <a:lnTo>
                    <a:pt x="841" y="283"/>
                  </a:lnTo>
                  <a:lnTo>
                    <a:pt x="846" y="281"/>
                  </a:lnTo>
                  <a:lnTo>
                    <a:pt x="851" y="278"/>
                  </a:lnTo>
                  <a:lnTo>
                    <a:pt x="851" y="283"/>
                  </a:lnTo>
                  <a:lnTo>
                    <a:pt x="848" y="288"/>
                  </a:lnTo>
                  <a:lnTo>
                    <a:pt x="848" y="290"/>
                  </a:lnTo>
                  <a:lnTo>
                    <a:pt x="846" y="295"/>
                  </a:lnTo>
                  <a:lnTo>
                    <a:pt x="846" y="297"/>
                  </a:lnTo>
                  <a:lnTo>
                    <a:pt x="841" y="297"/>
                  </a:lnTo>
                  <a:lnTo>
                    <a:pt x="848" y="297"/>
                  </a:lnTo>
                  <a:lnTo>
                    <a:pt x="848" y="295"/>
                  </a:lnTo>
                  <a:lnTo>
                    <a:pt x="858" y="295"/>
                  </a:lnTo>
                  <a:lnTo>
                    <a:pt x="858" y="297"/>
                  </a:lnTo>
                  <a:lnTo>
                    <a:pt x="863" y="312"/>
                  </a:lnTo>
                  <a:lnTo>
                    <a:pt x="863" y="314"/>
                  </a:lnTo>
                  <a:lnTo>
                    <a:pt x="858" y="319"/>
                  </a:lnTo>
                  <a:lnTo>
                    <a:pt x="851" y="319"/>
                  </a:lnTo>
                  <a:lnTo>
                    <a:pt x="851" y="314"/>
                  </a:lnTo>
                  <a:lnTo>
                    <a:pt x="848" y="314"/>
                  </a:lnTo>
                  <a:lnTo>
                    <a:pt x="848" y="319"/>
                  </a:lnTo>
                  <a:lnTo>
                    <a:pt x="841" y="319"/>
                  </a:lnTo>
                  <a:lnTo>
                    <a:pt x="839" y="312"/>
                  </a:lnTo>
                  <a:lnTo>
                    <a:pt x="839" y="30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3" name="Freeform 392">
              <a:extLst>
                <a:ext uri="{FF2B5EF4-FFF2-40B4-BE49-F238E27FC236}">
                  <a16:creationId xmlns:a16="http://schemas.microsoft.com/office/drawing/2014/main" id="{25260881-DF6E-43CC-925C-92E464019305}"/>
                </a:ext>
              </a:extLst>
            </p:cNvPr>
            <p:cNvSpPr>
              <a:spLocks/>
            </p:cNvSpPr>
            <p:nvPr/>
          </p:nvSpPr>
          <p:spPr bwMode="gray">
            <a:xfrm rot="47099">
              <a:off x="1789829" y="1927298"/>
              <a:ext cx="2325" cy="1860"/>
            </a:xfrm>
            <a:custGeom>
              <a:avLst/>
              <a:gdLst>
                <a:gd name="T0" fmla="*/ 5 w 5"/>
                <a:gd name="T1" fmla="*/ 2 h 4"/>
                <a:gd name="T2" fmla="*/ 5 w 5"/>
                <a:gd name="T3" fmla="*/ 4 h 4"/>
                <a:gd name="T4" fmla="*/ 0 w 5"/>
                <a:gd name="T5" fmla="*/ 4 h 4"/>
                <a:gd name="T6" fmla="*/ 0 w 5"/>
                <a:gd name="T7" fmla="*/ 2 h 4"/>
                <a:gd name="T8" fmla="*/ 5 w 5"/>
                <a:gd name="T9" fmla="*/ 2 h 4"/>
                <a:gd name="T10" fmla="*/ 5 w 5"/>
                <a:gd name="T11" fmla="*/ 0 h 4"/>
                <a:gd name="T12" fmla="*/ 5 w 5"/>
                <a:gd name="T13" fmla="*/ 2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5" y="2"/>
                  </a:moveTo>
                  <a:lnTo>
                    <a:pt x="5" y="4"/>
                  </a:lnTo>
                  <a:lnTo>
                    <a:pt x="0" y="4"/>
                  </a:lnTo>
                  <a:lnTo>
                    <a:pt x="0" y="2"/>
                  </a:lnTo>
                  <a:lnTo>
                    <a:pt x="5" y="2"/>
                  </a:lnTo>
                  <a:lnTo>
                    <a:pt x="5" y="0"/>
                  </a:lnTo>
                  <a:lnTo>
                    <a:pt x="5"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4" name="Freeform 393">
              <a:extLst>
                <a:ext uri="{FF2B5EF4-FFF2-40B4-BE49-F238E27FC236}">
                  <a16:creationId xmlns:a16="http://schemas.microsoft.com/office/drawing/2014/main" id="{154401D1-4D4B-4E56-843A-D60AF2C65852}"/>
                </a:ext>
              </a:extLst>
            </p:cNvPr>
            <p:cNvSpPr>
              <a:spLocks/>
            </p:cNvSpPr>
            <p:nvPr/>
          </p:nvSpPr>
          <p:spPr bwMode="gray">
            <a:xfrm rot="47099">
              <a:off x="1649827" y="1961192"/>
              <a:ext cx="3255" cy="3720"/>
            </a:xfrm>
            <a:custGeom>
              <a:avLst/>
              <a:gdLst>
                <a:gd name="T0" fmla="*/ 0 w 7"/>
                <a:gd name="T1" fmla="*/ 0 h 8"/>
                <a:gd name="T2" fmla="*/ 7 w 7"/>
                <a:gd name="T3" fmla="*/ 0 h 8"/>
                <a:gd name="T4" fmla="*/ 7 w 7"/>
                <a:gd name="T5" fmla="*/ 8 h 8"/>
                <a:gd name="T6" fmla="*/ 3 w 7"/>
                <a:gd name="T7" fmla="*/ 8 h 8"/>
                <a:gd name="T8" fmla="*/ 3 w 7"/>
                <a:gd name="T9" fmla="*/ 5 h 8"/>
                <a:gd name="T10" fmla="*/ 0 w 7"/>
                <a:gd name="T11" fmla="*/ 5 h 8"/>
                <a:gd name="T12" fmla="*/ 0 w 7"/>
                <a:gd name="T13" fmla="*/ 0 h 8"/>
                <a:gd name="T14" fmla="*/ 0 60000 65536"/>
                <a:gd name="T15" fmla="*/ 0 60000 65536"/>
                <a:gd name="T16" fmla="*/ 0 60000 65536"/>
                <a:gd name="T17" fmla="*/ 0 60000 65536"/>
                <a:gd name="T18" fmla="*/ 0 60000 65536"/>
                <a:gd name="T19" fmla="*/ 0 60000 65536"/>
                <a:gd name="T20" fmla="*/ 0 60000 65536"/>
                <a:gd name="T21" fmla="*/ 0 w 7"/>
                <a:gd name="T22" fmla="*/ 0 h 8"/>
                <a:gd name="T23" fmla="*/ 7 w 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8">
                  <a:moveTo>
                    <a:pt x="0" y="0"/>
                  </a:moveTo>
                  <a:lnTo>
                    <a:pt x="7" y="0"/>
                  </a:lnTo>
                  <a:lnTo>
                    <a:pt x="7" y="8"/>
                  </a:lnTo>
                  <a:lnTo>
                    <a:pt x="3" y="8"/>
                  </a:lnTo>
                  <a:lnTo>
                    <a:pt x="3" y="5"/>
                  </a:lnTo>
                  <a:lnTo>
                    <a:pt x="0" y="5"/>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5" name="Freeform 394">
              <a:extLst>
                <a:ext uri="{FF2B5EF4-FFF2-40B4-BE49-F238E27FC236}">
                  <a16:creationId xmlns:a16="http://schemas.microsoft.com/office/drawing/2014/main" id="{4653924B-06DC-459A-A180-A5ED386625FE}"/>
                </a:ext>
              </a:extLst>
            </p:cNvPr>
            <p:cNvSpPr>
              <a:spLocks/>
            </p:cNvSpPr>
            <p:nvPr/>
          </p:nvSpPr>
          <p:spPr bwMode="gray">
            <a:xfrm rot="47099">
              <a:off x="1736220" y="1934946"/>
              <a:ext cx="4186" cy="4649"/>
            </a:xfrm>
            <a:custGeom>
              <a:avLst/>
              <a:gdLst>
                <a:gd name="T0" fmla="*/ 7 w 9"/>
                <a:gd name="T1" fmla="*/ 3 h 10"/>
                <a:gd name="T2" fmla="*/ 9 w 9"/>
                <a:gd name="T3" fmla="*/ 3 h 10"/>
                <a:gd name="T4" fmla="*/ 9 w 9"/>
                <a:gd name="T5" fmla="*/ 7 h 10"/>
                <a:gd name="T6" fmla="*/ 7 w 9"/>
                <a:gd name="T7" fmla="*/ 7 h 10"/>
                <a:gd name="T8" fmla="*/ 7 w 9"/>
                <a:gd name="T9" fmla="*/ 10 h 10"/>
                <a:gd name="T10" fmla="*/ 2 w 9"/>
                <a:gd name="T11" fmla="*/ 10 h 10"/>
                <a:gd name="T12" fmla="*/ 0 w 9"/>
                <a:gd name="T13" fmla="*/ 3 h 10"/>
                <a:gd name="T14" fmla="*/ 2 w 9"/>
                <a:gd name="T15" fmla="*/ 3 h 10"/>
                <a:gd name="T16" fmla="*/ 2 w 9"/>
                <a:gd name="T17" fmla="*/ 0 h 10"/>
                <a:gd name="T18" fmla="*/ 7 w 9"/>
                <a:gd name="T19" fmla="*/ 3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0"/>
                <a:gd name="T32" fmla="*/ 9 w 9"/>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0">
                  <a:moveTo>
                    <a:pt x="7" y="3"/>
                  </a:moveTo>
                  <a:lnTo>
                    <a:pt x="9" y="3"/>
                  </a:lnTo>
                  <a:lnTo>
                    <a:pt x="9" y="7"/>
                  </a:lnTo>
                  <a:lnTo>
                    <a:pt x="7" y="7"/>
                  </a:lnTo>
                  <a:lnTo>
                    <a:pt x="7" y="10"/>
                  </a:lnTo>
                  <a:lnTo>
                    <a:pt x="2" y="10"/>
                  </a:lnTo>
                  <a:lnTo>
                    <a:pt x="0" y="3"/>
                  </a:lnTo>
                  <a:lnTo>
                    <a:pt x="2" y="3"/>
                  </a:lnTo>
                  <a:lnTo>
                    <a:pt x="2" y="0"/>
                  </a:lnTo>
                  <a:lnTo>
                    <a:pt x="7"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6" name="Freeform 395">
              <a:extLst>
                <a:ext uri="{FF2B5EF4-FFF2-40B4-BE49-F238E27FC236}">
                  <a16:creationId xmlns:a16="http://schemas.microsoft.com/office/drawing/2014/main" id="{14EED3D8-074D-41FF-8AFE-77473C27F72A}"/>
                </a:ext>
              </a:extLst>
            </p:cNvPr>
            <p:cNvSpPr>
              <a:spLocks/>
            </p:cNvSpPr>
            <p:nvPr/>
          </p:nvSpPr>
          <p:spPr bwMode="gray">
            <a:xfrm rot="47099">
              <a:off x="1728290" y="1936232"/>
              <a:ext cx="4186" cy="5579"/>
            </a:xfrm>
            <a:custGeom>
              <a:avLst/>
              <a:gdLst>
                <a:gd name="T0" fmla="*/ 2 w 9"/>
                <a:gd name="T1" fmla="*/ 4 h 12"/>
                <a:gd name="T2" fmla="*/ 7 w 9"/>
                <a:gd name="T3" fmla="*/ 4 h 12"/>
                <a:gd name="T4" fmla="*/ 9 w 9"/>
                <a:gd name="T5" fmla="*/ 7 h 12"/>
                <a:gd name="T6" fmla="*/ 9 w 9"/>
                <a:gd name="T7" fmla="*/ 12 h 12"/>
                <a:gd name="T8" fmla="*/ 2 w 9"/>
                <a:gd name="T9" fmla="*/ 12 h 12"/>
                <a:gd name="T10" fmla="*/ 2 w 9"/>
                <a:gd name="T11" fmla="*/ 7 h 12"/>
                <a:gd name="T12" fmla="*/ 0 w 9"/>
                <a:gd name="T13" fmla="*/ 4 h 12"/>
                <a:gd name="T14" fmla="*/ 2 w 9"/>
                <a:gd name="T15" fmla="*/ 0 h 12"/>
                <a:gd name="T16" fmla="*/ 2 w 9"/>
                <a:gd name="T17" fmla="*/ 4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2"/>
                <a:gd name="T29" fmla="*/ 9 w 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2">
                  <a:moveTo>
                    <a:pt x="2" y="4"/>
                  </a:moveTo>
                  <a:lnTo>
                    <a:pt x="7" y="4"/>
                  </a:lnTo>
                  <a:lnTo>
                    <a:pt x="9" y="7"/>
                  </a:lnTo>
                  <a:lnTo>
                    <a:pt x="9" y="12"/>
                  </a:lnTo>
                  <a:lnTo>
                    <a:pt x="2" y="12"/>
                  </a:lnTo>
                  <a:lnTo>
                    <a:pt x="2" y="7"/>
                  </a:lnTo>
                  <a:lnTo>
                    <a:pt x="0" y="4"/>
                  </a:lnTo>
                  <a:lnTo>
                    <a:pt x="2" y="0"/>
                  </a:lnTo>
                  <a:lnTo>
                    <a:pt x="2"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7" name="Freeform 396">
              <a:extLst>
                <a:ext uri="{FF2B5EF4-FFF2-40B4-BE49-F238E27FC236}">
                  <a16:creationId xmlns:a16="http://schemas.microsoft.com/office/drawing/2014/main" id="{5B9791EC-4E73-4AEC-B287-A23C324FF114}"/>
                </a:ext>
              </a:extLst>
            </p:cNvPr>
            <p:cNvSpPr>
              <a:spLocks/>
            </p:cNvSpPr>
            <p:nvPr/>
          </p:nvSpPr>
          <p:spPr bwMode="gray">
            <a:xfrm rot="47099">
              <a:off x="1721780" y="1936137"/>
              <a:ext cx="3255" cy="5579"/>
            </a:xfrm>
            <a:custGeom>
              <a:avLst/>
              <a:gdLst>
                <a:gd name="T0" fmla="*/ 7 w 7"/>
                <a:gd name="T1" fmla="*/ 4 h 12"/>
                <a:gd name="T2" fmla="*/ 7 w 7"/>
                <a:gd name="T3" fmla="*/ 12 h 12"/>
                <a:gd name="T4" fmla="*/ 0 w 7"/>
                <a:gd name="T5" fmla="*/ 0 h 12"/>
                <a:gd name="T6" fmla="*/ 5 w 7"/>
                <a:gd name="T7" fmla="*/ 0 h 12"/>
                <a:gd name="T8" fmla="*/ 7 w 7"/>
                <a:gd name="T9" fmla="*/ 4 h 12"/>
                <a:gd name="T10" fmla="*/ 0 60000 65536"/>
                <a:gd name="T11" fmla="*/ 0 60000 65536"/>
                <a:gd name="T12" fmla="*/ 0 60000 65536"/>
                <a:gd name="T13" fmla="*/ 0 60000 65536"/>
                <a:gd name="T14" fmla="*/ 0 60000 65536"/>
                <a:gd name="T15" fmla="*/ 0 w 7"/>
                <a:gd name="T16" fmla="*/ 0 h 12"/>
                <a:gd name="T17" fmla="*/ 7 w 7"/>
                <a:gd name="T18" fmla="*/ 12 h 12"/>
              </a:gdLst>
              <a:ahLst/>
              <a:cxnLst>
                <a:cxn ang="T10">
                  <a:pos x="T0" y="T1"/>
                </a:cxn>
                <a:cxn ang="T11">
                  <a:pos x="T2" y="T3"/>
                </a:cxn>
                <a:cxn ang="T12">
                  <a:pos x="T4" y="T5"/>
                </a:cxn>
                <a:cxn ang="T13">
                  <a:pos x="T6" y="T7"/>
                </a:cxn>
                <a:cxn ang="T14">
                  <a:pos x="T8" y="T9"/>
                </a:cxn>
              </a:cxnLst>
              <a:rect l="T15" t="T16" r="T17" b="T18"/>
              <a:pathLst>
                <a:path w="7" h="12">
                  <a:moveTo>
                    <a:pt x="7" y="4"/>
                  </a:moveTo>
                  <a:lnTo>
                    <a:pt x="7" y="12"/>
                  </a:lnTo>
                  <a:lnTo>
                    <a:pt x="0" y="0"/>
                  </a:lnTo>
                  <a:lnTo>
                    <a:pt x="5" y="0"/>
                  </a:lnTo>
                  <a:lnTo>
                    <a:pt x="7"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8" name="Freeform 397">
              <a:extLst>
                <a:ext uri="{FF2B5EF4-FFF2-40B4-BE49-F238E27FC236}">
                  <a16:creationId xmlns:a16="http://schemas.microsoft.com/office/drawing/2014/main" id="{3F6F5F65-01E2-4E75-852A-E76EDA16C907}"/>
                </a:ext>
              </a:extLst>
            </p:cNvPr>
            <p:cNvSpPr>
              <a:spLocks/>
            </p:cNvSpPr>
            <p:nvPr/>
          </p:nvSpPr>
          <p:spPr bwMode="gray">
            <a:xfrm rot="47099">
              <a:off x="1508545" y="1951830"/>
              <a:ext cx="5116" cy="7440"/>
            </a:xfrm>
            <a:custGeom>
              <a:avLst/>
              <a:gdLst>
                <a:gd name="T0" fmla="*/ 7 w 11"/>
                <a:gd name="T1" fmla="*/ 5 h 16"/>
                <a:gd name="T2" fmla="*/ 7 w 11"/>
                <a:gd name="T3" fmla="*/ 7 h 16"/>
                <a:gd name="T4" fmla="*/ 11 w 11"/>
                <a:gd name="T5" fmla="*/ 12 h 16"/>
                <a:gd name="T6" fmla="*/ 7 w 11"/>
                <a:gd name="T7" fmla="*/ 16 h 16"/>
                <a:gd name="T8" fmla="*/ 0 w 11"/>
                <a:gd name="T9" fmla="*/ 16 h 16"/>
                <a:gd name="T10" fmla="*/ 0 w 11"/>
                <a:gd name="T11" fmla="*/ 7 h 16"/>
                <a:gd name="T12" fmla="*/ 7 w 11"/>
                <a:gd name="T13" fmla="*/ 0 h 16"/>
                <a:gd name="T14" fmla="*/ 7 w 11"/>
                <a:gd name="T15" fmla="*/ 5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7" y="5"/>
                  </a:moveTo>
                  <a:lnTo>
                    <a:pt x="7" y="7"/>
                  </a:lnTo>
                  <a:lnTo>
                    <a:pt x="11" y="12"/>
                  </a:lnTo>
                  <a:lnTo>
                    <a:pt x="7" y="16"/>
                  </a:lnTo>
                  <a:lnTo>
                    <a:pt x="0" y="16"/>
                  </a:lnTo>
                  <a:lnTo>
                    <a:pt x="0" y="7"/>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09" name="Freeform 398">
              <a:extLst>
                <a:ext uri="{FF2B5EF4-FFF2-40B4-BE49-F238E27FC236}">
                  <a16:creationId xmlns:a16="http://schemas.microsoft.com/office/drawing/2014/main" id="{E734F03D-C213-4880-B269-92F3F4AF0989}"/>
                </a:ext>
              </a:extLst>
            </p:cNvPr>
            <p:cNvSpPr>
              <a:spLocks/>
            </p:cNvSpPr>
            <p:nvPr/>
          </p:nvSpPr>
          <p:spPr bwMode="gray">
            <a:xfrm rot="47099">
              <a:off x="1506348" y="1940655"/>
              <a:ext cx="7441" cy="11159"/>
            </a:xfrm>
            <a:custGeom>
              <a:avLst/>
              <a:gdLst>
                <a:gd name="T0" fmla="*/ 9 w 16"/>
                <a:gd name="T1" fmla="*/ 0 h 24"/>
                <a:gd name="T2" fmla="*/ 12 w 16"/>
                <a:gd name="T3" fmla="*/ 5 h 24"/>
                <a:gd name="T4" fmla="*/ 16 w 16"/>
                <a:gd name="T5" fmla="*/ 7 h 24"/>
                <a:gd name="T6" fmla="*/ 16 w 16"/>
                <a:gd name="T7" fmla="*/ 14 h 24"/>
                <a:gd name="T8" fmla="*/ 12 w 16"/>
                <a:gd name="T9" fmla="*/ 19 h 24"/>
                <a:gd name="T10" fmla="*/ 12 w 16"/>
                <a:gd name="T11" fmla="*/ 22 h 24"/>
                <a:gd name="T12" fmla="*/ 9 w 16"/>
                <a:gd name="T13" fmla="*/ 22 h 24"/>
                <a:gd name="T14" fmla="*/ 5 w 16"/>
                <a:gd name="T15" fmla="*/ 24 h 24"/>
                <a:gd name="T16" fmla="*/ 5 w 16"/>
                <a:gd name="T17" fmla="*/ 22 h 24"/>
                <a:gd name="T18" fmla="*/ 2 w 16"/>
                <a:gd name="T19" fmla="*/ 22 h 24"/>
                <a:gd name="T20" fmla="*/ 2 w 16"/>
                <a:gd name="T21" fmla="*/ 19 h 24"/>
                <a:gd name="T22" fmla="*/ 0 w 16"/>
                <a:gd name="T23" fmla="*/ 12 h 24"/>
                <a:gd name="T24" fmla="*/ 0 w 16"/>
                <a:gd name="T25" fmla="*/ 7 h 24"/>
                <a:gd name="T26" fmla="*/ 2 w 16"/>
                <a:gd name="T27" fmla="*/ 5 h 24"/>
                <a:gd name="T28" fmla="*/ 2 w 16"/>
                <a:gd name="T29" fmla="*/ 0 h 24"/>
                <a:gd name="T30" fmla="*/ 9 w 16"/>
                <a:gd name="T31" fmla="*/ 0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24"/>
                <a:gd name="T50" fmla="*/ 16 w 16"/>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24">
                  <a:moveTo>
                    <a:pt x="9" y="0"/>
                  </a:moveTo>
                  <a:lnTo>
                    <a:pt x="12" y="5"/>
                  </a:lnTo>
                  <a:lnTo>
                    <a:pt x="16" y="7"/>
                  </a:lnTo>
                  <a:lnTo>
                    <a:pt x="16" y="14"/>
                  </a:lnTo>
                  <a:lnTo>
                    <a:pt x="12" y="19"/>
                  </a:lnTo>
                  <a:lnTo>
                    <a:pt x="12" y="22"/>
                  </a:lnTo>
                  <a:lnTo>
                    <a:pt x="9" y="22"/>
                  </a:lnTo>
                  <a:lnTo>
                    <a:pt x="5" y="24"/>
                  </a:lnTo>
                  <a:lnTo>
                    <a:pt x="5" y="22"/>
                  </a:lnTo>
                  <a:lnTo>
                    <a:pt x="2" y="22"/>
                  </a:lnTo>
                  <a:lnTo>
                    <a:pt x="2" y="19"/>
                  </a:lnTo>
                  <a:lnTo>
                    <a:pt x="0" y="12"/>
                  </a:lnTo>
                  <a:lnTo>
                    <a:pt x="0" y="7"/>
                  </a:lnTo>
                  <a:lnTo>
                    <a:pt x="2" y="5"/>
                  </a:lnTo>
                  <a:lnTo>
                    <a:pt x="2"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0" name="Freeform 399">
              <a:extLst>
                <a:ext uri="{FF2B5EF4-FFF2-40B4-BE49-F238E27FC236}">
                  <a16:creationId xmlns:a16="http://schemas.microsoft.com/office/drawing/2014/main" id="{C1995D57-FC7A-4C3D-AD2E-67EB68BA6BF3}"/>
                </a:ext>
              </a:extLst>
            </p:cNvPr>
            <p:cNvSpPr>
              <a:spLocks/>
            </p:cNvSpPr>
            <p:nvPr/>
          </p:nvSpPr>
          <p:spPr bwMode="gray">
            <a:xfrm rot="47099">
              <a:off x="1221629" y="1926232"/>
              <a:ext cx="235309" cy="190177"/>
            </a:xfrm>
            <a:custGeom>
              <a:avLst/>
              <a:gdLst>
                <a:gd name="T0" fmla="*/ 159 w 506"/>
                <a:gd name="T1" fmla="*/ 409 h 409"/>
                <a:gd name="T2" fmla="*/ 97 w 506"/>
                <a:gd name="T3" fmla="*/ 395 h 409"/>
                <a:gd name="T4" fmla="*/ 88 w 506"/>
                <a:gd name="T5" fmla="*/ 362 h 409"/>
                <a:gd name="T6" fmla="*/ 97 w 506"/>
                <a:gd name="T7" fmla="*/ 338 h 409"/>
                <a:gd name="T8" fmla="*/ 67 w 506"/>
                <a:gd name="T9" fmla="*/ 324 h 409"/>
                <a:gd name="T10" fmla="*/ 24 w 506"/>
                <a:gd name="T11" fmla="*/ 312 h 409"/>
                <a:gd name="T12" fmla="*/ 7 w 506"/>
                <a:gd name="T13" fmla="*/ 291 h 409"/>
                <a:gd name="T14" fmla="*/ 7 w 506"/>
                <a:gd name="T15" fmla="*/ 279 h 409"/>
                <a:gd name="T16" fmla="*/ 142 w 506"/>
                <a:gd name="T17" fmla="*/ 279 h 409"/>
                <a:gd name="T18" fmla="*/ 258 w 506"/>
                <a:gd name="T19" fmla="*/ 71 h 409"/>
                <a:gd name="T20" fmla="*/ 260 w 506"/>
                <a:gd name="T21" fmla="*/ 50 h 409"/>
                <a:gd name="T22" fmla="*/ 272 w 506"/>
                <a:gd name="T23" fmla="*/ 33 h 409"/>
                <a:gd name="T24" fmla="*/ 284 w 506"/>
                <a:gd name="T25" fmla="*/ 66 h 409"/>
                <a:gd name="T26" fmla="*/ 296 w 506"/>
                <a:gd name="T27" fmla="*/ 102 h 409"/>
                <a:gd name="T28" fmla="*/ 300 w 506"/>
                <a:gd name="T29" fmla="*/ 123 h 409"/>
                <a:gd name="T30" fmla="*/ 305 w 506"/>
                <a:gd name="T31" fmla="*/ 147 h 409"/>
                <a:gd name="T32" fmla="*/ 319 w 506"/>
                <a:gd name="T33" fmla="*/ 137 h 409"/>
                <a:gd name="T34" fmla="*/ 315 w 506"/>
                <a:gd name="T35" fmla="*/ 74 h 409"/>
                <a:gd name="T36" fmla="*/ 315 w 506"/>
                <a:gd name="T37" fmla="*/ 14 h 409"/>
                <a:gd name="T38" fmla="*/ 319 w 506"/>
                <a:gd name="T39" fmla="*/ 7 h 409"/>
                <a:gd name="T40" fmla="*/ 341 w 506"/>
                <a:gd name="T41" fmla="*/ 17 h 409"/>
                <a:gd name="T42" fmla="*/ 357 w 506"/>
                <a:gd name="T43" fmla="*/ 17 h 409"/>
                <a:gd name="T44" fmla="*/ 378 w 506"/>
                <a:gd name="T45" fmla="*/ 40 h 409"/>
                <a:gd name="T46" fmla="*/ 385 w 506"/>
                <a:gd name="T47" fmla="*/ 57 h 409"/>
                <a:gd name="T48" fmla="*/ 393 w 506"/>
                <a:gd name="T49" fmla="*/ 104 h 409"/>
                <a:gd name="T50" fmla="*/ 395 w 506"/>
                <a:gd name="T51" fmla="*/ 142 h 409"/>
                <a:gd name="T52" fmla="*/ 404 w 506"/>
                <a:gd name="T53" fmla="*/ 185 h 409"/>
                <a:gd name="T54" fmla="*/ 397 w 506"/>
                <a:gd name="T55" fmla="*/ 211 h 409"/>
                <a:gd name="T56" fmla="*/ 421 w 506"/>
                <a:gd name="T57" fmla="*/ 248 h 409"/>
                <a:gd name="T58" fmla="*/ 444 w 506"/>
                <a:gd name="T59" fmla="*/ 260 h 409"/>
                <a:gd name="T60" fmla="*/ 444 w 506"/>
                <a:gd name="T61" fmla="*/ 255 h 409"/>
                <a:gd name="T62" fmla="*/ 473 w 506"/>
                <a:gd name="T63" fmla="*/ 281 h 409"/>
                <a:gd name="T64" fmla="*/ 485 w 506"/>
                <a:gd name="T65" fmla="*/ 296 h 409"/>
                <a:gd name="T66" fmla="*/ 501 w 506"/>
                <a:gd name="T67" fmla="*/ 300 h 409"/>
                <a:gd name="T68" fmla="*/ 485 w 506"/>
                <a:gd name="T69" fmla="*/ 315 h 409"/>
                <a:gd name="T70" fmla="*/ 468 w 506"/>
                <a:gd name="T71" fmla="*/ 319 h 409"/>
                <a:gd name="T72" fmla="*/ 449 w 506"/>
                <a:gd name="T73" fmla="*/ 329 h 409"/>
                <a:gd name="T74" fmla="*/ 435 w 506"/>
                <a:gd name="T75" fmla="*/ 338 h 409"/>
                <a:gd name="T76" fmla="*/ 435 w 506"/>
                <a:gd name="T77" fmla="*/ 345 h 409"/>
                <a:gd name="T78" fmla="*/ 428 w 506"/>
                <a:gd name="T79" fmla="*/ 381 h 409"/>
                <a:gd name="T80" fmla="*/ 444 w 506"/>
                <a:gd name="T81" fmla="*/ 357 h 409"/>
                <a:gd name="T82" fmla="*/ 461 w 506"/>
                <a:gd name="T83" fmla="*/ 369 h 409"/>
                <a:gd name="T84" fmla="*/ 475 w 506"/>
                <a:gd name="T85" fmla="*/ 392 h 409"/>
                <a:gd name="T86" fmla="*/ 454 w 506"/>
                <a:gd name="T87" fmla="*/ 397 h 409"/>
                <a:gd name="T88" fmla="*/ 433 w 506"/>
                <a:gd name="T89" fmla="*/ 409 h 409"/>
                <a:gd name="T90" fmla="*/ 393 w 506"/>
                <a:gd name="T91" fmla="*/ 397 h 409"/>
                <a:gd name="T92" fmla="*/ 362 w 506"/>
                <a:gd name="T93" fmla="*/ 395 h 409"/>
                <a:gd name="T94" fmla="*/ 364 w 506"/>
                <a:gd name="T95" fmla="*/ 378 h 409"/>
                <a:gd name="T96" fmla="*/ 329 w 506"/>
                <a:gd name="T97" fmla="*/ 362 h 409"/>
                <a:gd name="T98" fmla="*/ 312 w 506"/>
                <a:gd name="T99" fmla="*/ 352 h 409"/>
                <a:gd name="T100" fmla="*/ 296 w 506"/>
                <a:gd name="T101" fmla="*/ 378 h 409"/>
                <a:gd name="T102" fmla="*/ 255 w 506"/>
                <a:gd name="T103" fmla="*/ 385 h 409"/>
                <a:gd name="T104" fmla="*/ 225 w 506"/>
                <a:gd name="T105" fmla="*/ 397 h 409"/>
                <a:gd name="T106" fmla="*/ 192 w 506"/>
                <a:gd name="T107" fmla="*/ 402 h 4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06"/>
                <a:gd name="T163" fmla="*/ 0 h 409"/>
                <a:gd name="T164" fmla="*/ 506 w 506"/>
                <a:gd name="T165" fmla="*/ 409 h 4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06" h="409">
                  <a:moveTo>
                    <a:pt x="168" y="404"/>
                  </a:moveTo>
                  <a:lnTo>
                    <a:pt x="168" y="402"/>
                  </a:lnTo>
                  <a:lnTo>
                    <a:pt x="175" y="402"/>
                  </a:lnTo>
                  <a:lnTo>
                    <a:pt x="154" y="402"/>
                  </a:lnTo>
                  <a:lnTo>
                    <a:pt x="161" y="402"/>
                  </a:lnTo>
                  <a:lnTo>
                    <a:pt x="161" y="404"/>
                  </a:lnTo>
                  <a:lnTo>
                    <a:pt x="159" y="409"/>
                  </a:lnTo>
                  <a:lnTo>
                    <a:pt x="154" y="404"/>
                  </a:lnTo>
                  <a:lnTo>
                    <a:pt x="152" y="404"/>
                  </a:lnTo>
                  <a:lnTo>
                    <a:pt x="152" y="402"/>
                  </a:lnTo>
                  <a:lnTo>
                    <a:pt x="90" y="402"/>
                  </a:lnTo>
                  <a:lnTo>
                    <a:pt x="90" y="397"/>
                  </a:lnTo>
                  <a:lnTo>
                    <a:pt x="102" y="397"/>
                  </a:lnTo>
                  <a:lnTo>
                    <a:pt x="97" y="395"/>
                  </a:lnTo>
                  <a:lnTo>
                    <a:pt x="97" y="392"/>
                  </a:lnTo>
                  <a:lnTo>
                    <a:pt x="95" y="392"/>
                  </a:lnTo>
                  <a:lnTo>
                    <a:pt x="90" y="388"/>
                  </a:lnTo>
                  <a:lnTo>
                    <a:pt x="88" y="381"/>
                  </a:lnTo>
                  <a:lnTo>
                    <a:pt x="88" y="376"/>
                  </a:lnTo>
                  <a:lnTo>
                    <a:pt x="85" y="369"/>
                  </a:lnTo>
                  <a:lnTo>
                    <a:pt x="88" y="362"/>
                  </a:lnTo>
                  <a:lnTo>
                    <a:pt x="90" y="357"/>
                  </a:lnTo>
                  <a:lnTo>
                    <a:pt x="90" y="355"/>
                  </a:lnTo>
                  <a:lnTo>
                    <a:pt x="95" y="348"/>
                  </a:lnTo>
                  <a:lnTo>
                    <a:pt x="90" y="345"/>
                  </a:lnTo>
                  <a:lnTo>
                    <a:pt x="90" y="336"/>
                  </a:lnTo>
                  <a:lnTo>
                    <a:pt x="95" y="336"/>
                  </a:lnTo>
                  <a:lnTo>
                    <a:pt x="97" y="338"/>
                  </a:lnTo>
                  <a:lnTo>
                    <a:pt x="97" y="336"/>
                  </a:lnTo>
                  <a:lnTo>
                    <a:pt x="95" y="336"/>
                  </a:lnTo>
                  <a:lnTo>
                    <a:pt x="88" y="329"/>
                  </a:lnTo>
                  <a:lnTo>
                    <a:pt x="74" y="324"/>
                  </a:lnTo>
                  <a:lnTo>
                    <a:pt x="74" y="322"/>
                  </a:lnTo>
                  <a:lnTo>
                    <a:pt x="71" y="322"/>
                  </a:lnTo>
                  <a:lnTo>
                    <a:pt x="67" y="324"/>
                  </a:lnTo>
                  <a:lnTo>
                    <a:pt x="62" y="324"/>
                  </a:lnTo>
                  <a:lnTo>
                    <a:pt x="57" y="322"/>
                  </a:lnTo>
                  <a:lnTo>
                    <a:pt x="45" y="322"/>
                  </a:lnTo>
                  <a:lnTo>
                    <a:pt x="41" y="319"/>
                  </a:lnTo>
                  <a:lnTo>
                    <a:pt x="31" y="315"/>
                  </a:lnTo>
                  <a:lnTo>
                    <a:pt x="26" y="315"/>
                  </a:lnTo>
                  <a:lnTo>
                    <a:pt x="24" y="312"/>
                  </a:lnTo>
                  <a:lnTo>
                    <a:pt x="22" y="312"/>
                  </a:lnTo>
                  <a:lnTo>
                    <a:pt x="22" y="307"/>
                  </a:lnTo>
                  <a:lnTo>
                    <a:pt x="17" y="305"/>
                  </a:lnTo>
                  <a:lnTo>
                    <a:pt x="15" y="305"/>
                  </a:lnTo>
                  <a:lnTo>
                    <a:pt x="7" y="298"/>
                  </a:lnTo>
                  <a:lnTo>
                    <a:pt x="5" y="291"/>
                  </a:lnTo>
                  <a:lnTo>
                    <a:pt x="7" y="291"/>
                  </a:lnTo>
                  <a:lnTo>
                    <a:pt x="10" y="284"/>
                  </a:lnTo>
                  <a:lnTo>
                    <a:pt x="7" y="284"/>
                  </a:lnTo>
                  <a:lnTo>
                    <a:pt x="7" y="281"/>
                  </a:lnTo>
                  <a:lnTo>
                    <a:pt x="5" y="281"/>
                  </a:lnTo>
                  <a:lnTo>
                    <a:pt x="0" y="279"/>
                  </a:lnTo>
                  <a:lnTo>
                    <a:pt x="5" y="274"/>
                  </a:lnTo>
                  <a:lnTo>
                    <a:pt x="7" y="279"/>
                  </a:lnTo>
                  <a:lnTo>
                    <a:pt x="0" y="251"/>
                  </a:lnTo>
                  <a:lnTo>
                    <a:pt x="5" y="244"/>
                  </a:lnTo>
                  <a:lnTo>
                    <a:pt x="130" y="272"/>
                  </a:lnTo>
                  <a:lnTo>
                    <a:pt x="128" y="284"/>
                  </a:lnTo>
                  <a:lnTo>
                    <a:pt x="137" y="281"/>
                  </a:lnTo>
                  <a:lnTo>
                    <a:pt x="137" y="284"/>
                  </a:lnTo>
                  <a:lnTo>
                    <a:pt x="142" y="279"/>
                  </a:lnTo>
                  <a:lnTo>
                    <a:pt x="144" y="272"/>
                  </a:lnTo>
                  <a:lnTo>
                    <a:pt x="220" y="284"/>
                  </a:lnTo>
                  <a:lnTo>
                    <a:pt x="258" y="74"/>
                  </a:lnTo>
                  <a:lnTo>
                    <a:pt x="258" y="71"/>
                  </a:lnTo>
                  <a:lnTo>
                    <a:pt x="258" y="74"/>
                  </a:lnTo>
                  <a:lnTo>
                    <a:pt x="260" y="74"/>
                  </a:lnTo>
                  <a:lnTo>
                    <a:pt x="258" y="71"/>
                  </a:lnTo>
                  <a:lnTo>
                    <a:pt x="258" y="66"/>
                  </a:lnTo>
                  <a:lnTo>
                    <a:pt x="260" y="71"/>
                  </a:lnTo>
                  <a:lnTo>
                    <a:pt x="265" y="71"/>
                  </a:lnTo>
                  <a:lnTo>
                    <a:pt x="260" y="62"/>
                  </a:lnTo>
                  <a:lnTo>
                    <a:pt x="260" y="57"/>
                  </a:lnTo>
                  <a:lnTo>
                    <a:pt x="258" y="57"/>
                  </a:lnTo>
                  <a:lnTo>
                    <a:pt x="260" y="50"/>
                  </a:lnTo>
                  <a:lnTo>
                    <a:pt x="265" y="55"/>
                  </a:lnTo>
                  <a:lnTo>
                    <a:pt x="267" y="50"/>
                  </a:lnTo>
                  <a:lnTo>
                    <a:pt x="265" y="50"/>
                  </a:lnTo>
                  <a:lnTo>
                    <a:pt x="260" y="48"/>
                  </a:lnTo>
                  <a:lnTo>
                    <a:pt x="265" y="26"/>
                  </a:lnTo>
                  <a:lnTo>
                    <a:pt x="267" y="26"/>
                  </a:lnTo>
                  <a:lnTo>
                    <a:pt x="272" y="33"/>
                  </a:lnTo>
                  <a:lnTo>
                    <a:pt x="274" y="33"/>
                  </a:lnTo>
                  <a:lnTo>
                    <a:pt x="272" y="38"/>
                  </a:lnTo>
                  <a:lnTo>
                    <a:pt x="272" y="40"/>
                  </a:lnTo>
                  <a:lnTo>
                    <a:pt x="279" y="48"/>
                  </a:lnTo>
                  <a:lnTo>
                    <a:pt x="281" y="50"/>
                  </a:lnTo>
                  <a:lnTo>
                    <a:pt x="284" y="57"/>
                  </a:lnTo>
                  <a:lnTo>
                    <a:pt x="284" y="66"/>
                  </a:lnTo>
                  <a:lnTo>
                    <a:pt x="291" y="66"/>
                  </a:lnTo>
                  <a:lnTo>
                    <a:pt x="291" y="64"/>
                  </a:lnTo>
                  <a:lnTo>
                    <a:pt x="296" y="66"/>
                  </a:lnTo>
                  <a:lnTo>
                    <a:pt x="296" y="81"/>
                  </a:lnTo>
                  <a:lnTo>
                    <a:pt x="291" y="85"/>
                  </a:lnTo>
                  <a:lnTo>
                    <a:pt x="291" y="88"/>
                  </a:lnTo>
                  <a:lnTo>
                    <a:pt x="296" y="102"/>
                  </a:lnTo>
                  <a:lnTo>
                    <a:pt x="296" y="104"/>
                  </a:lnTo>
                  <a:lnTo>
                    <a:pt x="298" y="104"/>
                  </a:lnTo>
                  <a:lnTo>
                    <a:pt x="298" y="107"/>
                  </a:lnTo>
                  <a:lnTo>
                    <a:pt x="296" y="114"/>
                  </a:lnTo>
                  <a:lnTo>
                    <a:pt x="298" y="118"/>
                  </a:lnTo>
                  <a:lnTo>
                    <a:pt x="300" y="121"/>
                  </a:lnTo>
                  <a:lnTo>
                    <a:pt x="300" y="123"/>
                  </a:lnTo>
                  <a:lnTo>
                    <a:pt x="298" y="128"/>
                  </a:lnTo>
                  <a:lnTo>
                    <a:pt x="298" y="130"/>
                  </a:lnTo>
                  <a:lnTo>
                    <a:pt x="296" y="137"/>
                  </a:lnTo>
                  <a:lnTo>
                    <a:pt x="296" y="142"/>
                  </a:lnTo>
                  <a:lnTo>
                    <a:pt x="298" y="144"/>
                  </a:lnTo>
                  <a:lnTo>
                    <a:pt x="300" y="144"/>
                  </a:lnTo>
                  <a:lnTo>
                    <a:pt x="305" y="147"/>
                  </a:lnTo>
                  <a:lnTo>
                    <a:pt x="305" y="152"/>
                  </a:lnTo>
                  <a:lnTo>
                    <a:pt x="307" y="154"/>
                  </a:lnTo>
                  <a:lnTo>
                    <a:pt x="312" y="152"/>
                  </a:lnTo>
                  <a:lnTo>
                    <a:pt x="307" y="152"/>
                  </a:lnTo>
                  <a:lnTo>
                    <a:pt x="307" y="144"/>
                  </a:lnTo>
                  <a:lnTo>
                    <a:pt x="315" y="144"/>
                  </a:lnTo>
                  <a:lnTo>
                    <a:pt x="319" y="137"/>
                  </a:lnTo>
                  <a:lnTo>
                    <a:pt x="322" y="135"/>
                  </a:lnTo>
                  <a:lnTo>
                    <a:pt x="324" y="130"/>
                  </a:lnTo>
                  <a:lnTo>
                    <a:pt x="322" y="123"/>
                  </a:lnTo>
                  <a:lnTo>
                    <a:pt x="319" y="121"/>
                  </a:lnTo>
                  <a:lnTo>
                    <a:pt x="319" y="107"/>
                  </a:lnTo>
                  <a:lnTo>
                    <a:pt x="315" y="107"/>
                  </a:lnTo>
                  <a:lnTo>
                    <a:pt x="315" y="74"/>
                  </a:lnTo>
                  <a:lnTo>
                    <a:pt x="319" y="71"/>
                  </a:lnTo>
                  <a:lnTo>
                    <a:pt x="315" y="66"/>
                  </a:lnTo>
                  <a:lnTo>
                    <a:pt x="315" y="31"/>
                  </a:lnTo>
                  <a:lnTo>
                    <a:pt x="312" y="24"/>
                  </a:lnTo>
                  <a:lnTo>
                    <a:pt x="312" y="17"/>
                  </a:lnTo>
                  <a:lnTo>
                    <a:pt x="315" y="17"/>
                  </a:lnTo>
                  <a:lnTo>
                    <a:pt x="315" y="14"/>
                  </a:lnTo>
                  <a:lnTo>
                    <a:pt x="322" y="14"/>
                  </a:lnTo>
                  <a:lnTo>
                    <a:pt x="322" y="17"/>
                  </a:lnTo>
                  <a:lnTo>
                    <a:pt x="324" y="17"/>
                  </a:lnTo>
                  <a:lnTo>
                    <a:pt x="324" y="14"/>
                  </a:lnTo>
                  <a:lnTo>
                    <a:pt x="322" y="14"/>
                  </a:lnTo>
                  <a:lnTo>
                    <a:pt x="319" y="10"/>
                  </a:lnTo>
                  <a:lnTo>
                    <a:pt x="319" y="7"/>
                  </a:lnTo>
                  <a:lnTo>
                    <a:pt x="322" y="0"/>
                  </a:lnTo>
                  <a:lnTo>
                    <a:pt x="322" y="5"/>
                  </a:lnTo>
                  <a:lnTo>
                    <a:pt x="331" y="5"/>
                  </a:lnTo>
                  <a:lnTo>
                    <a:pt x="331" y="7"/>
                  </a:lnTo>
                  <a:lnTo>
                    <a:pt x="338" y="10"/>
                  </a:lnTo>
                  <a:lnTo>
                    <a:pt x="338" y="14"/>
                  </a:lnTo>
                  <a:lnTo>
                    <a:pt x="341" y="17"/>
                  </a:lnTo>
                  <a:lnTo>
                    <a:pt x="345" y="22"/>
                  </a:lnTo>
                  <a:lnTo>
                    <a:pt x="345" y="14"/>
                  </a:lnTo>
                  <a:lnTo>
                    <a:pt x="348" y="10"/>
                  </a:lnTo>
                  <a:lnTo>
                    <a:pt x="352" y="7"/>
                  </a:lnTo>
                  <a:lnTo>
                    <a:pt x="355" y="10"/>
                  </a:lnTo>
                  <a:lnTo>
                    <a:pt x="355" y="17"/>
                  </a:lnTo>
                  <a:lnTo>
                    <a:pt x="357" y="17"/>
                  </a:lnTo>
                  <a:lnTo>
                    <a:pt x="362" y="24"/>
                  </a:lnTo>
                  <a:lnTo>
                    <a:pt x="364" y="31"/>
                  </a:lnTo>
                  <a:lnTo>
                    <a:pt x="371" y="33"/>
                  </a:lnTo>
                  <a:lnTo>
                    <a:pt x="378" y="33"/>
                  </a:lnTo>
                  <a:lnTo>
                    <a:pt x="376" y="38"/>
                  </a:lnTo>
                  <a:lnTo>
                    <a:pt x="378" y="38"/>
                  </a:lnTo>
                  <a:lnTo>
                    <a:pt x="378" y="40"/>
                  </a:lnTo>
                  <a:lnTo>
                    <a:pt x="381" y="45"/>
                  </a:lnTo>
                  <a:lnTo>
                    <a:pt x="381" y="48"/>
                  </a:lnTo>
                  <a:lnTo>
                    <a:pt x="385" y="55"/>
                  </a:lnTo>
                  <a:lnTo>
                    <a:pt x="388" y="62"/>
                  </a:lnTo>
                  <a:lnTo>
                    <a:pt x="388" y="64"/>
                  </a:lnTo>
                  <a:lnTo>
                    <a:pt x="385" y="64"/>
                  </a:lnTo>
                  <a:lnTo>
                    <a:pt x="385" y="57"/>
                  </a:lnTo>
                  <a:lnTo>
                    <a:pt x="385" y="66"/>
                  </a:lnTo>
                  <a:lnTo>
                    <a:pt x="388" y="71"/>
                  </a:lnTo>
                  <a:lnTo>
                    <a:pt x="388" y="88"/>
                  </a:lnTo>
                  <a:lnTo>
                    <a:pt x="385" y="88"/>
                  </a:lnTo>
                  <a:lnTo>
                    <a:pt x="388" y="90"/>
                  </a:lnTo>
                  <a:lnTo>
                    <a:pt x="388" y="97"/>
                  </a:lnTo>
                  <a:lnTo>
                    <a:pt x="393" y="104"/>
                  </a:lnTo>
                  <a:lnTo>
                    <a:pt x="393" y="107"/>
                  </a:lnTo>
                  <a:lnTo>
                    <a:pt x="395" y="111"/>
                  </a:lnTo>
                  <a:lnTo>
                    <a:pt x="395" y="114"/>
                  </a:lnTo>
                  <a:lnTo>
                    <a:pt x="393" y="114"/>
                  </a:lnTo>
                  <a:lnTo>
                    <a:pt x="393" y="121"/>
                  </a:lnTo>
                  <a:lnTo>
                    <a:pt x="395" y="123"/>
                  </a:lnTo>
                  <a:lnTo>
                    <a:pt x="395" y="142"/>
                  </a:lnTo>
                  <a:lnTo>
                    <a:pt x="397" y="142"/>
                  </a:lnTo>
                  <a:lnTo>
                    <a:pt x="397" y="144"/>
                  </a:lnTo>
                  <a:lnTo>
                    <a:pt x="402" y="152"/>
                  </a:lnTo>
                  <a:lnTo>
                    <a:pt x="404" y="161"/>
                  </a:lnTo>
                  <a:lnTo>
                    <a:pt x="409" y="163"/>
                  </a:lnTo>
                  <a:lnTo>
                    <a:pt x="404" y="163"/>
                  </a:lnTo>
                  <a:lnTo>
                    <a:pt x="404" y="185"/>
                  </a:lnTo>
                  <a:lnTo>
                    <a:pt x="402" y="185"/>
                  </a:lnTo>
                  <a:lnTo>
                    <a:pt x="402" y="199"/>
                  </a:lnTo>
                  <a:lnTo>
                    <a:pt x="397" y="201"/>
                  </a:lnTo>
                  <a:lnTo>
                    <a:pt x="395" y="201"/>
                  </a:lnTo>
                  <a:lnTo>
                    <a:pt x="395" y="208"/>
                  </a:lnTo>
                  <a:lnTo>
                    <a:pt x="397" y="208"/>
                  </a:lnTo>
                  <a:lnTo>
                    <a:pt x="397" y="211"/>
                  </a:lnTo>
                  <a:lnTo>
                    <a:pt x="402" y="215"/>
                  </a:lnTo>
                  <a:lnTo>
                    <a:pt x="404" y="218"/>
                  </a:lnTo>
                  <a:lnTo>
                    <a:pt x="411" y="225"/>
                  </a:lnTo>
                  <a:lnTo>
                    <a:pt x="411" y="239"/>
                  </a:lnTo>
                  <a:lnTo>
                    <a:pt x="418" y="239"/>
                  </a:lnTo>
                  <a:lnTo>
                    <a:pt x="421" y="241"/>
                  </a:lnTo>
                  <a:lnTo>
                    <a:pt x="421" y="248"/>
                  </a:lnTo>
                  <a:lnTo>
                    <a:pt x="426" y="248"/>
                  </a:lnTo>
                  <a:lnTo>
                    <a:pt x="426" y="251"/>
                  </a:lnTo>
                  <a:lnTo>
                    <a:pt x="435" y="251"/>
                  </a:lnTo>
                  <a:lnTo>
                    <a:pt x="435" y="255"/>
                  </a:lnTo>
                  <a:lnTo>
                    <a:pt x="437" y="258"/>
                  </a:lnTo>
                  <a:lnTo>
                    <a:pt x="437" y="260"/>
                  </a:lnTo>
                  <a:lnTo>
                    <a:pt x="444" y="260"/>
                  </a:lnTo>
                  <a:lnTo>
                    <a:pt x="442" y="258"/>
                  </a:lnTo>
                  <a:lnTo>
                    <a:pt x="437" y="258"/>
                  </a:lnTo>
                  <a:lnTo>
                    <a:pt x="437" y="244"/>
                  </a:lnTo>
                  <a:lnTo>
                    <a:pt x="442" y="244"/>
                  </a:lnTo>
                  <a:lnTo>
                    <a:pt x="442" y="248"/>
                  </a:lnTo>
                  <a:lnTo>
                    <a:pt x="444" y="251"/>
                  </a:lnTo>
                  <a:lnTo>
                    <a:pt x="444" y="255"/>
                  </a:lnTo>
                  <a:lnTo>
                    <a:pt x="449" y="260"/>
                  </a:lnTo>
                  <a:lnTo>
                    <a:pt x="452" y="265"/>
                  </a:lnTo>
                  <a:lnTo>
                    <a:pt x="454" y="265"/>
                  </a:lnTo>
                  <a:lnTo>
                    <a:pt x="459" y="267"/>
                  </a:lnTo>
                  <a:lnTo>
                    <a:pt x="461" y="272"/>
                  </a:lnTo>
                  <a:lnTo>
                    <a:pt x="468" y="274"/>
                  </a:lnTo>
                  <a:lnTo>
                    <a:pt x="473" y="281"/>
                  </a:lnTo>
                  <a:lnTo>
                    <a:pt x="478" y="281"/>
                  </a:lnTo>
                  <a:lnTo>
                    <a:pt x="478" y="279"/>
                  </a:lnTo>
                  <a:lnTo>
                    <a:pt x="482" y="279"/>
                  </a:lnTo>
                  <a:lnTo>
                    <a:pt x="485" y="281"/>
                  </a:lnTo>
                  <a:lnTo>
                    <a:pt x="482" y="284"/>
                  </a:lnTo>
                  <a:lnTo>
                    <a:pt x="482" y="291"/>
                  </a:lnTo>
                  <a:lnTo>
                    <a:pt x="485" y="296"/>
                  </a:lnTo>
                  <a:lnTo>
                    <a:pt x="489" y="291"/>
                  </a:lnTo>
                  <a:lnTo>
                    <a:pt x="494" y="291"/>
                  </a:lnTo>
                  <a:lnTo>
                    <a:pt x="494" y="296"/>
                  </a:lnTo>
                  <a:lnTo>
                    <a:pt x="499" y="291"/>
                  </a:lnTo>
                  <a:lnTo>
                    <a:pt x="499" y="289"/>
                  </a:lnTo>
                  <a:lnTo>
                    <a:pt x="501" y="289"/>
                  </a:lnTo>
                  <a:lnTo>
                    <a:pt x="501" y="300"/>
                  </a:lnTo>
                  <a:lnTo>
                    <a:pt x="506" y="307"/>
                  </a:lnTo>
                  <a:lnTo>
                    <a:pt x="506" y="331"/>
                  </a:lnTo>
                  <a:lnTo>
                    <a:pt x="501" y="336"/>
                  </a:lnTo>
                  <a:lnTo>
                    <a:pt x="492" y="336"/>
                  </a:lnTo>
                  <a:lnTo>
                    <a:pt x="489" y="324"/>
                  </a:lnTo>
                  <a:lnTo>
                    <a:pt x="489" y="315"/>
                  </a:lnTo>
                  <a:lnTo>
                    <a:pt x="485" y="315"/>
                  </a:lnTo>
                  <a:lnTo>
                    <a:pt x="485" y="324"/>
                  </a:lnTo>
                  <a:lnTo>
                    <a:pt x="482" y="331"/>
                  </a:lnTo>
                  <a:lnTo>
                    <a:pt x="478" y="331"/>
                  </a:lnTo>
                  <a:lnTo>
                    <a:pt x="478" y="329"/>
                  </a:lnTo>
                  <a:lnTo>
                    <a:pt x="473" y="329"/>
                  </a:lnTo>
                  <a:lnTo>
                    <a:pt x="468" y="322"/>
                  </a:lnTo>
                  <a:lnTo>
                    <a:pt x="468" y="319"/>
                  </a:lnTo>
                  <a:lnTo>
                    <a:pt x="466" y="312"/>
                  </a:lnTo>
                  <a:lnTo>
                    <a:pt x="461" y="312"/>
                  </a:lnTo>
                  <a:lnTo>
                    <a:pt x="459" y="322"/>
                  </a:lnTo>
                  <a:lnTo>
                    <a:pt x="454" y="324"/>
                  </a:lnTo>
                  <a:lnTo>
                    <a:pt x="452" y="329"/>
                  </a:lnTo>
                  <a:lnTo>
                    <a:pt x="449" y="324"/>
                  </a:lnTo>
                  <a:lnTo>
                    <a:pt x="449" y="329"/>
                  </a:lnTo>
                  <a:lnTo>
                    <a:pt x="452" y="331"/>
                  </a:lnTo>
                  <a:lnTo>
                    <a:pt x="454" y="331"/>
                  </a:lnTo>
                  <a:lnTo>
                    <a:pt x="454" y="338"/>
                  </a:lnTo>
                  <a:lnTo>
                    <a:pt x="452" y="341"/>
                  </a:lnTo>
                  <a:lnTo>
                    <a:pt x="449" y="345"/>
                  </a:lnTo>
                  <a:lnTo>
                    <a:pt x="442" y="345"/>
                  </a:lnTo>
                  <a:lnTo>
                    <a:pt x="435" y="338"/>
                  </a:lnTo>
                  <a:lnTo>
                    <a:pt x="433" y="336"/>
                  </a:lnTo>
                  <a:lnTo>
                    <a:pt x="428" y="331"/>
                  </a:lnTo>
                  <a:lnTo>
                    <a:pt x="426" y="329"/>
                  </a:lnTo>
                  <a:lnTo>
                    <a:pt x="421" y="331"/>
                  </a:lnTo>
                  <a:lnTo>
                    <a:pt x="421" y="338"/>
                  </a:lnTo>
                  <a:lnTo>
                    <a:pt x="428" y="341"/>
                  </a:lnTo>
                  <a:lnTo>
                    <a:pt x="435" y="345"/>
                  </a:lnTo>
                  <a:lnTo>
                    <a:pt x="435" y="348"/>
                  </a:lnTo>
                  <a:lnTo>
                    <a:pt x="437" y="355"/>
                  </a:lnTo>
                  <a:lnTo>
                    <a:pt x="435" y="362"/>
                  </a:lnTo>
                  <a:lnTo>
                    <a:pt x="435" y="371"/>
                  </a:lnTo>
                  <a:lnTo>
                    <a:pt x="433" y="371"/>
                  </a:lnTo>
                  <a:lnTo>
                    <a:pt x="428" y="376"/>
                  </a:lnTo>
                  <a:lnTo>
                    <a:pt x="428" y="381"/>
                  </a:lnTo>
                  <a:lnTo>
                    <a:pt x="433" y="378"/>
                  </a:lnTo>
                  <a:lnTo>
                    <a:pt x="433" y="376"/>
                  </a:lnTo>
                  <a:lnTo>
                    <a:pt x="435" y="371"/>
                  </a:lnTo>
                  <a:lnTo>
                    <a:pt x="437" y="369"/>
                  </a:lnTo>
                  <a:lnTo>
                    <a:pt x="437" y="364"/>
                  </a:lnTo>
                  <a:lnTo>
                    <a:pt x="442" y="357"/>
                  </a:lnTo>
                  <a:lnTo>
                    <a:pt x="444" y="357"/>
                  </a:lnTo>
                  <a:lnTo>
                    <a:pt x="452" y="352"/>
                  </a:lnTo>
                  <a:lnTo>
                    <a:pt x="454" y="348"/>
                  </a:lnTo>
                  <a:lnTo>
                    <a:pt x="466" y="348"/>
                  </a:lnTo>
                  <a:lnTo>
                    <a:pt x="468" y="352"/>
                  </a:lnTo>
                  <a:lnTo>
                    <a:pt x="473" y="355"/>
                  </a:lnTo>
                  <a:lnTo>
                    <a:pt x="468" y="369"/>
                  </a:lnTo>
                  <a:lnTo>
                    <a:pt x="461" y="369"/>
                  </a:lnTo>
                  <a:lnTo>
                    <a:pt x="461" y="371"/>
                  </a:lnTo>
                  <a:lnTo>
                    <a:pt x="466" y="376"/>
                  </a:lnTo>
                  <a:lnTo>
                    <a:pt x="468" y="371"/>
                  </a:lnTo>
                  <a:lnTo>
                    <a:pt x="468" y="369"/>
                  </a:lnTo>
                  <a:lnTo>
                    <a:pt x="473" y="369"/>
                  </a:lnTo>
                  <a:lnTo>
                    <a:pt x="475" y="376"/>
                  </a:lnTo>
                  <a:lnTo>
                    <a:pt x="475" y="392"/>
                  </a:lnTo>
                  <a:lnTo>
                    <a:pt x="473" y="395"/>
                  </a:lnTo>
                  <a:lnTo>
                    <a:pt x="468" y="395"/>
                  </a:lnTo>
                  <a:lnTo>
                    <a:pt x="466" y="392"/>
                  </a:lnTo>
                  <a:lnTo>
                    <a:pt x="466" y="395"/>
                  </a:lnTo>
                  <a:lnTo>
                    <a:pt x="461" y="395"/>
                  </a:lnTo>
                  <a:lnTo>
                    <a:pt x="461" y="397"/>
                  </a:lnTo>
                  <a:lnTo>
                    <a:pt x="454" y="397"/>
                  </a:lnTo>
                  <a:lnTo>
                    <a:pt x="452" y="402"/>
                  </a:lnTo>
                  <a:lnTo>
                    <a:pt x="449" y="404"/>
                  </a:lnTo>
                  <a:lnTo>
                    <a:pt x="444" y="402"/>
                  </a:lnTo>
                  <a:lnTo>
                    <a:pt x="442" y="402"/>
                  </a:lnTo>
                  <a:lnTo>
                    <a:pt x="442" y="404"/>
                  </a:lnTo>
                  <a:lnTo>
                    <a:pt x="437" y="409"/>
                  </a:lnTo>
                  <a:lnTo>
                    <a:pt x="433" y="409"/>
                  </a:lnTo>
                  <a:lnTo>
                    <a:pt x="428" y="404"/>
                  </a:lnTo>
                  <a:lnTo>
                    <a:pt x="421" y="404"/>
                  </a:lnTo>
                  <a:lnTo>
                    <a:pt x="421" y="409"/>
                  </a:lnTo>
                  <a:lnTo>
                    <a:pt x="418" y="409"/>
                  </a:lnTo>
                  <a:lnTo>
                    <a:pt x="409" y="404"/>
                  </a:lnTo>
                  <a:lnTo>
                    <a:pt x="397" y="402"/>
                  </a:lnTo>
                  <a:lnTo>
                    <a:pt x="393" y="397"/>
                  </a:lnTo>
                  <a:lnTo>
                    <a:pt x="388" y="395"/>
                  </a:lnTo>
                  <a:lnTo>
                    <a:pt x="385" y="397"/>
                  </a:lnTo>
                  <a:lnTo>
                    <a:pt x="385" y="402"/>
                  </a:lnTo>
                  <a:lnTo>
                    <a:pt x="381" y="402"/>
                  </a:lnTo>
                  <a:lnTo>
                    <a:pt x="376" y="397"/>
                  </a:lnTo>
                  <a:lnTo>
                    <a:pt x="364" y="395"/>
                  </a:lnTo>
                  <a:lnTo>
                    <a:pt x="362" y="395"/>
                  </a:lnTo>
                  <a:lnTo>
                    <a:pt x="362" y="392"/>
                  </a:lnTo>
                  <a:lnTo>
                    <a:pt x="364" y="388"/>
                  </a:lnTo>
                  <a:lnTo>
                    <a:pt x="369" y="388"/>
                  </a:lnTo>
                  <a:lnTo>
                    <a:pt x="371" y="385"/>
                  </a:lnTo>
                  <a:lnTo>
                    <a:pt x="371" y="381"/>
                  </a:lnTo>
                  <a:lnTo>
                    <a:pt x="369" y="378"/>
                  </a:lnTo>
                  <a:lnTo>
                    <a:pt x="364" y="378"/>
                  </a:lnTo>
                  <a:lnTo>
                    <a:pt x="364" y="381"/>
                  </a:lnTo>
                  <a:lnTo>
                    <a:pt x="355" y="376"/>
                  </a:lnTo>
                  <a:lnTo>
                    <a:pt x="352" y="371"/>
                  </a:lnTo>
                  <a:lnTo>
                    <a:pt x="329" y="371"/>
                  </a:lnTo>
                  <a:lnTo>
                    <a:pt x="324" y="369"/>
                  </a:lnTo>
                  <a:lnTo>
                    <a:pt x="324" y="364"/>
                  </a:lnTo>
                  <a:lnTo>
                    <a:pt x="329" y="362"/>
                  </a:lnTo>
                  <a:lnTo>
                    <a:pt x="331" y="362"/>
                  </a:lnTo>
                  <a:lnTo>
                    <a:pt x="331" y="352"/>
                  </a:lnTo>
                  <a:lnTo>
                    <a:pt x="324" y="341"/>
                  </a:lnTo>
                  <a:lnTo>
                    <a:pt x="322" y="341"/>
                  </a:lnTo>
                  <a:lnTo>
                    <a:pt x="319" y="345"/>
                  </a:lnTo>
                  <a:lnTo>
                    <a:pt x="319" y="348"/>
                  </a:lnTo>
                  <a:lnTo>
                    <a:pt x="312" y="352"/>
                  </a:lnTo>
                  <a:lnTo>
                    <a:pt x="307" y="352"/>
                  </a:lnTo>
                  <a:lnTo>
                    <a:pt x="307" y="364"/>
                  </a:lnTo>
                  <a:lnTo>
                    <a:pt x="305" y="364"/>
                  </a:lnTo>
                  <a:lnTo>
                    <a:pt x="300" y="369"/>
                  </a:lnTo>
                  <a:lnTo>
                    <a:pt x="298" y="371"/>
                  </a:lnTo>
                  <a:lnTo>
                    <a:pt x="298" y="376"/>
                  </a:lnTo>
                  <a:lnTo>
                    <a:pt x="296" y="378"/>
                  </a:lnTo>
                  <a:lnTo>
                    <a:pt x="291" y="381"/>
                  </a:lnTo>
                  <a:lnTo>
                    <a:pt x="279" y="381"/>
                  </a:lnTo>
                  <a:lnTo>
                    <a:pt x="272" y="385"/>
                  </a:lnTo>
                  <a:lnTo>
                    <a:pt x="265" y="385"/>
                  </a:lnTo>
                  <a:lnTo>
                    <a:pt x="260" y="381"/>
                  </a:lnTo>
                  <a:lnTo>
                    <a:pt x="251" y="381"/>
                  </a:lnTo>
                  <a:lnTo>
                    <a:pt x="255" y="385"/>
                  </a:lnTo>
                  <a:lnTo>
                    <a:pt x="251" y="388"/>
                  </a:lnTo>
                  <a:lnTo>
                    <a:pt x="248" y="392"/>
                  </a:lnTo>
                  <a:lnTo>
                    <a:pt x="239" y="397"/>
                  </a:lnTo>
                  <a:lnTo>
                    <a:pt x="232" y="397"/>
                  </a:lnTo>
                  <a:lnTo>
                    <a:pt x="227" y="402"/>
                  </a:lnTo>
                  <a:lnTo>
                    <a:pt x="225" y="402"/>
                  </a:lnTo>
                  <a:lnTo>
                    <a:pt x="225" y="397"/>
                  </a:lnTo>
                  <a:lnTo>
                    <a:pt x="220" y="397"/>
                  </a:lnTo>
                  <a:lnTo>
                    <a:pt x="220" y="402"/>
                  </a:lnTo>
                  <a:lnTo>
                    <a:pt x="215" y="402"/>
                  </a:lnTo>
                  <a:lnTo>
                    <a:pt x="215" y="404"/>
                  </a:lnTo>
                  <a:lnTo>
                    <a:pt x="211" y="404"/>
                  </a:lnTo>
                  <a:lnTo>
                    <a:pt x="201" y="402"/>
                  </a:lnTo>
                  <a:lnTo>
                    <a:pt x="192" y="402"/>
                  </a:lnTo>
                  <a:lnTo>
                    <a:pt x="192" y="404"/>
                  </a:lnTo>
                  <a:lnTo>
                    <a:pt x="187" y="404"/>
                  </a:lnTo>
                  <a:lnTo>
                    <a:pt x="187" y="402"/>
                  </a:lnTo>
                  <a:lnTo>
                    <a:pt x="182" y="402"/>
                  </a:lnTo>
                  <a:lnTo>
                    <a:pt x="178" y="404"/>
                  </a:lnTo>
                  <a:lnTo>
                    <a:pt x="168" y="40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1" name="Freeform 400">
              <a:extLst>
                <a:ext uri="{FF2B5EF4-FFF2-40B4-BE49-F238E27FC236}">
                  <a16:creationId xmlns:a16="http://schemas.microsoft.com/office/drawing/2014/main" id="{5BE19147-78D2-49F4-A963-223D4DAD8DAA}"/>
                </a:ext>
              </a:extLst>
            </p:cNvPr>
            <p:cNvSpPr>
              <a:spLocks/>
            </p:cNvSpPr>
            <p:nvPr/>
          </p:nvSpPr>
          <p:spPr bwMode="gray">
            <a:xfrm rot="47099">
              <a:off x="1372766" y="1917891"/>
              <a:ext cx="6510" cy="3720"/>
            </a:xfrm>
            <a:custGeom>
              <a:avLst/>
              <a:gdLst>
                <a:gd name="T0" fmla="*/ 14 w 14"/>
                <a:gd name="T1" fmla="*/ 3 h 8"/>
                <a:gd name="T2" fmla="*/ 9 w 14"/>
                <a:gd name="T3" fmla="*/ 3 h 8"/>
                <a:gd name="T4" fmla="*/ 7 w 14"/>
                <a:gd name="T5" fmla="*/ 8 h 8"/>
                <a:gd name="T6" fmla="*/ 2 w 14"/>
                <a:gd name="T7" fmla="*/ 8 h 8"/>
                <a:gd name="T8" fmla="*/ 2 w 14"/>
                <a:gd name="T9" fmla="*/ 3 h 8"/>
                <a:gd name="T10" fmla="*/ 0 w 14"/>
                <a:gd name="T11" fmla="*/ 0 h 8"/>
                <a:gd name="T12" fmla="*/ 14 w 14"/>
                <a:gd name="T13" fmla="*/ 0 h 8"/>
                <a:gd name="T14" fmla="*/ 14 w 14"/>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4" y="3"/>
                  </a:moveTo>
                  <a:lnTo>
                    <a:pt x="9" y="3"/>
                  </a:lnTo>
                  <a:lnTo>
                    <a:pt x="7" y="8"/>
                  </a:lnTo>
                  <a:lnTo>
                    <a:pt x="2" y="8"/>
                  </a:lnTo>
                  <a:lnTo>
                    <a:pt x="2" y="3"/>
                  </a:lnTo>
                  <a:lnTo>
                    <a:pt x="0" y="0"/>
                  </a:lnTo>
                  <a:lnTo>
                    <a:pt x="14" y="0"/>
                  </a:lnTo>
                  <a:lnTo>
                    <a:pt x="14"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2" name="Freeform 401">
              <a:extLst>
                <a:ext uri="{FF2B5EF4-FFF2-40B4-BE49-F238E27FC236}">
                  <a16:creationId xmlns:a16="http://schemas.microsoft.com/office/drawing/2014/main" id="{190FB87D-054F-4B33-9E9E-8ACD871401FB}"/>
                </a:ext>
              </a:extLst>
            </p:cNvPr>
            <p:cNvSpPr>
              <a:spLocks/>
            </p:cNvSpPr>
            <p:nvPr/>
          </p:nvSpPr>
          <p:spPr bwMode="gray">
            <a:xfrm rot="47099">
              <a:off x="1384667" y="1914973"/>
              <a:ext cx="31623" cy="37664"/>
            </a:xfrm>
            <a:custGeom>
              <a:avLst/>
              <a:gdLst>
                <a:gd name="T0" fmla="*/ 45 w 68"/>
                <a:gd name="T1" fmla="*/ 71 h 81"/>
                <a:gd name="T2" fmla="*/ 40 w 68"/>
                <a:gd name="T3" fmla="*/ 71 h 81"/>
                <a:gd name="T4" fmla="*/ 40 w 68"/>
                <a:gd name="T5" fmla="*/ 74 h 81"/>
                <a:gd name="T6" fmla="*/ 45 w 68"/>
                <a:gd name="T7" fmla="*/ 76 h 81"/>
                <a:gd name="T8" fmla="*/ 45 w 68"/>
                <a:gd name="T9" fmla="*/ 81 h 81"/>
                <a:gd name="T10" fmla="*/ 40 w 68"/>
                <a:gd name="T11" fmla="*/ 81 h 81"/>
                <a:gd name="T12" fmla="*/ 40 w 68"/>
                <a:gd name="T13" fmla="*/ 76 h 81"/>
                <a:gd name="T14" fmla="*/ 37 w 68"/>
                <a:gd name="T15" fmla="*/ 74 h 81"/>
                <a:gd name="T16" fmla="*/ 37 w 68"/>
                <a:gd name="T17" fmla="*/ 71 h 81"/>
                <a:gd name="T18" fmla="*/ 33 w 68"/>
                <a:gd name="T19" fmla="*/ 66 h 81"/>
                <a:gd name="T20" fmla="*/ 30 w 68"/>
                <a:gd name="T21" fmla="*/ 59 h 81"/>
                <a:gd name="T22" fmla="*/ 28 w 68"/>
                <a:gd name="T23" fmla="*/ 50 h 81"/>
                <a:gd name="T24" fmla="*/ 23 w 68"/>
                <a:gd name="T25" fmla="*/ 48 h 81"/>
                <a:gd name="T26" fmla="*/ 23 w 68"/>
                <a:gd name="T27" fmla="*/ 43 h 81"/>
                <a:gd name="T28" fmla="*/ 16 w 68"/>
                <a:gd name="T29" fmla="*/ 33 h 81"/>
                <a:gd name="T30" fmla="*/ 16 w 68"/>
                <a:gd name="T31" fmla="*/ 31 h 81"/>
                <a:gd name="T32" fmla="*/ 9 w 68"/>
                <a:gd name="T33" fmla="*/ 24 h 81"/>
                <a:gd name="T34" fmla="*/ 4 w 68"/>
                <a:gd name="T35" fmla="*/ 24 h 81"/>
                <a:gd name="T36" fmla="*/ 0 w 68"/>
                <a:gd name="T37" fmla="*/ 19 h 81"/>
                <a:gd name="T38" fmla="*/ 4 w 68"/>
                <a:gd name="T39" fmla="*/ 17 h 81"/>
                <a:gd name="T40" fmla="*/ 4 w 68"/>
                <a:gd name="T41" fmla="*/ 15 h 81"/>
                <a:gd name="T42" fmla="*/ 7 w 68"/>
                <a:gd name="T43" fmla="*/ 15 h 81"/>
                <a:gd name="T44" fmla="*/ 9 w 68"/>
                <a:gd name="T45" fmla="*/ 7 h 81"/>
                <a:gd name="T46" fmla="*/ 9 w 68"/>
                <a:gd name="T47" fmla="*/ 3 h 81"/>
                <a:gd name="T48" fmla="*/ 14 w 68"/>
                <a:gd name="T49" fmla="*/ 3 h 81"/>
                <a:gd name="T50" fmla="*/ 14 w 68"/>
                <a:gd name="T51" fmla="*/ 0 h 81"/>
                <a:gd name="T52" fmla="*/ 54 w 68"/>
                <a:gd name="T53" fmla="*/ 0 h 81"/>
                <a:gd name="T54" fmla="*/ 54 w 68"/>
                <a:gd name="T55" fmla="*/ 3 h 81"/>
                <a:gd name="T56" fmla="*/ 56 w 68"/>
                <a:gd name="T57" fmla="*/ 7 h 81"/>
                <a:gd name="T58" fmla="*/ 63 w 68"/>
                <a:gd name="T59" fmla="*/ 15 h 81"/>
                <a:gd name="T60" fmla="*/ 68 w 68"/>
                <a:gd name="T61" fmla="*/ 15 h 81"/>
                <a:gd name="T62" fmla="*/ 68 w 68"/>
                <a:gd name="T63" fmla="*/ 24 h 81"/>
                <a:gd name="T64" fmla="*/ 63 w 68"/>
                <a:gd name="T65" fmla="*/ 33 h 81"/>
                <a:gd name="T66" fmla="*/ 63 w 68"/>
                <a:gd name="T67" fmla="*/ 40 h 81"/>
                <a:gd name="T68" fmla="*/ 61 w 68"/>
                <a:gd name="T69" fmla="*/ 43 h 81"/>
                <a:gd name="T70" fmla="*/ 56 w 68"/>
                <a:gd name="T71" fmla="*/ 50 h 81"/>
                <a:gd name="T72" fmla="*/ 54 w 68"/>
                <a:gd name="T73" fmla="*/ 52 h 81"/>
                <a:gd name="T74" fmla="*/ 49 w 68"/>
                <a:gd name="T75" fmla="*/ 59 h 81"/>
                <a:gd name="T76" fmla="*/ 49 w 68"/>
                <a:gd name="T77" fmla="*/ 66 h 81"/>
                <a:gd name="T78" fmla="*/ 47 w 68"/>
                <a:gd name="T79" fmla="*/ 66 h 81"/>
                <a:gd name="T80" fmla="*/ 45 w 68"/>
                <a:gd name="T81" fmla="*/ 71 h 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8"/>
                <a:gd name="T124" fmla="*/ 0 h 81"/>
                <a:gd name="T125" fmla="*/ 68 w 68"/>
                <a:gd name="T126" fmla="*/ 81 h 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8" h="81">
                  <a:moveTo>
                    <a:pt x="45" y="71"/>
                  </a:moveTo>
                  <a:lnTo>
                    <a:pt x="40" y="71"/>
                  </a:lnTo>
                  <a:lnTo>
                    <a:pt x="40" y="74"/>
                  </a:lnTo>
                  <a:lnTo>
                    <a:pt x="45" y="76"/>
                  </a:lnTo>
                  <a:lnTo>
                    <a:pt x="45" y="81"/>
                  </a:lnTo>
                  <a:lnTo>
                    <a:pt x="40" y="81"/>
                  </a:lnTo>
                  <a:lnTo>
                    <a:pt x="40" y="76"/>
                  </a:lnTo>
                  <a:lnTo>
                    <a:pt x="37" y="74"/>
                  </a:lnTo>
                  <a:lnTo>
                    <a:pt x="37" y="71"/>
                  </a:lnTo>
                  <a:lnTo>
                    <a:pt x="33" y="66"/>
                  </a:lnTo>
                  <a:lnTo>
                    <a:pt x="30" y="59"/>
                  </a:lnTo>
                  <a:lnTo>
                    <a:pt x="28" y="50"/>
                  </a:lnTo>
                  <a:lnTo>
                    <a:pt x="23" y="48"/>
                  </a:lnTo>
                  <a:lnTo>
                    <a:pt x="23" y="43"/>
                  </a:lnTo>
                  <a:lnTo>
                    <a:pt x="16" y="33"/>
                  </a:lnTo>
                  <a:lnTo>
                    <a:pt x="16" y="31"/>
                  </a:lnTo>
                  <a:lnTo>
                    <a:pt x="9" y="24"/>
                  </a:lnTo>
                  <a:lnTo>
                    <a:pt x="4" y="24"/>
                  </a:lnTo>
                  <a:lnTo>
                    <a:pt x="0" y="19"/>
                  </a:lnTo>
                  <a:lnTo>
                    <a:pt x="4" y="17"/>
                  </a:lnTo>
                  <a:lnTo>
                    <a:pt x="4" y="15"/>
                  </a:lnTo>
                  <a:lnTo>
                    <a:pt x="7" y="15"/>
                  </a:lnTo>
                  <a:lnTo>
                    <a:pt x="9" y="7"/>
                  </a:lnTo>
                  <a:lnTo>
                    <a:pt x="9" y="3"/>
                  </a:lnTo>
                  <a:lnTo>
                    <a:pt x="14" y="3"/>
                  </a:lnTo>
                  <a:lnTo>
                    <a:pt x="14" y="0"/>
                  </a:lnTo>
                  <a:lnTo>
                    <a:pt x="54" y="0"/>
                  </a:lnTo>
                  <a:lnTo>
                    <a:pt x="54" y="3"/>
                  </a:lnTo>
                  <a:lnTo>
                    <a:pt x="56" y="7"/>
                  </a:lnTo>
                  <a:lnTo>
                    <a:pt x="63" y="15"/>
                  </a:lnTo>
                  <a:lnTo>
                    <a:pt x="68" y="15"/>
                  </a:lnTo>
                  <a:lnTo>
                    <a:pt x="68" y="24"/>
                  </a:lnTo>
                  <a:lnTo>
                    <a:pt x="63" y="33"/>
                  </a:lnTo>
                  <a:lnTo>
                    <a:pt x="63" y="40"/>
                  </a:lnTo>
                  <a:lnTo>
                    <a:pt x="61" y="43"/>
                  </a:lnTo>
                  <a:lnTo>
                    <a:pt x="56" y="50"/>
                  </a:lnTo>
                  <a:lnTo>
                    <a:pt x="54" y="52"/>
                  </a:lnTo>
                  <a:lnTo>
                    <a:pt x="49" y="59"/>
                  </a:lnTo>
                  <a:lnTo>
                    <a:pt x="49" y="66"/>
                  </a:lnTo>
                  <a:lnTo>
                    <a:pt x="47" y="66"/>
                  </a:lnTo>
                  <a:lnTo>
                    <a:pt x="45" y="7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3" name="Freeform 402">
              <a:extLst>
                <a:ext uri="{FF2B5EF4-FFF2-40B4-BE49-F238E27FC236}">
                  <a16:creationId xmlns:a16="http://schemas.microsoft.com/office/drawing/2014/main" id="{985FACF7-735D-441C-9C5D-9BBE47A49177}"/>
                </a:ext>
              </a:extLst>
            </p:cNvPr>
            <p:cNvSpPr>
              <a:spLocks/>
            </p:cNvSpPr>
            <p:nvPr/>
          </p:nvSpPr>
          <p:spPr bwMode="gray">
            <a:xfrm rot="47099">
              <a:off x="1698050" y="1885569"/>
              <a:ext cx="67896" cy="40919"/>
            </a:xfrm>
            <a:custGeom>
              <a:avLst/>
              <a:gdLst>
                <a:gd name="T0" fmla="*/ 101 w 146"/>
                <a:gd name="T1" fmla="*/ 59 h 88"/>
                <a:gd name="T2" fmla="*/ 90 w 146"/>
                <a:gd name="T3" fmla="*/ 64 h 88"/>
                <a:gd name="T4" fmla="*/ 85 w 146"/>
                <a:gd name="T5" fmla="*/ 69 h 88"/>
                <a:gd name="T6" fmla="*/ 75 w 146"/>
                <a:gd name="T7" fmla="*/ 76 h 88"/>
                <a:gd name="T8" fmla="*/ 73 w 146"/>
                <a:gd name="T9" fmla="*/ 83 h 88"/>
                <a:gd name="T10" fmla="*/ 68 w 146"/>
                <a:gd name="T11" fmla="*/ 88 h 88"/>
                <a:gd name="T12" fmla="*/ 49 w 146"/>
                <a:gd name="T13" fmla="*/ 83 h 88"/>
                <a:gd name="T14" fmla="*/ 38 w 146"/>
                <a:gd name="T15" fmla="*/ 73 h 88"/>
                <a:gd name="T16" fmla="*/ 35 w 146"/>
                <a:gd name="T17" fmla="*/ 66 h 88"/>
                <a:gd name="T18" fmla="*/ 33 w 146"/>
                <a:gd name="T19" fmla="*/ 57 h 88"/>
                <a:gd name="T20" fmla="*/ 28 w 146"/>
                <a:gd name="T21" fmla="*/ 50 h 88"/>
                <a:gd name="T22" fmla="*/ 12 w 146"/>
                <a:gd name="T23" fmla="*/ 52 h 88"/>
                <a:gd name="T24" fmla="*/ 9 w 146"/>
                <a:gd name="T25" fmla="*/ 40 h 88"/>
                <a:gd name="T26" fmla="*/ 2 w 146"/>
                <a:gd name="T27" fmla="*/ 24 h 88"/>
                <a:gd name="T28" fmla="*/ 2 w 146"/>
                <a:gd name="T29" fmla="*/ 12 h 88"/>
                <a:gd name="T30" fmla="*/ 16 w 146"/>
                <a:gd name="T31" fmla="*/ 10 h 88"/>
                <a:gd name="T32" fmla="*/ 19 w 146"/>
                <a:gd name="T33" fmla="*/ 12 h 88"/>
                <a:gd name="T34" fmla="*/ 33 w 146"/>
                <a:gd name="T35" fmla="*/ 10 h 88"/>
                <a:gd name="T36" fmla="*/ 38 w 146"/>
                <a:gd name="T37" fmla="*/ 12 h 88"/>
                <a:gd name="T38" fmla="*/ 49 w 146"/>
                <a:gd name="T39" fmla="*/ 7 h 88"/>
                <a:gd name="T40" fmla="*/ 61 w 146"/>
                <a:gd name="T41" fmla="*/ 2 h 88"/>
                <a:gd name="T42" fmla="*/ 68 w 146"/>
                <a:gd name="T43" fmla="*/ 0 h 88"/>
                <a:gd name="T44" fmla="*/ 90 w 146"/>
                <a:gd name="T45" fmla="*/ 2 h 88"/>
                <a:gd name="T46" fmla="*/ 97 w 146"/>
                <a:gd name="T47" fmla="*/ 7 h 88"/>
                <a:gd name="T48" fmla="*/ 106 w 146"/>
                <a:gd name="T49" fmla="*/ 17 h 88"/>
                <a:gd name="T50" fmla="*/ 109 w 146"/>
                <a:gd name="T51" fmla="*/ 19 h 88"/>
                <a:gd name="T52" fmla="*/ 116 w 146"/>
                <a:gd name="T53" fmla="*/ 17 h 88"/>
                <a:gd name="T54" fmla="*/ 123 w 146"/>
                <a:gd name="T55" fmla="*/ 28 h 88"/>
                <a:gd name="T56" fmla="*/ 132 w 146"/>
                <a:gd name="T57" fmla="*/ 33 h 88"/>
                <a:gd name="T58" fmla="*/ 142 w 146"/>
                <a:gd name="T59" fmla="*/ 43 h 88"/>
                <a:gd name="T60" fmla="*/ 146 w 146"/>
                <a:gd name="T61" fmla="*/ 50 h 88"/>
                <a:gd name="T62" fmla="*/ 142 w 146"/>
                <a:gd name="T63" fmla="*/ 57 h 88"/>
                <a:gd name="T64" fmla="*/ 125 w 146"/>
                <a:gd name="T65" fmla="*/ 59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8"/>
                <a:gd name="T101" fmla="*/ 146 w 146"/>
                <a:gd name="T102" fmla="*/ 88 h 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8">
                  <a:moveTo>
                    <a:pt x="123" y="59"/>
                  </a:moveTo>
                  <a:lnTo>
                    <a:pt x="101" y="59"/>
                  </a:lnTo>
                  <a:lnTo>
                    <a:pt x="99" y="64"/>
                  </a:lnTo>
                  <a:lnTo>
                    <a:pt x="90" y="64"/>
                  </a:lnTo>
                  <a:lnTo>
                    <a:pt x="90" y="66"/>
                  </a:lnTo>
                  <a:lnTo>
                    <a:pt x="85" y="69"/>
                  </a:lnTo>
                  <a:lnTo>
                    <a:pt x="83" y="73"/>
                  </a:lnTo>
                  <a:lnTo>
                    <a:pt x="75" y="76"/>
                  </a:lnTo>
                  <a:lnTo>
                    <a:pt x="73" y="80"/>
                  </a:lnTo>
                  <a:lnTo>
                    <a:pt x="73" y="83"/>
                  </a:lnTo>
                  <a:lnTo>
                    <a:pt x="68" y="83"/>
                  </a:lnTo>
                  <a:lnTo>
                    <a:pt x="68" y="88"/>
                  </a:lnTo>
                  <a:lnTo>
                    <a:pt x="59" y="88"/>
                  </a:lnTo>
                  <a:lnTo>
                    <a:pt x="49" y="83"/>
                  </a:lnTo>
                  <a:lnTo>
                    <a:pt x="45" y="80"/>
                  </a:lnTo>
                  <a:lnTo>
                    <a:pt x="38" y="73"/>
                  </a:lnTo>
                  <a:lnTo>
                    <a:pt x="38" y="69"/>
                  </a:lnTo>
                  <a:lnTo>
                    <a:pt x="35" y="66"/>
                  </a:lnTo>
                  <a:lnTo>
                    <a:pt x="35" y="59"/>
                  </a:lnTo>
                  <a:lnTo>
                    <a:pt x="33" y="57"/>
                  </a:lnTo>
                  <a:lnTo>
                    <a:pt x="33" y="52"/>
                  </a:lnTo>
                  <a:lnTo>
                    <a:pt x="28" y="50"/>
                  </a:lnTo>
                  <a:lnTo>
                    <a:pt x="26" y="52"/>
                  </a:lnTo>
                  <a:lnTo>
                    <a:pt x="12" y="52"/>
                  </a:lnTo>
                  <a:lnTo>
                    <a:pt x="9" y="47"/>
                  </a:lnTo>
                  <a:lnTo>
                    <a:pt x="9" y="40"/>
                  </a:lnTo>
                  <a:lnTo>
                    <a:pt x="5" y="33"/>
                  </a:lnTo>
                  <a:lnTo>
                    <a:pt x="2" y="24"/>
                  </a:lnTo>
                  <a:lnTo>
                    <a:pt x="0" y="12"/>
                  </a:lnTo>
                  <a:lnTo>
                    <a:pt x="2" y="12"/>
                  </a:lnTo>
                  <a:lnTo>
                    <a:pt x="5" y="10"/>
                  </a:lnTo>
                  <a:lnTo>
                    <a:pt x="16" y="10"/>
                  </a:lnTo>
                  <a:lnTo>
                    <a:pt x="16" y="12"/>
                  </a:lnTo>
                  <a:lnTo>
                    <a:pt x="19" y="12"/>
                  </a:lnTo>
                  <a:lnTo>
                    <a:pt x="21" y="10"/>
                  </a:lnTo>
                  <a:lnTo>
                    <a:pt x="33" y="10"/>
                  </a:lnTo>
                  <a:lnTo>
                    <a:pt x="33" y="12"/>
                  </a:lnTo>
                  <a:lnTo>
                    <a:pt x="38" y="12"/>
                  </a:lnTo>
                  <a:lnTo>
                    <a:pt x="49" y="10"/>
                  </a:lnTo>
                  <a:lnTo>
                    <a:pt x="49" y="7"/>
                  </a:lnTo>
                  <a:lnTo>
                    <a:pt x="57" y="7"/>
                  </a:lnTo>
                  <a:lnTo>
                    <a:pt x="61" y="2"/>
                  </a:lnTo>
                  <a:lnTo>
                    <a:pt x="66" y="0"/>
                  </a:lnTo>
                  <a:lnTo>
                    <a:pt x="68" y="0"/>
                  </a:lnTo>
                  <a:lnTo>
                    <a:pt x="73" y="2"/>
                  </a:lnTo>
                  <a:lnTo>
                    <a:pt x="90" y="2"/>
                  </a:lnTo>
                  <a:lnTo>
                    <a:pt x="92" y="7"/>
                  </a:lnTo>
                  <a:lnTo>
                    <a:pt x="97" y="7"/>
                  </a:lnTo>
                  <a:lnTo>
                    <a:pt x="99" y="10"/>
                  </a:lnTo>
                  <a:lnTo>
                    <a:pt x="106" y="17"/>
                  </a:lnTo>
                  <a:lnTo>
                    <a:pt x="109" y="17"/>
                  </a:lnTo>
                  <a:lnTo>
                    <a:pt x="109" y="19"/>
                  </a:lnTo>
                  <a:lnTo>
                    <a:pt x="109" y="17"/>
                  </a:lnTo>
                  <a:lnTo>
                    <a:pt x="116" y="17"/>
                  </a:lnTo>
                  <a:lnTo>
                    <a:pt x="123" y="26"/>
                  </a:lnTo>
                  <a:lnTo>
                    <a:pt x="123" y="28"/>
                  </a:lnTo>
                  <a:lnTo>
                    <a:pt x="125" y="33"/>
                  </a:lnTo>
                  <a:lnTo>
                    <a:pt x="132" y="33"/>
                  </a:lnTo>
                  <a:lnTo>
                    <a:pt x="135" y="43"/>
                  </a:lnTo>
                  <a:lnTo>
                    <a:pt x="142" y="43"/>
                  </a:lnTo>
                  <a:lnTo>
                    <a:pt x="146" y="47"/>
                  </a:lnTo>
                  <a:lnTo>
                    <a:pt x="146" y="50"/>
                  </a:lnTo>
                  <a:lnTo>
                    <a:pt x="142" y="52"/>
                  </a:lnTo>
                  <a:lnTo>
                    <a:pt x="142" y="57"/>
                  </a:lnTo>
                  <a:lnTo>
                    <a:pt x="130" y="57"/>
                  </a:lnTo>
                  <a:lnTo>
                    <a:pt x="125" y="59"/>
                  </a:lnTo>
                  <a:lnTo>
                    <a:pt x="123" y="5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4" name="Freeform 403">
              <a:extLst>
                <a:ext uri="{FF2B5EF4-FFF2-40B4-BE49-F238E27FC236}">
                  <a16:creationId xmlns:a16="http://schemas.microsoft.com/office/drawing/2014/main" id="{FCB7EDE9-DA15-4365-BD33-873B841653D5}"/>
                </a:ext>
              </a:extLst>
            </p:cNvPr>
            <p:cNvSpPr>
              <a:spLocks/>
            </p:cNvSpPr>
            <p:nvPr/>
          </p:nvSpPr>
          <p:spPr bwMode="gray">
            <a:xfrm rot="47099">
              <a:off x="2049124" y="2149835"/>
              <a:ext cx="63710" cy="64633"/>
            </a:xfrm>
            <a:custGeom>
              <a:avLst/>
              <a:gdLst>
                <a:gd name="T0" fmla="*/ 5 w 137"/>
                <a:gd name="T1" fmla="*/ 19 h 139"/>
                <a:gd name="T2" fmla="*/ 0 w 137"/>
                <a:gd name="T3" fmla="*/ 2 h 139"/>
                <a:gd name="T4" fmla="*/ 7 w 137"/>
                <a:gd name="T5" fmla="*/ 16 h 139"/>
                <a:gd name="T6" fmla="*/ 14 w 137"/>
                <a:gd name="T7" fmla="*/ 14 h 139"/>
                <a:gd name="T8" fmla="*/ 0 w 137"/>
                <a:gd name="T9" fmla="*/ 0 h 139"/>
                <a:gd name="T10" fmla="*/ 14 w 137"/>
                <a:gd name="T11" fmla="*/ 7 h 139"/>
                <a:gd name="T12" fmla="*/ 16 w 137"/>
                <a:gd name="T13" fmla="*/ 2 h 139"/>
                <a:gd name="T14" fmla="*/ 21 w 137"/>
                <a:gd name="T15" fmla="*/ 7 h 139"/>
                <a:gd name="T16" fmla="*/ 24 w 137"/>
                <a:gd name="T17" fmla="*/ 19 h 139"/>
                <a:gd name="T18" fmla="*/ 31 w 137"/>
                <a:gd name="T19" fmla="*/ 26 h 139"/>
                <a:gd name="T20" fmla="*/ 35 w 137"/>
                <a:gd name="T21" fmla="*/ 23 h 139"/>
                <a:gd name="T22" fmla="*/ 38 w 137"/>
                <a:gd name="T23" fmla="*/ 19 h 139"/>
                <a:gd name="T24" fmla="*/ 52 w 137"/>
                <a:gd name="T25" fmla="*/ 16 h 139"/>
                <a:gd name="T26" fmla="*/ 54 w 137"/>
                <a:gd name="T27" fmla="*/ 33 h 139"/>
                <a:gd name="T28" fmla="*/ 40 w 137"/>
                <a:gd name="T29" fmla="*/ 35 h 139"/>
                <a:gd name="T30" fmla="*/ 45 w 137"/>
                <a:gd name="T31" fmla="*/ 40 h 139"/>
                <a:gd name="T32" fmla="*/ 47 w 137"/>
                <a:gd name="T33" fmla="*/ 35 h 139"/>
                <a:gd name="T34" fmla="*/ 57 w 137"/>
                <a:gd name="T35" fmla="*/ 42 h 139"/>
                <a:gd name="T36" fmla="*/ 68 w 137"/>
                <a:gd name="T37" fmla="*/ 49 h 139"/>
                <a:gd name="T38" fmla="*/ 64 w 137"/>
                <a:gd name="T39" fmla="*/ 54 h 139"/>
                <a:gd name="T40" fmla="*/ 71 w 137"/>
                <a:gd name="T41" fmla="*/ 54 h 139"/>
                <a:gd name="T42" fmla="*/ 80 w 137"/>
                <a:gd name="T43" fmla="*/ 47 h 139"/>
                <a:gd name="T44" fmla="*/ 87 w 137"/>
                <a:gd name="T45" fmla="*/ 49 h 139"/>
                <a:gd name="T46" fmla="*/ 85 w 137"/>
                <a:gd name="T47" fmla="*/ 59 h 139"/>
                <a:gd name="T48" fmla="*/ 85 w 137"/>
                <a:gd name="T49" fmla="*/ 66 h 139"/>
                <a:gd name="T50" fmla="*/ 94 w 137"/>
                <a:gd name="T51" fmla="*/ 70 h 139"/>
                <a:gd name="T52" fmla="*/ 101 w 137"/>
                <a:gd name="T53" fmla="*/ 70 h 139"/>
                <a:gd name="T54" fmla="*/ 109 w 137"/>
                <a:gd name="T55" fmla="*/ 73 h 139"/>
                <a:gd name="T56" fmla="*/ 111 w 137"/>
                <a:gd name="T57" fmla="*/ 80 h 139"/>
                <a:gd name="T58" fmla="*/ 118 w 137"/>
                <a:gd name="T59" fmla="*/ 87 h 139"/>
                <a:gd name="T60" fmla="*/ 125 w 137"/>
                <a:gd name="T61" fmla="*/ 99 h 139"/>
                <a:gd name="T62" fmla="*/ 125 w 137"/>
                <a:gd name="T63" fmla="*/ 99 h 139"/>
                <a:gd name="T64" fmla="*/ 120 w 137"/>
                <a:gd name="T65" fmla="*/ 106 h 139"/>
                <a:gd name="T66" fmla="*/ 104 w 137"/>
                <a:gd name="T67" fmla="*/ 94 h 139"/>
                <a:gd name="T68" fmla="*/ 94 w 137"/>
                <a:gd name="T69" fmla="*/ 80 h 139"/>
                <a:gd name="T70" fmla="*/ 80 w 137"/>
                <a:gd name="T71" fmla="*/ 75 h 139"/>
                <a:gd name="T72" fmla="*/ 73 w 137"/>
                <a:gd name="T73" fmla="*/ 73 h 139"/>
                <a:gd name="T74" fmla="*/ 80 w 137"/>
                <a:gd name="T75" fmla="*/ 75 h 139"/>
                <a:gd name="T76" fmla="*/ 92 w 137"/>
                <a:gd name="T77" fmla="*/ 87 h 139"/>
                <a:gd name="T78" fmla="*/ 101 w 137"/>
                <a:gd name="T79" fmla="*/ 99 h 139"/>
                <a:gd name="T80" fmla="*/ 111 w 137"/>
                <a:gd name="T81" fmla="*/ 106 h 139"/>
                <a:gd name="T82" fmla="*/ 109 w 137"/>
                <a:gd name="T83" fmla="*/ 113 h 139"/>
                <a:gd name="T84" fmla="*/ 104 w 137"/>
                <a:gd name="T85" fmla="*/ 111 h 139"/>
                <a:gd name="T86" fmla="*/ 109 w 137"/>
                <a:gd name="T87" fmla="*/ 115 h 139"/>
                <a:gd name="T88" fmla="*/ 111 w 137"/>
                <a:gd name="T89" fmla="*/ 115 h 139"/>
                <a:gd name="T90" fmla="*/ 125 w 137"/>
                <a:gd name="T91" fmla="*/ 120 h 139"/>
                <a:gd name="T92" fmla="*/ 127 w 137"/>
                <a:gd name="T93" fmla="*/ 130 h 139"/>
                <a:gd name="T94" fmla="*/ 137 w 137"/>
                <a:gd name="T95" fmla="*/ 132 h 139"/>
                <a:gd name="T96" fmla="*/ 135 w 137"/>
                <a:gd name="T97" fmla="*/ 139 h 1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7"/>
                <a:gd name="T148" fmla="*/ 0 h 139"/>
                <a:gd name="T149" fmla="*/ 137 w 137"/>
                <a:gd name="T150" fmla="*/ 139 h 1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7" h="139">
                  <a:moveTo>
                    <a:pt x="0" y="19"/>
                  </a:moveTo>
                  <a:lnTo>
                    <a:pt x="5" y="19"/>
                  </a:lnTo>
                  <a:lnTo>
                    <a:pt x="0" y="16"/>
                  </a:lnTo>
                  <a:lnTo>
                    <a:pt x="0" y="2"/>
                  </a:lnTo>
                  <a:lnTo>
                    <a:pt x="5" y="9"/>
                  </a:lnTo>
                  <a:lnTo>
                    <a:pt x="7" y="16"/>
                  </a:lnTo>
                  <a:lnTo>
                    <a:pt x="14" y="16"/>
                  </a:lnTo>
                  <a:lnTo>
                    <a:pt x="14" y="14"/>
                  </a:lnTo>
                  <a:lnTo>
                    <a:pt x="12" y="14"/>
                  </a:lnTo>
                  <a:lnTo>
                    <a:pt x="0" y="0"/>
                  </a:lnTo>
                  <a:lnTo>
                    <a:pt x="14" y="0"/>
                  </a:lnTo>
                  <a:lnTo>
                    <a:pt x="14" y="7"/>
                  </a:lnTo>
                  <a:lnTo>
                    <a:pt x="16" y="9"/>
                  </a:lnTo>
                  <a:lnTo>
                    <a:pt x="16" y="2"/>
                  </a:lnTo>
                  <a:lnTo>
                    <a:pt x="21" y="2"/>
                  </a:lnTo>
                  <a:lnTo>
                    <a:pt x="21" y="7"/>
                  </a:lnTo>
                  <a:lnTo>
                    <a:pt x="24" y="14"/>
                  </a:lnTo>
                  <a:lnTo>
                    <a:pt x="24" y="19"/>
                  </a:lnTo>
                  <a:lnTo>
                    <a:pt x="28" y="26"/>
                  </a:lnTo>
                  <a:lnTo>
                    <a:pt x="31" y="26"/>
                  </a:lnTo>
                  <a:lnTo>
                    <a:pt x="31" y="23"/>
                  </a:lnTo>
                  <a:lnTo>
                    <a:pt x="35" y="23"/>
                  </a:lnTo>
                  <a:lnTo>
                    <a:pt x="35" y="26"/>
                  </a:lnTo>
                  <a:lnTo>
                    <a:pt x="38" y="19"/>
                  </a:lnTo>
                  <a:lnTo>
                    <a:pt x="40" y="16"/>
                  </a:lnTo>
                  <a:lnTo>
                    <a:pt x="52" y="16"/>
                  </a:lnTo>
                  <a:lnTo>
                    <a:pt x="52" y="19"/>
                  </a:lnTo>
                  <a:lnTo>
                    <a:pt x="54" y="33"/>
                  </a:lnTo>
                  <a:lnTo>
                    <a:pt x="52" y="35"/>
                  </a:lnTo>
                  <a:lnTo>
                    <a:pt x="40" y="35"/>
                  </a:lnTo>
                  <a:lnTo>
                    <a:pt x="38" y="40"/>
                  </a:lnTo>
                  <a:lnTo>
                    <a:pt x="45" y="40"/>
                  </a:lnTo>
                  <a:lnTo>
                    <a:pt x="45" y="35"/>
                  </a:lnTo>
                  <a:lnTo>
                    <a:pt x="47" y="35"/>
                  </a:lnTo>
                  <a:lnTo>
                    <a:pt x="57" y="40"/>
                  </a:lnTo>
                  <a:lnTo>
                    <a:pt x="57" y="42"/>
                  </a:lnTo>
                  <a:lnTo>
                    <a:pt x="61" y="47"/>
                  </a:lnTo>
                  <a:lnTo>
                    <a:pt x="68" y="49"/>
                  </a:lnTo>
                  <a:lnTo>
                    <a:pt x="68" y="54"/>
                  </a:lnTo>
                  <a:lnTo>
                    <a:pt x="64" y="54"/>
                  </a:lnTo>
                  <a:lnTo>
                    <a:pt x="68" y="56"/>
                  </a:lnTo>
                  <a:lnTo>
                    <a:pt x="71" y="54"/>
                  </a:lnTo>
                  <a:lnTo>
                    <a:pt x="73" y="49"/>
                  </a:lnTo>
                  <a:lnTo>
                    <a:pt x="80" y="47"/>
                  </a:lnTo>
                  <a:lnTo>
                    <a:pt x="85" y="42"/>
                  </a:lnTo>
                  <a:lnTo>
                    <a:pt x="87" y="49"/>
                  </a:lnTo>
                  <a:lnTo>
                    <a:pt x="85" y="56"/>
                  </a:lnTo>
                  <a:lnTo>
                    <a:pt x="85" y="59"/>
                  </a:lnTo>
                  <a:lnTo>
                    <a:pt x="80" y="63"/>
                  </a:lnTo>
                  <a:lnTo>
                    <a:pt x="85" y="66"/>
                  </a:lnTo>
                  <a:lnTo>
                    <a:pt x="87" y="70"/>
                  </a:lnTo>
                  <a:lnTo>
                    <a:pt x="94" y="70"/>
                  </a:lnTo>
                  <a:lnTo>
                    <a:pt x="97" y="66"/>
                  </a:lnTo>
                  <a:lnTo>
                    <a:pt x="101" y="70"/>
                  </a:lnTo>
                  <a:lnTo>
                    <a:pt x="104" y="70"/>
                  </a:lnTo>
                  <a:lnTo>
                    <a:pt x="109" y="73"/>
                  </a:lnTo>
                  <a:lnTo>
                    <a:pt x="111" y="75"/>
                  </a:lnTo>
                  <a:lnTo>
                    <a:pt x="111" y="80"/>
                  </a:lnTo>
                  <a:lnTo>
                    <a:pt x="113" y="82"/>
                  </a:lnTo>
                  <a:lnTo>
                    <a:pt x="118" y="87"/>
                  </a:lnTo>
                  <a:lnTo>
                    <a:pt x="120" y="96"/>
                  </a:lnTo>
                  <a:lnTo>
                    <a:pt x="125" y="99"/>
                  </a:lnTo>
                  <a:lnTo>
                    <a:pt x="118" y="99"/>
                  </a:lnTo>
                  <a:lnTo>
                    <a:pt x="125" y="99"/>
                  </a:lnTo>
                  <a:lnTo>
                    <a:pt x="125" y="104"/>
                  </a:lnTo>
                  <a:lnTo>
                    <a:pt x="120" y="106"/>
                  </a:lnTo>
                  <a:lnTo>
                    <a:pt x="113" y="104"/>
                  </a:lnTo>
                  <a:lnTo>
                    <a:pt x="104" y="94"/>
                  </a:lnTo>
                  <a:lnTo>
                    <a:pt x="101" y="89"/>
                  </a:lnTo>
                  <a:lnTo>
                    <a:pt x="94" y="80"/>
                  </a:lnTo>
                  <a:lnTo>
                    <a:pt x="87" y="80"/>
                  </a:lnTo>
                  <a:lnTo>
                    <a:pt x="80" y="75"/>
                  </a:lnTo>
                  <a:lnTo>
                    <a:pt x="78" y="73"/>
                  </a:lnTo>
                  <a:lnTo>
                    <a:pt x="73" y="73"/>
                  </a:lnTo>
                  <a:lnTo>
                    <a:pt x="78" y="75"/>
                  </a:lnTo>
                  <a:lnTo>
                    <a:pt x="80" y="75"/>
                  </a:lnTo>
                  <a:lnTo>
                    <a:pt x="87" y="82"/>
                  </a:lnTo>
                  <a:lnTo>
                    <a:pt x="92" y="87"/>
                  </a:lnTo>
                  <a:lnTo>
                    <a:pt x="92" y="89"/>
                  </a:lnTo>
                  <a:lnTo>
                    <a:pt x="101" y="99"/>
                  </a:lnTo>
                  <a:lnTo>
                    <a:pt x="104" y="104"/>
                  </a:lnTo>
                  <a:lnTo>
                    <a:pt x="111" y="106"/>
                  </a:lnTo>
                  <a:lnTo>
                    <a:pt x="111" y="111"/>
                  </a:lnTo>
                  <a:lnTo>
                    <a:pt x="109" y="113"/>
                  </a:lnTo>
                  <a:lnTo>
                    <a:pt x="104" y="113"/>
                  </a:lnTo>
                  <a:lnTo>
                    <a:pt x="104" y="111"/>
                  </a:lnTo>
                  <a:lnTo>
                    <a:pt x="101" y="113"/>
                  </a:lnTo>
                  <a:lnTo>
                    <a:pt x="109" y="115"/>
                  </a:lnTo>
                  <a:lnTo>
                    <a:pt x="111" y="120"/>
                  </a:lnTo>
                  <a:lnTo>
                    <a:pt x="111" y="115"/>
                  </a:lnTo>
                  <a:lnTo>
                    <a:pt x="120" y="115"/>
                  </a:lnTo>
                  <a:lnTo>
                    <a:pt x="125" y="120"/>
                  </a:lnTo>
                  <a:lnTo>
                    <a:pt x="127" y="122"/>
                  </a:lnTo>
                  <a:lnTo>
                    <a:pt x="127" y="130"/>
                  </a:lnTo>
                  <a:lnTo>
                    <a:pt x="137" y="130"/>
                  </a:lnTo>
                  <a:lnTo>
                    <a:pt x="137" y="132"/>
                  </a:lnTo>
                  <a:lnTo>
                    <a:pt x="135" y="137"/>
                  </a:lnTo>
                  <a:lnTo>
                    <a:pt x="135" y="13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5" name="Freeform 404">
              <a:extLst>
                <a:ext uri="{FF2B5EF4-FFF2-40B4-BE49-F238E27FC236}">
                  <a16:creationId xmlns:a16="http://schemas.microsoft.com/office/drawing/2014/main" id="{1D9C89C6-0BCC-4AA4-99B9-05D108422FBC}"/>
                </a:ext>
              </a:extLst>
            </p:cNvPr>
            <p:cNvSpPr>
              <a:spLocks/>
            </p:cNvSpPr>
            <p:nvPr/>
          </p:nvSpPr>
          <p:spPr bwMode="gray">
            <a:xfrm rot="47099">
              <a:off x="1895896" y="1965866"/>
              <a:ext cx="192061" cy="193432"/>
            </a:xfrm>
            <a:custGeom>
              <a:avLst/>
              <a:gdLst>
                <a:gd name="T0" fmla="*/ 26 w 413"/>
                <a:gd name="T1" fmla="*/ 24 h 416"/>
                <a:gd name="T2" fmla="*/ 57 w 413"/>
                <a:gd name="T3" fmla="*/ 12 h 416"/>
                <a:gd name="T4" fmla="*/ 33 w 413"/>
                <a:gd name="T5" fmla="*/ 69 h 416"/>
                <a:gd name="T6" fmla="*/ 26 w 413"/>
                <a:gd name="T7" fmla="*/ 78 h 416"/>
                <a:gd name="T8" fmla="*/ 99 w 413"/>
                <a:gd name="T9" fmla="*/ 57 h 416"/>
                <a:gd name="T10" fmla="*/ 64 w 413"/>
                <a:gd name="T11" fmla="*/ 81 h 416"/>
                <a:gd name="T12" fmla="*/ 73 w 413"/>
                <a:gd name="T13" fmla="*/ 86 h 416"/>
                <a:gd name="T14" fmla="*/ 57 w 413"/>
                <a:gd name="T15" fmla="*/ 104 h 416"/>
                <a:gd name="T16" fmla="*/ 90 w 413"/>
                <a:gd name="T17" fmla="*/ 102 h 416"/>
                <a:gd name="T18" fmla="*/ 75 w 413"/>
                <a:gd name="T19" fmla="*/ 121 h 416"/>
                <a:gd name="T20" fmla="*/ 99 w 413"/>
                <a:gd name="T21" fmla="*/ 133 h 416"/>
                <a:gd name="T22" fmla="*/ 87 w 413"/>
                <a:gd name="T23" fmla="*/ 145 h 416"/>
                <a:gd name="T24" fmla="*/ 127 w 413"/>
                <a:gd name="T25" fmla="*/ 133 h 416"/>
                <a:gd name="T26" fmla="*/ 144 w 413"/>
                <a:gd name="T27" fmla="*/ 137 h 416"/>
                <a:gd name="T28" fmla="*/ 130 w 413"/>
                <a:gd name="T29" fmla="*/ 156 h 416"/>
                <a:gd name="T30" fmla="*/ 137 w 413"/>
                <a:gd name="T31" fmla="*/ 161 h 416"/>
                <a:gd name="T32" fmla="*/ 160 w 413"/>
                <a:gd name="T33" fmla="*/ 156 h 416"/>
                <a:gd name="T34" fmla="*/ 172 w 413"/>
                <a:gd name="T35" fmla="*/ 149 h 416"/>
                <a:gd name="T36" fmla="*/ 186 w 413"/>
                <a:gd name="T37" fmla="*/ 173 h 416"/>
                <a:gd name="T38" fmla="*/ 201 w 413"/>
                <a:gd name="T39" fmla="*/ 166 h 416"/>
                <a:gd name="T40" fmla="*/ 210 w 413"/>
                <a:gd name="T41" fmla="*/ 149 h 416"/>
                <a:gd name="T42" fmla="*/ 212 w 413"/>
                <a:gd name="T43" fmla="*/ 145 h 416"/>
                <a:gd name="T44" fmla="*/ 231 w 413"/>
                <a:gd name="T45" fmla="*/ 149 h 416"/>
                <a:gd name="T46" fmla="*/ 250 w 413"/>
                <a:gd name="T47" fmla="*/ 152 h 416"/>
                <a:gd name="T48" fmla="*/ 281 w 413"/>
                <a:gd name="T49" fmla="*/ 173 h 416"/>
                <a:gd name="T50" fmla="*/ 264 w 413"/>
                <a:gd name="T51" fmla="*/ 194 h 416"/>
                <a:gd name="T52" fmla="*/ 274 w 413"/>
                <a:gd name="T53" fmla="*/ 201 h 416"/>
                <a:gd name="T54" fmla="*/ 305 w 413"/>
                <a:gd name="T55" fmla="*/ 173 h 416"/>
                <a:gd name="T56" fmla="*/ 316 w 413"/>
                <a:gd name="T57" fmla="*/ 168 h 416"/>
                <a:gd name="T58" fmla="*/ 323 w 413"/>
                <a:gd name="T59" fmla="*/ 199 h 416"/>
                <a:gd name="T60" fmla="*/ 347 w 413"/>
                <a:gd name="T61" fmla="*/ 206 h 416"/>
                <a:gd name="T62" fmla="*/ 349 w 413"/>
                <a:gd name="T63" fmla="*/ 182 h 416"/>
                <a:gd name="T64" fmla="*/ 368 w 413"/>
                <a:gd name="T65" fmla="*/ 161 h 416"/>
                <a:gd name="T66" fmla="*/ 373 w 413"/>
                <a:gd name="T67" fmla="*/ 192 h 416"/>
                <a:gd name="T68" fmla="*/ 401 w 413"/>
                <a:gd name="T69" fmla="*/ 206 h 416"/>
                <a:gd name="T70" fmla="*/ 364 w 413"/>
                <a:gd name="T71" fmla="*/ 230 h 416"/>
                <a:gd name="T72" fmla="*/ 385 w 413"/>
                <a:gd name="T73" fmla="*/ 249 h 416"/>
                <a:gd name="T74" fmla="*/ 390 w 413"/>
                <a:gd name="T75" fmla="*/ 246 h 416"/>
                <a:gd name="T76" fmla="*/ 394 w 413"/>
                <a:gd name="T77" fmla="*/ 272 h 416"/>
                <a:gd name="T78" fmla="*/ 394 w 413"/>
                <a:gd name="T79" fmla="*/ 282 h 416"/>
                <a:gd name="T80" fmla="*/ 385 w 413"/>
                <a:gd name="T81" fmla="*/ 289 h 416"/>
                <a:gd name="T82" fmla="*/ 401 w 413"/>
                <a:gd name="T83" fmla="*/ 315 h 416"/>
                <a:gd name="T84" fmla="*/ 397 w 413"/>
                <a:gd name="T85" fmla="*/ 345 h 416"/>
                <a:gd name="T86" fmla="*/ 368 w 413"/>
                <a:gd name="T87" fmla="*/ 338 h 416"/>
                <a:gd name="T88" fmla="*/ 349 w 413"/>
                <a:gd name="T89" fmla="*/ 338 h 416"/>
                <a:gd name="T90" fmla="*/ 333 w 413"/>
                <a:gd name="T91" fmla="*/ 331 h 416"/>
                <a:gd name="T92" fmla="*/ 328 w 413"/>
                <a:gd name="T93" fmla="*/ 312 h 416"/>
                <a:gd name="T94" fmla="*/ 314 w 413"/>
                <a:gd name="T95" fmla="*/ 291 h 416"/>
                <a:gd name="T96" fmla="*/ 314 w 413"/>
                <a:gd name="T97" fmla="*/ 279 h 416"/>
                <a:gd name="T98" fmla="*/ 281 w 413"/>
                <a:gd name="T99" fmla="*/ 275 h 416"/>
                <a:gd name="T100" fmla="*/ 250 w 413"/>
                <a:gd name="T101" fmla="*/ 286 h 416"/>
                <a:gd name="T102" fmla="*/ 220 w 413"/>
                <a:gd name="T103" fmla="*/ 286 h 416"/>
                <a:gd name="T104" fmla="*/ 224 w 413"/>
                <a:gd name="T105" fmla="*/ 298 h 416"/>
                <a:gd name="T106" fmla="*/ 210 w 413"/>
                <a:gd name="T107" fmla="*/ 305 h 416"/>
                <a:gd name="T108" fmla="*/ 224 w 413"/>
                <a:gd name="T109" fmla="*/ 345 h 416"/>
                <a:gd name="T110" fmla="*/ 212 w 413"/>
                <a:gd name="T111" fmla="*/ 331 h 416"/>
                <a:gd name="T112" fmla="*/ 234 w 413"/>
                <a:gd name="T113" fmla="*/ 369 h 416"/>
                <a:gd name="T114" fmla="*/ 267 w 413"/>
                <a:gd name="T115" fmla="*/ 369 h 416"/>
                <a:gd name="T116" fmla="*/ 290 w 413"/>
                <a:gd name="T117" fmla="*/ 393 h 416"/>
                <a:gd name="T118" fmla="*/ 314 w 413"/>
                <a:gd name="T119" fmla="*/ 416 h 416"/>
                <a:gd name="T120" fmla="*/ 333 w 413"/>
                <a:gd name="T121" fmla="*/ 412 h 4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13"/>
                <a:gd name="T184" fmla="*/ 0 h 416"/>
                <a:gd name="T185" fmla="*/ 413 w 413"/>
                <a:gd name="T186" fmla="*/ 416 h 41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13" h="416">
                  <a:moveTo>
                    <a:pt x="0" y="76"/>
                  </a:moveTo>
                  <a:lnTo>
                    <a:pt x="2" y="78"/>
                  </a:lnTo>
                  <a:lnTo>
                    <a:pt x="2" y="62"/>
                  </a:lnTo>
                  <a:lnTo>
                    <a:pt x="7" y="57"/>
                  </a:lnTo>
                  <a:lnTo>
                    <a:pt x="9" y="57"/>
                  </a:lnTo>
                  <a:lnTo>
                    <a:pt x="9" y="62"/>
                  </a:lnTo>
                  <a:lnTo>
                    <a:pt x="14" y="57"/>
                  </a:lnTo>
                  <a:lnTo>
                    <a:pt x="14" y="48"/>
                  </a:lnTo>
                  <a:lnTo>
                    <a:pt x="16" y="45"/>
                  </a:lnTo>
                  <a:lnTo>
                    <a:pt x="19" y="38"/>
                  </a:lnTo>
                  <a:lnTo>
                    <a:pt x="23" y="38"/>
                  </a:lnTo>
                  <a:lnTo>
                    <a:pt x="26" y="31"/>
                  </a:lnTo>
                  <a:lnTo>
                    <a:pt x="26" y="24"/>
                  </a:lnTo>
                  <a:lnTo>
                    <a:pt x="31" y="22"/>
                  </a:lnTo>
                  <a:lnTo>
                    <a:pt x="33" y="19"/>
                  </a:lnTo>
                  <a:lnTo>
                    <a:pt x="33" y="15"/>
                  </a:lnTo>
                  <a:lnTo>
                    <a:pt x="26" y="15"/>
                  </a:lnTo>
                  <a:lnTo>
                    <a:pt x="26" y="19"/>
                  </a:lnTo>
                  <a:lnTo>
                    <a:pt x="26" y="15"/>
                  </a:lnTo>
                  <a:lnTo>
                    <a:pt x="23" y="12"/>
                  </a:lnTo>
                  <a:lnTo>
                    <a:pt x="26" y="5"/>
                  </a:lnTo>
                  <a:lnTo>
                    <a:pt x="26" y="0"/>
                  </a:lnTo>
                  <a:lnTo>
                    <a:pt x="40" y="0"/>
                  </a:lnTo>
                  <a:lnTo>
                    <a:pt x="42" y="5"/>
                  </a:lnTo>
                  <a:lnTo>
                    <a:pt x="49" y="5"/>
                  </a:lnTo>
                  <a:lnTo>
                    <a:pt x="57" y="12"/>
                  </a:lnTo>
                  <a:lnTo>
                    <a:pt x="66" y="15"/>
                  </a:lnTo>
                  <a:lnTo>
                    <a:pt x="66" y="19"/>
                  </a:lnTo>
                  <a:lnTo>
                    <a:pt x="73" y="24"/>
                  </a:lnTo>
                  <a:lnTo>
                    <a:pt x="80" y="31"/>
                  </a:lnTo>
                  <a:lnTo>
                    <a:pt x="75" y="36"/>
                  </a:lnTo>
                  <a:lnTo>
                    <a:pt x="73" y="38"/>
                  </a:lnTo>
                  <a:lnTo>
                    <a:pt x="57" y="38"/>
                  </a:lnTo>
                  <a:lnTo>
                    <a:pt x="54" y="41"/>
                  </a:lnTo>
                  <a:lnTo>
                    <a:pt x="49" y="45"/>
                  </a:lnTo>
                  <a:lnTo>
                    <a:pt x="49" y="57"/>
                  </a:lnTo>
                  <a:lnTo>
                    <a:pt x="40" y="57"/>
                  </a:lnTo>
                  <a:lnTo>
                    <a:pt x="35" y="64"/>
                  </a:lnTo>
                  <a:lnTo>
                    <a:pt x="33" y="69"/>
                  </a:lnTo>
                  <a:lnTo>
                    <a:pt x="31" y="76"/>
                  </a:lnTo>
                  <a:lnTo>
                    <a:pt x="26" y="78"/>
                  </a:lnTo>
                  <a:lnTo>
                    <a:pt x="14" y="78"/>
                  </a:lnTo>
                  <a:lnTo>
                    <a:pt x="14" y="81"/>
                  </a:lnTo>
                  <a:lnTo>
                    <a:pt x="9" y="81"/>
                  </a:lnTo>
                  <a:lnTo>
                    <a:pt x="7" y="86"/>
                  </a:lnTo>
                  <a:lnTo>
                    <a:pt x="7" y="88"/>
                  </a:lnTo>
                  <a:lnTo>
                    <a:pt x="9" y="88"/>
                  </a:lnTo>
                  <a:lnTo>
                    <a:pt x="9" y="86"/>
                  </a:lnTo>
                  <a:lnTo>
                    <a:pt x="14" y="86"/>
                  </a:lnTo>
                  <a:lnTo>
                    <a:pt x="14" y="81"/>
                  </a:lnTo>
                  <a:lnTo>
                    <a:pt x="23" y="81"/>
                  </a:lnTo>
                  <a:lnTo>
                    <a:pt x="26" y="78"/>
                  </a:lnTo>
                  <a:lnTo>
                    <a:pt x="31" y="78"/>
                  </a:lnTo>
                  <a:lnTo>
                    <a:pt x="31" y="76"/>
                  </a:lnTo>
                  <a:lnTo>
                    <a:pt x="33" y="71"/>
                  </a:lnTo>
                  <a:lnTo>
                    <a:pt x="35" y="71"/>
                  </a:lnTo>
                  <a:lnTo>
                    <a:pt x="35" y="69"/>
                  </a:lnTo>
                  <a:lnTo>
                    <a:pt x="40" y="64"/>
                  </a:lnTo>
                  <a:lnTo>
                    <a:pt x="71" y="64"/>
                  </a:lnTo>
                  <a:lnTo>
                    <a:pt x="71" y="62"/>
                  </a:lnTo>
                  <a:lnTo>
                    <a:pt x="75" y="57"/>
                  </a:lnTo>
                  <a:lnTo>
                    <a:pt x="83" y="57"/>
                  </a:lnTo>
                  <a:lnTo>
                    <a:pt x="87" y="55"/>
                  </a:lnTo>
                  <a:lnTo>
                    <a:pt x="90" y="55"/>
                  </a:lnTo>
                  <a:lnTo>
                    <a:pt x="99" y="57"/>
                  </a:lnTo>
                  <a:lnTo>
                    <a:pt x="106" y="57"/>
                  </a:lnTo>
                  <a:lnTo>
                    <a:pt x="111" y="62"/>
                  </a:lnTo>
                  <a:lnTo>
                    <a:pt x="113" y="64"/>
                  </a:lnTo>
                  <a:lnTo>
                    <a:pt x="116" y="64"/>
                  </a:lnTo>
                  <a:lnTo>
                    <a:pt x="116" y="76"/>
                  </a:lnTo>
                  <a:lnTo>
                    <a:pt x="104" y="76"/>
                  </a:lnTo>
                  <a:lnTo>
                    <a:pt x="97" y="78"/>
                  </a:lnTo>
                  <a:lnTo>
                    <a:pt x="94" y="81"/>
                  </a:lnTo>
                  <a:lnTo>
                    <a:pt x="90" y="86"/>
                  </a:lnTo>
                  <a:lnTo>
                    <a:pt x="80" y="81"/>
                  </a:lnTo>
                  <a:lnTo>
                    <a:pt x="66" y="78"/>
                  </a:lnTo>
                  <a:lnTo>
                    <a:pt x="66" y="81"/>
                  </a:lnTo>
                  <a:lnTo>
                    <a:pt x="64" y="81"/>
                  </a:lnTo>
                  <a:lnTo>
                    <a:pt x="64" y="86"/>
                  </a:lnTo>
                  <a:lnTo>
                    <a:pt x="42" y="86"/>
                  </a:lnTo>
                  <a:lnTo>
                    <a:pt x="42" y="88"/>
                  </a:lnTo>
                  <a:lnTo>
                    <a:pt x="40" y="93"/>
                  </a:lnTo>
                  <a:lnTo>
                    <a:pt x="40" y="97"/>
                  </a:lnTo>
                  <a:lnTo>
                    <a:pt x="40" y="95"/>
                  </a:lnTo>
                  <a:lnTo>
                    <a:pt x="42" y="88"/>
                  </a:lnTo>
                  <a:lnTo>
                    <a:pt x="54" y="88"/>
                  </a:lnTo>
                  <a:lnTo>
                    <a:pt x="59" y="86"/>
                  </a:lnTo>
                  <a:lnTo>
                    <a:pt x="66" y="86"/>
                  </a:lnTo>
                  <a:lnTo>
                    <a:pt x="66" y="81"/>
                  </a:lnTo>
                  <a:lnTo>
                    <a:pt x="71" y="81"/>
                  </a:lnTo>
                  <a:lnTo>
                    <a:pt x="73" y="86"/>
                  </a:lnTo>
                  <a:lnTo>
                    <a:pt x="75" y="88"/>
                  </a:lnTo>
                  <a:lnTo>
                    <a:pt x="66" y="88"/>
                  </a:lnTo>
                  <a:lnTo>
                    <a:pt x="59" y="93"/>
                  </a:lnTo>
                  <a:lnTo>
                    <a:pt x="57" y="93"/>
                  </a:lnTo>
                  <a:lnTo>
                    <a:pt x="54" y="95"/>
                  </a:lnTo>
                  <a:lnTo>
                    <a:pt x="49" y="95"/>
                  </a:lnTo>
                  <a:lnTo>
                    <a:pt x="49" y="97"/>
                  </a:lnTo>
                  <a:lnTo>
                    <a:pt x="57" y="97"/>
                  </a:lnTo>
                  <a:lnTo>
                    <a:pt x="57" y="95"/>
                  </a:lnTo>
                  <a:lnTo>
                    <a:pt x="59" y="95"/>
                  </a:lnTo>
                  <a:lnTo>
                    <a:pt x="64" y="93"/>
                  </a:lnTo>
                  <a:lnTo>
                    <a:pt x="59" y="102"/>
                  </a:lnTo>
                  <a:lnTo>
                    <a:pt x="57" y="104"/>
                  </a:lnTo>
                  <a:lnTo>
                    <a:pt x="54" y="109"/>
                  </a:lnTo>
                  <a:lnTo>
                    <a:pt x="54" y="104"/>
                  </a:lnTo>
                  <a:lnTo>
                    <a:pt x="57" y="104"/>
                  </a:lnTo>
                  <a:lnTo>
                    <a:pt x="59" y="116"/>
                  </a:lnTo>
                  <a:lnTo>
                    <a:pt x="59" y="119"/>
                  </a:lnTo>
                  <a:lnTo>
                    <a:pt x="59" y="109"/>
                  </a:lnTo>
                  <a:lnTo>
                    <a:pt x="57" y="109"/>
                  </a:lnTo>
                  <a:lnTo>
                    <a:pt x="59" y="102"/>
                  </a:lnTo>
                  <a:lnTo>
                    <a:pt x="66" y="95"/>
                  </a:lnTo>
                  <a:lnTo>
                    <a:pt x="66" y="93"/>
                  </a:lnTo>
                  <a:lnTo>
                    <a:pt x="80" y="93"/>
                  </a:lnTo>
                  <a:lnTo>
                    <a:pt x="94" y="95"/>
                  </a:lnTo>
                  <a:lnTo>
                    <a:pt x="90" y="102"/>
                  </a:lnTo>
                  <a:lnTo>
                    <a:pt x="87" y="104"/>
                  </a:lnTo>
                  <a:lnTo>
                    <a:pt x="75" y="104"/>
                  </a:lnTo>
                  <a:lnTo>
                    <a:pt x="73" y="112"/>
                  </a:lnTo>
                  <a:lnTo>
                    <a:pt x="75" y="109"/>
                  </a:lnTo>
                  <a:lnTo>
                    <a:pt x="87" y="109"/>
                  </a:lnTo>
                  <a:lnTo>
                    <a:pt x="87" y="104"/>
                  </a:lnTo>
                  <a:lnTo>
                    <a:pt x="94" y="112"/>
                  </a:lnTo>
                  <a:lnTo>
                    <a:pt x="90" y="116"/>
                  </a:lnTo>
                  <a:lnTo>
                    <a:pt x="75" y="116"/>
                  </a:lnTo>
                  <a:lnTo>
                    <a:pt x="104" y="116"/>
                  </a:lnTo>
                  <a:lnTo>
                    <a:pt x="99" y="119"/>
                  </a:lnTo>
                  <a:lnTo>
                    <a:pt x="80" y="119"/>
                  </a:lnTo>
                  <a:lnTo>
                    <a:pt x="75" y="121"/>
                  </a:lnTo>
                  <a:lnTo>
                    <a:pt x="80" y="121"/>
                  </a:lnTo>
                  <a:lnTo>
                    <a:pt x="80" y="126"/>
                  </a:lnTo>
                  <a:lnTo>
                    <a:pt x="75" y="128"/>
                  </a:lnTo>
                  <a:lnTo>
                    <a:pt x="54" y="128"/>
                  </a:lnTo>
                  <a:lnTo>
                    <a:pt x="54" y="133"/>
                  </a:lnTo>
                  <a:lnTo>
                    <a:pt x="59" y="133"/>
                  </a:lnTo>
                  <a:lnTo>
                    <a:pt x="57" y="133"/>
                  </a:lnTo>
                  <a:lnTo>
                    <a:pt x="54" y="135"/>
                  </a:lnTo>
                  <a:lnTo>
                    <a:pt x="59" y="133"/>
                  </a:lnTo>
                  <a:lnTo>
                    <a:pt x="71" y="133"/>
                  </a:lnTo>
                  <a:lnTo>
                    <a:pt x="94" y="128"/>
                  </a:lnTo>
                  <a:lnTo>
                    <a:pt x="99" y="128"/>
                  </a:lnTo>
                  <a:lnTo>
                    <a:pt x="99" y="133"/>
                  </a:lnTo>
                  <a:lnTo>
                    <a:pt x="94" y="135"/>
                  </a:lnTo>
                  <a:lnTo>
                    <a:pt x="87" y="135"/>
                  </a:lnTo>
                  <a:lnTo>
                    <a:pt x="83" y="137"/>
                  </a:lnTo>
                  <a:lnTo>
                    <a:pt x="80" y="137"/>
                  </a:lnTo>
                  <a:lnTo>
                    <a:pt x="80" y="142"/>
                  </a:lnTo>
                  <a:lnTo>
                    <a:pt x="75" y="145"/>
                  </a:lnTo>
                  <a:lnTo>
                    <a:pt x="80" y="145"/>
                  </a:lnTo>
                  <a:lnTo>
                    <a:pt x="83" y="142"/>
                  </a:lnTo>
                  <a:lnTo>
                    <a:pt x="83" y="137"/>
                  </a:lnTo>
                  <a:lnTo>
                    <a:pt x="90" y="137"/>
                  </a:lnTo>
                  <a:lnTo>
                    <a:pt x="90" y="142"/>
                  </a:lnTo>
                  <a:lnTo>
                    <a:pt x="87" y="142"/>
                  </a:lnTo>
                  <a:lnTo>
                    <a:pt x="87" y="145"/>
                  </a:lnTo>
                  <a:lnTo>
                    <a:pt x="94" y="142"/>
                  </a:lnTo>
                  <a:lnTo>
                    <a:pt x="94" y="137"/>
                  </a:lnTo>
                  <a:lnTo>
                    <a:pt x="113" y="137"/>
                  </a:lnTo>
                  <a:lnTo>
                    <a:pt x="113" y="135"/>
                  </a:lnTo>
                  <a:lnTo>
                    <a:pt x="116" y="133"/>
                  </a:lnTo>
                  <a:lnTo>
                    <a:pt x="123" y="133"/>
                  </a:lnTo>
                  <a:lnTo>
                    <a:pt x="123" y="135"/>
                  </a:lnTo>
                  <a:lnTo>
                    <a:pt x="120" y="135"/>
                  </a:lnTo>
                  <a:lnTo>
                    <a:pt x="127" y="145"/>
                  </a:lnTo>
                  <a:lnTo>
                    <a:pt x="127" y="142"/>
                  </a:lnTo>
                  <a:lnTo>
                    <a:pt x="123" y="137"/>
                  </a:lnTo>
                  <a:lnTo>
                    <a:pt x="123" y="135"/>
                  </a:lnTo>
                  <a:lnTo>
                    <a:pt x="127" y="133"/>
                  </a:lnTo>
                  <a:lnTo>
                    <a:pt x="134" y="133"/>
                  </a:lnTo>
                  <a:lnTo>
                    <a:pt x="134" y="137"/>
                  </a:lnTo>
                  <a:lnTo>
                    <a:pt x="137" y="135"/>
                  </a:lnTo>
                  <a:lnTo>
                    <a:pt x="139" y="135"/>
                  </a:lnTo>
                  <a:lnTo>
                    <a:pt x="137" y="133"/>
                  </a:lnTo>
                  <a:lnTo>
                    <a:pt x="144" y="128"/>
                  </a:lnTo>
                  <a:lnTo>
                    <a:pt x="144" y="126"/>
                  </a:lnTo>
                  <a:lnTo>
                    <a:pt x="146" y="126"/>
                  </a:lnTo>
                  <a:lnTo>
                    <a:pt x="151" y="128"/>
                  </a:lnTo>
                  <a:lnTo>
                    <a:pt x="146" y="128"/>
                  </a:lnTo>
                  <a:lnTo>
                    <a:pt x="144" y="133"/>
                  </a:lnTo>
                  <a:lnTo>
                    <a:pt x="146" y="135"/>
                  </a:lnTo>
                  <a:lnTo>
                    <a:pt x="144" y="137"/>
                  </a:lnTo>
                  <a:lnTo>
                    <a:pt x="134" y="137"/>
                  </a:lnTo>
                  <a:lnTo>
                    <a:pt x="134" y="142"/>
                  </a:lnTo>
                  <a:lnTo>
                    <a:pt x="130" y="142"/>
                  </a:lnTo>
                  <a:lnTo>
                    <a:pt x="130" y="145"/>
                  </a:lnTo>
                  <a:lnTo>
                    <a:pt x="127" y="149"/>
                  </a:lnTo>
                  <a:lnTo>
                    <a:pt x="123" y="149"/>
                  </a:lnTo>
                  <a:lnTo>
                    <a:pt x="123" y="152"/>
                  </a:lnTo>
                  <a:lnTo>
                    <a:pt x="120" y="156"/>
                  </a:lnTo>
                  <a:lnTo>
                    <a:pt x="123" y="156"/>
                  </a:lnTo>
                  <a:lnTo>
                    <a:pt x="123" y="159"/>
                  </a:lnTo>
                  <a:lnTo>
                    <a:pt x="123" y="152"/>
                  </a:lnTo>
                  <a:lnTo>
                    <a:pt x="130" y="149"/>
                  </a:lnTo>
                  <a:lnTo>
                    <a:pt x="130" y="156"/>
                  </a:lnTo>
                  <a:lnTo>
                    <a:pt x="134" y="156"/>
                  </a:lnTo>
                  <a:lnTo>
                    <a:pt x="134" y="152"/>
                  </a:lnTo>
                  <a:lnTo>
                    <a:pt x="130" y="149"/>
                  </a:lnTo>
                  <a:lnTo>
                    <a:pt x="134" y="145"/>
                  </a:lnTo>
                  <a:lnTo>
                    <a:pt x="137" y="142"/>
                  </a:lnTo>
                  <a:lnTo>
                    <a:pt x="146" y="142"/>
                  </a:lnTo>
                  <a:lnTo>
                    <a:pt x="144" y="145"/>
                  </a:lnTo>
                  <a:lnTo>
                    <a:pt x="139" y="145"/>
                  </a:lnTo>
                  <a:lnTo>
                    <a:pt x="139" y="156"/>
                  </a:lnTo>
                  <a:lnTo>
                    <a:pt x="144" y="156"/>
                  </a:lnTo>
                  <a:lnTo>
                    <a:pt x="144" y="159"/>
                  </a:lnTo>
                  <a:lnTo>
                    <a:pt x="139" y="161"/>
                  </a:lnTo>
                  <a:lnTo>
                    <a:pt x="137" y="161"/>
                  </a:lnTo>
                  <a:lnTo>
                    <a:pt x="144" y="161"/>
                  </a:lnTo>
                  <a:lnTo>
                    <a:pt x="144" y="156"/>
                  </a:lnTo>
                  <a:lnTo>
                    <a:pt x="139" y="152"/>
                  </a:lnTo>
                  <a:lnTo>
                    <a:pt x="144" y="149"/>
                  </a:lnTo>
                  <a:lnTo>
                    <a:pt x="144" y="145"/>
                  </a:lnTo>
                  <a:lnTo>
                    <a:pt x="146" y="145"/>
                  </a:lnTo>
                  <a:lnTo>
                    <a:pt x="146" y="142"/>
                  </a:lnTo>
                  <a:lnTo>
                    <a:pt x="151" y="142"/>
                  </a:lnTo>
                  <a:lnTo>
                    <a:pt x="151" y="145"/>
                  </a:lnTo>
                  <a:lnTo>
                    <a:pt x="153" y="145"/>
                  </a:lnTo>
                  <a:lnTo>
                    <a:pt x="156" y="142"/>
                  </a:lnTo>
                  <a:lnTo>
                    <a:pt x="156" y="145"/>
                  </a:lnTo>
                  <a:lnTo>
                    <a:pt x="160" y="156"/>
                  </a:lnTo>
                  <a:lnTo>
                    <a:pt x="160" y="166"/>
                  </a:lnTo>
                  <a:lnTo>
                    <a:pt x="160" y="156"/>
                  </a:lnTo>
                  <a:lnTo>
                    <a:pt x="163" y="152"/>
                  </a:lnTo>
                  <a:lnTo>
                    <a:pt x="163" y="149"/>
                  </a:lnTo>
                  <a:lnTo>
                    <a:pt x="163" y="152"/>
                  </a:lnTo>
                  <a:lnTo>
                    <a:pt x="168" y="159"/>
                  </a:lnTo>
                  <a:lnTo>
                    <a:pt x="170" y="161"/>
                  </a:lnTo>
                  <a:lnTo>
                    <a:pt x="170" y="159"/>
                  </a:lnTo>
                  <a:lnTo>
                    <a:pt x="168" y="156"/>
                  </a:lnTo>
                  <a:lnTo>
                    <a:pt x="168" y="145"/>
                  </a:lnTo>
                  <a:lnTo>
                    <a:pt x="177" y="145"/>
                  </a:lnTo>
                  <a:lnTo>
                    <a:pt x="177" y="149"/>
                  </a:lnTo>
                  <a:lnTo>
                    <a:pt x="172" y="149"/>
                  </a:lnTo>
                  <a:lnTo>
                    <a:pt x="172" y="152"/>
                  </a:lnTo>
                  <a:lnTo>
                    <a:pt x="177" y="152"/>
                  </a:lnTo>
                  <a:lnTo>
                    <a:pt x="177" y="149"/>
                  </a:lnTo>
                  <a:lnTo>
                    <a:pt x="179" y="149"/>
                  </a:lnTo>
                  <a:lnTo>
                    <a:pt x="184" y="152"/>
                  </a:lnTo>
                  <a:lnTo>
                    <a:pt x="184" y="156"/>
                  </a:lnTo>
                  <a:lnTo>
                    <a:pt x="179" y="156"/>
                  </a:lnTo>
                  <a:lnTo>
                    <a:pt x="184" y="159"/>
                  </a:lnTo>
                  <a:lnTo>
                    <a:pt x="184" y="166"/>
                  </a:lnTo>
                  <a:lnTo>
                    <a:pt x="179" y="168"/>
                  </a:lnTo>
                  <a:lnTo>
                    <a:pt x="177" y="168"/>
                  </a:lnTo>
                  <a:lnTo>
                    <a:pt x="172" y="173"/>
                  </a:lnTo>
                  <a:lnTo>
                    <a:pt x="186" y="173"/>
                  </a:lnTo>
                  <a:lnTo>
                    <a:pt x="186" y="166"/>
                  </a:lnTo>
                  <a:lnTo>
                    <a:pt x="184" y="161"/>
                  </a:lnTo>
                  <a:lnTo>
                    <a:pt x="184" y="159"/>
                  </a:lnTo>
                  <a:lnTo>
                    <a:pt x="186" y="156"/>
                  </a:lnTo>
                  <a:lnTo>
                    <a:pt x="191" y="149"/>
                  </a:lnTo>
                  <a:lnTo>
                    <a:pt x="191" y="145"/>
                  </a:lnTo>
                  <a:lnTo>
                    <a:pt x="186" y="142"/>
                  </a:lnTo>
                  <a:lnTo>
                    <a:pt x="184" y="137"/>
                  </a:lnTo>
                  <a:lnTo>
                    <a:pt x="191" y="137"/>
                  </a:lnTo>
                  <a:lnTo>
                    <a:pt x="191" y="156"/>
                  </a:lnTo>
                  <a:lnTo>
                    <a:pt x="194" y="156"/>
                  </a:lnTo>
                  <a:lnTo>
                    <a:pt x="196" y="161"/>
                  </a:lnTo>
                  <a:lnTo>
                    <a:pt x="201" y="166"/>
                  </a:lnTo>
                  <a:lnTo>
                    <a:pt x="203" y="173"/>
                  </a:lnTo>
                  <a:lnTo>
                    <a:pt x="208" y="178"/>
                  </a:lnTo>
                  <a:lnTo>
                    <a:pt x="208" y="175"/>
                  </a:lnTo>
                  <a:lnTo>
                    <a:pt x="203" y="173"/>
                  </a:lnTo>
                  <a:lnTo>
                    <a:pt x="203" y="168"/>
                  </a:lnTo>
                  <a:lnTo>
                    <a:pt x="201" y="166"/>
                  </a:lnTo>
                  <a:lnTo>
                    <a:pt x="201" y="161"/>
                  </a:lnTo>
                  <a:lnTo>
                    <a:pt x="203" y="159"/>
                  </a:lnTo>
                  <a:lnTo>
                    <a:pt x="201" y="152"/>
                  </a:lnTo>
                  <a:lnTo>
                    <a:pt x="196" y="152"/>
                  </a:lnTo>
                  <a:lnTo>
                    <a:pt x="201" y="145"/>
                  </a:lnTo>
                  <a:lnTo>
                    <a:pt x="208" y="142"/>
                  </a:lnTo>
                  <a:lnTo>
                    <a:pt x="210" y="149"/>
                  </a:lnTo>
                  <a:lnTo>
                    <a:pt x="210" y="156"/>
                  </a:lnTo>
                  <a:lnTo>
                    <a:pt x="212" y="159"/>
                  </a:lnTo>
                  <a:lnTo>
                    <a:pt x="210" y="161"/>
                  </a:lnTo>
                  <a:lnTo>
                    <a:pt x="212" y="161"/>
                  </a:lnTo>
                  <a:lnTo>
                    <a:pt x="217" y="166"/>
                  </a:lnTo>
                  <a:lnTo>
                    <a:pt x="224" y="166"/>
                  </a:lnTo>
                  <a:lnTo>
                    <a:pt x="224" y="168"/>
                  </a:lnTo>
                  <a:lnTo>
                    <a:pt x="227" y="168"/>
                  </a:lnTo>
                  <a:lnTo>
                    <a:pt x="227" y="173"/>
                  </a:lnTo>
                  <a:lnTo>
                    <a:pt x="231" y="173"/>
                  </a:lnTo>
                  <a:lnTo>
                    <a:pt x="224" y="161"/>
                  </a:lnTo>
                  <a:lnTo>
                    <a:pt x="212" y="161"/>
                  </a:lnTo>
                  <a:lnTo>
                    <a:pt x="212" y="145"/>
                  </a:lnTo>
                  <a:lnTo>
                    <a:pt x="217" y="142"/>
                  </a:lnTo>
                  <a:lnTo>
                    <a:pt x="217" y="137"/>
                  </a:lnTo>
                  <a:lnTo>
                    <a:pt x="212" y="135"/>
                  </a:lnTo>
                  <a:lnTo>
                    <a:pt x="217" y="133"/>
                  </a:lnTo>
                  <a:lnTo>
                    <a:pt x="231" y="133"/>
                  </a:lnTo>
                  <a:lnTo>
                    <a:pt x="227" y="137"/>
                  </a:lnTo>
                  <a:lnTo>
                    <a:pt x="227" y="149"/>
                  </a:lnTo>
                  <a:lnTo>
                    <a:pt x="231" y="152"/>
                  </a:lnTo>
                  <a:lnTo>
                    <a:pt x="231" y="156"/>
                  </a:lnTo>
                  <a:lnTo>
                    <a:pt x="227" y="156"/>
                  </a:lnTo>
                  <a:lnTo>
                    <a:pt x="227" y="161"/>
                  </a:lnTo>
                  <a:lnTo>
                    <a:pt x="231" y="166"/>
                  </a:lnTo>
                  <a:lnTo>
                    <a:pt x="231" y="149"/>
                  </a:lnTo>
                  <a:lnTo>
                    <a:pt x="236" y="149"/>
                  </a:lnTo>
                  <a:lnTo>
                    <a:pt x="236" y="152"/>
                  </a:lnTo>
                  <a:lnTo>
                    <a:pt x="241" y="156"/>
                  </a:lnTo>
                  <a:lnTo>
                    <a:pt x="236" y="156"/>
                  </a:lnTo>
                  <a:lnTo>
                    <a:pt x="241" y="156"/>
                  </a:lnTo>
                  <a:lnTo>
                    <a:pt x="236" y="149"/>
                  </a:lnTo>
                  <a:lnTo>
                    <a:pt x="236" y="142"/>
                  </a:lnTo>
                  <a:lnTo>
                    <a:pt x="250" y="142"/>
                  </a:lnTo>
                  <a:lnTo>
                    <a:pt x="250" y="149"/>
                  </a:lnTo>
                  <a:lnTo>
                    <a:pt x="248" y="152"/>
                  </a:lnTo>
                  <a:lnTo>
                    <a:pt x="248" y="156"/>
                  </a:lnTo>
                  <a:lnTo>
                    <a:pt x="248" y="152"/>
                  </a:lnTo>
                  <a:lnTo>
                    <a:pt x="250" y="152"/>
                  </a:lnTo>
                  <a:lnTo>
                    <a:pt x="250" y="149"/>
                  </a:lnTo>
                  <a:lnTo>
                    <a:pt x="253" y="149"/>
                  </a:lnTo>
                  <a:lnTo>
                    <a:pt x="253" y="145"/>
                  </a:lnTo>
                  <a:lnTo>
                    <a:pt x="267" y="152"/>
                  </a:lnTo>
                  <a:lnTo>
                    <a:pt x="269" y="156"/>
                  </a:lnTo>
                  <a:lnTo>
                    <a:pt x="269" y="161"/>
                  </a:lnTo>
                  <a:lnTo>
                    <a:pt x="267" y="166"/>
                  </a:lnTo>
                  <a:lnTo>
                    <a:pt x="260" y="166"/>
                  </a:lnTo>
                  <a:lnTo>
                    <a:pt x="269" y="166"/>
                  </a:lnTo>
                  <a:lnTo>
                    <a:pt x="269" y="161"/>
                  </a:lnTo>
                  <a:lnTo>
                    <a:pt x="281" y="161"/>
                  </a:lnTo>
                  <a:lnTo>
                    <a:pt x="283" y="173"/>
                  </a:lnTo>
                  <a:lnTo>
                    <a:pt x="281" y="173"/>
                  </a:lnTo>
                  <a:lnTo>
                    <a:pt x="276" y="175"/>
                  </a:lnTo>
                  <a:lnTo>
                    <a:pt x="269" y="175"/>
                  </a:lnTo>
                  <a:lnTo>
                    <a:pt x="264" y="178"/>
                  </a:lnTo>
                  <a:lnTo>
                    <a:pt x="257" y="182"/>
                  </a:lnTo>
                  <a:lnTo>
                    <a:pt x="260" y="182"/>
                  </a:lnTo>
                  <a:lnTo>
                    <a:pt x="269" y="178"/>
                  </a:lnTo>
                  <a:lnTo>
                    <a:pt x="276" y="178"/>
                  </a:lnTo>
                  <a:lnTo>
                    <a:pt x="274" y="182"/>
                  </a:lnTo>
                  <a:lnTo>
                    <a:pt x="274" y="185"/>
                  </a:lnTo>
                  <a:lnTo>
                    <a:pt x="267" y="185"/>
                  </a:lnTo>
                  <a:lnTo>
                    <a:pt x="267" y="189"/>
                  </a:lnTo>
                  <a:lnTo>
                    <a:pt x="264" y="189"/>
                  </a:lnTo>
                  <a:lnTo>
                    <a:pt x="264" y="194"/>
                  </a:lnTo>
                  <a:lnTo>
                    <a:pt x="267" y="192"/>
                  </a:lnTo>
                  <a:lnTo>
                    <a:pt x="267" y="189"/>
                  </a:lnTo>
                  <a:lnTo>
                    <a:pt x="274" y="185"/>
                  </a:lnTo>
                  <a:lnTo>
                    <a:pt x="276" y="182"/>
                  </a:lnTo>
                  <a:lnTo>
                    <a:pt x="276" y="178"/>
                  </a:lnTo>
                  <a:lnTo>
                    <a:pt x="281" y="178"/>
                  </a:lnTo>
                  <a:lnTo>
                    <a:pt x="283" y="175"/>
                  </a:lnTo>
                  <a:lnTo>
                    <a:pt x="288" y="175"/>
                  </a:lnTo>
                  <a:lnTo>
                    <a:pt x="288" y="182"/>
                  </a:lnTo>
                  <a:lnTo>
                    <a:pt x="283" y="182"/>
                  </a:lnTo>
                  <a:lnTo>
                    <a:pt x="281" y="185"/>
                  </a:lnTo>
                  <a:lnTo>
                    <a:pt x="274" y="192"/>
                  </a:lnTo>
                  <a:lnTo>
                    <a:pt x="274" y="201"/>
                  </a:lnTo>
                  <a:lnTo>
                    <a:pt x="276" y="206"/>
                  </a:lnTo>
                  <a:lnTo>
                    <a:pt x="276" y="201"/>
                  </a:lnTo>
                  <a:lnTo>
                    <a:pt x="274" y="199"/>
                  </a:lnTo>
                  <a:lnTo>
                    <a:pt x="274" y="194"/>
                  </a:lnTo>
                  <a:lnTo>
                    <a:pt x="276" y="194"/>
                  </a:lnTo>
                  <a:lnTo>
                    <a:pt x="276" y="192"/>
                  </a:lnTo>
                  <a:lnTo>
                    <a:pt x="283" y="185"/>
                  </a:lnTo>
                  <a:lnTo>
                    <a:pt x="288" y="182"/>
                  </a:lnTo>
                  <a:lnTo>
                    <a:pt x="290" y="182"/>
                  </a:lnTo>
                  <a:lnTo>
                    <a:pt x="290" y="175"/>
                  </a:lnTo>
                  <a:lnTo>
                    <a:pt x="300" y="168"/>
                  </a:lnTo>
                  <a:lnTo>
                    <a:pt x="305" y="168"/>
                  </a:lnTo>
                  <a:lnTo>
                    <a:pt x="305" y="173"/>
                  </a:lnTo>
                  <a:lnTo>
                    <a:pt x="307" y="178"/>
                  </a:lnTo>
                  <a:lnTo>
                    <a:pt x="305" y="182"/>
                  </a:lnTo>
                  <a:lnTo>
                    <a:pt x="305" y="194"/>
                  </a:lnTo>
                  <a:lnTo>
                    <a:pt x="305" y="185"/>
                  </a:lnTo>
                  <a:lnTo>
                    <a:pt x="307" y="185"/>
                  </a:lnTo>
                  <a:lnTo>
                    <a:pt x="307" y="173"/>
                  </a:lnTo>
                  <a:lnTo>
                    <a:pt x="305" y="173"/>
                  </a:lnTo>
                  <a:lnTo>
                    <a:pt x="305" y="159"/>
                  </a:lnTo>
                  <a:lnTo>
                    <a:pt x="307" y="156"/>
                  </a:lnTo>
                  <a:lnTo>
                    <a:pt x="309" y="156"/>
                  </a:lnTo>
                  <a:lnTo>
                    <a:pt x="314" y="159"/>
                  </a:lnTo>
                  <a:lnTo>
                    <a:pt x="316" y="161"/>
                  </a:lnTo>
                  <a:lnTo>
                    <a:pt x="316" y="168"/>
                  </a:lnTo>
                  <a:lnTo>
                    <a:pt x="314" y="173"/>
                  </a:lnTo>
                  <a:lnTo>
                    <a:pt x="314" y="175"/>
                  </a:lnTo>
                  <a:lnTo>
                    <a:pt x="316" y="178"/>
                  </a:lnTo>
                  <a:lnTo>
                    <a:pt x="321" y="182"/>
                  </a:lnTo>
                  <a:lnTo>
                    <a:pt x="321" y="189"/>
                  </a:lnTo>
                  <a:lnTo>
                    <a:pt x="316" y="192"/>
                  </a:lnTo>
                  <a:lnTo>
                    <a:pt x="316" y="201"/>
                  </a:lnTo>
                  <a:lnTo>
                    <a:pt x="314" y="206"/>
                  </a:lnTo>
                  <a:lnTo>
                    <a:pt x="321" y="206"/>
                  </a:lnTo>
                  <a:lnTo>
                    <a:pt x="321" y="199"/>
                  </a:lnTo>
                  <a:lnTo>
                    <a:pt x="316" y="194"/>
                  </a:lnTo>
                  <a:lnTo>
                    <a:pt x="321" y="192"/>
                  </a:lnTo>
                  <a:lnTo>
                    <a:pt x="323" y="199"/>
                  </a:lnTo>
                  <a:lnTo>
                    <a:pt x="328" y="201"/>
                  </a:lnTo>
                  <a:lnTo>
                    <a:pt x="328" y="208"/>
                  </a:lnTo>
                  <a:lnTo>
                    <a:pt x="331" y="208"/>
                  </a:lnTo>
                  <a:lnTo>
                    <a:pt x="331" y="206"/>
                  </a:lnTo>
                  <a:lnTo>
                    <a:pt x="328" y="199"/>
                  </a:lnTo>
                  <a:lnTo>
                    <a:pt x="328" y="189"/>
                  </a:lnTo>
                  <a:lnTo>
                    <a:pt x="331" y="182"/>
                  </a:lnTo>
                  <a:lnTo>
                    <a:pt x="331" y="178"/>
                  </a:lnTo>
                  <a:lnTo>
                    <a:pt x="333" y="178"/>
                  </a:lnTo>
                  <a:lnTo>
                    <a:pt x="340" y="189"/>
                  </a:lnTo>
                  <a:lnTo>
                    <a:pt x="345" y="192"/>
                  </a:lnTo>
                  <a:lnTo>
                    <a:pt x="345" y="194"/>
                  </a:lnTo>
                  <a:lnTo>
                    <a:pt x="347" y="206"/>
                  </a:lnTo>
                  <a:lnTo>
                    <a:pt x="347" y="199"/>
                  </a:lnTo>
                  <a:lnTo>
                    <a:pt x="345" y="189"/>
                  </a:lnTo>
                  <a:lnTo>
                    <a:pt x="338" y="182"/>
                  </a:lnTo>
                  <a:lnTo>
                    <a:pt x="338" y="178"/>
                  </a:lnTo>
                  <a:lnTo>
                    <a:pt x="340" y="175"/>
                  </a:lnTo>
                  <a:lnTo>
                    <a:pt x="345" y="175"/>
                  </a:lnTo>
                  <a:lnTo>
                    <a:pt x="347" y="178"/>
                  </a:lnTo>
                  <a:lnTo>
                    <a:pt x="354" y="182"/>
                  </a:lnTo>
                  <a:lnTo>
                    <a:pt x="357" y="185"/>
                  </a:lnTo>
                  <a:lnTo>
                    <a:pt x="361" y="189"/>
                  </a:lnTo>
                  <a:lnTo>
                    <a:pt x="361" y="185"/>
                  </a:lnTo>
                  <a:lnTo>
                    <a:pt x="354" y="182"/>
                  </a:lnTo>
                  <a:lnTo>
                    <a:pt x="349" y="182"/>
                  </a:lnTo>
                  <a:lnTo>
                    <a:pt x="349" y="178"/>
                  </a:lnTo>
                  <a:lnTo>
                    <a:pt x="347" y="175"/>
                  </a:lnTo>
                  <a:lnTo>
                    <a:pt x="349" y="173"/>
                  </a:lnTo>
                  <a:lnTo>
                    <a:pt x="349" y="168"/>
                  </a:lnTo>
                  <a:lnTo>
                    <a:pt x="347" y="166"/>
                  </a:lnTo>
                  <a:lnTo>
                    <a:pt x="347" y="161"/>
                  </a:lnTo>
                  <a:lnTo>
                    <a:pt x="349" y="159"/>
                  </a:lnTo>
                  <a:lnTo>
                    <a:pt x="354" y="159"/>
                  </a:lnTo>
                  <a:lnTo>
                    <a:pt x="357" y="161"/>
                  </a:lnTo>
                  <a:lnTo>
                    <a:pt x="357" y="168"/>
                  </a:lnTo>
                  <a:lnTo>
                    <a:pt x="361" y="168"/>
                  </a:lnTo>
                  <a:lnTo>
                    <a:pt x="361" y="161"/>
                  </a:lnTo>
                  <a:lnTo>
                    <a:pt x="368" y="161"/>
                  </a:lnTo>
                  <a:lnTo>
                    <a:pt x="373" y="166"/>
                  </a:lnTo>
                  <a:lnTo>
                    <a:pt x="394" y="173"/>
                  </a:lnTo>
                  <a:lnTo>
                    <a:pt x="394" y="175"/>
                  </a:lnTo>
                  <a:lnTo>
                    <a:pt x="397" y="175"/>
                  </a:lnTo>
                  <a:lnTo>
                    <a:pt x="397" y="185"/>
                  </a:lnTo>
                  <a:lnTo>
                    <a:pt x="394" y="189"/>
                  </a:lnTo>
                  <a:lnTo>
                    <a:pt x="390" y="189"/>
                  </a:lnTo>
                  <a:lnTo>
                    <a:pt x="387" y="185"/>
                  </a:lnTo>
                  <a:lnTo>
                    <a:pt x="385" y="185"/>
                  </a:lnTo>
                  <a:lnTo>
                    <a:pt x="385" y="182"/>
                  </a:lnTo>
                  <a:lnTo>
                    <a:pt x="373" y="185"/>
                  </a:lnTo>
                  <a:lnTo>
                    <a:pt x="371" y="192"/>
                  </a:lnTo>
                  <a:lnTo>
                    <a:pt x="373" y="192"/>
                  </a:lnTo>
                  <a:lnTo>
                    <a:pt x="373" y="189"/>
                  </a:lnTo>
                  <a:lnTo>
                    <a:pt x="385" y="189"/>
                  </a:lnTo>
                  <a:lnTo>
                    <a:pt x="397" y="192"/>
                  </a:lnTo>
                  <a:lnTo>
                    <a:pt x="397" y="194"/>
                  </a:lnTo>
                  <a:lnTo>
                    <a:pt x="394" y="194"/>
                  </a:lnTo>
                  <a:lnTo>
                    <a:pt x="394" y="199"/>
                  </a:lnTo>
                  <a:lnTo>
                    <a:pt x="390" y="201"/>
                  </a:lnTo>
                  <a:lnTo>
                    <a:pt x="387" y="206"/>
                  </a:lnTo>
                  <a:lnTo>
                    <a:pt x="390" y="206"/>
                  </a:lnTo>
                  <a:lnTo>
                    <a:pt x="394" y="201"/>
                  </a:lnTo>
                  <a:lnTo>
                    <a:pt x="401" y="199"/>
                  </a:lnTo>
                  <a:lnTo>
                    <a:pt x="404" y="199"/>
                  </a:lnTo>
                  <a:lnTo>
                    <a:pt x="401" y="206"/>
                  </a:lnTo>
                  <a:lnTo>
                    <a:pt x="397" y="213"/>
                  </a:lnTo>
                  <a:lnTo>
                    <a:pt x="394" y="215"/>
                  </a:lnTo>
                  <a:lnTo>
                    <a:pt x="385" y="215"/>
                  </a:lnTo>
                  <a:lnTo>
                    <a:pt x="380" y="213"/>
                  </a:lnTo>
                  <a:lnTo>
                    <a:pt x="373" y="213"/>
                  </a:lnTo>
                  <a:lnTo>
                    <a:pt x="368" y="215"/>
                  </a:lnTo>
                  <a:lnTo>
                    <a:pt x="364" y="218"/>
                  </a:lnTo>
                  <a:lnTo>
                    <a:pt x="385" y="218"/>
                  </a:lnTo>
                  <a:lnTo>
                    <a:pt x="380" y="223"/>
                  </a:lnTo>
                  <a:lnTo>
                    <a:pt x="378" y="232"/>
                  </a:lnTo>
                  <a:lnTo>
                    <a:pt x="373" y="232"/>
                  </a:lnTo>
                  <a:lnTo>
                    <a:pt x="371" y="230"/>
                  </a:lnTo>
                  <a:lnTo>
                    <a:pt x="364" y="230"/>
                  </a:lnTo>
                  <a:lnTo>
                    <a:pt x="378" y="234"/>
                  </a:lnTo>
                  <a:lnTo>
                    <a:pt x="378" y="232"/>
                  </a:lnTo>
                  <a:lnTo>
                    <a:pt x="387" y="232"/>
                  </a:lnTo>
                  <a:lnTo>
                    <a:pt x="394" y="230"/>
                  </a:lnTo>
                  <a:lnTo>
                    <a:pt x="401" y="230"/>
                  </a:lnTo>
                  <a:lnTo>
                    <a:pt x="406" y="234"/>
                  </a:lnTo>
                  <a:lnTo>
                    <a:pt x="404" y="239"/>
                  </a:lnTo>
                  <a:lnTo>
                    <a:pt x="401" y="239"/>
                  </a:lnTo>
                  <a:lnTo>
                    <a:pt x="401" y="246"/>
                  </a:lnTo>
                  <a:lnTo>
                    <a:pt x="394" y="241"/>
                  </a:lnTo>
                  <a:lnTo>
                    <a:pt x="390" y="246"/>
                  </a:lnTo>
                  <a:lnTo>
                    <a:pt x="385" y="246"/>
                  </a:lnTo>
                  <a:lnTo>
                    <a:pt x="385" y="249"/>
                  </a:lnTo>
                  <a:lnTo>
                    <a:pt x="378" y="249"/>
                  </a:lnTo>
                  <a:lnTo>
                    <a:pt x="378" y="246"/>
                  </a:lnTo>
                  <a:lnTo>
                    <a:pt x="373" y="241"/>
                  </a:lnTo>
                  <a:lnTo>
                    <a:pt x="371" y="241"/>
                  </a:lnTo>
                  <a:lnTo>
                    <a:pt x="371" y="249"/>
                  </a:lnTo>
                  <a:lnTo>
                    <a:pt x="371" y="246"/>
                  </a:lnTo>
                  <a:lnTo>
                    <a:pt x="378" y="249"/>
                  </a:lnTo>
                  <a:lnTo>
                    <a:pt x="380" y="249"/>
                  </a:lnTo>
                  <a:lnTo>
                    <a:pt x="380" y="253"/>
                  </a:lnTo>
                  <a:lnTo>
                    <a:pt x="385" y="253"/>
                  </a:lnTo>
                  <a:lnTo>
                    <a:pt x="385" y="249"/>
                  </a:lnTo>
                  <a:lnTo>
                    <a:pt x="387" y="249"/>
                  </a:lnTo>
                  <a:lnTo>
                    <a:pt x="390" y="246"/>
                  </a:lnTo>
                  <a:lnTo>
                    <a:pt x="397" y="249"/>
                  </a:lnTo>
                  <a:lnTo>
                    <a:pt x="406" y="256"/>
                  </a:lnTo>
                  <a:lnTo>
                    <a:pt x="406" y="258"/>
                  </a:lnTo>
                  <a:lnTo>
                    <a:pt x="404" y="263"/>
                  </a:lnTo>
                  <a:lnTo>
                    <a:pt x="390" y="263"/>
                  </a:lnTo>
                  <a:lnTo>
                    <a:pt x="387" y="258"/>
                  </a:lnTo>
                  <a:lnTo>
                    <a:pt x="385" y="258"/>
                  </a:lnTo>
                  <a:lnTo>
                    <a:pt x="387" y="263"/>
                  </a:lnTo>
                  <a:lnTo>
                    <a:pt x="394" y="265"/>
                  </a:lnTo>
                  <a:lnTo>
                    <a:pt x="404" y="265"/>
                  </a:lnTo>
                  <a:lnTo>
                    <a:pt x="404" y="270"/>
                  </a:lnTo>
                  <a:lnTo>
                    <a:pt x="401" y="270"/>
                  </a:lnTo>
                  <a:lnTo>
                    <a:pt x="394" y="272"/>
                  </a:lnTo>
                  <a:lnTo>
                    <a:pt x="406" y="272"/>
                  </a:lnTo>
                  <a:lnTo>
                    <a:pt x="406" y="279"/>
                  </a:lnTo>
                  <a:lnTo>
                    <a:pt x="404" y="282"/>
                  </a:lnTo>
                  <a:lnTo>
                    <a:pt x="397" y="279"/>
                  </a:lnTo>
                  <a:lnTo>
                    <a:pt x="397" y="275"/>
                  </a:lnTo>
                  <a:lnTo>
                    <a:pt x="394" y="275"/>
                  </a:lnTo>
                  <a:lnTo>
                    <a:pt x="394" y="272"/>
                  </a:lnTo>
                  <a:lnTo>
                    <a:pt x="390" y="272"/>
                  </a:lnTo>
                  <a:lnTo>
                    <a:pt x="390" y="275"/>
                  </a:lnTo>
                  <a:lnTo>
                    <a:pt x="394" y="275"/>
                  </a:lnTo>
                  <a:lnTo>
                    <a:pt x="397" y="282"/>
                  </a:lnTo>
                  <a:lnTo>
                    <a:pt x="397" y="286"/>
                  </a:lnTo>
                  <a:lnTo>
                    <a:pt x="394" y="282"/>
                  </a:lnTo>
                  <a:lnTo>
                    <a:pt x="390" y="286"/>
                  </a:lnTo>
                  <a:lnTo>
                    <a:pt x="387" y="286"/>
                  </a:lnTo>
                  <a:lnTo>
                    <a:pt x="380" y="282"/>
                  </a:lnTo>
                  <a:lnTo>
                    <a:pt x="371" y="275"/>
                  </a:lnTo>
                  <a:lnTo>
                    <a:pt x="378" y="282"/>
                  </a:lnTo>
                  <a:lnTo>
                    <a:pt x="380" y="286"/>
                  </a:lnTo>
                  <a:lnTo>
                    <a:pt x="378" y="289"/>
                  </a:lnTo>
                  <a:lnTo>
                    <a:pt x="371" y="291"/>
                  </a:lnTo>
                  <a:lnTo>
                    <a:pt x="371" y="296"/>
                  </a:lnTo>
                  <a:lnTo>
                    <a:pt x="373" y="296"/>
                  </a:lnTo>
                  <a:lnTo>
                    <a:pt x="380" y="291"/>
                  </a:lnTo>
                  <a:lnTo>
                    <a:pt x="380" y="289"/>
                  </a:lnTo>
                  <a:lnTo>
                    <a:pt x="385" y="289"/>
                  </a:lnTo>
                  <a:lnTo>
                    <a:pt x="385" y="291"/>
                  </a:lnTo>
                  <a:lnTo>
                    <a:pt x="387" y="291"/>
                  </a:lnTo>
                  <a:lnTo>
                    <a:pt x="387" y="298"/>
                  </a:lnTo>
                  <a:lnTo>
                    <a:pt x="380" y="298"/>
                  </a:lnTo>
                  <a:lnTo>
                    <a:pt x="380" y="296"/>
                  </a:lnTo>
                  <a:lnTo>
                    <a:pt x="378" y="296"/>
                  </a:lnTo>
                  <a:lnTo>
                    <a:pt x="380" y="303"/>
                  </a:lnTo>
                  <a:lnTo>
                    <a:pt x="394" y="303"/>
                  </a:lnTo>
                  <a:lnTo>
                    <a:pt x="394" y="305"/>
                  </a:lnTo>
                  <a:lnTo>
                    <a:pt x="385" y="305"/>
                  </a:lnTo>
                  <a:lnTo>
                    <a:pt x="380" y="310"/>
                  </a:lnTo>
                  <a:lnTo>
                    <a:pt x="390" y="310"/>
                  </a:lnTo>
                  <a:lnTo>
                    <a:pt x="401" y="315"/>
                  </a:lnTo>
                  <a:lnTo>
                    <a:pt x="401" y="326"/>
                  </a:lnTo>
                  <a:lnTo>
                    <a:pt x="404" y="329"/>
                  </a:lnTo>
                  <a:lnTo>
                    <a:pt x="406" y="329"/>
                  </a:lnTo>
                  <a:lnTo>
                    <a:pt x="411" y="336"/>
                  </a:lnTo>
                  <a:lnTo>
                    <a:pt x="411" y="343"/>
                  </a:lnTo>
                  <a:lnTo>
                    <a:pt x="413" y="350"/>
                  </a:lnTo>
                  <a:lnTo>
                    <a:pt x="401" y="350"/>
                  </a:lnTo>
                  <a:lnTo>
                    <a:pt x="397" y="345"/>
                  </a:lnTo>
                  <a:lnTo>
                    <a:pt x="401" y="343"/>
                  </a:lnTo>
                  <a:lnTo>
                    <a:pt x="404" y="343"/>
                  </a:lnTo>
                  <a:lnTo>
                    <a:pt x="401" y="338"/>
                  </a:lnTo>
                  <a:lnTo>
                    <a:pt x="401" y="343"/>
                  </a:lnTo>
                  <a:lnTo>
                    <a:pt x="397" y="345"/>
                  </a:lnTo>
                  <a:lnTo>
                    <a:pt x="394" y="343"/>
                  </a:lnTo>
                  <a:lnTo>
                    <a:pt x="390" y="343"/>
                  </a:lnTo>
                  <a:lnTo>
                    <a:pt x="387" y="350"/>
                  </a:lnTo>
                  <a:lnTo>
                    <a:pt x="380" y="345"/>
                  </a:lnTo>
                  <a:lnTo>
                    <a:pt x="380" y="338"/>
                  </a:lnTo>
                  <a:lnTo>
                    <a:pt x="378" y="338"/>
                  </a:lnTo>
                  <a:lnTo>
                    <a:pt x="378" y="343"/>
                  </a:lnTo>
                  <a:lnTo>
                    <a:pt x="371" y="343"/>
                  </a:lnTo>
                  <a:lnTo>
                    <a:pt x="368" y="336"/>
                  </a:lnTo>
                  <a:lnTo>
                    <a:pt x="368" y="326"/>
                  </a:lnTo>
                  <a:lnTo>
                    <a:pt x="364" y="322"/>
                  </a:lnTo>
                  <a:lnTo>
                    <a:pt x="364" y="336"/>
                  </a:lnTo>
                  <a:lnTo>
                    <a:pt x="368" y="338"/>
                  </a:lnTo>
                  <a:lnTo>
                    <a:pt x="371" y="343"/>
                  </a:lnTo>
                  <a:lnTo>
                    <a:pt x="371" y="352"/>
                  </a:lnTo>
                  <a:lnTo>
                    <a:pt x="371" y="350"/>
                  </a:lnTo>
                  <a:lnTo>
                    <a:pt x="364" y="350"/>
                  </a:lnTo>
                  <a:lnTo>
                    <a:pt x="361" y="345"/>
                  </a:lnTo>
                  <a:lnTo>
                    <a:pt x="357" y="343"/>
                  </a:lnTo>
                  <a:lnTo>
                    <a:pt x="357" y="345"/>
                  </a:lnTo>
                  <a:lnTo>
                    <a:pt x="349" y="345"/>
                  </a:lnTo>
                  <a:lnTo>
                    <a:pt x="349" y="338"/>
                  </a:lnTo>
                  <a:lnTo>
                    <a:pt x="354" y="338"/>
                  </a:lnTo>
                  <a:lnTo>
                    <a:pt x="354" y="336"/>
                  </a:lnTo>
                  <a:lnTo>
                    <a:pt x="349" y="336"/>
                  </a:lnTo>
                  <a:lnTo>
                    <a:pt x="349" y="338"/>
                  </a:lnTo>
                  <a:lnTo>
                    <a:pt x="347" y="338"/>
                  </a:lnTo>
                  <a:lnTo>
                    <a:pt x="354" y="329"/>
                  </a:lnTo>
                  <a:lnTo>
                    <a:pt x="354" y="326"/>
                  </a:lnTo>
                  <a:lnTo>
                    <a:pt x="361" y="326"/>
                  </a:lnTo>
                  <a:lnTo>
                    <a:pt x="357" y="319"/>
                  </a:lnTo>
                  <a:lnTo>
                    <a:pt x="354" y="326"/>
                  </a:lnTo>
                  <a:lnTo>
                    <a:pt x="349" y="329"/>
                  </a:lnTo>
                  <a:lnTo>
                    <a:pt x="347" y="331"/>
                  </a:lnTo>
                  <a:lnTo>
                    <a:pt x="345" y="336"/>
                  </a:lnTo>
                  <a:lnTo>
                    <a:pt x="345" y="338"/>
                  </a:lnTo>
                  <a:lnTo>
                    <a:pt x="340" y="338"/>
                  </a:lnTo>
                  <a:lnTo>
                    <a:pt x="338" y="336"/>
                  </a:lnTo>
                  <a:lnTo>
                    <a:pt x="333" y="331"/>
                  </a:lnTo>
                  <a:lnTo>
                    <a:pt x="333" y="329"/>
                  </a:lnTo>
                  <a:lnTo>
                    <a:pt x="338" y="326"/>
                  </a:lnTo>
                  <a:lnTo>
                    <a:pt x="338" y="312"/>
                  </a:lnTo>
                  <a:lnTo>
                    <a:pt x="340" y="312"/>
                  </a:lnTo>
                  <a:lnTo>
                    <a:pt x="333" y="312"/>
                  </a:lnTo>
                  <a:lnTo>
                    <a:pt x="333" y="315"/>
                  </a:lnTo>
                  <a:lnTo>
                    <a:pt x="338" y="322"/>
                  </a:lnTo>
                  <a:lnTo>
                    <a:pt x="338" y="326"/>
                  </a:lnTo>
                  <a:lnTo>
                    <a:pt x="331" y="329"/>
                  </a:lnTo>
                  <a:lnTo>
                    <a:pt x="323" y="329"/>
                  </a:lnTo>
                  <a:lnTo>
                    <a:pt x="321" y="322"/>
                  </a:lnTo>
                  <a:lnTo>
                    <a:pt x="328" y="322"/>
                  </a:lnTo>
                  <a:lnTo>
                    <a:pt x="328" y="312"/>
                  </a:lnTo>
                  <a:lnTo>
                    <a:pt x="331" y="312"/>
                  </a:lnTo>
                  <a:lnTo>
                    <a:pt x="333" y="310"/>
                  </a:lnTo>
                  <a:lnTo>
                    <a:pt x="331" y="310"/>
                  </a:lnTo>
                  <a:lnTo>
                    <a:pt x="328" y="312"/>
                  </a:lnTo>
                  <a:lnTo>
                    <a:pt x="323" y="315"/>
                  </a:lnTo>
                  <a:lnTo>
                    <a:pt x="323" y="319"/>
                  </a:lnTo>
                  <a:lnTo>
                    <a:pt x="316" y="322"/>
                  </a:lnTo>
                  <a:lnTo>
                    <a:pt x="314" y="322"/>
                  </a:lnTo>
                  <a:lnTo>
                    <a:pt x="309" y="319"/>
                  </a:lnTo>
                  <a:lnTo>
                    <a:pt x="307" y="310"/>
                  </a:lnTo>
                  <a:lnTo>
                    <a:pt x="307" y="303"/>
                  </a:lnTo>
                  <a:lnTo>
                    <a:pt x="309" y="296"/>
                  </a:lnTo>
                  <a:lnTo>
                    <a:pt x="314" y="291"/>
                  </a:lnTo>
                  <a:lnTo>
                    <a:pt x="316" y="289"/>
                  </a:lnTo>
                  <a:lnTo>
                    <a:pt x="323" y="289"/>
                  </a:lnTo>
                  <a:lnTo>
                    <a:pt x="323" y="286"/>
                  </a:lnTo>
                  <a:lnTo>
                    <a:pt x="316" y="282"/>
                  </a:lnTo>
                  <a:lnTo>
                    <a:pt x="314" y="272"/>
                  </a:lnTo>
                  <a:lnTo>
                    <a:pt x="314" y="263"/>
                  </a:lnTo>
                  <a:lnTo>
                    <a:pt x="316" y="258"/>
                  </a:lnTo>
                  <a:lnTo>
                    <a:pt x="316" y="253"/>
                  </a:lnTo>
                  <a:lnTo>
                    <a:pt x="314" y="253"/>
                  </a:lnTo>
                  <a:lnTo>
                    <a:pt x="314" y="256"/>
                  </a:lnTo>
                  <a:lnTo>
                    <a:pt x="309" y="263"/>
                  </a:lnTo>
                  <a:lnTo>
                    <a:pt x="309" y="275"/>
                  </a:lnTo>
                  <a:lnTo>
                    <a:pt x="314" y="279"/>
                  </a:lnTo>
                  <a:lnTo>
                    <a:pt x="314" y="282"/>
                  </a:lnTo>
                  <a:lnTo>
                    <a:pt x="307" y="289"/>
                  </a:lnTo>
                  <a:lnTo>
                    <a:pt x="305" y="298"/>
                  </a:lnTo>
                  <a:lnTo>
                    <a:pt x="290" y="305"/>
                  </a:lnTo>
                  <a:lnTo>
                    <a:pt x="288" y="310"/>
                  </a:lnTo>
                  <a:lnTo>
                    <a:pt x="281" y="303"/>
                  </a:lnTo>
                  <a:lnTo>
                    <a:pt x="281" y="298"/>
                  </a:lnTo>
                  <a:lnTo>
                    <a:pt x="283" y="291"/>
                  </a:lnTo>
                  <a:lnTo>
                    <a:pt x="288" y="289"/>
                  </a:lnTo>
                  <a:lnTo>
                    <a:pt x="288" y="279"/>
                  </a:lnTo>
                  <a:lnTo>
                    <a:pt x="283" y="272"/>
                  </a:lnTo>
                  <a:lnTo>
                    <a:pt x="281" y="270"/>
                  </a:lnTo>
                  <a:lnTo>
                    <a:pt x="281" y="275"/>
                  </a:lnTo>
                  <a:lnTo>
                    <a:pt x="283" y="275"/>
                  </a:lnTo>
                  <a:lnTo>
                    <a:pt x="283" y="289"/>
                  </a:lnTo>
                  <a:lnTo>
                    <a:pt x="281" y="291"/>
                  </a:lnTo>
                  <a:lnTo>
                    <a:pt x="281" y="296"/>
                  </a:lnTo>
                  <a:lnTo>
                    <a:pt x="276" y="298"/>
                  </a:lnTo>
                  <a:lnTo>
                    <a:pt x="269" y="298"/>
                  </a:lnTo>
                  <a:lnTo>
                    <a:pt x="264" y="291"/>
                  </a:lnTo>
                  <a:lnTo>
                    <a:pt x="260" y="296"/>
                  </a:lnTo>
                  <a:lnTo>
                    <a:pt x="257" y="298"/>
                  </a:lnTo>
                  <a:lnTo>
                    <a:pt x="253" y="296"/>
                  </a:lnTo>
                  <a:lnTo>
                    <a:pt x="248" y="289"/>
                  </a:lnTo>
                  <a:lnTo>
                    <a:pt x="248" y="286"/>
                  </a:lnTo>
                  <a:lnTo>
                    <a:pt x="250" y="286"/>
                  </a:lnTo>
                  <a:lnTo>
                    <a:pt x="250" y="282"/>
                  </a:lnTo>
                  <a:lnTo>
                    <a:pt x="248" y="282"/>
                  </a:lnTo>
                  <a:lnTo>
                    <a:pt x="248" y="289"/>
                  </a:lnTo>
                  <a:lnTo>
                    <a:pt x="241" y="289"/>
                  </a:lnTo>
                  <a:lnTo>
                    <a:pt x="236" y="282"/>
                  </a:lnTo>
                  <a:lnTo>
                    <a:pt x="234" y="279"/>
                  </a:lnTo>
                  <a:lnTo>
                    <a:pt x="231" y="275"/>
                  </a:lnTo>
                  <a:lnTo>
                    <a:pt x="224" y="272"/>
                  </a:lnTo>
                  <a:lnTo>
                    <a:pt x="220" y="272"/>
                  </a:lnTo>
                  <a:lnTo>
                    <a:pt x="224" y="275"/>
                  </a:lnTo>
                  <a:lnTo>
                    <a:pt x="231" y="275"/>
                  </a:lnTo>
                  <a:lnTo>
                    <a:pt x="227" y="286"/>
                  </a:lnTo>
                  <a:lnTo>
                    <a:pt x="220" y="286"/>
                  </a:lnTo>
                  <a:lnTo>
                    <a:pt x="212" y="282"/>
                  </a:lnTo>
                  <a:lnTo>
                    <a:pt x="210" y="282"/>
                  </a:lnTo>
                  <a:lnTo>
                    <a:pt x="210" y="286"/>
                  </a:lnTo>
                  <a:lnTo>
                    <a:pt x="203" y="286"/>
                  </a:lnTo>
                  <a:lnTo>
                    <a:pt x="201" y="289"/>
                  </a:lnTo>
                  <a:lnTo>
                    <a:pt x="210" y="289"/>
                  </a:lnTo>
                  <a:lnTo>
                    <a:pt x="212" y="286"/>
                  </a:lnTo>
                  <a:lnTo>
                    <a:pt x="217" y="286"/>
                  </a:lnTo>
                  <a:lnTo>
                    <a:pt x="227" y="289"/>
                  </a:lnTo>
                  <a:lnTo>
                    <a:pt x="231" y="296"/>
                  </a:lnTo>
                  <a:lnTo>
                    <a:pt x="217" y="296"/>
                  </a:lnTo>
                  <a:lnTo>
                    <a:pt x="220" y="296"/>
                  </a:lnTo>
                  <a:lnTo>
                    <a:pt x="224" y="298"/>
                  </a:lnTo>
                  <a:lnTo>
                    <a:pt x="234" y="298"/>
                  </a:lnTo>
                  <a:lnTo>
                    <a:pt x="231" y="303"/>
                  </a:lnTo>
                  <a:lnTo>
                    <a:pt x="231" y="305"/>
                  </a:lnTo>
                  <a:lnTo>
                    <a:pt x="220" y="305"/>
                  </a:lnTo>
                  <a:lnTo>
                    <a:pt x="220" y="303"/>
                  </a:lnTo>
                  <a:lnTo>
                    <a:pt x="217" y="303"/>
                  </a:lnTo>
                  <a:lnTo>
                    <a:pt x="212" y="298"/>
                  </a:lnTo>
                  <a:lnTo>
                    <a:pt x="203" y="298"/>
                  </a:lnTo>
                  <a:lnTo>
                    <a:pt x="203" y="296"/>
                  </a:lnTo>
                  <a:lnTo>
                    <a:pt x="196" y="296"/>
                  </a:lnTo>
                  <a:lnTo>
                    <a:pt x="196" y="298"/>
                  </a:lnTo>
                  <a:lnTo>
                    <a:pt x="203" y="298"/>
                  </a:lnTo>
                  <a:lnTo>
                    <a:pt x="210" y="305"/>
                  </a:lnTo>
                  <a:lnTo>
                    <a:pt x="212" y="312"/>
                  </a:lnTo>
                  <a:lnTo>
                    <a:pt x="217" y="312"/>
                  </a:lnTo>
                  <a:lnTo>
                    <a:pt x="220" y="315"/>
                  </a:lnTo>
                  <a:lnTo>
                    <a:pt x="224" y="315"/>
                  </a:lnTo>
                  <a:lnTo>
                    <a:pt x="231" y="319"/>
                  </a:lnTo>
                  <a:lnTo>
                    <a:pt x="236" y="319"/>
                  </a:lnTo>
                  <a:lnTo>
                    <a:pt x="243" y="322"/>
                  </a:lnTo>
                  <a:lnTo>
                    <a:pt x="243" y="329"/>
                  </a:lnTo>
                  <a:lnTo>
                    <a:pt x="248" y="331"/>
                  </a:lnTo>
                  <a:lnTo>
                    <a:pt x="241" y="336"/>
                  </a:lnTo>
                  <a:lnTo>
                    <a:pt x="231" y="343"/>
                  </a:lnTo>
                  <a:lnTo>
                    <a:pt x="231" y="345"/>
                  </a:lnTo>
                  <a:lnTo>
                    <a:pt x="224" y="345"/>
                  </a:lnTo>
                  <a:lnTo>
                    <a:pt x="217" y="338"/>
                  </a:lnTo>
                  <a:lnTo>
                    <a:pt x="212" y="331"/>
                  </a:lnTo>
                  <a:lnTo>
                    <a:pt x="208" y="329"/>
                  </a:lnTo>
                  <a:lnTo>
                    <a:pt x="191" y="329"/>
                  </a:lnTo>
                  <a:lnTo>
                    <a:pt x="186" y="331"/>
                  </a:lnTo>
                  <a:lnTo>
                    <a:pt x="184" y="336"/>
                  </a:lnTo>
                  <a:lnTo>
                    <a:pt x="191" y="336"/>
                  </a:lnTo>
                  <a:lnTo>
                    <a:pt x="191" y="331"/>
                  </a:lnTo>
                  <a:lnTo>
                    <a:pt x="201" y="331"/>
                  </a:lnTo>
                  <a:lnTo>
                    <a:pt x="203" y="336"/>
                  </a:lnTo>
                  <a:lnTo>
                    <a:pt x="208" y="336"/>
                  </a:lnTo>
                  <a:lnTo>
                    <a:pt x="208" y="331"/>
                  </a:lnTo>
                  <a:lnTo>
                    <a:pt x="212" y="331"/>
                  </a:lnTo>
                  <a:lnTo>
                    <a:pt x="217" y="338"/>
                  </a:lnTo>
                  <a:lnTo>
                    <a:pt x="217" y="343"/>
                  </a:lnTo>
                  <a:lnTo>
                    <a:pt x="208" y="343"/>
                  </a:lnTo>
                  <a:lnTo>
                    <a:pt x="210" y="350"/>
                  </a:lnTo>
                  <a:lnTo>
                    <a:pt x="212" y="350"/>
                  </a:lnTo>
                  <a:lnTo>
                    <a:pt x="217" y="345"/>
                  </a:lnTo>
                  <a:lnTo>
                    <a:pt x="220" y="355"/>
                  </a:lnTo>
                  <a:lnTo>
                    <a:pt x="227" y="355"/>
                  </a:lnTo>
                  <a:lnTo>
                    <a:pt x="231" y="352"/>
                  </a:lnTo>
                  <a:lnTo>
                    <a:pt x="234" y="352"/>
                  </a:lnTo>
                  <a:lnTo>
                    <a:pt x="236" y="362"/>
                  </a:lnTo>
                  <a:lnTo>
                    <a:pt x="236" y="369"/>
                  </a:lnTo>
                  <a:lnTo>
                    <a:pt x="234" y="369"/>
                  </a:lnTo>
                  <a:lnTo>
                    <a:pt x="234" y="371"/>
                  </a:lnTo>
                  <a:lnTo>
                    <a:pt x="236" y="371"/>
                  </a:lnTo>
                  <a:lnTo>
                    <a:pt x="241" y="378"/>
                  </a:lnTo>
                  <a:lnTo>
                    <a:pt x="241" y="369"/>
                  </a:lnTo>
                  <a:lnTo>
                    <a:pt x="243" y="362"/>
                  </a:lnTo>
                  <a:lnTo>
                    <a:pt x="243" y="360"/>
                  </a:lnTo>
                  <a:lnTo>
                    <a:pt x="250" y="355"/>
                  </a:lnTo>
                  <a:lnTo>
                    <a:pt x="257" y="355"/>
                  </a:lnTo>
                  <a:lnTo>
                    <a:pt x="260" y="360"/>
                  </a:lnTo>
                  <a:lnTo>
                    <a:pt x="257" y="360"/>
                  </a:lnTo>
                  <a:lnTo>
                    <a:pt x="257" y="369"/>
                  </a:lnTo>
                  <a:lnTo>
                    <a:pt x="264" y="371"/>
                  </a:lnTo>
                  <a:lnTo>
                    <a:pt x="267" y="369"/>
                  </a:lnTo>
                  <a:lnTo>
                    <a:pt x="269" y="367"/>
                  </a:lnTo>
                  <a:lnTo>
                    <a:pt x="274" y="367"/>
                  </a:lnTo>
                  <a:lnTo>
                    <a:pt x="274" y="376"/>
                  </a:lnTo>
                  <a:lnTo>
                    <a:pt x="269" y="376"/>
                  </a:lnTo>
                  <a:lnTo>
                    <a:pt x="267" y="378"/>
                  </a:lnTo>
                  <a:lnTo>
                    <a:pt x="267" y="383"/>
                  </a:lnTo>
                  <a:lnTo>
                    <a:pt x="269" y="383"/>
                  </a:lnTo>
                  <a:lnTo>
                    <a:pt x="269" y="378"/>
                  </a:lnTo>
                  <a:lnTo>
                    <a:pt x="276" y="378"/>
                  </a:lnTo>
                  <a:lnTo>
                    <a:pt x="281" y="383"/>
                  </a:lnTo>
                  <a:lnTo>
                    <a:pt x="283" y="386"/>
                  </a:lnTo>
                  <a:lnTo>
                    <a:pt x="288" y="383"/>
                  </a:lnTo>
                  <a:lnTo>
                    <a:pt x="290" y="393"/>
                  </a:lnTo>
                  <a:lnTo>
                    <a:pt x="288" y="393"/>
                  </a:lnTo>
                  <a:lnTo>
                    <a:pt x="288" y="400"/>
                  </a:lnTo>
                  <a:lnTo>
                    <a:pt x="290" y="400"/>
                  </a:lnTo>
                  <a:lnTo>
                    <a:pt x="293" y="393"/>
                  </a:lnTo>
                  <a:lnTo>
                    <a:pt x="293" y="383"/>
                  </a:lnTo>
                  <a:lnTo>
                    <a:pt x="297" y="383"/>
                  </a:lnTo>
                  <a:lnTo>
                    <a:pt x="297" y="393"/>
                  </a:lnTo>
                  <a:lnTo>
                    <a:pt x="300" y="395"/>
                  </a:lnTo>
                  <a:lnTo>
                    <a:pt x="305" y="400"/>
                  </a:lnTo>
                  <a:lnTo>
                    <a:pt x="307" y="407"/>
                  </a:lnTo>
                  <a:lnTo>
                    <a:pt x="309" y="409"/>
                  </a:lnTo>
                  <a:lnTo>
                    <a:pt x="309" y="412"/>
                  </a:lnTo>
                  <a:lnTo>
                    <a:pt x="314" y="416"/>
                  </a:lnTo>
                  <a:lnTo>
                    <a:pt x="316" y="412"/>
                  </a:lnTo>
                  <a:lnTo>
                    <a:pt x="309" y="407"/>
                  </a:lnTo>
                  <a:lnTo>
                    <a:pt x="305" y="393"/>
                  </a:lnTo>
                  <a:lnTo>
                    <a:pt x="309" y="393"/>
                  </a:lnTo>
                  <a:lnTo>
                    <a:pt x="309" y="395"/>
                  </a:lnTo>
                  <a:lnTo>
                    <a:pt x="314" y="400"/>
                  </a:lnTo>
                  <a:lnTo>
                    <a:pt x="321" y="400"/>
                  </a:lnTo>
                  <a:lnTo>
                    <a:pt x="321" y="395"/>
                  </a:lnTo>
                  <a:lnTo>
                    <a:pt x="328" y="395"/>
                  </a:lnTo>
                  <a:lnTo>
                    <a:pt x="331" y="400"/>
                  </a:lnTo>
                  <a:lnTo>
                    <a:pt x="331" y="409"/>
                  </a:lnTo>
                  <a:lnTo>
                    <a:pt x="333" y="409"/>
                  </a:lnTo>
                  <a:lnTo>
                    <a:pt x="333" y="4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6" name="Freeform 405">
              <a:extLst>
                <a:ext uri="{FF2B5EF4-FFF2-40B4-BE49-F238E27FC236}">
                  <a16:creationId xmlns:a16="http://schemas.microsoft.com/office/drawing/2014/main" id="{6F04E849-EDC8-4C12-A239-46D7DBD93F5D}"/>
                </a:ext>
              </a:extLst>
            </p:cNvPr>
            <p:cNvSpPr>
              <a:spLocks/>
            </p:cNvSpPr>
            <p:nvPr/>
          </p:nvSpPr>
          <p:spPr bwMode="gray">
            <a:xfrm rot="47099">
              <a:off x="1600779" y="1894551"/>
              <a:ext cx="305480" cy="123499"/>
            </a:xfrm>
            <a:custGeom>
              <a:avLst/>
              <a:gdLst>
                <a:gd name="T0" fmla="*/ 9 w 657"/>
                <a:gd name="T1" fmla="*/ 182 h 265"/>
                <a:gd name="T2" fmla="*/ 0 w 657"/>
                <a:gd name="T3" fmla="*/ 137 h 265"/>
                <a:gd name="T4" fmla="*/ 17 w 657"/>
                <a:gd name="T5" fmla="*/ 64 h 265"/>
                <a:gd name="T6" fmla="*/ 50 w 657"/>
                <a:gd name="T7" fmla="*/ 24 h 265"/>
                <a:gd name="T8" fmla="*/ 90 w 657"/>
                <a:gd name="T9" fmla="*/ 50 h 265"/>
                <a:gd name="T10" fmla="*/ 87 w 657"/>
                <a:gd name="T11" fmla="*/ 125 h 265"/>
                <a:gd name="T12" fmla="*/ 113 w 657"/>
                <a:gd name="T13" fmla="*/ 187 h 265"/>
                <a:gd name="T14" fmla="*/ 156 w 657"/>
                <a:gd name="T15" fmla="*/ 227 h 265"/>
                <a:gd name="T16" fmla="*/ 113 w 657"/>
                <a:gd name="T17" fmla="*/ 265 h 265"/>
                <a:gd name="T18" fmla="*/ 156 w 657"/>
                <a:gd name="T19" fmla="*/ 239 h 265"/>
                <a:gd name="T20" fmla="*/ 168 w 657"/>
                <a:gd name="T21" fmla="*/ 234 h 265"/>
                <a:gd name="T22" fmla="*/ 130 w 657"/>
                <a:gd name="T23" fmla="*/ 187 h 265"/>
                <a:gd name="T24" fmla="*/ 139 w 657"/>
                <a:gd name="T25" fmla="*/ 146 h 265"/>
                <a:gd name="T26" fmla="*/ 156 w 657"/>
                <a:gd name="T27" fmla="*/ 154 h 265"/>
                <a:gd name="T28" fmla="*/ 137 w 657"/>
                <a:gd name="T29" fmla="*/ 135 h 265"/>
                <a:gd name="T30" fmla="*/ 116 w 657"/>
                <a:gd name="T31" fmla="*/ 120 h 265"/>
                <a:gd name="T32" fmla="*/ 154 w 657"/>
                <a:gd name="T33" fmla="*/ 97 h 265"/>
                <a:gd name="T34" fmla="*/ 113 w 657"/>
                <a:gd name="T35" fmla="*/ 78 h 265"/>
                <a:gd name="T36" fmla="*/ 139 w 657"/>
                <a:gd name="T37" fmla="*/ 71 h 265"/>
                <a:gd name="T38" fmla="*/ 132 w 657"/>
                <a:gd name="T39" fmla="*/ 61 h 265"/>
                <a:gd name="T40" fmla="*/ 146 w 657"/>
                <a:gd name="T41" fmla="*/ 50 h 265"/>
                <a:gd name="T42" fmla="*/ 156 w 657"/>
                <a:gd name="T43" fmla="*/ 14 h 265"/>
                <a:gd name="T44" fmla="*/ 217 w 657"/>
                <a:gd name="T45" fmla="*/ 38 h 265"/>
                <a:gd name="T46" fmla="*/ 246 w 657"/>
                <a:gd name="T47" fmla="*/ 80 h 265"/>
                <a:gd name="T48" fmla="*/ 246 w 657"/>
                <a:gd name="T49" fmla="*/ 102 h 265"/>
                <a:gd name="T50" fmla="*/ 257 w 657"/>
                <a:gd name="T51" fmla="*/ 135 h 265"/>
                <a:gd name="T52" fmla="*/ 267 w 657"/>
                <a:gd name="T53" fmla="*/ 135 h 265"/>
                <a:gd name="T54" fmla="*/ 274 w 657"/>
                <a:gd name="T55" fmla="*/ 118 h 265"/>
                <a:gd name="T56" fmla="*/ 274 w 657"/>
                <a:gd name="T57" fmla="*/ 97 h 265"/>
                <a:gd name="T58" fmla="*/ 298 w 657"/>
                <a:gd name="T59" fmla="*/ 104 h 265"/>
                <a:gd name="T60" fmla="*/ 324 w 657"/>
                <a:gd name="T61" fmla="*/ 130 h 265"/>
                <a:gd name="T62" fmla="*/ 338 w 657"/>
                <a:gd name="T63" fmla="*/ 135 h 265"/>
                <a:gd name="T64" fmla="*/ 324 w 657"/>
                <a:gd name="T65" fmla="*/ 120 h 265"/>
                <a:gd name="T66" fmla="*/ 314 w 657"/>
                <a:gd name="T67" fmla="*/ 102 h 265"/>
                <a:gd name="T68" fmla="*/ 309 w 657"/>
                <a:gd name="T69" fmla="*/ 90 h 265"/>
                <a:gd name="T70" fmla="*/ 343 w 657"/>
                <a:gd name="T71" fmla="*/ 50 h 265"/>
                <a:gd name="T72" fmla="*/ 395 w 657"/>
                <a:gd name="T73" fmla="*/ 57 h 265"/>
                <a:gd name="T74" fmla="*/ 380 w 657"/>
                <a:gd name="T75" fmla="*/ 94 h 265"/>
                <a:gd name="T76" fmla="*/ 397 w 657"/>
                <a:gd name="T77" fmla="*/ 94 h 265"/>
                <a:gd name="T78" fmla="*/ 404 w 657"/>
                <a:gd name="T79" fmla="*/ 90 h 265"/>
                <a:gd name="T80" fmla="*/ 435 w 657"/>
                <a:gd name="T81" fmla="*/ 102 h 265"/>
                <a:gd name="T82" fmla="*/ 418 w 657"/>
                <a:gd name="T83" fmla="*/ 135 h 265"/>
                <a:gd name="T84" fmla="*/ 435 w 657"/>
                <a:gd name="T85" fmla="*/ 128 h 265"/>
                <a:gd name="T86" fmla="*/ 439 w 657"/>
                <a:gd name="T87" fmla="*/ 104 h 265"/>
                <a:gd name="T88" fmla="*/ 458 w 657"/>
                <a:gd name="T89" fmla="*/ 94 h 265"/>
                <a:gd name="T90" fmla="*/ 461 w 657"/>
                <a:gd name="T91" fmla="*/ 146 h 265"/>
                <a:gd name="T92" fmla="*/ 477 w 657"/>
                <a:gd name="T93" fmla="*/ 128 h 265"/>
                <a:gd name="T94" fmla="*/ 487 w 657"/>
                <a:gd name="T95" fmla="*/ 137 h 265"/>
                <a:gd name="T96" fmla="*/ 491 w 657"/>
                <a:gd name="T97" fmla="*/ 113 h 265"/>
                <a:gd name="T98" fmla="*/ 534 w 657"/>
                <a:gd name="T99" fmla="*/ 128 h 265"/>
                <a:gd name="T100" fmla="*/ 524 w 657"/>
                <a:gd name="T101" fmla="*/ 154 h 265"/>
                <a:gd name="T102" fmla="*/ 548 w 657"/>
                <a:gd name="T103" fmla="*/ 144 h 265"/>
                <a:gd name="T104" fmla="*/ 558 w 657"/>
                <a:gd name="T105" fmla="*/ 165 h 265"/>
                <a:gd name="T106" fmla="*/ 574 w 657"/>
                <a:gd name="T107" fmla="*/ 182 h 265"/>
                <a:gd name="T108" fmla="*/ 574 w 657"/>
                <a:gd name="T109" fmla="*/ 154 h 265"/>
                <a:gd name="T110" fmla="*/ 595 w 657"/>
                <a:gd name="T111" fmla="*/ 135 h 265"/>
                <a:gd name="T112" fmla="*/ 598 w 657"/>
                <a:gd name="T113" fmla="*/ 146 h 265"/>
                <a:gd name="T114" fmla="*/ 652 w 657"/>
                <a:gd name="T115" fmla="*/ 135 h 265"/>
                <a:gd name="T116" fmla="*/ 631 w 657"/>
                <a:gd name="T117" fmla="*/ 170 h 265"/>
                <a:gd name="T118" fmla="*/ 624 w 657"/>
                <a:gd name="T119" fmla="*/ 198 h 265"/>
                <a:gd name="T120" fmla="*/ 628 w 657"/>
                <a:gd name="T121" fmla="*/ 187 h 265"/>
                <a:gd name="T122" fmla="*/ 654 w 657"/>
                <a:gd name="T123" fmla="*/ 182 h 2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57"/>
                <a:gd name="T187" fmla="*/ 0 h 265"/>
                <a:gd name="T188" fmla="*/ 657 w 657"/>
                <a:gd name="T189" fmla="*/ 265 h 26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57" h="265">
                  <a:moveTo>
                    <a:pt x="12" y="241"/>
                  </a:moveTo>
                  <a:lnTo>
                    <a:pt x="12" y="239"/>
                  </a:lnTo>
                  <a:lnTo>
                    <a:pt x="9" y="227"/>
                  </a:lnTo>
                  <a:lnTo>
                    <a:pt x="9" y="217"/>
                  </a:lnTo>
                  <a:lnTo>
                    <a:pt x="12" y="215"/>
                  </a:lnTo>
                  <a:lnTo>
                    <a:pt x="12" y="210"/>
                  </a:lnTo>
                  <a:lnTo>
                    <a:pt x="9" y="210"/>
                  </a:lnTo>
                  <a:lnTo>
                    <a:pt x="7" y="208"/>
                  </a:lnTo>
                  <a:lnTo>
                    <a:pt x="2" y="201"/>
                  </a:lnTo>
                  <a:lnTo>
                    <a:pt x="2" y="184"/>
                  </a:lnTo>
                  <a:lnTo>
                    <a:pt x="7" y="182"/>
                  </a:lnTo>
                  <a:lnTo>
                    <a:pt x="9" y="182"/>
                  </a:lnTo>
                  <a:lnTo>
                    <a:pt x="12" y="177"/>
                  </a:lnTo>
                  <a:lnTo>
                    <a:pt x="12" y="175"/>
                  </a:lnTo>
                  <a:lnTo>
                    <a:pt x="9" y="175"/>
                  </a:lnTo>
                  <a:lnTo>
                    <a:pt x="9" y="177"/>
                  </a:lnTo>
                  <a:lnTo>
                    <a:pt x="7" y="177"/>
                  </a:lnTo>
                  <a:lnTo>
                    <a:pt x="2" y="175"/>
                  </a:lnTo>
                  <a:lnTo>
                    <a:pt x="0" y="168"/>
                  </a:lnTo>
                  <a:lnTo>
                    <a:pt x="0" y="154"/>
                  </a:lnTo>
                  <a:lnTo>
                    <a:pt x="2" y="151"/>
                  </a:lnTo>
                  <a:lnTo>
                    <a:pt x="2" y="146"/>
                  </a:lnTo>
                  <a:lnTo>
                    <a:pt x="0" y="144"/>
                  </a:lnTo>
                  <a:lnTo>
                    <a:pt x="0" y="137"/>
                  </a:lnTo>
                  <a:lnTo>
                    <a:pt x="7" y="137"/>
                  </a:lnTo>
                  <a:lnTo>
                    <a:pt x="7" y="130"/>
                  </a:lnTo>
                  <a:lnTo>
                    <a:pt x="2" y="130"/>
                  </a:lnTo>
                  <a:lnTo>
                    <a:pt x="2" y="125"/>
                  </a:lnTo>
                  <a:lnTo>
                    <a:pt x="9" y="125"/>
                  </a:lnTo>
                  <a:lnTo>
                    <a:pt x="9" y="120"/>
                  </a:lnTo>
                  <a:lnTo>
                    <a:pt x="7" y="106"/>
                  </a:lnTo>
                  <a:lnTo>
                    <a:pt x="7" y="90"/>
                  </a:lnTo>
                  <a:lnTo>
                    <a:pt x="9" y="80"/>
                  </a:lnTo>
                  <a:lnTo>
                    <a:pt x="9" y="78"/>
                  </a:lnTo>
                  <a:lnTo>
                    <a:pt x="12" y="73"/>
                  </a:lnTo>
                  <a:lnTo>
                    <a:pt x="17" y="64"/>
                  </a:lnTo>
                  <a:lnTo>
                    <a:pt x="19" y="57"/>
                  </a:lnTo>
                  <a:lnTo>
                    <a:pt x="24" y="54"/>
                  </a:lnTo>
                  <a:lnTo>
                    <a:pt x="24" y="50"/>
                  </a:lnTo>
                  <a:lnTo>
                    <a:pt x="31" y="45"/>
                  </a:lnTo>
                  <a:lnTo>
                    <a:pt x="31" y="40"/>
                  </a:lnTo>
                  <a:lnTo>
                    <a:pt x="33" y="40"/>
                  </a:lnTo>
                  <a:lnTo>
                    <a:pt x="33" y="38"/>
                  </a:lnTo>
                  <a:lnTo>
                    <a:pt x="35" y="38"/>
                  </a:lnTo>
                  <a:lnTo>
                    <a:pt x="40" y="31"/>
                  </a:lnTo>
                  <a:lnTo>
                    <a:pt x="43" y="31"/>
                  </a:lnTo>
                  <a:lnTo>
                    <a:pt x="47" y="28"/>
                  </a:lnTo>
                  <a:lnTo>
                    <a:pt x="50" y="24"/>
                  </a:lnTo>
                  <a:lnTo>
                    <a:pt x="59" y="21"/>
                  </a:lnTo>
                  <a:lnTo>
                    <a:pt x="64" y="21"/>
                  </a:lnTo>
                  <a:lnTo>
                    <a:pt x="64" y="17"/>
                  </a:lnTo>
                  <a:lnTo>
                    <a:pt x="90" y="17"/>
                  </a:lnTo>
                  <a:lnTo>
                    <a:pt x="92" y="14"/>
                  </a:lnTo>
                  <a:lnTo>
                    <a:pt x="99" y="14"/>
                  </a:lnTo>
                  <a:lnTo>
                    <a:pt x="104" y="17"/>
                  </a:lnTo>
                  <a:lnTo>
                    <a:pt x="106" y="21"/>
                  </a:lnTo>
                  <a:lnTo>
                    <a:pt x="106" y="28"/>
                  </a:lnTo>
                  <a:lnTo>
                    <a:pt x="99" y="38"/>
                  </a:lnTo>
                  <a:lnTo>
                    <a:pt x="92" y="45"/>
                  </a:lnTo>
                  <a:lnTo>
                    <a:pt x="90" y="50"/>
                  </a:lnTo>
                  <a:lnTo>
                    <a:pt x="90" y="57"/>
                  </a:lnTo>
                  <a:lnTo>
                    <a:pt x="87" y="64"/>
                  </a:lnTo>
                  <a:lnTo>
                    <a:pt x="87" y="71"/>
                  </a:lnTo>
                  <a:lnTo>
                    <a:pt x="83" y="80"/>
                  </a:lnTo>
                  <a:lnTo>
                    <a:pt x="87" y="85"/>
                  </a:lnTo>
                  <a:lnTo>
                    <a:pt x="83" y="87"/>
                  </a:lnTo>
                  <a:lnTo>
                    <a:pt x="83" y="94"/>
                  </a:lnTo>
                  <a:lnTo>
                    <a:pt x="80" y="97"/>
                  </a:lnTo>
                  <a:lnTo>
                    <a:pt x="80" y="118"/>
                  </a:lnTo>
                  <a:lnTo>
                    <a:pt x="83" y="120"/>
                  </a:lnTo>
                  <a:lnTo>
                    <a:pt x="83" y="125"/>
                  </a:lnTo>
                  <a:lnTo>
                    <a:pt x="87" y="125"/>
                  </a:lnTo>
                  <a:lnTo>
                    <a:pt x="90" y="128"/>
                  </a:lnTo>
                  <a:lnTo>
                    <a:pt x="92" y="130"/>
                  </a:lnTo>
                  <a:lnTo>
                    <a:pt x="97" y="130"/>
                  </a:lnTo>
                  <a:lnTo>
                    <a:pt x="97" y="135"/>
                  </a:lnTo>
                  <a:lnTo>
                    <a:pt x="99" y="137"/>
                  </a:lnTo>
                  <a:lnTo>
                    <a:pt x="99" y="144"/>
                  </a:lnTo>
                  <a:lnTo>
                    <a:pt x="97" y="146"/>
                  </a:lnTo>
                  <a:lnTo>
                    <a:pt x="97" y="158"/>
                  </a:lnTo>
                  <a:lnTo>
                    <a:pt x="104" y="170"/>
                  </a:lnTo>
                  <a:lnTo>
                    <a:pt x="104" y="175"/>
                  </a:lnTo>
                  <a:lnTo>
                    <a:pt x="106" y="177"/>
                  </a:lnTo>
                  <a:lnTo>
                    <a:pt x="113" y="187"/>
                  </a:lnTo>
                  <a:lnTo>
                    <a:pt x="116" y="191"/>
                  </a:lnTo>
                  <a:lnTo>
                    <a:pt x="116" y="194"/>
                  </a:lnTo>
                  <a:lnTo>
                    <a:pt x="120" y="194"/>
                  </a:lnTo>
                  <a:lnTo>
                    <a:pt x="123" y="198"/>
                  </a:lnTo>
                  <a:lnTo>
                    <a:pt x="123" y="201"/>
                  </a:lnTo>
                  <a:lnTo>
                    <a:pt x="139" y="210"/>
                  </a:lnTo>
                  <a:lnTo>
                    <a:pt x="144" y="215"/>
                  </a:lnTo>
                  <a:lnTo>
                    <a:pt x="146" y="215"/>
                  </a:lnTo>
                  <a:lnTo>
                    <a:pt x="156" y="217"/>
                  </a:lnTo>
                  <a:lnTo>
                    <a:pt x="161" y="224"/>
                  </a:lnTo>
                  <a:lnTo>
                    <a:pt x="163" y="227"/>
                  </a:lnTo>
                  <a:lnTo>
                    <a:pt x="156" y="227"/>
                  </a:lnTo>
                  <a:lnTo>
                    <a:pt x="154" y="232"/>
                  </a:lnTo>
                  <a:lnTo>
                    <a:pt x="149" y="239"/>
                  </a:lnTo>
                  <a:lnTo>
                    <a:pt x="146" y="241"/>
                  </a:lnTo>
                  <a:lnTo>
                    <a:pt x="132" y="241"/>
                  </a:lnTo>
                  <a:lnTo>
                    <a:pt x="132" y="243"/>
                  </a:lnTo>
                  <a:lnTo>
                    <a:pt x="128" y="250"/>
                  </a:lnTo>
                  <a:lnTo>
                    <a:pt x="128" y="255"/>
                  </a:lnTo>
                  <a:lnTo>
                    <a:pt x="123" y="258"/>
                  </a:lnTo>
                  <a:lnTo>
                    <a:pt x="120" y="258"/>
                  </a:lnTo>
                  <a:lnTo>
                    <a:pt x="116" y="262"/>
                  </a:lnTo>
                  <a:lnTo>
                    <a:pt x="113" y="262"/>
                  </a:lnTo>
                  <a:lnTo>
                    <a:pt x="113" y="265"/>
                  </a:lnTo>
                  <a:lnTo>
                    <a:pt x="109" y="265"/>
                  </a:lnTo>
                  <a:lnTo>
                    <a:pt x="120" y="265"/>
                  </a:lnTo>
                  <a:lnTo>
                    <a:pt x="123" y="262"/>
                  </a:lnTo>
                  <a:lnTo>
                    <a:pt x="128" y="262"/>
                  </a:lnTo>
                  <a:lnTo>
                    <a:pt x="128" y="258"/>
                  </a:lnTo>
                  <a:lnTo>
                    <a:pt x="132" y="250"/>
                  </a:lnTo>
                  <a:lnTo>
                    <a:pt x="137" y="248"/>
                  </a:lnTo>
                  <a:lnTo>
                    <a:pt x="137" y="243"/>
                  </a:lnTo>
                  <a:lnTo>
                    <a:pt x="144" y="243"/>
                  </a:lnTo>
                  <a:lnTo>
                    <a:pt x="146" y="241"/>
                  </a:lnTo>
                  <a:lnTo>
                    <a:pt x="154" y="241"/>
                  </a:lnTo>
                  <a:lnTo>
                    <a:pt x="156" y="239"/>
                  </a:lnTo>
                  <a:lnTo>
                    <a:pt x="168" y="239"/>
                  </a:lnTo>
                  <a:lnTo>
                    <a:pt x="168" y="243"/>
                  </a:lnTo>
                  <a:lnTo>
                    <a:pt x="156" y="243"/>
                  </a:lnTo>
                  <a:lnTo>
                    <a:pt x="161" y="248"/>
                  </a:lnTo>
                  <a:lnTo>
                    <a:pt x="163" y="243"/>
                  </a:lnTo>
                  <a:lnTo>
                    <a:pt x="168" y="250"/>
                  </a:lnTo>
                  <a:lnTo>
                    <a:pt x="168" y="258"/>
                  </a:lnTo>
                  <a:lnTo>
                    <a:pt x="170" y="258"/>
                  </a:lnTo>
                  <a:lnTo>
                    <a:pt x="172" y="250"/>
                  </a:lnTo>
                  <a:lnTo>
                    <a:pt x="170" y="248"/>
                  </a:lnTo>
                  <a:lnTo>
                    <a:pt x="168" y="243"/>
                  </a:lnTo>
                  <a:lnTo>
                    <a:pt x="168" y="234"/>
                  </a:lnTo>
                  <a:lnTo>
                    <a:pt x="163" y="227"/>
                  </a:lnTo>
                  <a:lnTo>
                    <a:pt x="163" y="215"/>
                  </a:lnTo>
                  <a:lnTo>
                    <a:pt x="168" y="210"/>
                  </a:lnTo>
                  <a:lnTo>
                    <a:pt x="168" y="203"/>
                  </a:lnTo>
                  <a:lnTo>
                    <a:pt x="163" y="203"/>
                  </a:lnTo>
                  <a:lnTo>
                    <a:pt x="163" y="201"/>
                  </a:lnTo>
                  <a:lnTo>
                    <a:pt x="161" y="201"/>
                  </a:lnTo>
                  <a:lnTo>
                    <a:pt x="161" y="194"/>
                  </a:lnTo>
                  <a:lnTo>
                    <a:pt x="154" y="194"/>
                  </a:lnTo>
                  <a:lnTo>
                    <a:pt x="154" y="198"/>
                  </a:lnTo>
                  <a:lnTo>
                    <a:pt x="139" y="198"/>
                  </a:lnTo>
                  <a:lnTo>
                    <a:pt x="130" y="187"/>
                  </a:lnTo>
                  <a:lnTo>
                    <a:pt x="132" y="187"/>
                  </a:lnTo>
                  <a:lnTo>
                    <a:pt x="130" y="177"/>
                  </a:lnTo>
                  <a:lnTo>
                    <a:pt x="123" y="177"/>
                  </a:lnTo>
                  <a:lnTo>
                    <a:pt x="120" y="175"/>
                  </a:lnTo>
                  <a:lnTo>
                    <a:pt x="113" y="175"/>
                  </a:lnTo>
                  <a:lnTo>
                    <a:pt x="113" y="170"/>
                  </a:lnTo>
                  <a:lnTo>
                    <a:pt x="120" y="170"/>
                  </a:lnTo>
                  <a:lnTo>
                    <a:pt x="128" y="165"/>
                  </a:lnTo>
                  <a:lnTo>
                    <a:pt x="128" y="154"/>
                  </a:lnTo>
                  <a:lnTo>
                    <a:pt x="123" y="154"/>
                  </a:lnTo>
                  <a:lnTo>
                    <a:pt x="123" y="146"/>
                  </a:lnTo>
                  <a:lnTo>
                    <a:pt x="139" y="146"/>
                  </a:lnTo>
                  <a:lnTo>
                    <a:pt x="144" y="151"/>
                  </a:lnTo>
                  <a:lnTo>
                    <a:pt x="146" y="154"/>
                  </a:lnTo>
                  <a:lnTo>
                    <a:pt x="154" y="154"/>
                  </a:lnTo>
                  <a:lnTo>
                    <a:pt x="161" y="161"/>
                  </a:lnTo>
                  <a:lnTo>
                    <a:pt x="163" y="161"/>
                  </a:lnTo>
                  <a:lnTo>
                    <a:pt x="163" y="168"/>
                  </a:lnTo>
                  <a:lnTo>
                    <a:pt x="168" y="168"/>
                  </a:lnTo>
                  <a:lnTo>
                    <a:pt x="168" y="165"/>
                  </a:lnTo>
                  <a:lnTo>
                    <a:pt x="163" y="161"/>
                  </a:lnTo>
                  <a:lnTo>
                    <a:pt x="163" y="158"/>
                  </a:lnTo>
                  <a:lnTo>
                    <a:pt x="161" y="158"/>
                  </a:lnTo>
                  <a:lnTo>
                    <a:pt x="156" y="154"/>
                  </a:lnTo>
                  <a:lnTo>
                    <a:pt x="154" y="154"/>
                  </a:lnTo>
                  <a:lnTo>
                    <a:pt x="149" y="151"/>
                  </a:lnTo>
                  <a:lnTo>
                    <a:pt x="146" y="151"/>
                  </a:lnTo>
                  <a:lnTo>
                    <a:pt x="146" y="146"/>
                  </a:lnTo>
                  <a:lnTo>
                    <a:pt x="137" y="144"/>
                  </a:lnTo>
                  <a:lnTo>
                    <a:pt x="137" y="142"/>
                  </a:lnTo>
                  <a:lnTo>
                    <a:pt x="139" y="137"/>
                  </a:lnTo>
                  <a:lnTo>
                    <a:pt x="144" y="135"/>
                  </a:lnTo>
                  <a:lnTo>
                    <a:pt x="146" y="135"/>
                  </a:lnTo>
                  <a:lnTo>
                    <a:pt x="149" y="130"/>
                  </a:lnTo>
                  <a:lnTo>
                    <a:pt x="146" y="135"/>
                  </a:lnTo>
                  <a:lnTo>
                    <a:pt x="137" y="135"/>
                  </a:lnTo>
                  <a:lnTo>
                    <a:pt x="137" y="130"/>
                  </a:lnTo>
                  <a:lnTo>
                    <a:pt x="139" y="130"/>
                  </a:lnTo>
                  <a:lnTo>
                    <a:pt x="139" y="128"/>
                  </a:lnTo>
                  <a:lnTo>
                    <a:pt x="137" y="130"/>
                  </a:lnTo>
                  <a:lnTo>
                    <a:pt x="132" y="135"/>
                  </a:lnTo>
                  <a:lnTo>
                    <a:pt x="130" y="137"/>
                  </a:lnTo>
                  <a:lnTo>
                    <a:pt x="123" y="135"/>
                  </a:lnTo>
                  <a:lnTo>
                    <a:pt x="120" y="130"/>
                  </a:lnTo>
                  <a:lnTo>
                    <a:pt x="116" y="130"/>
                  </a:lnTo>
                  <a:lnTo>
                    <a:pt x="113" y="125"/>
                  </a:lnTo>
                  <a:lnTo>
                    <a:pt x="116" y="125"/>
                  </a:lnTo>
                  <a:lnTo>
                    <a:pt x="116" y="120"/>
                  </a:lnTo>
                  <a:lnTo>
                    <a:pt x="109" y="120"/>
                  </a:lnTo>
                  <a:lnTo>
                    <a:pt x="109" y="118"/>
                  </a:lnTo>
                  <a:lnTo>
                    <a:pt x="106" y="106"/>
                  </a:lnTo>
                  <a:lnTo>
                    <a:pt x="104" y="94"/>
                  </a:lnTo>
                  <a:lnTo>
                    <a:pt x="106" y="87"/>
                  </a:lnTo>
                  <a:lnTo>
                    <a:pt x="120" y="87"/>
                  </a:lnTo>
                  <a:lnTo>
                    <a:pt x="123" y="90"/>
                  </a:lnTo>
                  <a:lnTo>
                    <a:pt x="132" y="90"/>
                  </a:lnTo>
                  <a:lnTo>
                    <a:pt x="137" y="94"/>
                  </a:lnTo>
                  <a:lnTo>
                    <a:pt x="144" y="94"/>
                  </a:lnTo>
                  <a:lnTo>
                    <a:pt x="144" y="97"/>
                  </a:lnTo>
                  <a:lnTo>
                    <a:pt x="154" y="97"/>
                  </a:lnTo>
                  <a:lnTo>
                    <a:pt x="149" y="97"/>
                  </a:lnTo>
                  <a:lnTo>
                    <a:pt x="149" y="94"/>
                  </a:lnTo>
                  <a:lnTo>
                    <a:pt x="144" y="94"/>
                  </a:lnTo>
                  <a:lnTo>
                    <a:pt x="139" y="90"/>
                  </a:lnTo>
                  <a:lnTo>
                    <a:pt x="132" y="90"/>
                  </a:lnTo>
                  <a:lnTo>
                    <a:pt x="130" y="87"/>
                  </a:lnTo>
                  <a:lnTo>
                    <a:pt x="128" y="87"/>
                  </a:lnTo>
                  <a:lnTo>
                    <a:pt x="120" y="85"/>
                  </a:lnTo>
                  <a:lnTo>
                    <a:pt x="106" y="85"/>
                  </a:lnTo>
                  <a:lnTo>
                    <a:pt x="106" y="73"/>
                  </a:lnTo>
                  <a:lnTo>
                    <a:pt x="109" y="78"/>
                  </a:lnTo>
                  <a:lnTo>
                    <a:pt x="113" y="78"/>
                  </a:lnTo>
                  <a:lnTo>
                    <a:pt x="113" y="71"/>
                  </a:lnTo>
                  <a:lnTo>
                    <a:pt x="116" y="71"/>
                  </a:lnTo>
                  <a:lnTo>
                    <a:pt x="116" y="73"/>
                  </a:lnTo>
                  <a:lnTo>
                    <a:pt x="154" y="73"/>
                  </a:lnTo>
                  <a:lnTo>
                    <a:pt x="154" y="78"/>
                  </a:lnTo>
                  <a:lnTo>
                    <a:pt x="156" y="78"/>
                  </a:lnTo>
                  <a:lnTo>
                    <a:pt x="154" y="73"/>
                  </a:lnTo>
                  <a:lnTo>
                    <a:pt x="149" y="73"/>
                  </a:lnTo>
                  <a:lnTo>
                    <a:pt x="149" y="71"/>
                  </a:lnTo>
                  <a:lnTo>
                    <a:pt x="146" y="71"/>
                  </a:lnTo>
                  <a:lnTo>
                    <a:pt x="144" y="73"/>
                  </a:lnTo>
                  <a:lnTo>
                    <a:pt x="139" y="71"/>
                  </a:lnTo>
                  <a:lnTo>
                    <a:pt x="123" y="71"/>
                  </a:lnTo>
                  <a:lnTo>
                    <a:pt x="120" y="69"/>
                  </a:lnTo>
                  <a:lnTo>
                    <a:pt x="113" y="69"/>
                  </a:lnTo>
                  <a:lnTo>
                    <a:pt x="109" y="64"/>
                  </a:lnTo>
                  <a:lnTo>
                    <a:pt x="109" y="54"/>
                  </a:lnTo>
                  <a:lnTo>
                    <a:pt x="113" y="54"/>
                  </a:lnTo>
                  <a:lnTo>
                    <a:pt x="116" y="47"/>
                  </a:lnTo>
                  <a:lnTo>
                    <a:pt x="120" y="50"/>
                  </a:lnTo>
                  <a:lnTo>
                    <a:pt x="120" y="54"/>
                  </a:lnTo>
                  <a:lnTo>
                    <a:pt x="123" y="54"/>
                  </a:lnTo>
                  <a:lnTo>
                    <a:pt x="130" y="61"/>
                  </a:lnTo>
                  <a:lnTo>
                    <a:pt x="132" y="61"/>
                  </a:lnTo>
                  <a:lnTo>
                    <a:pt x="130" y="57"/>
                  </a:lnTo>
                  <a:lnTo>
                    <a:pt x="128" y="54"/>
                  </a:lnTo>
                  <a:lnTo>
                    <a:pt x="123" y="54"/>
                  </a:lnTo>
                  <a:lnTo>
                    <a:pt x="120" y="47"/>
                  </a:lnTo>
                  <a:lnTo>
                    <a:pt x="123" y="47"/>
                  </a:lnTo>
                  <a:lnTo>
                    <a:pt x="130" y="40"/>
                  </a:lnTo>
                  <a:lnTo>
                    <a:pt x="130" y="38"/>
                  </a:lnTo>
                  <a:lnTo>
                    <a:pt x="132" y="38"/>
                  </a:lnTo>
                  <a:lnTo>
                    <a:pt x="144" y="40"/>
                  </a:lnTo>
                  <a:lnTo>
                    <a:pt x="144" y="45"/>
                  </a:lnTo>
                  <a:lnTo>
                    <a:pt x="146" y="47"/>
                  </a:lnTo>
                  <a:lnTo>
                    <a:pt x="146" y="50"/>
                  </a:lnTo>
                  <a:lnTo>
                    <a:pt x="149" y="50"/>
                  </a:lnTo>
                  <a:lnTo>
                    <a:pt x="149" y="47"/>
                  </a:lnTo>
                  <a:lnTo>
                    <a:pt x="146" y="40"/>
                  </a:lnTo>
                  <a:lnTo>
                    <a:pt x="146" y="38"/>
                  </a:lnTo>
                  <a:lnTo>
                    <a:pt x="139" y="38"/>
                  </a:lnTo>
                  <a:lnTo>
                    <a:pt x="137" y="33"/>
                  </a:lnTo>
                  <a:lnTo>
                    <a:pt x="132" y="33"/>
                  </a:lnTo>
                  <a:lnTo>
                    <a:pt x="139" y="28"/>
                  </a:lnTo>
                  <a:lnTo>
                    <a:pt x="146" y="21"/>
                  </a:lnTo>
                  <a:lnTo>
                    <a:pt x="149" y="17"/>
                  </a:lnTo>
                  <a:lnTo>
                    <a:pt x="154" y="17"/>
                  </a:lnTo>
                  <a:lnTo>
                    <a:pt x="156" y="14"/>
                  </a:lnTo>
                  <a:lnTo>
                    <a:pt x="156" y="7"/>
                  </a:lnTo>
                  <a:lnTo>
                    <a:pt x="170" y="7"/>
                  </a:lnTo>
                  <a:lnTo>
                    <a:pt x="172" y="5"/>
                  </a:lnTo>
                  <a:lnTo>
                    <a:pt x="180" y="5"/>
                  </a:lnTo>
                  <a:lnTo>
                    <a:pt x="189" y="0"/>
                  </a:lnTo>
                  <a:lnTo>
                    <a:pt x="194" y="5"/>
                  </a:lnTo>
                  <a:lnTo>
                    <a:pt x="201" y="9"/>
                  </a:lnTo>
                  <a:lnTo>
                    <a:pt x="203" y="14"/>
                  </a:lnTo>
                  <a:lnTo>
                    <a:pt x="208" y="21"/>
                  </a:lnTo>
                  <a:lnTo>
                    <a:pt x="210" y="28"/>
                  </a:lnTo>
                  <a:lnTo>
                    <a:pt x="210" y="38"/>
                  </a:lnTo>
                  <a:lnTo>
                    <a:pt x="217" y="38"/>
                  </a:lnTo>
                  <a:lnTo>
                    <a:pt x="220" y="40"/>
                  </a:lnTo>
                  <a:lnTo>
                    <a:pt x="229" y="40"/>
                  </a:lnTo>
                  <a:lnTo>
                    <a:pt x="229" y="45"/>
                  </a:lnTo>
                  <a:lnTo>
                    <a:pt x="234" y="47"/>
                  </a:lnTo>
                  <a:lnTo>
                    <a:pt x="234" y="57"/>
                  </a:lnTo>
                  <a:lnTo>
                    <a:pt x="236" y="61"/>
                  </a:lnTo>
                  <a:lnTo>
                    <a:pt x="241" y="69"/>
                  </a:lnTo>
                  <a:lnTo>
                    <a:pt x="246" y="69"/>
                  </a:lnTo>
                  <a:lnTo>
                    <a:pt x="246" y="71"/>
                  </a:lnTo>
                  <a:lnTo>
                    <a:pt x="250" y="71"/>
                  </a:lnTo>
                  <a:lnTo>
                    <a:pt x="250" y="78"/>
                  </a:lnTo>
                  <a:lnTo>
                    <a:pt x="246" y="80"/>
                  </a:lnTo>
                  <a:lnTo>
                    <a:pt x="246" y="94"/>
                  </a:lnTo>
                  <a:lnTo>
                    <a:pt x="243" y="97"/>
                  </a:lnTo>
                  <a:lnTo>
                    <a:pt x="241" y="104"/>
                  </a:lnTo>
                  <a:lnTo>
                    <a:pt x="241" y="118"/>
                  </a:lnTo>
                  <a:lnTo>
                    <a:pt x="236" y="120"/>
                  </a:lnTo>
                  <a:lnTo>
                    <a:pt x="236" y="125"/>
                  </a:lnTo>
                  <a:lnTo>
                    <a:pt x="236" y="120"/>
                  </a:lnTo>
                  <a:lnTo>
                    <a:pt x="241" y="118"/>
                  </a:lnTo>
                  <a:lnTo>
                    <a:pt x="241" y="111"/>
                  </a:lnTo>
                  <a:lnTo>
                    <a:pt x="243" y="106"/>
                  </a:lnTo>
                  <a:lnTo>
                    <a:pt x="243" y="104"/>
                  </a:lnTo>
                  <a:lnTo>
                    <a:pt x="246" y="102"/>
                  </a:lnTo>
                  <a:lnTo>
                    <a:pt x="246" y="94"/>
                  </a:lnTo>
                  <a:lnTo>
                    <a:pt x="250" y="94"/>
                  </a:lnTo>
                  <a:lnTo>
                    <a:pt x="250" y="97"/>
                  </a:lnTo>
                  <a:lnTo>
                    <a:pt x="253" y="97"/>
                  </a:lnTo>
                  <a:lnTo>
                    <a:pt x="253" y="106"/>
                  </a:lnTo>
                  <a:lnTo>
                    <a:pt x="250" y="106"/>
                  </a:lnTo>
                  <a:lnTo>
                    <a:pt x="250" y="125"/>
                  </a:lnTo>
                  <a:lnTo>
                    <a:pt x="253" y="128"/>
                  </a:lnTo>
                  <a:lnTo>
                    <a:pt x="257" y="128"/>
                  </a:lnTo>
                  <a:lnTo>
                    <a:pt x="260" y="130"/>
                  </a:lnTo>
                  <a:lnTo>
                    <a:pt x="260" y="135"/>
                  </a:lnTo>
                  <a:lnTo>
                    <a:pt x="257" y="135"/>
                  </a:lnTo>
                  <a:lnTo>
                    <a:pt x="257" y="130"/>
                  </a:lnTo>
                  <a:lnTo>
                    <a:pt x="250" y="135"/>
                  </a:lnTo>
                  <a:lnTo>
                    <a:pt x="246" y="137"/>
                  </a:lnTo>
                  <a:lnTo>
                    <a:pt x="253" y="137"/>
                  </a:lnTo>
                  <a:lnTo>
                    <a:pt x="253" y="135"/>
                  </a:lnTo>
                  <a:lnTo>
                    <a:pt x="257" y="137"/>
                  </a:lnTo>
                  <a:lnTo>
                    <a:pt x="257" y="151"/>
                  </a:lnTo>
                  <a:lnTo>
                    <a:pt x="257" y="146"/>
                  </a:lnTo>
                  <a:lnTo>
                    <a:pt x="260" y="144"/>
                  </a:lnTo>
                  <a:lnTo>
                    <a:pt x="260" y="137"/>
                  </a:lnTo>
                  <a:lnTo>
                    <a:pt x="265" y="137"/>
                  </a:lnTo>
                  <a:lnTo>
                    <a:pt x="267" y="135"/>
                  </a:lnTo>
                  <a:lnTo>
                    <a:pt x="267" y="128"/>
                  </a:lnTo>
                  <a:lnTo>
                    <a:pt x="265" y="128"/>
                  </a:lnTo>
                  <a:lnTo>
                    <a:pt x="265" y="125"/>
                  </a:lnTo>
                  <a:lnTo>
                    <a:pt x="260" y="120"/>
                  </a:lnTo>
                  <a:lnTo>
                    <a:pt x="265" y="120"/>
                  </a:lnTo>
                  <a:lnTo>
                    <a:pt x="267" y="118"/>
                  </a:lnTo>
                  <a:lnTo>
                    <a:pt x="265" y="118"/>
                  </a:lnTo>
                  <a:lnTo>
                    <a:pt x="265" y="111"/>
                  </a:lnTo>
                  <a:lnTo>
                    <a:pt x="267" y="111"/>
                  </a:lnTo>
                  <a:lnTo>
                    <a:pt x="267" y="113"/>
                  </a:lnTo>
                  <a:lnTo>
                    <a:pt x="269" y="113"/>
                  </a:lnTo>
                  <a:lnTo>
                    <a:pt x="274" y="118"/>
                  </a:lnTo>
                  <a:lnTo>
                    <a:pt x="274" y="120"/>
                  </a:lnTo>
                  <a:lnTo>
                    <a:pt x="283" y="120"/>
                  </a:lnTo>
                  <a:lnTo>
                    <a:pt x="283" y="118"/>
                  </a:lnTo>
                  <a:lnTo>
                    <a:pt x="274" y="118"/>
                  </a:lnTo>
                  <a:lnTo>
                    <a:pt x="269" y="113"/>
                  </a:lnTo>
                  <a:lnTo>
                    <a:pt x="267" y="106"/>
                  </a:lnTo>
                  <a:lnTo>
                    <a:pt x="265" y="104"/>
                  </a:lnTo>
                  <a:lnTo>
                    <a:pt x="267" y="104"/>
                  </a:lnTo>
                  <a:lnTo>
                    <a:pt x="267" y="94"/>
                  </a:lnTo>
                  <a:lnTo>
                    <a:pt x="269" y="90"/>
                  </a:lnTo>
                  <a:lnTo>
                    <a:pt x="274" y="90"/>
                  </a:lnTo>
                  <a:lnTo>
                    <a:pt x="274" y="97"/>
                  </a:lnTo>
                  <a:lnTo>
                    <a:pt x="276" y="97"/>
                  </a:lnTo>
                  <a:lnTo>
                    <a:pt x="281" y="102"/>
                  </a:lnTo>
                  <a:lnTo>
                    <a:pt x="281" y="106"/>
                  </a:lnTo>
                  <a:lnTo>
                    <a:pt x="276" y="106"/>
                  </a:lnTo>
                  <a:lnTo>
                    <a:pt x="276" y="111"/>
                  </a:lnTo>
                  <a:lnTo>
                    <a:pt x="281" y="113"/>
                  </a:lnTo>
                  <a:lnTo>
                    <a:pt x="283" y="106"/>
                  </a:lnTo>
                  <a:lnTo>
                    <a:pt x="283" y="94"/>
                  </a:lnTo>
                  <a:lnTo>
                    <a:pt x="286" y="97"/>
                  </a:lnTo>
                  <a:lnTo>
                    <a:pt x="293" y="97"/>
                  </a:lnTo>
                  <a:lnTo>
                    <a:pt x="293" y="102"/>
                  </a:lnTo>
                  <a:lnTo>
                    <a:pt x="298" y="104"/>
                  </a:lnTo>
                  <a:lnTo>
                    <a:pt x="300" y="106"/>
                  </a:lnTo>
                  <a:lnTo>
                    <a:pt x="305" y="120"/>
                  </a:lnTo>
                  <a:lnTo>
                    <a:pt x="300" y="128"/>
                  </a:lnTo>
                  <a:lnTo>
                    <a:pt x="300" y="130"/>
                  </a:lnTo>
                  <a:lnTo>
                    <a:pt x="305" y="130"/>
                  </a:lnTo>
                  <a:lnTo>
                    <a:pt x="305" y="128"/>
                  </a:lnTo>
                  <a:lnTo>
                    <a:pt x="307" y="128"/>
                  </a:lnTo>
                  <a:lnTo>
                    <a:pt x="314" y="130"/>
                  </a:lnTo>
                  <a:lnTo>
                    <a:pt x="321" y="130"/>
                  </a:lnTo>
                  <a:lnTo>
                    <a:pt x="321" y="135"/>
                  </a:lnTo>
                  <a:lnTo>
                    <a:pt x="324" y="135"/>
                  </a:lnTo>
                  <a:lnTo>
                    <a:pt x="324" y="130"/>
                  </a:lnTo>
                  <a:lnTo>
                    <a:pt x="321" y="128"/>
                  </a:lnTo>
                  <a:lnTo>
                    <a:pt x="309" y="128"/>
                  </a:lnTo>
                  <a:lnTo>
                    <a:pt x="307" y="125"/>
                  </a:lnTo>
                  <a:lnTo>
                    <a:pt x="305" y="111"/>
                  </a:lnTo>
                  <a:lnTo>
                    <a:pt x="314" y="113"/>
                  </a:lnTo>
                  <a:lnTo>
                    <a:pt x="317" y="113"/>
                  </a:lnTo>
                  <a:lnTo>
                    <a:pt x="321" y="118"/>
                  </a:lnTo>
                  <a:lnTo>
                    <a:pt x="324" y="120"/>
                  </a:lnTo>
                  <a:lnTo>
                    <a:pt x="324" y="128"/>
                  </a:lnTo>
                  <a:lnTo>
                    <a:pt x="326" y="128"/>
                  </a:lnTo>
                  <a:lnTo>
                    <a:pt x="333" y="135"/>
                  </a:lnTo>
                  <a:lnTo>
                    <a:pt x="338" y="135"/>
                  </a:lnTo>
                  <a:lnTo>
                    <a:pt x="340" y="137"/>
                  </a:lnTo>
                  <a:lnTo>
                    <a:pt x="343" y="135"/>
                  </a:lnTo>
                  <a:lnTo>
                    <a:pt x="338" y="135"/>
                  </a:lnTo>
                  <a:lnTo>
                    <a:pt x="333" y="130"/>
                  </a:lnTo>
                  <a:lnTo>
                    <a:pt x="326" y="125"/>
                  </a:lnTo>
                  <a:lnTo>
                    <a:pt x="331" y="120"/>
                  </a:lnTo>
                  <a:lnTo>
                    <a:pt x="338" y="128"/>
                  </a:lnTo>
                  <a:lnTo>
                    <a:pt x="343" y="135"/>
                  </a:lnTo>
                  <a:lnTo>
                    <a:pt x="343" y="130"/>
                  </a:lnTo>
                  <a:lnTo>
                    <a:pt x="338" y="128"/>
                  </a:lnTo>
                  <a:lnTo>
                    <a:pt x="331" y="120"/>
                  </a:lnTo>
                  <a:lnTo>
                    <a:pt x="324" y="120"/>
                  </a:lnTo>
                  <a:lnTo>
                    <a:pt x="324" y="118"/>
                  </a:lnTo>
                  <a:lnTo>
                    <a:pt x="321" y="113"/>
                  </a:lnTo>
                  <a:lnTo>
                    <a:pt x="321" y="111"/>
                  </a:lnTo>
                  <a:lnTo>
                    <a:pt x="309" y="111"/>
                  </a:lnTo>
                  <a:lnTo>
                    <a:pt x="305" y="106"/>
                  </a:lnTo>
                  <a:lnTo>
                    <a:pt x="305" y="94"/>
                  </a:lnTo>
                  <a:lnTo>
                    <a:pt x="307" y="94"/>
                  </a:lnTo>
                  <a:lnTo>
                    <a:pt x="309" y="97"/>
                  </a:lnTo>
                  <a:lnTo>
                    <a:pt x="309" y="102"/>
                  </a:lnTo>
                  <a:lnTo>
                    <a:pt x="317" y="106"/>
                  </a:lnTo>
                  <a:lnTo>
                    <a:pt x="314" y="104"/>
                  </a:lnTo>
                  <a:lnTo>
                    <a:pt x="314" y="102"/>
                  </a:lnTo>
                  <a:lnTo>
                    <a:pt x="309" y="94"/>
                  </a:lnTo>
                  <a:lnTo>
                    <a:pt x="331" y="94"/>
                  </a:lnTo>
                  <a:lnTo>
                    <a:pt x="338" y="97"/>
                  </a:lnTo>
                  <a:lnTo>
                    <a:pt x="354" y="97"/>
                  </a:lnTo>
                  <a:lnTo>
                    <a:pt x="347" y="94"/>
                  </a:lnTo>
                  <a:lnTo>
                    <a:pt x="343" y="94"/>
                  </a:lnTo>
                  <a:lnTo>
                    <a:pt x="343" y="97"/>
                  </a:lnTo>
                  <a:lnTo>
                    <a:pt x="338" y="97"/>
                  </a:lnTo>
                  <a:lnTo>
                    <a:pt x="338" y="94"/>
                  </a:lnTo>
                  <a:lnTo>
                    <a:pt x="326" y="94"/>
                  </a:lnTo>
                  <a:lnTo>
                    <a:pt x="324" y="90"/>
                  </a:lnTo>
                  <a:lnTo>
                    <a:pt x="309" y="90"/>
                  </a:lnTo>
                  <a:lnTo>
                    <a:pt x="307" y="87"/>
                  </a:lnTo>
                  <a:lnTo>
                    <a:pt x="305" y="85"/>
                  </a:lnTo>
                  <a:lnTo>
                    <a:pt x="305" y="73"/>
                  </a:lnTo>
                  <a:lnTo>
                    <a:pt x="307" y="64"/>
                  </a:lnTo>
                  <a:lnTo>
                    <a:pt x="309" y="61"/>
                  </a:lnTo>
                  <a:lnTo>
                    <a:pt x="314" y="57"/>
                  </a:lnTo>
                  <a:lnTo>
                    <a:pt x="317" y="57"/>
                  </a:lnTo>
                  <a:lnTo>
                    <a:pt x="317" y="50"/>
                  </a:lnTo>
                  <a:lnTo>
                    <a:pt x="326" y="50"/>
                  </a:lnTo>
                  <a:lnTo>
                    <a:pt x="333" y="47"/>
                  </a:lnTo>
                  <a:lnTo>
                    <a:pt x="340" y="47"/>
                  </a:lnTo>
                  <a:lnTo>
                    <a:pt x="343" y="50"/>
                  </a:lnTo>
                  <a:lnTo>
                    <a:pt x="347" y="50"/>
                  </a:lnTo>
                  <a:lnTo>
                    <a:pt x="347" y="54"/>
                  </a:lnTo>
                  <a:lnTo>
                    <a:pt x="361" y="54"/>
                  </a:lnTo>
                  <a:lnTo>
                    <a:pt x="364" y="57"/>
                  </a:lnTo>
                  <a:lnTo>
                    <a:pt x="366" y="61"/>
                  </a:lnTo>
                  <a:lnTo>
                    <a:pt x="366" y="57"/>
                  </a:lnTo>
                  <a:lnTo>
                    <a:pt x="364" y="57"/>
                  </a:lnTo>
                  <a:lnTo>
                    <a:pt x="364" y="54"/>
                  </a:lnTo>
                  <a:lnTo>
                    <a:pt x="366" y="50"/>
                  </a:lnTo>
                  <a:lnTo>
                    <a:pt x="390" y="50"/>
                  </a:lnTo>
                  <a:lnTo>
                    <a:pt x="390" y="54"/>
                  </a:lnTo>
                  <a:lnTo>
                    <a:pt x="395" y="57"/>
                  </a:lnTo>
                  <a:lnTo>
                    <a:pt x="395" y="61"/>
                  </a:lnTo>
                  <a:lnTo>
                    <a:pt x="397" y="64"/>
                  </a:lnTo>
                  <a:lnTo>
                    <a:pt x="402" y="64"/>
                  </a:lnTo>
                  <a:lnTo>
                    <a:pt x="402" y="69"/>
                  </a:lnTo>
                  <a:lnTo>
                    <a:pt x="404" y="69"/>
                  </a:lnTo>
                  <a:lnTo>
                    <a:pt x="404" y="78"/>
                  </a:lnTo>
                  <a:lnTo>
                    <a:pt x="402" y="80"/>
                  </a:lnTo>
                  <a:lnTo>
                    <a:pt x="402" y="85"/>
                  </a:lnTo>
                  <a:lnTo>
                    <a:pt x="387" y="85"/>
                  </a:lnTo>
                  <a:lnTo>
                    <a:pt x="387" y="87"/>
                  </a:lnTo>
                  <a:lnTo>
                    <a:pt x="383" y="87"/>
                  </a:lnTo>
                  <a:lnTo>
                    <a:pt x="380" y="94"/>
                  </a:lnTo>
                  <a:lnTo>
                    <a:pt x="380" y="111"/>
                  </a:lnTo>
                  <a:lnTo>
                    <a:pt x="383" y="102"/>
                  </a:lnTo>
                  <a:lnTo>
                    <a:pt x="383" y="94"/>
                  </a:lnTo>
                  <a:lnTo>
                    <a:pt x="387" y="90"/>
                  </a:lnTo>
                  <a:lnTo>
                    <a:pt x="387" y="87"/>
                  </a:lnTo>
                  <a:lnTo>
                    <a:pt x="390" y="87"/>
                  </a:lnTo>
                  <a:lnTo>
                    <a:pt x="395" y="85"/>
                  </a:lnTo>
                  <a:lnTo>
                    <a:pt x="397" y="85"/>
                  </a:lnTo>
                  <a:lnTo>
                    <a:pt x="404" y="87"/>
                  </a:lnTo>
                  <a:lnTo>
                    <a:pt x="404" y="90"/>
                  </a:lnTo>
                  <a:lnTo>
                    <a:pt x="402" y="90"/>
                  </a:lnTo>
                  <a:lnTo>
                    <a:pt x="397" y="94"/>
                  </a:lnTo>
                  <a:lnTo>
                    <a:pt x="397" y="106"/>
                  </a:lnTo>
                  <a:lnTo>
                    <a:pt x="402" y="106"/>
                  </a:lnTo>
                  <a:lnTo>
                    <a:pt x="402" y="120"/>
                  </a:lnTo>
                  <a:lnTo>
                    <a:pt x="397" y="120"/>
                  </a:lnTo>
                  <a:lnTo>
                    <a:pt x="397" y="125"/>
                  </a:lnTo>
                  <a:lnTo>
                    <a:pt x="395" y="125"/>
                  </a:lnTo>
                  <a:lnTo>
                    <a:pt x="402" y="125"/>
                  </a:lnTo>
                  <a:lnTo>
                    <a:pt x="402" y="102"/>
                  </a:lnTo>
                  <a:lnTo>
                    <a:pt x="397" y="97"/>
                  </a:lnTo>
                  <a:lnTo>
                    <a:pt x="397" y="94"/>
                  </a:lnTo>
                  <a:lnTo>
                    <a:pt x="404" y="94"/>
                  </a:lnTo>
                  <a:lnTo>
                    <a:pt x="404" y="90"/>
                  </a:lnTo>
                  <a:lnTo>
                    <a:pt x="406" y="90"/>
                  </a:lnTo>
                  <a:lnTo>
                    <a:pt x="406" y="87"/>
                  </a:lnTo>
                  <a:lnTo>
                    <a:pt x="404" y="85"/>
                  </a:lnTo>
                  <a:lnTo>
                    <a:pt x="406" y="80"/>
                  </a:lnTo>
                  <a:lnTo>
                    <a:pt x="418" y="80"/>
                  </a:lnTo>
                  <a:lnTo>
                    <a:pt x="418" y="78"/>
                  </a:lnTo>
                  <a:lnTo>
                    <a:pt x="430" y="78"/>
                  </a:lnTo>
                  <a:lnTo>
                    <a:pt x="430" y="80"/>
                  </a:lnTo>
                  <a:lnTo>
                    <a:pt x="435" y="85"/>
                  </a:lnTo>
                  <a:lnTo>
                    <a:pt x="437" y="85"/>
                  </a:lnTo>
                  <a:lnTo>
                    <a:pt x="437" y="97"/>
                  </a:lnTo>
                  <a:lnTo>
                    <a:pt x="435" y="102"/>
                  </a:lnTo>
                  <a:lnTo>
                    <a:pt x="430" y="102"/>
                  </a:lnTo>
                  <a:lnTo>
                    <a:pt x="430" y="106"/>
                  </a:lnTo>
                  <a:lnTo>
                    <a:pt x="423" y="113"/>
                  </a:lnTo>
                  <a:lnTo>
                    <a:pt x="418" y="113"/>
                  </a:lnTo>
                  <a:lnTo>
                    <a:pt x="413" y="118"/>
                  </a:lnTo>
                  <a:lnTo>
                    <a:pt x="413" y="120"/>
                  </a:lnTo>
                  <a:lnTo>
                    <a:pt x="418" y="118"/>
                  </a:lnTo>
                  <a:lnTo>
                    <a:pt x="420" y="113"/>
                  </a:lnTo>
                  <a:lnTo>
                    <a:pt x="423" y="113"/>
                  </a:lnTo>
                  <a:lnTo>
                    <a:pt x="423" y="125"/>
                  </a:lnTo>
                  <a:lnTo>
                    <a:pt x="420" y="125"/>
                  </a:lnTo>
                  <a:lnTo>
                    <a:pt x="418" y="135"/>
                  </a:lnTo>
                  <a:lnTo>
                    <a:pt x="423" y="128"/>
                  </a:lnTo>
                  <a:lnTo>
                    <a:pt x="428" y="120"/>
                  </a:lnTo>
                  <a:lnTo>
                    <a:pt x="428" y="113"/>
                  </a:lnTo>
                  <a:lnTo>
                    <a:pt x="430" y="111"/>
                  </a:lnTo>
                  <a:lnTo>
                    <a:pt x="435" y="113"/>
                  </a:lnTo>
                  <a:lnTo>
                    <a:pt x="435" y="125"/>
                  </a:lnTo>
                  <a:lnTo>
                    <a:pt x="430" y="128"/>
                  </a:lnTo>
                  <a:lnTo>
                    <a:pt x="428" y="128"/>
                  </a:lnTo>
                  <a:lnTo>
                    <a:pt x="428" y="135"/>
                  </a:lnTo>
                  <a:lnTo>
                    <a:pt x="428" y="130"/>
                  </a:lnTo>
                  <a:lnTo>
                    <a:pt x="430" y="128"/>
                  </a:lnTo>
                  <a:lnTo>
                    <a:pt x="435" y="128"/>
                  </a:lnTo>
                  <a:lnTo>
                    <a:pt x="439" y="135"/>
                  </a:lnTo>
                  <a:lnTo>
                    <a:pt x="439" y="146"/>
                  </a:lnTo>
                  <a:lnTo>
                    <a:pt x="437" y="154"/>
                  </a:lnTo>
                  <a:lnTo>
                    <a:pt x="439" y="158"/>
                  </a:lnTo>
                  <a:lnTo>
                    <a:pt x="439" y="151"/>
                  </a:lnTo>
                  <a:lnTo>
                    <a:pt x="444" y="137"/>
                  </a:lnTo>
                  <a:lnTo>
                    <a:pt x="444" y="135"/>
                  </a:lnTo>
                  <a:lnTo>
                    <a:pt x="439" y="130"/>
                  </a:lnTo>
                  <a:lnTo>
                    <a:pt x="437" y="130"/>
                  </a:lnTo>
                  <a:lnTo>
                    <a:pt x="437" y="113"/>
                  </a:lnTo>
                  <a:lnTo>
                    <a:pt x="439" y="111"/>
                  </a:lnTo>
                  <a:lnTo>
                    <a:pt x="439" y="104"/>
                  </a:lnTo>
                  <a:lnTo>
                    <a:pt x="444" y="104"/>
                  </a:lnTo>
                  <a:lnTo>
                    <a:pt x="446" y="106"/>
                  </a:lnTo>
                  <a:lnTo>
                    <a:pt x="446" y="111"/>
                  </a:lnTo>
                  <a:lnTo>
                    <a:pt x="444" y="111"/>
                  </a:lnTo>
                  <a:lnTo>
                    <a:pt x="444" y="113"/>
                  </a:lnTo>
                  <a:lnTo>
                    <a:pt x="446" y="113"/>
                  </a:lnTo>
                  <a:lnTo>
                    <a:pt x="446" y="118"/>
                  </a:lnTo>
                  <a:lnTo>
                    <a:pt x="451" y="118"/>
                  </a:lnTo>
                  <a:lnTo>
                    <a:pt x="446" y="111"/>
                  </a:lnTo>
                  <a:lnTo>
                    <a:pt x="446" y="97"/>
                  </a:lnTo>
                  <a:lnTo>
                    <a:pt x="454" y="94"/>
                  </a:lnTo>
                  <a:lnTo>
                    <a:pt x="458" y="94"/>
                  </a:lnTo>
                  <a:lnTo>
                    <a:pt x="458" y="104"/>
                  </a:lnTo>
                  <a:lnTo>
                    <a:pt x="454" y="111"/>
                  </a:lnTo>
                  <a:lnTo>
                    <a:pt x="458" y="118"/>
                  </a:lnTo>
                  <a:lnTo>
                    <a:pt x="458" y="120"/>
                  </a:lnTo>
                  <a:lnTo>
                    <a:pt x="454" y="125"/>
                  </a:lnTo>
                  <a:lnTo>
                    <a:pt x="454" y="128"/>
                  </a:lnTo>
                  <a:lnTo>
                    <a:pt x="451" y="130"/>
                  </a:lnTo>
                  <a:lnTo>
                    <a:pt x="454" y="128"/>
                  </a:lnTo>
                  <a:lnTo>
                    <a:pt x="458" y="128"/>
                  </a:lnTo>
                  <a:lnTo>
                    <a:pt x="458" y="125"/>
                  </a:lnTo>
                  <a:lnTo>
                    <a:pt x="461" y="135"/>
                  </a:lnTo>
                  <a:lnTo>
                    <a:pt x="461" y="146"/>
                  </a:lnTo>
                  <a:lnTo>
                    <a:pt x="461" y="144"/>
                  </a:lnTo>
                  <a:lnTo>
                    <a:pt x="463" y="144"/>
                  </a:lnTo>
                  <a:lnTo>
                    <a:pt x="463" y="137"/>
                  </a:lnTo>
                  <a:lnTo>
                    <a:pt x="461" y="130"/>
                  </a:lnTo>
                  <a:lnTo>
                    <a:pt x="461" y="111"/>
                  </a:lnTo>
                  <a:lnTo>
                    <a:pt x="468" y="111"/>
                  </a:lnTo>
                  <a:lnTo>
                    <a:pt x="468" y="120"/>
                  </a:lnTo>
                  <a:lnTo>
                    <a:pt x="470" y="128"/>
                  </a:lnTo>
                  <a:lnTo>
                    <a:pt x="475" y="128"/>
                  </a:lnTo>
                  <a:lnTo>
                    <a:pt x="475" y="120"/>
                  </a:lnTo>
                  <a:lnTo>
                    <a:pt x="477" y="125"/>
                  </a:lnTo>
                  <a:lnTo>
                    <a:pt x="477" y="128"/>
                  </a:lnTo>
                  <a:lnTo>
                    <a:pt x="475" y="130"/>
                  </a:lnTo>
                  <a:lnTo>
                    <a:pt x="475" y="137"/>
                  </a:lnTo>
                  <a:lnTo>
                    <a:pt x="477" y="144"/>
                  </a:lnTo>
                  <a:lnTo>
                    <a:pt x="477" y="154"/>
                  </a:lnTo>
                  <a:lnTo>
                    <a:pt x="480" y="154"/>
                  </a:lnTo>
                  <a:lnTo>
                    <a:pt x="480" y="146"/>
                  </a:lnTo>
                  <a:lnTo>
                    <a:pt x="477" y="144"/>
                  </a:lnTo>
                  <a:lnTo>
                    <a:pt x="477" y="128"/>
                  </a:lnTo>
                  <a:lnTo>
                    <a:pt x="491" y="128"/>
                  </a:lnTo>
                  <a:lnTo>
                    <a:pt x="491" y="130"/>
                  </a:lnTo>
                  <a:lnTo>
                    <a:pt x="487" y="130"/>
                  </a:lnTo>
                  <a:lnTo>
                    <a:pt x="487" y="137"/>
                  </a:lnTo>
                  <a:lnTo>
                    <a:pt x="491" y="142"/>
                  </a:lnTo>
                  <a:lnTo>
                    <a:pt x="491" y="151"/>
                  </a:lnTo>
                  <a:lnTo>
                    <a:pt x="487" y="151"/>
                  </a:lnTo>
                  <a:lnTo>
                    <a:pt x="494" y="154"/>
                  </a:lnTo>
                  <a:lnTo>
                    <a:pt x="491" y="137"/>
                  </a:lnTo>
                  <a:lnTo>
                    <a:pt x="491" y="130"/>
                  </a:lnTo>
                  <a:lnTo>
                    <a:pt x="494" y="135"/>
                  </a:lnTo>
                  <a:lnTo>
                    <a:pt x="494" y="128"/>
                  </a:lnTo>
                  <a:lnTo>
                    <a:pt x="491" y="125"/>
                  </a:lnTo>
                  <a:lnTo>
                    <a:pt x="491" y="120"/>
                  </a:lnTo>
                  <a:lnTo>
                    <a:pt x="487" y="118"/>
                  </a:lnTo>
                  <a:lnTo>
                    <a:pt x="491" y="113"/>
                  </a:lnTo>
                  <a:lnTo>
                    <a:pt x="491" y="97"/>
                  </a:lnTo>
                  <a:lnTo>
                    <a:pt x="487" y="94"/>
                  </a:lnTo>
                  <a:lnTo>
                    <a:pt x="491" y="90"/>
                  </a:lnTo>
                  <a:lnTo>
                    <a:pt x="491" y="94"/>
                  </a:lnTo>
                  <a:lnTo>
                    <a:pt x="524" y="94"/>
                  </a:lnTo>
                  <a:lnTo>
                    <a:pt x="534" y="102"/>
                  </a:lnTo>
                  <a:lnTo>
                    <a:pt x="534" y="104"/>
                  </a:lnTo>
                  <a:lnTo>
                    <a:pt x="541" y="106"/>
                  </a:lnTo>
                  <a:lnTo>
                    <a:pt x="541" y="128"/>
                  </a:lnTo>
                  <a:lnTo>
                    <a:pt x="539" y="128"/>
                  </a:lnTo>
                  <a:lnTo>
                    <a:pt x="539" y="130"/>
                  </a:lnTo>
                  <a:lnTo>
                    <a:pt x="534" y="128"/>
                  </a:lnTo>
                  <a:lnTo>
                    <a:pt x="527" y="128"/>
                  </a:lnTo>
                  <a:lnTo>
                    <a:pt x="527" y="130"/>
                  </a:lnTo>
                  <a:lnTo>
                    <a:pt x="524" y="135"/>
                  </a:lnTo>
                  <a:lnTo>
                    <a:pt x="524" y="137"/>
                  </a:lnTo>
                  <a:lnTo>
                    <a:pt x="527" y="144"/>
                  </a:lnTo>
                  <a:lnTo>
                    <a:pt x="524" y="144"/>
                  </a:lnTo>
                  <a:lnTo>
                    <a:pt x="524" y="151"/>
                  </a:lnTo>
                  <a:lnTo>
                    <a:pt x="520" y="158"/>
                  </a:lnTo>
                  <a:lnTo>
                    <a:pt x="517" y="161"/>
                  </a:lnTo>
                  <a:lnTo>
                    <a:pt x="520" y="158"/>
                  </a:lnTo>
                  <a:lnTo>
                    <a:pt x="524" y="158"/>
                  </a:lnTo>
                  <a:lnTo>
                    <a:pt x="524" y="154"/>
                  </a:lnTo>
                  <a:lnTo>
                    <a:pt x="532" y="154"/>
                  </a:lnTo>
                  <a:lnTo>
                    <a:pt x="532" y="175"/>
                  </a:lnTo>
                  <a:lnTo>
                    <a:pt x="527" y="175"/>
                  </a:lnTo>
                  <a:lnTo>
                    <a:pt x="532" y="177"/>
                  </a:lnTo>
                  <a:lnTo>
                    <a:pt x="532" y="175"/>
                  </a:lnTo>
                  <a:lnTo>
                    <a:pt x="534" y="170"/>
                  </a:lnTo>
                  <a:lnTo>
                    <a:pt x="534" y="158"/>
                  </a:lnTo>
                  <a:lnTo>
                    <a:pt x="539" y="158"/>
                  </a:lnTo>
                  <a:lnTo>
                    <a:pt x="541" y="154"/>
                  </a:lnTo>
                  <a:lnTo>
                    <a:pt x="541" y="151"/>
                  </a:lnTo>
                  <a:lnTo>
                    <a:pt x="543" y="146"/>
                  </a:lnTo>
                  <a:lnTo>
                    <a:pt x="548" y="144"/>
                  </a:lnTo>
                  <a:lnTo>
                    <a:pt x="550" y="142"/>
                  </a:lnTo>
                  <a:lnTo>
                    <a:pt x="550" y="128"/>
                  </a:lnTo>
                  <a:lnTo>
                    <a:pt x="555" y="118"/>
                  </a:lnTo>
                  <a:lnTo>
                    <a:pt x="565" y="118"/>
                  </a:lnTo>
                  <a:lnTo>
                    <a:pt x="572" y="128"/>
                  </a:lnTo>
                  <a:lnTo>
                    <a:pt x="572" y="137"/>
                  </a:lnTo>
                  <a:lnTo>
                    <a:pt x="574" y="144"/>
                  </a:lnTo>
                  <a:lnTo>
                    <a:pt x="574" y="146"/>
                  </a:lnTo>
                  <a:lnTo>
                    <a:pt x="572" y="151"/>
                  </a:lnTo>
                  <a:lnTo>
                    <a:pt x="567" y="154"/>
                  </a:lnTo>
                  <a:lnTo>
                    <a:pt x="567" y="165"/>
                  </a:lnTo>
                  <a:lnTo>
                    <a:pt x="558" y="165"/>
                  </a:lnTo>
                  <a:lnTo>
                    <a:pt x="558" y="184"/>
                  </a:lnTo>
                  <a:lnTo>
                    <a:pt x="558" y="182"/>
                  </a:lnTo>
                  <a:lnTo>
                    <a:pt x="560" y="184"/>
                  </a:lnTo>
                  <a:lnTo>
                    <a:pt x="560" y="187"/>
                  </a:lnTo>
                  <a:lnTo>
                    <a:pt x="565" y="191"/>
                  </a:lnTo>
                  <a:lnTo>
                    <a:pt x="560" y="194"/>
                  </a:lnTo>
                  <a:lnTo>
                    <a:pt x="565" y="194"/>
                  </a:lnTo>
                  <a:lnTo>
                    <a:pt x="565" y="187"/>
                  </a:lnTo>
                  <a:lnTo>
                    <a:pt x="560" y="182"/>
                  </a:lnTo>
                  <a:lnTo>
                    <a:pt x="560" y="168"/>
                  </a:lnTo>
                  <a:lnTo>
                    <a:pt x="572" y="168"/>
                  </a:lnTo>
                  <a:lnTo>
                    <a:pt x="574" y="182"/>
                  </a:lnTo>
                  <a:lnTo>
                    <a:pt x="574" y="187"/>
                  </a:lnTo>
                  <a:lnTo>
                    <a:pt x="576" y="187"/>
                  </a:lnTo>
                  <a:lnTo>
                    <a:pt x="576" y="191"/>
                  </a:lnTo>
                  <a:lnTo>
                    <a:pt x="581" y="194"/>
                  </a:lnTo>
                  <a:lnTo>
                    <a:pt x="581" y="210"/>
                  </a:lnTo>
                  <a:lnTo>
                    <a:pt x="581" y="187"/>
                  </a:lnTo>
                  <a:lnTo>
                    <a:pt x="576" y="187"/>
                  </a:lnTo>
                  <a:lnTo>
                    <a:pt x="576" y="177"/>
                  </a:lnTo>
                  <a:lnTo>
                    <a:pt x="574" y="170"/>
                  </a:lnTo>
                  <a:lnTo>
                    <a:pt x="574" y="165"/>
                  </a:lnTo>
                  <a:lnTo>
                    <a:pt x="572" y="158"/>
                  </a:lnTo>
                  <a:lnTo>
                    <a:pt x="574" y="154"/>
                  </a:lnTo>
                  <a:lnTo>
                    <a:pt x="576" y="151"/>
                  </a:lnTo>
                  <a:lnTo>
                    <a:pt x="576" y="144"/>
                  </a:lnTo>
                  <a:lnTo>
                    <a:pt x="581" y="137"/>
                  </a:lnTo>
                  <a:lnTo>
                    <a:pt x="583" y="137"/>
                  </a:lnTo>
                  <a:lnTo>
                    <a:pt x="583" y="135"/>
                  </a:lnTo>
                  <a:lnTo>
                    <a:pt x="588" y="130"/>
                  </a:lnTo>
                  <a:lnTo>
                    <a:pt x="591" y="128"/>
                  </a:lnTo>
                  <a:lnTo>
                    <a:pt x="591" y="125"/>
                  </a:lnTo>
                  <a:lnTo>
                    <a:pt x="595" y="125"/>
                  </a:lnTo>
                  <a:lnTo>
                    <a:pt x="598" y="128"/>
                  </a:lnTo>
                  <a:lnTo>
                    <a:pt x="598" y="135"/>
                  </a:lnTo>
                  <a:lnTo>
                    <a:pt x="595" y="135"/>
                  </a:lnTo>
                  <a:lnTo>
                    <a:pt x="595" y="144"/>
                  </a:lnTo>
                  <a:lnTo>
                    <a:pt x="591" y="146"/>
                  </a:lnTo>
                  <a:lnTo>
                    <a:pt x="588" y="146"/>
                  </a:lnTo>
                  <a:lnTo>
                    <a:pt x="588" y="154"/>
                  </a:lnTo>
                  <a:lnTo>
                    <a:pt x="591" y="158"/>
                  </a:lnTo>
                  <a:lnTo>
                    <a:pt x="591" y="165"/>
                  </a:lnTo>
                  <a:lnTo>
                    <a:pt x="595" y="165"/>
                  </a:lnTo>
                  <a:lnTo>
                    <a:pt x="595" y="158"/>
                  </a:lnTo>
                  <a:lnTo>
                    <a:pt x="591" y="154"/>
                  </a:lnTo>
                  <a:lnTo>
                    <a:pt x="591" y="151"/>
                  </a:lnTo>
                  <a:lnTo>
                    <a:pt x="595" y="146"/>
                  </a:lnTo>
                  <a:lnTo>
                    <a:pt x="598" y="146"/>
                  </a:lnTo>
                  <a:lnTo>
                    <a:pt x="598" y="144"/>
                  </a:lnTo>
                  <a:lnTo>
                    <a:pt x="600" y="142"/>
                  </a:lnTo>
                  <a:lnTo>
                    <a:pt x="600" y="137"/>
                  </a:lnTo>
                  <a:lnTo>
                    <a:pt x="605" y="135"/>
                  </a:lnTo>
                  <a:lnTo>
                    <a:pt x="605" y="128"/>
                  </a:lnTo>
                  <a:lnTo>
                    <a:pt x="607" y="128"/>
                  </a:lnTo>
                  <a:lnTo>
                    <a:pt x="612" y="125"/>
                  </a:lnTo>
                  <a:lnTo>
                    <a:pt x="614" y="125"/>
                  </a:lnTo>
                  <a:lnTo>
                    <a:pt x="617" y="128"/>
                  </a:lnTo>
                  <a:lnTo>
                    <a:pt x="645" y="128"/>
                  </a:lnTo>
                  <a:lnTo>
                    <a:pt x="647" y="130"/>
                  </a:lnTo>
                  <a:lnTo>
                    <a:pt x="652" y="135"/>
                  </a:lnTo>
                  <a:lnTo>
                    <a:pt x="652" y="146"/>
                  </a:lnTo>
                  <a:lnTo>
                    <a:pt x="647" y="144"/>
                  </a:lnTo>
                  <a:lnTo>
                    <a:pt x="645" y="144"/>
                  </a:lnTo>
                  <a:lnTo>
                    <a:pt x="645" y="142"/>
                  </a:lnTo>
                  <a:lnTo>
                    <a:pt x="645" y="146"/>
                  </a:lnTo>
                  <a:lnTo>
                    <a:pt x="647" y="151"/>
                  </a:lnTo>
                  <a:lnTo>
                    <a:pt x="647" y="154"/>
                  </a:lnTo>
                  <a:lnTo>
                    <a:pt x="645" y="154"/>
                  </a:lnTo>
                  <a:lnTo>
                    <a:pt x="640" y="158"/>
                  </a:lnTo>
                  <a:lnTo>
                    <a:pt x="638" y="161"/>
                  </a:lnTo>
                  <a:lnTo>
                    <a:pt x="635" y="165"/>
                  </a:lnTo>
                  <a:lnTo>
                    <a:pt x="631" y="170"/>
                  </a:lnTo>
                  <a:lnTo>
                    <a:pt x="628" y="175"/>
                  </a:lnTo>
                  <a:lnTo>
                    <a:pt x="624" y="175"/>
                  </a:lnTo>
                  <a:lnTo>
                    <a:pt x="624" y="187"/>
                  </a:lnTo>
                  <a:lnTo>
                    <a:pt x="621" y="187"/>
                  </a:lnTo>
                  <a:lnTo>
                    <a:pt x="621" y="191"/>
                  </a:lnTo>
                  <a:lnTo>
                    <a:pt x="617" y="194"/>
                  </a:lnTo>
                  <a:lnTo>
                    <a:pt x="621" y="194"/>
                  </a:lnTo>
                  <a:lnTo>
                    <a:pt x="621" y="191"/>
                  </a:lnTo>
                  <a:lnTo>
                    <a:pt x="628" y="191"/>
                  </a:lnTo>
                  <a:lnTo>
                    <a:pt x="631" y="194"/>
                  </a:lnTo>
                  <a:lnTo>
                    <a:pt x="624" y="194"/>
                  </a:lnTo>
                  <a:lnTo>
                    <a:pt x="624" y="198"/>
                  </a:lnTo>
                  <a:lnTo>
                    <a:pt x="621" y="201"/>
                  </a:lnTo>
                  <a:lnTo>
                    <a:pt x="621" y="210"/>
                  </a:lnTo>
                  <a:lnTo>
                    <a:pt x="617" y="210"/>
                  </a:lnTo>
                  <a:lnTo>
                    <a:pt x="617" y="215"/>
                  </a:lnTo>
                  <a:lnTo>
                    <a:pt x="621" y="215"/>
                  </a:lnTo>
                  <a:lnTo>
                    <a:pt x="621" y="210"/>
                  </a:lnTo>
                  <a:lnTo>
                    <a:pt x="624" y="208"/>
                  </a:lnTo>
                  <a:lnTo>
                    <a:pt x="624" y="198"/>
                  </a:lnTo>
                  <a:lnTo>
                    <a:pt x="631" y="198"/>
                  </a:lnTo>
                  <a:lnTo>
                    <a:pt x="635" y="194"/>
                  </a:lnTo>
                  <a:lnTo>
                    <a:pt x="631" y="191"/>
                  </a:lnTo>
                  <a:lnTo>
                    <a:pt x="628" y="187"/>
                  </a:lnTo>
                  <a:lnTo>
                    <a:pt x="628" y="177"/>
                  </a:lnTo>
                  <a:lnTo>
                    <a:pt x="635" y="175"/>
                  </a:lnTo>
                  <a:lnTo>
                    <a:pt x="638" y="170"/>
                  </a:lnTo>
                  <a:lnTo>
                    <a:pt x="640" y="170"/>
                  </a:lnTo>
                  <a:lnTo>
                    <a:pt x="645" y="168"/>
                  </a:lnTo>
                  <a:lnTo>
                    <a:pt x="647" y="168"/>
                  </a:lnTo>
                  <a:lnTo>
                    <a:pt x="647" y="165"/>
                  </a:lnTo>
                  <a:lnTo>
                    <a:pt x="652" y="161"/>
                  </a:lnTo>
                  <a:lnTo>
                    <a:pt x="654" y="165"/>
                  </a:lnTo>
                  <a:lnTo>
                    <a:pt x="657" y="175"/>
                  </a:lnTo>
                  <a:lnTo>
                    <a:pt x="657" y="177"/>
                  </a:lnTo>
                  <a:lnTo>
                    <a:pt x="654" y="182"/>
                  </a:lnTo>
                  <a:lnTo>
                    <a:pt x="652" y="184"/>
                  </a:lnTo>
                  <a:lnTo>
                    <a:pt x="652" y="187"/>
                  </a:lnTo>
                  <a:lnTo>
                    <a:pt x="647" y="194"/>
                  </a:lnTo>
                  <a:lnTo>
                    <a:pt x="652" y="198"/>
                  </a:lnTo>
                  <a:lnTo>
                    <a:pt x="652" y="201"/>
                  </a:lnTo>
                  <a:lnTo>
                    <a:pt x="647" y="201"/>
                  </a:lnTo>
                  <a:lnTo>
                    <a:pt x="647" y="203"/>
                  </a:lnTo>
                  <a:lnTo>
                    <a:pt x="638" y="203"/>
                  </a:lnTo>
                  <a:lnTo>
                    <a:pt x="638" y="22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7" name="Freeform 406">
              <a:extLst>
                <a:ext uri="{FF2B5EF4-FFF2-40B4-BE49-F238E27FC236}">
                  <a16:creationId xmlns:a16="http://schemas.microsoft.com/office/drawing/2014/main" id="{BE3CFE53-39F3-40E1-B2B5-7B5B611997C5}"/>
                </a:ext>
              </a:extLst>
            </p:cNvPr>
            <p:cNvSpPr>
              <a:spLocks/>
            </p:cNvSpPr>
            <p:nvPr/>
          </p:nvSpPr>
          <p:spPr bwMode="gray">
            <a:xfrm rot="47099">
              <a:off x="1603686" y="2005032"/>
              <a:ext cx="509431" cy="259540"/>
            </a:xfrm>
            <a:custGeom>
              <a:avLst/>
              <a:gdLst>
                <a:gd name="T0" fmla="*/ 1091 w 1096"/>
                <a:gd name="T1" fmla="*/ 475 h 557"/>
                <a:gd name="T2" fmla="*/ 1044 w 1096"/>
                <a:gd name="T3" fmla="*/ 458 h 557"/>
                <a:gd name="T4" fmla="*/ 1011 w 1096"/>
                <a:gd name="T5" fmla="*/ 444 h 557"/>
                <a:gd name="T6" fmla="*/ 1006 w 1096"/>
                <a:gd name="T7" fmla="*/ 451 h 557"/>
                <a:gd name="T8" fmla="*/ 971 w 1096"/>
                <a:gd name="T9" fmla="*/ 444 h 557"/>
                <a:gd name="T10" fmla="*/ 947 w 1096"/>
                <a:gd name="T11" fmla="*/ 449 h 557"/>
                <a:gd name="T12" fmla="*/ 935 w 1096"/>
                <a:gd name="T13" fmla="*/ 465 h 557"/>
                <a:gd name="T14" fmla="*/ 980 w 1096"/>
                <a:gd name="T15" fmla="*/ 484 h 557"/>
                <a:gd name="T16" fmla="*/ 1027 w 1096"/>
                <a:gd name="T17" fmla="*/ 498 h 557"/>
                <a:gd name="T18" fmla="*/ 1068 w 1096"/>
                <a:gd name="T19" fmla="*/ 513 h 557"/>
                <a:gd name="T20" fmla="*/ 1068 w 1096"/>
                <a:gd name="T21" fmla="*/ 553 h 557"/>
                <a:gd name="T22" fmla="*/ 994 w 1096"/>
                <a:gd name="T23" fmla="*/ 557 h 557"/>
                <a:gd name="T24" fmla="*/ 926 w 1096"/>
                <a:gd name="T25" fmla="*/ 534 h 557"/>
                <a:gd name="T26" fmla="*/ 857 w 1096"/>
                <a:gd name="T27" fmla="*/ 539 h 557"/>
                <a:gd name="T28" fmla="*/ 820 w 1096"/>
                <a:gd name="T29" fmla="*/ 524 h 557"/>
                <a:gd name="T30" fmla="*/ 827 w 1096"/>
                <a:gd name="T31" fmla="*/ 498 h 557"/>
                <a:gd name="T32" fmla="*/ 796 w 1096"/>
                <a:gd name="T33" fmla="*/ 489 h 557"/>
                <a:gd name="T34" fmla="*/ 782 w 1096"/>
                <a:gd name="T35" fmla="*/ 482 h 557"/>
                <a:gd name="T36" fmla="*/ 749 w 1096"/>
                <a:gd name="T37" fmla="*/ 482 h 557"/>
                <a:gd name="T38" fmla="*/ 720 w 1096"/>
                <a:gd name="T39" fmla="*/ 442 h 557"/>
                <a:gd name="T40" fmla="*/ 701 w 1096"/>
                <a:gd name="T41" fmla="*/ 461 h 557"/>
                <a:gd name="T42" fmla="*/ 680 w 1096"/>
                <a:gd name="T43" fmla="*/ 458 h 557"/>
                <a:gd name="T44" fmla="*/ 652 w 1096"/>
                <a:gd name="T45" fmla="*/ 449 h 557"/>
                <a:gd name="T46" fmla="*/ 652 w 1096"/>
                <a:gd name="T47" fmla="*/ 477 h 557"/>
                <a:gd name="T48" fmla="*/ 633 w 1096"/>
                <a:gd name="T49" fmla="*/ 496 h 557"/>
                <a:gd name="T50" fmla="*/ 588 w 1096"/>
                <a:gd name="T51" fmla="*/ 515 h 557"/>
                <a:gd name="T52" fmla="*/ 538 w 1096"/>
                <a:gd name="T53" fmla="*/ 477 h 557"/>
                <a:gd name="T54" fmla="*/ 548 w 1096"/>
                <a:gd name="T55" fmla="*/ 425 h 557"/>
                <a:gd name="T56" fmla="*/ 626 w 1096"/>
                <a:gd name="T57" fmla="*/ 427 h 557"/>
                <a:gd name="T58" fmla="*/ 635 w 1096"/>
                <a:gd name="T59" fmla="*/ 449 h 557"/>
                <a:gd name="T60" fmla="*/ 628 w 1096"/>
                <a:gd name="T61" fmla="*/ 432 h 557"/>
                <a:gd name="T62" fmla="*/ 649 w 1096"/>
                <a:gd name="T63" fmla="*/ 399 h 557"/>
                <a:gd name="T64" fmla="*/ 668 w 1096"/>
                <a:gd name="T65" fmla="*/ 359 h 557"/>
                <a:gd name="T66" fmla="*/ 623 w 1096"/>
                <a:gd name="T67" fmla="*/ 324 h 557"/>
                <a:gd name="T68" fmla="*/ 649 w 1096"/>
                <a:gd name="T69" fmla="*/ 243 h 557"/>
                <a:gd name="T70" fmla="*/ 635 w 1096"/>
                <a:gd name="T71" fmla="*/ 184 h 557"/>
                <a:gd name="T72" fmla="*/ 595 w 1096"/>
                <a:gd name="T73" fmla="*/ 142 h 557"/>
                <a:gd name="T74" fmla="*/ 560 w 1096"/>
                <a:gd name="T75" fmla="*/ 135 h 557"/>
                <a:gd name="T76" fmla="*/ 531 w 1096"/>
                <a:gd name="T77" fmla="*/ 127 h 557"/>
                <a:gd name="T78" fmla="*/ 515 w 1096"/>
                <a:gd name="T79" fmla="*/ 104 h 557"/>
                <a:gd name="T80" fmla="*/ 489 w 1096"/>
                <a:gd name="T81" fmla="*/ 106 h 557"/>
                <a:gd name="T82" fmla="*/ 465 w 1096"/>
                <a:gd name="T83" fmla="*/ 135 h 557"/>
                <a:gd name="T84" fmla="*/ 482 w 1096"/>
                <a:gd name="T85" fmla="*/ 87 h 557"/>
                <a:gd name="T86" fmla="*/ 449 w 1096"/>
                <a:gd name="T87" fmla="*/ 57 h 557"/>
                <a:gd name="T88" fmla="*/ 425 w 1096"/>
                <a:gd name="T89" fmla="*/ 64 h 557"/>
                <a:gd name="T90" fmla="*/ 406 w 1096"/>
                <a:gd name="T91" fmla="*/ 54 h 557"/>
                <a:gd name="T92" fmla="*/ 378 w 1096"/>
                <a:gd name="T93" fmla="*/ 28 h 557"/>
                <a:gd name="T94" fmla="*/ 338 w 1096"/>
                <a:gd name="T95" fmla="*/ 21 h 557"/>
                <a:gd name="T96" fmla="*/ 331 w 1096"/>
                <a:gd name="T97" fmla="*/ 21 h 557"/>
                <a:gd name="T98" fmla="*/ 366 w 1096"/>
                <a:gd name="T99" fmla="*/ 54 h 557"/>
                <a:gd name="T100" fmla="*/ 314 w 1096"/>
                <a:gd name="T101" fmla="*/ 71 h 557"/>
                <a:gd name="T102" fmla="*/ 295 w 1096"/>
                <a:gd name="T103" fmla="*/ 85 h 557"/>
                <a:gd name="T104" fmla="*/ 274 w 1096"/>
                <a:gd name="T105" fmla="*/ 85 h 557"/>
                <a:gd name="T106" fmla="*/ 245 w 1096"/>
                <a:gd name="T107" fmla="*/ 73 h 557"/>
                <a:gd name="T108" fmla="*/ 234 w 1096"/>
                <a:gd name="T109" fmla="*/ 90 h 557"/>
                <a:gd name="T110" fmla="*/ 144 w 1096"/>
                <a:gd name="T111" fmla="*/ 101 h 557"/>
                <a:gd name="T112" fmla="*/ 118 w 1096"/>
                <a:gd name="T113" fmla="*/ 80 h 557"/>
                <a:gd name="T114" fmla="*/ 118 w 1096"/>
                <a:gd name="T115" fmla="*/ 87 h 557"/>
                <a:gd name="T116" fmla="*/ 85 w 1096"/>
                <a:gd name="T117" fmla="*/ 101 h 557"/>
                <a:gd name="T118" fmla="*/ 45 w 1096"/>
                <a:gd name="T119" fmla="*/ 78 h 557"/>
                <a:gd name="T120" fmla="*/ 28 w 1096"/>
                <a:gd name="T121" fmla="*/ 45 h 557"/>
                <a:gd name="T122" fmla="*/ 85 w 1096"/>
                <a:gd name="T123" fmla="*/ 38 h 557"/>
                <a:gd name="T124" fmla="*/ 59 w 1096"/>
                <a:gd name="T125" fmla="*/ 16 h 5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6"/>
                <a:gd name="T190" fmla="*/ 0 h 557"/>
                <a:gd name="T191" fmla="*/ 1096 w 1096"/>
                <a:gd name="T192" fmla="*/ 557 h 55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6" h="557">
                  <a:moveTo>
                    <a:pt x="1094" y="444"/>
                  </a:moveTo>
                  <a:lnTo>
                    <a:pt x="1072" y="444"/>
                  </a:lnTo>
                  <a:lnTo>
                    <a:pt x="1070" y="442"/>
                  </a:lnTo>
                  <a:lnTo>
                    <a:pt x="1070" y="444"/>
                  </a:lnTo>
                  <a:lnTo>
                    <a:pt x="1077" y="449"/>
                  </a:lnTo>
                  <a:lnTo>
                    <a:pt x="1079" y="451"/>
                  </a:lnTo>
                  <a:lnTo>
                    <a:pt x="1084" y="451"/>
                  </a:lnTo>
                  <a:lnTo>
                    <a:pt x="1094" y="458"/>
                  </a:lnTo>
                  <a:lnTo>
                    <a:pt x="1096" y="461"/>
                  </a:lnTo>
                  <a:lnTo>
                    <a:pt x="1096" y="472"/>
                  </a:lnTo>
                  <a:lnTo>
                    <a:pt x="1094" y="472"/>
                  </a:lnTo>
                  <a:lnTo>
                    <a:pt x="1094" y="475"/>
                  </a:lnTo>
                  <a:lnTo>
                    <a:pt x="1091" y="475"/>
                  </a:lnTo>
                  <a:lnTo>
                    <a:pt x="1084" y="468"/>
                  </a:lnTo>
                  <a:lnTo>
                    <a:pt x="1084" y="465"/>
                  </a:lnTo>
                  <a:lnTo>
                    <a:pt x="1079" y="468"/>
                  </a:lnTo>
                  <a:lnTo>
                    <a:pt x="1084" y="468"/>
                  </a:lnTo>
                  <a:lnTo>
                    <a:pt x="1079" y="468"/>
                  </a:lnTo>
                  <a:lnTo>
                    <a:pt x="1072" y="456"/>
                  </a:lnTo>
                  <a:lnTo>
                    <a:pt x="1072" y="458"/>
                  </a:lnTo>
                  <a:lnTo>
                    <a:pt x="1068" y="461"/>
                  </a:lnTo>
                  <a:lnTo>
                    <a:pt x="1056" y="458"/>
                  </a:lnTo>
                  <a:lnTo>
                    <a:pt x="1046" y="458"/>
                  </a:lnTo>
                  <a:lnTo>
                    <a:pt x="1046" y="449"/>
                  </a:lnTo>
                  <a:lnTo>
                    <a:pt x="1046" y="456"/>
                  </a:lnTo>
                  <a:lnTo>
                    <a:pt x="1044" y="458"/>
                  </a:lnTo>
                  <a:lnTo>
                    <a:pt x="1044" y="456"/>
                  </a:lnTo>
                  <a:lnTo>
                    <a:pt x="1037" y="451"/>
                  </a:lnTo>
                  <a:lnTo>
                    <a:pt x="1032" y="451"/>
                  </a:lnTo>
                  <a:lnTo>
                    <a:pt x="1027" y="449"/>
                  </a:lnTo>
                  <a:lnTo>
                    <a:pt x="1027" y="451"/>
                  </a:lnTo>
                  <a:lnTo>
                    <a:pt x="1032" y="456"/>
                  </a:lnTo>
                  <a:lnTo>
                    <a:pt x="1037" y="456"/>
                  </a:lnTo>
                  <a:lnTo>
                    <a:pt x="1039" y="458"/>
                  </a:lnTo>
                  <a:lnTo>
                    <a:pt x="1044" y="461"/>
                  </a:lnTo>
                  <a:lnTo>
                    <a:pt x="1027" y="461"/>
                  </a:lnTo>
                  <a:lnTo>
                    <a:pt x="1023" y="458"/>
                  </a:lnTo>
                  <a:lnTo>
                    <a:pt x="1016" y="451"/>
                  </a:lnTo>
                  <a:lnTo>
                    <a:pt x="1011" y="444"/>
                  </a:lnTo>
                  <a:lnTo>
                    <a:pt x="1006" y="442"/>
                  </a:lnTo>
                  <a:lnTo>
                    <a:pt x="1006" y="437"/>
                  </a:lnTo>
                  <a:lnTo>
                    <a:pt x="1004" y="437"/>
                  </a:lnTo>
                  <a:lnTo>
                    <a:pt x="1004" y="444"/>
                  </a:lnTo>
                  <a:lnTo>
                    <a:pt x="1006" y="444"/>
                  </a:lnTo>
                  <a:lnTo>
                    <a:pt x="1011" y="449"/>
                  </a:lnTo>
                  <a:lnTo>
                    <a:pt x="1013" y="449"/>
                  </a:lnTo>
                  <a:lnTo>
                    <a:pt x="1020" y="458"/>
                  </a:lnTo>
                  <a:lnTo>
                    <a:pt x="1023" y="465"/>
                  </a:lnTo>
                  <a:lnTo>
                    <a:pt x="1020" y="465"/>
                  </a:lnTo>
                  <a:lnTo>
                    <a:pt x="1013" y="461"/>
                  </a:lnTo>
                  <a:lnTo>
                    <a:pt x="1011" y="458"/>
                  </a:lnTo>
                  <a:lnTo>
                    <a:pt x="1006" y="451"/>
                  </a:lnTo>
                  <a:lnTo>
                    <a:pt x="1004" y="449"/>
                  </a:lnTo>
                  <a:lnTo>
                    <a:pt x="1004" y="451"/>
                  </a:lnTo>
                  <a:lnTo>
                    <a:pt x="1006" y="456"/>
                  </a:lnTo>
                  <a:lnTo>
                    <a:pt x="1006" y="458"/>
                  </a:lnTo>
                  <a:lnTo>
                    <a:pt x="997" y="451"/>
                  </a:lnTo>
                  <a:lnTo>
                    <a:pt x="990" y="442"/>
                  </a:lnTo>
                  <a:lnTo>
                    <a:pt x="994" y="449"/>
                  </a:lnTo>
                  <a:lnTo>
                    <a:pt x="997" y="451"/>
                  </a:lnTo>
                  <a:lnTo>
                    <a:pt x="994" y="451"/>
                  </a:lnTo>
                  <a:lnTo>
                    <a:pt x="990" y="456"/>
                  </a:lnTo>
                  <a:lnTo>
                    <a:pt x="987" y="456"/>
                  </a:lnTo>
                  <a:lnTo>
                    <a:pt x="973" y="449"/>
                  </a:lnTo>
                  <a:lnTo>
                    <a:pt x="971" y="444"/>
                  </a:lnTo>
                  <a:lnTo>
                    <a:pt x="964" y="437"/>
                  </a:lnTo>
                  <a:lnTo>
                    <a:pt x="957" y="435"/>
                  </a:lnTo>
                  <a:lnTo>
                    <a:pt x="947" y="427"/>
                  </a:lnTo>
                  <a:lnTo>
                    <a:pt x="942" y="427"/>
                  </a:lnTo>
                  <a:lnTo>
                    <a:pt x="954" y="437"/>
                  </a:lnTo>
                  <a:lnTo>
                    <a:pt x="964" y="449"/>
                  </a:lnTo>
                  <a:lnTo>
                    <a:pt x="966" y="451"/>
                  </a:lnTo>
                  <a:lnTo>
                    <a:pt x="966" y="456"/>
                  </a:lnTo>
                  <a:lnTo>
                    <a:pt x="959" y="456"/>
                  </a:lnTo>
                  <a:lnTo>
                    <a:pt x="959" y="451"/>
                  </a:lnTo>
                  <a:lnTo>
                    <a:pt x="957" y="451"/>
                  </a:lnTo>
                  <a:lnTo>
                    <a:pt x="954" y="449"/>
                  </a:lnTo>
                  <a:lnTo>
                    <a:pt x="947" y="449"/>
                  </a:lnTo>
                  <a:lnTo>
                    <a:pt x="933" y="444"/>
                  </a:lnTo>
                  <a:lnTo>
                    <a:pt x="931" y="444"/>
                  </a:lnTo>
                  <a:lnTo>
                    <a:pt x="926" y="442"/>
                  </a:lnTo>
                  <a:lnTo>
                    <a:pt x="916" y="442"/>
                  </a:lnTo>
                  <a:lnTo>
                    <a:pt x="914" y="444"/>
                  </a:lnTo>
                  <a:lnTo>
                    <a:pt x="907" y="444"/>
                  </a:lnTo>
                  <a:lnTo>
                    <a:pt x="909" y="449"/>
                  </a:lnTo>
                  <a:lnTo>
                    <a:pt x="916" y="451"/>
                  </a:lnTo>
                  <a:lnTo>
                    <a:pt x="919" y="456"/>
                  </a:lnTo>
                  <a:lnTo>
                    <a:pt x="919" y="458"/>
                  </a:lnTo>
                  <a:lnTo>
                    <a:pt x="923" y="458"/>
                  </a:lnTo>
                  <a:lnTo>
                    <a:pt x="933" y="461"/>
                  </a:lnTo>
                  <a:lnTo>
                    <a:pt x="935" y="465"/>
                  </a:lnTo>
                  <a:lnTo>
                    <a:pt x="942" y="468"/>
                  </a:lnTo>
                  <a:lnTo>
                    <a:pt x="949" y="472"/>
                  </a:lnTo>
                  <a:lnTo>
                    <a:pt x="957" y="475"/>
                  </a:lnTo>
                  <a:lnTo>
                    <a:pt x="957" y="477"/>
                  </a:lnTo>
                  <a:lnTo>
                    <a:pt x="959" y="482"/>
                  </a:lnTo>
                  <a:lnTo>
                    <a:pt x="959" y="477"/>
                  </a:lnTo>
                  <a:lnTo>
                    <a:pt x="971" y="477"/>
                  </a:lnTo>
                  <a:lnTo>
                    <a:pt x="971" y="482"/>
                  </a:lnTo>
                  <a:lnTo>
                    <a:pt x="980" y="475"/>
                  </a:lnTo>
                  <a:lnTo>
                    <a:pt x="983" y="475"/>
                  </a:lnTo>
                  <a:lnTo>
                    <a:pt x="983" y="477"/>
                  </a:lnTo>
                  <a:lnTo>
                    <a:pt x="980" y="477"/>
                  </a:lnTo>
                  <a:lnTo>
                    <a:pt x="980" y="484"/>
                  </a:lnTo>
                  <a:lnTo>
                    <a:pt x="983" y="489"/>
                  </a:lnTo>
                  <a:lnTo>
                    <a:pt x="983" y="482"/>
                  </a:lnTo>
                  <a:lnTo>
                    <a:pt x="987" y="477"/>
                  </a:lnTo>
                  <a:lnTo>
                    <a:pt x="990" y="482"/>
                  </a:lnTo>
                  <a:lnTo>
                    <a:pt x="987" y="484"/>
                  </a:lnTo>
                  <a:lnTo>
                    <a:pt x="987" y="489"/>
                  </a:lnTo>
                  <a:lnTo>
                    <a:pt x="990" y="484"/>
                  </a:lnTo>
                  <a:lnTo>
                    <a:pt x="994" y="482"/>
                  </a:lnTo>
                  <a:lnTo>
                    <a:pt x="1006" y="484"/>
                  </a:lnTo>
                  <a:lnTo>
                    <a:pt x="1016" y="491"/>
                  </a:lnTo>
                  <a:lnTo>
                    <a:pt x="1020" y="496"/>
                  </a:lnTo>
                  <a:lnTo>
                    <a:pt x="1023" y="498"/>
                  </a:lnTo>
                  <a:lnTo>
                    <a:pt x="1027" y="498"/>
                  </a:lnTo>
                  <a:lnTo>
                    <a:pt x="1027" y="496"/>
                  </a:lnTo>
                  <a:lnTo>
                    <a:pt x="1032" y="496"/>
                  </a:lnTo>
                  <a:lnTo>
                    <a:pt x="1030" y="498"/>
                  </a:lnTo>
                  <a:lnTo>
                    <a:pt x="1039" y="498"/>
                  </a:lnTo>
                  <a:lnTo>
                    <a:pt x="1053" y="505"/>
                  </a:lnTo>
                  <a:lnTo>
                    <a:pt x="1056" y="505"/>
                  </a:lnTo>
                  <a:lnTo>
                    <a:pt x="1060" y="508"/>
                  </a:lnTo>
                  <a:lnTo>
                    <a:pt x="1056" y="515"/>
                  </a:lnTo>
                  <a:lnTo>
                    <a:pt x="1060" y="517"/>
                  </a:lnTo>
                  <a:lnTo>
                    <a:pt x="1063" y="517"/>
                  </a:lnTo>
                  <a:lnTo>
                    <a:pt x="1060" y="515"/>
                  </a:lnTo>
                  <a:lnTo>
                    <a:pt x="1060" y="513"/>
                  </a:lnTo>
                  <a:lnTo>
                    <a:pt x="1068" y="513"/>
                  </a:lnTo>
                  <a:lnTo>
                    <a:pt x="1070" y="515"/>
                  </a:lnTo>
                  <a:lnTo>
                    <a:pt x="1070" y="517"/>
                  </a:lnTo>
                  <a:lnTo>
                    <a:pt x="1068" y="517"/>
                  </a:lnTo>
                  <a:lnTo>
                    <a:pt x="1077" y="517"/>
                  </a:lnTo>
                  <a:lnTo>
                    <a:pt x="1077" y="515"/>
                  </a:lnTo>
                  <a:lnTo>
                    <a:pt x="1079" y="517"/>
                  </a:lnTo>
                  <a:lnTo>
                    <a:pt x="1079" y="529"/>
                  </a:lnTo>
                  <a:lnTo>
                    <a:pt x="1084" y="534"/>
                  </a:lnTo>
                  <a:lnTo>
                    <a:pt x="1091" y="539"/>
                  </a:lnTo>
                  <a:lnTo>
                    <a:pt x="1094" y="541"/>
                  </a:lnTo>
                  <a:lnTo>
                    <a:pt x="1091" y="546"/>
                  </a:lnTo>
                  <a:lnTo>
                    <a:pt x="1084" y="553"/>
                  </a:lnTo>
                  <a:lnTo>
                    <a:pt x="1068" y="553"/>
                  </a:lnTo>
                  <a:lnTo>
                    <a:pt x="1060" y="548"/>
                  </a:lnTo>
                  <a:lnTo>
                    <a:pt x="1056" y="548"/>
                  </a:lnTo>
                  <a:lnTo>
                    <a:pt x="1046" y="553"/>
                  </a:lnTo>
                  <a:lnTo>
                    <a:pt x="1037" y="553"/>
                  </a:lnTo>
                  <a:lnTo>
                    <a:pt x="1032" y="548"/>
                  </a:lnTo>
                  <a:lnTo>
                    <a:pt x="1027" y="548"/>
                  </a:lnTo>
                  <a:lnTo>
                    <a:pt x="1027" y="553"/>
                  </a:lnTo>
                  <a:lnTo>
                    <a:pt x="1004" y="553"/>
                  </a:lnTo>
                  <a:lnTo>
                    <a:pt x="999" y="555"/>
                  </a:lnTo>
                  <a:lnTo>
                    <a:pt x="997" y="555"/>
                  </a:lnTo>
                  <a:lnTo>
                    <a:pt x="994" y="557"/>
                  </a:lnTo>
                  <a:lnTo>
                    <a:pt x="994" y="555"/>
                  </a:lnTo>
                  <a:lnTo>
                    <a:pt x="994" y="557"/>
                  </a:lnTo>
                  <a:lnTo>
                    <a:pt x="973" y="557"/>
                  </a:lnTo>
                  <a:lnTo>
                    <a:pt x="966" y="555"/>
                  </a:lnTo>
                  <a:lnTo>
                    <a:pt x="964" y="555"/>
                  </a:lnTo>
                  <a:lnTo>
                    <a:pt x="959" y="557"/>
                  </a:lnTo>
                  <a:lnTo>
                    <a:pt x="954" y="555"/>
                  </a:lnTo>
                  <a:lnTo>
                    <a:pt x="949" y="555"/>
                  </a:lnTo>
                  <a:lnTo>
                    <a:pt x="947" y="553"/>
                  </a:lnTo>
                  <a:lnTo>
                    <a:pt x="940" y="553"/>
                  </a:lnTo>
                  <a:lnTo>
                    <a:pt x="935" y="548"/>
                  </a:lnTo>
                  <a:lnTo>
                    <a:pt x="935" y="553"/>
                  </a:lnTo>
                  <a:lnTo>
                    <a:pt x="933" y="548"/>
                  </a:lnTo>
                  <a:lnTo>
                    <a:pt x="926" y="546"/>
                  </a:lnTo>
                  <a:lnTo>
                    <a:pt x="926" y="534"/>
                  </a:lnTo>
                  <a:lnTo>
                    <a:pt x="916" y="534"/>
                  </a:lnTo>
                  <a:lnTo>
                    <a:pt x="909" y="541"/>
                  </a:lnTo>
                  <a:lnTo>
                    <a:pt x="902" y="546"/>
                  </a:lnTo>
                  <a:lnTo>
                    <a:pt x="900" y="548"/>
                  </a:lnTo>
                  <a:lnTo>
                    <a:pt x="886" y="541"/>
                  </a:lnTo>
                  <a:lnTo>
                    <a:pt x="879" y="541"/>
                  </a:lnTo>
                  <a:lnTo>
                    <a:pt x="874" y="546"/>
                  </a:lnTo>
                  <a:lnTo>
                    <a:pt x="869" y="546"/>
                  </a:lnTo>
                  <a:lnTo>
                    <a:pt x="869" y="541"/>
                  </a:lnTo>
                  <a:lnTo>
                    <a:pt x="862" y="539"/>
                  </a:lnTo>
                  <a:lnTo>
                    <a:pt x="860" y="541"/>
                  </a:lnTo>
                  <a:lnTo>
                    <a:pt x="857" y="541"/>
                  </a:lnTo>
                  <a:lnTo>
                    <a:pt x="857" y="539"/>
                  </a:lnTo>
                  <a:lnTo>
                    <a:pt x="860" y="534"/>
                  </a:lnTo>
                  <a:lnTo>
                    <a:pt x="862" y="529"/>
                  </a:lnTo>
                  <a:lnTo>
                    <a:pt x="862" y="524"/>
                  </a:lnTo>
                  <a:lnTo>
                    <a:pt x="857" y="524"/>
                  </a:lnTo>
                  <a:lnTo>
                    <a:pt x="857" y="534"/>
                  </a:lnTo>
                  <a:lnTo>
                    <a:pt x="853" y="534"/>
                  </a:lnTo>
                  <a:lnTo>
                    <a:pt x="853" y="541"/>
                  </a:lnTo>
                  <a:lnTo>
                    <a:pt x="843" y="541"/>
                  </a:lnTo>
                  <a:lnTo>
                    <a:pt x="838" y="539"/>
                  </a:lnTo>
                  <a:lnTo>
                    <a:pt x="834" y="539"/>
                  </a:lnTo>
                  <a:lnTo>
                    <a:pt x="829" y="534"/>
                  </a:lnTo>
                  <a:lnTo>
                    <a:pt x="822" y="529"/>
                  </a:lnTo>
                  <a:lnTo>
                    <a:pt x="820" y="524"/>
                  </a:lnTo>
                  <a:lnTo>
                    <a:pt x="817" y="517"/>
                  </a:lnTo>
                  <a:lnTo>
                    <a:pt x="810" y="522"/>
                  </a:lnTo>
                  <a:lnTo>
                    <a:pt x="805" y="522"/>
                  </a:lnTo>
                  <a:lnTo>
                    <a:pt x="803" y="517"/>
                  </a:lnTo>
                  <a:lnTo>
                    <a:pt x="805" y="517"/>
                  </a:lnTo>
                  <a:lnTo>
                    <a:pt x="810" y="515"/>
                  </a:lnTo>
                  <a:lnTo>
                    <a:pt x="822" y="515"/>
                  </a:lnTo>
                  <a:lnTo>
                    <a:pt x="822" y="513"/>
                  </a:lnTo>
                  <a:lnTo>
                    <a:pt x="827" y="505"/>
                  </a:lnTo>
                  <a:lnTo>
                    <a:pt x="829" y="501"/>
                  </a:lnTo>
                  <a:lnTo>
                    <a:pt x="829" y="491"/>
                  </a:lnTo>
                  <a:lnTo>
                    <a:pt x="827" y="496"/>
                  </a:lnTo>
                  <a:lnTo>
                    <a:pt x="827" y="498"/>
                  </a:lnTo>
                  <a:lnTo>
                    <a:pt x="822" y="498"/>
                  </a:lnTo>
                  <a:lnTo>
                    <a:pt x="827" y="496"/>
                  </a:lnTo>
                  <a:lnTo>
                    <a:pt x="822" y="491"/>
                  </a:lnTo>
                  <a:lnTo>
                    <a:pt x="822" y="498"/>
                  </a:lnTo>
                  <a:lnTo>
                    <a:pt x="820" y="498"/>
                  </a:lnTo>
                  <a:lnTo>
                    <a:pt x="817" y="496"/>
                  </a:lnTo>
                  <a:lnTo>
                    <a:pt x="817" y="491"/>
                  </a:lnTo>
                  <a:lnTo>
                    <a:pt x="812" y="489"/>
                  </a:lnTo>
                  <a:lnTo>
                    <a:pt x="810" y="489"/>
                  </a:lnTo>
                  <a:lnTo>
                    <a:pt x="810" y="491"/>
                  </a:lnTo>
                  <a:lnTo>
                    <a:pt x="803" y="489"/>
                  </a:lnTo>
                  <a:lnTo>
                    <a:pt x="798" y="484"/>
                  </a:lnTo>
                  <a:lnTo>
                    <a:pt x="796" y="489"/>
                  </a:lnTo>
                  <a:lnTo>
                    <a:pt x="796" y="491"/>
                  </a:lnTo>
                  <a:lnTo>
                    <a:pt x="803" y="489"/>
                  </a:lnTo>
                  <a:lnTo>
                    <a:pt x="803" y="501"/>
                  </a:lnTo>
                  <a:lnTo>
                    <a:pt x="796" y="498"/>
                  </a:lnTo>
                  <a:lnTo>
                    <a:pt x="794" y="496"/>
                  </a:lnTo>
                  <a:lnTo>
                    <a:pt x="789" y="496"/>
                  </a:lnTo>
                  <a:lnTo>
                    <a:pt x="794" y="501"/>
                  </a:lnTo>
                  <a:lnTo>
                    <a:pt x="786" y="501"/>
                  </a:lnTo>
                  <a:lnTo>
                    <a:pt x="782" y="498"/>
                  </a:lnTo>
                  <a:lnTo>
                    <a:pt x="782" y="496"/>
                  </a:lnTo>
                  <a:lnTo>
                    <a:pt x="786" y="496"/>
                  </a:lnTo>
                  <a:lnTo>
                    <a:pt x="782" y="484"/>
                  </a:lnTo>
                  <a:lnTo>
                    <a:pt x="782" y="482"/>
                  </a:lnTo>
                  <a:lnTo>
                    <a:pt x="779" y="477"/>
                  </a:lnTo>
                  <a:lnTo>
                    <a:pt x="779" y="491"/>
                  </a:lnTo>
                  <a:lnTo>
                    <a:pt x="782" y="496"/>
                  </a:lnTo>
                  <a:lnTo>
                    <a:pt x="777" y="496"/>
                  </a:lnTo>
                  <a:lnTo>
                    <a:pt x="772" y="491"/>
                  </a:lnTo>
                  <a:lnTo>
                    <a:pt x="770" y="491"/>
                  </a:lnTo>
                  <a:lnTo>
                    <a:pt x="765" y="489"/>
                  </a:lnTo>
                  <a:lnTo>
                    <a:pt x="765" y="477"/>
                  </a:lnTo>
                  <a:lnTo>
                    <a:pt x="760" y="475"/>
                  </a:lnTo>
                  <a:lnTo>
                    <a:pt x="763" y="482"/>
                  </a:lnTo>
                  <a:lnTo>
                    <a:pt x="763" y="484"/>
                  </a:lnTo>
                  <a:lnTo>
                    <a:pt x="760" y="482"/>
                  </a:lnTo>
                  <a:lnTo>
                    <a:pt x="749" y="482"/>
                  </a:lnTo>
                  <a:lnTo>
                    <a:pt x="749" y="477"/>
                  </a:lnTo>
                  <a:lnTo>
                    <a:pt x="753" y="477"/>
                  </a:lnTo>
                  <a:lnTo>
                    <a:pt x="749" y="472"/>
                  </a:lnTo>
                  <a:lnTo>
                    <a:pt x="732" y="465"/>
                  </a:lnTo>
                  <a:lnTo>
                    <a:pt x="732" y="468"/>
                  </a:lnTo>
                  <a:lnTo>
                    <a:pt x="725" y="468"/>
                  </a:lnTo>
                  <a:lnTo>
                    <a:pt x="723" y="461"/>
                  </a:lnTo>
                  <a:lnTo>
                    <a:pt x="720" y="456"/>
                  </a:lnTo>
                  <a:lnTo>
                    <a:pt x="723" y="451"/>
                  </a:lnTo>
                  <a:lnTo>
                    <a:pt x="723" y="437"/>
                  </a:lnTo>
                  <a:lnTo>
                    <a:pt x="716" y="435"/>
                  </a:lnTo>
                  <a:lnTo>
                    <a:pt x="716" y="442"/>
                  </a:lnTo>
                  <a:lnTo>
                    <a:pt x="720" y="442"/>
                  </a:lnTo>
                  <a:lnTo>
                    <a:pt x="720" y="449"/>
                  </a:lnTo>
                  <a:lnTo>
                    <a:pt x="716" y="451"/>
                  </a:lnTo>
                  <a:lnTo>
                    <a:pt x="713" y="449"/>
                  </a:lnTo>
                  <a:lnTo>
                    <a:pt x="716" y="444"/>
                  </a:lnTo>
                  <a:lnTo>
                    <a:pt x="713" y="442"/>
                  </a:lnTo>
                  <a:lnTo>
                    <a:pt x="706" y="442"/>
                  </a:lnTo>
                  <a:lnTo>
                    <a:pt x="706" y="451"/>
                  </a:lnTo>
                  <a:lnTo>
                    <a:pt x="699" y="451"/>
                  </a:lnTo>
                  <a:lnTo>
                    <a:pt x="699" y="449"/>
                  </a:lnTo>
                  <a:lnTo>
                    <a:pt x="697" y="449"/>
                  </a:lnTo>
                  <a:lnTo>
                    <a:pt x="697" y="451"/>
                  </a:lnTo>
                  <a:lnTo>
                    <a:pt x="701" y="458"/>
                  </a:lnTo>
                  <a:lnTo>
                    <a:pt x="701" y="461"/>
                  </a:lnTo>
                  <a:lnTo>
                    <a:pt x="699" y="465"/>
                  </a:lnTo>
                  <a:lnTo>
                    <a:pt x="701" y="472"/>
                  </a:lnTo>
                  <a:lnTo>
                    <a:pt x="699" y="475"/>
                  </a:lnTo>
                  <a:lnTo>
                    <a:pt x="699" y="472"/>
                  </a:lnTo>
                  <a:lnTo>
                    <a:pt x="692" y="458"/>
                  </a:lnTo>
                  <a:lnTo>
                    <a:pt x="692" y="451"/>
                  </a:lnTo>
                  <a:lnTo>
                    <a:pt x="685" y="442"/>
                  </a:lnTo>
                  <a:lnTo>
                    <a:pt x="685" y="437"/>
                  </a:lnTo>
                  <a:lnTo>
                    <a:pt x="683" y="442"/>
                  </a:lnTo>
                  <a:lnTo>
                    <a:pt x="683" y="449"/>
                  </a:lnTo>
                  <a:lnTo>
                    <a:pt x="685" y="451"/>
                  </a:lnTo>
                  <a:lnTo>
                    <a:pt x="685" y="456"/>
                  </a:lnTo>
                  <a:lnTo>
                    <a:pt x="680" y="458"/>
                  </a:lnTo>
                  <a:lnTo>
                    <a:pt x="673" y="456"/>
                  </a:lnTo>
                  <a:lnTo>
                    <a:pt x="666" y="451"/>
                  </a:lnTo>
                  <a:lnTo>
                    <a:pt x="661" y="449"/>
                  </a:lnTo>
                  <a:lnTo>
                    <a:pt x="661" y="444"/>
                  </a:lnTo>
                  <a:lnTo>
                    <a:pt x="666" y="437"/>
                  </a:lnTo>
                  <a:lnTo>
                    <a:pt x="668" y="437"/>
                  </a:lnTo>
                  <a:lnTo>
                    <a:pt x="661" y="435"/>
                  </a:lnTo>
                  <a:lnTo>
                    <a:pt x="659" y="435"/>
                  </a:lnTo>
                  <a:lnTo>
                    <a:pt x="659" y="442"/>
                  </a:lnTo>
                  <a:lnTo>
                    <a:pt x="661" y="444"/>
                  </a:lnTo>
                  <a:lnTo>
                    <a:pt x="657" y="449"/>
                  </a:lnTo>
                  <a:lnTo>
                    <a:pt x="652" y="444"/>
                  </a:lnTo>
                  <a:lnTo>
                    <a:pt x="652" y="449"/>
                  </a:lnTo>
                  <a:lnTo>
                    <a:pt x="659" y="451"/>
                  </a:lnTo>
                  <a:lnTo>
                    <a:pt x="661" y="451"/>
                  </a:lnTo>
                  <a:lnTo>
                    <a:pt x="666" y="456"/>
                  </a:lnTo>
                  <a:lnTo>
                    <a:pt x="668" y="456"/>
                  </a:lnTo>
                  <a:lnTo>
                    <a:pt x="673" y="458"/>
                  </a:lnTo>
                  <a:lnTo>
                    <a:pt x="675" y="458"/>
                  </a:lnTo>
                  <a:lnTo>
                    <a:pt x="680" y="461"/>
                  </a:lnTo>
                  <a:lnTo>
                    <a:pt x="675" y="461"/>
                  </a:lnTo>
                  <a:lnTo>
                    <a:pt x="675" y="477"/>
                  </a:lnTo>
                  <a:lnTo>
                    <a:pt x="659" y="477"/>
                  </a:lnTo>
                  <a:lnTo>
                    <a:pt x="657" y="475"/>
                  </a:lnTo>
                  <a:lnTo>
                    <a:pt x="657" y="482"/>
                  </a:lnTo>
                  <a:lnTo>
                    <a:pt x="652" y="477"/>
                  </a:lnTo>
                  <a:lnTo>
                    <a:pt x="649" y="477"/>
                  </a:lnTo>
                  <a:lnTo>
                    <a:pt x="649" y="475"/>
                  </a:lnTo>
                  <a:lnTo>
                    <a:pt x="633" y="475"/>
                  </a:lnTo>
                  <a:lnTo>
                    <a:pt x="628" y="472"/>
                  </a:lnTo>
                  <a:lnTo>
                    <a:pt x="626" y="472"/>
                  </a:lnTo>
                  <a:lnTo>
                    <a:pt x="626" y="475"/>
                  </a:lnTo>
                  <a:lnTo>
                    <a:pt x="628" y="477"/>
                  </a:lnTo>
                  <a:lnTo>
                    <a:pt x="635" y="482"/>
                  </a:lnTo>
                  <a:lnTo>
                    <a:pt x="640" y="484"/>
                  </a:lnTo>
                  <a:lnTo>
                    <a:pt x="628" y="484"/>
                  </a:lnTo>
                  <a:lnTo>
                    <a:pt x="640" y="491"/>
                  </a:lnTo>
                  <a:lnTo>
                    <a:pt x="635" y="496"/>
                  </a:lnTo>
                  <a:lnTo>
                    <a:pt x="633" y="496"/>
                  </a:lnTo>
                  <a:lnTo>
                    <a:pt x="628" y="491"/>
                  </a:lnTo>
                  <a:lnTo>
                    <a:pt x="626" y="496"/>
                  </a:lnTo>
                  <a:lnTo>
                    <a:pt x="619" y="498"/>
                  </a:lnTo>
                  <a:lnTo>
                    <a:pt x="619" y="501"/>
                  </a:lnTo>
                  <a:lnTo>
                    <a:pt x="623" y="501"/>
                  </a:lnTo>
                  <a:lnTo>
                    <a:pt x="619" y="508"/>
                  </a:lnTo>
                  <a:lnTo>
                    <a:pt x="605" y="508"/>
                  </a:lnTo>
                  <a:lnTo>
                    <a:pt x="605" y="515"/>
                  </a:lnTo>
                  <a:lnTo>
                    <a:pt x="609" y="515"/>
                  </a:lnTo>
                  <a:lnTo>
                    <a:pt x="609" y="517"/>
                  </a:lnTo>
                  <a:lnTo>
                    <a:pt x="602" y="517"/>
                  </a:lnTo>
                  <a:lnTo>
                    <a:pt x="595" y="515"/>
                  </a:lnTo>
                  <a:lnTo>
                    <a:pt x="588" y="515"/>
                  </a:lnTo>
                  <a:lnTo>
                    <a:pt x="586" y="522"/>
                  </a:lnTo>
                  <a:lnTo>
                    <a:pt x="583" y="522"/>
                  </a:lnTo>
                  <a:lnTo>
                    <a:pt x="579" y="517"/>
                  </a:lnTo>
                  <a:lnTo>
                    <a:pt x="569" y="515"/>
                  </a:lnTo>
                  <a:lnTo>
                    <a:pt x="564" y="515"/>
                  </a:lnTo>
                  <a:lnTo>
                    <a:pt x="569" y="517"/>
                  </a:lnTo>
                  <a:lnTo>
                    <a:pt x="564" y="517"/>
                  </a:lnTo>
                  <a:lnTo>
                    <a:pt x="560" y="515"/>
                  </a:lnTo>
                  <a:lnTo>
                    <a:pt x="553" y="513"/>
                  </a:lnTo>
                  <a:lnTo>
                    <a:pt x="543" y="505"/>
                  </a:lnTo>
                  <a:lnTo>
                    <a:pt x="543" y="498"/>
                  </a:lnTo>
                  <a:lnTo>
                    <a:pt x="538" y="496"/>
                  </a:lnTo>
                  <a:lnTo>
                    <a:pt x="538" y="477"/>
                  </a:lnTo>
                  <a:lnTo>
                    <a:pt x="536" y="477"/>
                  </a:lnTo>
                  <a:lnTo>
                    <a:pt x="531" y="472"/>
                  </a:lnTo>
                  <a:lnTo>
                    <a:pt x="536" y="461"/>
                  </a:lnTo>
                  <a:lnTo>
                    <a:pt x="546" y="451"/>
                  </a:lnTo>
                  <a:lnTo>
                    <a:pt x="548" y="449"/>
                  </a:lnTo>
                  <a:lnTo>
                    <a:pt x="555" y="444"/>
                  </a:lnTo>
                  <a:lnTo>
                    <a:pt x="555" y="442"/>
                  </a:lnTo>
                  <a:lnTo>
                    <a:pt x="553" y="437"/>
                  </a:lnTo>
                  <a:lnTo>
                    <a:pt x="548" y="437"/>
                  </a:lnTo>
                  <a:lnTo>
                    <a:pt x="546" y="435"/>
                  </a:lnTo>
                  <a:lnTo>
                    <a:pt x="546" y="427"/>
                  </a:lnTo>
                  <a:lnTo>
                    <a:pt x="548" y="427"/>
                  </a:lnTo>
                  <a:lnTo>
                    <a:pt x="548" y="425"/>
                  </a:lnTo>
                  <a:lnTo>
                    <a:pt x="546" y="425"/>
                  </a:lnTo>
                  <a:lnTo>
                    <a:pt x="543" y="420"/>
                  </a:lnTo>
                  <a:lnTo>
                    <a:pt x="546" y="420"/>
                  </a:lnTo>
                  <a:lnTo>
                    <a:pt x="546" y="418"/>
                  </a:lnTo>
                  <a:lnTo>
                    <a:pt x="553" y="418"/>
                  </a:lnTo>
                  <a:lnTo>
                    <a:pt x="555" y="420"/>
                  </a:lnTo>
                  <a:lnTo>
                    <a:pt x="562" y="418"/>
                  </a:lnTo>
                  <a:lnTo>
                    <a:pt x="588" y="418"/>
                  </a:lnTo>
                  <a:lnTo>
                    <a:pt x="593" y="420"/>
                  </a:lnTo>
                  <a:lnTo>
                    <a:pt x="609" y="420"/>
                  </a:lnTo>
                  <a:lnTo>
                    <a:pt x="612" y="425"/>
                  </a:lnTo>
                  <a:lnTo>
                    <a:pt x="619" y="427"/>
                  </a:lnTo>
                  <a:lnTo>
                    <a:pt x="626" y="427"/>
                  </a:lnTo>
                  <a:lnTo>
                    <a:pt x="626" y="432"/>
                  </a:lnTo>
                  <a:lnTo>
                    <a:pt x="628" y="435"/>
                  </a:lnTo>
                  <a:lnTo>
                    <a:pt x="628" y="442"/>
                  </a:lnTo>
                  <a:lnTo>
                    <a:pt x="623" y="442"/>
                  </a:lnTo>
                  <a:lnTo>
                    <a:pt x="623" y="444"/>
                  </a:lnTo>
                  <a:lnTo>
                    <a:pt x="626" y="449"/>
                  </a:lnTo>
                  <a:lnTo>
                    <a:pt x="628" y="451"/>
                  </a:lnTo>
                  <a:lnTo>
                    <a:pt x="633" y="451"/>
                  </a:lnTo>
                  <a:lnTo>
                    <a:pt x="640" y="458"/>
                  </a:lnTo>
                  <a:lnTo>
                    <a:pt x="642" y="458"/>
                  </a:lnTo>
                  <a:lnTo>
                    <a:pt x="642" y="456"/>
                  </a:lnTo>
                  <a:lnTo>
                    <a:pt x="640" y="456"/>
                  </a:lnTo>
                  <a:lnTo>
                    <a:pt x="635" y="449"/>
                  </a:lnTo>
                  <a:lnTo>
                    <a:pt x="635" y="444"/>
                  </a:lnTo>
                  <a:lnTo>
                    <a:pt x="633" y="444"/>
                  </a:lnTo>
                  <a:lnTo>
                    <a:pt x="633" y="449"/>
                  </a:lnTo>
                  <a:lnTo>
                    <a:pt x="628" y="449"/>
                  </a:lnTo>
                  <a:lnTo>
                    <a:pt x="628" y="442"/>
                  </a:lnTo>
                  <a:lnTo>
                    <a:pt x="633" y="437"/>
                  </a:lnTo>
                  <a:lnTo>
                    <a:pt x="633" y="435"/>
                  </a:lnTo>
                  <a:lnTo>
                    <a:pt x="635" y="437"/>
                  </a:lnTo>
                  <a:lnTo>
                    <a:pt x="635" y="427"/>
                  </a:lnTo>
                  <a:lnTo>
                    <a:pt x="633" y="425"/>
                  </a:lnTo>
                  <a:lnTo>
                    <a:pt x="633" y="435"/>
                  </a:lnTo>
                  <a:lnTo>
                    <a:pt x="628" y="435"/>
                  </a:lnTo>
                  <a:lnTo>
                    <a:pt x="628" y="432"/>
                  </a:lnTo>
                  <a:lnTo>
                    <a:pt x="626" y="427"/>
                  </a:lnTo>
                  <a:lnTo>
                    <a:pt x="623" y="425"/>
                  </a:lnTo>
                  <a:lnTo>
                    <a:pt x="609" y="420"/>
                  </a:lnTo>
                  <a:lnTo>
                    <a:pt x="605" y="418"/>
                  </a:lnTo>
                  <a:lnTo>
                    <a:pt x="602" y="418"/>
                  </a:lnTo>
                  <a:lnTo>
                    <a:pt x="600" y="416"/>
                  </a:lnTo>
                  <a:lnTo>
                    <a:pt x="619" y="416"/>
                  </a:lnTo>
                  <a:lnTo>
                    <a:pt x="628" y="411"/>
                  </a:lnTo>
                  <a:lnTo>
                    <a:pt x="633" y="409"/>
                  </a:lnTo>
                  <a:lnTo>
                    <a:pt x="628" y="404"/>
                  </a:lnTo>
                  <a:lnTo>
                    <a:pt x="628" y="401"/>
                  </a:lnTo>
                  <a:lnTo>
                    <a:pt x="626" y="399"/>
                  </a:lnTo>
                  <a:lnTo>
                    <a:pt x="649" y="399"/>
                  </a:lnTo>
                  <a:lnTo>
                    <a:pt x="649" y="394"/>
                  </a:lnTo>
                  <a:lnTo>
                    <a:pt x="652" y="387"/>
                  </a:lnTo>
                  <a:lnTo>
                    <a:pt x="652" y="385"/>
                  </a:lnTo>
                  <a:lnTo>
                    <a:pt x="657" y="378"/>
                  </a:lnTo>
                  <a:lnTo>
                    <a:pt x="657" y="375"/>
                  </a:lnTo>
                  <a:lnTo>
                    <a:pt x="666" y="371"/>
                  </a:lnTo>
                  <a:lnTo>
                    <a:pt x="668" y="371"/>
                  </a:lnTo>
                  <a:lnTo>
                    <a:pt x="673" y="375"/>
                  </a:lnTo>
                  <a:lnTo>
                    <a:pt x="680" y="375"/>
                  </a:lnTo>
                  <a:lnTo>
                    <a:pt x="680" y="371"/>
                  </a:lnTo>
                  <a:lnTo>
                    <a:pt x="675" y="364"/>
                  </a:lnTo>
                  <a:lnTo>
                    <a:pt x="668" y="361"/>
                  </a:lnTo>
                  <a:lnTo>
                    <a:pt x="668" y="359"/>
                  </a:lnTo>
                  <a:lnTo>
                    <a:pt x="666" y="354"/>
                  </a:lnTo>
                  <a:lnTo>
                    <a:pt x="661" y="352"/>
                  </a:lnTo>
                  <a:lnTo>
                    <a:pt x="657" y="347"/>
                  </a:lnTo>
                  <a:lnTo>
                    <a:pt x="649" y="347"/>
                  </a:lnTo>
                  <a:lnTo>
                    <a:pt x="645" y="345"/>
                  </a:lnTo>
                  <a:lnTo>
                    <a:pt x="642" y="345"/>
                  </a:lnTo>
                  <a:lnTo>
                    <a:pt x="635" y="338"/>
                  </a:lnTo>
                  <a:lnTo>
                    <a:pt x="633" y="338"/>
                  </a:lnTo>
                  <a:lnTo>
                    <a:pt x="628" y="335"/>
                  </a:lnTo>
                  <a:lnTo>
                    <a:pt x="626" y="335"/>
                  </a:lnTo>
                  <a:lnTo>
                    <a:pt x="626" y="331"/>
                  </a:lnTo>
                  <a:lnTo>
                    <a:pt x="623" y="331"/>
                  </a:lnTo>
                  <a:lnTo>
                    <a:pt x="623" y="324"/>
                  </a:lnTo>
                  <a:lnTo>
                    <a:pt x="626" y="321"/>
                  </a:lnTo>
                  <a:lnTo>
                    <a:pt x="626" y="319"/>
                  </a:lnTo>
                  <a:lnTo>
                    <a:pt x="628" y="314"/>
                  </a:lnTo>
                  <a:lnTo>
                    <a:pt x="633" y="312"/>
                  </a:lnTo>
                  <a:lnTo>
                    <a:pt x="635" y="300"/>
                  </a:lnTo>
                  <a:lnTo>
                    <a:pt x="635" y="295"/>
                  </a:lnTo>
                  <a:lnTo>
                    <a:pt x="640" y="290"/>
                  </a:lnTo>
                  <a:lnTo>
                    <a:pt x="640" y="288"/>
                  </a:lnTo>
                  <a:lnTo>
                    <a:pt x="642" y="288"/>
                  </a:lnTo>
                  <a:lnTo>
                    <a:pt x="642" y="272"/>
                  </a:lnTo>
                  <a:lnTo>
                    <a:pt x="645" y="272"/>
                  </a:lnTo>
                  <a:lnTo>
                    <a:pt x="649" y="264"/>
                  </a:lnTo>
                  <a:lnTo>
                    <a:pt x="649" y="243"/>
                  </a:lnTo>
                  <a:lnTo>
                    <a:pt x="645" y="241"/>
                  </a:lnTo>
                  <a:lnTo>
                    <a:pt x="645" y="231"/>
                  </a:lnTo>
                  <a:lnTo>
                    <a:pt x="649" y="231"/>
                  </a:lnTo>
                  <a:lnTo>
                    <a:pt x="649" y="227"/>
                  </a:lnTo>
                  <a:lnTo>
                    <a:pt x="657" y="227"/>
                  </a:lnTo>
                  <a:lnTo>
                    <a:pt x="657" y="224"/>
                  </a:lnTo>
                  <a:lnTo>
                    <a:pt x="659" y="222"/>
                  </a:lnTo>
                  <a:lnTo>
                    <a:pt x="659" y="217"/>
                  </a:lnTo>
                  <a:lnTo>
                    <a:pt x="657" y="210"/>
                  </a:lnTo>
                  <a:lnTo>
                    <a:pt x="652" y="208"/>
                  </a:lnTo>
                  <a:lnTo>
                    <a:pt x="649" y="203"/>
                  </a:lnTo>
                  <a:lnTo>
                    <a:pt x="642" y="194"/>
                  </a:lnTo>
                  <a:lnTo>
                    <a:pt x="635" y="184"/>
                  </a:lnTo>
                  <a:lnTo>
                    <a:pt x="628" y="184"/>
                  </a:lnTo>
                  <a:lnTo>
                    <a:pt x="626" y="182"/>
                  </a:lnTo>
                  <a:lnTo>
                    <a:pt x="626" y="175"/>
                  </a:lnTo>
                  <a:lnTo>
                    <a:pt x="623" y="170"/>
                  </a:lnTo>
                  <a:lnTo>
                    <a:pt x="619" y="168"/>
                  </a:lnTo>
                  <a:lnTo>
                    <a:pt x="616" y="168"/>
                  </a:lnTo>
                  <a:lnTo>
                    <a:pt x="609" y="165"/>
                  </a:lnTo>
                  <a:lnTo>
                    <a:pt x="609" y="161"/>
                  </a:lnTo>
                  <a:lnTo>
                    <a:pt x="605" y="158"/>
                  </a:lnTo>
                  <a:lnTo>
                    <a:pt x="605" y="153"/>
                  </a:lnTo>
                  <a:lnTo>
                    <a:pt x="602" y="151"/>
                  </a:lnTo>
                  <a:lnTo>
                    <a:pt x="600" y="146"/>
                  </a:lnTo>
                  <a:lnTo>
                    <a:pt x="595" y="142"/>
                  </a:lnTo>
                  <a:lnTo>
                    <a:pt x="583" y="142"/>
                  </a:lnTo>
                  <a:lnTo>
                    <a:pt x="583" y="144"/>
                  </a:lnTo>
                  <a:lnTo>
                    <a:pt x="579" y="144"/>
                  </a:lnTo>
                  <a:lnTo>
                    <a:pt x="579" y="137"/>
                  </a:lnTo>
                  <a:lnTo>
                    <a:pt x="583" y="137"/>
                  </a:lnTo>
                  <a:lnTo>
                    <a:pt x="583" y="130"/>
                  </a:lnTo>
                  <a:lnTo>
                    <a:pt x="579" y="130"/>
                  </a:lnTo>
                  <a:lnTo>
                    <a:pt x="579" y="142"/>
                  </a:lnTo>
                  <a:lnTo>
                    <a:pt x="576" y="144"/>
                  </a:lnTo>
                  <a:lnTo>
                    <a:pt x="576" y="146"/>
                  </a:lnTo>
                  <a:lnTo>
                    <a:pt x="564" y="142"/>
                  </a:lnTo>
                  <a:lnTo>
                    <a:pt x="562" y="137"/>
                  </a:lnTo>
                  <a:lnTo>
                    <a:pt x="560" y="135"/>
                  </a:lnTo>
                  <a:lnTo>
                    <a:pt x="560" y="127"/>
                  </a:lnTo>
                  <a:lnTo>
                    <a:pt x="562" y="125"/>
                  </a:lnTo>
                  <a:lnTo>
                    <a:pt x="560" y="113"/>
                  </a:lnTo>
                  <a:lnTo>
                    <a:pt x="555" y="111"/>
                  </a:lnTo>
                  <a:lnTo>
                    <a:pt x="548" y="111"/>
                  </a:lnTo>
                  <a:lnTo>
                    <a:pt x="543" y="113"/>
                  </a:lnTo>
                  <a:lnTo>
                    <a:pt x="546" y="118"/>
                  </a:lnTo>
                  <a:lnTo>
                    <a:pt x="548" y="120"/>
                  </a:lnTo>
                  <a:lnTo>
                    <a:pt x="555" y="125"/>
                  </a:lnTo>
                  <a:lnTo>
                    <a:pt x="555" y="130"/>
                  </a:lnTo>
                  <a:lnTo>
                    <a:pt x="543" y="130"/>
                  </a:lnTo>
                  <a:lnTo>
                    <a:pt x="536" y="127"/>
                  </a:lnTo>
                  <a:lnTo>
                    <a:pt x="531" y="127"/>
                  </a:lnTo>
                  <a:lnTo>
                    <a:pt x="529" y="120"/>
                  </a:lnTo>
                  <a:lnTo>
                    <a:pt x="527" y="120"/>
                  </a:lnTo>
                  <a:lnTo>
                    <a:pt x="522" y="118"/>
                  </a:lnTo>
                  <a:lnTo>
                    <a:pt x="527" y="113"/>
                  </a:lnTo>
                  <a:lnTo>
                    <a:pt x="527" y="111"/>
                  </a:lnTo>
                  <a:lnTo>
                    <a:pt x="522" y="111"/>
                  </a:lnTo>
                  <a:lnTo>
                    <a:pt x="527" y="113"/>
                  </a:lnTo>
                  <a:lnTo>
                    <a:pt x="522" y="118"/>
                  </a:lnTo>
                  <a:lnTo>
                    <a:pt x="515" y="113"/>
                  </a:lnTo>
                  <a:lnTo>
                    <a:pt x="515" y="111"/>
                  </a:lnTo>
                  <a:lnTo>
                    <a:pt x="520" y="111"/>
                  </a:lnTo>
                  <a:lnTo>
                    <a:pt x="520" y="106"/>
                  </a:lnTo>
                  <a:lnTo>
                    <a:pt x="515" y="104"/>
                  </a:lnTo>
                  <a:lnTo>
                    <a:pt x="508" y="104"/>
                  </a:lnTo>
                  <a:lnTo>
                    <a:pt x="508" y="106"/>
                  </a:lnTo>
                  <a:lnTo>
                    <a:pt x="508" y="101"/>
                  </a:lnTo>
                  <a:lnTo>
                    <a:pt x="512" y="97"/>
                  </a:lnTo>
                  <a:lnTo>
                    <a:pt x="515" y="97"/>
                  </a:lnTo>
                  <a:lnTo>
                    <a:pt x="515" y="94"/>
                  </a:lnTo>
                  <a:lnTo>
                    <a:pt x="508" y="90"/>
                  </a:lnTo>
                  <a:lnTo>
                    <a:pt x="505" y="97"/>
                  </a:lnTo>
                  <a:lnTo>
                    <a:pt x="505" y="111"/>
                  </a:lnTo>
                  <a:lnTo>
                    <a:pt x="498" y="106"/>
                  </a:lnTo>
                  <a:lnTo>
                    <a:pt x="496" y="106"/>
                  </a:lnTo>
                  <a:lnTo>
                    <a:pt x="491" y="104"/>
                  </a:lnTo>
                  <a:lnTo>
                    <a:pt x="489" y="106"/>
                  </a:lnTo>
                  <a:lnTo>
                    <a:pt x="491" y="111"/>
                  </a:lnTo>
                  <a:lnTo>
                    <a:pt x="491" y="118"/>
                  </a:lnTo>
                  <a:lnTo>
                    <a:pt x="489" y="125"/>
                  </a:lnTo>
                  <a:lnTo>
                    <a:pt x="482" y="127"/>
                  </a:lnTo>
                  <a:lnTo>
                    <a:pt x="482" y="130"/>
                  </a:lnTo>
                  <a:lnTo>
                    <a:pt x="479" y="137"/>
                  </a:lnTo>
                  <a:lnTo>
                    <a:pt x="475" y="142"/>
                  </a:lnTo>
                  <a:lnTo>
                    <a:pt x="472" y="142"/>
                  </a:lnTo>
                  <a:lnTo>
                    <a:pt x="472" y="144"/>
                  </a:lnTo>
                  <a:lnTo>
                    <a:pt x="465" y="144"/>
                  </a:lnTo>
                  <a:lnTo>
                    <a:pt x="463" y="142"/>
                  </a:lnTo>
                  <a:lnTo>
                    <a:pt x="463" y="137"/>
                  </a:lnTo>
                  <a:lnTo>
                    <a:pt x="465" y="135"/>
                  </a:lnTo>
                  <a:lnTo>
                    <a:pt x="465" y="127"/>
                  </a:lnTo>
                  <a:lnTo>
                    <a:pt x="463" y="127"/>
                  </a:lnTo>
                  <a:lnTo>
                    <a:pt x="458" y="125"/>
                  </a:lnTo>
                  <a:lnTo>
                    <a:pt x="456" y="118"/>
                  </a:lnTo>
                  <a:lnTo>
                    <a:pt x="456" y="113"/>
                  </a:lnTo>
                  <a:lnTo>
                    <a:pt x="458" y="113"/>
                  </a:lnTo>
                  <a:lnTo>
                    <a:pt x="463" y="111"/>
                  </a:lnTo>
                  <a:lnTo>
                    <a:pt x="475" y="111"/>
                  </a:lnTo>
                  <a:lnTo>
                    <a:pt x="479" y="106"/>
                  </a:lnTo>
                  <a:lnTo>
                    <a:pt x="479" y="104"/>
                  </a:lnTo>
                  <a:lnTo>
                    <a:pt x="486" y="101"/>
                  </a:lnTo>
                  <a:lnTo>
                    <a:pt x="482" y="94"/>
                  </a:lnTo>
                  <a:lnTo>
                    <a:pt x="482" y="87"/>
                  </a:lnTo>
                  <a:lnTo>
                    <a:pt x="479" y="87"/>
                  </a:lnTo>
                  <a:lnTo>
                    <a:pt x="475" y="85"/>
                  </a:lnTo>
                  <a:lnTo>
                    <a:pt x="472" y="85"/>
                  </a:lnTo>
                  <a:lnTo>
                    <a:pt x="465" y="80"/>
                  </a:lnTo>
                  <a:lnTo>
                    <a:pt x="451" y="80"/>
                  </a:lnTo>
                  <a:lnTo>
                    <a:pt x="449" y="78"/>
                  </a:lnTo>
                  <a:lnTo>
                    <a:pt x="439" y="73"/>
                  </a:lnTo>
                  <a:lnTo>
                    <a:pt x="439" y="64"/>
                  </a:lnTo>
                  <a:lnTo>
                    <a:pt x="442" y="61"/>
                  </a:lnTo>
                  <a:lnTo>
                    <a:pt x="446" y="61"/>
                  </a:lnTo>
                  <a:lnTo>
                    <a:pt x="446" y="64"/>
                  </a:lnTo>
                  <a:lnTo>
                    <a:pt x="449" y="61"/>
                  </a:lnTo>
                  <a:lnTo>
                    <a:pt x="449" y="57"/>
                  </a:lnTo>
                  <a:lnTo>
                    <a:pt x="446" y="61"/>
                  </a:lnTo>
                  <a:lnTo>
                    <a:pt x="434" y="61"/>
                  </a:lnTo>
                  <a:lnTo>
                    <a:pt x="434" y="64"/>
                  </a:lnTo>
                  <a:lnTo>
                    <a:pt x="434" y="61"/>
                  </a:lnTo>
                  <a:lnTo>
                    <a:pt x="439" y="61"/>
                  </a:lnTo>
                  <a:lnTo>
                    <a:pt x="439" y="68"/>
                  </a:lnTo>
                  <a:lnTo>
                    <a:pt x="434" y="71"/>
                  </a:lnTo>
                  <a:lnTo>
                    <a:pt x="434" y="73"/>
                  </a:lnTo>
                  <a:lnTo>
                    <a:pt x="432" y="73"/>
                  </a:lnTo>
                  <a:lnTo>
                    <a:pt x="423" y="71"/>
                  </a:lnTo>
                  <a:lnTo>
                    <a:pt x="418" y="71"/>
                  </a:lnTo>
                  <a:lnTo>
                    <a:pt x="418" y="68"/>
                  </a:lnTo>
                  <a:lnTo>
                    <a:pt x="425" y="64"/>
                  </a:lnTo>
                  <a:lnTo>
                    <a:pt x="427" y="64"/>
                  </a:lnTo>
                  <a:lnTo>
                    <a:pt x="427" y="57"/>
                  </a:lnTo>
                  <a:lnTo>
                    <a:pt x="423" y="54"/>
                  </a:lnTo>
                  <a:lnTo>
                    <a:pt x="418" y="54"/>
                  </a:lnTo>
                  <a:lnTo>
                    <a:pt x="416" y="57"/>
                  </a:lnTo>
                  <a:lnTo>
                    <a:pt x="408" y="57"/>
                  </a:lnTo>
                  <a:lnTo>
                    <a:pt x="408" y="49"/>
                  </a:lnTo>
                  <a:lnTo>
                    <a:pt x="411" y="49"/>
                  </a:lnTo>
                  <a:lnTo>
                    <a:pt x="411" y="47"/>
                  </a:lnTo>
                  <a:lnTo>
                    <a:pt x="416" y="45"/>
                  </a:lnTo>
                  <a:lnTo>
                    <a:pt x="411" y="47"/>
                  </a:lnTo>
                  <a:lnTo>
                    <a:pt x="408" y="49"/>
                  </a:lnTo>
                  <a:lnTo>
                    <a:pt x="406" y="54"/>
                  </a:lnTo>
                  <a:lnTo>
                    <a:pt x="401" y="57"/>
                  </a:lnTo>
                  <a:lnTo>
                    <a:pt x="406" y="61"/>
                  </a:lnTo>
                  <a:lnTo>
                    <a:pt x="406" y="64"/>
                  </a:lnTo>
                  <a:lnTo>
                    <a:pt x="401" y="68"/>
                  </a:lnTo>
                  <a:lnTo>
                    <a:pt x="401" y="64"/>
                  </a:lnTo>
                  <a:lnTo>
                    <a:pt x="399" y="61"/>
                  </a:lnTo>
                  <a:lnTo>
                    <a:pt x="394" y="47"/>
                  </a:lnTo>
                  <a:lnTo>
                    <a:pt x="392" y="47"/>
                  </a:lnTo>
                  <a:lnTo>
                    <a:pt x="392" y="38"/>
                  </a:lnTo>
                  <a:lnTo>
                    <a:pt x="390" y="38"/>
                  </a:lnTo>
                  <a:lnTo>
                    <a:pt x="390" y="31"/>
                  </a:lnTo>
                  <a:lnTo>
                    <a:pt x="383" y="28"/>
                  </a:lnTo>
                  <a:lnTo>
                    <a:pt x="378" y="28"/>
                  </a:lnTo>
                  <a:lnTo>
                    <a:pt x="371" y="31"/>
                  </a:lnTo>
                  <a:lnTo>
                    <a:pt x="368" y="33"/>
                  </a:lnTo>
                  <a:lnTo>
                    <a:pt x="366" y="33"/>
                  </a:lnTo>
                  <a:lnTo>
                    <a:pt x="361" y="31"/>
                  </a:lnTo>
                  <a:lnTo>
                    <a:pt x="361" y="24"/>
                  </a:lnTo>
                  <a:lnTo>
                    <a:pt x="354" y="24"/>
                  </a:lnTo>
                  <a:lnTo>
                    <a:pt x="359" y="28"/>
                  </a:lnTo>
                  <a:lnTo>
                    <a:pt x="354" y="28"/>
                  </a:lnTo>
                  <a:lnTo>
                    <a:pt x="352" y="24"/>
                  </a:lnTo>
                  <a:lnTo>
                    <a:pt x="349" y="21"/>
                  </a:lnTo>
                  <a:lnTo>
                    <a:pt x="345" y="16"/>
                  </a:lnTo>
                  <a:lnTo>
                    <a:pt x="342" y="21"/>
                  </a:lnTo>
                  <a:lnTo>
                    <a:pt x="338" y="21"/>
                  </a:lnTo>
                  <a:lnTo>
                    <a:pt x="335" y="16"/>
                  </a:lnTo>
                  <a:lnTo>
                    <a:pt x="335" y="14"/>
                  </a:lnTo>
                  <a:lnTo>
                    <a:pt x="338" y="7"/>
                  </a:lnTo>
                  <a:lnTo>
                    <a:pt x="342" y="7"/>
                  </a:lnTo>
                  <a:lnTo>
                    <a:pt x="345" y="9"/>
                  </a:lnTo>
                  <a:lnTo>
                    <a:pt x="338" y="5"/>
                  </a:lnTo>
                  <a:lnTo>
                    <a:pt x="335" y="5"/>
                  </a:lnTo>
                  <a:lnTo>
                    <a:pt x="331" y="0"/>
                  </a:lnTo>
                  <a:lnTo>
                    <a:pt x="331" y="7"/>
                  </a:lnTo>
                  <a:lnTo>
                    <a:pt x="335" y="7"/>
                  </a:lnTo>
                  <a:lnTo>
                    <a:pt x="335" y="24"/>
                  </a:lnTo>
                  <a:lnTo>
                    <a:pt x="331" y="24"/>
                  </a:lnTo>
                  <a:lnTo>
                    <a:pt x="331" y="21"/>
                  </a:lnTo>
                  <a:lnTo>
                    <a:pt x="328" y="21"/>
                  </a:lnTo>
                  <a:lnTo>
                    <a:pt x="326" y="28"/>
                  </a:lnTo>
                  <a:lnTo>
                    <a:pt x="326" y="31"/>
                  </a:lnTo>
                  <a:lnTo>
                    <a:pt x="335" y="31"/>
                  </a:lnTo>
                  <a:lnTo>
                    <a:pt x="338" y="33"/>
                  </a:lnTo>
                  <a:lnTo>
                    <a:pt x="342" y="33"/>
                  </a:lnTo>
                  <a:lnTo>
                    <a:pt x="342" y="31"/>
                  </a:lnTo>
                  <a:lnTo>
                    <a:pt x="349" y="31"/>
                  </a:lnTo>
                  <a:lnTo>
                    <a:pt x="354" y="38"/>
                  </a:lnTo>
                  <a:lnTo>
                    <a:pt x="354" y="40"/>
                  </a:lnTo>
                  <a:lnTo>
                    <a:pt x="359" y="47"/>
                  </a:lnTo>
                  <a:lnTo>
                    <a:pt x="361" y="49"/>
                  </a:lnTo>
                  <a:lnTo>
                    <a:pt x="366" y="54"/>
                  </a:lnTo>
                  <a:lnTo>
                    <a:pt x="366" y="61"/>
                  </a:lnTo>
                  <a:lnTo>
                    <a:pt x="361" y="64"/>
                  </a:lnTo>
                  <a:lnTo>
                    <a:pt x="361" y="68"/>
                  </a:lnTo>
                  <a:lnTo>
                    <a:pt x="352" y="68"/>
                  </a:lnTo>
                  <a:lnTo>
                    <a:pt x="352" y="71"/>
                  </a:lnTo>
                  <a:lnTo>
                    <a:pt x="342" y="71"/>
                  </a:lnTo>
                  <a:lnTo>
                    <a:pt x="342" y="73"/>
                  </a:lnTo>
                  <a:lnTo>
                    <a:pt x="338" y="78"/>
                  </a:lnTo>
                  <a:lnTo>
                    <a:pt x="335" y="73"/>
                  </a:lnTo>
                  <a:lnTo>
                    <a:pt x="331" y="71"/>
                  </a:lnTo>
                  <a:lnTo>
                    <a:pt x="328" y="68"/>
                  </a:lnTo>
                  <a:lnTo>
                    <a:pt x="314" y="68"/>
                  </a:lnTo>
                  <a:lnTo>
                    <a:pt x="314" y="71"/>
                  </a:lnTo>
                  <a:lnTo>
                    <a:pt x="312" y="71"/>
                  </a:lnTo>
                  <a:lnTo>
                    <a:pt x="312" y="68"/>
                  </a:lnTo>
                  <a:lnTo>
                    <a:pt x="286" y="68"/>
                  </a:lnTo>
                  <a:lnTo>
                    <a:pt x="281" y="71"/>
                  </a:lnTo>
                  <a:lnTo>
                    <a:pt x="269" y="71"/>
                  </a:lnTo>
                  <a:lnTo>
                    <a:pt x="269" y="73"/>
                  </a:lnTo>
                  <a:lnTo>
                    <a:pt x="279" y="73"/>
                  </a:lnTo>
                  <a:lnTo>
                    <a:pt x="279" y="78"/>
                  </a:lnTo>
                  <a:lnTo>
                    <a:pt x="286" y="73"/>
                  </a:lnTo>
                  <a:lnTo>
                    <a:pt x="288" y="78"/>
                  </a:lnTo>
                  <a:lnTo>
                    <a:pt x="293" y="78"/>
                  </a:lnTo>
                  <a:lnTo>
                    <a:pt x="293" y="80"/>
                  </a:lnTo>
                  <a:lnTo>
                    <a:pt x="295" y="85"/>
                  </a:lnTo>
                  <a:lnTo>
                    <a:pt x="297" y="85"/>
                  </a:lnTo>
                  <a:lnTo>
                    <a:pt x="297" y="87"/>
                  </a:lnTo>
                  <a:lnTo>
                    <a:pt x="305" y="90"/>
                  </a:lnTo>
                  <a:lnTo>
                    <a:pt x="309" y="90"/>
                  </a:lnTo>
                  <a:lnTo>
                    <a:pt x="309" y="97"/>
                  </a:lnTo>
                  <a:lnTo>
                    <a:pt x="302" y="97"/>
                  </a:lnTo>
                  <a:lnTo>
                    <a:pt x="297" y="94"/>
                  </a:lnTo>
                  <a:lnTo>
                    <a:pt x="295" y="94"/>
                  </a:lnTo>
                  <a:lnTo>
                    <a:pt x="295" y="90"/>
                  </a:lnTo>
                  <a:lnTo>
                    <a:pt x="293" y="90"/>
                  </a:lnTo>
                  <a:lnTo>
                    <a:pt x="288" y="87"/>
                  </a:lnTo>
                  <a:lnTo>
                    <a:pt x="286" y="85"/>
                  </a:lnTo>
                  <a:lnTo>
                    <a:pt x="274" y="85"/>
                  </a:lnTo>
                  <a:lnTo>
                    <a:pt x="271" y="80"/>
                  </a:lnTo>
                  <a:lnTo>
                    <a:pt x="264" y="78"/>
                  </a:lnTo>
                  <a:lnTo>
                    <a:pt x="262" y="73"/>
                  </a:lnTo>
                  <a:lnTo>
                    <a:pt x="255" y="73"/>
                  </a:lnTo>
                  <a:lnTo>
                    <a:pt x="248" y="71"/>
                  </a:lnTo>
                  <a:lnTo>
                    <a:pt x="241" y="71"/>
                  </a:lnTo>
                  <a:lnTo>
                    <a:pt x="234" y="68"/>
                  </a:lnTo>
                  <a:lnTo>
                    <a:pt x="231" y="64"/>
                  </a:lnTo>
                  <a:lnTo>
                    <a:pt x="224" y="64"/>
                  </a:lnTo>
                  <a:lnTo>
                    <a:pt x="231" y="68"/>
                  </a:lnTo>
                  <a:lnTo>
                    <a:pt x="234" y="71"/>
                  </a:lnTo>
                  <a:lnTo>
                    <a:pt x="241" y="71"/>
                  </a:lnTo>
                  <a:lnTo>
                    <a:pt x="245" y="73"/>
                  </a:lnTo>
                  <a:lnTo>
                    <a:pt x="253" y="73"/>
                  </a:lnTo>
                  <a:lnTo>
                    <a:pt x="264" y="80"/>
                  </a:lnTo>
                  <a:lnTo>
                    <a:pt x="271" y="85"/>
                  </a:lnTo>
                  <a:lnTo>
                    <a:pt x="274" y="85"/>
                  </a:lnTo>
                  <a:lnTo>
                    <a:pt x="274" y="90"/>
                  </a:lnTo>
                  <a:lnTo>
                    <a:pt x="271" y="94"/>
                  </a:lnTo>
                  <a:lnTo>
                    <a:pt x="264" y="94"/>
                  </a:lnTo>
                  <a:lnTo>
                    <a:pt x="264" y="101"/>
                  </a:lnTo>
                  <a:lnTo>
                    <a:pt x="262" y="101"/>
                  </a:lnTo>
                  <a:lnTo>
                    <a:pt x="262" y="97"/>
                  </a:lnTo>
                  <a:lnTo>
                    <a:pt x="248" y="97"/>
                  </a:lnTo>
                  <a:lnTo>
                    <a:pt x="245" y="94"/>
                  </a:lnTo>
                  <a:lnTo>
                    <a:pt x="234" y="90"/>
                  </a:lnTo>
                  <a:lnTo>
                    <a:pt x="229" y="90"/>
                  </a:lnTo>
                  <a:lnTo>
                    <a:pt x="224" y="94"/>
                  </a:lnTo>
                  <a:lnTo>
                    <a:pt x="217" y="97"/>
                  </a:lnTo>
                  <a:lnTo>
                    <a:pt x="215" y="101"/>
                  </a:lnTo>
                  <a:lnTo>
                    <a:pt x="205" y="101"/>
                  </a:lnTo>
                  <a:lnTo>
                    <a:pt x="205" y="97"/>
                  </a:lnTo>
                  <a:lnTo>
                    <a:pt x="201" y="97"/>
                  </a:lnTo>
                  <a:lnTo>
                    <a:pt x="198" y="101"/>
                  </a:lnTo>
                  <a:lnTo>
                    <a:pt x="182" y="101"/>
                  </a:lnTo>
                  <a:lnTo>
                    <a:pt x="168" y="97"/>
                  </a:lnTo>
                  <a:lnTo>
                    <a:pt x="151" y="97"/>
                  </a:lnTo>
                  <a:lnTo>
                    <a:pt x="149" y="101"/>
                  </a:lnTo>
                  <a:lnTo>
                    <a:pt x="144" y="101"/>
                  </a:lnTo>
                  <a:lnTo>
                    <a:pt x="149" y="104"/>
                  </a:lnTo>
                  <a:lnTo>
                    <a:pt x="151" y="104"/>
                  </a:lnTo>
                  <a:lnTo>
                    <a:pt x="151" y="101"/>
                  </a:lnTo>
                  <a:lnTo>
                    <a:pt x="158" y="101"/>
                  </a:lnTo>
                  <a:lnTo>
                    <a:pt x="160" y="104"/>
                  </a:lnTo>
                  <a:lnTo>
                    <a:pt x="165" y="106"/>
                  </a:lnTo>
                  <a:lnTo>
                    <a:pt x="149" y="106"/>
                  </a:lnTo>
                  <a:lnTo>
                    <a:pt x="137" y="104"/>
                  </a:lnTo>
                  <a:lnTo>
                    <a:pt x="134" y="104"/>
                  </a:lnTo>
                  <a:lnTo>
                    <a:pt x="134" y="101"/>
                  </a:lnTo>
                  <a:lnTo>
                    <a:pt x="132" y="101"/>
                  </a:lnTo>
                  <a:lnTo>
                    <a:pt x="120" y="94"/>
                  </a:lnTo>
                  <a:lnTo>
                    <a:pt x="118" y="80"/>
                  </a:lnTo>
                  <a:lnTo>
                    <a:pt x="118" y="78"/>
                  </a:lnTo>
                  <a:lnTo>
                    <a:pt x="120" y="78"/>
                  </a:lnTo>
                  <a:lnTo>
                    <a:pt x="120" y="73"/>
                  </a:lnTo>
                  <a:lnTo>
                    <a:pt x="125" y="73"/>
                  </a:lnTo>
                  <a:lnTo>
                    <a:pt x="125" y="68"/>
                  </a:lnTo>
                  <a:lnTo>
                    <a:pt x="120" y="68"/>
                  </a:lnTo>
                  <a:lnTo>
                    <a:pt x="125" y="71"/>
                  </a:lnTo>
                  <a:lnTo>
                    <a:pt x="120" y="71"/>
                  </a:lnTo>
                  <a:lnTo>
                    <a:pt x="120" y="73"/>
                  </a:lnTo>
                  <a:lnTo>
                    <a:pt x="118" y="78"/>
                  </a:lnTo>
                  <a:lnTo>
                    <a:pt x="118" y="80"/>
                  </a:lnTo>
                  <a:lnTo>
                    <a:pt x="116" y="80"/>
                  </a:lnTo>
                  <a:lnTo>
                    <a:pt x="118" y="87"/>
                  </a:lnTo>
                  <a:lnTo>
                    <a:pt x="111" y="87"/>
                  </a:lnTo>
                  <a:lnTo>
                    <a:pt x="104" y="78"/>
                  </a:lnTo>
                  <a:lnTo>
                    <a:pt x="108" y="78"/>
                  </a:lnTo>
                  <a:lnTo>
                    <a:pt x="104" y="73"/>
                  </a:lnTo>
                  <a:lnTo>
                    <a:pt x="101" y="78"/>
                  </a:lnTo>
                  <a:lnTo>
                    <a:pt x="101" y="85"/>
                  </a:lnTo>
                  <a:lnTo>
                    <a:pt x="108" y="85"/>
                  </a:lnTo>
                  <a:lnTo>
                    <a:pt x="108" y="90"/>
                  </a:lnTo>
                  <a:lnTo>
                    <a:pt x="85" y="90"/>
                  </a:lnTo>
                  <a:lnTo>
                    <a:pt x="87" y="94"/>
                  </a:lnTo>
                  <a:lnTo>
                    <a:pt x="87" y="97"/>
                  </a:lnTo>
                  <a:lnTo>
                    <a:pt x="85" y="97"/>
                  </a:lnTo>
                  <a:lnTo>
                    <a:pt x="85" y="101"/>
                  </a:lnTo>
                  <a:lnTo>
                    <a:pt x="80" y="101"/>
                  </a:lnTo>
                  <a:lnTo>
                    <a:pt x="78" y="97"/>
                  </a:lnTo>
                  <a:lnTo>
                    <a:pt x="71" y="97"/>
                  </a:lnTo>
                  <a:lnTo>
                    <a:pt x="68" y="94"/>
                  </a:lnTo>
                  <a:lnTo>
                    <a:pt x="68" y="90"/>
                  </a:lnTo>
                  <a:lnTo>
                    <a:pt x="75" y="94"/>
                  </a:lnTo>
                  <a:lnTo>
                    <a:pt x="80" y="94"/>
                  </a:lnTo>
                  <a:lnTo>
                    <a:pt x="78" y="90"/>
                  </a:lnTo>
                  <a:lnTo>
                    <a:pt x="71" y="87"/>
                  </a:lnTo>
                  <a:lnTo>
                    <a:pt x="64" y="85"/>
                  </a:lnTo>
                  <a:lnTo>
                    <a:pt x="47" y="85"/>
                  </a:lnTo>
                  <a:lnTo>
                    <a:pt x="45" y="80"/>
                  </a:lnTo>
                  <a:lnTo>
                    <a:pt x="45" y="78"/>
                  </a:lnTo>
                  <a:lnTo>
                    <a:pt x="40" y="73"/>
                  </a:lnTo>
                  <a:lnTo>
                    <a:pt x="40" y="71"/>
                  </a:lnTo>
                  <a:lnTo>
                    <a:pt x="38" y="68"/>
                  </a:lnTo>
                  <a:lnTo>
                    <a:pt x="38" y="64"/>
                  </a:lnTo>
                  <a:lnTo>
                    <a:pt x="35" y="64"/>
                  </a:lnTo>
                  <a:lnTo>
                    <a:pt x="31" y="61"/>
                  </a:lnTo>
                  <a:lnTo>
                    <a:pt x="28" y="61"/>
                  </a:lnTo>
                  <a:lnTo>
                    <a:pt x="28" y="57"/>
                  </a:lnTo>
                  <a:lnTo>
                    <a:pt x="23" y="49"/>
                  </a:lnTo>
                  <a:lnTo>
                    <a:pt x="23" y="47"/>
                  </a:lnTo>
                  <a:lnTo>
                    <a:pt x="31" y="47"/>
                  </a:lnTo>
                  <a:lnTo>
                    <a:pt x="31" y="45"/>
                  </a:lnTo>
                  <a:lnTo>
                    <a:pt x="28" y="45"/>
                  </a:lnTo>
                  <a:lnTo>
                    <a:pt x="23" y="40"/>
                  </a:lnTo>
                  <a:lnTo>
                    <a:pt x="21" y="38"/>
                  </a:lnTo>
                  <a:lnTo>
                    <a:pt x="19" y="33"/>
                  </a:lnTo>
                  <a:lnTo>
                    <a:pt x="28" y="33"/>
                  </a:lnTo>
                  <a:lnTo>
                    <a:pt x="28" y="38"/>
                  </a:lnTo>
                  <a:lnTo>
                    <a:pt x="35" y="38"/>
                  </a:lnTo>
                  <a:lnTo>
                    <a:pt x="38" y="33"/>
                  </a:lnTo>
                  <a:lnTo>
                    <a:pt x="52" y="33"/>
                  </a:lnTo>
                  <a:lnTo>
                    <a:pt x="54" y="38"/>
                  </a:lnTo>
                  <a:lnTo>
                    <a:pt x="54" y="40"/>
                  </a:lnTo>
                  <a:lnTo>
                    <a:pt x="71" y="40"/>
                  </a:lnTo>
                  <a:lnTo>
                    <a:pt x="71" y="38"/>
                  </a:lnTo>
                  <a:lnTo>
                    <a:pt x="85" y="38"/>
                  </a:lnTo>
                  <a:lnTo>
                    <a:pt x="85" y="31"/>
                  </a:lnTo>
                  <a:lnTo>
                    <a:pt x="94" y="31"/>
                  </a:lnTo>
                  <a:lnTo>
                    <a:pt x="85" y="31"/>
                  </a:lnTo>
                  <a:lnTo>
                    <a:pt x="80" y="28"/>
                  </a:lnTo>
                  <a:lnTo>
                    <a:pt x="78" y="28"/>
                  </a:lnTo>
                  <a:lnTo>
                    <a:pt x="75" y="24"/>
                  </a:lnTo>
                  <a:lnTo>
                    <a:pt x="71" y="24"/>
                  </a:lnTo>
                  <a:lnTo>
                    <a:pt x="68" y="21"/>
                  </a:lnTo>
                  <a:lnTo>
                    <a:pt x="64" y="16"/>
                  </a:lnTo>
                  <a:lnTo>
                    <a:pt x="64" y="9"/>
                  </a:lnTo>
                  <a:lnTo>
                    <a:pt x="61" y="9"/>
                  </a:lnTo>
                  <a:lnTo>
                    <a:pt x="61" y="14"/>
                  </a:lnTo>
                  <a:lnTo>
                    <a:pt x="59" y="16"/>
                  </a:lnTo>
                  <a:lnTo>
                    <a:pt x="12" y="16"/>
                  </a:lnTo>
                  <a:lnTo>
                    <a:pt x="7" y="14"/>
                  </a:lnTo>
                  <a:lnTo>
                    <a:pt x="5" y="14"/>
                  </a:lnTo>
                  <a:lnTo>
                    <a:pt x="0"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8" name="Freeform 407">
              <a:extLst>
                <a:ext uri="{FF2B5EF4-FFF2-40B4-BE49-F238E27FC236}">
                  <a16:creationId xmlns:a16="http://schemas.microsoft.com/office/drawing/2014/main" id="{A0EE3BBC-6E8F-4F09-8904-252D689878CF}"/>
                </a:ext>
              </a:extLst>
            </p:cNvPr>
            <p:cNvSpPr>
              <a:spLocks/>
            </p:cNvSpPr>
            <p:nvPr/>
          </p:nvSpPr>
          <p:spPr bwMode="gray">
            <a:xfrm rot="47099">
              <a:off x="1435862" y="1911994"/>
              <a:ext cx="82827" cy="107096"/>
            </a:xfrm>
            <a:custGeom>
              <a:avLst/>
              <a:gdLst>
                <a:gd name="T0" fmla="*/ 63 w 177"/>
                <a:gd name="T1" fmla="*/ 92 h 229"/>
                <a:gd name="T2" fmla="*/ 66 w 177"/>
                <a:gd name="T3" fmla="*/ 75 h 229"/>
                <a:gd name="T4" fmla="*/ 73 w 177"/>
                <a:gd name="T5" fmla="*/ 90 h 229"/>
                <a:gd name="T6" fmla="*/ 66 w 177"/>
                <a:gd name="T7" fmla="*/ 68 h 229"/>
                <a:gd name="T8" fmla="*/ 59 w 177"/>
                <a:gd name="T9" fmla="*/ 59 h 229"/>
                <a:gd name="T10" fmla="*/ 73 w 177"/>
                <a:gd name="T11" fmla="*/ 61 h 229"/>
                <a:gd name="T12" fmla="*/ 73 w 177"/>
                <a:gd name="T13" fmla="*/ 59 h 229"/>
                <a:gd name="T14" fmla="*/ 66 w 177"/>
                <a:gd name="T15" fmla="*/ 45 h 229"/>
                <a:gd name="T16" fmla="*/ 49 w 177"/>
                <a:gd name="T17" fmla="*/ 57 h 229"/>
                <a:gd name="T18" fmla="*/ 33 w 177"/>
                <a:gd name="T19" fmla="*/ 40 h 229"/>
                <a:gd name="T20" fmla="*/ 42 w 177"/>
                <a:gd name="T21" fmla="*/ 28 h 229"/>
                <a:gd name="T22" fmla="*/ 56 w 177"/>
                <a:gd name="T23" fmla="*/ 35 h 229"/>
                <a:gd name="T24" fmla="*/ 63 w 177"/>
                <a:gd name="T25" fmla="*/ 42 h 229"/>
                <a:gd name="T26" fmla="*/ 54 w 177"/>
                <a:gd name="T27" fmla="*/ 26 h 229"/>
                <a:gd name="T28" fmla="*/ 47 w 177"/>
                <a:gd name="T29" fmla="*/ 24 h 229"/>
                <a:gd name="T30" fmla="*/ 56 w 177"/>
                <a:gd name="T31" fmla="*/ 5 h 229"/>
                <a:gd name="T32" fmla="*/ 75 w 177"/>
                <a:gd name="T33" fmla="*/ 5 h 229"/>
                <a:gd name="T34" fmla="*/ 73 w 177"/>
                <a:gd name="T35" fmla="*/ 9 h 229"/>
                <a:gd name="T36" fmla="*/ 71 w 177"/>
                <a:gd name="T37" fmla="*/ 0 h 229"/>
                <a:gd name="T38" fmla="*/ 87 w 177"/>
                <a:gd name="T39" fmla="*/ 9 h 229"/>
                <a:gd name="T40" fmla="*/ 113 w 177"/>
                <a:gd name="T41" fmla="*/ 12 h 229"/>
                <a:gd name="T42" fmla="*/ 127 w 177"/>
                <a:gd name="T43" fmla="*/ 2 h 229"/>
                <a:gd name="T44" fmla="*/ 139 w 177"/>
                <a:gd name="T45" fmla="*/ 5 h 229"/>
                <a:gd name="T46" fmla="*/ 153 w 177"/>
                <a:gd name="T47" fmla="*/ 12 h 229"/>
                <a:gd name="T48" fmla="*/ 137 w 177"/>
                <a:gd name="T49" fmla="*/ 33 h 229"/>
                <a:gd name="T50" fmla="*/ 146 w 177"/>
                <a:gd name="T51" fmla="*/ 35 h 229"/>
                <a:gd name="T52" fmla="*/ 146 w 177"/>
                <a:gd name="T53" fmla="*/ 49 h 229"/>
                <a:gd name="T54" fmla="*/ 127 w 177"/>
                <a:gd name="T55" fmla="*/ 61 h 229"/>
                <a:gd name="T56" fmla="*/ 120 w 177"/>
                <a:gd name="T57" fmla="*/ 75 h 229"/>
                <a:gd name="T58" fmla="*/ 120 w 177"/>
                <a:gd name="T59" fmla="*/ 83 h 229"/>
                <a:gd name="T60" fmla="*/ 144 w 177"/>
                <a:gd name="T61" fmla="*/ 80 h 229"/>
                <a:gd name="T62" fmla="*/ 153 w 177"/>
                <a:gd name="T63" fmla="*/ 97 h 229"/>
                <a:gd name="T64" fmla="*/ 151 w 177"/>
                <a:gd name="T65" fmla="*/ 109 h 229"/>
                <a:gd name="T66" fmla="*/ 156 w 177"/>
                <a:gd name="T67" fmla="*/ 106 h 229"/>
                <a:gd name="T68" fmla="*/ 170 w 177"/>
                <a:gd name="T69" fmla="*/ 106 h 229"/>
                <a:gd name="T70" fmla="*/ 177 w 177"/>
                <a:gd name="T71" fmla="*/ 125 h 229"/>
                <a:gd name="T72" fmla="*/ 163 w 177"/>
                <a:gd name="T73" fmla="*/ 139 h 229"/>
                <a:gd name="T74" fmla="*/ 167 w 177"/>
                <a:gd name="T75" fmla="*/ 158 h 229"/>
                <a:gd name="T76" fmla="*/ 172 w 177"/>
                <a:gd name="T77" fmla="*/ 170 h 229"/>
                <a:gd name="T78" fmla="*/ 170 w 177"/>
                <a:gd name="T79" fmla="*/ 170 h 229"/>
                <a:gd name="T80" fmla="*/ 167 w 177"/>
                <a:gd name="T81" fmla="*/ 182 h 229"/>
                <a:gd name="T82" fmla="*/ 156 w 177"/>
                <a:gd name="T83" fmla="*/ 194 h 229"/>
                <a:gd name="T84" fmla="*/ 139 w 177"/>
                <a:gd name="T85" fmla="*/ 196 h 229"/>
                <a:gd name="T86" fmla="*/ 127 w 177"/>
                <a:gd name="T87" fmla="*/ 179 h 229"/>
                <a:gd name="T88" fmla="*/ 120 w 177"/>
                <a:gd name="T89" fmla="*/ 182 h 229"/>
                <a:gd name="T90" fmla="*/ 127 w 177"/>
                <a:gd name="T91" fmla="*/ 203 h 229"/>
                <a:gd name="T92" fmla="*/ 120 w 177"/>
                <a:gd name="T93" fmla="*/ 227 h 229"/>
                <a:gd name="T94" fmla="*/ 106 w 177"/>
                <a:gd name="T95" fmla="*/ 222 h 229"/>
                <a:gd name="T96" fmla="*/ 97 w 177"/>
                <a:gd name="T97" fmla="*/ 222 h 229"/>
                <a:gd name="T98" fmla="*/ 87 w 177"/>
                <a:gd name="T99" fmla="*/ 198 h 229"/>
                <a:gd name="T100" fmla="*/ 73 w 177"/>
                <a:gd name="T101" fmla="*/ 179 h 229"/>
                <a:gd name="T102" fmla="*/ 56 w 177"/>
                <a:gd name="T103" fmla="*/ 153 h 229"/>
                <a:gd name="T104" fmla="*/ 47 w 177"/>
                <a:gd name="T105" fmla="*/ 149 h 229"/>
                <a:gd name="T106" fmla="*/ 40 w 177"/>
                <a:gd name="T107" fmla="*/ 137 h 229"/>
                <a:gd name="T108" fmla="*/ 30 w 177"/>
                <a:gd name="T109" fmla="*/ 139 h 229"/>
                <a:gd name="T110" fmla="*/ 19 w 177"/>
                <a:gd name="T111" fmla="*/ 123 h 229"/>
                <a:gd name="T112" fmla="*/ 7 w 177"/>
                <a:gd name="T113" fmla="*/ 113 h 229"/>
                <a:gd name="T114" fmla="*/ 2 w 177"/>
                <a:gd name="T115" fmla="*/ 92 h 229"/>
                <a:gd name="T116" fmla="*/ 9 w 177"/>
                <a:gd name="T117" fmla="*/ 73 h 229"/>
                <a:gd name="T118" fmla="*/ 26 w 177"/>
                <a:gd name="T119" fmla="*/ 85 h 229"/>
                <a:gd name="T120" fmla="*/ 35 w 177"/>
                <a:gd name="T121" fmla="*/ 99 h 229"/>
                <a:gd name="T122" fmla="*/ 54 w 177"/>
                <a:gd name="T123" fmla="*/ 101 h 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7"/>
                <a:gd name="T187" fmla="*/ 0 h 229"/>
                <a:gd name="T188" fmla="*/ 177 w 177"/>
                <a:gd name="T189" fmla="*/ 229 h 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7" h="229">
                  <a:moveTo>
                    <a:pt x="63" y="101"/>
                  </a:moveTo>
                  <a:lnTo>
                    <a:pt x="66" y="99"/>
                  </a:lnTo>
                  <a:lnTo>
                    <a:pt x="66" y="97"/>
                  </a:lnTo>
                  <a:lnTo>
                    <a:pt x="63" y="92"/>
                  </a:lnTo>
                  <a:lnTo>
                    <a:pt x="59" y="83"/>
                  </a:lnTo>
                  <a:lnTo>
                    <a:pt x="63" y="80"/>
                  </a:lnTo>
                  <a:lnTo>
                    <a:pt x="63" y="75"/>
                  </a:lnTo>
                  <a:lnTo>
                    <a:pt x="66" y="75"/>
                  </a:lnTo>
                  <a:lnTo>
                    <a:pt x="66" y="80"/>
                  </a:lnTo>
                  <a:lnTo>
                    <a:pt x="63" y="83"/>
                  </a:lnTo>
                  <a:lnTo>
                    <a:pt x="66" y="90"/>
                  </a:lnTo>
                  <a:lnTo>
                    <a:pt x="73" y="90"/>
                  </a:lnTo>
                  <a:lnTo>
                    <a:pt x="73" y="83"/>
                  </a:lnTo>
                  <a:lnTo>
                    <a:pt x="71" y="75"/>
                  </a:lnTo>
                  <a:lnTo>
                    <a:pt x="71" y="73"/>
                  </a:lnTo>
                  <a:lnTo>
                    <a:pt x="66" y="68"/>
                  </a:lnTo>
                  <a:lnTo>
                    <a:pt x="63" y="68"/>
                  </a:lnTo>
                  <a:lnTo>
                    <a:pt x="63" y="73"/>
                  </a:lnTo>
                  <a:lnTo>
                    <a:pt x="59" y="73"/>
                  </a:lnTo>
                  <a:lnTo>
                    <a:pt x="59" y="59"/>
                  </a:lnTo>
                  <a:lnTo>
                    <a:pt x="63" y="57"/>
                  </a:lnTo>
                  <a:lnTo>
                    <a:pt x="66" y="57"/>
                  </a:lnTo>
                  <a:lnTo>
                    <a:pt x="71" y="59"/>
                  </a:lnTo>
                  <a:lnTo>
                    <a:pt x="73" y="61"/>
                  </a:lnTo>
                  <a:lnTo>
                    <a:pt x="80" y="61"/>
                  </a:lnTo>
                  <a:lnTo>
                    <a:pt x="75" y="61"/>
                  </a:lnTo>
                  <a:lnTo>
                    <a:pt x="75" y="59"/>
                  </a:lnTo>
                  <a:lnTo>
                    <a:pt x="73" y="59"/>
                  </a:lnTo>
                  <a:lnTo>
                    <a:pt x="71" y="57"/>
                  </a:lnTo>
                  <a:lnTo>
                    <a:pt x="71" y="52"/>
                  </a:lnTo>
                  <a:lnTo>
                    <a:pt x="66" y="49"/>
                  </a:lnTo>
                  <a:lnTo>
                    <a:pt x="66" y="45"/>
                  </a:lnTo>
                  <a:lnTo>
                    <a:pt x="63" y="45"/>
                  </a:lnTo>
                  <a:lnTo>
                    <a:pt x="63" y="49"/>
                  </a:lnTo>
                  <a:lnTo>
                    <a:pt x="59" y="57"/>
                  </a:lnTo>
                  <a:lnTo>
                    <a:pt x="49" y="57"/>
                  </a:lnTo>
                  <a:lnTo>
                    <a:pt x="40" y="49"/>
                  </a:lnTo>
                  <a:lnTo>
                    <a:pt x="40" y="45"/>
                  </a:lnTo>
                  <a:lnTo>
                    <a:pt x="35" y="42"/>
                  </a:lnTo>
                  <a:lnTo>
                    <a:pt x="33" y="40"/>
                  </a:lnTo>
                  <a:lnTo>
                    <a:pt x="33" y="35"/>
                  </a:lnTo>
                  <a:lnTo>
                    <a:pt x="35" y="33"/>
                  </a:lnTo>
                  <a:lnTo>
                    <a:pt x="40" y="33"/>
                  </a:lnTo>
                  <a:lnTo>
                    <a:pt x="42" y="28"/>
                  </a:lnTo>
                  <a:lnTo>
                    <a:pt x="42" y="26"/>
                  </a:lnTo>
                  <a:lnTo>
                    <a:pt x="49" y="28"/>
                  </a:lnTo>
                  <a:lnTo>
                    <a:pt x="54" y="33"/>
                  </a:lnTo>
                  <a:lnTo>
                    <a:pt x="56" y="35"/>
                  </a:lnTo>
                  <a:lnTo>
                    <a:pt x="56" y="40"/>
                  </a:lnTo>
                  <a:lnTo>
                    <a:pt x="59" y="42"/>
                  </a:lnTo>
                  <a:lnTo>
                    <a:pt x="63" y="45"/>
                  </a:lnTo>
                  <a:lnTo>
                    <a:pt x="63" y="42"/>
                  </a:lnTo>
                  <a:lnTo>
                    <a:pt x="59" y="40"/>
                  </a:lnTo>
                  <a:lnTo>
                    <a:pt x="59" y="28"/>
                  </a:lnTo>
                  <a:lnTo>
                    <a:pt x="56" y="28"/>
                  </a:lnTo>
                  <a:lnTo>
                    <a:pt x="54" y="26"/>
                  </a:lnTo>
                  <a:lnTo>
                    <a:pt x="49" y="26"/>
                  </a:lnTo>
                  <a:lnTo>
                    <a:pt x="54" y="24"/>
                  </a:lnTo>
                  <a:lnTo>
                    <a:pt x="49" y="19"/>
                  </a:lnTo>
                  <a:lnTo>
                    <a:pt x="47" y="24"/>
                  </a:lnTo>
                  <a:lnTo>
                    <a:pt x="47" y="16"/>
                  </a:lnTo>
                  <a:lnTo>
                    <a:pt x="49" y="9"/>
                  </a:lnTo>
                  <a:lnTo>
                    <a:pt x="56" y="9"/>
                  </a:lnTo>
                  <a:lnTo>
                    <a:pt x="56" y="5"/>
                  </a:lnTo>
                  <a:lnTo>
                    <a:pt x="63" y="5"/>
                  </a:lnTo>
                  <a:lnTo>
                    <a:pt x="66" y="9"/>
                  </a:lnTo>
                  <a:lnTo>
                    <a:pt x="73" y="12"/>
                  </a:lnTo>
                  <a:lnTo>
                    <a:pt x="75" y="5"/>
                  </a:lnTo>
                  <a:lnTo>
                    <a:pt x="75" y="2"/>
                  </a:lnTo>
                  <a:lnTo>
                    <a:pt x="75" y="5"/>
                  </a:lnTo>
                  <a:lnTo>
                    <a:pt x="73" y="5"/>
                  </a:lnTo>
                  <a:lnTo>
                    <a:pt x="73" y="9"/>
                  </a:lnTo>
                  <a:lnTo>
                    <a:pt x="71" y="9"/>
                  </a:lnTo>
                  <a:lnTo>
                    <a:pt x="66" y="5"/>
                  </a:lnTo>
                  <a:lnTo>
                    <a:pt x="66" y="2"/>
                  </a:lnTo>
                  <a:lnTo>
                    <a:pt x="71" y="0"/>
                  </a:lnTo>
                  <a:lnTo>
                    <a:pt x="80" y="0"/>
                  </a:lnTo>
                  <a:lnTo>
                    <a:pt x="80" y="5"/>
                  </a:lnTo>
                  <a:lnTo>
                    <a:pt x="87" y="5"/>
                  </a:lnTo>
                  <a:lnTo>
                    <a:pt x="87" y="9"/>
                  </a:lnTo>
                  <a:lnTo>
                    <a:pt x="94" y="16"/>
                  </a:lnTo>
                  <a:lnTo>
                    <a:pt x="104" y="16"/>
                  </a:lnTo>
                  <a:lnTo>
                    <a:pt x="106" y="12"/>
                  </a:lnTo>
                  <a:lnTo>
                    <a:pt x="113" y="12"/>
                  </a:lnTo>
                  <a:lnTo>
                    <a:pt x="115" y="9"/>
                  </a:lnTo>
                  <a:lnTo>
                    <a:pt x="122" y="9"/>
                  </a:lnTo>
                  <a:lnTo>
                    <a:pt x="127" y="5"/>
                  </a:lnTo>
                  <a:lnTo>
                    <a:pt x="127" y="2"/>
                  </a:lnTo>
                  <a:lnTo>
                    <a:pt x="130" y="2"/>
                  </a:lnTo>
                  <a:lnTo>
                    <a:pt x="130" y="0"/>
                  </a:lnTo>
                  <a:lnTo>
                    <a:pt x="137" y="2"/>
                  </a:lnTo>
                  <a:lnTo>
                    <a:pt x="139" y="5"/>
                  </a:lnTo>
                  <a:lnTo>
                    <a:pt x="139" y="2"/>
                  </a:lnTo>
                  <a:lnTo>
                    <a:pt x="144" y="2"/>
                  </a:lnTo>
                  <a:lnTo>
                    <a:pt x="146" y="5"/>
                  </a:lnTo>
                  <a:lnTo>
                    <a:pt x="153" y="12"/>
                  </a:lnTo>
                  <a:lnTo>
                    <a:pt x="153" y="24"/>
                  </a:lnTo>
                  <a:lnTo>
                    <a:pt x="146" y="28"/>
                  </a:lnTo>
                  <a:lnTo>
                    <a:pt x="139" y="33"/>
                  </a:lnTo>
                  <a:lnTo>
                    <a:pt x="137" y="33"/>
                  </a:lnTo>
                  <a:lnTo>
                    <a:pt x="137" y="40"/>
                  </a:lnTo>
                  <a:lnTo>
                    <a:pt x="139" y="40"/>
                  </a:lnTo>
                  <a:lnTo>
                    <a:pt x="139" y="35"/>
                  </a:lnTo>
                  <a:lnTo>
                    <a:pt x="146" y="35"/>
                  </a:lnTo>
                  <a:lnTo>
                    <a:pt x="146" y="40"/>
                  </a:lnTo>
                  <a:lnTo>
                    <a:pt x="151" y="40"/>
                  </a:lnTo>
                  <a:lnTo>
                    <a:pt x="151" y="45"/>
                  </a:lnTo>
                  <a:lnTo>
                    <a:pt x="146" y="49"/>
                  </a:lnTo>
                  <a:lnTo>
                    <a:pt x="144" y="49"/>
                  </a:lnTo>
                  <a:lnTo>
                    <a:pt x="137" y="52"/>
                  </a:lnTo>
                  <a:lnTo>
                    <a:pt x="130" y="57"/>
                  </a:lnTo>
                  <a:lnTo>
                    <a:pt x="127" y="61"/>
                  </a:lnTo>
                  <a:lnTo>
                    <a:pt x="127" y="66"/>
                  </a:lnTo>
                  <a:lnTo>
                    <a:pt x="122" y="66"/>
                  </a:lnTo>
                  <a:lnTo>
                    <a:pt x="122" y="73"/>
                  </a:lnTo>
                  <a:lnTo>
                    <a:pt x="120" y="75"/>
                  </a:lnTo>
                  <a:lnTo>
                    <a:pt x="115" y="75"/>
                  </a:lnTo>
                  <a:lnTo>
                    <a:pt x="115" y="92"/>
                  </a:lnTo>
                  <a:lnTo>
                    <a:pt x="115" y="90"/>
                  </a:lnTo>
                  <a:lnTo>
                    <a:pt x="120" y="83"/>
                  </a:lnTo>
                  <a:lnTo>
                    <a:pt x="122" y="80"/>
                  </a:lnTo>
                  <a:lnTo>
                    <a:pt x="130" y="75"/>
                  </a:lnTo>
                  <a:lnTo>
                    <a:pt x="139" y="75"/>
                  </a:lnTo>
                  <a:lnTo>
                    <a:pt x="144" y="80"/>
                  </a:lnTo>
                  <a:lnTo>
                    <a:pt x="146" y="83"/>
                  </a:lnTo>
                  <a:lnTo>
                    <a:pt x="151" y="83"/>
                  </a:lnTo>
                  <a:lnTo>
                    <a:pt x="151" y="92"/>
                  </a:lnTo>
                  <a:lnTo>
                    <a:pt x="153" y="97"/>
                  </a:lnTo>
                  <a:lnTo>
                    <a:pt x="156" y="101"/>
                  </a:lnTo>
                  <a:lnTo>
                    <a:pt x="153" y="101"/>
                  </a:lnTo>
                  <a:lnTo>
                    <a:pt x="153" y="106"/>
                  </a:lnTo>
                  <a:lnTo>
                    <a:pt x="151" y="109"/>
                  </a:lnTo>
                  <a:lnTo>
                    <a:pt x="151" y="113"/>
                  </a:lnTo>
                  <a:lnTo>
                    <a:pt x="153" y="113"/>
                  </a:lnTo>
                  <a:lnTo>
                    <a:pt x="156" y="109"/>
                  </a:lnTo>
                  <a:lnTo>
                    <a:pt x="156" y="106"/>
                  </a:lnTo>
                  <a:lnTo>
                    <a:pt x="160" y="106"/>
                  </a:lnTo>
                  <a:lnTo>
                    <a:pt x="167" y="99"/>
                  </a:lnTo>
                  <a:lnTo>
                    <a:pt x="170" y="101"/>
                  </a:lnTo>
                  <a:lnTo>
                    <a:pt x="170" y="106"/>
                  </a:lnTo>
                  <a:lnTo>
                    <a:pt x="172" y="113"/>
                  </a:lnTo>
                  <a:lnTo>
                    <a:pt x="172" y="116"/>
                  </a:lnTo>
                  <a:lnTo>
                    <a:pt x="177" y="120"/>
                  </a:lnTo>
                  <a:lnTo>
                    <a:pt x="177" y="125"/>
                  </a:lnTo>
                  <a:lnTo>
                    <a:pt x="170" y="132"/>
                  </a:lnTo>
                  <a:lnTo>
                    <a:pt x="167" y="137"/>
                  </a:lnTo>
                  <a:lnTo>
                    <a:pt x="163" y="137"/>
                  </a:lnTo>
                  <a:lnTo>
                    <a:pt x="163" y="139"/>
                  </a:lnTo>
                  <a:lnTo>
                    <a:pt x="170" y="139"/>
                  </a:lnTo>
                  <a:lnTo>
                    <a:pt x="172" y="153"/>
                  </a:lnTo>
                  <a:lnTo>
                    <a:pt x="172" y="158"/>
                  </a:lnTo>
                  <a:lnTo>
                    <a:pt x="167" y="158"/>
                  </a:lnTo>
                  <a:lnTo>
                    <a:pt x="163" y="163"/>
                  </a:lnTo>
                  <a:lnTo>
                    <a:pt x="170" y="163"/>
                  </a:lnTo>
                  <a:lnTo>
                    <a:pt x="172" y="158"/>
                  </a:lnTo>
                  <a:lnTo>
                    <a:pt x="172" y="170"/>
                  </a:lnTo>
                  <a:lnTo>
                    <a:pt x="167" y="170"/>
                  </a:lnTo>
                  <a:lnTo>
                    <a:pt x="167" y="172"/>
                  </a:lnTo>
                  <a:lnTo>
                    <a:pt x="170" y="172"/>
                  </a:lnTo>
                  <a:lnTo>
                    <a:pt x="170" y="170"/>
                  </a:lnTo>
                  <a:lnTo>
                    <a:pt x="172" y="170"/>
                  </a:lnTo>
                  <a:lnTo>
                    <a:pt x="172" y="179"/>
                  </a:lnTo>
                  <a:lnTo>
                    <a:pt x="170" y="179"/>
                  </a:lnTo>
                  <a:lnTo>
                    <a:pt x="167" y="182"/>
                  </a:lnTo>
                  <a:lnTo>
                    <a:pt x="167" y="179"/>
                  </a:lnTo>
                  <a:lnTo>
                    <a:pt x="160" y="182"/>
                  </a:lnTo>
                  <a:lnTo>
                    <a:pt x="160" y="189"/>
                  </a:lnTo>
                  <a:lnTo>
                    <a:pt x="156" y="194"/>
                  </a:lnTo>
                  <a:lnTo>
                    <a:pt x="153" y="194"/>
                  </a:lnTo>
                  <a:lnTo>
                    <a:pt x="151" y="198"/>
                  </a:lnTo>
                  <a:lnTo>
                    <a:pt x="139" y="198"/>
                  </a:lnTo>
                  <a:lnTo>
                    <a:pt x="139" y="196"/>
                  </a:lnTo>
                  <a:lnTo>
                    <a:pt x="127" y="196"/>
                  </a:lnTo>
                  <a:lnTo>
                    <a:pt x="122" y="194"/>
                  </a:lnTo>
                  <a:lnTo>
                    <a:pt x="122" y="179"/>
                  </a:lnTo>
                  <a:lnTo>
                    <a:pt x="127" y="179"/>
                  </a:lnTo>
                  <a:lnTo>
                    <a:pt x="127" y="177"/>
                  </a:lnTo>
                  <a:lnTo>
                    <a:pt x="122" y="172"/>
                  </a:lnTo>
                  <a:lnTo>
                    <a:pt x="122" y="177"/>
                  </a:lnTo>
                  <a:lnTo>
                    <a:pt x="120" y="182"/>
                  </a:lnTo>
                  <a:lnTo>
                    <a:pt x="115" y="187"/>
                  </a:lnTo>
                  <a:lnTo>
                    <a:pt x="115" y="189"/>
                  </a:lnTo>
                  <a:lnTo>
                    <a:pt x="120" y="196"/>
                  </a:lnTo>
                  <a:lnTo>
                    <a:pt x="127" y="203"/>
                  </a:lnTo>
                  <a:lnTo>
                    <a:pt x="130" y="205"/>
                  </a:lnTo>
                  <a:lnTo>
                    <a:pt x="130" y="213"/>
                  </a:lnTo>
                  <a:lnTo>
                    <a:pt x="127" y="217"/>
                  </a:lnTo>
                  <a:lnTo>
                    <a:pt x="120" y="227"/>
                  </a:lnTo>
                  <a:lnTo>
                    <a:pt x="115" y="229"/>
                  </a:lnTo>
                  <a:lnTo>
                    <a:pt x="111" y="229"/>
                  </a:lnTo>
                  <a:lnTo>
                    <a:pt x="111" y="227"/>
                  </a:lnTo>
                  <a:lnTo>
                    <a:pt x="106" y="222"/>
                  </a:lnTo>
                  <a:lnTo>
                    <a:pt x="106" y="220"/>
                  </a:lnTo>
                  <a:lnTo>
                    <a:pt x="104" y="220"/>
                  </a:lnTo>
                  <a:lnTo>
                    <a:pt x="104" y="222"/>
                  </a:lnTo>
                  <a:lnTo>
                    <a:pt x="97" y="222"/>
                  </a:lnTo>
                  <a:lnTo>
                    <a:pt x="97" y="220"/>
                  </a:lnTo>
                  <a:lnTo>
                    <a:pt x="94" y="217"/>
                  </a:lnTo>
                  <a:lnTo>
                    <a:pt x="89" y="203"/>
                  </a:lnTo>
                  <a:lnTo>
                    <a:pt x="87" y="198"/>
                  </a:lnTo>
                  <a:lnTo>
                    <a:pt x="82" y="189"/>
                  </a:lnTo>
                  <a:lnTo>
                    <a:pt x="82" y="187"/>
                  </a:lnTo>
                  <a:lnTo>
                    <a:pt x="80" y="179"/>
                  </a:lnTo>
                  <a:lnTo>
                    <a:pt x="73" y="179"/>
                  </a:lnTo>
                  <a:lnTo>
                    <a:pt x="71" y="177"/>
                  </a:lnTo>
                  <a:lnTo>
                    <a:pt x="66" y="170"/>
                  </a:lnTo>
                  <a:lnTo>
                    <a:pt x="66" y="165"/>
                  </a:lnTo>
                  <a:lnTo>
                    <a:pt x="56" y="153"/>
                  </a:lnTo>
                  <a:lnTo>
                    <a:pt x="56" y="149"/>
                  </a:lnTo>
                  <a:lnTo>
                    <a:pt x="49" y="149"/>
                  </a:lnTo>
                  <a:lnTo>
                    <a:pt x="47" y="153"/>
                  </a:lnTo>
                  <a:lnTo>
                    <a:pt x="47" y="149"/>
                  </a:lnTo>
                  <a:lnTo>
                    <a:pt x="42" y="146"/>
                  </a:lnTo>
                  <a:lnTo>
                    <a:pt x="42" y="142"/>
                  </a:lnTo>
                  <a:lnTo>
                    <a:pt x="40" y="139"/>
                  </a:lnTo>
                  <a:lnTo>
                    <a:pt x="40" y="137"/>
                  </a:lnTo>
                  <a:lnTo>
                    <a:pt x="35" y="139"/>
                  </a:lnTo>
                  <a:lnTo>
                    <a:pt x="35" y="142"/>
                  </a:lnTo>
                  <a:lnTo>
                    <a:pt x="33" y="142"/>
                  </a:lnTo>
                  <a:lnTo>
                    <a:pt x="30" y="139"/>
                  </a:lnTo>
                  <a:lnTo>
                    <a:pt x="23" y="139"/>
                  </a:lnTo>
                  <a:lnTo>
                    <a:pt x="23" y="137"/>
                  </a:lnTo>
                  <a:lnTo>
                    <a:pt x="19" y="125"/>
                  </a:lnTo>
                  <a:lnTo>
                    <a:pt x="19" y="123"/>
                  </a:lnTo>
                  <a:lnTo>
                    <a:pt x="16" y="120"/>
                  </a:lnTo>
                  <a:lnTo>
                    <a:pt x="14" y="120"/>
                  </a:lnTo>
                  <a:lnTo>
                    <a:pt x="9" y="116"/>
                  </a:lnTo>
                  <a:lnTo>
                    <a:pt x="7" y="113"/>
                  </a:lnTo>
                  <a:lnTo>
                    <a:pt x="2" y="106"/>
                  </a:lnTo>
                  <a:lnTo>
                    <a:pt x="0" y="101"/>
                  </a:lnTo>
                  <a:lnTo>
                    <a:pt x="0" y="92"/>
                  </a:lnTo>
                  <a:lnTo>
                    <a:pt x="2" y="92"/>
                  </a:lnTo>
                  <a:lnTo>
                    <a:pt x="2" y="83"/>
                  </a:lnTo>
                  <a:lnTo>
                    <a:pt x="7" y="80"/>
                  </a:lnTo>
                  <a:lnTo>
                    <a:pt x="7" y="75"/>
                  </a:lnTo>
                  <a:lnTo>
                    <a:pt x="9" y="73"/>
                  </a:lnTo>
                  <a:lnTo>
                    <a:pt x="23" y="73"/>
                  </a:lnTo>
                  <a:lnTo>
                    <a:pt x="23" y="75"/>
                  </a:lnTo>
                  <a:lnTo>
                    <a:pt x="26" y="83"/>
                  </a:lnTo>
                  <a:lnTo>
                    <a:pt x="26" y="85"/>
                  </a:lnTo>
                  <a:lnTo>
                    <a:pt x="30" y="85"/>
                  </a:lnTo>
                  <a:lnTo>
                    <a:pt x="30" y="90"/>
                  </a:lnTo>
                  <a:lnTo>
                    <a:pt x="33" y="90"/>
                  </a:lnTo>
                  <a:lnTo>
                    <a:pt x="35" y="99"/>
                  </a:lnTo>
                  <a:lnTo>
                    <a:pt x="35" y="101"/>
                  </a:lnTo>
                  <a:lnTo>
                    <a:pt x="40" y="106"/>
                  </a:lnTo>
                  <a:lnTo>
                    <a:pt x="54" y="106"/>
                  </a:lnTo>
                  <a:lnTo>
                    <a:pt x="54" y="101"/>
                  </a:lnTo>
                  <a:lnTo>
                    <a:pt x="56" y="99"/>
                  </a:lnTo>
                  <a:lnTo>
                    <a:pt x="59" y="101"/>
                  </a:lnTo>
                  <a:lnTo>
                    <a:pt x="63" y="10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19" name="Freeform 408">
              <a:extLst>
                <a:ext uri="{FF2B5EF4-FFF2-40B4-BE49-F238E27FC236}">
                  <a16:creationId xmlns:a16="http://schemas.microsoft.com/office/drawing/2014/main" id="{96589ED7-E472-4B76-AF9E-B959B807AFAE}"/>
                </a:ext>
              </a:extLst>
            </p:cNvPr>
            <p:cNvSpPr>
              <a:spLocks/>
            </p:cNvSpPr>
            <p:nvPr/>
          </p:nvSpPr>
          <p:spPr bwMode="gray">
            <a:xfrm rot="47099">
              <a:off x="1586380" y="1899041"/>
              <a:ext cx="4453" cy="3860"/>
            </a:xfrm>
            <a:custGeom>
              <a:avLst/>
              <a:gdLst>
                <a:gd name="T0" fmla="*/ 5 w 9"/>
                <a:gd name="T1" fmla="*/ 7 h 7"/>
                <a:gd name="T2" fmla="*/ 0 w 9"/>
                <a:gd name="T3" fmla="*/ 7 h 7"/>
                <a:gd name="T4" fmla="*/ 0 w 9"/>
                <a:gd name="T5" fmla="*/ 3 h 7"/>
                <a:gd name="T6" fmla="*/ 5 w 9"/>
                <a:gd name="T7" fmla="*/ 0 h 7"/>
                <a:gd name="T8" fmla="*/ 9 w 9"/>
                <a:gd name="T9" fmla="*/ 3 h 7"/>
                <a:gd name="T10" fmla="*/ 9 w 9"/>
                <a:gd name="T11" fmla="*/ 7 h 7"/>
                <a:gd name="T12" fmla="*/ 5 w 9"/>
                <a:gd name="T13" fmla="*/ 7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5" y="7"/>
                  </a:moveTo>
                  <a:lnTo>
                    <a:pt x="0" y="7"/>
                  </a:lnTo>
                  <a:lnTo>
                    <a:pt x="0" y="3"/>
                  </a:lnTo>
                  <a:lnTo>
                    <a:pt x="5" y="0"/>
                  </a:lnTo>
                  <a:lnTo>
                    <a:pt x="9" y="3"/>
                  </a:lnTo>
                  <a:lnTo>
                    <a:pt x="9" y="7"/>
                  </a:lnTo>
                  <a:lnTo>
                    <a:pt x="5"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0" name="Freeform 409">
              <a:extLst>
                <a:ext uri="{FF2B5EF4-FFF2-40B4-BE49-F238E27FC236}">
                  <a16:creationId xmlns:a16="http://schemas.microsoft.com/office/drawing/2014/main" id="{DABF2552-4CB8-455B-96D0-3BB39390B324}"/>
                </a:ext>
              </a:extLst>
            </p:cNvPr>
            <p:cNvSpPr>
              <a:spLocks/>
            </p:cNvSpPr>
            <p:nvPr/>
          </p:nvSpPr>
          <p:spPr bwMode="gray">
            <a:xfrm rot="47099">
              <a:off x="1478480" y="1904421"/>
              <a:ext cx="19593" cy="11578"/>
            </a:xfrm>
            <a:custGeom>
              <a:avLst/>
              <a:gdLst>
                <a:gd name="T0" fmla="*/ 43 w 43"/>
                <a:gd name="T1" fmla="*/ 0 h 26"/>
                <a:gd name="T2" fmla="*/ 43 w 43"/>
                <a:gd name="T3" fmla="*/ 10 h 26"/>
                <a:gd name="T4" fmla="*/ 41 w 43"/>
                <a:gd name="T5" fmla="*/ 10 h 26"/>
                <a:gd name="T6" fmla="*/ 41 w 43"/>
                <a:gd name="T7" fmla="*/ 12 h 26"/>
                <a:gd name="T8" fmla="*/ 33 w 43"/>
                <a:gd name="T9" fmla="*/ 19 h 26"/>
                <a:gd name="T10" fmla="*/ 31 w 43"/>
                <a:gd name="T11" fmla="*/ 19 h 26"/>
                <a:gd name="T12" fmla="*/ 26 w 43"/>
                <a:gd name="T13" fmla="*/ 22 h 26"/>
                <a:gd name="T14" fmla="*/ 24 w 43"/>
                <a:gd name="T15" fmla="*/ 22 h 26"/>
                <a:gd name="T16" fmla="*/ 17 w 43"/>
                <a:gd name="T17" fmla="*/ 26 h 26"/>
                <a:gd name="T18" fmla="*/ 8 w 43"/>
                <a:gd name="T19" fmla="*/ 26 h 26"/>
                <a:gd name="T20" fmla="*/ 0 w 43"/>
                <a:gd name="T21" fmla="*/ 22 h 26"/>
                <a:gd name="T22" fmla="*/ 0 w 43"/>
                <a:gd name="T23" fmla="*/ 17 h 26"/>
                <a:gd name="T24" fmla="*/ 5 w 43"/>
                <a:gd name="T25" fmla="*/ 17 h 26"/>
                <a:gd name="T26" fmla="*/ 8 w 43"/>
                <a:gd name="T27" fmla="*/ 12 h 26"/>
                <a:gd name="T28" fmla="*/ 10 w 43"/>
                <a:gd name="T29" fmla="*/ 12 h 26"/>
                <a:gd name="T30" fmla="*/ 10 w 43"/>
                <a:gd name="T31" fmla="*/ 10 h 26"/>
                <a:gd name="T32" fmla="*/ 15 w 43"/>
                <a:gd name="T33" fmla="*/ 10 h 26"/>
                <a:gd name="T34" fmla="*/ 22 w 43"/>
                <a:gd name="T35" fmla="*/ 5 h 26"/>
                <a:gd name="T36" fmla="*/ 26 w 43"/>
                <a:gd name="T37" fmla="*/ 5 h 26"/>
                <a:gd name="T38" fmla="*/ 26 w 43"/>
                <a:gd name="T39" fmla="*/ 3 h 26"/>
                <a:gd name="T40" fmla="*/ 31 w 43"/>
                <a:gd name="T41" fmla="*/ 3 h 26"/>
                <a:gd name="T42" fmla="*/ 33 w 43"/>
                <a:gd name="T43" fmla="*/ 0 h 26"/>
                <a:gd name="T44" fmla="*/ 43 w 43"/>
                <a:gd name="T45" fmla="*/ 0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26"/>
                <a:gd name="T71" fmla="*/ 43 w 43"/>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26">
                  <a:moveTo>
                    <a:pt x="43" y="0"/>
                  </a:moveTo>
                  <a:lnTo>
                    <a:pt x="43" y="10"/>
                  </a:lnTo>
                  <a:lnTo>
                    <a:pt x="41" y="10"/>
                  </a:lnTo>
                  <a:lnTo>
                    <a:pt x="41" y="12"/>
                  </a:lnTo>
                  <a:lnTo>
                    <a:pt x="33" y="19"/>
                  </a:lnTo>
                  <a:lnTo>
                    <a:pt x="31" y="19"/>
                  </a:lnTo>
                  <a:lnTo>
                    <a:pt x="26" y="22"/>
                  </a:lnTo>
                  <a:lnTo>
                    <a:pt x="24" y="22"/>
                  </a:lnTo>
                  <a:lnTo>
                    <a:pt x="17" y="26"/>
                  </a:lnTo>
                  <a:lnTo>
                    <a:pt x="8" y="26"/>
                  </a:lnTo>
                  <a:lnTo>
                    <a:pt x="0" y="22"/>
                  </a:lnTo>
                  <a:lnTo>
                    <a:pt x="0" y="17"/>
                  </a:lnTo>
                  <a:lnTo>
                    <a:pt x="5" y="17"/>
                  </a:lnTo>
                  <a:lnTo>
                    <a:pt x="8" y="12"/>
                  </a:lnTo>
                  <a:lnTo>
                    <a:pt x="10" y="12"/>
                  </a:lnTo>
                  <a:lnTo>
                    <a:pt x="10" y="10"/>
                  </a:lnTo>
                  <a:lnTo>
                    <a:pt x="15" y="10"/>
                  </a:lnTo>
                  <a:lnTo>
                    <a:pt x="22" y="5"/>
                  </a:lnTo>
                  <a:lnTo>
                    <a:pt x="26" y="5"/>
                  </a:lnTo>
                  <a:lnTo>
                    <a:pt x="26" y="3"/>
                  </a:lnTo>
                  <a:lnTo>
                    <a:pt x="31" y="3"/>
                  </a:lnTo>
                  <a:lnTo>
                    <a:pt x="33" y="0"/>
                  </a:lnTo>
                  <a:lnTo>
                    <a:pt x="4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1" name="Freeform 410">
              <a:extLst>
                <a:ext uri="{FF2B5EF4-FFF2-40B4-BE49-F238E27FC236}">
                  <a16:creationId xmlns:a16="http://schemas.microsoft.com/office/drawing/2014/main" id="{DE86CEC9-2050-450F-9E27-26B89E4D024B}"/>
                </a:ext>
              </a:extLst>
            </p:cNvPr>
            <p:cNvSpPr>
              <a:spLocks/>
            </p:cNvSpPr>
            <p:nvPr/>
          </p:nvSpPr>
          <p:spPr bwMode="gray">
            <a:xfrm rot="47099">
              <a:off x="1522549" y="1898580"/>
              <a:ext cx="64124" cy="91658"/>
            </a:xfrm>
            <a:custGeom>
              <a:avLst/>
              <a:gdLst>
                <a:gd name="T0" fmla="*/ 5 w 137"/>
                <a:gd name="T1" fmla="*/ 71 h 196"/>
                <a:gd name="T2" fmla="*/ 0 w 137"/>
                <a:gd name="T3" fmla="*/ 57 h 196"/>
                <a:gd name="T4" fmla="*/ 0 w 137"/>
                <a:gd name="T5" fmla="*/ 55 h 196"/>
                <a:gd name="T6" fmla="*/ 5 w 137"/>
                <a:gd name="T7" fmla="*/ 40 h 196"/>
                <a:gd name="T8" fmla="*/ 14 w 137"/>
                <a:gd name="T9" fmla="*/ 43 h 196"/>
                <a:gd name="T10" fmla="*/ 17 w 137"/>
                <a:gd name="T11" fmla="*/ 47 h 196"/>
                <a:gd name="T12" fmla="*/ 26 w 137"/>
                <a:gd name="T13" fmla="*/ 50 h 196"/>
                <a:gd name="T14" fmla="*/ 22 w 137"/>
                <a:gd name="T15" fmla="*/ 47 h 196"/>
                <a:gd name="T16" fmla="*/ 14 w 137"/>
                <a:gd name="T17" fmla="*/ 33 h 196"/>
                <a:gd name="T18" fmla="*/ 14 w 137"/>
                <a:gd name="T19" fmla="*/ 33 h 196"/>
                <a:gd name="T20" fmla="*/ 10 w 137"/>
                <a:gd name="T21" fmla="*/ 33 h 196"/>
                <a:gd name="T22" fmla="*/ 7 w 137"/>
                <a:gd name="T23" fmla="*/ 24 h 196"/>
                <a:gd name="T24" fmla="*/ 14 w 137"/>
                <a:gd name="T25" fmla="*/ 17 h 196"/>
                <a:gd name="T26" fmla="*/ 17 w 137"/>
                <a:gd name="T27" fmla="*/ 14 h 196"/>
                <a:gd name="T28" fmla="*/ 22 w 137"/>
                <a:gd name="T29" fmla="*/ 10 h 196"/>
                <a:gd name="T30" fmla="*/ 31 w 137"/>
                <a:gd name="T31" fmla="*/ 7 h 196"/>
                <a:gd name="T32" fmla="*/ 48 w 137"/>
                <a:gd name="T33" fmla="*/ 10 h 196"/>
                <a:gd name="T34" fmla="*/ 48 w 137"/>
                <a:gd name="T35" fmla="*/ 3 h 196"/>
                <a:gd name="T36" fmla="*/ 55 w 137"/>
                <a:gd name="T37" fmla="*/ 0 h 196"/>
                <a:gd name="T38" fmla="*/ 57 w 137"/>
                <a:gd name="T39" fmla="*/ 3 h 196"/>
                <a:gd name="T40" fmla="*/ 74 w 137"/>
                <a:gd name="T41" fmla="*/ 7 h 196"/>
                <a:gd name="T42" fmla="*/ 83 w 137"/>
                <a:gd name="T43" fmla="*/ 10 h 196"/>
                <a:gd name="T44" fmla="*/ 88 w 137"/>
                <a:gd name="T45" fmla="*/ 17 h 196"/>
                <a:gd name="T46" fmla="*/ 95 w 137"/>
                <a:gd name="T47" fmla="*/ 10 h 196"/>
                <a:gd name="T48" fmla="*/ 123 w 137"/>
                <a:gd name="T49" fmla="*/ 14 h 196"/>
                <a:gd name="T50" fmla="*/ 135 w 137"/>
                <a:gd name="T51" fmla="*/ 17 h 196"/>
                <a:gd name="T52" fmla="*/ 137 w 137"/>
                <a:gd name="T53" fmla="*/ 14 h 196"/>
                <a:gd name="T54" fmla="*/ 135 w 137"/>
                <a:gd name="T55" fmla="*/ 24 h 196"/>
                <a:gd name="T56" fmla="*/ 130 w 137"/>
                <a:gd name="T57" fmla="*/ 36 h 196"/>
                <a:gd name="T58" fmla="*/ 128 w 137"/>
                <a:gd name="T59" fmla="*/ 50 h 196"/>
                <a:gd name="T60" fmla="*/ 121 w 137"/>
                <a:gd name="T61" fmla="*/ 64 h 196"/>
                <a:gd name="T62" fmla="*/ 118 w 137"/>
                <a:gd name="T63" fmla="*/ 80 h 196"/>
                <a:gd name="T64" fmla="*/ 111 w 137"/>
                <a:gd name="T65" fmla="*/ 97 h 196"/>
                <a:gd name="T66" fmla="*/ 107 w 137"/>
                <a:gd name="T67" fmla="*/ 111 h 196"/>
                <a:gd name="T68" fmla="*/ 104 w 137"/>
                <a:gd name="T69" fmla="*/ 123 h 196"/>
                <a:gd name="T70" fmla="*/ 78 w 137"/>
                <a:gd name="T71" fmla="*/ 121 h 196"/>
                <a:gd name="T72" fmla="*/ 64 w 137"/>
                <a:gd name="T73" fmla="*/ 123 h 196"/>
                <a:gd name="T74" fmla="*/ 43 w 137"/>
                <a:gd name="T75" fmla="*/ 130 h 196"/>
                <a:gd name="T76" fmla="*/ 48 w 137"/>
                <a:gd name="T77" fmla="*/ 128 h 196"/>
                <a:gd name="T78" fmla="*/ 55 w 137"/>
                <a:gd name="T79" fmla="*/ 130 h 196"/>
                <a:gd name="T80" fmla="*/ 57 w 137"/>
                <a:gd name="T81" fmla="*/ 132 h 196"/>
                <a:gd name="T82" fmla="*/ 64 w 137"/>
                <a:gd name="T83" fmla="*/ 140 h 196"/>
                <a:gd name="T84" fmla="*/ 71 w 137"/>
                <a:gd name="T85" fmla="*/ 151 h 196"/>
                <a:gd name="T86" fmla="*/ 62 w 137"/>
                <a:gd name="T87" fmla="*/ 161 h 196"/>
                <a:gd name="T88" fmla="*/ 57 w 137"/>
                <a:gd name="T89" fmla="*/ 170 h 196"/>
                <a:gd name="T90" fmla="*/ 55 w 137"/>
                <a:gd name="T91" fmla="*/ 184 h 196"/>
                <a:gd name="T92" fmla="*/ 57 w 137"/>
                <a:gd name="T93" fmla="*/ 187 h 196"/>
                <a:gd name="T94" fmla="*/ 55 w 137"/>
                <a:gd name="T95" fmla="*/ 189 h 196"/>
                <a:gd name="T96" fmla="*/ 33 w 137"/>
                <a:gd name="T97" fmla="*/ 194 h 196"/>
                <a:gd name="T98" fmla="*/ 24 w 137"/>
                <a:gd name="T99" fmla="*/ 196 h 196"/>
                <a:gd name="T100" fmla="*/ 26 w 137"/>
                <a:gd name="T101" fmla="*/ 180 h 196"/>
                <a:gd name="T102" fmla="*/ 33 w 137"/>
                <a:gd name="T103" fmla="*/ 177 h 196"/>
                <a:gd name="T104" fmla="*/ 24 w 137"/>
                <a:gd name="T105" fmla="*/ 180 h 196"/>
                <a:gd name="T106" fmla="*/ 22 w 137"/>
                <a:gd name="T107" fmla="*/ 147 h 196"/>
                <a:gd name="T108" fmla="*/ 17 w 137"/>
                <a:gd name="T109" fmla="*/ 140 h 196"/>
                <a:gd name="T110" fmla="*/ 14 w 137"/>
                <a:gd name="T111" fmla="*/ 132 h 196"/>
                <a:gd name="T112" fmla="*/ 7 w 137"/>
                <a:gd name="T113" fmla="*/ 114 h 196"/>
                <a:gd name="T114" fmla="*/ 5 w 137"/>
                <a:gd name="T115" fmla="*/ 99 h 196"/>
                <a:gd name="T116" fmla="*/ 7 w 137"/>
                <a:gd name="T117" fmla="*/ 92 h 196"/>
                <a:gd name="T118" fmla="*/ 5 w 137"/>
                <a:gd name="T119" fmla="*/ 76 h 1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7"/>
                <a:gd name="T181" fmla="*/ 0 h 196"/>
                <a:gd name="T182" fmla="*/ 137 w 137"/>
                <a:gd name="T183" fmla="*/ 196 h 1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7" h="196">
                  <a:moveTo>
                    <a:pt x="5" y="76"/>
                  </a:moveTo>
                  <a:lnTo>
                    <a:pt x="5" y="71"/>
                  </a:lnTo>
                  <a:lnTo>
                    <a:pt x="0" y="71"/>
                  </a:lnTo>
                  <a:lnTo>
                    <a:pt x="0" y="57"/>
                  </a:lnTo>
                  <a:lnTo>
                    <a:pt x="5" y="55"/>
                  </a:lnTo>
                  <a:lnTo>
                    <a:pt x="0" y="55"/>
                  </a:lnTo>
                  <a:lnTo>
                    <a:pt x="0" y="43"/>
                  </a:lnTo>
                  <a:lnTo>
                    <a:pt x="5" y="40"/>
                  </a:lnTo>
                  <a:lnTo>
                    <a:pt x="10" y="40"/>
                  </a:lnTo>
                  <a:lnTo>
                    <a:pt x="14" y="43"/>
                  </a:lnTo>
                  <a:lnTo>
                    <a:pt x="14" y="47"/>
                  </a:lnTo>
                  <a:lnTo>
                    <a:pt x="17" y="47"/>
                  </a:lnTo>
                  <a:lnTo>
                    <a:pt x="22" y="50"/>
                  </a:lnTo>
                  <a:lnTo>
                    <a:pt x="26" y="50"/>
                  </a:lnTo>
                  <a:lnTo>
                    <a:pt x="26" y="47"/>
                  </a:lnTo>
                  <a:lnTo>
                    <a:pt x="22" y="47"/>
                  </a:lnTo>
                  <a:lnTo>
                    <a:pt x="14" y="40"/>
                  </a:lnTo>
                  <a:lnTo>
                    <a:pt x="14" y="33"/>
                  </a:lnTo>
                  <a:lnTo>
                    <a:pt x="17" y="33"/>
                  </a:lnTo>
                  <a:lnTo>
                    <a:pt x="14" y="33"/>
                  </a:lnTo>
                  <a:lnTo>
                    <a:pt x="14" y="36"/>
                  </a:lnTo>
                  <a:lnTo>
                    <a:pt x="10" y="33"/>
                  </a:lnTo>
                  <a:lnTo>
                    <a:pt x="7" y="31"/>
                  </a:lnTo>
                  <a:lnTo>
                    <a:pt x="7" y="24"/>
                  </a:lnTo>
                  <a:lnTo>
                    <a:pt x="10" y="19"/>
                  </a:lnTo>
                  <a:lnTo>
                    <a:pt x="14" y="17"/>
                  </a:lnTo>
                  <a:lnTo>
                    <a:pt x="17" y="17"/>
                  </a:lnTo>
                  <a:lnTo>
                    <a:pt x="17" y="14"/>
                  </a:lnTo>
                  <a:lnTo>
                    <a:pt x="22" y="14"/>
                  </a:lnTo>
                  <a:lnTo>
                    <a:pt x="22" y="10"/>
                  </a:lnTo>
                  <a:lnTo>
                    <a:pt x="31" y="10"/>
                  </a:lnTo>
                  <a:lnTo>
                    <a:pt x="31" y="7"/>
                  </a:lnTo>
                  <a:lnTo>
                    <a:pt x="40" y="7"/>
                  </a:lnTo>
                  <a:lnTo>
                    <a:pt x="48" y="10"/>
                  </a:lnTo>
                  <a:lnTo>
                    <a:pt x="43" y="7"/>
                  </a:lnTo>
                  <a:lnTo>
                    <a:pt x="48" y="3"/>
                  </a:lnTo>
                  <a:lnTo>
                    <a:pt x="50" y="3"/>
                  </a:lnTo>
                  <a:lnTo>
                    <a:pt x="55" y="0"/>
                  </a:lnTo>
                  <a:lnTo>
                    <a:pt x="57" y="0"/>
                  </a:lnTo>
                  <a:lnTo>
                    <a:pt x="57" y="3"/>
                  </a:lnTo>
                  <a:lnTo>
                    <a:pt x="71" y="3"/>
                  </a:lnTo>
                  <a:lnTo>
                    <a:pt x="74" y="7"/>
                  </a:lnTo>
                  <a:lnTo>
                    <a:pt x="81" y="10"/>
                  </a:lnTo>
                  <a:lnTo>
                    <a:pt x="83" y="10"/>
                  </a:lnTo>
                  <a:lnTo>
                    <a:pt x="83" y="17"/>
                  </a:lnTo>
                  <a:lnTo>
                    <a:pt x="88" y="17"/>
                  </a:lnTo>
                  <a:lnTo>
                    <a:pt x="88" y="14"/>
                  </a:lnTo>
                  <a:lnTo>
                    <a:pt x="95" y="10"/>
                  </a:lnTo>
                  <a:lnTo>
                    <a:pt x="123" y="10"/>
                  </a:lnTo>
                  <a:lnTo>
                    <a:pt x="123" y="14"/>
                  </a:lnTo>
                  <a:lnTo>
                    <a:pt x="130" y="14"/>
                  </a:lnTo>
                  <a:lnTo>
                    <a:pt x="135" y="17"/>
                  </a:lnTo>
                  <a:lnTo>
                    <a:pt x="135" y="14"/>
                  </a:lnTo>
                  <a:lnTo>
                    <a:pt x="137" y="14"/>
                  </a:lnTo>
                  <a:lnTo>
                    <a:pt x="137" y="19"/>
                  </a:lnTo>
                  <a:lnTo>
                    <a:pt x="135" y="24"/>
                  </a:lnTo>
                  <a:lnTo>
                    <a:pt x="135" y="33"/>
                  </a:lnTo>
                  <a:lnTo>
                    <a:pt x="130" y="36"/>
                  </a:lnTo>
                  <a:lnTo>
                    <a:pt x="128" y="43"/>
                  </a:lnTo>
                  <a:lnTo>
                    <a:pt x="128" y="50"/>
                  </a:lnTo>
                  <a:lnTo>
                    <a:pt x="123" y="55"/>
                  </a:lnTo>
                  <a:lnTo>
                    <a:pt x="121" y="64"/>
                  </a:lnTo>
                  <a:lnTo>
                    <a:pt x="121" y="73"/>
                  </a:lnTo>
                  <a:lnTo>
                    <a:pt x="118" y="80"/>
                  </a:lnTo>
                  <a:lnTo>
                    <a:pt x="114" y="92"/>
                  </a:lnTo>
                  <a:lnTo>
                    <a:pt x="111" y="97"/>
                  </a:lnTo>
                  <a:lnTo>
                    <a:pt x="111" y="111"/>
                  </a:lnTo>
                  <a:lnTo>
                    <a:pt x="107" y="111"/>
                  </a:lnTo>
                  <a:lnTo>
                    <a:pt x="104" y="121"/>
                  </a:lnTo>
                  <a:lnTo>
                    <a:pt x="104" y="123"/>
                  </a:lnTo>
                  <a:lnTo>
                    <a:pt x="81" y="123"/>
                  </a:lnTo>
                  <a:lnTo>
                    <a:pt x="78" y="121"/>
                  </a:lnTo>
                  <a:lnTo>
                    <a:pt x="66" y="121"/>
                  </a:lnTo>
                  <a:lnTo>
                    <a:pt x="64" y="123"/>
                  </a:lnTo>
                  <a:lnTo>
                    <a:pt x="43" y="123"/>
                  </a:lnTo>
                  <a:lnTo>
                    <a:pt x="43" y="130"/>
                  </a:lnTo>
                  <a:lnTo>
                    <a:pt x="43" y="128"/>
                  </a:lnTo>
                  <a:lnTo>
                    <a:pt x="48" y="128"/>
                  </a:lnTo>
                  <a:lnTo>
                    <a:pt x="50" y="130"/>
                  </a:lnTo>
                  <a:lnTo>
                    <a:pt x="55" y="130"/>
                  </a:lnTo>
                  <a:lnTo>
                    <a:pt x="57" y="128"/>
                  </a:lnTo>
                  <a:lnTo>
                    <a:pt x="57" y="132"/>
                  </a:lnTo>
                  <a:lnTo>
                    <a:pt x="62" y="137"/>
                  </a:lnTo>
                  <a:lnTo>
                    <a:pt x="64" y="140"/>
                  </a:lnTo>
                  <a:lnTo>
                    <a:pt x="66" y="144"/>
                  </a:lnTo>
                  <a:lnTo>
                    <a:pt x="71" y="151"/>
                  </a:lnTo>
                  <a:lnTo>
                    <a:pt x="64" y="161"/>
                  </a:lnTo>
                  <a:lnTo>
                    <a:pt x="62" y="161"/>
                  </a:lnTo>
                  <a:lnTo>
                    <a:pt x="62" y="163"/>
                  </a:lnTo>
                  <a:lnTo>
                    <a:pt x="57" y="170"/>
                  </a:lnTo>
                  <a:lnTo>
                    <a:pt x="57" y="184"/>
                  </a:lnTo>
                  <a:lnTo>
                    <a:pt x="55" y="184"/>
                  </a:lnTo>
                  <a:lnTo>
                    <a:pt x="55" y="187"/>
                  </a:lnTo>
                  <a:lnTo>
                    <a:pt x="57" y="187"/>
                  </a:lnTo>
                  <a:lnTo>
                    <a:pt x="57" y="194"/>
                  </a:lnTo>
                  <a:lnTo>
                    <a:pt x="55" y="189"/>
                  </a:lnTo>
                  <a:lnTo>
                    <a:pt x="38" y="189"/>
                  </a:lnTo>
                  <a:lnTo>
                    <a:pt x="33" y="194"/>
                  </a:lnTo>
                  <a:lnTo>
                    <a:pt x="26" y="196"/>
                  </a:lnTo>
                  <a:lnTo>
                    <a:pt x="24" y="196"/>
                  </a:lnTo>
                  <a:lnTo>
                    <a:pt x="24" y="184"/>
                  </a:lnTo>
                  <a:lnTo>
                    <a:pt x="26" y="180"/>
                  </a:lnTo>
                  <a:lnTo>
                    <a:pt x="38" y="180"/>
                  </a:lnTo>
                  <a:lnTo>
                    <a:pt x="33" y="177"/>
                  </a:lnTo>
                  <a:lnTo>
                    <a:pt x="31" y="180"/>
                  </a:lnTo>
                  <a:lnTo>
                    <a:pt x="24" y="180"/>
                  </a:lnTo>
                  <a:lnTo>
                    <a:pt x="24" y="154"/>
                  </a:lnTo>
                  <a:lnTo>
                    <a:pt x="22" y="147"/>
                  </a:lnTo>
                  <a:lnTo>
                    <a:pt x="17" y="147"/>
                  </a:lnTo>
                  <a:lnTo>
                    <a:pt x="17" y="140"/>
                  </a:lnTo>
                  <a:lnTo>
                    <a:pt x="14" y="137"/>
                  </a:lnTo>
                  <a:lnTo>
                    <a:pt x="14" y="132"/>
                  </a:lnTo>
                  <a:lnTo>
                    <a:pt x="7" y="132"/>
                  </a:lnTo>
                  <a:lnTo>
                    <a:pt x="7" y="114"/>
                  </a:lnTo>
                  <a:lnTo>
                    <a:pt x="5" y="106"/>
                  </a:lnTo>
                  <a:lnTo>
                    <a:pt x="5" y="99"/>
                  </a:lnTo>
                  <a:lnTo>
                    <a:pt x="7" y="97"/>
                  </a:lnTo>
                  <a:lnTo>
                    <a:pt x="7" y="92"/>
                  </a:lnTo>
                  <a:lnTo>
                    <a:pt x="5" y="83"/>
                  </a:lnTo>
                  <a:lnTo>
                    <a:pt x="5" y="7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2" name="Freeform 411">
              <a:extLst>
                <a:ext uri="{FF2B5EF4-FFF2-40B4-BE49-F238E27FC236}">
                  <a16:creationId xmlns:a16="http://schemas.microsoft.com/office/drawing/2014/main" id="{9B936A7C-8EB8-4428-B6B3-B8F721CFA310}"/>
                </a:ext>
              </a:extLst>
            </p:cNvPr>
            <p:cNvSpPr>
              <a:spLocks/>
            </p:cNvSpPr>
            <p:nvPr/>
          </p:nvSpPr>
          <p:spPr bwMode="gray">
            <a:xfrm rot="47099">
              <a:off x="1485810" y="1894756"/>
              <a:ext cx="2672" cy="965"/>
            </a:xfrm>
            <a:custGeom>
              <a:avLst/>
              <a:gdLst>
                <a:gd name="T0" fmla="*/ 7 w 7"/>
                <a:gd name="T1" fmla="*/ 0 h 2"/>
                <a:gd name="T2" fmla="*/ 7 w 7"/>
                <a:gd name="T3" fmla="*/ 2 h 2"/>
                <a:gd name="T4" fmla="*/ 0 w 7"/>
                <a:gd name="T5" fmla="*/ 2 h 2"/>
                <a:gd name="T6" fmla="*/ 2 w 7"/>
                <a:gd name="T7" fmla="*/ 0 h 2"/>
                <a:gd name="T8" fmla="*/ 7 w 7"/>
                <a:gd name="T9" fmla="*/ 0 h 2"/>
                <a:gd name="T10" fmla="*/ 0 60000 65536"/>
                <a:gd name="T11" fmla="*/ 0 60000 65536"/>
                <a:gd name="T12" fmla="*/ 0 60000 65536"/>
                <a:gd name="T13" fmla="*/ 0 60000 65536"/>
                <a:gd name="T14" fmla="*/ 0 60000 65536"/>
                <a:gd name="T15" fmla="*/ 0 w 7"/>
                <a:gd name="T16" fmla="*/ 0 h 2"/>
                <a:gd name="T17" fmla="*/ 7 w 7"/>
                <a:gd name="T18" fmla="*/ 2 h 2"/>
              </a:gdLst>
              <a:ahLst/>
              <a:cxnLst>
                <a:cxn ang="T10">
                  <a:pos x="T0" y="T1"/>
                </a:cxn>
                <a:cxn ang="T11">
                  <a:pos x="T2" y="T3"/>
                </a:cxn>
                <a:cxn ang="T12">
                  <a:pos x="T4" y="T5"/>
                </a:cxn>
                <a:cxn ang="T13">
                  <a:pos x="T6" y="T7"/>
                </a:cxn>
                <a:cxn ang="T14">
                  <a:pos x="T8" y="T9"/>
                </a:cxn>
              </a:cxnLst>
              <a:rect l="T15" t="T16" r="T17" b="T18"/>
              <a:pathLst>
                <a:path w="7" h="2">
                  <a:moveTo>
                    <a:pt x="7" y="0"/>
                  </a:moveTo>
                  <a:lnTo>
                    <a:pt x="7" y="2"/>
                  </a:lnTo>
                  <a:lnTo>
                    <a:pt x="0" y="2"/>
                  </a:lnTo>
                  <a:lnTo>
                    <a:pt x="2"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3" name="Freeform 412">
              <a:extLst>
                <a:ext uri="{FF2B5EF4-FFF2-40B4-BE49-F238E27FC236}">
                  <a16:creationId xmlns:a16="http://schemas.microsoft.com/office/drawing/2014/main" id="{A6A83BC7-607E-4877-8AAE-6C23F6331BC2}"/>
                </a:ext>
              </a:extLst>
            </p:cNvPr>
            <p:cNvSpPr>
              <a:spLocks/>
            </p:cNvSpPr>
            <p:nvPr/>
          </p:nvSpPr>
          <p:spPr bwMode="gray">
            <a:xfrm rot="47099">
              <a:off x="1497506" y="1883362"/>
              <a:ext cx="6235" cy="6754"/>
            </a:xfrm>
            <a:custGeom>
              <a:avLst/>
              <a:gdLst>
                <a:gd name="T0" fmla="*/ 9 w 14"/>
                <a:gd name="T1" fmla="*/ 0 h 15"/>
                <a:gd name="T2" fmla="*/ 14 w 14"/>
                <a:gd name="T3" fmla="*/ 5 h 15"/>
                <a:gd name="T4" fmla="*/ 9 w 14"/>
                <a:gd name="T5" fmla="*/ 8 h 15"/>
                <a:gd name="T6" fmla="*/ 9 w 14"/>
                <a:gd name="T7" fmla="*/ 10 h 15"/>
                <a:gd name="T8" fmla="*/ 2 w 14"/>
                <a:gd name="T9" fmla="*/ 15 h 15"/>
                <a:gd name="T10" fmla="*/ 0 w 14"/>
                <a:gd name="T11" fmla="*/ 15 h 15"/>
                <a:gd name="T12" fmla="*/ 0 w 14"/>
                <a:gd name="T13" fmla="*/ 10 h 15"/>
                <a:gd name="T14" fmla="*/ 2 w 14"/>
                <a:gd name="T15" fmla="*/ 8 h 15"/>
                <a:gd name="T16" fmla="*/ 2 w 14"/>
                <a:gd name="T17" fmla="*/ 0 h 15"/>
                <a:gd name="T18" fmla="*/ 9 w 14"/>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5"/>
                <a:gd name="T32" fmla="*/ 14 w 14"/>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5">
                  <a:moveTo>
                    <a:pt x="9" y="0"/>
                  </a:moveTo>
                  <a:lnTo>
                    <a:pt x="14" y="5"/>
                  </a:lnTo>
                  <a:lnTo>
                    <a:pt x="9" y="8"/>
                  </a:lnTo>
                  <a:lnTo>
                    <a:pt x="9" y="10"/>
                  </a:lnTo>
                  <a:lnTo>
                    <a:pt x="2" y="15"/>
                  </a:lnTo>
                  <a:lnTo>
                    <a:pt x="0" y="15"/>
                  </a:lnTo>
                  <a:lnTo>
                    <a:pt x="0" y="10"/>
                  </a:lnTo>
                  <a:lnTo>
                    <a:pt x="2" y="8"/>
                  </a:lnTo>
                  <a:lnTo>
                    <a:pt x="2"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4" name="Freeform 413">
              <a:extLst>
                <a:ext uri="{FF2B5EF4-FFF2-40B4-BE49-F238E27FC236}">
                  <a16:creationId xmlns:a16="http://schemas.microsoft.com/office/drawing/2014/main" id="{0844C646-DA28-44A7-B251-A909422897FC}"/>
                </a:ext>
              </a:extLst>
            </p:cNvPr>
            <p:cNvSpPr>
              <a:spLocks/>
            </p:cNvSpPr>
            <p:nvPr/>
          </p:nvSpPr>
          <p:spPr bwMode="gray">
            <a:xfrm rot="47099">
              <a:off x="1519796" y="1882702"/>
              <a:ext cx="6235" cy="4824"/>
            </a:xfrm>
            <a:custGeom>
              <a:avLst/>
              <a:gdLst>
                <a:gd name="T0" fmla="*/ 7 w 14"/>
                <a:gd name="T1" fmla="*/ 0 h 10"/>
                <a:gd name="T2" fmla="*/ 9 w 14"/>
                <a:gd name="T3" fmla="*/ 0 h 10"/>
                <a:gd name="T4" fmla="*/ 14 w 14"/>
                <a:gd name="T5" fmla="*/ 2 h 10"/>
                <a:gd name="T6" fmla="*/ 14 w 14"/>
                <a:gd name="T7" fmla="*/ 10 h 10"/>
                <a:gd name="T8" fmla="*/ 2 w 14"/>
                <a:gd name="T9" fmla="*/ 10 h 10"/>
                <a:gd name="T10" fmla="*/ 2 w 14"/>
                <a:gd name="T11" fmla="*/ 7 h 10"/>
                <a:gd name="T12" fmla="*/ 0 w 14"/>
                <a:gd name="T13" fmla="*/ 7 h 10"/>
                <a:gd name="T14" fmla="*/ 0 w 14"/>
                <a:gd name="T15" fmla="*/ 2 h 10"/>
                <a:gd name="T16" fmla="*/ 2 w 14"/>
                <a:gd name="T17" fmla="*/ 0 h 10"/>
                <a:gd name="T18" fmla="*/ 7 w 14"/>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0"/>
                <a:gd name="T32" fmla="*/ 14 w 14"/>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0">
                  <a:moveTo>
                    <a:pt x="7" y="0"/>
                  </a:moveTo>
                  <a:lnTo>
                    <a:pt x="9" y="0"/>
                  </a:lnTo>
                  <a:lnTo>
                    <a:pt x="14" y="2"/>
                  </a:lnTo>
                  <a:lnTo>
                    <a:pt x="14" y="10"/>
                  </a:lnTo>
                  <a:lnTo>
                    <a:pt x="2" y="10"/>
                  </a:lnTo>
                  <a:lnTo>
                    <a:pt x="2" y="7"/>
                  </a:lnTo>
                  <a:lnTo>
                    <a:pt x="0" y="7"/>
                  </a:lnTo>
                  <a:lnTo>
                    <a:pt x="0" y="2"/>
                  </a:lnTo>
                  <a:lnTo>
                    <a:pt x="2"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5" name="Freeform 414">
              <a:extLst>
                <a:ext uri="{FF2B5EF4-FFF2-40B4-BE49-F238E27FC236}">
                  <a16:creationId xmlns:a16="http://schemas.microsoft.com/office/drawing/2014/main" id="{AA1FDC03-F64B-4EDC-9C53-F3A73F1AD487}"/>
                </a:ext>
              </a:extLst>
            </p:cNvPr>
            <p:cNvSpPr>
              <a:spLocks/>
            </p:cNvSpPr>
            <p:nvPr/>
          </p:nvSpPr>
          <p:spPr bwMode="gray">
            <a:xfrm rot="47099">
              <a:off x="1418632" y="1849530"/>
              <a:ext cx="14250" cy="16402"/>
            </a:xfrm>
            <a:custGeom>
              <a:avLst/>
              <a:gdLst>
                <a:gd name="T0" fmla="*/ 19 w 31"/>
                <a:gd name="T1" fmla="*/ 0 h 38"/>
                <a:gd name="T2" fmla="*/ 24 w 31"/>
                <a:gd name="T3" fmla="*/ 3 h 38"/>
                <a:gd name="T4" fmla="*/ 24 w 31"/>
                <a:gd name="T5" fmla="*/ 7 h 38"/>
                <a:gd name="T6" fmla="*/ 26 w 31"/>
                <a:gd name="T7" fmla="*/ 10 h 38"/>
                <a:gd name="T8" fmla="*/ 26 w 31"/>
                <a:gd name="T9" fmla="*/ 14 h 38"/>
                <a:gd name="T10" fmla="*/ 31 w 31"/>
                <a:gd name="T11" fmla="*/ 24 h 38"/>
                <a:gd name="T12" fmla="*/ 31 w 31"/>
                <a:gd name="T13" fmla="*/ 26 h 38"/>
                <a:gd name="T14" fmla="*/ 26 w 31"/>
                <a:gd name="T15" fmla="*/ 31 h 38"/>
                <a:gd name="T16" fmla="*/ 24 w 31"/>
                <a:gd name="T17" fmla="*/ 33 h 38"/>
                <a:gd name="T18" fmla="*/ 19 w 31"/>
                <a:gd name="T19" fmla="*/ 33 h 38"/>
                <a:gd name="T20" fmla="*/ 15 w 31"/>
                <a:gd name="T21" fmla="*/ 38 h 38"/>
                <a:gd name="T22" fmla="*/ 8 w 31"/>
                <a:gd name="T23" fmla="*/ 38 h 38"/>
                <a:gd name="T24" fmla="*/ 3 w 31"/>
                <a:gd name="T25" fmla="*/ 33 h 38"/>
                <a:gd name="T26" fmla="*/ 0 w 31"/>
                <a:gd name="T27" fmla="*/ 26 h 38"/>
                <a:gd name="T28" fmla="*/ 0 w 31"/>
                <a:gd name="T29" fmla="*/ 21 h 38"/>
                <a:gd name="T30" fmla="*/ 3 w 31"/>
                <a:gd name="T31" fmla="*/ 17 h 38"/>
                <a:gd name="T32" fmla="*/ 3 w 31"/>
                <a:gd name="T33" fmla="*/ 10 h 38"/>
                <a:gd name="T34" fmla="*/ 8 w 31"/>
                <a:gd name="T35" fmla="*/ 7 h 38"/>
                <a:gd name="T36" fmla="*/ 10 w 31"/>
                <a:gd name="T37" fmla="*/ 3 h 38"/>
                <a:gd name="T38" fmla="*/ 10 w 31"/>
                <a:gd name="T39" fmla="*/ 0 h 38"/>
                <a:gd name="T40" fmla="*/ 19 w 31"/>
                <a:gd name="T41" fmla="*/ 0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8"/>
                <a:gd name="T65" fmla="*/ 31 w 31"/>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8">
                  <a:moveTo>
                    <a:pt x="19" y="0"/>
                  </a:moveTo>
                  <a:lnTo>
                    <a:pt x="24" y="3"/>
                  </a:lnTo>
                  <a:lnTo>
                    <a:pt x="24" y="7"/>
                  </a:lnTo>
                  <a:lnTo>
                    <a:pt x="26" y="10"/>
                  </a:lnTo>
                  <a:lnTo>
                    <a:pt x="26" y="14"/>
                  </a:lnTo>
                  <a:lnTo>
                    <a:pt x="31" y="24"/>
                  </a:lnTo>
                  <a:lnTo>
                    <a:pt x="31" y="26"/>
                  </a:lnTo>
                  <a:lnTo>
                    <a:pt x="26" y="31"/>
                  </a:lnTo>
                  <a:lnTo>
                    <a:pt x="24" y="33"/>
                  </a:lnTo>
                  <a:lnTo>
                    <a:pt x="19" y="33"/>
                  </a:lnTo>
                  <a:lnTo>
                    <a:pt x="15" y="38"/>
                  </a:lnTo>
                  <a:lnTo>
                    <a:pt x="8" y="38"/>
                  </a:lnTo>
                  <a:lnTo>
                    <a:pt x="3" y="33"/>
                  </a:lnTo>
                  <a:lnTo>
                    <a:pt x="0" y="26"/>
                  </a:lnTo>
                  <a:lnTo>
                    <a:pt x="0" y="21"/>
                  </a:lnTo>
                  <a:lnTo>
                    <a:pt x="3" y="17"/>
                  </a:lnTo>
                  <a:lnTo>
                    <a:pt x="3" y="10"/>
                  </a:lnTo>
                  <a:lnTo>
                    <a:pt x="8" y="7"/>
                  </a:lnTo>
                  <a:lnTo>
                    <a:pt x="10" y="3"/>
                  </a:lnTo>
                  <a:lnTo>
                    <a:pt x="10" y="0"/>
                  </a:lnTo>
                  <a:lnTo>
                    <a:pt x="1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6" name="Freeform 415">
              <a:extLst>
                <a:ext uri="{FF2B5EF4-FFF2-40B4-BE49-F238E27FC236}">
                  <a16:creationId xmlns:a16="http://schemas.microsoft.com/office/drawing/2014/main" id="{857B5F25-B6C3-4234-AA9C-89DC01EB8DB1}"/>
                </a:ext>
              </a:extLst>
            </p:cNvPr>
            <p:cNvSpPr>
              <a:spLocks/>
            </p:cNvSpPr>
            <p:nvPr/>
          </p:nvSpPr>
          <p:spPr bwMode="gray">
            <a:xfrm rot="47099">
              <a:off x="1459788" y="1842349"/>
              <a:ext cx="10687" cy="3860"/>
            </a:xfrm>
            <a:custGeom>
              <a:avLst/>
              <a:gdLst>
                <a:gd name="T0" fmla="*/ 14 w 22"/>
                <a:gd name="T1" fmla="*/ 7 h 7"/>
                <a:gd name="T2" fmla="*/ 17 w 22"/>
                <a:gd name="T3" fmla="*/ 7 h 7"/>
                <a:gd name="T4" fmla="*/ 17 w 22"/>
                <a:gd name="T5" fmla="*/ 5 h 7"/>
                <a:gd name="T6" fmla="*/ 14 w 22"/>
                <a:gd name="T7" fmla="*/ 5 h 7"/>
                <a:gd name="T8" fmla="*/ 7 w 22"/>
                <a:gd name="T9" fmla="*/ 7 h 7"/>
                <a:gd name="T10" fmla="*/ 0 w 22"/>
                <a:gd name="T11" fmla="*/ 7 h 7"/>
                <a:gd name="T12" fmla="*/ 7 w 22"/>
                <a:gd name="T13" fmla="*/ 5 h 7"/>
                <a:gd name="T14" fmla="*/ 10 w 22"/>
                <a:gd name="T15" fmla="*/ 5 h 7"/>
                <a:gd name="T16" fmla="*/ 14 w 22"/>
                <a:gd name="T17" fmla="*/ 0 h 7"/>
                <a:gd name="T18" fmla="*/ 22 w 22"/>
                <a:gd name="T19" fmla="*/ 0 h 7"/>
                <a:gd name="T20" fmla="*/ 22 w 22"/>
                <a:gd name="T21" fmla="*/ 7 h 7"/>
                <a:gd name="T22" fmla="*/ 14 w 22"/>
                <a:gd name="T23" fmla="*/ 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7"/>
                <a:gd name="T38" fmla="*/ 22 w 22"/>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7">
                  <a:moveTo>
                    <a:pt x="14" y="7"/>
                  </a:moveTo>
                  <a:lnTo>
                    <a:pt x="17" y="7"/>
                  </a:lnTo>
                  <a:lnTo>
                    <a:pt x="17" y="5"/>
                  </a:lnTo>
                  <a:lnTo>
                    <a:pt x="14" y="5"/>
                  </a:lnTo>
                  <a:lnTo>
                    <a:pt x="7" y="7"/>
                  </a:lnTo>
                  <a:lnTo>
                    <a:pt x="0" y="7"/>
                  </a:lnTo>
                  <a:lnTo>
                    <a:pt x="7" y="5"/>
                  </a:lnTo>
                  <a:lnTo>
                    <a:pt x="10" y="5"/>
                  </a:lnTo>
                  <a:lnTo>
                    <a:pt x="14" y="0"/>
                  </a:lnTo>
                  <a:lnTo>
                    <a:pt x="22" y="0"/>
                  </a:lnTo>
                  <a:lnTo>
                    <a:pt x="22" y="7"/>
                  </a:lnTo>
                  <a:lnTo>
                    <a:pt x="1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7" name="Freeform 416">
              <a:extLst>
                <a:ext uri="{FF2B5EF4-FFF2-40B4-BE49-F238E27FC236}">
                  <a16:creationId xmlns:a16="http://schemas.microsoft.com/office/drawing/2014/main" id="{8D778B33-3C30-4909-B732-290CE7B31C82}"/>
                </a:ext>
              </a:extLst>
            </p:cNvPr>
            <p:cNvSpPr>
              <a:spLocks/>
            </p:cNvSpPr>
            <p:nvPr/>
          </p:nvSpPr>
          <p:spPr bwMode="gray">
            <a:xfrm rot="47099">
              <a:off x="1510308" y="1842248"/>
              <a:ext cx="35624" cy="40523"/>
            </a:xfrm>
            <a:custGeom>
              <a:avLst/>
              <a:gdLst>
                <a:gd name="T0" fmla="*/ 78 w 78"/>
                <a:gd name="T1" fmla="*/ 80 h 87"/>
                <a:gd name="T2" fmla="*/ 73 w 78"/>
                <a:gd name="T3" fmla="*/ 82 h 87"/>
                <a:gd name="T4" fmla="*/ 54 w 78"/>
                <a:gd name="T5" fmla="*/ 87 h 87"/>
                <a:gd name="T6" fmla="*/ 47 w 78"/>
                <a:gd name="T7" fmla="*/ 82 h 87"/>
                <a:gd name="T8" fmla="*/ 37 w 78"/>
                <a:gd name="T9" fmla="*/ 80 h 87"/>
                <a:gd name="T10" fmla="*/ 35 w 78"/>
                <a:gd name="T11" fmla="*/ 73 h 87"/>
                <a:gd name="T12" fmla="*/ 28 w 78"/>
                <a:gd name="T13" fmla="*/ 71 h 87"/>
                <a:gd name="T14" fmla="*/ 23 w 78"/>
                <a:gd name="T15" fmla="*/ 71 h 87"/>
                <a:gd name="T16" fmla="*/ 16 w 78"/>
                <a:gd name="T17" fmla="*/ 66 h 87"/>
                <a:gd name="T18" fmla="*/ 14 w 78"/>
                <a:gd name="T19" fmla="*/ 63 h 87"/>
                <a:gd name="T20" fmla="*/ 11 w 78"/>
                <a:gd name="T21" fmla="*/ 56 h 87"/>
                <a:gd name="T22" fmla="*/ 11 w 78"/>
                <a:gd name="T23" fmla="*/ 54 h 87"/>
                <a:gd name="T24" fmla="*/ 4 w 78"/>
                <a:gd name="T25" fmla="*/ 63 h 87"/>
                <a:gd name="T26" fmla="*/ 7 w 78"/>
                <a:gd name="T27" fmla="*/ 56 h 87"/>
                <a:gd name="T28" fmla="*/ 0 w 78"/>
                <a:gd name="T29" fmla="*/ 40 h 87"/>
                <a:gd name="T30" fmla="*/ 11 w 78"/>
                <a:gd name="T31" fmla="*/ 33 h 87"/>
                <a:gd name="T32" fmla="*/ 11 w 78"/>
                <a:gd name="T33" fmla="*/ 30 h 87"/>
                <a:gd name="T34" fmla="*/ 14 w 78"/>
                <a:gd name="T35" fmla="*/ 23 h 87"/>
                <a:gd name="T36" fmla="*/ 14 w 78"/>
                <a:gd name="T37" fmla="*/ 19 h 87"/>
                <a:gd name="T38" fmla="*/ 11 w 78"/>
                <a:gd name="T39" fmla="*/ 23 h 87"/>
                <a:gd name="T40" fmla="*/ 7 w 78"/>
                <a:gd name="T41" fmla="*/ 19 h 87"/>
                <a:gd name="T42" fmla="*/ 11 w 78"/>
                <a:gd name="T43" fmla="*/ 16 h 87"/>
                <a:gd name="T44" fmla="*/ 14 w 78"/>
                <a:gd name="T45" fmla="*/ 19 h 87"/>
                <a:gd name="T46" fmla="*/ 16 w 78"/>
                <a:gd name="T47" fmla="*/ 16 h 87"/>
                <a:gd name="T48" fmla="*/ 14 w 78"/>
                <a:gd name="T49" fmla="*/ 14 h 87"/>
                <a:gd name="T50" fmla="*/ 16 w 78"/>
                <a:gd name="T51" fmla="*/ 9 h 87"/>
                <a:gd name="T52" fmla="*/ 28 w 78"/>
                <a:gd name="T53" fmla="*/ 2 h 87"/>
                <a:gd name="T54" fmla="*/ 30 w 78"/>
                <a:gd name="T55" fmla="*/ 0 h 87"/>
                <a:gd name="T56" fmla="*/ 47 w 78"/>
                <a:gd name="T57" fmla="*/ 2 h 87"/>
                <a:gd name="T58" fmla="*/ 56 w 78"/>
                <a:gd name="T59" fmla="*/ 14 h 87"/>
                <a:gd name="T60" fmla="*/ 70 w 78"/>
                <a:gd name="T61" fmla="*/ 30 h 87"/>
                <a:gd name="T62" fmla="*/ 73 w 78"/>
                <a:gd name="T63" fmla="*/ 42 h 87"/>
                <a:gd name="T64" fmla="*/ 78 w 78"/>
                <a:gd name="T65" fmla="*/ 59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8"/>
                <a:gd name="T100" fmla="*/ 0 h 87"/>
                <a:gd name="T101" fmla="*/ 78 w 78"/>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8" h="87">
                  <a:moveTo>
                    <a:pt x="78" y="66"/>
                  </a:moveTo>
                  <a:lnTo>
                    <a:pt x="78" y="80"/>
                  </a:lnTo>
                  <a:lnTo>
                    <a:pt x="73" y="80"/>
                  </a:lnTo>
                  <a:lnTo>
                    <a:pt x="73" y="82"/>
                  </a:lnTo>
                  <a:lnTo>
                    <a:pt x="54" y="82"/>
                  </a:lnTo>
                  <a:lnTo>
                    <a:pt x="54" y="87"/>
                  </a:lnTo>
                  <a:lnTo>
                    <a:pt x="52" y="87"/>
                  </a:lnTo>
                  <a:lnTo>
                    <a:pt x="47" y="82"/>
                  </a:lnTo>
                  <a:lnTo>
                    <a:pt x="40" y="82"/>
                  </a:lnTo>
                  <a:lnTo>
                    <a:pt x="37" y="80"/>
                  </a:lnTo>
                  <a:lnTo>
                    <a:pt x="37" y="78"/>
                  </a:lnTo>
                  <a:lnTo>
                    <a:pt x="35" y="73"/>
                  </a:lnTo>
                  <a:lnTo>
                    <a:pt x="35" y="71"/>
                  </a:lnTo>
                  <a:lnTo>
                    <a:pt x="28" y="71"/>
                  </a:lnTo>
                  <a:lnTo>
                    <a:pt x="28" y="73"/>
                  </a:lnTo>
                  <a:lnTo>
                    <a:pt x="23" y="71"/>
                  </a:lnTo>
                  <a:lnTo>
                    <a:pt x="16" y="71"/>
                  </a:lnTo>
                  <a:lnTo>
                    <a:pt x="16" y="66"/>
                  </a:lnTo>
                  <a:lnTo>
                    <a:pt x="14" y="66"/>
                  </a:lnTo>
                  <a:lnTo>
                    <a:pt x="14" y="63"/>
                  </a:lnTo>
                  <a:lnTo>
                    <a:pt x="11" y="59"/>
                  </a:lnTo>
                  <a:lnTo>
                    <a:pt x="11" y="56"/>
                  </a:lnTo>
                  <a:lnTo>
                    <a:pt x="14" y="54"/>
                  </a:lnTo>
                  <a:lnTo>
                    <a:pt x="11" y="54"/>
                  </a:lnTo>
                  <a:lnTo>
                    <a:pt x="11" y="63"/>
                  </a:lnTo>
                  <a:lnTo>
                    <a:pt x="4" y="63"/>
                  </a:lnTo>
                  <a:lnTo>
                    <a:pt x="4" y="56"/>
                  </a:lnTo>
                  <a:lnTo>
                    <a:pt x="7" y="56"/>
                  </a:lnTo>
                  <a:lnTo>
                    <a:pt x="0" y="56"/>
                  </a:lnTo>
                  <a:lnTo>
                    <a:pt x="0" y="40"/>
                  </a:lnTo>
                  <a:lnTo>
                    <a:pt x="4" y="37"/>
                  </a:lnTo>
                  <a:lnTo>
                    <a:pt x="11" y="33"/>
                  </a:lnTo>
                  <a:lnTo>
                    <a:pt x="14" y="30"/>
                  </a:lnTo>
                  <a:lnTo>
                    <a:pt x="11" y="30"/>
                  </a:lnTo>
                  <a:lnTo>
                    <a:pt x="11" y="26"/>
                  </a:lnTo>
                  <a:lnTo>
                    <a:pt x="14" y="23"/>
                  </a:lnTo>
                  <a:lnTo>
                    <a:pt x="16" y="23"/>
                  </a:lnTo>
                  <a:lnTo>
                    <a:pt x="14" y="19"/>
                  </a:lnTo>
                  <a:lnTo>
                    <a:pt x="11" y="19"/>
                  </a:lnTo>
                  <a:lnTo>
                    <a:pt x="11" y="23"/>
                  </a:lnTo>
                  <a:lnTo>
                    <a:pt x="7" y="23"/>
                  </a:lnTo>
                  <a:lnTo>
                    <a:pt x="7" y="19"/>
                  </a:lnTo>
                  <a:lnTo>
                    <a:pt x="11" y="19"/>
                  </a:lnTo>
                  <a:lnTo>
                    <a:pt x="11" y="16"/>
                  </a:lnTo>
                  <a:lnTo>
                    <a:pt x="14" y="16"/>
                  </a:lnTo>
                  <a:lnTo>
                    <a:pt x="14" y="19"/>
                  </a:lnTo>
                  <a:lnTo>
                    <a:pt x="16" y="19"/>
                  </a:lnTo>
                  <a:lnTo>
                    <a:pt x="16" y="16"/>
                  </a:lnTo>
                  <a:lnTo>
                    <a:pt x="14" y="16"/>
                  </a:lnTo>
                  <a:lnTo>
                    <a:pt x="14" y="14"/>
                  </a:lnTo>
                  <a:lnTo>
                    <a:pt x="16" y="14"/>
                  </a:lnTo>
                  <a:lnTo>
                    <a:pt x="16" y="9"/>
                  </a:lnTo>
                  <a:lnTo>
                    <a:pt x="23" y="7"/>
                  </a:lnTo>
                  <a:lnTo>
                    <a:pt x="28" y="2"/>
                  </a:lnTo>
                  <a:lnTo>
                    <a:pt x="30" y="2"/>
                  </a:lnTo>
                  <a:lnTo>
                    <a:pt x="30" y="0"/>
                  </a:lnTo>
                  <a:lnTo>
                    <a:pt x="47" y="0"/>
                  </a:lnTo>
                  <a:lnTo>
                    <a:pt x="47" y="2"/>
                  </a:lnTo>
                  <a:lnTo>
                    <a:pt x="52" y="7"/>
                  </a:lnTo>
                  <a:lnTo>
                    <a:pt x="56" y="14"/>
                  </a:lnTo>
                  <a:lnTo>
                    <a:pt x="63" y="19"/>
                  </a:lnTo>
                  <a:lnTo>
                    <a:pt x="70" y="30"/>
                  </a:lnTo>
                  <a:lnTo>
                    <a:pt x="70" y="37"/>
                  </a:lnTo>
                  <a:lnTo>
                    <a:pt x="73" y="42"/>
                  </a:lnTo>
                  <a:lnTo>
                    <a:pt x="73" y="54"/>
                  </a:lnTo>
                  <a:lnTo>
                    <a:pt x="78" y="59"/>
                  </a:lnTo>
                  <a:lnTo>
                    <a:pt x="78" y="6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8" name="Freeform 417">
              <a:extLst>
                <a:ext uri="{FF2B5EF4-FFF2-40B4-BE49-F238E27FC236}">
                  <a16:creationId xmlns:a16="http://schemas.microsoft.com/office/drawing/2014/main" id="{F1DBE091-0C08-49A4-B0A8-9CA9148F4290}"/>
                </a:ext>
              </a:extLst>
            </p:cNvPr>
            <p:cNvSpPr>
              <a:spLocks/>
            </p:cNvSpPr>
            <p:nvPr/>
          </p:nvSpPr>
          <p:spPr bwMode="gray">
            <a:xfrm rot="47099">
              <a:off x="1504267" y="1842006"/>
              <a:ext cx="12468" cy="12543"/>
            </a:xfrm>
            <a:custGeom>
              <a:avLst/>
              <a:gdLst>
                <a:gd name="T0" fmla="*/ 23 w 26"/>
                <a:gd name="T1" fmla="*/ 2 h 26"/>
                <a:gd name="T2" fmla="*/ 23 w 26"/>
                <a:gd name="T3" fmla="*/ 7 h 26"/>
                <a:gd name="T4" fmla="*/ 26 w 26"/>
                <a:gd name="T5" fmla="*/ 7 h 26"/>
                <a:gd name="T6" fmla="*/ 23 w 26"/>
                <a:gd name="T7" fmla="*/ 9 h 26"/>
                <a:gd name="T8" fmla="*/ 19 w 26"/>
                <a:gd name="T9" fmla="*/ 16 h 26"/>
                <a:gd name="T10" fmla="*/ 16 w 26"/>
                <a:gd name="T11" fmla="*/ 16 h 26"/>
                <a:gd name="T12" fmla="*/ 12 w 26"/>
                <a:gd name="T13" fmla="*/ 9 h 26"/>
                <a:gd name="T14" fmla="*/ 12 w 26"/>
                <a:gd name="T15" fmla="*/ 7 h 26"/>
                <a:gd name="T16" fmla="*/ 12 w 26"/>
                <a:gd name="T17" fmla="*/ 9 h 26"/>
                <a:gd name="T18" fmla="*/ 9 w 26"/>
                <a:gd name="T19" fmla="*/ 9 h 26"/>
                <a:gd name="T20" fmla="*/ 9 w 26"/>
                <a:gd name="T21" fmla="*/ 14 h 26"/>
                <a:gd name="T22" fmla="*/ 12 w 26"/>
                <a:gd name="T23" fmla="*/ 14 h 26"/>
                <a:gd name="T24" fmla="*/ 12 w 26"/>
                <a:gd name="T25" fmla="*/ 16 h 26"/>
                <a:gd name="T26" fmla="*/ 9 w 26"/>
                <a:gd name="T27" fmla="*/ 23 h 26"/>
                <a:gd name="T28" fmla="*/ 7 w 26"/>
                <a:gd name="T29" fmla="*/ 26 h 26"/>
                <a:gd name="T30" fmla="*/ 2 w 26"/>
                <a:gd name="T31" fmla="*/ 26 h 26"/>
                <a:gd name="T32" fmla="*/ 2 w 26"/>
                <a:gd name="T33" fmla="*/ 23 h 26"/>
                <a:gd name="T34" fmla="*/ 0 w 26"/>
                <a:gd name="T35" fmla="*/ 16 h 26"/>
                <a:gd name="T36" fmla="*/ 0 w 26"/>
                <a:gd name="T37" fmla="*/ 14 h 26"/>
                <a:gd name="T38" fmla="*/ 2 w 26"/>
                <a:gd name="T39" fmla="*/ 9 h 26"/>
                <a:gd name="T40" fmla="*/ 7 w 26"/>
                <a:gd name="T41" fmla="*/ 9 h 26"/>
                <a:gd name="T42" fmla="*/ 12 w 26"/>
                <a:gd name="T43" fmla="*/ 2 h 26"/>
                <a:gd name="T44" fmla="*/ 12 w 26"/>
                <a:gd name="T45" fmla="*/ 0 h 26"/>
                <a:gd name="T46" fmla="*/ 16 w 26"/>
                <a:gd name="T47" fmla="*/ 0 h 26"/>
                <a:gd name="T48" fmla="*/ 19 w 26"/>
                <a:gd name="T49" fmla="*/ 2 h 26"/>
                <a:gd name="T50" fmla="*/ 23 w 26"/>
                <a:gd name="T51" fmla="*/ 2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
                <a:gd name="T79" fmla="*/ 0 h 26"/>
                <a:gd name="T80" fmla="*/ 26 w 26"/>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 h="26">
                  <a:moveTo>
                    <a:pt x="23" y="2"/>
                  </a:moveTo>
                  <a:lnTo>
                    <a:pt x="23" y="7"/>
                  </a:lnTo>
                  <a:lnTo>
                    <a:pt x="26" y="7"/>
                  </a:lnTo>
                  <a:lnTo>
                    <a:pt x="23" y="9"/>
                  </a:lnTo>
                  <a:lnTo>
                    <a:pt x="19" y="16"/>
                  </a:lnTo>
                  <a:lnTo>
                    <a:pt x="16" y="16"/>
                  </a:lnTo>
                  <a:lnTo>
                    <a:pt x="12" y="9"/>
                  </a:lnTo>
                  <a:lnTo>
                    <a:pt x="12" y="7"/>
                  </a:lnTo>
                  <a:lnTo>
                    <a:pt x="12" y="9"/>
                  </a:lnTo>
                  <a:lnTo>
                    <a:pt x="9" y="9"/>
                  </a:lnTo>
                  <a:lnTo>
                    <a:pt x="9" y="14"/>
                  </a:lnTo>
                  <a:lnTo>
                    <a:pt x="12" y="14"/>
                  </a:lnTo>
                  <a:lnTo>
                    <a:pt x="12" y="16"/>
                  </a:lnTo>
                  <a:lnTo>
                    <a:pt x="9" y="23"/>
                  </a:lnTo>
                  <a:lnTo>
                    <a:pt x="7" y="26"/>
                  </a:lnTo>
                  <a:lnTo>
                    <a:pt x="2" y="26"/>
                  </a:lnTo>
                  <a:lnTo>
                    <a:pt x="2" y="23"/>
                  </a:lnTo>
                  <a:lnTo>
                    <a:pt x="0" y="16"/>
                  </a:lnTo>
                  <a:lnTo>
                    <a:pt x="0" y="14"/>
                  </a:lnTo>
                  <a:lnTo>
                    <a:pt x="2" y="9"/>
                  </a:lnTo>
                  <a:lnTo>
                    <a:pt x="7" y="9"/>
                  </a:lnTo>
                  <a:lnTo>
                    <a:pt x="12" y="2"/>
                  </a:lnTo>
                  <a:lnTo>
                    <a:pt x="12" y="0"/>
                  </a:lnTo>
                  <a:lnTo>
                    <a:pt x="16" y="0"/>
                  </a:lnTo>
                  <a:lnTo>
                    <a:pt x="19" y="2"/>
                  </a:lnTo>
                  <a:lnTo>
                    <a:pt x="23"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29" name="Freeform 418">
              <a:extLst>
                <a:ext uri="{FF2B5EF4-FFF2-40B4-BE49-F238E27FC236}">
                  <a16:creationId xmlns:a16="http://schemas.microsoft.com/office/drawing/2014/main" id="{D80693A4-3ED9-4A76-8519-F145D7529865}"/>
                </a:ext>
              </a:extLst>
            </p:cNvPr>
            <p:cNvSpPr>
              <a:spLocks/>
            </p:cNvSpPr>
            <p:nvPr/>
          </p:nvSpPr>
          <p:spPr bwMode="gray">
            <a:xfrm rot="47099">
              <a:off x="1507989" y="1834257"/>
              <a:ext cx="890" cy="4824"/>
            </a:xfrm>
            <a:custGeom>
              <a:avLst/>
              <a:gdLst>
                <a:gd name="T0" fmla="*/ 2 w 2"/>
                <a:gd name="T1" fmla="*/ 3 h 10"/>
                <a:gd name="T2" fmla="*/ 2 w 2"/>
                <a:gd name="T3" fmla="*/ 10 h 10"/>
                <a:gd name="T4" fmla="*/ 0 w 2"/>
                <a:gd name="T5" fmla="*/ 10 h 10"/>
                <a:gd name="T6" fmla="*/ 0 w 2"/>
                <a:gd name="T7" fmla="*/ 3 h 10"/>
                <a:gd name="T8" fmla="*/ 2 w 2"/>
                <a:gd name="T9" fmla="*/ 3 h 10"/>
                <a:gd name="T10" fmla="*/ 2 w 2"/>
                <a:gd name="T11" fmla="*/ 0 h 10"/>
                <a:gd name="T12" fmla="*/ 2 w 2"/>
                <a:gd name="T13" fmla="*/ 3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2" y="3"/>
                  </a:moveTo>
                  <a:lnTo>
                    <a:pt x="2" y="10"/>
                  </a:lnTo>
                  <a:lnTo>
                    <a:pt x="0" y="10"/>
                  </a:lnTo>
                  <a:lnTo>
                    <a:pt x="0" y="3"/>
                  </a:lnTo>
                  <a:lnTo>
                    <a:pt x="2" y="3"/>
                  </a:lnTo>
                  <a:lnTo>
                    <a:pt x="2" y="0"/>
                  </a:lnTo>
                  <a:lnTo>
                    <a:pt x="2"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0" name="Rectangle 419">
              <a:extLst>
                <a:ext uri="{FF2B5EF4-FFF2-40B4-BE49-F238E27FC236}">
                  <a16:creationId xmlns:a16="http://schemas.microsoft.com/office/drawing/2014/main" id="{26D30C74-067A-405E-93E4-73C443BB9DEE}"/>
                </a:ext>
              </a:extLst>
            </p:cNvPr>
            <p:cNvSpPr>
              <a:spLocks noChangeArrowheads="1"/>
            </p:cNvSpPr>
            <p:nvPr/>
          </p:nvSpPr>
          <p:spPr bwMode="gray">
            <a:xfrm rot="47099">
              <a:off x="1430559" y="1831310"/>
              <a:ext cx="7125" cy="1929"/>
            </a:xfrm>
            <a:prstGeom prst="rect">
              <a:avLst/>
            </a:prstGeom>
            <a:grpFill/>
            <a:ln w="3175" algn="ctr">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1" name="Freeform 420">
              <a:extLst>
                <a:ext uri="{FF2B5EF4-FFF2-40B4-BE49-F238E27FC236}">
                  <a16:creationId xmlns:a16="http://schemas.microsoft.com/office/drawing/2014/main" id="{42253045-849B-4946-80A9-22A156F83508}"/>
                </a:ext>
              </a:extLst>
            </p:cNvPr>
            <p:cNvSpPr>
              <a:spLocks/>
            </p:cNvSpPr>
            <p:nvPr/>
          </p:nvSpPr>
          <p:spPr bwMode="gray">
            <a:xfrm rot="47099">
              <a:off x="1526749" y="1826826"/>
              <a:ext cx="5343" cy="11578"/>
            </a:xfrm>
            <a:custGeom>
              <a:avLst/>
              <a:gdLst>
                <a:gd name="T0" fmla="*/ 9 w 12"/>
                <a:gd name="T1" fmla="*/ 2 h 23"/>
                <a:gd name="T2" fmla="*/ 9 w 12"/>
                <a:gd name="T3" fmla="*/ 11 h 23"/>
                <a:gd name="T4" fmla="*/ 12 w 12"/>
                <a:gd name="T5" fmla="*/ 11 h 23"/>
                <a:gd name="T6" fmla="*/ 12 w 12"/>
                <a:gd name="T7" fmla="*/ 19 h 23"/>
                <a:gd name="T8" fmla="*/ 5 w 12"/>
                <a:gd name="T9" fmla="*/ 23 h 23"/>
                <a:gd name="T10" fmla="*/ 2 w 12"/>
                <a:gd name="T11" fmla="*/ 23 h 23"/>
                <a:gd name="T12" fmla="*/ 2 w 12"/>
                <a:gd name="T13" fmla="*/ 19 h 23"/>
                <a:gd name="T14" fmla="*/ 0 w 12"/>
                <a:gd name="T15" fmla="*/ 9 h 23"/>
                <a:gd name="T16" fmla="*/ 0 w 12"/>
                <a:gd name="T17" fmla="*/ 7 h 23"/>
                <a:gd name="T18" fmla="*/ 2 w 12"/>
                <a:gd name="T19" fmla="*/ 2 h 23"/>
                <a:gd name="T20" fmla="*/ 5 w 12"/>
                <a:gd name="T21" fmla="*/ 0 h 23"/>
                <a:gd name="T22" fmla="*/ 5 w 12"/>
                <a:gd name="T23" fmla="*/ 2 h 23"/>
                <a:gd name="T24" fmla="*/ 9 w 12"/>
                <a:gd name="T25" fmla="*/ 2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3"/>
                <a:gd name="T41" fmla="*/ 12 w 12"/>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3">
                  <a:moveTo>
                    <a:pt x="9" y="2"/>
                  </a:moveTo>
                  <a:lnTo>
                    <a:pt x="9" y="11"/>
                  </a:lnTo>
                  <a:lnTo>
                    <a:pt x="12" y="11"/>
                  </a:lnTo>
                  <a:lnTo>
                    <a:pt x="12" y="19"/>
                  </a:lnTo>
                  <a:lnTo>
                    <a:pt x="5" y="23"/>
                  </a:lnTo>
                  <a:lnTo>
                    <a:pt x="2" y="23"/>
                  </a:lnTo>
                  <a:lnTo>
                    <a:pt x="2" y="19"/>
                  </a:lnTo>
                  <a:lnTo>
                    <a:pt x="0" y="9"/>
                  </a:lnTo>
                  <a:lnTo>
                    <a:pt x="0" y="7"/>
                  </a:lnTo>
                  <a:lnTo>
                    <a:pt x="2" y="2"/>
                  </a:lnTo>
                  <a:lnTo>
                    <a:pt x="5" y="0"/>
                  </a:lnTo>
                  <a:lnTo>
                    <a:pt x="5" y="2"/>
                  </a:lnTo>
                  <a:lnTo>
                    <a:pt x="9"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2" name="Freeform 421">
              <a:extLst>
                <a:ext uri="{FF2B5EF4-FFF2-40B4-BE49-F238E27FC236}">
                  <a16:creationId xmlns:a16="http://schemas.microsoft.com/office/drawing/2014/main" id="{52D37342-14EB-45CA-AD29-94BD0B4EBB17}"/>
                </a:ext>
              </a:extLst>
            </p:cNvPr>
            <p:cNvSpPr>
              <a:spLocks/>
            </p:cNvSpPr>
            <p:nvPr/>
          </p:nvSpPr>
          <p:spPr bwMode="gray">
            <a:xfrm rot="47099">
              <a:off x="1434991" y="1829502"/>
              <a:ext cx="16031" cy="8683"/>
            </a:xfrm>
            <a:custGeom>
              <a:avLst/>
              <a:gdLst>
                <a:gd name="T0" fmla="*/ 35 w 35"/>
                <a:gd name="T1" fmla="*/ 2 h 19"/>
                <a:gd name="T2" fmla="*/ 31 w 35"/>
                <a:gd name="T3" fmla="*/ 4 h 19"/>
                <a:gd name="T4" fmla="*/ 24 w 35"/>
                <a:gd name="T5" fmla="*/ 4 h 19"/>
                <a:gd name="T6" fmla="*/ 24 w 35"/>
                <a:gd name="T7" fmla="*/ 12 h 19"/>
                <a:gd name="T8" fmla="*/ 21 w 35"/>
                <a:gd name="T9" fmla="*/ 12 h 19"/>
                <a:gd name="T10" fmla="*/ 21 w 35"/>
                <a:gd name="T11" fmla="*/ 16 h 19"/>
                <a:gd name="T12" fmla="*/ 14 w 35"/>
                <a:gd name="T13" fmla="*/ 16 h 19"/>
                <a:gd name="T14" fmla="*/ 12 w 35"/>
                <a:gd name="T15" fmla="*/ 19 h 19"/>
                <a:gd name="T16" fmla="*/ 5 w 35"/>
                <a:gd name="T17" fmla="*/ 19 h 19"/>
                <a:gd name="T18" fmla="*/ 5 w 35"/>
                <a:gd name="T19" fmla="*/ 16 h 19"/>
                <a:gd name="T20" fmla="*/ 0 w 35"/>
                <a:gd name="T21" fmla="*/ 16 h 19"/>
                <a:gd name="T22" fmla="*/ 5 w 35"/>
                <a:gd name="T23" fmla="*/ 12 h 19"/>
                <a:gd name="T24" fmla="*/ 12 w 35"/>
                <a:gd name="T25" fmla="*/ 4 h 19"/>
                <a:gd name="T26" fmla="*/ 12 w 35"/>
                <a:gd name="T27" fmla="*/ 2 h 19"/>
                <a:gd name="T28" fmla="*/ 19 w 35"/>
                <a:gd name="T29" fmla="*/ 2 h 19"/>
                <a:gd name="T30" fmla="*/ 21 w 35"/>
                <a:gd name="T31" fmla="*/ 0 h 19"/>
                <a:gd name="T32" fmla="*/ 31 w 35"/>
                <a:gd name="T33" fmla="*/ 0 h 19"/>
                <a:gd name="T34" fmla="*/ 35 w 35"/>
                <a:gd name="T35" fmla="*/ 2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19"/>
                <a:gd name="T56" fmla="*/ 35 w 35"/>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19">
                  <a:moveTo>
                    <a:pt x="35" y="2"/>
                  </a:moveTo>
                  <a:lnTo>
                    <a:pt x="31" y="4"/>
                  </a:lnTo>
                  <a:lnTo>
                    <a:pt x="24" y="4"/>
                  </a:lnTo>
                  <a:lnTo>
                    <a:pt x="24" y="12"/>
                  </a:lnTo>
                  <a:lnTo>
                    <a:pt x="21" y="12"/>
                  </a:lnTo>
                  <a:lnTo>
                    <a:pt x="21" y="16"/>
                  </a:lnTo>
                  <a:lnTo>
                    <a:pt x="14" y="16"/>
                  </a:lnTo>
                  <a:lnTo>
                    <a:pt x="12" y="19"/>
                  </a:lnTo>
                  <a:lnTo>
                    <a:pt x="5" y="19"/>
                  </a:lnTo>
                  <a:lnTo>
                    <a:pt x="5" y="16"/>
                  </a:lnTo>
                  <a:lnTo>
                    <a:pt x="0" y="16"/>
                  </a:lnTo>
                  <a:lnTo>
                    <a:pt x="5" y="12"/>
                  </a:lnTo>
                  <a:lnTo>
                    <a:pt x="12" y="4"/>
                  </a:lnTo>
                  <a:lnTo>
                    <a:pt x="12" y="2"/>
                  </a:lnTo>
                  <a:lnTo>
                    <a:pt x="19" y="2"/>
                  </a:lnTo>
                  <a:lnTo>
                    <a:pt x="21" y="0"/>
                  </a:lnTo>
                  <a:lnTo>
                    <a:pt x="31" y="0"/>
                  </a:lnTo>
                  <a:lnTo>
                    <a:pt x="35"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3" name="Freeform 422">
              <a:extLst>
                <a:ext uri="{FF2B5EF4-FFF2-40B4-BE49-F238E27FC236}">
                  <a16:creationId xmlns:a16="http://schemas.microsoft.com/office/drawing/2014/main" id="{5E918897-AC68-4ED5-B87D-DE408BAA257F}"/>
                </a:ext>
              </a:extLst>
            </p:cNvPr>
            <p:cNvSpPr>
              <a:spLocks/>
            </p:cNvSpPr>
            <p:nvPr/>
          </p:nvSpPr>
          <p:spPr bwMode="gray">
            <a:xfrm rot="47099">
              <a:off x="1430618" y="1824629"/>
              <a:ext cx="17812" cy="6754"/>
            </a:xfrm>
            <a:custGeom>
              <a:avLst/>
              <a:gdLst>
                <a:gd name="T0" fmla="*/ 38 w 38"/>
                <a:gd name="T1" fmla="*/ 0 h 16"/>
                <a:gd name="T2" fmla="*/ 38 w 38"/>
                <a:gd name="T3" fmla="*/ 7 h 16"/>
                <a:gd name="T4" fmla="*/ 31 w 38"/>
                <a:gd name="T5" fmla="*/ 7 h 16"/>
                <a:gd name="T6" fmla="*/ 31 w 38"/>
                <a:gd name="T7" fmla="*/ 12 h 16"/>
                <a:gd name="T8" fmla="*/ 24 w 38"/>
                <a:gd name="T9" fmla="*/ 12 h 16"/>
                <a:gd name="T10" fmla="*/ 22 w 38"/>
                <a:gd name="T11" fmla="*/ 14 h 16"/>
                <a:gd name="T12" fmla="*/ 10 w 38"/>
                <a:gd name="T13" fmla="*/ 14 h 16"/>
                <a:gd name="T14" fmla="*/ 10 w 38"/>
                <a:gd name="T15" fmla="*/ 16 h 16"/>
                <a:gd name="T16" fmla="*/ 5 w 38"/>
                <a:gd name="T17" fmla="*/ 16 h 16"/>
                <a:gd name="T18" fmla="*/ 5 w 38"/>
                <a:gd name="T19" fmla="*/ 14 h 16"/>
                <a:gd name="T20" fmla="*/ 0 w 38"/>
                <a:gd name="T21" fmla="*/ 14 h 16"/>
                <a:gd name="T22" fmla="*/ 0 w 38"/>
                <a:gd name="T23" fmla="*/ 12 h 16"/>
                <a:gd name="T24" fmla="*/ 8 w 38"/>
                <a:gd name="T25" fmla="*/ 12 h 16"/>
                <a:gd name="T26" fmla="*/ 8 w 38"/>
                <a:gd name="T27" fmla="*/ 7 h 16"/>
                <a:gd name="T28" fmla="*/ 8 w 38"/>
                <a:gd name="T29" fmla="*/ 12 h 16"/>
                <a:gd name="T30" fmla="*/ 10 w 38"/>
                <a:gd name="T31" fmla="*/ 12 h 16"/>
                <a:gd name="T32" fmla="*/ 10 w 38"/>
                <a:gd name="T33" fmla="*/ 7 h 16"/>
                <a:gd name="T34" fmla="*/ 17 w 38"/>
                <a:gd name="T35" fmla="*/ 7 h 16"/>
                <a:gd name="T36" fmla="*/ 17 w 38"/>
                <a:gd name="T37" fmla="*/ 5 h 16"/>
                <a:gd name="T38" fmla="*/ 24 w 38"/>
                <a:gd name="T39" fmla="*/ 5 h 16"/>
                <a:gd name="T40" fmla="*/ 24 w 38"/>
                <a:gd name="T41" fmla="*/ 0 h 16"/>
                <a:gd name="T42" fmla="*/ 38 w 38"/>
                <a:gd name="T43" fmla="*/ 0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16"/>
                <a:gd name="T68" fmla="*/ 38 w 38"/>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16">
                  <a:moveTo>
                    <a:pt x="38" y="0"/>
                  </a:moveTo>
                  <a:lnTo>
                    <a:pt x="38" y="7"/>
                  </a:lnTo>
                  <a:lnTo>
                    <a:pt x="31" y="7"/>
                  </a:lnTo>
                  <a:lnTo>
                    <a:pt x="31" y="12"/>
                  </a:lnTo>
                  <a:lnTo>
                    <a:pt x="24" y="12"/>
                  </a:lnTo>
                  <a:lnTo>
                    <a:pt x="22" y="14"/>
                  </a:lnTo>
                  <a:lnTo>
                    <a:pt x="10" y="14"/>
                  </a:lnTo>
                  <a:lnTo>
                    <a:pt x="10" y="16"/>
                  </a:lnTo>
                  <a:lnTo>
                    <a:pt x="5" y="16"/>
                  </a:lnTo>
                  <a:lnTo>
                    <a:pt x="5" y="14"/>
                  </a:lnTo>
                  <a:lnTo>
                    <a:pt x="0" y="14"/>
                  </a:lnTo>
                  <a:lnTo>
                    <a:pt x="0" y="12"/>
                  </a:lnTo>
                  <a:lnTo>
                    <a:pt x="8" y="12"/>
                  </a:lnTo>
                  <a:lnTo>
                    <a:pt x="8" y="7"/>
                  </a:lnTo>
                  <a:lnTo>
                    <a:pt x="8" y="12"/>
                  </a:lnTo>
                  <a:lnTo>
                    <a:pt x="10" y="12"/>
                  </a:lnTo>
                  <a:lnTo>
                    <a:pt x="10" y="7"/>
                  </a:lnTo>
                  <a:lnTo>
                    <a:pt x="17" y="7"/>
                  </a:lnTo>
                  <a:lnTo>
                    <a:pt x="17" y="5"/>
                  </a:lnTo>
                  <a:lnTo>
                    <a:pt x="24" y="5"/>
                  </a:lnTo>
                  <a:lnTo>
                    <a:pt x="24" y="0"/>
                  </a:lnTo>
                  <a:lnTo>
                    <a:pt x="38"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4" name="Freeform 423">
              <a:extLst>
                <a:ext uri="{FF2B5EF4-FFF2-40B4-BE49-F238E27FC236}">
                  <a16:creationId xmlns:a16="http://schemas.microsoft.com/office/drawing/2014/main" id="{7A168B05-F236-4EE7-817F-6CCED9857CA3}"/>
                </a:ext>
              </a:extLst>
            </p:cNvPr>
            <p:cNvSpPr>
              <a:spLocks/>
            </p:cNvSpPr>
            <p:nvPr/>
          </p:nvSpPr>
          <p:spPr bwMode="gray">
            <a:xfrm rot="47099">
              <a:off x="1681273" y="1795196"/>
              <a:ext cx="8906" cy="11578"/>
            </a:xfrm>
            <a:custGeom>
              <a:avLst/>
              <a:gdLst>
                <a:gd name="T0" fmla="*/ 14 w 19"/>
                <a:gd name="T1" fmla="*/ 0 h 26"/>
                <a:gd name="T2" fmla="*/ 14 w 19"/>
                <a:gd name="T3" fmla="*/ 7 h 26"/>
                <a:gd name="T4" fmla="*/ 10 w 19"/>
                <a:gd name="T5" fmla="*/ 10 h 26"/>
                <a:gd name="T6" fmla="*/ 10 w 19"/>
                <a:gd name="T7" fmla="*/ 17 h 26"/>
                <a:gd name="T8" fmla="*/ 14 w 19"/>
                <a:gd name="T9" fmla="*/ 17 h 26"/>
                <a:gd name="T10" fmla="*/ 17 w 19"/>
                <a:gd name="T11" fmla="*/ 19 h 26"/>
                <a:gd name="T12" fmla="*/ 19 w 19"/>
                <a:gd name="T13" fmla="*/ 19 h 26"/>
                <a:gd name="T14" fmla="*/ 19 w 19"/>
                <a:gd name="T15" fmla="*/ 24 h 26"/>
                <a:gd name="T16" fmla="*/ 17 w 19"/>
                <a:gd name="T17" fmla="*/ 24 h 26"/>
                <a:gd name="T18" fmla="*/ 17 w 19"/>
                <a:gd name="T19" fmla="*/ 19 h 26"/>
                <a:gd name="T20" fmla="*/ 10 w 19"/>
                <a:gd name="T21" fmla="*/ 19 h 26"/>
                <a:gd name="T22" fmla="*/ 10 w 19"/>
                <a:gd name="T23" fmla="*/ 24 h 26"/>
                <a:gd name="T24" fmla="*/ 7 w 19"/>
                <a:gd name="T25" fmla="*/ 24 h 26"/>
                <a:gd name="T26" fmla="*/ 10 w 19"/>
                <a:gd name="T27" fmla="*/ 26 h 26"/>
                <a:gd name="T28" fmla="*/ 2 w 19"/>
                <a:gd name="T29" fmla="*/ 24 h 26"/>
                <a:gd name="T30" fmla="*/ 2 w 19"/>
                <a:gd name="T31" fmla="*/ 26 h 26"/>
                <a:gd name="T32" fmla="*/ 0 w 19"/>
                <a:gd name="T33" fmla="*/ 26 h 26"/>
                <a:gd name="T34" fmla="*/ 0 w 19"/>
                <a:gd name="T35" fmla="*/ 24 h 26"/>
                <a:gd name="T36" fmla="*/ 2 w 19"/>
                <a:gd name="T37" fmla="*/ 17 h 26"/>
                <a:gd name="T38" fmla="*/ 2 w 19"/>
                <a:gd name="T39" fmla="*/ 10 h 26"/>
                <a:gd name="T40" fmla="*/ 7 w 19"/>
                <a:gd name="T41" fmla="*/ 10 h 26"/>
                <a:gd name="T42" fmla="*/ 7 w 19"/>
                <a:gd name="T43" fmla="*/ 0 h 26"/>
                <a:gd name="T44" fmla="*/ 14 w 19"/>
                <a:gd name="T45" fmla="*/ 0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26"/>
                <a:gd name="T71" fmla="*/ 19 w 19"/>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26">
                  <a:moveTo>
                    <a:pt x="14" y="0"/>
                  </a:moveTo>
                  <a:lnTo>
                    <a:pt x="14" y="7"/>
                  </a:lnTo>
                  <a:lnTo>
                    <a:pt x="10" y="10"/>
                  </a:lnTo>
                  <a:lnTo>
                    <a:pt x="10" y="17"/>
                  </a:lnTo>
                  <a:lnTo>
                    <a:pt x="14" y="17"/>
                  </a:lnTo>
                  <a:lnTo>
                    <a:pt x="17" y="19"/>
                  </a:lnTo>
                  <a:lnTo>
                    <a:pt x="19" y="19"/>
                  </a:lnTo>
                  <a:lnTo>
                    <a:pt x="19" y="24"/>
                  </a:lnTo>
                  <a:lnTo>
                    <a:pt x="17" y="24"/>
                  </a:lnTo>
                  <a:lnTo>
                    <a:pt x="17" y="19"/>
                  </a:lnTo>
                  <a:lnTo>
                    <a:pt x="10" y="19"/>
                  </a:lnTo>
                  <a:lnTo>
                    <a:pt x="10" y="24"/>
                  </a:lnTo>
                  <a:lnTo>
                    <a:pt x="7" y="24"/>
                  </a:lnTo>
                  <a:lnTo>
                    <a:pt x="10" y="26"/>
                  </a:lnTo>
                  <a:lnTo>
                    <a:pt x="2" y="24"/>
                  </a:lnTo>
                  <a:lnTo>
                    <a:pt x="2" y="26"/>
                  </a:lnTo>
                  <a:lnTo>
                    <a:pt x="0" y="26"/>
                  </a:lnTo>
                  <a:lnTo>
                    <a:pt x="0" y="24"/>
                  </a:lnTo>
                  <a:lnTo>
                    <a:pt x="2" y="17"/>
                  </a:lnTo>
                  <a:lnTo>
                    <a:pt x="2" y="10"/>
                  </a:lnTo>
                  <a:lnTo>
                    <a:pt x="7" y="10"/>
                  </a:lnTo>
                  <a:lnTo>
                    <a:pt x="7" y="0"/>
                  </a:lnTo>
                  <a:lnTo>
                    <a:pt x="1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5" name="Freeform 424">
              <a:extLst>
                <a:ext uri="{FF2B5EF4-FFF2-40B4-BE49-F238E27FC236}">
                  <a16:creationId xmlns:a16="http://schemas.microsoft.com/office/drawing/2014/main" id="{AA9FCA94-6516-44A5-9E18-0D787EA22359}"/>
                </a:ext>
              </a:extLst>
            </p:cNvPr>
            <p:cNvSpPr>
              <a:spLocks/>
            </p:cNvSpPr>
            <p:nvPr/>
          </p:nvSpPr>
          <p:spPr bwMode="gray">
            <a:xfrm rot="47099">
              <a:off x="1523300" y="1822907"/>
              <a:ext cx="3563" cy="2894"/>
            </a:xfrm>
            <a:custGeom>
              <a:avLst/>
              <a:gdLst>
                <a:gd name="T0" fmla="*/ 7 w 7"/>
                <a:gd name="T1" fmla="*/ 0 h 5"/>
                <a:gd name="T2" fmla="*/ 7 w 7"/>
                <a:gd name="T3" fmla="*/ 5 h 5"/>
                <a:gd name="T4" fmla="*/ 0 w 7"/>
                <a:gd name="T5" fmla="*/ 5 h 5"/>
                <a:gd name="T6" fmla="*/ 0 w 7"/>
                <a:gd name="T7" fmla="*/ 0 h 5"/>
                <a:gd name="T8" fmla="*/ 0 w 7"/>
                <a:gd name="T9" fmla="*/ 3 h 5"/>
                <a:gd name="T10" fmla="*/ 2 w 7"/>
                <a:gd name="T11" fmla="*/ 3 h 5"/>
                <a:gd name="T12" fmla="*/ 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7" y="0"/>
                  </a:moveTo>
                  <a:lnTo>
                    <a:pt x="7" y="5"/>
                  </a:lnTo>
                  <a:lnTo>
                    <a:pt x="0" y="5"/>
                  </a:lnTo>
                  <a:lnTo>
                    <a:pt x="0" y="0"/>
                  </a:lnTo>
                  <a:lnTo>
                    <a:pt x="0" y="3"/>
                  </a:lnTo>
                  <a:lnTo>
                    <a:pt x="2" y="3"/>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6" name="Freeform 425">
              <a:extLst>
                <a:ext uri="{FF2B5EF4-FFF2-40B4-BE49-F238E27FC236}">
                  <a16:creationId xmlns:a16="http://schemas.microsoft.com/office/drawing/2014/main" id="{32BE043C-9CE3-45ED-BA86-DDFCD174B07F}"/>
                </a:ext>
              </a:extLst>
            </p:cNvPr>
            <p:cNvSpPr>
              <a:spLocks/>
            </p:cNvSpPr>
            <p:nvPr/>
          </p:nvSpPr>
          <p:spPr bwMode="gray">
            <a:xfrm rot="47099">
              <a:off x="1427162" y="1814945"/>
              <a:ext cx="19593" cy="10613"/>
            </a:xfrm>
            <a:custGeom>
              <a:avLst/>
              <a:gdLst>
                <a:gd name="T0" fmla="*/ 40 w 43"/>
                <a:gd name="T1" fmla="*/ 2 h 24"/>
                <a:gd name="T2" fmla="*/ 40 w 43"/>
                <a:gd name="T3" fmla="*/ 7 h 24"/>
                <a:gd name="T4" fmla="*/ 43 w 43"/>
                <a:gd name="T5" fmla="*/ 7 h 24"/>
                <a:gd name="T6" fmla="*/ 43 w 43"/>
                <a:gd name="T7" fmla="*/ 9 h 24"/>
                <a:gd name="T8" fmla="*/ 40 w 43"/>
                <a:gd name="T9" fmla="*/ 14 h 24"/>
                <a:gd name="T10" fmla="*/ 40 w 43"/>
                <a:gd name="T11" fmla="*/ 17 h 24"/>
                <a:gd name="T12" fmla="*/ 38 w 43"/>
                <a:gd name="T13" fmla="*/ 19 h 24"/>
                <a:gd name="T14" fmla="*/ 33 w 43"/>
                <a:gd name="T15" fmla="*/ 19 h 24"/>
                <a:gd name="T16" fmla="*/ 24 w 43"/>
                <a:gd name="T17" fmla="*/ 24 h 24"/>
                <a:gd name="T18" fmla="*/ 9 w 43"/>
                <a:gd name="T19" fmla="*/ 24 h 24"/>
                <a:gd name="T20" fmla="*/ 9 w 43"/>
                <a:gd name="T21" fmla="*/ 19 h 24"/>
                <a:gd name="T22" fmla="*/ 0 w 43"/>
                <a:gd name="T23" fmla="*/ 19 h 24"/>
                <a:gd name="T24" fmla="*/ 0 w 43"/>
                <a:gd name="T25" fmla="*/ 9 h 24"/>
                <a:gd name="T26" fmla="*/ 2 w 43"/>
                <a:gd name="T27" fmla="*/ 7 h 24"/>
                <a:gd name="T28" fmla="*/ 9 w 43"/>
                <a:gd name="T29" fmla="*/ 7 h 24"/>
                <a:gd name="T30" fmla="*/ 14 w 43"/>
                <a:gd name="T31" fmla="*/ 2 h 24"/>
                <a:gd name="T32" fmla="*/ 24 w 43"/>
                <a:gd name="T33" fmla="*/ 2 h 24"/>
                <a:gd name="T34" fmla="*/ 31 w 43"/>
                <a:gd name="T35" fmla="*/ 0 h 24"/>
                <a:gd name="T36" fmla="*/ 38 w 43"/>
                <a:gd name="T37" fmla="*/ 0 h 24"/>
                <a:gd name="T38" fmla="*/ 40 w 43"/>
                <a:gd name="T39" fmla="*/ 2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
                <a:gd name="T61" fmla="*/ 0 h 24"/>
                <a:gd name="T62" fmla="*/ 43 w 43"/>
                <a:gd name="T63" fmla="*/ 24 h 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 h="24">
                  <a:moveTo>
                    <a:pt x="40" y="2"/>
                  </a:moveTo>
                  <a:lnTo>
                    <a:pt x="40" y="7"/>
                  </a:lnTo>
                  <a:lnTo>
                    <a:pt x="43" y="7"/>
                  </a:lnTo>
                  <a:lnTo>
                    <a:pt x="43" y="9"/>
                  </a:lnTo>
                  <a:lnTo>
                    <a:pt x="40" y="14"/>
                  </a:lnTo>
                  <a:lnTo>
                    <a:pt x="40" y="17"/>
                  </a:lnTo>
                  <a:lnTo>
                    <a:pt x="38" y="19"/>
                  </a:lnTo>
                  <a:lnTo>
                    <a:pt x="33" y="19"/>
                  </a:lnTo>
                  <a:lnTo>
                    <a:pt x="24" y="24"/>
                  </a:lnTo>
                  <a:lnTo>
                    <a:pt x="9" y="24"/>
                  </a:lnTo>
                  <a:lnTo>
                    <a:pt x="9" y="19"/>
                  </a:lnTo>
                  <a:lnTo>
                    <a:pt x="0" y="19"/>
                  </a:lnTo>
                  <a:lnTo>
                    <a:pt x="0" y="9"/>
                  </a:lnTo>
                  <a:lnTo>
                    <a:pt x="2" y="7"/>
                  </a:lnTo>
                  <a:lnTo>
                    <a:pt x="9" y="7"/>
                  </a:lnTo>
                  <a:lnTo>
                    <a:pt x="14" y="2"/>
                  </a:lnTo>
                  <a:lnTo>
                    <a:pt x="24" y="2"/>
                  </a:lnTo>
                  <a:lnTo>
                    <a:pt x="31" y="0"/>
                  </a:lnTo>
                  <a:lnTo>
                    <a:pt x="38" y="0"/>
                  </a:lnTo>
                  <a:lnTo>
                    <a:pt x="4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7" name="Freeform 426">
              <a:extLst>
                <a:ext uri="{FF2B5EF4-FFF2-40B4-BE49-F238E27FC236}">
                  <a16:creationId xmlns:a16="http://schemas.microsoft.com/office/drawing/2014/main" id="{6B7386DC-3F83-4FE6-8CAA-2B461A249C33}"/>
                </a:ext>
              </a:extLst>
            </p:cNvPr>
            <p:cNvSpPr>
              <a:spLocks/>
            </p:cNvSpPr>
            <p:nvPr/>
          </p:nvSpPr>
          <p:spPr bwMode="gray">
            <a:xfrm rot="47099">
              <a:off x="1630599" y="1792528"/>
              <a:ext cx="2672" cy="2894"/>
            </a:xfrm>
            <a:custGeom>
              <a:avLst/>
              <a:gdLst>
                <a:gd name="T0" fmla="*/ 0 w 7"/>
                <a:gd name="T1" fmla="*/ 0 h 7"/>
                <a:gd name="T2" fmla="*/ 5 w 7"/>
                <a:gd name="T3" fmla="*/ 0 h 7"/>
                <a:gd name="T4" fmla="*/ 7 w 7"/>
                <a:gd name="T5" fmla="*/ 4 h 7"/>
                <a:gd name="T6" fmla="*/ 7 w 7"/>
                <a:gd name="T7" fmla="*/ 7 h 7"/>
                <a:gd name="T8" fmla="*/ 5 w 7"/>
                <a:gd name="T9" fmla="*/ 7 h 7"/>
                <a:gd name="T10" fmla="*/ 5 w 7"/>
                <a:gd name="T11" fmla="*/ 4 h 7"/>
                <a:gd name="T12" fmla="*/ 0 w 7"/>
                <a:gd name="T13" fmla="*/ 0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0" y="0"/>
                  </a:moveTo>
                  <a:lnTo>
                    <a:pt x="5" y="0"/>
                  </a:lnTo>
                  <a:lnTo>
                    <a:pt x="7" y="4"/>
                  </a:lnTo>
                  <a:lnTo>
                    <a:pt x="7" y="7"/>
                  </a:lnTo>
                  <a:lnTo>
                    <a:pt x="5" y="7"/>
                  </a:lnTo>
                  <a:lnTo>
                    <a:pt x="5" y="4"/>
                  </a:lnTo>
                  <a:lnTo>
                    <a:pt x="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8" name="Freeform 427">
              <a:extLst>
                <a:ext uri="{FF2B5EF4-FFF2-40B4-BE49-F238E27FC236}">
                  <a16:creationId xmlns:a16="http://schemas.microsoft.com/office/drawing/2014/main" id="{81489906-F1BB-4C03-A328-694DE1F75C27}"/>
                </a:ext>
              </a:extLst>
            </p:cNvPr>
            <p:cNvSpPr>
              <a:spLocks/>
            </p:cNvSpPr>
            <p:nvPr/>
          </p:nvSpPr>
          <p:spPr bwMode="gray">
            <a:xfrm rot="47099">
              <a:off x="1425559" y="1799466"/>
              <a:ext cx="16921" cy="15438"/>
            </a:xfrm>
            <a:custGeom>
              <a:avLst/>
              <a:gdLst>
                <a:gd name="T0" fmla="*/ 11 w 35"/>
                <a:gd name="T1" fmla="*/ 2 h 33"/>
                <a:gd name="T2" fmla="*/ 16 w 35"/>
                <a:gd name="T3" fmla="*/ 2 h 33"/>
                <a:gd name="T4" fmla="*/ 16 w 35"/>
                <a:gd name="T5" fmla="*/ 7 h 33"/>
                <a:gd name="T6" fmla="*/ 11 w 35"/>
                <a:gd name="T7" fmla="*/ 9 h 33"/>
                <a:gd name="T8" fmla="*/ 16 w 35"/>
                <a:gd name="T9" fmla="*/ 9 h 33"/>
                <a:gd name="T10" fmla="*/ 16 w 35"/>
                <a:gd name="T11" fmla="*/ 7 h 33"/>
                <a:gd name="T12" fmla="*/ 19 w 35"/>
                <a:gd name="T13" fmla="*/ 7 h 33"/>
                <a:gd name="T14" fmla="*/ 21 w 35"/>
                <a:gd name="T15" fmla="*/ 12 h 33"/>
                <a:gd name="T16" fmla="*/ 26 w 35"/>
                <a:gd name="T17" fmla="*/ 16 h 33"/>
                <a:gd name="T18" fmla="*/ 28 w 35"/>
                <a:gd name="T19" fmla="*/ 16 h 33"/>
                <a:gd name="T20" fmla="*/ 28 w 35"/>
                <a:gd name="T21" fmla="*/ 19 h 33"/>
                <a:gd name="T22" fmla="*/ 35 w 35"/>
                <a:gd name="T23" fmla="*/ 19 h 33"/>
                <a:gd name="T24" fmla="*/ 35 w 35"/>
                <a:gd name="T25" fmla="*/ 24 h 33"/>
                <a:gd name="T26" fmla="*/ 33 w 35"/>
                <a:gd name="T27" fmla="*/ 26 h 33"/>
                <a:gd name="T28" fmla="*/ 33 w 35"/>
                <a:gd name="T29" fmla="*/ 31 h 33"/>
                <a:gd name="T30" fmla="*/ 28 w 35"/>
                <a:gd name="T31" fmla="*/ 31 h 33"/>
                <a:gd name="T32" fmla="*/ 26 w 35"/>
                <a:gd name="T33" fmla="*/ 33 h 33"/>
                <a:gd name="T34" fmla="*/ 9 w 35"/>
                <a:gd name="T35" fmla="*/ 33 h 33"/>
                <a:gd name="T36" fmla="*/ 4 w 35"/>
                <a:gd name="T37" fmla="*/ 31 h 33"/>
                <a:gd name="T38" fmla="*/ 2 w 35"/>
                <a:gd name="T39" fmla="*/ 31 h 33"/>
                <a:gd name="T40" fmla="*/ 4 w 35"/>
                <a:gd name="T41" fmla="*/ 31 h 33"/>
                <a:gd name="T42" fmla="*/ 4 w 35"/>
                <a:gd name="T43" fmla="*/ 16 h 33"/>
                <a:gd name="T44" fmla="*/ 2 w 35"/>
                <a:gd name="T45" fmla="*/ 16 h 33"/>
                <a:gd name="T46" fmla="*/ 0 w 35"/>
                <a:gd name="T47" fmla="*/ 9 h 33"/>
                <a:gd name="T48" fmla="*/ 2 w 35"/>
                <a:gd name="T49" fmla="*/ 7 h 33"/>
                <a:gd name="T50" fmla="*/ 4 w 35"/>
                <a:gd name="T51" fmla="*/ 2 h 33"/>
                <a:gd name="T52" fmla="*/ 9 w 35"/>
                <a:gd name="T53" fmla="*/ 2 h 33"/>
                <a:gd name="T54" fmla="*/ 9 w 35"/>
                <a:gd name="T55" fmla="*/ 0 h 33"/>
                <a:gd name="T56" fmla="*/ 11 w 35"/>
                <a:gd name="T57" fmla="*/ 0 h 33"/>
                <a:gd name="T58" fmla="*/ 11 w 35"/>
                <a:gd name="T59" fmla="*/ 2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5"/>
                <a:gd name="T91" fmla="*/ 0 h 33"/>
                <a:gd name="T92" fmla="*/ 35 w 35"/>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5" h="33">
                  <a:moveTo>
                    <a:pt x="11" y="2"/>
                  </a:moveTo>
                  <a:lnTo>
                    <a:pt x="16" y="2"/>
                  </a:lnTo>
                  <a:lnTo>
                    <a:pt x="16" y="7"/>
                  </a:lnTo>
                  <a:lnTo>
                    <a:pt x="11" y="9"/>
                  </a:lnTo>
                  <a:lnTo>
                    <a:pt x="16" y="9"/>
                  </a:lnTo>
                  <a:lnTo>
                    <a:pt x="16" y="7"/>
                  </a:lnTo>
                  <a:lnTo>
                    <a:pt x="19" y="7"/>
                  </a:lnTo>
                  <a:lnTo>
                    <a:pt x="21" y="12"/>
                  </a:lnTo>
                  <a:lnTo>
                    <a:pt x="26" y="16"/>
                  </a:lnTo>
                  <a:lnTo>
                    <a:pt x="28" y="16"/>
                  </a:lnTo>
                  <a:lnTo>
                    <a:pt x="28" y="19"/>
                  </a:lnTo>
                  <a:lnTo>
                    <a:pt x="35" y="19"/>
                  </a:lnTo>
                  <a:lnTo>
                    <a:pt x="35" y="24"/>
                  </a:lnTo>
                  <a:lnTo>
                    <a:pt x="33" y="26"/>
                  </a:lnTo>
                  <a:lnTo>
                    <a:pt x="33" y="31"/>
                  </a:lnTo>
                  <a:lnTo>
                    <a:pt x="28" y="31"/>
                  </a:lnTo>
                  <a:lnTo>
                    <a:pt x="26" y="33"/>
                  </a:lnTo>
                  <a:lnTo>
                    <a:pt x="9" y="33"/>
                  </a:lnTo>
                  <a:lnTo>
                    <a:pt x="4" y="31"/>
                  </a:lnTo>
                  <a:lnTo>
                    <a:pt x="2" y="31"/>
                  </a:lnTo>
                  <a:lnTo>
                    <a:pt x="4" y="31"/>
                  </a:lnTo>
                  <a:lnTo>
                    <a:pt x="4" y="16"/>
                  </a:lnTo>
                  <a:lnTo>
                    <a:pt x="2" y="16"/>
                  </a:lnTo>
                  <a:lnTo>
                    <a:pt x="0" y="9"/>
                  </a:lnTo>
                  <a:lnTo>
                    <a:pt x="2" y="7"/>
                  </a:lnTo>
                  <a:lnTo>
                    <a:pt x="4" y="2"/>
                  </a:lnTo>
                  <a:lnTo>
                    <a:pt x="9" y="2"/>
                  </a:lnTo>
                  <a:lnTo>
                    <a:pt x="9" y="0"/>
                  </a:lnTo>
                  <a:lnTo>
                    <a:pt x="11" y="0"/>
                  </a:lnTo>
                  <a:lnTo>
                    <a:pt x="11"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39" name="Freeform 428">
              <a:extLst>
                <a:ext uri="{FF2B5EF4-FFF2-40B4-BE49-F238E27FC236}">
                  <a16:creationId xmlns:a16="http://schemas.microsoft.com/office/drawing/2014/main" id="{F4043892-C23A-4A8F-B0CB-1BE6E5A081FC}"/>
                </a:ext>
              </a:extLst>
            </p:cNvPr>
            <p:cNvSpPr>
              <a:spLocks/>
            </p:cNvSpPr>
            <p:nvPr/>
          </p:nvSpPr>
          <p:spPr bwMode="gray">
            <a:xfrm rot="47099">
              <a:off x="1442101" y="1800953"/>
              <a:ext cx="59671" cy="68502"/>
            </a:xfrm>
            <a:custGeom>
              <a:avLst/>
              <a:gdLst>
                <a:gd name="T0" fmla="*/ 80 w 128"/>
                <a:gd name="T1" fmla="*/ 135 h 147"/>
                <a:gd name="T2" fmla="*/ 62 w 128"/>
                <a:gd name="T3" fmla="*/ 144 h 147"/>
                <a:gd name="T4" fmla="*/ 54 w 128"/>
                <a:gd name="T5" fmla="*/ 125 h 147"/>
                <a:gd name="T6" fmla="*/ 57 w 128"/>
                <a:gd name="T7" fmla="*/ 125 h 147"/>
                <a:gd name="T8" fmla="*/ 57 w 128"/>
                <a:gd name="T9" fmla="*/ 121 h 147"/>
                <a:gd name="T10" fmla="*/ 50 w 128"/>
                <a:gd name="T11" fmla="*/ 107 h 147"/>
                <a:gd name="T12" fmla="*/ 57 w 128"/>
                <a:gd name="T13" fmla="*/ 104 h 147"/>
                <a:gd name="T14" fmla="*/ 64 w 128"/>
                <a:gd name="T15" fmla="*/ 97 h 147"/>
                <a:gd name="T16" fmla="*/ 66 w 128"/>
                <a:gd name="T17" fmla="*/ 90 h 147"/>
                <a:gd name="T18" fmla="*/ 71 w 128"/>
                <a:gd name="T19" fmla="*/ 85 h 147"/>
                <a:gd name="T20" fmla="*/ 47 w 128"/>
                <a:gd name="T21" fmla="*/ 90 h 147"/>
                <a:gd name="T22" fmla="*/ 7 w 128"/>
                <a:gd name="T23" fmla="*/ 97 h 147"/>
                <a:gd name="T24" fmla="*/ 5 w 128"/>
                <a:gd name="T25" fmla="*/ 90 h 147"/>
                <a:gd name="T26" fmla="*/ 14 w 128"/>
                <a:gd name="T27" fmla="*/ 81 h 147"/>
                <a:gd name="T28" fmla="*/ 17 w 128"/>
                <a:gd name="T29" fmla="*/ 78 h 147"/>
                <a:gd name="T30" fmla="*/ 17 w 128"/>
                <a:gd name="T31" fmla="*/ 66 h 147"/>
                <a:gd name="T32" fmla="*/ 31 w 128"/>
                <a:gd name="T33" fmla="*/ 74 h 147"/>
                <a:gd name="T34" fmla="*/ 38 w 128"/>
                <a:gd name="T35" fmla="*/ 78 h 147"/>
                <a:gd name="T36" fmla="*/ 31 w 128"/>
                <a:gd name="T37" fmla="*/ 62 h 147"/>
                <a:gd name="T38" fmla="*/ 26 w 128"/>
                <a:gd name="T39" fmla="*/ 62 h 147"/>
                <a:gd name="T40" fmla="*/ 31 w 128"/>
                <a:gd name="T41" fmla="*/ 40 h 147"/>
                <a:gd name="T42" fmla="*/ 26 w 128"/>
                <a:gd name="T43" fmla="*/ 40 h 147"/>
                <a:gd name="T44" fmla="*/ 21 w 128"/>
                <a:gd name="T45" fmla="*/ 24 h 147"/>
                <a:gd name="T46" fmla="*/ 38 w 128"/>
                <a:gd name="T47" fmla="*/ 29 h 147"/>
                <a:gd name="T48" fmla="*/ 45 w 128"/>
                <a:gd name="T49" fmla="*/ 40 h 147"/>
                <a:gd name="T50" fmla="*/ 50 w 128"/>
                <a:gd name="T51" fmla="*/ 48 h 147"/>
                <a:gd name="T52" fmla="*/ 64 w 128"/>
                <a:gd name="T53" fmla="*/ 66 h 147"/>
                <a:gd name="T54" fmla="*/ 78 w 128"/>
                <a:gd name="T55" fmla="*/ 62 h 147"/>
                <a:gd name="T56" fmla="*/ 64 w 128"/>
                <a:gd name="T57" fmla="*/ 55 h 147"/>
                <a:gd name="T58" fmla="*/ 64 w 128"/>
                <a:gd name="T59" fmla="*/ 45 h 147"/>
                <a:gd name="T60" fmla="*/ 73 w 128"/>
                <a:gd name="T61" fmla="*/ 48 h 147"/>
                <a:gd name="T62" fmla="*/ 54 w 128"/>
                <a:gd name="T63" fmla="*/ 40 h 147"/>
                <a:gd name="T64" fmla="*/ 64 w 128"/>
                <a:gd name="T65" fmla="*/ 38 h 147"/>
                <a:gd name="T66" fmla="*/ 50 w 128"/>
                <a:gd name="T67" fmla="*/ 29 h 147"/>
                <a:gd name="T68" fmla="*/ 50 w 128"/>
                <a:gd name="T69" fmla="*/ 10 h 147"/>
                <a:gd name="T70" fmla="*/ 66 w 128"/>
                <a:gd name="T71" fmla="*/ 7 h 147"/>
                <a:gd name="T72" fmla="*/ 78 w 128"/>
                <a:gd name="T73" fmla="*/ 14 h 147"/>
                <a:gd name="T74" fmla="*/ 88 w 128"/>
                <a:gd name="T75" fmla="*/ 17 h 147"/>
                <a:gd name="T76" fmla="*/ 88 w 128"/>
                <a:gd name="T77" fmla="*/ 17 h 147"/>
                <a:gd name="T78" fmla="*/ 95 w 128"/>
                <a:gd name="T79" fmla="*/ 0 h 147"/>
                <a:gd name="T80" fmla="*/ 102 w 128"/>
                <a:gd name="T81" fmla="*/ 0 h 147"/>
                <a:gd name="T82" fmla="*/ 102 w 128"/>
                <a:gd name="T83" fmla="*/ 7 h 147"/>
                <a:gd name="T84" fmla="*/ 113 w 128"/>
                <a:gd name="T85" fmla="*/ 17 h 147"/>
                <a:gd name="T86" fmla="*/ 118 w 128"/>
                <a:gd name="T87" fmla="*/ 33 h 147"/>
                <a:gd name="T88" fmla="*/ 118 w 128"/>
                <a:gd name="T89" fmla="*/ 50 h 147"/>
                <a:gd name="T90" fmla="*/ 118 w 128"/>
                <a:gd name="T91" fmla="*/ 78 h 147"/>
                <a:gd name="T92" fmla="*/ 118 w 128"/>
                <a:gd name="T93" fmla="*/ 81 h 147"/>
                <a:gd name="T94" fmla="*/ 128 w 128"/>
                <a:gd name="T95" fmla="*/ 111 h 147"/>
                <a:gd name="T96" fmla="*/ 118 w 128"/>
                <a:gd name="T97" fmla="*/ 95 h 147"/>
                <a:gd name="T98" fmla="*/ 113 w 128"/>
                <a:gd name="T99" fmla="*/ 104 h 147"/>
                <a:gd name="T100" fmla="*/ 118 w 128"/>
                <a:gd name="T101" fmla="*/ 107 h 147"/>
                <a:gd name="T102" fmla="*/ 113 w 128"/>
                <a:gd name="T103" fmla="*/ 114 h 147"/>
                <a:gd name="T104" fmla="*/ 111 w 128"/>
                <a:gd name="T105" fmla="*/ 121 h 147"/>
                <a:gd name="T106" fmla="*/ 121 w 128"/>
                <a:gd name="T107" fmla="*/ 130 h 147"/>
                <a:gd name="T108" fmla="*/ 111 w 128"/>
                <a:gd name="T109" fmla="*/ 130 h 147"/>
                <a:gd name="T110" fmla="*/ 113 w 128"/>
                <a:gd name="T111" fmla="*/ 144 h 14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8"/>
                <a:gd name="T169" fmla="*/ 0 h 147"/>
                <a:gd name="T170" fmla="*/ 128 w 128"/>
                <a:gd name="T171" fmla="*/ 147 h 14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8" h="147">
                  <a:moveTo>
                    <a:pt x="95" y="144"/>
                  </a:moveTo>
                  <a:lnTo>
                    <a:pt x="88" y="144"/>
                  </a:lnTo>
                  <a:lnTo>
                    <a:pt x="80" y="147"/>
                  </a:lnTo>
                  <a:lnTo>
                    <a:pt x="80" y="135"/>
                  </a:lnTo>
                  <a:lnTo>
                    <a:pt x="78" y="142"/>
                  </a:lnTo>
                  <a:lnTo>
                    <a:pt x="78" y="147"/>
                  </a:lnTo>
                  <a:lnTo>
                    <a:pt x="62" y="147"/>
                  </a:lnTo>
                  <a:lnTo>
                    <a:pt x="62" y="144"/>
                  </a:lnTo>
                  <a:lnTo>
                    <a:pt x="57" y="144"/>
                  </a:lnTo>
                  <a:lnTo>
                    <a:pt x="57" y="137"/>
                  </a:lnTo>
                  <a:lnTo>
                    <a:pt x="54" y="130"/>
                  </a:lnTo>
                  <a:lnTo>
                    <a:pt x="54" y="125"/>
                  </a:lnTo>
                  <a:lnTo>
                    <a:pt x="57" y="125"/>
                  </a:lnTo>
                  <a:lnTo>
                    <a:pt x="62" y="128"/>
                  </a:lnTo>
                  <a:lnTo>
                    <a:pt x="64" y="125"/>
                  </a:lnTo>
                  <a:lnTo>
                    <a:pt x="57" y="125"/>
                  </a:lnTo>
                  <a:lnTo>
                    <a:pt x="57" y="121"/>
                  </a:lnTo>
                  <a:lnTo>
                    <a:pt x="62" y="118"/>
                  </a:lnTo>
                  <a:lnTo>
                    <a:pt x="57" y="118"/>
                  </a:lnTo>
                  <a:lnTo>
                    <a:pt x="57" y="121"/>
                  </a:lnTo>
                  <a:lnTo>
                    <a:pt x="54" y="121"/>
                  </a:lnTo>
                  <a:lnTo>
                    <a:pt x="47" y="114"/>
                  </a:lnTo>
                  <a:lnTo>
                    <a:pt x="54" y="114"/>
                  </a:lnTo>
                  <a:lnTo>
                    <a:pt x="50" y="107"/>
                  </a:lnTo>
                  <a:lnTo>
                    <a:pt x="47" y="107"/>
                  </a:lnTo>
                  <a:lnTo>
                    <a:pt x="64" y="107"/>
                  </a:lnTo>
                  <a:lnTo>
                    <a:pt x="64" y="104"/>
                  </a:lnTo>
                  <a:lnTo>
                    <a:pt x="57" y="104"/>
                  </a:lnTo>
                  <a:lnTo>
                    <a:pt x="62" y="102"/>
                  </a:lnTo>
                  <a:lnTo>
                    <a:pt x="66" y="102"/>
                  </a:lnTo>
                  <a:lnTo>
                    <a:pt x="66" y="97"/>
                  </a:lnTo>
                  <a:lnTo>
                    <a:pt x="64" y="97"/>
                  </a:lnTo>
                  <a:lnTo>
                    <a:pt x="71" y="95"/>
                  </a:lnTo>
                  <a:lnTo>
                    <a:pt x="73" y="95"/>
                  </a:lnTo>
                  <a:lnTo>
                    <a:pt x="71" y="90"/>
                  </a:lnTo>
                  <a:lnTo>
                    <a:pt x="66" y="90"/>
                  </a:lnTo>
                  <a:lnTo>
                    <a:pt x="71" y="88"/>
                  </a:lnTo>
                  <a:lnTo>
                    <a:pt x="90" y="88"/>
                  </a:lnTo>
                  <a:lnTo>
                    <a:pt x="90" y="85"/>
                  </a:lnTo>
                  <a:lnTo>
                    <a:pt x="71" y="85"/>
                  </a:lnTo>
                  <a:lnTo>
                    <a:pt x="66" y="88"/>
                  </a:lnTo>
                  <a:lnTo>
                    <a:pt x="57" y="88"/>
                  </a:lnTo>
                  <a:lnTo>
                    <a:pt x="54" y="90"/>
                  </a:lnTo>
                  <a:lnTo>
                    <a:pt x="47" y="90"/>
                  </a:lnTo>
                  <a:lnTo>
                    <a:pt x="38" y="95"/>
                  </a:lnTo>
                  <a:lnTo>
                    <a:pt x="24" y="95"/>
                  </a:lnTo>
                  <a:lnTo>
                    <a:pt x="21" y="97"/>
                  </a:lnTo>
                  <a:lnTo>
                    <a:pt x="7" y="97"/>
                  </a:lnTo>
                  <a:lnTo>
                    <a:pt x="7" y="102"/>
                  </a:lnTo>
                  <a:lnTo>
                    <a:pt x="5" y="102"/>
                  </a:lnTo>
                  <a:lnTo>
                    <a:pt x="0" y="90"/>
                  </a:lnTo>
                  <a:lnTo>
                    <a:pt x="5" y="90"/>
                  </a:lnTo>
                  <a:lnTo>
                    <a:pt x="5" y="88"/>
                  </a:lnTo>
                  <a:lnTo>
                    <a:pt x="7" y="85"/>
                  </a:lnTo>
                  <a:lnTo>
                    <a:pt x="7" y="81"/>
                  </a:lnTo>
                  <a:lnTo>
                    <a:pt x="14" y="81"/>
                  </a:lnTo>
                  <a:lnTo>
                    <a:pt x="17" y="85"/>
                  </a:lnTo>
                  <a:lnTo>
                    <a:pt x="21" y="85"/>
                  </a:lnTo>
                  <a:lnTo>
                    <a:pt x="17" y="81"/>
                  </a:lnTo>
                  <a:lnTo>
                    <a:pt x="17" y="78"/>
                  </a:lnTo>
                  <a:lnTo>
                    <a:pt x="10" y="78"/>
                  </a:lnTo>
                  <a:lnTo>
                    <a:pt x="10" y="71"/>
                  </a:lnTo>
                  <a:lnTo>
                    <a:pt x="14" y="71"/>
                  </a:lnTo>
                  <a:lnTo>
                    <a:pt x="17" y="66"/>
                  </a:lnTo>
                  <a:lnTo>
                    <a:pt x="24" y="66"/>
                  </a:lnTo>
                  <a:lnTo>
                    <a:pt x="24" y="71"/>
                  </a:lnTo>
                  <a:lnTo>
                    <a:pt x="26" y="71"/>
                  </a:lnTo>
                  <a:lnTo>
                    <a:pt x="31" y="74"/>
                  </a:lnTo>
                  <a:lnTo>
                    <a:pt x="31" y="78"/>
                  </a:lnTo>
                  <a:lnTo>
                    <a:pt x="33" y="81"/>
                  </a:lnTo>
                  <a:lnTo>
                    <a:pt x="38" y="81"/>
                  </a:lnTo>
                  <a:lnTo>
                    <a:pt x="38" y="78"/>
                  </a:lnTo>
                  <a:lnTo>
                    <a:pt x="33" y="78"/>
                  </a:lnTo>
                  <a:lnTo>
                    <a:pt x="33" y="71"/>
                  </a:lnTo>
                  <a:lnTo>
                    <a:pt x="31" y="71"/>
                  </a:lnTo>
                  <a:lnTo>
                    <a:pt x="31" y="62"/>
                  </a:lnTo>
                  <a:lnTo>
                    <a:pt x="33" y="62"/>
                  </a:lnTo>
                  <a:lnTo>
                    <a:pt x="38" y="57"/>
                  </a:lnTo>
                  <a:lnTo>
                    <a:pt x="33" y="57"/>
                  </a:lnTo>
                  <a:lnTo>
                    <a:pt x="26" y="62"/>
                  </a:lnTo>
                  <a:lnTo>
                    <a:pt x="24" y="57"/>
                  </a:lnTo>
                  <a:lnTo>
                    <a:pt x="24" y="48"/>
                  </a:lnTo>
                  <a:lnTo>
                    <a:pt x="26" y="45"/>
                  </a:lnTo>
                  <a:lnTo>
                    <a:pt x="31" y="40"/>
                  </a:lnTo>
                  <a:lnTo>
                    <a:pt x="33" y="40"/>
                  </a:lnTo>
                  <a:lnTo>
                    <a:pt x="33" y="38"/>
                  </a:lnTo>
                  <a:lnTo>
                    <a:pt x="31" y="38"/>
                  </a:lnTo>
                  <a:lnTo>
                    <a:pt x="26" y="40"/>
                  </a:lnTo>
                  <a:lnTo>
                    <a:pt x="17" y="40"/>
                  </a:lnTo>
                  <a:lnTo>
                    <a:pt x="17" y="38"/>
                  </a:lnTo>
                  <a:lnTo>
                    <a:pt x="21" y="38"/>
                  </a:lnTo>
                  <a:lnTo>
                    <a:pt x="21" y="24"/>
                  </a:lnTo>
                  <a:lnTo>
                    <a:pt x="24" y="22"/>
                  </a:lnTo>
                  <a:lnTo>
                    <a:pt x="33" y="22"/>
                  </a:lnTo>
                  <a:lnTo>
                    <a:pt x="38" y="24"/>
                  </a:lnTo>
                  <a:lnTo>
                    <a:pt x="38" y="29"/>
                  </a:lnTo>
                  <a:lnTo>
                    <a:pt x="40" y="29"/>
                  </a:lnTo>
                  <a:lnTo>
                    <a:pt x="40" y="33"/>
                  </a:lnTo>
                  <a:lnTo>
                    <a:pt x="45" y="38"/>
                  </a:lnTo>
                  <a:lnTo>
                    <a:pt x="45" y="40"/>
                  </a:lnTo>
                  <a:lnTo>
                    <a:pt x="47" y="40"/>
                  </a:lnTo>
                  <a:lnTo>
                    <a:pt x="47" y="45"/>
                  </a:lnTo>
                  <a:lnTo>
                    <a:pt x="50" y="45"/>
                  </a:lnTo>
                  <a:lnTo>
                    <a:pt x="50" y="48"/>
                  </a:lnTo>
                  <a:lnTo>
                    <a:pt x="54" y="50"/>
                  </a:lnTo>
                  <a:lnTo>
                    <a:pt x="57" y="55"/>
                  </a:lnTo>
                  <a:lnTo>
                    <a:pt x="62" y="64"/>
                  </a:lnTo>
                  <a:lnTo>
                    <a:pt x="64" y="66"/>
                  </a:lnTo>
                  <a:lnTo>
                    <a:pt x="71" y="66"/>
                  </a:lnTo>
                  <a:lnTo>
                    <a:pt x="73" y="64"/>
                  </a:lnTo>
                  <a:lnTo>
                    <a:pt x="78" y="64"/>
                  </a:lnTo>
                  <a:lnTo>
                    <a:pt x="78" y="62"/>
                  </a:lnTo>
                  <a:lnTo>
                    <a:pt x="73" y="62"/>
                  </a:lnTo>
                  <a:lnTo>
                    <a:pt x="71" y="64"/>
                  </a:lnTo>
                  <a:lnTo>
                    <a:pt x="66" y="64"/>
                  </a:lnTo>
                  <a:lnTo>
                    <a:pt x="64" y="55"/>
                  </a:lnTo>
                  <a:lnTo>
                    <a:pt x="62" y="50"/>
                  </a:lnTo>
                  <a:lnTo>
                    <a:pt x="62" y="48"/>
                  </a:lnTo>
                  <a:lnTo>
                    <a:pt x="64" y="48"/>
                  </a:lnTo>
                  <a:lnTo>
                    <a:pt x="64" y="45"/>
                  </a:lnTo>
                  <a:lnTo>
                    <a:pt x="64" y="48"/>
                  </a:lnTo>
                  <a:lnTo>
                    <a:pt x="78" y="48"/>
                  </a:lnTo>
                  <a:lnTo>
                    <a:pt x="78" y="45"/>
                  </a:lnTo>
                  <a:lnTo>
                    <a:pt x="73" y="48"/>
                  </a:lnTo>
                  <a:lnTo>
                    <a:pt x="71" y="48"/>
                  </a:lnTo>
                  <a:lnTo>
                    <a:pt x="66" y="45"/>
                  </a:lnTo>
                  <a:lnTo>
                    <a:pt x="62" y="45"/>
                  </a:lnTo>
                  <a:lnTo>
                    <a:pt x="54" y="40"/>
                  </a:lnTo>
                  <a:lnTo>
                    <a:pt x="54" y="33"/>
                  </a:lnTo>
                  <a:lnTo>
                    <a:pt x="62" y="33"/>
                  </a:lnTo>
                  <a:lnTo>
                    <a:pt x="62" y="38"/>
                  </a:lnTo>
                  <a:lnTo>
                    <a:pt x="64" y="38"/>
                  </a:lnTo>
                  <a:lnTo>
                    <a:pt x="66" y="33"/>
                  </a:lnTo>
                  <a:lnTo>
                    <a:pt x="64" y="31"/>
                  </a:lnTo>
                  <a:lnTo>
                    <a:pt x="62" y="29"/>
                  </a:lnTo>
                  <a:lnTo>
                    <a:pt x="50" y="29"/>
                  </a:lnTo>
                  <a:lnTo>
                    <a:pt x="45" y="17"/>
                  </a:lnTo>
                  <a:lnTo>
                    <a:pt x="45" y="14"/>
                  </a:lnTo>
                  <a:lnTo>
                    <a:pt x="50" y="14"/>
                  </a:lnTo>
                  <a:lnTo>
                    <a:pt x="50" y="10"/>
                  </a:lnTo>
                  <a:lnTo>
                    <a:pt x="54" y="7"/>
                  </a:lnTo>
                  <a:lnTo>
                    <a:pt x="57" y="5"/>
                  </a:lnTo>
                  <a:lnTo>
                    <a:pt x="64" y="5"/>
                  </a:lnTo>
                  <a:lnTo>
                    <a:pt x="66" y="7"/>
                  </a:lnTo>
                  <a:lnTo>
                    <a:pt x="71" y="7"/>
                  </a:lnTo>
                  <a:lnTo>
                    <a:pt x="71" y="5"/>
                  </a:lnTo>
                  <a:lnTo>
                    <a:pt x="73" y="5"/>
                  </a:lnTo>
                  <a:lnTo>
                    <a:pt x="78" y="14"/>
                  </a:lnTo>
                  <a:lnTo>
                    <a:pt x="80" y="17"/>
                  </a:lnTo>
                  <a:lnTo>
                    <a:pt x="85" y="24"/>
                  </a:lnTo>
                  <a:lnTo>
                    <a:pt x="85" y="22"/>
                  </a:lnTo>
                  <a:lnTo>
                    <a:pt x="88" y="17"/>
                  </a:lnTo>
                  <a:lnTo>
                    <a:pt x="88" y="22"/>
                  </a:lnTo>
                  <a:lnTo>
                    <a:pt x="90" y="22"/>
                  </a:lnTo>
                  <a:lnTo>
                    <a:pt x="90" y="17"/>
                  </a:lnTo>
                  <a:lnTo>
                    <a:pt x="88" y="17"/>
                  </a:lnTo>
                  <a:lnTo>
                    <a:pt x="88" y="7"/>
                  </a:lnTo>
                  <a:lnTo>
                    <a:pt x="97" y="7"/>
                  </a:lnTo>
                  <a:lnTo>
                    <a:pt x="97" y="0"/>
                  </a:lnTo>
                  <a:lnTo>
                    <a:pt x="95" y="0"/>
                  </a:lnTo>
                  <a:lnTo>
                    <a:pt x="95" y="5"/>
                  </a:lnTo>
                  <a:lnTo>
                    <a:pt x="90" y="5"/>
                  </a:lnTo>
                  <a:lnTo>
                    <a:pt x="90" y="0"/>
                  </a:lnTo>
                  <a:lnTo>
                    <a:pt x="102" y="0"/>
                  </a:lnTo>
                  <a:lnTo>
                    <a:pt x="102" y="7"/>
                  </a:lnTo>
                  <a:lnTo>
                    <a:pt x="104" y="7"/>
                  </a:lnTo>
                  <a:lnTo>
                    <a:pt x="104" y="10"/>
                  </a:lnTo>
                  <a:lnTo>
                    <a:pt x="102" y="7"/>
                  </a:lnTo>
                  <a:lnTo>
                    <a:pt x="102" y="10"/>
                  </a:lnTo>
                  <a:lnTo>
                    <a:pt x="106" y="14"/>
                  </a:lnTo>
                  <a:lnTo>
                    <a:pt x="113" y="14"/>
                  </a:lnTo>
                  <a:lnTo>
                    <a:pt x="113" y="17"/>
                  </a:lnTo>
                  <a:lnTo>
                    <a:pt x="118" y="22"/>
                  </a:lnTo>
                  <a:lnTo>
                    <a:pt x="113" y="24"/>
                  </a:lnTo>
                  <a:lnTo>
                    <a:pt x="113" y="33"/>
                  </a:lnTo>
                  <a:lnTo>
                    <a:pt x="118" y="33"/>
                  </a:lnTo>
                  <a:lnTo>
                    <a:pt x="118" y="38"/>
                  </a:lnTo>
                  <a:lnTo>
                    <a:pt x="121" y="40"/>
                  </a:lnTo>
                  <a:lnTo>
                    <a:pt x="121" y="50"/>
                  </a:lnTo>
                  <a:lnTo>
                    <a:pt x="118" y="50"/>
                  </a:lnTo>
                  <a:lnTo>
                    <a:pt x="118" y="64"/>
                  </a:lnTo>
                  <a:lnTo>
                    <a:pt x="121" y="66"/>
                  </a:lnTo>
                  <a:lnTo>
                    <a:pt x="121" y="71"/>
                  </a:lnTo>
                  <a:lnTo>
                    <a:pt x="118" y="78"/>
                  </a:lnTo>
                  <a:lnTo>
                    <a:pt x="113" y="78"/>
                  </a:lnTo>
                  <a:lnTo>
                    <a:pt x="113" y="81"/>
                  </a:lnTo>
                  <a:lnTo>
                    <a:pt x="111" y="81"/>
                  </a:lnTo>
                  <a:lnTo>
                    <a:pt x="118" y="81"/>
                  </a:lnTo>
                  <a:lnTo>
                    <a:pt x="123" y="85"/>
                  </a:lnTo>
                  <a:lnTo>
                    <a:pt x="123" y="104"/>
                  </a:lnTo>
                  <a:lnTo>
                    <a:pt x="128" y="107"/>
                  </a:lnTo>
                  <a:lnTo>
                    <a:pt x="128" y="111"/>
                  </a:lnTo>
                  <a:lnTo>
                    <a:pt x="123" y="107"/>
                  </a:lnTo>
                  <a:lnTo>
                    <a:pt x="123" y="104"/>
                  </a:lnTo>
                  <a:lnTo>
                    <a:pt x="121" y="102"/>
                  </a:lnTo>
                  <a:lnTo>
                    <a:pt x="118" y="95"/>
                  </a:lnTo>
                  <a:lnTo>
                    <a:pt x="113" y="97"/>
                  </a:lnTo>
                  <a:lnTo>
                    <a:pt x="118" y="102"/>
                  </a:lnTo>
                  <a:lnTo>
                    <a:pt x="118" y="104"/>
                  </a:lnTo>
                  <a:lnTo>
                    <a:pt x="113" y="104"/>
                  </a:lnTo>
                  <a:lnTo>
                    <a:pt x="113" y="102"/>
                  </a:lnTo>
                  <a:lnTo>
                    <a:pt x="111" y="104"/>
                  </a:lnTo>
                  <a:lnTo>
                    <a:pt x="113" y="107"/>
                  </a:lnTo>
                  <a:lnTo>
                    <a:pt x="118" y="107"/>
                  </a:lnTo>
                  <a:lnTo>
                    <a:pt x="113" y="111"/>
                  </a:lnTo>
                  <a:lnTo>
                    <a:pt x="111" y="111"/>
                  </a:lnTo>
                  <a:lnTo>
                    <a:pt x="113" y="111"/>
                  </a:lnTo>
                  <a:lnTo>
                    <a:pt x="113" y="114"/>
                  </a:lnTo>
                  <a:lnTo>
                    <a:pt x="106" y="114"/>
                  </a:lnTo>
                  <a:lnTo>
                    <a:pt x="106" y="118"/>
                  </a:lnTo>
                  <a:lnTo>
                    <a:pt x="111" y="118"/>
                  </a:lnTo>
                  <a:lnTo>
                    <a:pt x="111" y="121"/>
                  </a:lnTo>
                  <a:lnTo>
                    <a:pt x="113" y="121"/>
                  </a:lnTo>
                  <a:lnTo>
                    <a:pt x="118" y="125"/>
                  </a:lnTo>
                  <a:lnTo>
                    <a:pt x="118" y="128"/>
                  </a:lnTo>
                  <a:lnTo>
                    <a:pt x="121" y="130"/>
                  </a:lnTo>
                  <a:lnTo>
                    <a:pt x="123" y="130"/>
                  </a:lnTo>
                  <a:lnTo>
                    <a:pt x="121" y="135"/>
                  </a:lnTo>
                  <a:lnTo>
                    <a:pt x="118" y="135"/>
                  </a:lnTo>
                  <a:lnTo>
                    <a:pt x="111" y="130"/>
                  </a:lnTo>
                  <a:lnTo>
                    <a:pt x="111" y="125"/>
                  </a:lnTo>
                  <a:lnTo>
                    <a:pt x="111" y="135"/>
                  </a:lnTo>
                  <a:lnTo>
                    <a:pt x="113" y="135"/>
                  </a:lnTo>
                  <a:lnTo>
                    <a:pt x="113" y="144"/>
                  </a:lnTo>
                  <a:lnTo>
                    <a:pt x="97" y="144"/>
                  </a:lnTo>
                  <a:lnTo>
                    <a:pt x="97" y="147"/>
                  </a:lnTo>
                  <a:lnTo>
                    <a:pt x="95" y="14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0" name="Freeform 429">
              <a:extLst>
                <a:ext uri="{FF2B5EF4-FFF2-40B4-BE49-F238E27FC236}">
                  <a16:creationId xmlns:a16="http://schemas.microsoft.com/office/drawing/2014/main" id="{01CA3B03-5CD6-4CBC-9EBC-076662413B45}"/>
                </a:ext>
              </a:extLst>
            </p:cNvPr>
            <p:cNvSpPr>
              <a:spLocks/>
            </p:cNvSpPr>
            <p:nvPr/>
          </p:nvSpPr>
          <p:spPr bwMode="gray">
            <a:xfrm rot="47099">
              <a:off x="1471980" y="1798104"/>
              <a:ext cx="7125" cy="2894"/>
            </a:xfrm>
            <a:custGeom>
              <a:avLst/>
              <a:gdLst>
                <a:gd name="T0" fmla="*/ 14 w 14"/>
                <a:gd name="T1" fmla="*/ 5 h 7"/>
                <a:gd name="T2" fmla="*/ 14 w 14"/>
                <a:gd name="T3" fmla="*/ 7 h 7"/>
                <a:gd name="T4" fmla="*/ 9 w 14"/>
                <a:gd name="T5" fmla="*/ 7 h 7"/>
                <a:gd name="T6" fmla="*/ 7 w 14"/>
                <a:gd name="T7" fmla="*/ 5 h 7"/>
                <a:gd name="T8" fmla="*/ 0 w 14"/>
                <a:gd name="T9" fmla="*/ 5 h 7"/>
                <a:gd name="T10" fmla="*/ 0 w 14"/>
                <a:gd name="T11" fmla="*/ 0 h 7"/>
                <a:gd name="T12" fmla="*/ 2 w 14"/>
                <a:gd name="T13" fmla="*/ 0 h 7"/>
                <a:gd name="T14" fmla="*/ 0 w 14"/>
                <a:gd name="T15" fmla="*/ 5 h 7"/>
                <a:gd name="T16" fmla="*/ 2 w 14"/>
                <a:gd name="T17" fmla="*/ 5 h 7"/>
                <a:gd name="T18" fmla="*/ 7 w 14"/>
                <a:gd name="T19" fmla="*/ 0 h 7"/>
                <a:gd name="T20" fmla="*/ 9 w 14"/>
                <a:gd name="T21" fmla="*/ 0 h 7"/>
                <a:gd name="T22" fmla="*/ 9 w 14"/>
                <a:gd name="T23" fmla="*/ 5 h 7"/>
                <a:gd name="T24" fmla="*/ 14 w 14"/>
                <a:gd name="T25" fmla="*/ 5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7"/>
                <a:gd name="T41" fmla="*/ 14 w 14"/>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7">
                  <a:moveTo>
                    <a:pt x="14" y="5"/>
                  </a:moveTo>
                  <a:lnTo>
                    <a:pt x="14" y="7"/>
                  </a:lnTo>
                  <a:lnTo>
                    <a:pt x="9" y="7"/>
                  </a:lnTo>
                  <a:lnTo>
                    <a:pt x="7" y="5"/>
                  </a:lnTo>
                  <a:lnTo>
                    <a:pt x="0" y="5"/>
                  </a:lnTo>
                  <a:lnTo>
                    <a:pt x="0" y="0"/>
                  </a:lnTo>
                  <a:lnTo>
                    <a:pt x="2" y="0"/>
                  </a:lnTo>
                  <a:lnTo>
                    <a:pt x="0" y="5"/>
                  </a:lnTo>
                  <a:lnTo>
                    <a:pt x="2" y="5"/>
                  </a:lnTo>
                  <a:lnTo>
                    <a:pt x="7" y="0"/>
                  </a:lnTo>
                  <a:lnTo>
                    <a:pt x="9" y="0"/>
                  </a:lnTo>
                  <a:lnTo>
                    <a:pt x="9" y="5"/>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1" name="Freeform 430">
              <a:extLst>
                <a:ext uri="{FF2B5EF4-FFF2-40B4-BE49-F238E27FC236}">
                  <a16:creationId xmlns:a16="http://schemas.microsoft.com/office/drawing/2014/main" id="{5BF07BAA-D94F-4947-B706-7A1F87285808}"/>
                </a:ext>
              </a:extLst>
            </p:cNvPr>
            <p:cNvSpPr>
              <a:spLocks/>
            </p:cNvSpPr>
            <p:nvPr/>
          </p:nvSpPr>
          <p:spPr bwMode="gray">
            <a:xfrm rot="47099">
              <a:off x="1454135" y="1797928"/>
              <a:ext cx="16921" cy="7718"/>
            </a:xfrm>
            <a:custGeom>
              <a:avLst/>
              <a:gdLst>
                <a:gd name="T0" fmla="*/ 31 w 36"/>
                <a:gd name="T1" fmla="*/ 5 h 17"/>
                <a:gd name="T2" fmla="*/ 28 w 36"/>
                <a:gd name="T3" fmla="*/ 7 h 17"/>
                <a:gd name="T4" fmla="*/ 21 w 36"/>
                <a:gd name="T5" fmla="*/ 12 h 17"/>
                <a:gd name="T6" fmla="*/ 19 w 36"/>
                <a:gd name="T7" fmla="*/ 14 h 17"/>
                <a:gd name="T8" fmla="*/ 14 w 36"/>
                <a:gd name="T9" fmla="*/ 17 h 17"/>
                <a:gd name="T10" fmla="*/ 5 w 36"/>
                <a:gd name="T11" fmla="*/ 17 h 17"/>
                <a:gd name="T12" fmla="*/ 0 w 36"/>
                <a:gd name="T13" fmla="*/ 14 h 17"/>
                <a:gd name="T14" fmla="*/ 5 w 36"/>
                <a:gd name="T15" fmla="*/ 14 h 17"/>
                <a:gd name="T16" fmla="*/ 7 w 36"/>
                <a:gd name="T17" fmla="*/ 12 h 17"/>
                <a:gd name="T18" fmla="*/ 14 w 36"/>
                <a:gd name="T19" fmla="*/ 12 h 17"/>
                <a:gd name="T20" fmla="*/ 19 w 36"/>
                <a:gd name="T21" fmla="*/ 7 h 17"/>
                <a:gd name="T22" fmla="*/ 19 w 36"/>
                <a:gd name="T23" fmla="*/ 5 h 17"/>
                <a:gd name="T24" fmla="*/ 21 w 36"/>
                <a:gd name="T25" fmla="*/ 0 h 17"/>
                <a:gd name="T26" fmla="*/ 28 w 36"/>
                <a:gd name="T27" fmla="*/ 0 h 17"/>
                <a:gd name="T28" fmla="*/ 36 w 36"/>
                <a:gd name="T29" fmla="*/ 5 h 17"/>
                <a:gd name="T30" fmla="*/ 31 w 36"/>
                <a:gd name="T31" fmla="*/ 5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17"/>
                <a:gd name="T50" fmla="*/ 36 w 36"/>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17">
                  <a:moveTo>
                    <a:pt x="31" y="5"/>
                  </a:moveTo>
                  <a:lnTo>
                    <a:pt x="28" y="7"/>
                  </a:lnTo>
                  <a:lnTo>
                    <a:pt x="21" y="12"/>
                  </a:lnTo>
                  <a:lnTo>
                    <a:pt x="19" y="14"/>
                  </a:lnTo>
                  <a:lnTo>
                    <a:pt x="14" y="17"/>
                  </a:lnTo>
                  <a:lnTo>
                    <a:pt x="5" y="17"/>
                  </a:lnTo>
                  <a:lnTo>
                    <a:pt x="0" y="14"/>
                  </a:lnTo>
                  <a:lnTo>
                    <a:pt x="5" y="14"/>
                  </a:lnTo>
                  <a:lnTo>
                    <a:pt x="7" y="12"/>
                  </a:lnTo>
                  <a:lnTo>
                    <a:pt x="14" y="12"/>
                  </a:lnTo>
                  <a:lnTo>
                    <a:pt x="19" y="7"/>
                  </a:lnTo>
                  <a:lnTo>
                    <a:pt x="19" y="5"/>
                  </a:lnTo>
                  <a:lnTo>
                    <a:pt x="21" y="0"/>
                  </a:lnTo>
                  <a:lnTo>
                    <a:pt x="28" y="0"/>
                  </a:lnTo>
                  <a:lnTo>
                    <a:pt x="36" y="5"/>
                  </a:lnTo>
                  <a:lnTo>
                    <a:pt x="31"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2" name="Freeform 431">
              <a:extLst>
                <a:ext uri="{FF2B5EF4-FFF2-40B4-BE49-F238E27FC236}">
                  <a16:creationId xmlns:a16="http://schemas.microsoft.com/office/drawing/2014/main" id="{84E8A7D9-3EAA-4E74-8279-8D9121EB45DE}"/>
                </a:ext>
              </a:extLst>
            </p:cNvPr>
            <p:cNvSpPr>
              <a:spLocks/>
            </p:cNvSpPr>
            <p:nvPr/>
          </p:nvSpPr>
          <p:spPr bwMode="gray">
            <a:xfrm rot="47099">
              <a:off x="1565551" y="1787833"/>
              <a:ext cx="10687" cy="16402"/>
            </a:xfrm>
            <a:custGeom>
              <a:avLst/>
              <a:gdLst>
                <a:gd name="T0" fmla="*/ 16 w 23"/>
                <a:gd name="T1" fmla="*/ 35 h 35"/>
                <a:gd name="T2" fmla="*/ 14 w 23"/>
                <a:gd name="T3" fmla="*/ 30 h 35"/>
                <a:gd name="T4" fmla="*/ 9 w 23"/>
                <a:gd name="T5" fmla="*/ 30 h 35"/>
                <a:gd name="T6" fmla="*/ 9 w 23"/>
                <a:gd name="T7" fmla="*/ 28 h 35"/>
                <a:gd name="T8" fmla="*/ 7 w 23"/>
                <a:gd name="T9" fmla="*/ 21 h 35"/>
                <a:gd name="T10" fmla="*/ 2 w 23"/>
                <a:gd name="T11" fmla="*/ 18 h 35"/>
                <a:gd name="T12" fmla="*/ 0 w 23"/>
                <a:gd name="T13" fmla="*/ 14 h 35"/>
                <a:gd name="T14" fmla="*/ 0 w 23"/>
                <a:gd name="T15" fmla="*/ 7 h 35"/>
                <a:gd name="T16" fmla="*/ 2 w 23"/>
                <a:gd name="T17" fmla="*/ 7 h 35"/>
                <a:gd name="T18" fmla="*/ 7 w 23"/>
                <a:gd name="T19" fmla="*/ 4 h 35"/>
                <a:gd name="T20" fmla="*/ 9 w 23"/>
                <a:gd name="T21" fmla="*/ 4 h 35"/>
                <a:gd name="T22" fmla="*/ 9 w 23"/>
                <a:gd name="T23" fmla="*/ 0 h 35"/>
                <a:gd name="T24" fmla="*/ 14 w 23"/>
                <a:gd name="T25" fmla="*/ 0 h 35"/>
                <a:gd name="T26" fmla="*/ 14 w 23"/>
                <a:gd name="T27" fmla="*/ 4 h 35"/>
                <a:gd name="T28" fmla="*/ 16 w 23"/>
                <a:gd name="T29" fmla="*/ 4 h 35"/>
                <a:gd name="T30" fmla="*/ 16 w 23"/>
                <a:gd name="T31" fmla="*/ 7 h 35"/>
                <a:gd name="T32" fmla="*/ 19 w 23"/>
                <a:gd name="T33" fmla="*/ 11 h 35"/>
                <a:gd name="T34" fmla="*/ 19 w 23"/>
                <a:gd name="T35" fmla="*/ 18 h 35"/>
                <a:gd name="T36" fmla="*/ 16 w 23"/>
                <a:gd name="T37" fmla="*/ 18 h 35"/>
                <a:gd name="T38" fmla="*/ 16 w 23"/>
                <a:gd name="T39" fmla="*/ 23 h 35"/>
                <a:gd name="T40" fmla="*/ 19 w 23"/>
                <a:gd name="T41" fmla="*/ 28 h 35"/>
                <a:gd name="T42" fmla="*/ 23 w 23"/>
                <a:gd name="T43" fmla="*/ 28 h 35"/>
                <a:gd name="T44" fmla="*/ 23 w 23"/>
                <a:gd name="T45" fmla="*/ 30 h 35"/>
                <a:gd name="T46" fmla="*/ 19 w 23"/>
                <a:gd name="T47" fmla="*/ 30 h 35"/>
                <a:gd name="T48" fmla="*/ 19 w 23"/>
                <a:gd name="T49" fmla="*/ 35 h 35"/>
                <a:gd name="T50" fmla="*/ 16 w 23"/>
                <a:gd name="T51" fmla="*/ 35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
                <a:gd name="T79" fmla="*/ 0 h 35"/>
                <a:gd name="T80" fmla="*/ 23 w 23"/>
                <a:gd name="T81" fmla="*/ 35 h 3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 h="35">
                  <a:moveTo>
                    <a:pt x="16" y="35"/>
                  </a:moveTo>
                  <a:lnTo>
                    <a:pt x="14" y="30"/>
                  </a:lnTo>
                  <a:lnTo>
                    <a:pt x="9" y="30"/>
                  </a:lnTo>
                  <a:lnTo>
                    <a:pt x="9" y="28"/>
                  </a:lnTo>
                  <a:lnTo>
                    <a:pt x="7" y="21"/>
                  </a:lnTo>
                  <a:lnTo>
                    <a:pt x="2" y="18"/>
                  </a:lnTo>
                  <a:lnTo>
                    <a:pt x="0" y="14"/>
                  </a:lnTo>
                  <a:lnTo>
                    <a:pt x="0" y="7"/>
                  </a:lnTo>
                  <a:lnTo>
                    <a:pt x="2" y="7"/>
                  </a:lnTo>
                  <a:lnTo>
                    <a:pt x="7" y="4"/>
                  </a:lnTo>
                  <a:lnTo>
                    <a:pt x="9" y="4"/>
                  </a:lnTo>
                  <a:lnTo>
                    <a:pt x="9" y="0"/>
                  </a:lnTo>
                  <a:lnTo>
                    <a:pt x="14" y="0"/>
                  </a:lnTo>
                  <a:lnTo>
                    <a:pt x="14" y="4"/>
                  </a:lnTo>
                  <a:lnTo>
                    <a:pt x="16" y="4"/>
                  </a:lnTo>
                  <a:lnTo>
                    <a:pt x="16" y="7"/>
                  </a:lnTo>
                  <a:lnTo>
                    <a:pt x="19" y="11"/>
                  </a:lnTo>
                  <a:lnTo>
                    <a:pt x="19" y="18"/>
                  </a:lnTo>
                  <a:lnTo>
                    <a:pt x="16" y="18"/>
                  </a:lnTo>
                  <a:lnTo>
                    <a:pt x="16" y="23"/>
                  </a:lnTo>
                  <a:lnTo>
                    <a:pt x="19" y="28"/>
                  </a:lnTo>
                  <a:lnTo>
                    <a:pt x="23" y="28"/>
                  </a:lnTo>
                  <a:lnTo>
                    <a:pt x="23" y="30"/>
                  </a:lnTo>
                  <a:lnTo>
                    <a:pt x="19" y="30"/>
                  </a:lnTo>
                  <a:lnTo>
                    <a:pt x="19" y="35"/>
                  </a:lnTo>
                  <a:lnTo>
                    <a:pt x="16" y="3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3" name="Freeform 432">
              <a:extLst>
                <a:ext uri="{FF2B5EF4-FFF2-40B4-BE49-F238E27FC236}">
                  <a16:creationId xmlns:a16="http://schemas.microsoft.com/office/drawing/2014/main" id="{4F513249-1C1C-4035-B78B-1B770122444D}"/>
                </a:ext>
              </a:extLst>
            </p:cNvPr>
            <p:cNvSpPr>
              <a:spLocks/>
            </p:cNvSpPr>
            <p:nvPr/>
          </p:nvSpPr>
          <p:spPr bwMode="gray">
            <a:xfrm rot="47099">
              <a:off x="1359381" y="1787246"/>
              <a:ext cx="55218" cy="79117"/>
            </a:xfrm>
            <a:custGeom>
              <a:avLst/>
              <a:gdLst>
                <a:gd name="T0" fmla="*/ 24 w 118"/>
                <a:gd name="T1" fmla="*/ 76 h 170"/>
                <a:gd name="T2" fmla="*/ 38 w 118"/>
                <a:gd name="T3" fmla="*/ 64 h 170"/>
                <a:gd name="T4" fmla="*/ 24 w 118"/>
                <a:gd name="T5" fmla="*/ 50 h 170"/>
                <a:gd name="T6" fmla="*/ 21 w 118"/>
                <a:gd name="T7" fmla="*/ 50 h 170"/>
                <a:gd name="T8" fmla="*/ 33 w 118"/>
                <a:gd name="T9" fmla="*/ 26 h 170"/>
                <a:gd name="T10" fmla="*/ 31 w 118"/>
                <a:gd name="T11" fmla="*/ 24 h 170"/>
                <a:gd name="T12" fmla="*/ 45 w 118"/>
                <a:gd name="T13" fmla="*/ 3 h 170"/>
                <a:gd name="T14" fmla="*/ 61 w 118"/>
                <a:gd name="T15" fmla="*/ 3 h 170"/>
                <a:gd name="T16" fmla="*/ 64 w 118"/>
                <a:gd name="T17" fmla="*/ 10 h 170"/>
                <a:gd name="T18" fmla="*/ 61 w 118"/>
                <a:gd name="T19" fmla="*/ 19 h 170"/>
                <a:gd name="T20" fmla="*/ 57 w 118"/>
                <a:gd name="T21" fmla="*/ 40 h 170"/>
                <a:gd name="T22" fmla="*/ 64 w 118"/>
                <a:gd name="T23" fmla="*/ 50 h 170"/>
                <a:gd name="T24" fmla="*/ 57 w 118"/>
                <a:gd name="T25" fmla="*/ 59 h 170"/>
                <a:gd name="T26" fmla="*/ 71 w 118"/>
                <a:gd name="T27" fmla="*/ 74 h 170"/>
                <a:gd name="T28" fmla="*/ 64 w 118"/>
                <a:gd name="T29" fmla="*/ 83 h 170"/>
                <a:gd name="T30" fmla="*/ 64 w 118"/>
                <a:gd name="T31" fmla="*/ 92 h 170"/>
                <a:gd name="T32" fmla="*/ 73 w 118"/>
                <a:gd name="T33" fmla="*/ 83 h 170"/>
                <a:gd name="T34" fmla="*/ 85 w 118"/>
                <a:gd name="T35" fmla="*/ 88 h 170"/>
                <a:gd name="T36" fmla="*/ 85 w 118"/>
                <a:gd name="T37" fmla="*/ 100 h 170"/>
                <a:gd name="T38" fmla="*/ 90 w 118"/>
                <a:gd name="T39" fmla="*/ 92 h 170"/>
                <a:gd name="T40" fmla="*/ 94 w 118"/>
                <a:gd name="T41" fmla="*/ 74 h 170"/>
                <a:gd name="T42" fmla="*/ 111 w 118"/>
                <a:gd name="T43" fmla="*/ 81 h 170"/>
                <a:gd name="T44" fmla="*/ 118 w 118"/>
                <a:gd name="T45" fmla="*/ 111 h 170"/>
                <a:gd name="T46" fmla="*/ 111 w 118"/>
                <a:gd name="T47" fmla="*/ 121 h 170"/>
                <a:gd name="T48" fmla="*/ 111 w 118"/>
                <a:gd name="T49" fmla="*/ 133 h 170"/>
                <a:gd name="T50" fmla="*/ 104 w 118"/>
                <a:gd name="T51" fmla="*/ 144 h 170"/>
                <a:gd name="T52" fmla="*/ 104 w 118"/>
                <a:gd name="T53" fmla="*/ 154 h 170"/>
                <a:gd name="T54" fmla="*/ 97 w 118"/>
                <a:gd name="T55" fmla="*/ 161 h 170"/>
                <a:gd name="T56" fmla="*/ 80 w 118"/>
                <a:gd name="T57" fmla="*/ 163 h 170"/>
                <a:gd name="T58" fmla="*/ 71 w 118"/>
                <a:gd name="T59" fmla="*/ 170 h 170"/>
                <a:gd name="T60" fmla="*/ 61 w 118"/>
                <a:gd name="T61" fmla="*/ 163 h 170"/>
                <a:gd name="T62" fmla="*/ 61 w 118"/>
                <a:gd name="T63" fmla="*/ 156 h 170"/>
                <a:gd name="T64" fmla="*/ 57 w 118"/>
                <a:gd name="T65" fmla="*/ 161 h 170"/>
                <a:gd name="T66" fmla="*/ 40 w 118"/>
                <a:gd name="T67" fmla="*/ 168 h 170"/>
                <a:gd name="T68" fmla="*/ 38 w 118"/>
                <a:gd name="T69" fmla="*/ 161 h 170"/>
                <a:gd name="T70" fmla="*/ 28 w 118"/>
                <a:gd name="T71" fmla="*/ 156 h 170"/>
                <a:gd name="T72" fmla="*/ 16 w 118"/>
                <a:gd name="T73" fmla="*/ 168 h 170"/>
                <a:gd name="T74" fmla="*/ 21 w 118"/>
                <a:gd name="T75" fmla="*/ 111 h 170"/>
                <a:gd name="T76" fmla="*/ 33 w 118"/>
                <a:gd name="T77" fmla="*/ 116 h 170"/>
                <a:gd name="T78" fmla="*/ 40 w 118"/>
                <a:gd name="T79" fmla="*/ 107 h 170"/>
                <a:gd name="T80" fmla="*/ 38 w 118"/>
                <a:gd name="T81" fmla="*/ 92 h 170"/>
                <a:gd name="T82" fmla="*/ 28 w 118"/>
                <a:gd name="T83" fmla="*/ 90 h 170"/>
                <a:gd name="T84" fmla="*/ 21 w 118"/>
                <a:gd name="T85" fmla="*/ 81 h 170"/>
                <a:gd name="T86" fmla="*/ 16 w 118"/>
                <a:gd name="T87" fmla="*/ 81 h 1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8"/>
                <a:gd name="T133" fmla="*/ 0 h 170"/>
                <a:gd name="T134" fmla="*/ 118 w 118"/>
                <a:gd name="T135" fmla="*/ 170 h 1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8" h="170">
                  <a:moveTo>
                    <a:pt x="16" y="81"/>
                  </a:moveTo>
                  <a:lnTo>
                    <a:pt x="16" y="76"/>
                  </a:lnTo>
                  <a:lnTo>
                    <a:pt x="24" y="76"/>
                  </a:lnTo>
                  <a:lnTo>
                    <a:pt x="24" y="74"/>
                  </a:lnTo>
                  <a:lnTo>
                    <a:pt x="31" y="66"/>
                  </a:lnTo>
                  <a:lnTo>
                    <a:pt x="38" y="64"/>
                  </a:lnTo>
                  <a:lnTo>
                    <a:pt x="33" y="59"/>
                  </a:lnTo>
                  <a:lnTo>
                    <a:pt x="28" y="50"/>
                  </a:lnTo>
                  <a:lnTo>
                    <a:pt x="24" y="50"/>
                  </a:lnTo>
                  <a:lnTo>
                    <a:pt x="24" y="55"/>
                  </a:lnTo>
                  <a:lnTo>
                    <a:pt x="24" y="50"/>
                  </a:lnTo>
                  <a:lnTo>
                    <a:pt x="21" y="50"/>
                  </a:lnTo>
                  <a:lnTo>
                    <a:pt x="28" y="31"/>
                  </a:lnTo>
                  <a:lnTo>
                    <a:pt x="31" y="26"/>
                  </a:lnTo>
                  <a:lnTo>
                    <a:pt x="33" y="26"/>
                  </a:lnTo>
                  <a:lnTo>
                    <a:pt x="31" y="24"/>
                  </a:lnTo>
                  <a:lnTo>
                    <a:pt x="31" y="26"/>
                  </a:lnTo>
                  <a:lnTo>
                    <a:pt x="31" y="24"/>
                  </a:lnTo>
                  <a:lnTo>
                    <a:pt x="33" y="19"/>
                  </a:lnTo>
                  <a:lnTo>
                    <a:pt x="38" y="17"/>
                  </a:lnTo>
                  <a:lnTo>
                    <a:pt x="45" y="3"/>
                  </a:lnTo>
                  <a:lnTo>
                    <a:pt x="57" y="3"/>
                  </a:lnTo>
                  <a:lnTo>
                    <a:pt x="57" y="0"/>
                  </a:lnTo>
                  <a:lnTo>
                    <a:pt x="61" y="3"/>
                  </a:lnTo>
                  <a:lnTo>
                    <a:pt x="57" y="7"/>
                  </a:lnTo>
                  <a:lnTo>
                    <a:pt x="61" y="10"/>
                  </a:lnTo>
                  <a:lnTo>
                    <a:pt x="64" y="10"/>
                  </a:lnTo>
                  <a:lnTo>
                    <a:pt x="64" y="14"/>
                  </a:lnTo>
                  <a:lnTo>
                    <a:pt x="61" y="17"/>
                  </a:lnTo>
                  <a:lnTo>
                    <a:pt x="61" y="19"/>
                  </a:lnTo>
                  <a:lnTo>
                    <a:pt x="57" y="19"/>
                  </a:lnTo>
                  <a:lnTo>
                    <a:pt x="57" y="17"/>
                  </a:lnTo>
                  <a:lnTo>
                    <a:pt x="57" y="40"/>
                  </a:lnTo>
                  <a:lnTo>
                    <a:pt x="61" y="40"/>
                  </a:lnTo>
                  <a:lnTo>
                    <a:pt x="61" y="43"/>
                  </a:lnTo>
                  <a:lnTo>
                    <a:pt x="64" y="50"/>
                  </a:lnTo>
                  <a:lnTo>
                    <a:pt x="64" y="55"/>
                  </a:lnTo>
                  <a:lnTo>
                    <a:pt x="61" y="57"/>
                  </a:lnTo>
                  <a:lnTo>
                    <a:pt x="57" y="59"/>
                  </a:lnTo>
                  <a:lnTo>
                    <a:pt x="54" y="71"/>
                  </a:lnTo>
                  <a:lnTo>
                    <a:pt x="66" y="71"/>
                  </a:lnTo>
                  <a:lnTo>
                    <a:pt x="71" y="74"/>
                  </a:lnTo>
                  <a:lnTo>
                    <a:pt x="71" y="76"/>
                  </a:lnTo>
                  <a:lnTo>
                    <a:pt x="66" y="83"/>
                  </a:lnTo>
                  <a:lnTo>
                    <a:pt x="64" y="83"/>
                  </a:lnTo>
                  <a:lnTo>
                    <a:pt x="61" y="90"/>
                  </a:lnTo>
                  <a:lnTo>
                    <a:pt x="61" y="92"/>
                  </a:lnTo>
                  <a:lnTo>
                    <a:pt x="64" y="92"/>
                  </a:lnTo>
                  <a:lnTo>
                    <a:pt x="64" y="90"/>
                  </a:lnTo>
                  <a:lnTo>
                    <a:pt x="66" y="88"/>
                  </a:lnTo>
                  <a:lnTo>
                    <a:pt x="73" y="83"/>
                  </a:lnTo>
                  <a:lnTo>
                    <a:pt x="78" y="83"/>
                  </a:lnTo>
                  <a:lnTo>
                    <a:pt x="80" y="88"/>
                  </a:lnTo>
                  <a:lnTo>
                    <a:pt x="85" y="88"/>
                  </a:lnTo>
                  <a:lnTo>
                    <a:pt x="80" y="88"/>
                  </a:lnTo>
                  <a:lnTo>
                    <a:pt x="80" y="97"/>
                  </a:lnTo>
                  <a:lnTo>
                    <a:pt x="85" y="100"/>
                  </a:lnTo>
                  <a:lnTo>
                    <a:pt x="87" y="97"/>
                  </a:lnTo>
                  <a:lnTo>
                    <a:pt x="90" y="97"/>
                  </a:lnTo>
                  <a:lnTo>
                    <a:pt x="90" y="92"/>
                  </a:lnTo>
                  <a:lnTo>
                    <a:pt x="87" y="92"/>
                  </a:lnTo>
                  <a:lnTo>
                    <a:pt x="87" y="81"/>
                  </a:lnTo>
                  <a:lnTo>
                    <a:pt x="94" y="74"/>
                  </a:lnTo>
                  <a:lnTo>
                    <a:pt x="102" y="74"/>
                  </a:lnTo>
                  <a:lnTo>
                    <a:pt x="106" y="76"/>
                  </a:lnTo>
                  <a:lnTo>
                    <a:pt x="111" y="81"/>
                  </a:lnTo>
                  <a:lnTo>
                    <a:pt x="113" y="83"/>
                  </a:lnTo>
                  <a:lnTo>
                    <a:pt x="118" y="88"/>
                  </a:lnTo>
                  <a:lnTo>
                    <a:pt x="118" y="111"/>
                  </a:lnTo>
                  <a:lnTo>
                    <a:pt x="113" y="116"/>
                  </a:lnTo>
                  <a:lnTo>
                    <a:pt x="113" y="121"/>
                  </a:lnTo>
                  <a:lnTo>
                    <a:pt x="111" y="121"/>
                  </a:lnTo>
                  <a:lnTo>
                    <a:pt x="106" y="123"/>
                  </a:lnTo>
                  <a:lnTo>
                    <a:pt x="111" y="123"/>
                  </a:lnTo>
                  <a:lnTo>
                    <a:pt x="111" y="133"/>
                  </a:lnTo>
                  <a:lnTo>
                    <a:pt x="106" y="140"/>
                  </a:lnTo>
                  <a:lnTo>
                    <a:pt x="104" y="140"/>
                  </a:lnTo>
                  <a:lnTo>
                    <a:pt x="104" y="144"/>
                  </a:lnTo>
                  <a:lnTo>
                    <a:pt x="102" y="147"/>
                  </a:lnTo>
                  <a:lnTo>
                    <a:pt x="104" y="151"/>
                  </a:lnTo>
                  <a:lnTo>
                    <a:pt x="104" y="154"/>
                  </a:lnTo>
                  <a:lnTo>
                    <a:pt x="102" y="154"/>
                  </a:lnTo>
                  <a:lnTo>
                    <a:pt x="97" y="156"/>
                  </a:lnTo>
                  <a:lnTo>
                    <a:pt x="97" y="161"/>
                  </a:lnTo>
                  <a:lnTo>
                    <a:pt x="102" y="161"/>
                  </a:lnTo>
                  <a:lnTo>
                    <a:pt x="94" y="163"/>
                  </a:lnTo>
                  <a:lnTo>
                    <a:pt x="80" y="163"/>
                  </a:lnTo>
                  <a:lnTo>
                    <a:pt x="80" y="168"/>
                  </a:lnTo>
                  <a:lnTo>
                    <a:pt x="78" y="170"/>
                  </a:lnTo>
                  <a:lnTo>
                    <a:pt x="71" y="170"/>
                  </a:lnTo>
                  <a:lnTo>
                    <a:pt x="64" y="168"/>
                  </a:lnTo>
                  <a:lnTo>
                    <a:pt x="61" y="168"/>
                  </a:lnTo>
                  <a:lnTo>
                    <a:pt x="61" y="163"/>
                  </a:lnTo>
                  <a:lnTo>
                    <a:pt x="57" y="163"/>
                  </a:lnTo>
                  <a:lnTo>
                    <a:pt x="57" y="161"/>
                  </a:lnTo>
                  <a:lnTo>
                    <a:pt x="61" y="156"/>
                  </a:lnTo>
                  <a:lnTo>
                    <a:pt x="61" y="154"/>
                  </a:lnTo>
                  <a:lnTo>
                    <a:pt x="57" y="154"/>
                  </a:lnTo>
                  <a:lnTo>
                    <a:pt x="57" y="161"/>
                  </a:lnTo>
                  <a:lnTo>
                    <a:pt x="54" y="161"/>
                  </a:lnTo>
                  <a:lnTo>
                    <a:pt x="50" y="168"/>
                  </a:lnTo>
                  <a:lnTo>
                    <a:pt x="40" y="168"/>
                  </a:lnTo>
                  <a:lnTo>
                    <a:pt x="33" y="161"/>
                  </a:lnTo>
                  <a:lnTo>
                    <a:pt x="31" y="161"/>
                  </a:lnTo>
                  <a:lnTo>
                    <a:pt x="38" y="161"/>
                  </a:lnTo>
                  <a:lnTo>
                    <a:pt x="38" y="154"/>
                  </a:lnTo>
                  <a:lnTo>
                    <a:pt x="31" y="154"/>
                  </a:lnTo>
                  <a:lnTo>
                    <a:pt x="28" y="156"/>
                  </a:lnTo>
                  <a:lnTo>
                    <a:pt x="24" y="161"/>
                  </a:lnTo>
                  <a:lnTo>
                    <a:pt x="16" y="161"/>
                  </a:lnTo>
                  <a:lnTo>
                    <a:pt x="16" y="168"/>
                  </a:lnTo>
                  <a:lnTo>
                    <a:pt x="0" y="168"/>
                  </a:lnTo>
                  <a:lnTo>
                    <a:pt x="9" y="111"/>
                  </a:lnTo>
                  <a:lnTo>
                    <a:pt x="21" y="111"/>
                  </a:lnTo>
                  <a:lnTo>
                    <a:pt x="28" y="114"/>
                  </a:lnTo>
                  <a:lnTo>
                    <a:pt x="33" y="114"/>
                  </a:lnTo>
                  <a:lnTo>
                    <a:pt x="33" y="116"/>
                  </a:lnTo>
                  <a:lnTo>
                    <a:pt x="38" y="116"/>
                  </a:lnTo>
                  <a:lnTo>
                    <a:pt x="38" y="114"/>
                  </a:lnTo>
                  <a:lnTo>
                    <a:pt x="40" y="107"/>
                  </a:lnTo>
                  <a:lnTo>
                    <a:pt x="40" y="100"/>
                  </a:lnTo>
                  <a:lnTo>
                    <a:pt x="38" y="100"/>
                  </a:lnTo>
                  <a:lnTo>
                    <a:pt x="38" y="92"/>
                  </a:lnTo>
                  <a:lnTo>
                    <a:pt x="33" y="92"/>
                  </a:lnTo>
                  <a:lnTo>
                    <a:pt x="31" y="90"/>
                  </a:lnTo>
                  <a:lnTo>
                    <a:pt x="28" y="90"/>
                  </a:lnTo>
                  <a:lnTo>
                    <a:pt x="24" y="88"/>
                  </a:lnTo>
                  <a:lnTo>
                    <a:pt x="24" y="81"/>
                  </a:lnTo>
                  <a:lnTo>
                    <a:pt x="21" y="81"/>
                  </a:lnTo>
                  <a:lnTo>
                    <a:pt x="21" y="83"/>
                  </a:lnTo>
                  <a:lnTo>
                    <a:pt x="16" y="83"/>
                  </a:lnTo>
                  <a:lnTo>
                    <a:pt x="16" y="8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4" name="Freeform 433">
              <a:extLst>
                <a:ext uri="{FF2B5EF4-FFF2-40B4-BE49-F238E27FC236}">
                  <a16:creationId xmlns:a16="http://schemas.microsoft.com/office/drawing/2014/main" id="{5E24DD13-FEDF-4DD1-9B0E-751E8DDFBAA5}"/>
                </a:ext>
              </a:extLst>
            </p:cNvPr>
            <p:cNvSpPr>
              <a:spLocks/>
            </p:cNvSpPr>
            <p:nvPr/>
          </p:nvSpPr>
          <p:spPr bwMode="gray">
            <a:xfrm rot="47099">
              <a:off x="1497970" y="1786863"/>
              <a:ext cx="4453" cy="1929"/>
            </a:xfrm>
            <a:custGeom>
              <a:avLst/>
              <a:gdLst>
                <a:gd name="T0" fmla="*/ 5 w 10"/>
                <a:gd name="T1" fmla="*/ 0 h 7"/>
                <a:gd name="T2" fmla="*/ 5 w 10"/>
                <a:gd name="T3" fmla="*/ 3 h 7"/>
                <a:gd name="T4" fmla="*/ 10 w 10"/>
                <a:gd name="T5" fmla="*/ 3 h 7"/>
                <a:gd name="T6" fmla="*/ 5 w 10"/>
                <a:gd name="T7" fmla="*/ 7 h 7"/>
                <a:gd name="T8" fmla="*/ 0 w 10"/>
                <a:gd name="T9" fmla="*/ 7 h 7"/>
                <a:gd name="T10" fmla="*/ 0 w 10"/>
                <a:gd name="T11" fmla="*/ 3 h 7"/>
                <a:gd name="T12" fmla="*/ 3 w 10"/>
                <a:gd name="T13" fmla="*/ 3 h 7"/>
                <a:gd name="T14" fmla="*/ 5 w 10"/>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7"/>
                <a:gd name="T26" fmla="*/ 10 w 10"/>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7">
                  <a:moveTo>
                    <a:pt x="5" y="0"/>
                  </a:moveTo>
                  <a:lnTo>
                    <a:pt x="5" y="3"/>
                  </a:lnTo>
                  <a:lnTo>
                    <a:pt x="10" y="3"/>
                  </a:lnTo>
                  <a:lnTo>
                    <a:pt x="5" y="7"/>
                  </a:lnTo>
                  <a:lnTo>
                    <a:pt x="0" y="7"/>
                  </a:lnTo>
                  <a:lnTo>
                    <a:pt x="0" y="3"/>
                  </a:lnTo>
                  <a:lnTo>
                    <a:pt x="3" y="3"/>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5" name="Freeform 434">
              <a:extLst>
                <a:ext uri="{FF2B5EF4-FFF2-40B4-BE49-F238E27FC236}">
                  <a16:creationId xmlns:a16="http://schemas.microsoft.com/office/drawing/2014/main" id="{5D5BA2A7-7383-463E-92E8-F2EFCF477827}"/>
                </a:ext>
              </a:extLst>
            </p:cNvPr>
            <p:cNvSpPr>
              <a:spLocks/>
            </p:cNvSpPr>
            <p:nvPr/>
          </p:nvSpPr>
          <p:spPr bwMode="gray">
            <a:xfrm rot="47099">
              <a:off x="1502689" y="1787291"/>
              <a:ext cx="197716" cy="93589"/>
            </a:xfrm>
            <a:custGeom>
              <a:avLst/>
              <a:gdLst>
                <a:gd name="T0" fmla="*/ 255 w 425"/>
                <a:gd name="T1" fmla="*/ 106 h 203"/>
                <a:gd name="T2" fmla="*/ 281 w 425"/>
                <a:gd name="T3" fmla="*/ 85 h 203"/>
                <a:gd name="T4" fmla="*/ 295 w 425"/>
                <a:gd name="T5" fmla="*/ 75 h 203"/>
                <a:gd name="T6" fmla="*/ 319 w 425"/>
                <a:gd name="T7" fmla="*/ 68 h 203"/>
                <a:gd name="T8" fmla="*/ 359 w 425"/>
                <a:gd name="T9" fmla="*/ 68 h 203"/>
                <a:gd name="T10" fmla="*/ 392 w 425"/>
                <a:gd name="T11" fmla="*/ 68 h 203"/>
                <a:gd name="T12" fmla="*/ 402 w 425"/>
                <a:gd name="T13" fmla="*/ 73 h 203"/>
                <a:gd name="T14" fmla="*/ 411 w 425"/>
                <a:gd name="T15" fmla="*/ 92 h 203"/>
                <a:gd name="T16" fmla="*/ 399 w 425"/>
                <a:gd name="T17" fmla="*/ 109 h 203"/>
                <a:gd name="T18" fmla="*/ 409 w 425"/>
                <a:gd name="T19" fmla="*/ 113 h 203"/>
                <a:gd name="T20" fmla="*/ 418 w 425"/>
                <a:gd name="T21" fmla="*/ 125 h 203"/>
                <a:gd name="T22" fmla="*/ 402 w 425"/>
                <a:gd name="T23" fmla="*/ 125 h 203"/>
                <a:gd name="T24" fmla="*/ 404 w 425"/>
                <a:gd name="T25" fmla="*/ 153 h 203"/>
                <a:gd name="T26" fmla="*/ 352 w 425"/>
                <a:gd name="T27" fmla="*/ 170 h 203"/>
                <a:gd name="T28" fmla="*/ 338 w 425"/>
                <a:gd name="T29" fmla="*/ 146 h 203"/>
                <a:gd name="T30" fmla="*/ 331 w 425"/>
                <a:gd name="T31" fmla="*/ 153 h 203"/>
                <a:gd name="T32" fmla="*/ 328 w 425"/>
                <a:gd name="T33" fmla="*/ 177 h 203"/>
                <a:gd name="T34" fmla="*/ 298 w 425"/>
                <a:gd name="T35" fmla="*/ 170 h 203"/>
                <a:gd name="T36" fmla="*/ 288 w 425"/>
                <a:gd name="T37" fmla="*/ 179 h 203"/>
                <a:gd name="T38" fmla="*/ 262 w 425"/>
                <a:gd name="T39" fmla="*/ 189 h 203"/>
                <a:gd name="T40" fmla="*/ 246 w 425"/>
                <a:gd name="T41" fmla="*/ 196 h 203"/>
                <a:gd name="T42" fmla="*/ 217 w 425"/>
                <a:gd name="T43" fmla="*/ 177 h 203"/>
                <a:gd name="T44" fmla="*/ 198 w 425"/>
                <a:gd name="T45" fmla="*/ 179 h 203"/>
                <a:gd name="T46" fmla="*/ 201 w 425"/>
                <a:gd name="T47" fmla="*/ 196 h 203"/>
                <a:gd name="T48" fmla="*/ 161 w 425"/>
                <a:gd name="T49" fmla="*/ 196 h 203"/>
                <a:gd name="T50" fmla="*/ 154 w 425"/>
                <a:gd name="T51" fmla="*/ 186 h 203"/>
                <a:gd name="T52" fmla="*/ 137 w 425"/>
                <a:gd name="T53" fmla="*/ 194 h 203"/>
                <a:gd name="T54" fmla="*/ 125 w 425"/>
                <a:gd name="T55" fmla="*/ 172 h 203"/>
                <a:gd name="T56" fmla="*/ 111 w 425"/>
                <a:gd name="T57" fmla="*/ 153 h 203"/>
                <a:gd name="T58" fmla="*/ 111 w 425"/>
                <a:gd name="T59" fmla="*/ 97 h 203"/>
                <a:gd name="T60" fmla="*/ 87 w 425"/>
                <a:gd name="T61" fmla="*/ 64 h 203"/>
                <a:gd name="T62" fmla="*/ 73 w 425"/>
                <a:gd name="T63" fmla="*/ 64 h 203"/>
                <a:gd name="T64" fmla="*/ 45 w 425"/>
                <a:gd name="T65" fmla="*/ 64 h 203"/>
                <a:gd name="T66" fmla="*/ 28 w 425"/>
                <a:gd name="T67" fmla="*/ 42 h 203"/>
                <a:gd name="T68" fmla="*/ 12 w 425"/>
                <a:gd name="T69" fmla="*/ 35 h 203"/>
                <a:gd name="T70" fmla="*/ 14 w 425"/>
                <a:gd name="T71" fmla="*/ 23 h 203"/>
                <a:gd name="T72" fmla="*/ 7 w 425"/>
                <a:gd name="T73" fmla="*/ 9 h 203"/>
                <a:gd name="T74" fmla="*/ 31 w 425"/>
                <a:gd name="T75" fmla="*/ 2 h 203"/>
                <a:gd name="T76" fmla="*/ 69 w 425"/>
                <a:gd name="T77" fmla="*/ 9 h 203"/>
                <a:gd name="T78" fmla="*/ 78 w 425"/>
                <a:gd name="T79" fmla="*/ 57 h 203"/>
                <a:gd name="T80" fmla="*/ 90 w 425"/>
                <a:gd name="T81" fmla="*/ 33 h 203"/>
                <a:gd name="T82" fmla="*/ 104 w 425"/>
                <a:gd name="T83" fmla="*/ 28 h 203"/>
                <a:gd name="T84" fmla="*/ 135 w 425"/>
                <a:gd name="T85" fmla="*/ 33 h 203"/>
                <a:gd name="T86" fmla="*/ 130 w 425"/>
                <a:gd name="T87" fmla="*/ 42 h 203"/>
                <a:gd name="T88" fmla="*/ 168 w 425"/>
                <a:gd name="T89" fmla="*/ 64 h 203"/>
                <a:gd name="T90" fmla="*/ 149 w 425"/>
                <a:gd name="T91" fmla="*/ 66 h 203"/>
                <a:gd name="T92" fmla="*/ 128 w 425"/>
                <a:gd name="T93" fmla="*/ 68 h 203"/>
                <a:gd name="T94" fmla="*/ 149 w 425"/>
                <a:gd name="T95" fmla="*/ 75 h 203"/>
                <a:gd name="T96" fmla="*/ 137 w 425"/>
                <a:gd name="T97" fmla="*/ 97 h 203"/>
                <a:gd name="T98" fmla="*/ 158 w 425"/>
                <a:gd name="T99" fmla="*/ 80 h 203"/>
                <a:gd name="T100" fmla="*/ 168 w 425"/>
                <a:gd name="T101" fmla="*/ 90 h 203"/>
                <a:gd name="T102" fmla="*/ 175 w 425"/>
                <a:gd name="T103" fmla="*/ 116 h 203"/>
                <a:gd name="T104" fmla="*/ 194 w 425"/>
                <a:gd name="T105" fmla="*/ 123 h 203"/>
                <a:gd name="T106" fmla="*/ 206 w 425"/>
                <a:gd name="T107" fmla="*/ 113 h 203"/>
                <a:gd name="T108" fmla="*/ 217 w 425"/>
                <a:gd name="T109" fmla="*/ 106 h 203"/>
                <a:gd name="T110" fmla="*/ 224 w 425"/>
                <a:gd name="T111" fmla="*/ 99 h 203"/>
                <a:gd name="T112" fmla="*/ 241 w 425"/>
                <a:gd name="T113" fmla="*/ 109 h 203"/>
                <a:gd name="T114" fmla="*/ 248 w 425"/>
                <a:gd name="T115" fmla="*/ 120 h 20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5"/>
                <a:gd name="T175" fmla="*/ 0 h 203"/>
                <a:gd name="T176" fmla="*/ 425 w 425"/>
                <a:gd name="T177" fmla="*/ 203 h 20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5" h="203">
                  <a:moveTo>
                    <a:pt x="248" y="120"/>
                  </a:moveTo>
                  <a:lnTo>
                    <a:pt x="250" y="116"/>
                  </a:lnTo>
                  <a:lnTo>
                    <a:pt x="255" y="116"/>
                  </a:lnTo>
                  <a:lnTo>
                    <a:pt x="255" y="113"/>
                  </a:lnTo>
                  <a:lnTo>
                    <a:pt x="265" y="113"/>
                  </a:lnTo>
                  <a:lnTo>
                    <a:pt x="262" y="109"/>
                  </a:lnTo>
                  <a:lnTo>
                    <a:pt x="258" y="109"/>
                  </a:lnTo>
                  <a:lnTo>
                    <a:pt x="255" y="106"/>
                  </a:lnTo>
                  <a:lnTo>
                    <a:pt x="258" y="101"/>
                  </a:lnTo>
                  <a:lnTo>
                    <a:pt x="262" y="99"/>
                  </a:lnTo>
                  <a:lnTo>
                    <a:pt x="267" y="99"/>
                  </a:lnTo>
                  <a:lnTo>
                    <a:pt x="272" y="97"/>
                  </a:lnTo>
                  <a:lnTo>
                    <a:pt x="272" y="92"/>
                  </a:lnTo>
                  <a:lnTo>
                    <a:pt x="274" y="90"/>
                  </a:lnTo>
                  <a:lnTo>
                    <a:pt x="279" y="85"/>
                  </a:lnTo>
                  <a:lnTo>
                    <a:pt x="281" y="85"/>
                  </a:lnTo>
                  <a:lnTo>
                    <a:pt x="286" y="90"/>
                  </a:lnTo>
                  <a:lnTo>
                    <a:pt x="288" y="90"/>
                  </a:lnTo>
                  <a:lnTo>
                    <a:pt x="288" y="85"/>
                  </a:lnTo>
                  <a:lnTo>
                    <a:pt x="286" y="85"/>
                  </a:lnTo>
                  <a:lnTo>
                    <a:pt x="286" y="83"/>
                  </a:lnTo>
                  <a:lnTo>
                    <a:pt x="288" y="83"/>
                  </a:lnTo>
                  <a:lnTo>
                    <a:pt x="291" y="80"/>
                  </a:lnTo>
                  <a:lnTo>
                    <a:pt x="295" y="75"/>
                  </a:lnTo>
                  <a:lnTo>
                    <a:pt x="295" y="68"/>
                  </a:lnTo>
                  <a:lnTo>
                    <a:pt x="298" y="68"/>
                  </a:lnTo>
                  <a:lnTo>
                    <a:pt x="302" y="66"/>
                  </a:lnTo>
                  <a:lnTo>
                    <a:pt x="302" y="68"/>
                  </a:lnTo>
                  <a:lnTo>
                    <a:pt x="307" y="68"/>
                  </a:lnTo>
                  <a:lnTo>
                    <a:pt x="307" y="73"/>
                  </a:lnTo>
                  <a:lnTo>
                    <a:pt x="319" y="73"/>
                  </a:lnTo>
                  <a:lnTo>
                    <a:pt x="319" y="68"/>
                  </a:lnTo>
                  <a:lnTo>
                    <a:pt x="321" y="66"/>
                  </a:lnTo>
                  <a:lnTo>
                    <a:pt x="324" y="64"/>
                  </a:lnTo>
                  <a:lnTo>
                    <a:pt x="328" y="59"/>
                  </a:lnTo>
                  <a:lnTo>
                    <a:pt x="343" y="59"/>
                  </a:lnTo>
                  <a:lnTo>
                    <a:pt x="345" y="57"/>
                  </a:lnTo>
                  <a:lnTo>
                    <a:pt x="352" y="57"/>
                  </a:lnTo>
                  <a:lnTo>
                    <a:pt x="359" y="59"/>
                  </a:lnTo>
                  <a:lnTo>
                    <a:pt x="359" y="68"/>
                  </a:lnTo>
                  <a:lnTo>
                    <a:pt x="364" y="68"/>
                  </a:lnTo>
                  <a:lnTo>
                    <a:pt x="369" y="66"/>
                  </a:lnTo>
                  <a:lnTo>
                    <a:pt x="371" y="66"/>
                  </a:lnTo>
                  <a:lnTo>
                    <a:pt x="376" y="64"/>
                  </a:lnTo>
                  <a:lnTo>
                    <a:pt x="383" y="64"/>
                  </a:lnTo>
                  <a:lnTo>
                    <a:pt x="383" y="66"/>
                  </a:lnTo>
                  <a:lnTo>
                    <a:pt x="387" y="66"/>
                  </a:lnTo>
                  <a:lnTo>
                    <a:pt x="392" y="68"/>
                  </a:lnTo>
                  <a:lnTo>
                    <a:pt x="387" y="73"/>
                  </a:lnTo>
                  <a:lnTo>
                    <a:pt x="387" y="75"/>
                  </a:lnTo>
                  <a:lnTo>
                    <a:pt x="385" y="75"/>
                  </a:lnTo>
                  <a:lnTo>
                    <a:pt x="385" y="80"/>
                  </a:lnTo>
                  <a:lnTo>
                    <a:pt x="387" y="75"/>
                  </a:lnTo>
                  <a:lnTo>
                    <a:pt x="392" y="75"/>
                  </a:lnTo>
                  <a:lnTo>
                    <a:pt x="392" y="73"/>
                  </a:lnTo>
                  <a:lnTo>
                    <a:pt x="402" y="73"/>
                  </a:lnTo>
                  <a:lnTo>
                    <a:pt x="402" y="80"/>
                  </a:lnTo>
                  <a:lnTo>
                    <a:pt x="404" y="80"/>
                  </a:lnTo>
                  <a:lnTo>
                    <a:pt x="409" y="83"/>
                  </a:lnTo>
                  <a:lnTo>
                    <a:pt x="409" y="85"/>
                  </a:lnTo>
                  <a:lnTo>
                    <a:pt x="404" y="85"/>
                  </a:lnTo>
                  <a:lnTo>
                    <a:pt x="409" y="90"/>
                  </a:lnTo>
                  <a:lnTo>
                    <a:pt x="411" y="85"/>
                  </a:lnTo>
                  <a:lnTo>
                    <a:pt x="411" y="92"/>
                  </a:lnTo>
                  <a:lnTo>
                    <a:pt x="409" y="97"/>
                  </a:lnTo>
                  <a:lnTo>
                    <a:pt x="409" y="99"/>
                  </a:lnTo>
                  <a:lnTo>
                    <a:pt x="404" y="99"/>
                  </a:lnTo>
                  <a:lnTo>
                    <a:pt x="402" y="101"/>
                  </a:lnTo>
                  <a:lnTo>
                    <a:pt x="404" y="101"/>
                  </a:lnTo>
                  <a:lnTo>
                    <a:pt x="404" y="106"/>
                  </a:lnTo>
                  <a:lnTo>
                    <a:pt x="402" y="109"/>
                  </a:lnTo>
                  <a:lnTo>
                    <a:pt x="399" y="109"/>
                  </a:lnTo>
                  <a:lnTo>
                    <a:pt x="399" y="113"/>
                  </a:lnTo>
                  <a:lnTo>
                    <a:pt x="395" y="113"/>
                  </a:lnTo>
                  <a:lnTo>
                    <a:pt x="395" y="116"/>
                  </a:lnTo>
                  <a:lnTo>
                    <a:pt x="402" y="116"/>
                  </a:lnTo>
                  <a:lnTo>
                    <a:pt x="402" y="120"/>
                  </a:lnTo>
                  <a:lnTo>
                    <a:pt x="404" y="116"/>
                  </a:lnTo>
                  <a:lnTo>
                    <a:pt x="404" y="113"/>
                  </a:lnTo>
                  <a:lnTo>
                    <a:pt x="409" y="113"/>
                  </a:lnTo>
                  <a:lnTo>
                    <a:pt x="409" y="109"/>
                  </a:lnTo>
                  <a:lnTo>
                    <a:pt x="418" y="109"/>
                  </a:lnTo>
                  <a:lnTo>
                    <a:pt x="416" y="113"/>
                  </a:lnTo>
                  <a:lnTo>
                    <a:pt x="423" y="116"/>
                  </a:lnTo>
                  <a:lnTo>
                    <a:pt x="425" y="120"/>
                  </a:lnTo>
                  <a:lnTo>
                    <a:pt x="423" y="123"/>
                  </a:lnTo>
                  <a:lnTo>
                    <a:pt x="418" y="123"/>
                  </a:lnTo>
                  <a:lnTo>
                    <a:pt x="418" y="125"/>
                  </a:lnTo>
                  <a:lnTo>
                    <a:pt x="416" y="130"/>
                  </a:lnTo>
                  <a:lnTo>
                    <a:pt x="409" y="130"/>
                  </a:lnTo>
                  <a:lnTo>
                    <a:pt x="404" y="125"/>
                  </a:lnTo>
                  <a:lnTo>
                    <a:pt x="402" y="125"/>
                  </a:lnTo>
                  <a:lnTo>
                    <a:pt x="402" y="123"/>
                  </a:lnTo>
                  <a:lnTo>
                    <a:pt x="399" y="123"/>
                  </a:lnTo>
                  <a:lnTo>
                    <a:pt x="399" y="125"/>
                  </a:lnTo>
                  <a:lnTo>
                    <a:pt x="402" y="125"/>
                  </a:lnTo>
                  <a:lnTo>
                    <a:pt x="404" y="130"/>
                  </a:lnTo>
                  <a:lnTo>
                    <a:pt x="409" y="130"/>
                  </a:lnTo>
                  <a:lnTo>
                    <a:pt x="409" y="132"/>
                  </a:lnTo>
                  <a:lnTo>
                    <a:pt x="411" y="137"/>
                  </a:lnTo>
                  <a:lnTo>
                    <a:pt x="411" y="149"/>
                  </a:lnTo>
                  <a:lnTo>
                    <a:pt x="409" y="149"/>
                  </a:lnTo>
                  <a:lnTo>
                    <a:pt x="409" y="153"/>
                  </a:lnTo>
                  <a:lnTo>
                    <a:pt x="404" y="153"/>
                  </a:lnTo>
                  <a:lnTo>
                    <a:pt x="402" y="156"/>
                  </a:lnTo>
                  <a:lnTo>
                    <a:pt x="392" y="156"/>
                  </a:lnTo>
                  <a:lnTo>
                    <a:pt x="387" y="160"/>
                  </a:lnTo>
                  <a:lnTo>
                    <a:pt x="385" y="163"/>
                  </a:lnTo>
                  <a:lnTo>
                    <a:pt x="383" y="170"/>
                  </a:lnTo>
                  <a:lnTo>
                    <a:pt x="359" y="170"/>
                  </a:lnTo>
                  <a:lnTo>
                    <a:pt x="354" y="172"/>
                  </a:lnTo>
                  <a:lnTo>
                    <a:pt x="352" y="170"/>
                  </a:lnTo>
                  <a:lnTo>
                    <a:pt x="347" y="170"/>
                  </a:lnTo>
                  <a:lnTo>
                    <a:pt x="347" y="165"/>
                  </a:lnTo>
                  <a:lnTo>
                    <a:pt x="345" y="165"/>
                  </a:lnTo>
                  <a:lnTo>
                    <a:pt x="345" y="163"/>
                  </a:lnTo>
                  <a:lnTo>
                    <a:pt x="343" y="160"/>
                  </a:lnTo>
                  <a:lnTo>
                    <a:pt x="343" y="153"/>
                  </a:lnTo>
                  <a:lnTo>
                    <a:pt x="338" y="149"/>
                  </a:lnTo>
                  <a:lnTo>
                    <a:pt x="338" y="146"/>
                  </a:lnTo>
                  <a:lnTo>
                    <a:pt x="338" y="149"/>
                  </a:lnTo>
                  <a:lnTo>
                    <a:pt x="335" y="149"/>
                  </a:lnTo>
                  <a:lnTo>
                    <a:pt x="335" y="146"/>
                  </a:lnTo>
                  <a:lnTo>
                    <a:pt x="331" y="146"/>
                  </a:lnTo>
                  <a:lnTo>
                    <a:pt x="328" y="142"/>
                  </a:lnTo>
                  <a:lnTo>
                    <a:pt x="328" y="149"/>
                  </a:lnTo>
                  <a:lnTo>
                    <a:pt x="331" y="149"/>
                  </a:lnTo>
                  <a:lnTo>
                    <a:pt x="331" y="153"/>
                  </a:lnTo>
                  <a:lnTo>
                    <a:pt x="335" y="153"/>
                  </a:lnTo>
                  <a:lnTo>
                    <a:pt x="335" y="156"/>
                  </a:lnTo>
                  <a:lnTo>
                    <a:pt x="338" y="170"/>
                  </a:lnTo>
                  <a:lnTo>
                    <a:pt x="335" y="172"/>
                  </a:lnTo>
                  <a:lnTo>
                    <a:pt x="331" y="172"/>
                  </a:lnTo>
                  <a:lnTo>
                    <a:pt x="331" y="177"/>
                  </a:lnTo>
                  <a:lnTo>
                    <a:pt x="328" y="172"/>
                  </a:lnTo>
                  <a:lnTo>
                    <a:pt x="328" y="177"/>
                  </a:lnTo>
                  <a:lnTo>
                    <a:pt x="324" y="177"/>
                  </a:lnTo>
                  <a:lnTo>
                    <a:pt x="321" y="179"/>
                  </a:lnTo>
                  <a:lnTo>
                    <a:pt x="319" y="179"/>
                  </a:lnTo>
                  <a:lnTo>
                    <a:pt x="319" y="182"/>
                  </a:lnTo>
                  <a:lnTo>
                    <a:pt x="305" y="182"/>
                  </a:lnTo>
                  <a:lnTo>
                    <a:pt x="302" y="179"/>
                  </a:lnTo>
                  <a:lnTo>
                    <a:pt x="302" y="177"/>
                  </a:lnTo>
                  <a:lnTo>
                    <a:pt x="298" y="170"/>
                  </a:lnTo>
                  <a:lnTo>
                    <a:pt x="298" y="177"/>
                  </a:lnTo>
                  <a:lnTo>
                    <a:pt x="302" y="182"/>
                  </a:lnTo>
                  <a:lnTo>
                    <a:pt x="302" y="186"/>
                  </a:lnTo>
                  <a:lnTo>
                    <a:pt x="295" y="186"/>
                  </a:lnTo>
                  <a:lnTo>
                    <a:pt x="291" y="182"/>
                  </a:lnTo>
                  <a:lnTo>
                    <a:pt x="288" y="172"/>
                  </a:lnTo>
                  <a:lnTo>
                    <a:pt x="286" y="172"/>
                  </a:lnTo>
                  <a:lnTo>
                    <a:pt x="288" y="179"/>
                  </a:lnTo>
                  <a:lnTo>
                    <a:pt x="288" y="189"/>
                  </a:lnTo>
                  <a:lnTo>
                    <a:pt x="279" y="194"/>
                  </a:lnTo>
                  <a:lnTo>
                    <a:pt x="274" y="194"/>
                  </a:lnTo>
                  <a:lnTo>
                    <a:pt x="274" y="186"/>
                  </a:lnTo>
                  <a:lnTo>
                    <a:pt x="272" y="182"/>
                  </a:lnTo>
                  <a:lnTo>
                    <a:pt x="272" y="194"/>
                  </a:lnTo>
                  <a:lnTo>
                    <a:pt x="267" y="194"/>
                  </a:lnTo>
                  <a:lnTo>
                    <a:pt x="262" y="189"/>
                  </a:lnTo>
                  <a:lnTo>
                    <a:pt x="258" y="186"/>
                  </a:lnTo>
                  <a:lnTo>
                    <a:pt x="258" y="182"/>
                  </a:lnTo>
                  <a:lnTo>
                    <a:pt x="258" y="189"/>
                  </a:lnTo>
                  <a:lnTo>
                    <a:pt x="262" y="194"/>
                  </a:lnTo>
                  <a:lnTo>
                    <a:pt x="262" y="196"/>
                  </a:lnTo>
                  <a:lnTo>
                    <a:pt x="258" y="196"/>
                  </a:lnTo>
                  <a:lnTo>
                    <a:pt x="248" y="201"/>
                  </a:lnTo>
                  <a:lnTo>
                    <a:pt x="246" y="196"/>
                  </a:lnTo>
                  <a:lnTo>
                    <a:pt x="241" y="201"/>
                  </a:lnTo>
                  <a:lnTo>
                    <a:pt x="227" y="201"/>
                  </a:lnTo>
                  <a:lnTo>
                    <a:pt x="224" y="203"/>
                  </a:lnTo>
                  <a:lnTo>
                    <a:pt x="222" y="203"/>
                  </a:lnTo>
                  <a:lnTo>
                    <a:pt x="217" y="201"/>
                  </a:lnTo>
                  <a:lnTo>
                    <a:pt x="215" y="196"/>
                  </a:lnTo>
                  <a:lnTo>
                    <a:pt x="215" y="179"/>
                  </a:lnTo>
                  <a:lnTo>
                    <a:pt x="217" y="177"/>
                  </a:lnTo>
                  <a:lnTo>
                    <a:pt x="210" y="170"/>
                  </a:lnTo>
                  <a:lnTo>
                    <a:pt x="210" y="165"/>
                  </a:lnTo>
                  <a:lnTo>
                    <a:pt x="208" y="165"/>
                  </a:lnTo>
                  <a:lnTo>
                    <a:pt x="208" y="189"/>
                  </a:lnTo>
                  <a:lnTo>
                    <a:pt x="206" y="189"/>
                  </a:lnTo>
                  <a:lnTo>
                    <a:pt x="206" y="179"/>
                  </a:lnTo>
                  <a:lnTo>
                    <a:pt x="198" y="177"/>
                  </a:lnTo>
                  <a:lnTo>
                    <a:pt x="198" y="179"/>
                  </a:lnTo>
                  <a:lnTo>
                    <a:pt x="201" y="179"/>
                  </a:lnTo>
                  <a:lnTo>
                    <a:pt x="201" y="186"/>
                  </a:lnTo>
                  <a:lnTo>
                    <a:pt x="198" y="186"/>
                  </a:lnTo>
                  <a:lnTo>
                    <a:pt x="198" y="182"/>
                  </a:lnTo>
                  <a:lnTo>
                    <a:pt x="194" y="182"/>
                  </a:lnTo>
                  <a:lnTo>
                    <a:pt x="198" y="186"/>
                  </a:lnTo>
                  <a:lnTo>
                    <a:pt x="201" y="186"/>
                  </a:lnTo>
                  <a:lnTo>
                    <a:pt x="201" y="196"/>
                  </a:lnTo>
                  <a:lnTo>
                    <a:pt x="198" y="196"/>
                  </a:lnTo>
                  <a:lnTo>
                    <a:pt x="194" y="201"/>
                  </a:lnTo>
                  <a:lnTo>
                    <a:pt x="191" y="201"/>
                  </a:lnTo>
                  <a:lnTo>
                    <a:pt x="191" y="203"/>
                  </a:lnTo>
                  <a:lnTo>
                    <a:pt x="175" y="203"/>
                  </a:lnTo>
                  <a:lnTo>
                    <a:pt x="170" y="201"/>
                  </a:lnTo>
                  <a:lnTo>
                    <a:pt x="165" y="201"/>
                  </a:lnTo>
                  <a:lnTo>
                    <a:pt x="161" y="196"/>
                  </a:lnTo>
                  <a:lnTo>
                    <a:pt x="161" y="189"/>
                  </a:lnTo>
                  <a:lnTo>
                    <a:pt x="158" y="194"/>
                  </a:lnTo>
                  <a:lnTo>
                    <a:pt x="154" y="194"/>
                  </a:lnTo>
                  <a:lnTo>
                    <a:pt x="154" y="186"/>
                  </a:lnTo>
                  <a:lnTo>
                    <a:pt x="158" y="186"/>
                  </a:lnTo>
                  <a:lnTo>
                    <a:pt x="158" y="177"/>
                  </a:lnTo>
                  <a:lnTo>
                    <a:pt x="154" y="177"/>
                  </a:lnTo>
                  <a:lnTo>
                    <a:pt x="154" y="186"/>
                  </a:lnTo>
                  <a:lnTo>
                    <a:pt x="151" y="186"/>
                  </a:lnTo>
                  <a:lnTo>
                    <a:pt x="151" y="189"/>
                  </a:lnTo>
                  <a:lnTo>
                    <a:pt x="149" y="189"/>
                  </a:lnTo>
                  <a:lnTo>
                    <a:pt x="151" y="196"/>
                  </a:lnTo>
                  <a:lnTo>
                    <a:pt x="151" y="201"/>
                  </a:lnTo>
                  <a:lnTo>
                    <a:pt x="142" y="201"/>
                  </a:lnTo>
                  <a:lnTo>
                    <a:pt x="137" y="196"/>
                  </a:lnTo>
                  <a:lnTo>
                    <a:pt x="137" y="194"/>
                  </a:lnTo>
                  <a:lnTo>
                    <a:pt x="135" y="194"/>
                  </a:lnTo>
                  <a:lnTo>
                    <a:pt x="135" y="196"/>
                  </a:lnTo>
                  <a:lnTo>
                    <a:pt x="130" y="194"/>
                  </a:lnTo>
                  <a:lnTo>
                    <a:pt x="135" y="194"/>
                  </a:lnTo>
                  <a:lnTo>
                    <a:pt x="130" y="189"/>
                  </a:lnTo>
                  <a:lnTo>
                    <a:pt x="128" y="189"/>
                  </a:lnTo>
                  <a:lnTo>
                    <a:pt x="128" y="177"/>
                  </a:lnTo>
                  <a:lnTo>
                    <a:pt x="125" y="172"/>
                  </a:lnTo>
                  <a:lnTo>
                    <a:pt x="121" y="170"/>
                  </a:lnTo>
                  <a:lnTo>
                    <a:pt x="121" y="163"/>
                  </a:lnTo>
                  <a:lnTo>
                    <a:pt x="125" y="163"/>
                  </a:lnTo>
                  <a:lnTo>
                    <a:pt x="125" y="156"/>
                  </a:lnTo>
                  <a:lnTo>
                    <a:pt x="121" y="156"/>
                  </a:lnTo>
                  <a:lnTo>
                    <a:pt x="121" y="160"/>
                  </a:lnTo>
                  <a:lnTo>
                    <a:pt x="118" y="156"/>
                  </a:lnTo>
                  <a:lnTo>
                    <a:pt x="111" y="153"/>
                  </a:lnTo>
                  <a:lnTo>
                    <a:pt x="111" y="132"/>
                  </a:lnTo>
                  <a:lnTo>
                    <a:pt x="113" y="130"/>
                  </a:lnTo>
                  <a:lnTo>
                    <a:pt x="113" y="123"/>
                  </a:lnTo>
                  <a:lnTo>
                    <a:pt x="118" y="123"/>
                  </a:lnTo>
                  <a:lnTo>
                    <a:pt x="118" y="113"/>
                  </a:lnTo>
                  <a:lnTo>
                    <a:pt x="113" y="109"/>
                  </a:lnTo>
                  <a:lnTo>
                    <a:pt x="113" y="97"/>
                  </a:lnTo>
                  <a:lnTo>
                    <a:pt x="111" y="97"/>
                  </a:lnTo>
                  <a:lnTo>
                    <a:pt x="111" y="92"/>
                  </a:lnTo>
                  <a:lnTo>
                    <a:pt x="104" y="92"/>
                  </a:lnTo>
                  <a:lnTo>
                    <a:pt x="104" y="90"/>
                  </a:lnTo>
                  <a:lnTo>
                    <a:pt x="102" y="85"/>
                  </a:lnTo>
                  <a:lnTo>
                    <a:pt x="97" y="75"/>
                  </a:lnTo>
                  <a:lnTo>
                    <a:pt x="95" y="68"/>
                  </a:lnTo>
                  <a:lnTo>
                    <a:pt x="90" y="66"/>
                  </a:lnTo>
                  <a:lnTo>
                    <a:pt x="87" y="64"/>
                  </a:lnTo>
                  <a:lnTo>
                    <a:pt x="87" y="57"/>
                  </a:lnTo>
                  <a:lnTo>
                    <a:pt x="80" y="57"/>
                  </a:lnTo>
                  <a:lnTo>
                    <a:pt x="80" y="59"/>
                  </a:lnTo>
                  <a:lnTo>
                    <a:pt x="78" y="59"/>
                  </a:lnTo>
                  <a:lnTo>
                    <a:pt x="78" y="64"/>
                  </a:lnTo>
                  <a:lnTo>
                    <a:pt x="73" y="64"/>
                  </a:lnTo>
                  <a:lnTo>
                    <a:pt x="73" y="59"/>
                  </a:lnTo>
                  <a:lnTo>
                    <a:pt x="73" y="64"/>
                  </a:lnTo>
                  <a:lnTo>
                    <a:pt x="71" y="64"/>
                  </a:lnTo>
                  <a:lnTo>
                    <a:pt x="73" y="66"/>
                  </a:lnTo>
                  <a:lnTo>
                    <a:pt x="47" y="66"/>
                  </a:lnTo>
                  <a:lnTo>
                    <a:pt x="45" y="68"/>
                  </a:lnTo>
                  <a:lnTo>
                    <a:pt x="38" y="68"/>
                  </a:lnTo>
                  <a:lnTo>
                    <a:pt x="38" y="66"/>
                  </a:lnTo>
                  <a:lnTo>
                    <a:pt x="45" y="66"/>
                  </a:lnTo>
                  <a:lnTo>
                    <a:pt x="45" y="64"/>
                  </a:lnTo>
                  <a:lnTo>
                    <a:pt x="47" y="64"/>
                  </a:lnTo>
                  <a:lnTo>
                    <a:pt x="47" y="59"/>
                  </a:lnTo>
                  <a:lnTo>
                    <a:pt x="28" y="59"/>
                  </a:lnTo>
                  <a:lnTo>
                    <a:pt x="24" y="57"/>
                  </a:lnTo>
                  <a:lnTo>
                    <a:pt x="21" y="57"/>
                  </a:lnTo>
                  <a:lnTo>
                    <a:pt x="21" y="45"/>
                  </a:lnTo>
                  <a:lnTo>
                    <a:pt x="28" y="45"/>
                  </a:lnTo>
                  <a:lnTo>
                    <a:pt x="28" y="42"/>
                  </a:lnTo>
                  <a:lnTo>
                    <a:pt x="31" y="40"/>
                  </a:lnTo>
                  <a:lnTo>
                    <a:pt x="28" y="40"/>
                  </a:lnTo>
                  <a:lnTo>
                    <a:pt x="28" y="45"/>
                  </a:lnTo>
                  <a:lnTo>
                    <a:pt x="21" y="45"/>
                  </a:lnTo>
                  <a:lnTo>
                    <a:pt x="17" y="42"/>
                  </a:lnTo>
                  <a:lnTo>
                    <a:pt x="17" y="40"/>
                  </a:lnTo>
                  <a:lnTo>
                    <a:pt x="14" y="40"/>
                  </a:lnTo>
                  <a:lnTo>
                    <a:pt x="12" y="35"/>
                  </a:lnTo>
                  <a:lnTo>
                    <a:pt x="12" y="33"/>
                  </a:lnTo>
                  <a:lnTo>
                    <a:pt x="0" y="33"/>
                  </a:lnTo>
                  <a:lnTo>
                    <a:pt x="0" y="23"/>
                  </a:lnTo>
                  <a:lnTo>
                    <a:pt x="5" y="26"/>
                  </a:lnTo>
                  <a:lnTo>
                    <a:pt x="7" y="26"/>
                  </a:lnTo>
                  <a:lnTo>
                    <a:pt x="12" y="28"/>
                  </a:lnTo>
                  <a:lnTo>
                    <a:pt x="14" y="28"/>
                  </a:lnTo>
                  <a:lnTo>
                    <a:pt x="14" y="23"/>
                  </a:lnTo>
                  <a:lnTo>
                    <a:pt x="7" y="23"/>
                  </a:lnTo>
                  <a:lnTo>
                    <a:pt x="5" y="19"/>
                  </a:lnTo>
                  <a:lnTo>
                    <a:pt x="0" y="16"/>
                  </a:lnTo>
                  <a:lnTo>
                    <a:pt x="0" y="12"/>
                  </a:lnTo>
                  <a:lnTo>
                    <a:pt x="5" y="12"/>
                  </a:lnTo>
                  <a:lnTo>
                    <a:pt x="5" y="9"/>
                  </a:lnTo>
                  <a:lnTo>
                    <a:pt x="0" y="9"/>
                  </a:lnTo>
                  <a:lnTo>
                    <a:pt x="7" y="9"/>
                  </a:lnTo>
                  <a:lnTo>
                    <a:pt x="12" y="5"/>
                  </a:lnTo>
                  <a:lnTo>
                    <a:pt x="12" y="2"/>
                  </a:lnTo>
                  <a:lnTo>
                    <a:pt x="21" y="2"/>
                  </a:lnTo>
                  <a:lnTo>
                    <a:pt x="21" y="0"/>
                  </a:lnTo>
                  <a:lnTo>
                    <a:pt x="24" y="0"/>
                  </a:lnTo>
                  <a:lnTo>
                    <a:pt x="28" y="2"/>
                  </a:lnTo>
                  <a:lnTo>
                    <a:pt x="31" y="0"/>
                  </a:lnTo>
                  <a:lnTo>
                    <a:pt x="31" y="2"/>
                  </a:lnTo>
                  <a:lnTo>
                    <a:pt x="33" y="2"/>
                  </a:lnTo>
                  <a:lnTo>
                    <a:pt x="33" y="5"/>
                  </a:lnTo>
                  <a:lnTo>
                    <a:pt x="52" y="5"/>
                  </a:lnTo>
                  <a:lnTo>
                    <a:pt x="54" y="9"/>
                  </a:lnTo>
                  <a:lnTo>
                    <a:pt x="57" y="12"/>
                  </a:lnTo>
                  <a:lnTo>
                    <a:pt x="61" y="12"/>
                  </a:lnTo>
                  <a:lnTo>
                    <a:pt x="61" y="9"/>
                  </a:lnTo>
                  <a:lnTo>
                    <a:pt x="69" y="9"/>
                  </a:lnTo>
                  <a:lnTo>
                    <a:pt x="73" y="16"/>
                  </a:lnTo>
                  <a:lnTo>
                    <a:pt x="78" y="23"/>
                  </a:lnTo>
                  <a:lnTo>
                    <a:pt x="80" y="23"/>
                  </a:lnTo>
                  <a:lnTo>
                    <a:pt x="80" y="40"/>
                  </a:lnTo>
                  <a:lnTo>
                    <a:pt x="78" y="45"/>
                  </a:lnTo>
                  <a:lnTo>
                    <a:pt x="73" y="49"/>
                  </a:lnTo>
                  <a:lnTo>
                    <a:pt x="73" y="57"/>
                  </a:lnTo>
                  <a:lnTo>
                    <a:pt x="78" y="57"/>
                  </a:lnTo>
                  <a:lnTo>
                    <a:pt x="78" y="52"/>
                  </a:lnTo>
                  <a:lnTo>
                    <a:pt x="73" y="52"/>
                  </a:lnTo>
                  <a:lnTo>
                    <a:pt x="73" y="49"/>
                  </a:lnTo>
                  <a:lnTo>
                    <a:pt x="78" y="49"/>
                  </a:lnTo>
                  <a:lnTo>
                    <a:pt x="78" y="45"/>
                  </a:lnTo>
                  <a:lnTo>
                    <a:pt x="85" y="40"/>
                  </a:lnTo>
                  <a:lnTo>
                    <a:pt x="85" y="33"/>
                  </a:lnTo>
                  <a:lnTo>
                    <a:pt x="90" y="33"/>
                  </a:lnTo>
                  <a:lnTo>
                    <a:pt x="90" y="35"/>
                  </a:lnTo>
                  <a:lnTo>
                    <a:pt x="95" y="35"/>
                  </a:lnTo>
                  <a:lnTo>
                    <a:pt x="95" y="33"/>
                  </a:lnTo>
                  <a:lnTo>
                    <a:pt x="97" y="33"/>
                  </a:lnTo>
                  <a:lnTo>
                    <a:pt x="97" y="35"/>
                  </a:lnTo>
                  <a:lnTo>
                    <a:pt x="102" y="33"/>
                  </a:lnTo>
                  <a:lnTo>
                    <a:pt x="104" y="33"/>
                  </a:lnTo>
                  <a:lnTo>
                    <a:pt x="104" y="28"/>
                  </a:lnTo>
                  <a:lnTo>
                    <a:pt x="109" y="28"/>
                  </a:lnTo>
                  <a:lnTo>
                    <a:pt x="109" y="26"/>
                  </a:lnTo>
                  <a:lnTo>
                    <a:pt x="113" y="26"/>
                  </a:lnTo>
                  <a:lnTo>
                    <a:pt x="118" y="23"/>
                  </a:lnTo>
                  <a:lnTo>
                    <a:pt x="125" y="26"/>
                  </a:lnTo>
                  <a:lnTo>
                    <a:pt x="128" y="26"/>
                  </a:lnTo>
                  <a:lnTo>
                    <a:pt x="130" y="28"/>
                  </a:lnTo>
                  <a:lnTo>
                    <a:pt x="135" y="33"/>
                  </a:lnTo>
                  <a:lnTo>
                    <a:pt x="137" y="33"/>
                  </a:lnTo>
                  <a:lnTo>
                    <a:pt x="142" y="35"/>
                  </a:lnTo>
                  <a:lnTo>
                    <a:pt x="142" y="42"/>
                  </a:lnTo>
                  <a:lnTo>
                    <a:pt x="128" y="42"/>
                  </a:lnTo>
                  <a:lnTo>
                    <a:pt x="125" y="40"/>
                  </a:lnTo>
                  <a:lnTo>
                    <a:pt x="118" y="40"/>
                  </a:lnTo>
                  <a:lnTo>
                    <a:pt x="121" y="42"/>
                  </a:lnTo>
                  <a:lnTo>
                    <a:pt x="130" y="42"/>
                  </a:lnTo>
                  <a:lnTo>
                    <a:pt x="135" y="45"/>
                  </a:lnTo>
                  <a:lnTo>
                    <a:pt x="149" y="45"/>
                  </a:lnTo>
                  <a:lnTo>
                    <a:pt x="151" y="49"/>
                  </a:lnTo>
                  <a:lnTo>
                    <a:pt x="168" y="49"/>
                  </a:lnTo>
                  <a:lnTo>
                    <a:pt x="168" y="52"/>
                  </a:lnTo>
                  <a:lnTo>
                    <a:pt x="170" y="52"/>
                  </a:lnTo>
                  <a:lnTo>
                    <a:pt x="170" y="59"/>
                  </a:lnTo>
                  <a:lnTo>
                    <a:pt x="168" y="64"/>
                  </a:lnTo>
                  <a:lnTo>
                    <a:pt x="165" y="64"/>
                  </a:lnTo>
                  <a:lnTo>
                    <a:pt x="161" y="66"/>
                  </a:lnTo>
                  <a:lnTo>
                    <a:pt x="158" y="64"/>
                  </a:lnTo>
                  <a:lnTo>
                    <a:pt x="149" y="66"/>
                  </a:lnTo>
                  <a:lnTo>
                    <a:pt x="154" y="66"/>
                  </a:lnTo>
                  <a:lnTo>
                    <a:pt x="154" y="68"/>
                  </a:lnTo>
                  <a:lnTo>
                    <a:pt x="151" y="68"/>
                  </a:lnTo>
                  <a:lnTo>
                    <a:pt x="149" y="66"/>
                  </a:lnTo>
                  <a:lnTo>
                    <a:pt x="130" y="66"/>
                  </a:lnTo>
                  <a:lnTo>
                    <a:pt x="128" y="64"/>
                  </a:lnTo>
                  <a:lnTo>
                    <a:pt x="125" y="64"/>
                  </a:lnTo>
                  <a:lnTo>
                    <a:pt x="125" y="59"/>
                  </a:lnTo>
                  <a:lnTo>
                    <a:pt x="121" y="59"/>
                  </a:lnTo>
                  <a:lnTo>
                    <a:pt x="121" y="64"/>
                  </a:lnTo>
                  <a:lnTo>
                    <a:pt x="128" y="64"/>
                  </a:lnTo>
                  <a:lnTo>
                    <a:pt x="128" y="68"/>
                  </a:lnTo>
                  <a:lnTo>
                    <a:pt x="142" y="68"/>
                  </a:lnTo>
                  <a:lnTo>
                    <a:pt x="142" y="75"/>
                  </a:lnTo>
                  <a:lnTo>
                    <a:pt x="137" y="75"/>
                  </a:lnTo>
                  <a:lnTo>
                    <a:pt x="142" y="75"/>
                  </a:lnTo>
                  <a:lnTo>
                    <a:pt x="144" y="73"/>
                  </a:lnTo>
                  <a:lnTo>
                    <a:pt x="149" y="73"/>
                  </a:lnTo>
                  <a:lnTo>
                    <a:pt x="154" y="75"/>
                  </a:lnTo>
                  <a:lnTo>
                    <a:pt x="149" y="75"/>
                  </a:lnTo>
                  <a:lnTo>
                    <a:pt x="144" y="80"/>
                  </a:lnTo>
                  <a:lnTo>
                    <a:pt x="135" y="80"/>
                  </a:lnTo>
                  <a:lnTo>
                    <a:pt x="135" y="83"/>
                  </a:lnTo>
                  <a:lnTo>
                    <a:pt x="137" y="85"/>
                  </a:lnTo>
                  <a:lnTo>
                    <a:pt x="137" y="90"/>
                  </a:lnTo>
                  <a:lnTo>
                    <a:pt x="135" y="90"/>
                  </a:lnTo>
                  <a:lnTo>
                    <a:pt x="135" y="97"/>
                  </a:lnTo>
                  <a:lnTo>
                    <a:pt x="137" y="97"/>
                  </a:lnTo>
                  <a:lnTo>
                    <a:pt x="137" y="90"/>
                  </a:lnTo>
                  <a:lnTo>
                    <a:pt x="142" y="85"/>
                  </a:lnTo>
                  <a:lnTo>
                    <a:pt x="142" y="83"/>
                  </a:lnTo>
                  <a:lnTo>
                    <a:pt x="149" y="83"/>
                  </a:lnTo>
                  <a:lnTo>
                    <a:pt x="149" y="90"/>
                  </a:lnTo>
                  <a:lnTo>
                    <a:pt x="151" y="83"/>
                  </a:lnTo>
                  <a:lnTo>
                    <a:pt x="158" y="83"/>
                  </a:lnTo>
                  <a:lnTo>
                    <a:pt x="158" y="80"/>
                  </a:lnTo>
                  <a:lnTo>
                    <a:pt x="161" y="80"/>
                  </a:lnTo>
                  <a:lnTo>
                    <a:pt x="161" y="83"/>
                  </a:lnTo>
                  <a:lnTo>
                    <a:pt x="165" y="83"/>
                  </a:lnTo>
                  <a:lnTo>
                    <a:pt x="168" y="85"/>
                  </a:lnTo>
                  <a:lnTo>
                    <a:pt x="168" y="90"/>
                  </a:lnTo>
                  <a:lnTo>
                    <a:pt x="165" y="92"/>
                  </a:lnTo>
                  <a:lnTo>
                    <a:pt x="168" y="97"/>
                  </a:lnTo>
                  <a:lnTo>
                    <a:pt x="168" y="90"/>
                  </a:lnTo>
                  <a:lnTo>
                    <a:pt x="175" y="90"/>
                  </a:lnTo>
                  <a:lnTo>
                    <a:pt x="175" y="92"/>
                  </a:lnTo>
                  <a:lnTo>
                    <a:pt x="182" y="92"/>
                  </a:lnTo>
                  <a:lnTo>
                    <a:pt x="182" y="109"/>
                  </a:lnTo>
                  <a:lnTo>
                    <a:pt x="170" y="109"/>
                  </a:lnTo>
                  <a:lnTo>
                    <a:pt x="170" y="113"/>
                  </a:lnTo>
                  <a:lnTo>
                    <a:pt x="175" y="113"/>
                  </a:lnTo>
                  <a:lnTo>
                    <a:pt x="175" y="116"/>
                  </a:lnTo>
                  <a:lnTo>
                    <a:pt x="170" y="116"/>
                  </a:lnTo>
                  <a:lnTo>
                    <a:pt x="177" y="116"/>
                  </a:lnTo>
                  <a:lnTo>
                    <a:pt x="177" y="113"/>
                  </a:lnTo>
                  <a:lnTo>
                    <a:pt x="184" y="113"/>
                  </a:lnTo>
                  <a:lnTo>
                    <a:pt x="184" y="116"/>
                  </a:lnTo>
                  <a:lnTo>
                    <a:pt x="187" y="120"/>
                  </a:lnTo>
                  <a:lnTo>
                    <a:pt x="191" y="123"/>
                  </a:lnTo>
                  <a:lnTo>
                    <a:pt x="194" y="123"/>
                  </a:lnTo>
                  <a:lnTo>
                    <a:pt x="194" y="116"/>
                  </a:lnTo>
                  <a:lnTo>
                    <a:pt x="191" y="109"/>
                  </a:lnTo>
                  <a:lnTo>
                    <a:pt x="191" y="101"/>
                  </a:lnTo>
                  <a:lnTo>
                    <a:pt x="194" y="101"/>
                  </a:lnTo>
                  <a:lnTo>
                    <a:pt x="198" y="106"/>
                  </a:lnTo>
                  <a:lnTo>
                    <a:pt x="201" y="109"/>
                  </a:lnTo>
                  <a:lnTo>
                    <a:pt x="206" y="109"/>
                  </a:lnTo>
                  <a:lnTo>
                    <a:pt x="206" y="113"/>
                  </a:lnTo>
                  <a:lnTo>
                    <a:pt x="208" y="113"/>
                  </a:lnTo>
                  <a:lnTo>
                    <a:pt x="206" y="113"/>
                  </a:lnTo>
                  <a:lnTo>
                    <a:pt x="206" y="116"/>
                  </a:lnTo>
                  <a:lnTo>
                    <a:pt x="208" y="116"/>
                  </a:lnTo>
                  <a:lnTo>
                    <a:pt x="210" y="113"/>
                  </a:lnTo>
                  <a:lnTo>
                    <a:pt x="210" y="109"/>
                  </a:lnTo>
                  <a:lnTo>
                    <a:pt x="215" y="106"/>
                  </a:lnTo>
                  <a:lnTo>
                    <a:pt x="217" y="106"/>
                  </a:lnTo>
                  <a:lnTo>
                    <a:pt x="224" y="113"/>
                  </a:lnTo>
                  <a:lnTo>
                    <a:pt x="224" y="116"/>
                  </a:lnTo>
                  <a:lnTo>
                    <a:pt x="222" y="116"/>
                  </a:lnTo>
                  <a:lnTo>
                    <a:pt x="224" y="116"/>
                  </a:lnTo>
                  <a:lnTo>
                    <a:pt x="224" y="109"/>
                  </a:lnTo>
                  <a:lnTo>
                    <a:pt x="222" y="106"/>
                  </a:lnTo>
                  <a:lnTo>
                    <a:pt x="224" y="101"/>
                  </a:lnTo>
                  <a:lnTo>
                    <a:pt x="224" y="99"/>
                  </a:lnTo>
                  <a:lnTo>
                    <a:pt x="227" y="99"/>
                  </a:lnTo>
                  <a:lnTo>
                    <a:pt x="232" y="101"/>
                  </a:lnTo>
                  <a:lnTo>
                    <a:pt x="232" y="106"/>
                  </a:lnTo>
                  <a:lnTo>
                    <a:pt x="234" y="106"/>
                  </a:lnTo>
                  <a:lnTo>
                    <a:pt x="234" y="109"/>
                  </a:lnTo>
                  <a:lnTo>
                    <a:pt x="239" y="109"/>
                  </a:lnTo>
                  <a:lnTo>
                    <a:pt x="241" y="113"/>
                  </a:lnTo>
                  <a:lnTo>
                    <a:pt x="241" y="109"/>
                  </a:lnTo>
                  <a:lnTo>
                    <a:pt x="246" y="109"/>
                  </a:lnTo>
                  <a:lnTo>
                    <a:pt x="248" y="113"/>
                  </a:lnTo>
                  <a:lnTo>
                    <a:pt x="250" y="113"/>
                  </a:lnTo>
                  <a:lnTo>
                    <a:pt x="250" y="116"/>
                  </a:lnTo>
                  <a:lnTo>
                    <a:pt x="248" y="116"/>
                  </a:lnTo>
                  <a:lnTo>
                    <a:pt x="248" y="120"/>
                  </a:lnTo>
                  <a:lnTo>
                    <a:pt x="246" y="120"/>
                  </a:lnTo>
                  <a:lnTo>
                    <a:pt x="248" y="12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6" name="Freeform 435">
              <a:extLst>
                <a:ext uri="{FF2B5EF4-FFF2-40B4-BE49-F238E27FC236}">
                  <a16:creationId xmlns:a16="http://schemas.microsoft.com/office/drawing/2014/main" id="{7ED19515-BCF5-4ED3-837A-16F3F431E280}"/>
                </a:ext>
              </a:extLst>
            </p:cNvPr>
            <p:cNvSpPr>
              <a:spLocks/>
            </p:cNvSpPr>
            <p:nvPr/>
          </p:nvSpPr>
          <p:spPr bwMode="gray">
            <a:xfrm rot="47099">
              <a:off x="1430342" y="1781113"/>
              <a:ext cx="4453" cy="3860"/>
            </a:xfrm>
            <a:custGeom>
              <a:avLst/>
              <a:gdLst>
                <a:gd name="T0" fmla="*/ 7 w 10"/>
                <a:gd name="T1" fmla="*/ 0 h 7"/>
                <a:gd name="T2" fmla="*/ 10 w 10"/>
                <a:gd name="T3" fmla="*/ 2 h 7"/>
                <a:gd name="T4" fmla="*/ 7 w 10"/>
                <a:gd name="T5" fmla="*/ 2 h 7"/>
                <a:gd name="T6" fmla="*/ 7 w 10"/>
                <a:gd name="T7" fmla="*/ 7 h 7"/>
                <a:gd name="T8" fmla="*/ 0 w 10"/>
                <a:gd name="T9" fmla="*/ 7 h 7"/>
                <a:gd name="T10" fmla="*/ 0 w 10"/>
                <a:gd name="T11" fmla="*/ 2 h 7"/>
                <a:gd name="T12" fmla="*/ 2 w 10"/>
                <a:gd name="T13" fmla="*/ 0 h 7"/>
                <a:gd name="T14" fmla="*/ 7 w 10"/>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7"/>
                <a:gd name="T26" fmla="*/ 10 w 10"/>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7">
                  <a:moveTo>
                    <a:pt x="7" y="0"/>
                  </a:moveTo>
                  <a:lnTo>
                    <a:pt x="10" y="2"/>
                  </a:lnTo>
                  <a:lnTo>
                    <a:pt x="7" y="2"/>
                  </a:lnTo>
                  <a:lnTo>
                    <a:pt x="7" y="7"/>
                  </a:lnTo>
                  <a:lnTo>
                    <a:pt x="0" y="7"/>
                  </a:lnTo>
                  <a:lnTo>
                    <a:pt x="0" y="2"/>
                  </a:lnTo>
                  <a:lnTo>
                    <a:pt x="2"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7" name="Freeform 436">
              <a:extLst>
                <a:ext uri="{FF2B5EF4-FFF2-40B4-BE49-F238E27FC236}">
                  <a16:creationId xmlns:a16="http://schemas.microsoft.com/office/drawing/2014/main" id="{3DC62B8C-4489-4216-A2A5-8DBEE93684E1}"/>
                </a:ext>
              </a:extLst>
            </p:cNvPr>
            <p:cNvSpPr>
              <a:spLocks/>
            </p:cNvSpPr>
            <p:nvPr/>
          </p:nvSpPr>
          <p:spPr bwMode="gray">
            <a:xfrm rot="47099">
              <a:off x="1514105" y="1778401"/>
              <a:ext cx="4453" cy="3860"/>
            </a:xfrm>
            <a:custGeom>
              <a:avLst/>
              <a:gdLst>
                <a:gd name="T0" fmla="*/ 7 w 9"/>
                <a:gd name="T1" fmla="*/ 0 h 7"/>
                <a:gd name="T2" fmla="*/ 9 w 9"/>
                <a:gd name="T3" fmla="*/ 0 h 7"/>
                <a:gd name="T4" fmla="*/ 9 w 9"/>
                <a:gd name="T5" fmla="*/ 7 h 7"/>
                <a:gd name="T6" fmla="*/ 7 w 9"/>
                <a:gd name="T7" fmla="*/ 7 h 7"/>
                <a:gd name="T8" fmla="*/ 7 w 9"/>
                <a:gd name="T9" fmla="*/ 2 h 7"/>
                <a:gd name="T10" fmla="*/ 4 w 9"/>
                <a:gd name="T11" fmla="*/ 0 h 7"/>
                <a:gd name="T12" fmla="*/ 0 w 9"/>
                <a:gd name="T13" fmla="*/ 0 h 7"/>
                <a:gd name="T14" fmla="*/ 7 w 9"/>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7" y="0"/>
                  </a:moveTo>
                  <a:lnTo>
                    <a:pt x="9" y="0"/>
                  </a:lnTo>
                  <a:lnTo>
                    <a:pt x="9" y="7"/>
                  </a:lnTo>
                  <a:lnTo>
                    <a:pt x="7" y="7"/>
                  </a:lnTo>
                  <a:lnTo>
                    <a:pt x="7" y="2"/>
                  </a:lnTo>
                  <a:lnTo>
                    <a:pt x="4" y="0"/>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8" name="Freeform 437">
              <a:extLst>
                <a:ext uri="{FF2B5EF4-FFF2-40B4-BE49-F238E27FC236}">
                  <a16:creationId xmlns:a16="http://schemas.microsoft.com/office/drawing/2014/main" id="{06C559E7-C152-46F2-B128-B02D3FF5CC88}"/>
                </a:ext>
              </a:extLst>
            </p:cNvPr>
            <p:cNvSpPr>
              <a:spLocks/>
            </p:cNvSpPr>
            <p:nvPr/>
          </p:nvSpPr>
          <p:spPr bwMode="gray">
            <a:xfrm rot="47099">
              <a:off x="1555129" y="1774150"/>
              <a:ext cx="6235" cy="4824"/>
            </a:xfrm>
            <a:custGeom>
              <a:avLst/>
              <a:gdLst>
                <a:gd name="T0" fmla="*/ 5 w 12"/>
                <a:gd name="T1" fmla="*/ 0 h 10"/>
                <a:gd name="T2" fmla="*/ 12 w 12"/>
                <a:gd name="T3" fmla="*/ 0 h 10"/>
                <a:gd name="T4" fmla="*/ 12 w 12"/>
                <a:gd name="T5" fmla="*/ 10 h 10"/>
                <a:gd name="T6" fmla="*/ 8 w 12"/>
                <a:gd name="T7" fmla="*/ 10 h 10"/>
                <a:gd name="T8" fmla="*/ 5 w 12"/>
                <a:gd name="T9" fmla="*/ 7 h 10"/>
                <a:gd name="T10" fmla="*/ 0 w 12"/>
                <a:gd name="T11" fmla="*/ 7 h 10"/>
                <a:gd name="T12" fmla="*/ 0 w 12"/>
                <a:gd name="T13" fmla="*/ 0 h 10"/>
                <a:gd name="T14" fmla="*/ 5 w 12"/>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0"/>
                <a:gd name="T26" fmla="*/ 12 w 12"/>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0">
                  <a:moveTo>
                    <a:pt x="5" y="0"/>
                  </a:moveTo>
                  <a:lnTo>
                    <a:pt x="12" y="0"/>
                  </a:lnTo>
                  <a:lnTo>
                    <a:pt x="12" y="10"/>
                  </a:lnTo>
                  <a:lnTo>
                    <a:pt x="8" y="10"/>
                  </a:lnTo>
                  <a:lnTo>
                    <a:pt x="5" y="7"/>
                  </a:lnTo>
                  <a:lnTo>
                    <a:pt x="0" y="7"/>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49" name="Freeform 438">
              <a:extLst>
                <a:ext uri="{FF2B5EF4-FFF2-40B4-BE49-F238E27FC236}">
                  <a16:creationId xmlns:a16="http://schemas.microsoft.com/office/drawing/2014/main" id="{B3C1DE7B-6E36-42CE-B786-21F928AE9866}"/>
                </a:ext>
              </a:extLst>
            </p:cNvPr>
            <p:cNvSpPr>
              <a:spLocks/>
            </p:cNvSpPr>
            <p:nvPr/>
          </p:nvSpPr>
          <p:spPr bwMode="gray">
            <a:xfrm rot="47099">
              <a:off x="1607974" y="1752687"/>
              <a:ext cx="7125" cy="4824"/>
            </a:xfrm>
            <a:custGeom>
              <a:avLst/>
              <a:gdLst>
                <a:gd name="T0" fmla="*/ 3 w 15"/>
                <a:gd name="T1" fmla="*/ 0 h 11"/>
                <a:gd name="T2" fmla="*/ 8 w 15"/>
                <a:gd name="T3" fmla="*/ 0 h 11"/>
                <a:gd name="T4" fmla="*/ 8 w 15"/>
                <a:gd name="T5" fmla="*/ 2 h 11"/>
                <a:gd name="T6" fmla="*/ 15 w 15"/>
                <a:gd name="T7" fmla="*/ 4 h 11"/>
                <a:gd name="T8" fmla="*/ 15 w 15"/>
                <a:gd name="T9" fmla="*/ 9 h 11"/>
                <a:gd name="T10" fmla="*/ 10 w 15"/>
                <a:gd name="T11" fmla="*/ 9 h 11"/>
                <a:gd name="T12" fmla="*/ 10 w 15"/>
                <a:gd name="T13" fmla="*/ 11 h 11"/>
                <a:gd name="T14" fmla="*/ 8 w 15"/>
                <a:gd name="T15" fmla="*/ 11 h 11"/>
                <a:gd name="T16" fmla="*/ 8 w 15"/>
                <a:gd name="T17" fmla="*/ 4 h 11"/>
                <a:gd name="T18" fmla="*/ 0 w 15"/>
                <a:gd name="T19" fmla="*/ 4 h 11"/>
                <a:gd name="T20" fmla="*/ 0 w 15"/>
                <a:gd name="T21" fmla="*/ 2 h 11"/>
                <a:gd name="T22" fmla="*/ 3 w 15"/>
                <a:gd name="T23" fmla="*/ 2 h 11"/>
                <a:gd name="T24" fmla="*/ 3 w 15"/>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1"/>
                <a:gd name="T41" fmla="*/ 15 w 15"/>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1">
                  <a:moveTo>
                    <a:pt x="3" y="0"/>
                  </a:moveTo>
                  <a:lnTo>
                    <a:pt x="8" y="0"/>
                  </a:lnTo>
                  <a:lnTo>
                    <a:pt x="8" y="2"/>
                  </a:lnTo>
                  <a:lnTo>
                    <a:pt x="15" y="4"/>
                  </a:lnTo>
                  <a:lnTo>
                    <a:pt x="15" y="9"/>
                  </a:lnTo>
                  <a:lnTo>
                    <a:pt x="10" y="9"/>
                  </a:lnTo>
                  <a:lnTo>
                    <a:pt x="10" y="11"/>
                  </a:lnTo>
                  <a:lnTo>
                    <a:pt x="8" y="11"/>
                  </a:lnTo>
                  <a:lnTo>
                    <a:pt x="8" y="4"/>
                  </a:lnTo>
                  <a:lnTo>
                    <a:pt x="0" y="4"/>
                  </a:lnTo>
                  <a:lnTo>
                    <a:pt x="0" y="2"/>
                  </a:lnTo>
                  <a:lnTo>
                    <a:pt x="3" y="2"/>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0" name="Freeform 439">
              <a:extLst>
                <a:ext uri="{FF2B5EF4-FFF2-40B4-BE49-F238E27FC236}">
                  <a16:creationId xmlns:a16="http://schemas.microsoft.com/office/drawing/2014/main" id="{BC15D773-5240-4C7E-97D4-19D269E4C6D3}"/>
                </a:ext>
              </a:extLst>
            </p:cNvPr>
            <p:cNvSpPr>
              <a:spLocks/>
            </p:cNvSpPr>
            <p:nvPr/>
          </p:nvSpPr>
          <p:spPr bwMode="gray">
            <a:xfrm rot="47099">
              <a:off x="1554377" y="1756833"/>
              <a:ext cx="15141" cy="19296"/>
            </a:xfrm>
            <a:custGeom>
              <a:avLst/>
              <a:gdLst>
                <a:gd name="T0" fmla="*/ 19 w 33"/>
                <a:gd name="T1" fmla="*/ 38 h 41"/>
                <a:gd name="T2" fmla="*/ 14 w 33"/>
                <a:gd name="T3" fmla="*/ 34 h 41"/>
                <a:gd name="T4" fmla="*/ 10 w 33"/>
                <a:gd name="T5" fmla="*/ 34 h 41"/>
                <a:gd name="T6" fmla="*/ 10 w 33"/>
                <a:gd name="T7" fmla="*/ 31 h 41"/>
                <a:gd name="T8" fmla="*/ 2 w 33"/>
                <a:gd name="T9" fmla="*/ 29 h 41"/>
                <a:gd name="T10" fmla="*/ 2 w 33"/>
                <a:gd name="T11" fmla="*/ 24 h 41"/>
                <a:gd name="T12" fmla="*/ 0 w 33"/>
                <a:gd name="T13" fmla="*/ 10 h 41"/>
                <a:gd name="T14" fmla="*/ 0 w 33"/>
                <a:gd name="T15" fmla="*/ 5 h 41"/>
                <a:gd name="T16" fmla="*/ 2 w 33"/>
                <a:gd name="T17" fmla="*/ 0 h 41"/>
                <a:gd name="T18" fmla="*/ 7 w 33"/>
                <a:gd name="T19" fmla="*/ 0 h 41"/>
                <a:gd name="T20" fmla="*/ 7 w 33"/>
                <a:gd name="T21" fmla="*/ 5 h 41"/>
                <a:gd name="T22" fmla="*/ 19 w 33"/>
                <a:gd name="T23" fmla="*/ 5 h 41"/>
                <a:gd name="T24" fmla="*/ 19 w 33"/>
                <a:gd name="T25" fmla="*/ 8 h 41"/>
                <a:gd name="T26" fmla="*/ 24 w 33"/>
                <a:gd name="T27" fmla="*/ 8 h 41"/>
                <a:gd name="T28" fmla="*/ 26 w 33"/>
                <a:gd name="T29" fmla="*/ 10 h 41"/>
                <a:gd name="T30" fmla="*/ 31 w 33"/>
                <a:gd name="T31" fmla="*/ 15 h 41"/>
                <a:gd name="T32" fmla="*/ 33 w 33"/>
                <a:gd name="T33" fmla="*/ 24 h 41"/>
                <a:gd name="T34" fmla="*/ 33 w 33"/>
                <a:gd name="T35" fmla="*/ 31 h 41"/>
                <a:gd name="T36" fmla="*/ 31 w 33"/>
                <a:gd name="T37" fmla="*/ 34 h 41"/>
                <a:gd name="T38" fmla="*/ 31 w 33"/>
                <a:gd name="T39" fmla="*/ 38 h 41"/>
                <a:gd name="T40" fmla="*/ 24 w 33"/>
                <a:gd name="T41" fmla="*/ 38 h 41"/>
                <a:gd name="T42" fmla="*/ 24 w 33"/>
                <a:gd name="T43" fmla="*/ 41 h 41"/>
                <a:gd name="T44" fmla="*/ 19 w 33"/>
                <a:gd name="T45" fmla="*/ 38 h 4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41"/>
                <a:gd name="T71" fmla="*/ 33 w 33"/>
                <a:gd name="T72" fmla="*/ 41 h 4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41">
                  <a:moveTo>
                    <a:pt x="19" y="38"/>
                  </a:moveTo>
                  <a:lnTo>
                    <a:pt x="14" y="34"/>
                  </a:lnTo>
                  <a:lnTo>
                    <a:pt x="10" y="34"/>
                  </a:lnTo>
                  <a:lnTo>
                    <a:pt x="10" y="31"/>
                  </a:lnTo>
                  <a:lnTo>
                    <a:pt x="2" y="29"/>
                  </a:lnTo>
                  <a:lnTo>
                    <a:pt x="2" y="24"/>
                  </a:lnTo>
                  <a:lnTo>
                    <a:pt x="0" y="10"/>
                  </a:lnTo>
                  <a:lnTo>
                    <a:pt x="0" y="5"/>
                  </a:lnTo>
                  <a:lnTo>
                    <a:pt x="2" y="0"/>
                  </a:lnTo>
                  <a:lnTo>
                    <a:pt x="7" y="0"/>
                  </a:lnTo>
                  <a:lnTo>
                    <a:pt x="7" y="5"/>
                  </a:lnTo>
                  <a:lnTo>
                    <a:pt x="19" y="5"/>
                  </a:lnTo>
                  <a:lnTo>
                    <a:pt x="19" y="8"/>
                  </a:lnTo>
                  <a:lnTo>
                    <a:pt x="24" y="8"/>
                  </a:lnTo>
                  <a:lnTo>
                    <a:pt x="26" y="10"/>
                  </a:lnTo>
                  <a:lnTo>
                    <a:pt x="31" y="15"/>
                  </a:lnTo>
                  <a:lnTo>
                    <a:pt x="33" y="24"/>
                  </a:lnTo>
                  <a:lnTo>
                    <a:pt x="33" y="31"/>
                  </a:lnTo>
                  <a:lnTo>
                    <a:pt x="31" y="34"/>
                  </a:lnTo>
                  <a:lnTo>
                    <a:pt x="31" y="38"/>
                  </a:lnTo>
                  <a:lnTo>
                    <a:pt x="24" y="38"/>
                  </a:lnTo>
                  <a:lnTo>
                    <a:pt x="24" y="41"/>
                  </a:lnTo>
                  <a:lnTo>
                    <a:pt x="19" y="3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1" name="Freeform 440">
              <a:extLst>
                <a:ext uri="{FF2B5EF4-FFF2-40B4-BE49-F238E27FC236}">
                  <a16:creationId xmlns:a16="http://schemas.microsoft.com/office/drawing/2014/main" id="{9EF6DF1E-99D9-4A93-A945-EBB9C7881634}"/>
                </a:ext>
              </a:extLst>
            </p:cNvPr>
            <p:cNvSpPr>
              <a:spLocks/>
            </p:cNvSpPr>
            <p:nvPr/>
          </p:nvSpPr>
          <p:spPr bwMode="gray">
            <a:xfrm rot="47099">
              <a:off x="1416292" y="1754935"/>
              <a:ext cx="14250" cy="27016"/>
            </a:xfrm>
            <a:custGeom>
              <a:avLst/>
              <a:gdLst>
                <a:gd name="T0" fmla="*/ 10 w 31"/>
                <a:gd name="T1" fmla="*/ 0 h 57"/>
                <a:gd name="T2" fmla="*/ 10 w 31"/>
                <a:gd name="T3" fmla="*/ 5 h 57"/>
                <a:gd name="T4" fmla="*/ 15 w 31"/>
                <a:gd name="T5" fmla="*/ 5 h 57"/>
                <a:gd name="T6" fmla="*/ 15 w 31"/>
                <a:gd name="T7" fmla="*/ 8 h 57"/>
                <a:gd name="T8" fmla="*/ 17 w 31"/>
                <a:gd name="T9" fmla="*/ 15 h 57"/>
                <a:gd name="T10" fmla="*/ 22 w 31"/>
                <a:gd name="T11" fmla="*/ 15 h 57"/>
                <a:gd name="T12" fmla="*/ 22 w 31"/>
                <a:gd name="T13" fmla="*/ 24 h 57"/>
                <a:gd name="T14" fmla="*/ 24 w 31"/>
                <a:gd name="T15" fmla="*/ 24 h 57"/>
                <a:gd name="T16" fmla="*/ 22 w 31"/>
                <a:gd name="T17" fmla="*/ 29 h 57"/>
                <a:gd name="T18" fmla="*/ 22 w 31"/>
                <a:gd name="T19" fmla="*/ 31 h 57"/>
                <a:gd name="T20" fmla="*/ 26 w 31"/>
                <a:gd name="T21" fmla="*/ 31 h 57"/>
                <a:gd name="T22" fmla="*/ 31 w 31"/>
                <a:gd name="T23" fmla="*/ 38 h 57"/>
                <a:gd name="T24" fmla="*/ 31 w 31"/>
                <a:gd name="T25" fmla="*/ 55 h 57"/>
                <a:gd name="T26" fmla="*/ 26 w 31"/>
                <a:gd name="T27" fmla="*/ 55 h 57"/>
                <a:gd name="T28" fmla="*/ 24 w 31"/>
                <a:gd name="T29" fmla="*/ 57 h 57"/>
                <a:gd name="T30" fmla="*/ 22 w 31"/>
                <a:gd name="T31" fmla="*/ 57 h 57"/>
                <a:gd name="T32" fmla="*/ 22 w 31"/>
                <a:gd name="T33" fmla="*/ 50 h 57"/>
                <a:gd name="T34" fmla="*/ 15 w 31"/>
                <a:gd name="T35" fmla="*/ 50 h 57"/>
                <a:gd name="T36" fmla="*/ 10 w 31"/>
                <a:gd name="T37" fmla="*/ 41 h 57"/>
                <a:gd name="T38" fmla="*/ 7 w 31"/>
                <a:gd name="T39" fmla="*/ 38 h 57"/>
                <a:gd name="T40" fmla="*/ 7 w 31"/>
                <a:gd name="T41" fmla="*/ 15 h 57"/>
                <a:gd name="T42" fmla="*/ 5 w 31"/>
                <a:gd name="T43" fmla="*/ 10 h 57"/>
                <a:gd name="T44" fmla="*/ 5 w 31"/>
                <a:gd name="T45" fmla="*/ 8 h 57"/>
                <a:gd name="T46" fmla="*/ 0 w 31"/>
                <a:gd name="T47" fmla="*/ 5 h 57"/>
                <a:gd name="T48" fmla="*/ 0 w 31"/>
                <a:gd name="T49" fmla="*/ 0 h 57"/>
                <a:gd name="T50" fmla="*/ 10 w 31"/>
                <a:gd name="T51" fmla="*/ 0 h 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1"/>
                <a:gd name="T79" fmla="*/ 0 h 57"/>
                <a:gd name="T80" fmla="*/ 31 w 31"/>
                <a:gd name="T81" fmla="*/ 57 h 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1" h="57">
                  <a:moveTo>
                    <a:pt x="10" y="0"/>
                  </a:moveTo>
                  <a:lnTo>
                    <a:pt x="10" y="5"/>
                  </a:lnTo>
                  <a:lnTo>
                    <a:pt x="15" y="5"/>
                  </a:lnTo>
                  <a:lnTo>
                    <a:pt x="15" y="8"/>
                  </a:lnTo>
                  <a:lnTo>
                    <a:pt x="17" y="15"/>
                  </a:lnTo>
                  <a:lnTo>
                    <a:pt x="22" y="15"/>
                  </a:lnTo>
                  <a:lnTo>
                    <a:pt x="22" y="24"/>
                  </a:lnTo>
                  <a:lnTo>
                    <a:pt x="24" y="24"/>
                  </a:lnTo>
                  <a:lnTo>
                    <a:pt x="22" y="29"/>
                  </a:lnTo>
                  <a:lnTo>
                    <a:pt x="22" y="31"/>
                  </a:lnTo>
                  <a:lnTo>
                    <a:pt x="26" y="31"/>
                  </a:lnTo>
                  <a:lnTo>
                    <a:pt x="31" y="38"/>
                  </a:lnTo>
                  <a:lnTo>
                    <a:pt x="31" y="55"/>
                  </a:lnTo>
                  <a:lnTo>
                    <a:pt x="26" y="55"/>
                  </a:lnTo>
                  <a:lnTo>
                    <a:pt x="24" y="57"/>
                  </a:lnTo>
                  <a:lnTo>
                    <a:pt x="22" y="57"/>
                  </a:lnTo>
                  <a:lnTo>
                    <a:pt x="22" y="50"/>
                  </a:lnTo>
                  <a:lnTo>
                    <a:pt x="15" y="50"/>
                  </a:lnTo>
                  <a:lnTo>
                    <a:pt x="10" y="41"/>
                  </a:lnTo>
                  <a:lnTo>
                    <a:pt x="7" y="38"/>
                  </a:lnTo>
                  <a:lnTo>
                    <a:pt x="7" y="15"/>
                  </a:lnTo>
                  <a:lnTo>
                    <a:pt x="5" y="10"/>
                  </a:lnTo>
                  <a:lnTo>
                    <a:pt x="5" y="8"/>
                  </a:lnTo>
                  <a:lnTo>
                    <a:pt x="0" y="5"/>
                  </a:lnTo>
                  <a:lnTo>
                    <a:pt x="0" y="0"/>
                  </a:lnTo>
                  <a:lnTo>
                    <a:pt x="1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2" name="Freeform 441">
              <a:extLst>
                <a:ext uri="{FF2B5EF4-FFF2-40B4-BE49-F238E27FC236}">
                  <a16:creationId xmlns:a16="http://schemas.microsoft.com/office/drawing/2014/main" id="{A9C07C4F-649D-49F1-A7F3-AAC5CFA136E3}"/>
                </a:ext>
              </a:extLst>
            </p:cNvPr>
            <p:cNvSpPr>
              <a:spLocks/>
            </p:cNvSpPr>
            <p:nvPr/>
          </p:nvSpPr>
          <p:spPr bwMode="gray">
            <a:xfrm rot="47099">
              <a:off x="1507224" y="1755319"/>
              <a:ext cx="29390" cy="14472"/>
            </a:xfrm>
            <a:custGeom>
              <a:avLst/>
              <a:gdLst>
                <a:gd name="T0" fmla="*/ 64 w 64"/>
                <a:gd name="T1" fmla="*/ 7 h 31"/>
                <a:gd name="T2" fmla="*/ 64 w 64"/>
                <a:gd name="T3" fmla="*/ 10 h 31"/>
                <a:gd name="T4" fmla="*/ 62 w 64"/>
                <a:gd name="T5" fmla="*/ 10 h 31"/>
                <a:gd name="T6" fmla="*/ 62 w 64"/>
                <a:gd name="T7" fmla="*/ 12 h 31"/>
                <a:gd name="T8" fmla="*/ 57 w 64"/>
                <a:gd name="T9" fmla="*/ 19 h 31"/>
                <a:gd name="T10" fmla="*/ 57 w 64"/>
                <a:gd name="T11" fmla="*/ 24 h 31"/>
                <a:gd name="T12" fmla="*/ 62 w 64"/>
                <a:gd name="T13" fmla="*/ 24 h 31"/>
                <a:gd name="T14" fmla="*/ 62 w 64"/>
                <a:gd name="T15" fmla="*/ 26 h 31"/>
                <a:gd name="T16" fmla="*/ 57 w 64"/>
                <a:gd name="T17" fmla="*/ 31 h 31"/>
                <a:gd name="T18" fmla="*/ 45 w 64"/>
                <a:gd name="T19" fmla="*/ 31 h 31"/>
                <a:gd name="T20" fmla="*/ 45 w 64"/>
                <a:gd name="T21" fmla="*/ 26 h 31"/>
                <a:gd name="T22" fmla="*/ 33 w 64"/>
                <a:gd name="T23" fmla="*/ 26 h 31"/>
                <a:gd name="T24" fmla="*/ 26 w 64"/>
                <a:gd name="T25" fmla="*/ 31 h 31"/>
                <a:gd name="T26" fmla="*/ 10 w 64"/>
                <a:gd name="T27" fmla="*/ 31 h 31"/>
                <a:gd name="T28" fmla="*/ 7 w 64"/>
                <a:gd name="T29" fmla="*/ 26 h 31"/>
                <a:gd name="T30" fmla="*/ 5 w 64"/>
                <a:gd name="T31" fmla="*/ 19 h 31"/>
                <a:gd name="T32" fmla="*/ 0 w 64"/>
                <a:gd name="T33" fmla="*/ 19 h 31"/>
                <a:gd name="T34" fmla="*/ 5 w 64"/>
                <a:gd name="T35" fmla="*/ 10 h 31"/>
                <a:gd name="T36" fmla="*/ 7 w 64"/>
                <a:gd name="T37" fmla="*/ 7 h 31"/>
                <a:gd name="T38" fmla="*/ 10 w 64"/>
                <a:gd name="T39" fmla="*/ 7 h 31"/>
                <a:gd name="T40" fmla="*/ 17 w 64"/>
                <a:gd name="T41" fmla="*/ 0 h 31"/>
                <a:gd name="T42" fmla="*/ 17 w 64"/>
                <a:gd name="T43" fmla="*/ 2 h 31"/>
                <a:gd name="T44" fmla="*/ 21 w 64"/>
                <a:gd name="T45" fmla="*/ 7 h 31"/>
                <a:gd name="T46" fmla="*/ 24 w 64"/>
                <a:gd name="T47" fmla="*/ 2 h 31"/>
                <a:gd name="T48" fmla="*/ 26 w 64"/>
                <a:gd name="T49" fmla="*/ 2 h 31"/>
                <a:gd name="T50" fmla="*/ 31 w 64"/>
                <a:gd name="T51" fmla="*/ 0 h 31"/>
                <a:gd name="T52" fmla="*/ 33 w 64"/>
                <a:gd name="T53" fmla="*/ 0 h 31"/>
                <a:gd name="T54" fmla="*/ 38 w 64"/>
                <a:gd name="T55" fmla="*/ 2 h 31"/>
                <a:gd name="T56" fmla="*/ 50 w 64"/>
                <a:gd name="T57" fmla="*/ 2 h 31"/>
                <a:gd name="T58" fmla="*/ 54 w 64"/>
                <a:gd name="T59" fmla="*/ 0 h 31"/>
                <a:gd name="T60" fmla="*/ 62 w 64"/>
                <a:gd name="T61" fmla="*/ 2 h 31"/>
                <a:gd name="T62" fmla="*/ 64 w 64"/>
                <a:gd name="T63" fmla="*/ 7 h 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4"/>
                <a:gd name="T97" fmla="*/ 0 h 31"/>
                <a:gd name="T98" fmla="*/ 64 w 64"/>
                <a:gd name="T99" fmla="*/ 31 h 3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4" h="31">
                  <a:moveTo>
                    <a:pt x="64" y="7"/>
                  </a:moveTo>
                  <a:lnTo>
                    <a:pt x="64" y="10"/>
                  </a:lnTo>
                  <a:lnTo>
                    <a:pt x="62" y="10"/>
                  </a:lnTo>
                  <a:lnTo>
                    <a:pt x="62" y="12"/>
                  </a:lnTo>
                  <a:lnTo>
                    <a:pt x="57" y="19"/>
                  </a:lnTo>
                  <a:lnTo>
                    <a:pt x="57" y="24"/>
                  </a:lnTo>
                  <a:lnTo>
                    <a:pt x="62" y="24"/>
                  </a:lnTo>
                  <a:lnTo>
                    <a:pt x="62" y="26"/>
                  </a:lnTo>
                  <a:lnTo>
                    <a:pt x="57" y="31"/>
                  </a:lnTo>
                  <a:lnTo>
                    <a:pt x="45" y="31"/>
                  </a:lnTo>
                  <a:lnTo>
                    <a:pt x="45" y="26"/>
                  </a:lnTo>
                  <a:lnTo>
                    <a:pt x="33" y="26"/>
                  </a:lnTo>
                  <a:lnTo>
                    <a:pt x="26" y="31"/>
                  </a:lnTo>
                  <a:lnTo>
                    <a:pt x="10" y="31"/>
                  </a:lnTo>
                  <a:lnTo>
                    <a:pt x="7" y="26"/>
                  </a:lnTo>
                  <a:lnTo>
                    <a:pt x="5" y="19"/>
                  </a:lnTo>
                  <a:lnTo>
                    <a:pt x="0" y="19"/>
                  </a:lnTo>
                  <a:lnTo>
                    <a:pt x="5" y="10"/>
                  </a:lnTo>
                  <a:lnTo>
                    <a:pt x="7" y="7"/>
                  </a:lnTo>
                  <a:lnTo>
                    <a:pt x="10" y="7"/>
                  </a:lnTo>
                  <a:lnTo>
                    <a:pt x="17" y="0"/>
                  </a:lnTo>
                  <a:lnTo>
                    <a:pt x="17" y="2"/>
                  </a:lnTo>
                  <a:lnTo>
                    <a:pt x="21" y="7"/>
                  </a:lnTo>
                  <a:lnTo>
                    <a:pt x="24" y="2"/>
                  </a:lnTo>
                  <a:lnTo>
                    <a:pt x="26" y="2"/>
                  </a:lnTo>
                  <a:lnTo>
                    <a:pt x="31" y="0"/>
                  </a:lnTo>
                  <a:lnTo>
                    <a:pt x="33" y="0"/>
                  </a:lnTo>
                  <a:lnTo>
                    <a:pt x="38" y="2"/>
                  </a:lnTo>
                  <a:lnTo>
                    <a:pt x="50" y="2"/>
                  </a:lnTo>
                  <a:lnTo>
                    <a:pt x="54" y="0"/>
                  </a:lnTo>
                  <a:lnTo>
                    <a:pt x="62" y="2"/>
                  </a:lnTo>
                  <a:lnTo>
                    <a:pt x="6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3" name="Freeform 442">
              <a:extLst>
                <a:ext uri="{FF2B5EF4-FFF2-40B4-BE49-F238E27FC236}">
                  <a16:creationId xmlns:a16="http://schemas.microsoft.com/office/drawing/2014/main" id="{593BA623-5356-4C22-9EE1-B9313935E026}"/>
                </a:ext>
              </a:extLst>
            </p:cNvPr>
            <p:cNvSpPr>
              <a:spLocks/>
            </p:cNvSpPr>
            <p:nvPr/>
          </p:nvSpPr>
          <p:spPr bwMode="gray">
            <a:xfrm rot="47099">
              <a:off x="1670709" y="1724563"/>
              <a:ext cx="1782" cy="4824"/>
            </a:xfrm>
            <a:custGeom>
              <a:avLst/>
              <a:gdLst>
                <a:gd name="T0" fmla="*/ 5 w 5"/>
                <a:gd name="T1" fmla="*/ 0 h 10"/>
                <a:gd name="T2" fmla="*/ 5 w 5"/>
                <a:gd name="T3" fmla="*/ 7 h 10"/>
                <a:gd name="T4" fmla="*/ 2 w 5"/>
                <a:gd name="T5" fmla="*/ 10 h 10"/>
                <a:gd name="T6" fmla="*/ 2 w 5"/>
                <a:gd name="T7" fmla="*/ 7 h 10"/>
                <a:gd name="T8" fmla="*/ 0 w 5"/>
                <a:gd name="T9" fmla="*/ 5 h 10"/>
                <a:gd name="T10" fmla="*/ 2 w 5"/>
                <a:gd name="T11" fmla="*/ 5 h 10"/>
                <a:gd name="T12" fmla="*/ 2 w 5"/>
                <a:gd name="T13" fmla="*/ 0 h 10"/>
                <a:gd name="T14" fmla="*/ 5 w 5"/>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0"/>
                <a:gd name="T26" fmla="*/ 5 w 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0">
                  <a:moveTo>
                    <a:pt x="5" y="0"/>
                  </a:moveTo>
                  <a:lnTo>
                    <a:pt x="5" y="7"/>
                  </a:lnTo>
                  <a:lnTo>
                    <a:pt x="2" y="10"/>
                  </a:lnTo>
                  <a:lnTo>
                    <a:pt x="2" y="7"/>
                  </a:lnTo>
                  <a:lnTo>
                    <a:pt x="0" y="5"/>
                  </a:lnTo>
                  <a:lnTo>
                    <a:pt x="2" y="5"/>
                  </a:lnTo>
                  <a:lnTo>
                    <a:pt x="2"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4" name="Freeform 443">
              <a:extLst>
                <a:ext uri="{FF2B5EF4-FFF2-40B4-BE49-F238E27FC236}">
                  <a16:creationId xmlns:a16="http://schemas.microsoft.com/office/drawing/2014/main" id="{2E4CA259-BB6E-42FB-85AD-237E870D28C1}"/>
                </a:ext>
              </a:extLst>
            </p:cNvPr>
            <p:cNvSpPr>
              <a:spLocks/>
            </p:cNvSpPr>
            <p:nvPr/>
          </p:nvSpPr>
          <p:spPr bwMode="gray">
            <a:xfrm rot="47099">
              <a:off x="1449420" y="1751535"/>
              <a:ext cx="15141" cy="8683"/>
            </a:xfrm>
            <a:custGeom>
              <a:avLst/>
              <a:gdLst>
                <a:gd name="T0" fmla="*/ 19 w 33"/>
                <a:gd name="T1" fmla="*/ 2 h 19"/>
                <a:gd name="T2" fmla="*/ 24 w 33"/>
                <a:gd name="T3" fmla="*/ 7 h 19"/>
                <a:gd name="T4" fmla="*/ 26 w 33"/>
                <a:gd name="T5" fmla="*/ 7 h 19"/>
                <a:gd name="T6" fmla="*/ 31 w 33"/>
                <a:gd name="T7" fmla="*/ 9 h 19"/>
                <a:gd name="T8" fmla="*/ 33 w 33"/>
                <a:gd name="T9" fmla="*/ 14 h 19"/>
                <a:gd name="T10" fmla="*/ 33 w 33"/>
                <a:gd name="T11" fmla="*/ 17 h 19"/>
                <a:gd name="T12" fmla="*/ 19 w 33"/>
                <a:gd name="T13" fmla="*/ 17 h 19"/>
                <a:gd name="T14" fmla="*/ 19 w 33"/>
                <a:gd name="T15" fmla="*/ 19 h 19"/>
                <a:gd name="T16" fmla="*/ 10 w 33"/>
                <a:gd name="T17" fmla="*/ 19 h 19"/>
                <a:gd name="T18" fmla="*/ 3 w 33"/>
                <a:gd name="T19" fmla="*/ 17 h 19"/>
                <a:gd name="T20" fmla="*/ 3 w 33"/>
                <a:gd name="T21" fmla="*/ 9 h 19"/>
                <a:gd name="T22" fmla="*/ 0 w 33"/>
                <a:gd name="T23" fmla="*/ 7 h 19"/>
                <a:gd name="T24" fmla="*/ 3 w 33"/>
                <a:gd name="T25" fmla="*/ 7 h 19"/>
                <a:gd name="T26" fmla="*/ 3 w 33"/>
                <a:gd name="T27" fmla="*/ 2 h 19"/>
                <a:gd name="T28" fmla="*/ 17 w 33"/>
                <a:gd name="T29" fmla="*/ 2 h 19"/>
                <a:gd name="T30" fmla="*/ 17 w 33"/>
                <a:gd name="T31" fmla="*/ 0 h 19"/>
                <a:gd name="T32" fmla="*/ 19 w 33"/>
                <a:gd name="T33" fmla="*/ 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19"/>
                <a:gd name="T53" fmla="*/ 33 w 3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19">
                  <a:moveTo>
                    <a:pt x="19" y="2"/>
                  </a:moveTo>
                  <a:lnTo>
                    <a:pt x="24" y="7"/>
                  </a:lnTo>
                  <a:lnTo>
                    <a:pt x="26" y="7"/>
                  </a:lnTo>
                  <a:lnTo>
                    <a:pt x="31" y="9"/>
                  </a:lnTo>
                  <a:lnTo>
                    <a:pt x="33" y="14"/>
                  </a:lnTo>
                  <a:lnTo>
                    <a:pt x="33" y="17"/>
                  </a:lnTo>
                  <a:lnTo>
                    <a:pt x="19" y="17"/>
                  </a:lnTo>
                  <a:lnTo>
                    <a:pt x="19" y="19"/>
                  </a:lnTo>
                  <a:lnTo>
                    <a:pt x="10" y="19"/>
                  </a:lnTo>
                  <a:lnTo>
                    <a:pt x="3" y="17"/>
                  </a:lnTo>
                  <a:lnTo>
                    <a:pt x="3" y="9"/>
                  </a:lnTo>
                  <a:lnTo>
                    <a:pt x="0" y="7"/>
                  </a:lnTo>
                  <a:lnTo>
                    <a:pt x="3" y="7"/>
                  </a:lnTo>
                  <a:lnTo>
                    <a:pt x="3" y="2"/>
                  </a:lnTo>
                  <a:lnTo>
                    <a:pt x="17" y="2"/>
                  </a:lnTo>
                  <a:lnTo>
                    <a:pt x="17" y="0"/>
                  </a:lnTo>
                  <a:lnTo>
                    <a:pt x="19"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5" name="Freeform 444">
              <a:extLst>
                <a:ext uri="{FF2B5EF4-FFF2-40B4-BE49-F238E27FC236}">
                  <a16:creationId xmlns:a16="http://schemas.microsoft.com/office/drawing/2014/main" id="{714FC3BB-B227-4C20-A13B-4446ECB09743}"/>
                </a:ext>
              </a:extLst>
            </p:cNvPr>
            <p:cNvSpPr>
              <a:spLocks/>
            </p:cNvSpPr>
            <p:nvPr/>
          </p:nvSpPr>
          <p:spPr bwMode="gray">
            <a:xfrm rot="47099">
              <a:off x="1382829" y="1736075"/>
              <a:ext cx="4453" cy="8683"/>
            </a:xfrm>
            <a:custGeom>
              <a:avLst/>
              <a:gdLst>
                <a:gd name="T0" fmla="*/ 3 w 10"/>
                <a:gd name="T1" fmla="*/ 10 h 17"/>
                <a:gd name="T2" fmla="*/ 3 w 10"/>
                <a:gd name="T3" fmla="*/ 0 h 17"/>
                <a:gd name="T4" fmla="*/ 7 w 10"/>
                <a:gd name="T5" fmla="*/ 5 h 17"/>
                <a:gd name="T6" fmla="*/ 10 w 10"/>
                <a:gd name="T7" fmla="*/ 5 h 17"/>
                <a:gd name="T8" fmla="*/ 10 w 10"/>
                <a:gd name="T9" fmla="*/ 7 h 17"/>
                <a:gd name="T10" fmla="*/ 7 w 10"/>
                <a:gd name="T11" fmla="*/ 14 h 17"/>
                <a:gd name="T12" fmla="*/ 3 w 10"/>
                <a:gd name="T13" fmla="*/ 17 h 17"/>
                <a:gd name="T14" fmla="*/ 0 w 10"/>
                <a:gd name="T15" fmla="*/ 17 h 17"/>
                <a:gd name="T16" fmla="*/ 3 w 10"/>
                <a:gd name="T17" fmla="*/ 1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7"/>
                <a:gd name="T29" fmla="*/ 10 w 10"/>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7">
                  <a:moveTo>
                    <a:pt x="3" y="10"/>
                  </a:moveTo>
                  <a:lnTo>
                    <a:pt x="3" y="0"/>
                  </a:lnTo>
                  <a:lnTo>
                    <a:pt x="7" y="5"/>
                  </a:lnTo>
                  <a:lnTo>
                    <a:pt x="10" y="5"/>
                  </a:lnTo>
                  <a:lnTo>
                    <a:pt x="10" y="7"/>
                  </a:lnTo>
                  <a:lnTo>
                    <a:pt x="7" y="14"/>
                  </a:lnTo>
                  <a:lnTo>
                    <a:pt x="3" y="17"/>
                  </a:lnTo>
                  <a:lnTo>
                    <a:pt x="0" y="17"/>
                  </a:lnTo>
                  <a:lnTo>
                    <a:pt x="3"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6" name="Rectangle 445">
              <a:extLst>
                <a:ext uri="{FF2B5EF4-FFF2-40B4-BE49-F238E27FC236}">
                  <a16:creationId xmlns:a16="http://schemas.microsoft.com/office/drawing/2014/main" id="{1FA583F9-CF36-41D5-9946-EFEEC65E6D87}"/>
                </a:ext>
              </a:extLst>
            </p:cNvPr>
            <p:cNvSpPr>
              <a:spLocks noChangeArrowheads="1"/>
            </p:cNvSpPr>
            <p:nvPr/>
          </p:nvSpPr>
          <p:spPr bwMode="gray">
            <a:xfrm rot="47099">
              <a:off x="1457647" y="1739006"/>
              <a:ext cx="890" cy="2894"/>
            </a:xfrm>
            <a:prstGeom prst="rect">
              <a:avLst/>
            </a:prstGeom>
            <a:grpFill/>
            <a:ln w="3175" algn="ctr">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7" name="Freeform 446">
              <a:extLst>
                <a:ext uri="{FF2B5EF4-FFF2-40B4-BE49-F238E27FC236}">
                  <a16:creationId xmlns:a16="http://schemas.microsoft.com/office/drawing/2014/main" id="{981CB0A6-0CE0-44E9-99D7-73000D000D7F}"/>
                </a:ext>
              </a:extLst>
            </p:cNvPr>
            <p:cNvSpPr>
              <a:spLocks/>
            </p:cNvSpPr>
            <p:nvPr/>
          </p:nvSpPr>
          <p:spPr bwMode="gray">
            <a:xfrm rot="47099">
              <a:off x="1445179" y="1736929"/>
              <a:ext cx="4453" cy="6754"/>
            </a:xfrm>
            <a:custGeom>
              <a:avLst/>
              <a:gdLst>
                <a:gd name="T0" fmla="*/ 5 w 9"/>
                <a:gd name="T1" fmla="*/ 0 h 14"/>
                <a:gd name="T2" fmla="*/ 9 w 9"/>
                <a:gd name="T3" fmla="*/ 5 h 14"/>
                <a:gd name="T4" fmla="*/ 5 w 9"/>
                <a:gd name="T5" fmla="*/ 7 h 14"/>
                <a:gd name="T6" fmla="*/ 2 w 9"/>
                <a:gd name="T7" fmla="*/ 10 h 14"/>
                <a:gd name="T8" fmla="*/ 2 w 9"/>
                <a:gd name="T9" fmla="*/ 14 h 14"/>
                <a:gd name="T10" fmla="*/ 0 w 9"/>
                <a:gd name="T11" fmla="*/ 14 h 14"/>
                <a:gd name="T12" fmla="*/ 0 w 9"/>
                <a:gd name="T13" fmla="*/ 5 h 14"/>
                <a:gd name="T14" fmla="*/ 2 w 9"/>
                <a:gd name="T15" fmla="*/ 5 h 14"/>
                <a:gd name="T16" fmla="*/ 2 w 9"/>
                <a:gd name="T17" fmla="*/ 0 h 14"/>
                <a:gd name="T18" fmla="*/ 5 w 9"/>
                <a:gd name="T19" fmla="*/ 0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4"/>
                <a:gd name="T32" fmla="*/ 9 w 9"/>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4">
                  <a:moveTo>
                    <a:pt x="5" y="0"/>
                  </a:moveTo>
                  <a:lnTo>
                    <a:pt x="9" y="5"/>
                  </a:lnTo>
                  <a:lnTo>
                    <a:pt x="5" y="7"/>
                  </a:lnTo>
                  <a:lnTo>
                    <a:pt x="2" y="10"/>
                  </a:lnTo>
                  <a:lnTo>
                    <a:pt x="2" y="14"/>
                  </a:lnTo>
                  <a:lnTo>
                    <a:pt x="0" y="14"/>
                  </a:lnTo>
                  <a:lnTo>
                    <a:pt x="0" y="5"/>
                  </a:lnTo>
                  <a:lnTo>
                    <a:pt x="2" y="5"/>
                  </a:lnTo>
                  <a:lnTo>
                    <a:pt x="2"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8" name="Freeform 447">
              <a:extLst>
                <a:ext uri="{FF2B5EF4-FFF2-40B4-BE49-F238E27FC236}">
                  <a16:creationId xmlns:a16="http://schemas.microsoft.com/office/drawing/2014/main" id="{D920E9A9-2CAB-4215-BB53-6258BD15D0AD}"/>
                </a:ext>
              </a:extLst>
            </p:cNvPr>
            <p:cNvSpPr>
              <a:spLocks/>
            </p:cNvSpPr>
            <p:nvPr/>
          </p:nvSpPr>
          <p:spPr bwMode="gray">
            <a:xfrm rot="47099">
              <a:off x="1519139" y="1735054"/>
              <a:ext cx="5343" cy="5789"/>
            </a:xfrm>
            <a:custGeom>
              <a:avLst/>
              <a:gdLst>
                <a:gd name="T0" fmla="*/ 7 w 12"/>
                <a:gd name="T1" fmla="*/ 5 h 14"/>
                <a:gd name="T2" fmla="*/ 7 w 12"/>
                <a:gd name="T3" fmla="*/ 7 h 14"/>
                <a:gd name="T4" fmla="*/ 12 w 12"/>
                <a:gd name="T5" fmla="*/ 7 h 14"/>
                <a:gd name="T6" fmla="*/ 12 w 12"/>
                <a:gd name="T7" fmla="*/ 14 h 14"/>
                <a:gd name="T8" fmla="*/ 7 w 12"/>
                <a:gd name="T9" fmla="*/ 14 h 14"/>
                <a:gd name="T10" fmla="*/ 7 w 12"/>
                <a:gd name="T11" fmla="*/ 12 h 14"/>
                <a:gd name="T12" fmla="*/ 5 w 12"/>
                <a:gd name="T13" fmla="*/ 7 h 14"/>
                <a:gd name="T14" fmla="*/ 0 w 12"/>
                <a:gd name="T15" fmla="*/ 5 h 14"/>
                <a:gd name="T16" fmla="*/ 5 w 12"/>
                <a:gd name="T17" fmla="*/ 5 h 14"/>
                <a:gd name="T18" fmla="*/ 5 w 12"/>
                <a:gd name="T19" fmla="*/ 0 h 14"/>
                <a:gd name="T20" fmla="*/ 5 w 12"/>
                <a:gd name="T21" fmla="*/ 5 h 14"/>
                <a:gd name="T22" fmla="*/ 7 w 12"/>
                <a:gd name="T23" fmla="*/ 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4"/>
                <a:gd name="T38" fmla="*/ 12 w 1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4">
                  <a:moveTo>
                    <a:pt x="7" y="5"/>
                  </a:moveTo>
                  <a:lnTo>
                    <a:pt x="7" y="7"/>
                  </a:lnTo>
                  <a:lnTo>
                    <a:pt x="12" y="7"/>
                  </a:lnTo>
                  <a:lnTo>
                    <a:pt x="12" y="14"/>
                  </a:lnTo>
                  <a:lnTo>
                    <a:pt x="7" y="14"/>
                  </a:lnTo>
                  <a:lnTo>
                    <a:pt x="7" y="12"/>
                  </a:lnTo>
                  <a:lnTo>
                    <a:pt x="5" y="7"/>
                  </a:lnTo>
                  <a:lnTo>
                    <a:pt x="0" y="5"/>
                  </a:lnTo>
                  <a:lnTo>
                    <a:pt x="5" y="5"/>
                  </a:lnTo>
                  <a:lnTo>
                    <a:pt x="5" y="0"/>
                  </a:lnTo>
                  <a:lnTo>
                    <a:pt x="5" y="5"/>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59" name="Freeform 448">
              <a:extLst>
                <a:ext uri="{FF2B5EF4-FFF2-40B4-BE49-F238E27FC236}">
                  <a16:creationId xmlns:a16="http://schemas.microsoft.com/office/drawing/2014/main" id="{014343D9-6E70-4418-84F6-74E118727337}"/>
                </a:ext>
              </a:extLst>
            </p:cNvPr>
            <p:cNvSpPr>
              <a:spLocks/>
            </p:cNvSpPr>
            <p:nvPr/>
          </p:nvSpPr>
          <p:spPr bwMode="gray">
            <a:xfrm rot="47099">
              <a:off x="1575382" y="1723256"/>
              <a:ext cx="1782" cy="10613"/>
            </a:xfrm>
            <a:custGeom>
              <a:avLst/>
              <a:gdLst>
                <a:gd name="T0" fmla="*/ 4 w 4"/>
                <a:gd name="T1" fmla="*/ 0 h 21"/>
                <a:gd name="T2" fmla="*/ 4 w 4"/>
                <a:gd name="T3" fmla="*/ 17 h 21"/>
                <a:gd name="T4" fmla="*/ 0 w 4"/>
                <a:gd name="T5" fmla="*/ 21 h 21"/>
                <a:gd name="T6" fmla="*/ 0 w 4"/>
                <a:gd name="T7" fmla="*/ 0 h 21"/>
                <a:gd name="T8" fmla="*/ 4 w 4"/>
                <a:gd name="T9" fmla="*/ 0 h 21"/>
                <a:gd name="T10" fmla="*/ 0 60000 65536"/>
                <a:gd name="T11" fmla="*/ 0 60000 65536"/>
                <a:gd name="T12" fmla="*/ 0 60000 65536"/>
                <a:gd name="T13" fmla="*/ 0 60000 65536"/>
                <a:gd name="T14" fmla="*/ 0 60000 65536"/>
                <a:gd name="T15" fmla="*/ 0 w 4"/>
                <a:gd name="T16" fmla="*/ 0 h 21"/>
                <a:gd name="T17" fmla="*/ 4 w 4"/>
                <a:gd name="T18" fmla="*/ 21 h 21"/>
              </a:gdLst>
              <a:ahLst/>
              <a:cxnLst>
                <a:cxn ang="T10">
                  <a:pos x="T0" y="T1"/>
                </a:cxn>
                <a:cxn ang="T11">
                  <a:pos x="T2" y="T3"/>
                </a:cxn>
                <a:cxn ang="T12">
                  <a:pos x="T4" y="T5"/>
                </a:cxn>
                <a:cxn ang="T13">
                  <a:pos x="T6" y="T7"/>
                </a:cxn>
                <a:cxn ang="T14">
                  <a:pos x="T8" y="T9"/>
                </a:cxn>
              </a:cxnLst>
              <a:rect l="T15" t="T16" r="T17" b="T18"/>
              <a:pathLst>
                <a:path w="4" h="21">
                  <a:moveTo>
                    <a:pt x="4" y="0"/>
                  </a:moveTo>
                  <a:lnTo>
                    <a:pt x="4" y="17"/>
                  </a:lnTo>
                  <a:lnTo>
                    <a:pt x="0" y="21"/>
                  </a:lnTo>
                  <a:lnTo>
                    <a:pt x="0" y="0"/>
                  </a:lnTo>
                  <a:lnTo>
                    <a:pt x="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0" name="Freeform 449">
              <a:extLst>
                <a:ext uri="{FF2B5EF4-FFF2-40B4-BE49-F238E27FC236}">
                  <a16:creationId xmlns:a16="http://schemas.microsoft.com/office/drawing/2014/main" id="{47C58E5F-3F80-4A4F-98D9-D28413C53A2D}"/>
                </a:ext>
              </a:extLst>
            </p:cNvPr>
            <p:cNvSpPr>
              <a:spLocks/>
            </p:cNvSpPr>
            <p:nvPr/>
          </p:nvSpPr>
          <p:spPr bwMode="gray">
            <a:xfrm rot="47099">
              <a:off x="1386636" y="1713959"/>
              <a:ext cx="8015" cy="17367"/>
            </a:xfrm>
            <a:custGeom>
              <a:avLst/>
              <a:gdLst>
                <a:gd name="T0" fmla="*/ 3 w 17"/>
                <a:gd name="T1" fmla="*/ 14 h 35"/>
                <a:gd name="T2" fmla="*/ 7 w 17"/>
                <a:gd name="T3" fmla="*/ 0 h 35"/>
                <a:gd name="T4" fmla="*/ 10 w 17"/>
                <a:gd name="T5" fmla="*/ 7 h 35"/>
                <a:gd name="T6" fmla="*/ 12 w 17"/>
                <a:gd name="T7" fmla="*/ 7 h 35"/>
                <a:gd name="T8" fmla="*/ 12 w 17"/>
                <a:gd name="T9" fmla="*/ 12 h 35"/>
                <a:gd name="T10" fmla="*/ 17 w 17"/>
                <a:gd name="T11" fmla="*/ 14 h 35"/>
                <a:gd name="T12" fmla="*/ 17 w 17"/>
                <a:gd name="T13" fmla="*/ 21 h 35"/>
                <a:gd name="T14" fmla="*/ 12 w 17"/>
                <a:gd name="T15" fmla="*/ 28 h 35"/>
                <a:gd name="T16" fmla="*/ 10 w 17"/>
                <a:gd name="T17" fmla="*/ 35 h 35"/>
                <a:gd name="T18" fmla="*/ 3 w 17"/>
                <a:gd name="T19" fmla="*/ 35 h 35"/>
                <a:gd name="T20" fmla="*/ 3 w 17"/>
                <a:gd name="T21" fmla="*/ 31 h 35"/>
                <a:gd name="T22" fmla="*/ 0 w 17"/>
                <a:gd name="T23" fmla="*/ 31 h 35"/>
                <a:gd name="T24" fmla="*/ 3 w 17"/>
                <a:gd name="T25" fmla="*/ 14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5"/>
                <a:gd name="T41" fmla="*/ 17 w 17"/>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5">
                  <a:moveTo>
                    <a:pt x="3" y="14"/>
                  </a:moveTo>
                  <a:lnTo>
                    <a:pt x="7" y="0"/>
                  </a:lnTo>
                  <a:lnTo>
                    <a:pt x="10" y="7"/>
                  </a:lnTo>
                  <a:lnTo>
                    <a:pt x="12" y="7"/>
                  </a:lnTo>
                  <a:lnTo>
                    <a:pt x="12" y="12"/>
                  </a:lnTo>
                  <a:lnTo>
                    <a:pt x="17" y="14"/>
                  </a:lnTo>
                  <a:lnTo>
                    <a:pt x="17" y="21"/>
                  </a:lnTo>
                  <a:lnTo>
                    <a:pt x="12" y="28"/>
                  </a:lnTo>
                  <a:lnTo>
                    <a:pt x="10" y="35"/>
                  </a:lnTo>
                  <a:lnTo>
                    <a:pt x="3" y="35"/>
                  </a:lnTo>
                  <a:lnTo>
                    <a:pt x="3" y="31"/>
                  </a:lnTo>
                  <a:lnTo>
                    <a:pt x="0" y="31"/>
                  </a:lnTo>
                  <a:lnTo>
                    <a:pt x="3" y="1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1" name="Freeform 450">
              <a:extLst>
                <a:ext uri="{FF2B5EF4-FFF2-40B4-BE49-F238E27FC236}">
                  <a16:creationId xmlns:a16="http://schemas.microsoft.com/office/drawing/2014/main" id="{59808D09-116D-44B1-AF90-34EE3E6AA6A5}"/>
                </a:ext>
              </a:extLst>
            </p:cNvPr>
            <p:cNvSpPr>
              <a:spLocks/>
            </p:cNvSpPr>
            <p:nvPr/>
          </p:nvSpPr>
          <p:spPr bwMode="gray">
            <a:xfrm rot="47099">
              <a:off x="1681995" y="1681314"/>
              <a:ext cx="4453" cy="3860"/>
            </a:xfrm>
            <a:custGeom>
              <a:avLst/>
              <a:gdLst>
                <a:gd name="T0" fmla="*/ 9 w 9"/>
                <a:gd name="T1" fmla="*/ 7 h 7"/>
                <a:gd name="T2" fmla="*/ 2 w 9"/>
                <a:gd name="T3" fmla="*/ 7 h 7"/>
                <a:gd name="T4" fmla="*/ 0 w 9"/>
                <a:gd name="T5" fmla="*/ 4 h 7"/>
                <a:gd name="T6" fmla="*/ 2 w 9"/>
                <a:gd name="T7" fmla="*/ 0 h 7"/>
                <a:gd name="T8" fmla="*/ 4 w 9"/>
                <a:gd name="T9" fmla="*/ 4 h 7"/>
                <a:gd name="T10" fmla="*/ 9 w 9"/>
                <a:gd name="T11" fmla="*/ 4 h 7"/>
                <a:gd name="T12" fmla="*/ 9 w 9"/>
                <a:gd name="T13" fmla="*/ 7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9" y="7"/>
                  </a:moveTo>
                  <a:lnTo>
                    <a:pt x="2" y="7"/>
                  </a:lnTo>
                  <a:lnTo>
                    <a:pt x="0" y="4"/>
                  </a:lnTo>
                  <a:lnTo>
                    <a:pt x="2" y="0"/>
                  </a:lnTo>
                  <a:lnTo>
                    <a:pt x="4" y="4"/>
                  </a:lnTo>
                  <a:lnTo>
                    <a:pt x="9" y="4"/>
                  </a:lnTo>
                  <a:lnTo>
                    <a:pt x="9"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2" name="Freeform 451">
              <a:extLst>
                <a:ext uri="{FF2B5EF4-FFF2-40B4-BE49-F238E27FC236}">
                  <a16:creationId xmlns:a16="http://schemas.microsoft.com/office/drawing/2014/main" id="{73FC2629-8DFC-4DC8-86BB-29A4136D09FB}"/>
                </a:ext>
              </a:extLst>
            </p:cNvPr>
            <p:cNvSpPr>
              <a:spLocks/>
            </p:cNvSpPr>
            <p:nvPr/>
          </p:nvSpPr>
          <p:spPr bwMode="gray">
            <a:xfrm rot="47099">
              <a:off x="1487996" y="1715508"/>
              <a:ext cx="31172" cy="40523"/>
            </a:xfrm>
            <a:custGeom>
              <a:avLst/>
              <a:gdLst>
                <a:gd name="T0" fmla="*/ 26 w 68"/>
                <a:gd name="T1" fmla="*/ 87 h 87"/>
                <a:gd name="T2" fmla="*/ 28 w 68"/>
                <a:gd name="T3" fmla="*/ 78 h 87"/>
                <a:gd name="T4" fmla="*/ 23 w 68"/>
                <a:gd name="T5" fmla="*/ 76 h 87"/>
                <a:gd name="T6" fmla="*/ 16 w 68"/>
                <a:gd name="T7" fmla="*/ 69 h 87"/>
                <a:gd name="T8" fmla="*/ 16 w 68"/>
                <a:gd name="T9" fmla="*/ 64 h 87"/>
                <a:gd name="T10" fmla="*/ 16 w 68"/>
                <a:gd name="T11" fmla="*/ 64 h 87"/>
                <a:gd name="T12" fmla="*/ 28 w 68"/>
                <a:gd name="T13" fmla="*/ 57 h 87"/>
                <a:gd name="T14" fmla="*/ 26 w 68"/>
                <a:gd name="T15" fmla="*/ 54 h 87"/>
                <a:gd name="T16" fmla="*/ 23 w 68"/>
                <a:gd name="T17" fmla="*/ 52 h 87"/>
                <a:gd name="T18" fmla="*/ 16 w 68"/>
                <a:gd name="T19" fmla="*/ 54 h 87"/>
                <a:gd name="T20" fmla="*/ 9 w 68"/>
                <a:gd name="T21" fmla="*/ 47 h 87"/>
                <a:gd name="T22" fmla="*/ 7 w 68"/>
                <a:gd name="T23" fmla="*/ 45 h 87"/>
                <a:gd name="T24" fmla="*/ 2 w 68"/>
                <a:gd name="T25" fmla="*/ 35 h 87"/>
                <a:gd name="T26" fmla="*/ 0 w 68"/>
                <a:gd name="T27" fmla="*/ 28 h 87"/>
                <a:gd name="T28" fmla="*/ 7 w 68"/>
                <a:gd name="T29" fmla="*/ 24 h 87"/>
                <a:gd name="T30" fmla="*/ 2 w 68"/>
                <a:gd name="T31" fmla="*/ 19 h 87"/>
                <a:gd name="T32" fmla="*/ 0 w 68"/>
                <a:gd name="T33" fmla="*/ 12 h 87"/>
                <a:gd name="T34" fmla="*/ 2 w 68"/>
                <a:gd name="T35" fmla="*/ 0 h 87"/>
                <a:gd name="T36" fmla="*/ 16 w 68"/>
                <a:gd name="T37" fmla="*/ 5 h 87"/>
                <a:gd name="T38" fmla="*/ 23 w 68"/>
                <a:gd name="T39" fmla="*/ 7 h 87"/>
                <a:gd name="T40" fmla="*/ 26 w 68"/>
                <a:gd name="T41" fmla="*/ 12 h 87"/>
                <a:gd name="T42" fmla="*/ 35 w 68"/>
                <a:gd name="T43" fmla="*/ 14 h 87"/>
                <a:gd name="T44" fmla="*/ 40 w 68"/>
                <a:gd name="T45" fmla="*/ 14 h 87"/>
                <a:gd name="T46" fmla="*/ 40 w 68"/>
                <a:gd name="T47" fmla="*/ 21 h 87"/>
                <a:gd name="T48" fmla="*/ 47 w 68"/>
                <a:gd name="T49" fmla="*/ 28 h 87"/>
                <a:gd name="T50" fmla="*/ 56 w 68"/>
                <a:gd name="T51" fmla="*/ 24 h 87"/>
                <a:gd name="T52" fmla="*/ 63 w 68"/>
                <a:gd name="T53" fmla="*/ 31 h 87"/>
                <a:gd name="T54" fmla="*/ 66 w 68"/>
                <a:gd name="T55" fmla="*/ 40 h 87"/>
                <a:gd name="T56" fmla="*/ 59 w 68"/>
                <a:gd name="T57" fmla="*/ 47 h 87"/>
                <a:gd name="T58" fmla="*/ 63 w 68"/>
                <a:gd name="T59" fmla="*/ 52 h 87"/>
                <a:gd name="T60" fmla="*/ 66 w 68"/>
                <a:gd name="T61" fmla="*/ 54 h 87"/>
                <a:gd name="T62" fmla="*/ 68 w 68"/>
                <a:gd name="T63" fmla="*/ 57 h 87"/>
                <a:gd name="T64" fmla="*/ 66 w 68"/>
                <a:gd name="T65" fmla="*/ 69 h 87"/>
                <a:gd name="T66" fmla="*/ 59 w 68"/>
                <a:gd name="T67" fmla="*/ 71 h 87"/>
                <a:gd name="T68" fmla="*/ 56 w 68"/>
                <a:gd name="T69" fmla="*/ 76 h 87"/>
                <a:gd name="T70" fmla="*/ 49 w 68"/>
                <a:gd name="T71" fmla="*/ 78 h 87"/>
                <a:gd name="T72" fmla="*/ 40 w 68"/>
                <a:gd name="T73" fmla="*/ 80 h 87"/>
                <a:gd name="T74" fmla="*/ 33 w 68"/>
                <a:gd name="T75" fmla="*/ 80 h 87"/>
                <a:gd name="T76" fmla="*/ 40 w 68"/>
                <a:gd name="T77" fmla="*/ 85 h 87"/>
                <a:gd name="T78" fmla="*/ 33 w 68"/>
                <a:gd name="T79" fmla="*/ 87 h 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
                <a:gd name="T121" fmla="*/ 0 h 87"/>
                <a:gd name="T122" fmla="*/ 68 w 68"/>
                <a:gd name="T123" fmla="*/ 87 h 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 h="87">
                  <a:moveTo>
                    <a:pt x="33" y="87"/>
                  </a:moveTo>
                  <a:lnTo>
                    <a:pt x="26" y="87"/>
                  </a:lnTo>
                  <a:lnTo>
                    <a:pt x="26" y="80"/>
                  </a:lnTo>
                  <a:lnTo>
                    <a:pt x="28" y="78"/>
                  </a:lnTo>
                  <a:lnTo>
                    <a:pt x="26" y="76"/>
                  </a:lnTo>
                  <a:lnTo>
                    <a:pt x="23" y="76"/>
                  </a:lnTo>
                  <a:lnTo>
                    <a:pt x="18" y="71"/>
                  </a:lnTo>
                  <a:lnTo>
                    <a:pt x="16" y="69"/>
                  </a:lnTo>
                  <a:lnTo>
                    <a:pt x="11" y="69"/>
                  </a:lnTo>
                  <a:lnTo>
                    <a:pt x="16" y="64"/>
                  </a:lnTo>
                  <a:lnTo>
                    <a:pt x="16" y="61"/>
                  </a:lnTo>
                  <a:lnTo>
                    <a:pt x="16" y="64"/>
                  </a:lnTo>
                  <a:lnTo>
                    <a:pt x="28" y="64"/>
                  </a:lnTo>
                  <a:lnTo>
                    <a:pt x="28" y="57"/>
                  </a:lnTo>
                  <a:lnTo>
                    <a:pt x="26" y="57"/>
                  </a:lnTo>
                  <a:lnTo>
                    <a:pt x="26" y="54"/>
                  </a:lnTo>
                  <a:lnTo>
                    <a:pt x="23" y="54"/>
                  </a:lnTo>
                  <a:lnTo>
                    <a:pt x="23" y="52"/>
                  </a:lnTo>
                  <a:lnTo>
                    <a:pt x="18" y="52"/>
                  </a:lnTo>
                  <a:lnTo>
                    <a:pt x="16" y="54"/>
                  </a:lnTo>
                  <a:lnTo>
                    <a:pt x="11" y="52"/>
                  </a:lnTo>
                  <a:lnTo>
                    <a:pt x="9" y="47"/>
                  </a:lnTo>
                  <a:lnTo>
                    <a:pt x="9" y="45"/>
                  </a:lnTo>
                  <a:lnTo>
                    <a:pt x="7" y="45"/>
                  </a:lnTo>
                  <a:lnTo>
                    <a:pt x="7" y="38"/>
                  </a:lnTo>
                  <a:lnTo>
                    <a:pt x="2" y="35"/>
                  </a:lnTo>
                  <a:lnTo>
                    <a:pt x="0" y="31"/>
                  </a:lnTo>
                  <a:lnTo>
                    <a:pt x="0" y="28"/>
                  </a:lnTo>
                  <a:lnTo>
                    <a:pt x="2" y="24"/>
                  </a:lnTo>
                  <a:lnTo>
                    <a:pt x="7" y="24"/>
                  </a:lnTo>
                  <a:lnTo>
                    <a:pt x="7" y="21"/>
                  </a:lnTo>
                  <a:lnTo>
                    <a:pt x="2" y="19"/>
                  </a:lnTo>
                  <a:lnTo>
                    <a:pt x="2" y="14"/>
                  </a:lnTo>
                  <a:lnTo>
                    <a:pt x="0" y="12"/>
                  </a:lnTo>
                  <a:lnTo>
                    <a:pt x="0" y="5"/>
                  </a:lnTo>
                  <a:lnTo>
                    <a:pt x="2" y="0"/>
                  </a:lnTo>
                  <a:lnTo>
                    <a:pt x="16" y="0"/>
                  </a:lnTo>
                  <a:lnTo>
                    <a:pt x="16" y="5"/>
                  </a:lnTo>
                  <a:lnTo>
                    <a:pt x="23" y="5"/>
                  </a:lnTo>
                  <a:lnTo>
                    <a:pt x="23" y="7"/>
                  </a:lnTo>
                  <a:lnTo>
                    <a:pt x="26" y="7"/>
                  </a:lnTo>
                  <a:lnTo>
                    <a:pt x="26" y="12"/>
                  </a:lnTo>
                  <a:lnTo>
                    <a:pt x="35" y="12"/>
                  </a:lnTo>
                  <a:lnTo>
                    <a:pt x="35" y="14"/>
                  </a:lnTo>
                  <a:lnTo>
                    <a:pt x="40" y="19"/>
                  </a:lnTo>
                  <a:lnTo>
                    <a:pt x="40" y="14"/>
                  </a:lnTo>
                  <a:lnTo>
                    <a:pt x="42" y="19"/>
                  </a:lnTo>
                  <a:lnTo>
                    <a:pt x="40" y="21"/>
                  </a:lnTo>
                  <a:lnTo>
                    <a:pt x="42" y="24"/>
                  </a:lnTo>
                  <a:lnTo>
                    <a:pt x="47" y="28"/>
                  </a:lnTo>
                  <a:lnTo>
                    <a:pt x="49" y="24"/>
                  </a:lnTo>
                  <a:lnTo>
                    <a:pt x="56" y="24"/>
                  </a:lnTo>
                  <a:lnTo>
                    <a:pt x="59" y="28"/>
                  </a:lnTo>
                  <a:lnTo>
                    <a:pt x="63" y="31"/>
                  </a:lnTo>
                  <a:lnTo>
                    <a:pt x="66" y="35"/>
                  </a:lnTo>
                  <a:lnTo>
                    <a:pt x="66" y="40"/>
                  </a:lnTo>
                  <a:lnTo>
                    <a:pt x="63" y="45"/>
                  </a:lnTo>
                  <a:lnTo>
                    <a:pt x="59" y="47"/>
                  </a:lnTo>
                  <a:lnTo>
                    <a:pt x="59" y="52"/>
                  </a:lnTo>
                  <a:lnTo>
                    <a:pt x="63" y="52"/>
                  </a:lnTo>
                  <a:lnTo>
                    <a:pt x="63" y="54"/>
                  </a:lnTo>
                  <a:lnTo>
                    <a:pt x="66" y="54"/>
                  </a:lnTo>
                  <a:lnTo>
                    <a:pt x="66" y="57"/>
                  </a:lnTo>
                  <a:lnTo>
                    <a:pt x="68" y="57"/>
                  </a:lnTo>
                  <a:lnTo>
                    <a:pt x="68" y="64"/>
                  </a:lnTo>
                  <a:lnTo>
                    <a:pt x="66" y="69"/>
                  </a:lnTo>
                  <a:lnTo>
                    <a:pt x="66" y="71"/>
                  </a:lnTo>
                  <a:lnTo>
                    <a:pt x="59" y="71"/>
                  </a:lnTo>
                  <a:lnTo>
                    <a:pt x="59" y="76"/>
                  </a:lnTo>
                  <a:lnTo>
                    <a:pt x="56" y="76"/>
                  </a:lnTo>
                  <a:lnTo>
                    <a:pt x="52" y="78"/>
                  </a:lnTo>
                  <a:lnTo>
                    <a:pt x="49" y="78"/>
                  </a:lnTo>
                  <a:lnTo>
                    <a:pt x="47" y="80"/>
                  </a:lnTo>
                  <a:lnTo>
                    <a:pt x="40" y="80"/>
                  </a:lnTo>
                  <a:lnTo>
                    <a:pt x="40" y="78"/>
                  </a:lnTo>
                  <a:lnTo>
                    <a:pt x="33" y="80"/>
                  </a:lnTo>
                  <a:lnTo>
                    <a:pt x="40" y="80"/>
                  </a:lnTo>
                  <a:lnTo>
                    <a:pt x="40" y="85"/>
                  </a:lnTo>
                  <a:lnTo>
                    <a:pt x="35" y="85"/>
                  </a:lnTo>
                  <a:lnTo>
                    <a:pt x="33" y="8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3" name="Freeform 452">
              <a:extLst>
                <a:ext uri="{FF2B5EF4-FFF2-40B4-BE49-F238E27FC236}">
                  <a16:creationId xmlns:a16="http://schemas.microsoft.com/office/drawing/2014/main" id="{7D180CAE-2F50-4044-9D45-79B2E2A6FFC9}"/>
                </a:ext>
              </a:extLst>
            </p:cNvPr>
            <p:cNvSpPr>
              <a:spLocks/>
            </p:cNvSpPr>
            <p:nvPr/>
          </p:nvSpPr>
          <p:spPr bwMode="gray">
            <a:xfrm rot="47099">
              <a:off x="1587348" y="1696452"/>
              <a:ext cx="8906" cy="7718"/>
            </a:xfrm>
            <a:custGeom>
              <a:avLst/>
              <a:gdLst>
                <a:gd name="T0" fmla="*/ 5 w 21"/>
                <a:gd name="T1" fmla="*/ 2 h 17"/>
                <a:gd name="T2" fmla="*/ 7 w 21"/>
                <a:gd name="T3" fmla="*/ 0 h 17"/>
                <a:gd name="T4" fmla="*/ 17 w 21"/>
                <a:gd name="T5" fmla="*/ 0 h 17"/>
                <a:gd name="T6" fmla="*/ 21 w 21"/>
                <a:gd name="T7" fmla="*/ 2 h 17"/>
                <a:gd name="T8" fmla="*/ 17 w 21"/>
                <a:gd name="T9" fmla="*/ 5 h 17"/>
                <a:gd name="T10" fmla="*/ 14 w 21"/>
                <a:gd name="T11" fmla="*/ 5 h 17"/>
                <a:gd name="T12" fmla="*/ 14 w 21"/>
                <a:gd name="T13" fmla="*/ 10 h 17"/>
                <a:gd name="T14" fmla="*/ 10 w 21"/>
                <a:gd name="T15" fmla="*/ 10 h 17"/>
                <a:gd name="T16" fmla="*/ 7 w 21"/>
                <a:gd name="T17" fmla="*/ 12 h 17"/>
                <a:gd name="T18" fmla="*/ 5 w 21"/>
                <a:gd name="T19" fmla="*/ 17 h 17"/>
                <a:gd name="T20" fmla="*/ 0 w 21"/>
                <a:gd name="T21" fmla="*/ 17 h 17"/>
                <a:gd name="T22" fmla="*/ 0 w 21"/>
                <a:gd name="T23" fmla="*/ 5 h 17"/>
                <a:gd name="T24" fmla="*/ 5 w 21"/>
                <a:gd name="T25" fmla="*/ 2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17"/>
                <a:gd name="T41" fmla="*/ 21 w 21"/>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17">
                  <a:moveTo>
                    <a:pt x="5" y="2"/>
                  </a:moveTo>
                  <a:lnTo>
                    <a:pt x="7" y="0"/>
                  </a:lnTo>
                  <a:lnTo>
                    <a:pt x="17" y="0"/>
                  </a:lnTo>
                  <a:lnTo>
                    <a:pt x="21" y="2"/>
                  </a:lnTo>
                  <a:lnTo>
                    <a:pt x="17" y="5"/>
                  </a:lnTo>
                  <a:lnTo>
                    <a:pt x="14" y="5"/>
                  </a:lnTo>
                  <a:lnTo>
                    <a:pt x="14" y="10"/>
                  </a:lnTo>
                  <a:lnTo>
                    <a:pt x="10" y="10"/>
                  </a:lnTo>
                  <a:lnTo>
                    <a:pt x="7" y="12"/>
                  </a:lnTo>
                  <a:lnTo>
                    <a:pt x="5" y="17"/>
                  </a:lnTo>
                  <a:lnTo>
                    <a:pt x="0" y="17"/>
                  </a:lnTo>
                  <a:lnTo>
                    <a:pt x="0" y="5"/>
                  </a:lnTo>
                  <a:lnTo>
                    <a:pt x="5"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4" name="Freeform 454">
              <a:extLst>
                <a:ext uri="{FF2B5EF4-FFF2-40B4-BE49-F238E27FC236}">
                  <a16:creationId xmlns:a16="http://schemas.microsoft.com/office/drawing/2014/main" id="{10D8C405-747F-4951-A7FE-EF0A35694862}"/>
                </a:ext>
              </a:extLst>
            </p:cNvPr>
            <p:cNvSpPr>
              <a:spLocks/>
            </p:cNvSpPr>
            <p:nvPr/>
          </p:nvSpPr>
          <p:spPr bwMode="gray">
            <a:xfrm rot="47099">
              <a:off x="1472826" y="1663065"/>
              <a:ext cx="12468" cy="19296"/>
            </a:xfrm>
            <a:custGeom>
              <a:avLst/>
              <a:gdLst>
                <a:gd name="T0" fmla="*/ 23 w 26"/>
                <a:gd name="T1" fmla="*/ 40 h 40"/>
                <a:gd name="T2" fmla="*/ 23 w 26"/>
                <a:gd name="T3" fmla="*/ 37 h 40"/>
                <a:gd name="T4" fmla="*/ 18 w 26"/>
                <a:gd name="T5" fmla="*/ 33 h 40"/>
                <a:gd name="T6" fmla="*/ 16 w 26"/>
                <a:gd name="T7" fmla="*/ 33 h 40"/>
                <a:gd name="T8" fmla="*/ 16 w 26"/>
                <a:gd name="T9" fmla="*/ 28 h 40"/>
                <a:gd name="T10" fmla="*/ 11 w 26"/>
                <a:gd name="T11" fmla="*/ 28 h 40"/>
                <a:gd name="T12" fmla="*/ 11 w 26"/>
                <a:gd name="T13" fmla="*/ 23 h 40"/>
                <a:gd name="T14" fmla="*/ 2 w 26"/>
                <a:gd name="T15" fmla="*/ 23 h 40"/>
                <a:gd name="T16" fmla="*/ 2 w 26"/>
                <a:gd name="T17" fmla="*/ 21 h 40"/>
                <a:gd name="T18" fmla="*/ 0 w 26"/>
                <a:gd name="T19" fmla="*/ 21 h 40"/>
                <a:gd name="T20" fmla="*/ 0 w 26"/>
                <a:gd name="T21" fmla="*/ 11 h 40"/>
                <a:gd name="T22" fmla="*/ 2 w 26"/>
                <a:gd name="T23" fmla="*/ 7 h 40"/>
                <a:gd name="T24" fmla="*/ 2 w 26"/>
                <a:gd name="T25" fmla="*/ 4 h 40"/>
                <a:gd name="T26" fmla="*/ 4 w 26"/>
                <a:gd name="T27" fmla="*/ 0 h 40"/>
                <a:gd name="T28" fmla="*/ 9 w 26"/>
                <a:gd name="T29" fmla="*/ 0 h 40"/>
                <a:gd name="T30" fmla="*/ 11 w 26"/>
                <a:gd name="T31" fmla="*/ 4 h 40"/>
                <a:gd name="T32" fmla="*/ 16 w 26"/>
                <a:gd name="T33" fmla="*/ 4 h 40"/>
                <a:gd name="T34" fmla="*/ 18 w 26"/>
                <a:gd name="T35" fmla="*/ 0 h 40"/>
                <a:gd name="T36" fmla="*/ 18 w 26"/>
                <a:gd name="T37" fmla="*/ 4 h 40"/>
                <a:gd name="T38" fmla="*/ 23 w 26"/>
                <a:gd name="T39" fmla="*/ 7 h 40"/>
                <a:gd name="T40" fmla="*/ 23 w 26"/>
                <a:gd name="T41" fmla="*/ 11 h 40"/>
                <a:gd name="T42" fmla="*/ 26 w 26"/>
                <a:gd name="T43" fmla="*/ 16 h 40"/>
                <a:gd name="T44" fmla="*/ 26 w 26"/>
                <a:gd name="T45" fmla="*/ 33 h 40"/>
                <a:gd name="T46" fmla="*/ 23 w 26"/>
                <a:gd name="T47" fmla="*/ 37 h 40"/>
                <a:gd name="T48" fmla="*/ 23 w 26"/>
                <a:gd name="T49" fmla="*/ 4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0"/>
                <a:gd name="T77" fmla="*/ 26 w 26"/>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0">
                  <a:moveTo>
                    <a:pt x="23" y="40"/>
                  </a:moveTo>
                  <a:lnTo>
                    <a:pt x="23" y="37"/>
                  </a:lnTo>
                  <a:lnTo>
                    <a:pt x="18" y="33"/>
                  </a:lnTo>
                  <a:lnTo>
                    <a:pt x="16" y="33"/>
                  </a:lnTo>
                  <a:lnTo>
                    <a:pt x="16" y="28"/>
                  </a:lnTo>
                  <a:lnTo>
                    <a:pt x="11" y="28"/>
                  </a:lnTo>
                  <a:lnTo>
                    <a:pt x="11" y="23"/>
                  </a:lnTo>
                  <a:lnTo>
                    <a:pt x="2" y="23"/>
                  </a:lnTo>
                  <a:lnTo>
                    <a:pt x="2" y="21"/>
                  </a:lnTo>
                  <a:lnTo>
                    <a:pt x="0" y="21"/>
                  </a:lnTo>
                  <a:lnTo>
                    <a:pt x="0" y="11"/>
                  </a:lnTo>
                  <a:lnTo>
                    <a:pt x="2" y="7"/>
                  </a:lnTo>
                  <a:lnTo>
                    <a:pt x="2" y="4"/>
                  </a:lnTo>
                  <a:lnTo>
                    <a:pt x="4" y="0"/>
                  </a:lnTo>
                  <a:lnTo>
                    <a:pt x="9" y="0"/>
                  </a:lnTo>
                  <a:lnTo>
                    <a:pt x="11" y="4"/>
                  </a:lnTo>
                  <a:lnTo>
                    <a:pt x="16" y="4"/>
                  </a:lnTo>
                  <a:lnTo>
                    <a:pt x="18" y="0"/>
                  </a:lnTo>
                  <a:lnTo>
                    <a:pt x="18" y="4"/>
                  </a:lnTo>
                  <a:lnTo>
                    <a:pt x="23" y="7"/>
                  </a:lnTo>
                  <a:lnTo>
                    <a:pt x="23" y="11"/>
                  </a:lnTo>
                  <a:lnTo>
                    <a:pt x="26" y="16"/>
                  </a:lnTo>
                  <a:lnTo>
                    <a:pt x="26" y="33"/>
                  </a:lnTo>
                  <a:lnTo>
                    <a:pt x="23" y="37"/>
                  </a:lnTo>
                  <a:lnTo>
                    <a:pt x="23" y="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5" name="Freeform 455">
              <a:extLst>
                <a:ext uri="{FF2B5EF4-FFF2-40B4-BE49-F238E27FC236}">
                  <a16:creationId xmlns:a16="http://schemas.microsoft.com/office/drawing/2014/main" id="{83026BEB-C7DC-4512-8639-AF3249CCF710}"/>
                </a:ext>
              </a:extLst>
            </p:cNvPr>
            <p:cNvSpPr>
              <a:spLocks/>
            </p:cNvSpPr>
            <p:nvPr/>
          </p:nvSpPr>
          <p:spPr bwMode="gray">
            <a:xfrm rot="47099">
              <a:off x="1501747" y="1640277"/>
              <a:ext cx="8906" cy="3860"/>
            </a:xfrm>
            <a:custGeom>
              <a:avLst/>
              <a:gdLst>
                <a:gd name="T0" fmla="*/ 19 w 19"/>
                <a:gd name="T1" fmla="*/ 5 h 9"/>
                <a:gd name="T2" fmla="*/ 19 w 19"/>
                <a:gd name="T3" fmla="*/ 7 h 9"/>
                <a:gd name="T4" fmla="*/ 14 w 19"/>
                <a:gd name="T5" fmla="*/ 9 h 9"/>
                <a:gd name="T6" fmla="*/ 12 w 19"/>
                <a:gd name="T7" fmla="*/ 7 h 9"/>
                <a:gd name="T8" fmla="*/ 0 w 19"/>
                <a:gd name="T9" fmla="*/ 7 h 9"/>
                <a:gd name="T10" fmla="*/ 0 w 19"/>
                <a:gd name="T11" fmla="*/ 5 h 9"/>
                <a:gd name="T12" fmla="*/ 5 w 19"/>
                <a:gd name="T13" fmla="*/ 5 h 9"/>
                <a:gd name="T14" fmla="*/ 12 w 19"/>
                <a:gd name="T15" fmla="*/ 0 h 9"/>
                <a:gd name="T16" fmla="*/ 14 w 19"/>
                <a:gd name="T17" fmla="*/ 0 h 9"/>
                <a:gd name="T18" fmla="*/ 19 w 19"/>
                <a:gd name="T19" fmla="*/ 5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9"/>
                <a:gd name="T32" fmla="*/ 19 w 19"/>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9">
                  <a:moveTo>
                    <a:pt x="19" y="5"/>
                  </a:moveTo>
                  <a:lnTo>
                    <a:pt x="19" y="7"/>
                  </a:lnTo>
                  <a:lnTo>
                    <a:pt x="14" y="9"/>
                  </a:lnTo>
                  <a:lnTo>
                    <a:pt x="12" y="7"/>
                  </a:lnTo>
                  <a:lnTo>
                    <a:pt x="0" y="7"/>
                  </a:lnTo>
                  <a:lnTo>
                    <a:pt x="0" y="5"/>
                  </a:lnTo>
                  <a:lnTo>
                    <a:pt x="5" y="5"/>
                  </a:lnTo>
                  <a:lnTo>
                    <a:pt x="12" y="0"/>
                  </a:lnTo>
                  <a:lnTo>
                    <a:pt x="14" y="0"/>
                  </a:lnTo>
                  <a:lnTo>
                    <a:pt x="1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6" name="Freeform 458">
              <a:extLst>
                <a:ext uri="{FF2B5EF4-FFF2-40B4-BE49-F238E27FC236}">
                  <a16:creationId xmlns:a16="http://schemas.microsoft.com/office/drawing/2014/main" id="{4340C2F6-E062-4E7F-9FA6-7422DAFF07B8}"/>
                </a:ext>
              </a:extLst>
            </p:cNvPr>
            <p:cNvSpPr>
              <a:spLocks/>
            </p:cNvSpPr>
            <p:nvPr/>
          </p:nvSpPr>
          <p:spPr bwMode="gray">
            <a:xfrm rot="47099">
              <a:off x="1526313" y="1603911"/>
              <a:ext cx="3563" cy="965"/>
            </a:xfrm>
            <a:custGeom>
              <a:avLst/>
              <a:gdLst>
                <a:gd name="T0" fmla="*/ 2 w 7"/>
                <a:gd name="T1" fmla="*/ 4 h 4"/>
                <a:gd name="T2" fmla="*/ 0 w 7"/>
                <a:gd name="T3" fmla="*/ 4 h 4"/>
                <a:gd name="T4" fmla="*/ 0 w 7"/>
                <a:gd name="T5" fmla="*/ 0 h 4"/>
                <a:gd name="T6" fmla="*/ 2 w 7"/>
                <a:gd name="T7" fmla="*/ 0 h 4"/>
                <a:gd name="T8" fmla="*/ 7 w 7"/>
                <a:gd name="T9" fmla="*/ 4 h 4"/>
                <a:gd name="T10" fmla="*/ 2 w 7"/>
                <a:gd name="T11" fmla="*/ 4 h 4"/>
                <a:gd name="T12" fmla="*/ 0 60000 65536"/>
                <a:gd name="T13" fmla="*/ 0 60000 65536"/>
                <a:gd name="T14" fmla="*/ 0 60000 65536"/>
                <a:gd name="T15" fmla="*/ 0 60000 65536"/>
                <a:gd name="T16" fmla="*/ 0 60000 65536"/>
                <a:gd name="T17" fmla="*/ 0 60000 65536"/>
                <a:gd name="T18" fmla="*/ 0 w 7"/>
                <a:gd name="T19" fmla="*/ 0 h 4"/>
                <a:gd name="T20" fmla="*/ 7 w 7"/>
                <a:gd name="T21" fmla="*/ 4 h 4"/>
              </a:gdLst>
              <a:ahLst/>
              <a:cxnLst>
                <a:cxn ang="T12">
                  <a:pos x="T0" y="T1"/>
                </a:cxn>
                <a:cxn ang="T13">
                  <a:pos x="T2" y="T3"/>
                </a:cxn>
                <a:cxn ang="T14">
                  <a:pos x="T4" y="T5"/>
                </a:cxn>
                <a:cxn ang="T15">
                  <a:pos x="T6" y="T7"/>
                </a:cxn>
                <a:cxn ang="T16">
                  <a:pos x="T8" y="T9"/>
                </a:cxn>
                <a:cxn ang="T17">
                  <a:pos x="T10" y="T11"/>
                </a:cxn>
              </a:cxnLst>
              <a:rect l="T18" t="T19" r="T20" b="T21"/>
              <a:pathLst>
                <a:path w="7" h="4">
                  <a:moveTo>
                    <a:pt x="2" y="4"/>
                  </a:moveTo>
                  <a:lnTo>
                    <a:pt x="0" y="4"/>
                  </a:lnTo>
                  <a:lnTo>
                    <a:pt x="0" y="0"/>
                  </a:lnTo>
                  <a:lnTo>
                    <a:pt x="2" y="0"/>
                  </a:lnTo>
                  <a:lnTo>
                    <a:pt x="7" y="4"/>
                  </a:lnTo>
                  <a:lnTo>
                    <a:pt x="2"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7" name="Freeform 462">
              <a:extLst>
                <a:ext uri="{FF2B5EF4-FFF2-40B4-BE49-F238E27FC236}">
                  <a16:creationId xmlns:a16="http://schemas.microsoft.com/office/drawing/2014/main" id="{8DA67B81-2339-4153-9D2D-7B5FC7F43A4C}"/>
                </a:ext>
              </a:extLst>
            </p:cNvPr>
            <p:cNvSpPr>
              <a:spLocks/>
            </p:cNvSpPr>
            <p:nvPr/>
          </p:nvSpPr>
          <p:spPr bwMode="gray">
            <a:xfrm rot="47099">
              <a:off x="1413247" y="2476661"/>
              <a:ext cx="293902" cy="460224"/>
            </a:xfrm>
            <a:custGeom>
              <a:avLst/>
              <a:gdLst>
                <a:gd name="T0" fmla="*/ 203 w 630"/>
                <a:gd name="T1" fmla="*/ 990 h 990"/>
                <a:gd name="T2" fmla="*/ 16 w 630"/>
                <a:gd name="T3" fmla="*/ 909 h 990"/>
                <a:gd name="T4" fmla="*/ 11 w 630"/>
                <a:gd name="T5" fmla="*/ 661 h 990"/>
                <a:gd name="T6" fmla="*/ 4 w 630"/>
                <a:gd name="T7" fmla="*/ 597 h 990"/>
                <a:gd name="T8" fmla="*/ 4 w 630"/>
                <a:gd name="T9" fmla="*/ 564 h 990"/>
                <a:gd name="T10" fmla="*/ 4 w 630"/>
                <a:gd name="T11" fmla="*/ 494 h 990"/>
                <a:gd name="T12" fmla="*/ 2 w 630"/>
                <a:gd name="T13" fmla="*/ 411 h 990"/>
                <a:gd name="T14" fmla="*/ 2 w 630"/>
                <a:gd name="T15" fmla="*/ 390 h 990"/>
                <a:gd name="T16" fmla="*/ 2 w 630"/>
                <a:gd name="T17" fmla="*/ 288 h 990"/>
                <a:gd name="T18" fmla="*/ 4 w 630"/>
                <a:gd name="T19" fmla="*/ 116 h 990"/>
                <a:gd name="T20" fmla="*/ 19 w 630"/>
                <a:gd name="T21" fmla="*/ 7 h 990"/>
                <a:gd name="T22" fmla="*/ 170 w 630"/>
                <a:gd name="T23" fmla="*/ 7 h 990"/>
                <a:gd name="T24" fmla="*/ 307 w 630"/>
                <a:gd name="T25" fmla="*/ 2 h 990"/>
                <a:gd name="T26" fmla="*/ 335 w 630"/>
                <a:gd name="T27" fmla="*/ 14 h 990"/>
                <a:gd name="T28" fmla="*/ 342 w 630"/>
                <a:gd name="T29" fmla="*/ 49 h 990"/>
                <a:gd name="T30" fmla="*/ 340 w 630"/>
                <a:gd name="T31" fmla="*/ 80 h 990"/>
                <a:gd name="T32" fmla="*/ 352 w 630"/>
                <a:gd name="T33" fmla="*/ 99 h 990"/>
                <a:gd name="T34" fmla="*/ 359 w 630"/>
                <a:gd name="T35" fmla="*/ 113 h 990"/>
                <a:gd name="T36" fmla="*/ 371 w 630"/>
                <a:gd name="T37" fmla="*/ 106 h 990"/>
                <a:gd name="T38" fmla="*/ 366 w 630"/>
                <a:gd name="T39" fmla="*/ 156 h 990"/>
                <a:gd name="T40" fmla="*/ 373 w 630"/>
                <a:gd name="T41" fmla="*/ 137 h 990"/>
                <a:gd name="T42" fmla="*/ 373 w 630"/>
                <a:gd name="T43" fmla="*/ 106 h 990"/>
                <a:gd name="T44" fmla="*/ 397 w 630"/>
                <a:gd name="T45" fmla="*/ 104 h 990"/>
                <a:gd name="T46" fmla="*/ 415 w 630"/>
                <a:gd name="T47" fmla="*/ 104 h 990"/>
                <a:gd name="T48" fmla="*/ 423 w 630"/>
                <a:gd name="T49" fmla="*/ 123 h 990"/>
                <a:gd name="T50" fmla="*/ 432 w 630"/>
                <a:gd name="T51" fmla="*/ 146 h 990"/>
                <a:gd name="T52" fmla="*/ 444 w 630"/>
                <a:gd name="T53" fmla="*/ 163 h 990"/>
                <a:gd name="T54" fmla="*/ 451 w 630"/>
                <a:gd name="T55" fmla="*/ 186 h 990"/>
                <a:gd name="T56" fmla="*/ 467 w 630"/>
                <a:gd name="T57" fmla="*/ 217 h 990"/>
                <a:gd name="T58" fmla="*/ 456 w 630"/>
                <a:gd name="T59" fmla="*/ 260 h 990"/>
                <a:gd name="T60" fmla="*/ 451 w 630"/>
                <a:gd name="T61" fmla="*/ 267 h 990"/>
                <a:gd name="T62" fmla="*/ 460 w 630"/>
                <a:gd name="T63" fmla="*/ 264 h 990"/>
                <a:gd name="T64" fmla="*/ 463 w 630"/>
                <a:gd name="T65" fmla="*/ 257 h 990"/>
                <a:gd name="T66" fmla="*/ 472 w 630"/>
                <a:gd name="T67" fmla="*/ 250 h 990"/>
                <a:gd name="T68" fmla="*/ 472 w 630"/>
                <a:gd name="T69" fmla="*/ 260 h 990"/>
                <a:gd name="T70" fmla="*/ 472 w 630"/>
                <a:gd name="T71" fmla="*/ 260 h 990"/>
                <a:gd name="T72" fmla="*/ 479 w 630"/>
                <a:gd name="T73" fmla="*/ 253 h 990"/>
                <a:gd name="T74" fmla="*/ 493 w 630"/>
                <a:gd name="T75" fmla="*/ 250 h 990"/>
                <a:gd name="T76" fmla="*/ 526 w 630"/>
                <a:gd name="T77" fmla="*/ 231 h 990"/>
                <a:gd name="T78" fmla="*/ 557 w 630"/>
                <a:gd name="T79" fmla="*/ 227 h 990"/>
                <a:gd name="T80" fmla="*/ 569 w 630"/>
                <a:gd name="T81" fmla="*/ 234 h 990"/>
                <a:gd name="T82" fmla="*/ 590 w 630"/>
                <a:gd name="T83" fmla="*/ 243 h 990"/>
                <a:gd name="T84" fmla="*/ 616 w 630"/>
                <a:gd name="T85" fmla="*/ 248 h 990"/>
                <a:gd name="T86" fmla="*/ 626 w 630"/>
                <a:gd name="T87" fmla="*/ 274 h 990"/>
                <a:gd name="T88" fmla="*/ 614 w 630"/>
                <a:gd name="T89" fmla="*/ 290 h 990"/>
                <a:gd name="T90" fmla="*/ 590 w 630"/>
                <a:gd name="T91" fmla="*/ 323 h 990"/>
                <a:gd name="T92" fmla="*/ 583 w 630"/>
                <a:gd name="T93" fmla="*/ 333 h 990"/>
                <a:gd name="T94" fmla="*/ 569 w 630"/>
                <a:gd name="T95" fmla="*/ 354 h 990"/>
                <a:gd name="T96" fmla="*/ 548 w 630"/>
                <a:gd name="T97" fmla="*/ 390 h 990"/>
                <a:gd name="T98" fmla="*/ 541 w 630"/>
                <a:gd name="T99" fmla="*/ 401 h 990"/>
                <a:gd name="T100" fmla="*/ 519 w 630"/>
                <a:gd name="T101" fmla="*/ 430 h 990"/>
                <a:gd name="T102" fmla="*/ 508 w 630"/>
                <a:gd name="T103" fmla="*/ 446 h 990"/>
                <a:gd name="T104" fmla="*/ 486 w 630"/>
                <a:gd name="T105" fmla="*/ 482 h 990"/>
                <a:gd name="T106" fmla="*/ 477 w 630"/>
                <a:gd name="T107" fmla="*/ 494 h 990"/>
                <a:gd name="T108" fmla="*/ 444 w 630"/>
                <a:gd name="T109" fmla="*/ 541 h 990"/>
                <a:gd name="T110" fmla="*/ 427 w 630"/>
                <a:gd name="T111" fmla="*/ 564 h 990"/>
                <a:gd name="T112" fmla="*/ 392 w 630"/>
                <a:gd name="T113" fmla="*/ 605 h 990"/>
                <a:gd name="T114" fmla="*/ 363 w 630"/>
                <a:gd name="T115" fmla="*/ 638 h 990"/>
                <a:gd name="T116" fmla="*/ 366 w 630"/>
                <a:gd name="T117" fmla="*/ 718 h 990"/>
                <a:gd name="T118" fmla="*/ 380 w 630"/>
                <a:gd name="T119" fmla="*/ 879 h 990"/>
                <a:gd name="T120" fmla="*/ 382 w 630"/>
                <a:gd name="T121" fmla="*/ 978 h 9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0"/>
                <a:gd name="T184" fmla="*/ 0 h 990"/>
                <a:gd name="T185" fmla="*/ 630 w 630"/>
                <a:gd name="T186" fmla="*/ 990 h 9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0" h="990">
                  <a:moveTo>
                    <a:pt x="262" y="985"/>
                  </a:moveTo>
                  <a:lnTo>
                    <a:pt x="219" y="985"/>
                  </a:lnTo>
                  <a:lnTo>
                    <a:pt x="203" y="990"/>
                  </a:lnTo>
                  <a:lnTo>
                    <a:pt x="19" y="990"/>
                  </a:lnTo>
                  <a:lnTo>
                    <a:pt x="19" y="909"/>
                  </a:lnTo>
                  <a:lnTo>
                    <a:pt x="16" y="909"/>
                  </a:lnTo>
                  <a:lnTo>
                    <a:pt x="16" y="815"/>
                  </a:lnTo>
                  <a:lnTo>
                    <a:pt x="11" y="815"/>
                  </a:lnTo>
                  <a:lnTo>
                    <a:pt x="11" y="661"/>
                  </a:lnTo>
                  <a:lnTo>
                    <a:pt x="9" y="661"/>
                  </a:lnTo>
                  <a:lnTo>
                    <a:pt x="9" y="597"/>
                  </a:lnTo>
                  <a:lnTo>
                    <a:pt x="4" y="597"/>
                  </a:lnTo>
                  <a:lnTo>
                    <a:pt x="9" y="590"/>
                  </a:lnTo>
                  <a:lnTo>
                    <a:pt x="9" y="567"/>
                  </a:lnTo>
                  <a:lnTo>
                    <a:pt x="4" y="564"/>
                  </a:lnTo>
                  <a:lnTo>
                    <a:pt x="4" y="503"/>
                  </a:lnTo>
                  <a:lnTo>
                    <a:pt x="2" y="503"/>
                  </a:lnTo>
                  <a:lnTo>
                    <a:pt x="4" y="494"/>
                  </a:lnTo>
                  <a:lnTo>
                    <a:pt x="4" y="475"/>
                  </a:lnTo>
                  <a:lnTo>
                    <a:pt x="2" y="475"/>
                  </a:lnTo>
                  <a:lnTo>
                    <a:pt x="2" y="411"/>
                  </a:lnTo>
                  <a:lnTo>
                    <a:pt x="0" y="411"/>
                  </a:lnTo>
                  <a:lnTo>
                    <a:pt x="0" y="404"/>
                  </a:lnTo>
                  <a:lnTo>
                    <a:pt x="2" y="390"/>
                  </a:lnTo>
                  <a:lnTo>
                    <a:pt x="2" y="380"/>
                  </a:lnTo>
                  <a:lnTo>
                    <a:pt x="0" y="373"/>
                  </a:lnTo>
                  <a:lnTo>
                    <a:pt x="2" y="288"/>
                  </a:lnTo>
                  <a:lnTo>
                    <a:pt x="2" y="231"/>
                  </a:lnTo>
                  <a:lnTo>
                    <a:pt x="4" y="201"/>
                  </a:lnTo>
                  <a:lnTo>
                    <a:pt x="4" y="116"/>
                  </a:lnTo>
                  <a:lnTo>
                    <a:pt x="9" y="73"/>
                  </a:lnTo>
                  <a:lnTo>
                    <a:pt x="9" y="7"/>
                  </a:lnTo>
                  <a:lnTo>
                    <a:pt x="19" y="7"/>
                  </a:lnTo>
                  <a:lnTo>
                    <a:pt x="35" y="9"/>
                  </a:lnTo>
                  <a:lnTo>
                    <a:pt x="165" y="9"/>
                  </a:lnTo>
                  <a:lnTo>
                    <a:pt x="170" y="7"/>
                  </a:lnTo>
                  <a:lnTo>
                    <a:pt x="252" y="7"/>
                  </a:lnTo>
                  <a:lnTo>
                    <a:pt x="269" y="2"/>
                  </a:lnTo>
                  <a:lnTo>
                    <a:pt x="307" y="2"/>
                  </a:lnTo>
                  <a:lnTo>
                    <a:pt x="333" y="0"/>
                  </a:lnTo>
                  <a:lnTo>
                    <a:pt x="333" y="2"/>
                  </a:lnTo>
                  <a:lnTo>
                    <a:pt x="335" y="14"/>
                  </a:lnTo>
                  <a:lnTo>
                    <a:pt x="335" y="33"/>
                  </a:lnTo>
                  <a:lnTo>
                    <a:pt x="340" y="42"/>
                  </a:lnTo>
                  <a:lnTo>
                    <a:pt x="342" y="49"/>
                  </a:lnTo>
                  <a:lnTo>
                    <a:pt x="342" y="59"/>
                  </a:lnTo>
                  <a:lnTo>
                    <a:pt x="340" y="64"/>
                  </a:lnTo>
                  <a:lnTo>
                    <a:pt x="340" y="80"/>
                  </a:lnTo>
                  <a:lnTo>
                    <a:pt x="347" y="90"/>
                  </a:lnTo>
                  <a:lnTo>
                    <a:pt x="347" y="94"/>
                  </a:lnTo>
                  <a:lnTo>
                    <a:pt x="352" y="99"/>
                  </a:lnTo>
                  <a:lnTo>
                    <a:pt x="356" y="106"/>
                  </a:lnTo>
                  <a:lnTo>
                    <a:pt x="359" y="111"/>
                  </a:lnTo>
                  <a:lnTo>
                    <a:pt x="359" y="113"/>
                  </a:lnTo>
                  <a:lnTo>
                    <a:pt x="366" y="113"/>
                  </a:lnTo>
                  <a:lnTo>
                    <a:pt x="366" y="106"/>
                  </a:lnTo>
                  <a:lnTo>
                    <a:pt x="371" y="106"/>
                  </a:lnTo>
                  <a:lnTo>
                    <a:pt x="371" y="137"/>
                  </a:lnTo>
                  <a:lnTo>
                    <a:pt x="366" y="146"/>
                  </a:lnTo>
                  <a:lnTo>
                    <a:pt x="366" y="156"/>
                  </a:lnTo>
                  <a:lnTo>
                    <a:pt x="371" y="144"/>
                  </a:lnTo>
                  <a:lnTo>
                    <a:pt x="373" y="139"/>
                  </a:lnTo>
                  <a:lnTo>
                    <a:pt x="373" y="137"/>
                  </a:lnTo>
                  <a:lnTo>
                    <a:pt x="371" y="134"/>
                  </a:lnTo>
                  <a:lnTo>
                    <a:pt x="371" y="123"/>
                  </a:lnTo>
                  <a:lnTo>
                    <a:pt x="373" y="106"/>
                  </a:lnTo>
                  <a:lnTo>
                    <a:pt x="389" y="106"/>
                  </a:lnTo>
                  <a:lnTo>
                    <a:pt x="392" y="104"/>
                  </a:lnTo>
                  <a:lnTo>
                    <a:pt x="397" y="104"/>
                  </a:lnTo>
                  <a:lnTo>
                    <a:pt x="399" y="106"/>
                  </a:lnTo>
                  <a:lnTo>
                    <a:pt x="413" y="106"/>
                  </a:lnTo>
                  <a:lnTo>
                    <a:pt x="415" y="104"/>
                  </a:lnTo>
                  <a:lnTo>
                    <a:pt x="420" y="106"/>
                  </a:lnTo>
                  <a:lnTo>
                    <a:pt x="420" y="113"/>
                  </a:lnTo>
                  <a:lnTo>
                    <a:pt x="423" y="123"/>
                  </a:lnTo>
                  <a:lnTo>
                    <a:pt x="423" y="130"/>
                  </a:lnTo>
                  <a:lnTo>
                    <a:pt x="430" y="137"/>
                  </a:lnTo>
                  <a:lnTo>
                    <a:pt x="432" y="146"/>
                  </a:lnTo>
                  <a:lnTo>
                    <a:pt x="432" y="153"/>
                  </a:lnTo>
                  <a:lnTo>
                    <a:pt x="439" y="156"/>
                  </a:lnTo>
                  <a:lnTo>
                    <a:pt x="444" y="163"/>
                  </a:lnTo>
                  <a:lnTo>
                    <a:pt x="444" y="172"/>
                  </a:lnTo>
                  <a:lnTo>
                    <a:pt x="446" y="184"/>
                  </a:lnTo>
                  <a:lnTo>
                    <a:pt x="451" y="186"/>
                  </a:lnTo>
                  <a:lnTo>
                    <a:pt x="451" y="194"/>
                  </a:lnTo>
                  <a:lnTo>
                    <a:pt x="453" y="196"/>
                  </a:lnTo>
                  <a:lnTo>
                    <a:pt x="467" y="217"/>
                  </a:lnTo>
                  <a:lnTo>
                    <a:pt x="467" y="236"/>
                  </a:lnTo>
                  <a:lnTo>
                    <a:pt x="463" y="250"/>
                  </a:lnTo>
                  <a:lnTo>
                    <a:pt x="456" y="260"/>
                  </a:lnTo>
                  <a:lnTo>
                    <a:pt x="456" y="264"/>
                  </a:lnTo>
                  <a:lnTo>
                    <a:pt x="453" y="264"/>
                  </a:lnTo>
                  <a:lnTo>
                    <a:pt x="451" y="267"/>
                  </a:lnTo>
                  <a:lnTo>
                    <a:pt x="456" y="267"/>
                  </a:lnTo>
                  <a:lnTo>
                    <a:pt x="456" y="264"/>
                  </a:lnTo>
                  <a:lnTo>
                    <a:pt x="460" y="264"/>
                  </a:lnTo>
                  <a:lnTo>
                    <a:pt x="460" y="260"/>
                  </a:lnTo>
                  <a:lnTo>
                    <a:pt x="463" y="260"/>
                  </a:lnTo>
                  <a:lnTo>
                    <a:pt x="463" y="257"/>
                  </a:lnTo>
                  <a:lnTo>
                    <a:pt x="467" y="253"/>
                  </a:lnTo>
                  <a:lnTo>
                    <a:pt x="470" y="253"/>
                  </a:lnTo>
                  <a:lnTo>
                    <a:pt x="472" y="250"/>
                  </a:lnTo>
                  <a:lnTo>
                    <a:pt x="479" y="250"/>
                  </a:lnTo>
                  <a:lnTo>
                    <a:pt x="472" y="257"/>
                  </a:lnTo>
                  <a:lnTo>
                    <a:pt x="472" y="260"/>
                  </a:lnTo>
                  <a:lnTo>
                    <a:pt x="470" y="260"/>
                  </a:lnTo>
                  <a:lnTo>
                    <a:pt x="470" y="264"/>
                  </a:lnTo>
                  <a:lnTo>
                    <a:pt x="472" y="260"/>
                  </a:lnTo>
                  <a:lnTo>
                    <a:pt x="477" y="260"/>
                  </a:lnTo>
                  <a:lnTo>
                    <a:pt x="477" y="257"/>
                  </a:lnTo>
                  <a:lnTo>
                    <a:pt x="479" y="253"/>
                  </a:lnTo>
                  <a:lnTo>
                    <a:pt x="484" y="253"/>
                  </a:lnTo>
                  <a:lnTo>
                    <a:pt x="486" y="250"/>
                  </a:lnTo>
                  <a:lnTo>
                    <a:pt x="493" y="250"/>
                  </a:lnTo>
                  <a:lnTo>
                    <a:pt x="500" y="248"/>
                  </a:lnTo>
                  <a:lnTo>
                    <a:pt x="500" y="243"/>
                  </a:lnTo>
                  <a:lnTo>
                    <a:pt x="526" y="231"/>
                  </a:lnTo>
                  <a:lnTo>
                    <a:pt x="529" y="231"/>
                  </a:lnTo>
                  <a:lnTo>
                    <a:pt x="534" y="227"/>
                  </a:lnTo>
                  <a:lnTo>
                    <a:pt x="557" y="227"/>
                  </a:lnTo>
                  <a:lnTo>
                    <a:pt x="564" y="231"/>
                  </a:lnTo>
                  <a:lnTo>
                    <a:pt x="567" y="231"/>
                  </a:lnTo>
                  <a:lnTo>
                    <a:pt x="569" y="234"/>
                  </a:lnTo>
                  <a:lnTo>
                    <a:pt x="576" y="236"/>
                  </a:lnTo>
                  <a:lnTo>
                    <a:pt x="588" y="241"/>
                  </a:lnTo>
                  <a:lnTo>
                    <a:pt x="590" y="243"/>
                  </a:lnTo>
                  <a:lnTo>
                    <a:pt x="604" y="243"/>
                  </a:lnTo>
                  <a:lnTo>
                    <a:pt x="614" y="248"/>
                  </a:lnTo>
                  <a:lnTo>
                    <a:pt x="616" y="248"/>
                  </a:lnTo>
                  <a:lnTo>
                    <a:pt x="630" y="250"/>
                  </a:lnTo>
                  <a:lnTo>
                    <a:pt x="626" y="269"/>
                  </a:lnTo>
                  <a:lnTo>
                    <a:pt x="626" y="274"/>
                  </a:lnTo>
                  <a:lnTo>
                    <a:pt x="623" y="276"/>
                  </a:lnTo>
                  <a:lnTo>
                    <a:pt x="621" y="281"/>
                  </a:lnTo>
                  <a:lnTo>
                    <a:pt x="614" y="290"/>
                  </a:lnTo>
                  <a:lnTo>
                    <a:pt x="614" y="293"/>
                  </a:lnTo>
                  <a:lnTo>
                    <a:pt x="609" y="293"/>
                  </a:lnTo>
                  <a:lnTo>
                    <a:pt x="590" y="323"/>
                  </a:lnTo>
                  <a:lnTo>
                    <a:pt x="590" y="328"/>
                  </a:lnTo>
                  <a:lnTo>
                    <a:pt x="588" y="331"/>
                  </a:lnTo>
                  <a:lnTo>
                    <a:pt x="583" y="333"/>
                  </a:lnTo>
                  <a:lnTo>
                    <a:pt x="576" y="347"/>
                  </a:lnTo>
                  <a:lnTo>
                    <a:pt x="574" y="349"/>
                  </a:lnTo>
                  <a:lnTo>
                    <a:pt x="569" y="354"/>
                  </a:lnTo>
                  <a:lnTo>
                    <a:pt x="552" y="380"/>
                  </a:lnTo>
                  <a:lnTo>
                    <a:pt x="550" y="385"/>
                  </a:lnTo>
                  <a:lnTo>
                    <a:pt x="548" y="390"/>
                  </a:lnTo>
                  <a:lnTo>
                    <a:pt x="543" y="394"/>
                  </a:lnTo>
                  <a:lnTo>
                    <a:pt x="543" y="397"/>
                  </a:lnTo>
                  <a:lnTo>
                    <a:pt x="541" y="401"/>
                  </a:lnTo>
                  <a:lnTo>
                    <a:pt x="526" y="420"/>
                  </a:lnTo>
                  <a:lnTo>
                    <a:pt x="524" y="425"/>
                  </a:lnTo>
                  <a:lnTo>
                    <a:pt x="519" y="430"/>
                  </a:lnTo>
                  <a:lnTo>
                    <a:pt x="517" y="434"/>
                  </a:lnTo>
                  <a:lnTo>
                    <a:pt x="510" y="444"/>
                  </a:lnTo>
                  <a:lnTo>
                    <a:pt x="508" y="446"/>
                  </a:lnTo>
                  <a:lnTo>
                    <a:pt x="503" y="453"/>
                  </a:lnTo>
                  <a:lnTo>
                    <a:pt x="489" y="475"/>
                  </a:lnTo>
                  <a:lnTo>
                    <a:pt x="486" y="482"/>
                  </a:lnTo>
                  <a:lnTo>
                    <a:pt x="484" y="484"/>
                  </a:lnTo>
                  <a:lnTo>
                    <a:pt x="479" y="491"/>
                  </a:lnTo>
                  <a:lnTo>
                    <a:pt x="477" y="494"/>
                  </a:lnTo>
                  <a:lnTo>
                    <a:pt x="463" y="515"/>
                  </a:lnTo>
                  <a:lnTo>
                    <a:pt x="451" y="531"/>
                  </a:lnTo>
                  <a:lnTo>
                    <a:pt x="444" y="541"/>
                  </a:lnTo>
                  <a:lnTo>
                    <a:pt x="437" y="555"/>
                  </a:lnTo>
                  <a:lnTo>
                    <a:pt x="432" y="555"/>
                  </a:lnTo>
                  <a:lnTo>
                    <a:pt x="427" y="564"/>
                  </a:lnTo>
                  <a:lnTo>
                    <a:pt x="415" y="574"/>
                  </a:lnTo>
                  <a:lnTo>
                    <a:pt x="411" y="583"/>
                  </a:lnTo>
                  <a:lnTo>
                    <a:pt x="392" y="605"/>
                  </a:lnTo>
                  <a:lnTo>
                    <a:pt x="382" y="619"/>
                  </a:lnTo>
                  <a:lnTo>
                    <a:pt x="373" y="628"/>
                  </a:lnTo>
                  <a:lnTo>
                    <a:pt x="363" y="638"/>
                  </a:lnTo>
                  <a:lnTo>
                    <a:pt x="363" y="671"/>
                  </a:lnTo>
                  <a:lnTo>
                    <a:pt x="366" y="694"/>
                  </a:lnTo>
                  <a:lnTo>
                    <a:pt x="366" y="718"/>
                  </a:lnTo>
                  <a:lnTo>
                    <a:pt x="371" y="749"/>
                  </a:lnTo>
                  <a:lnTo>
                    <a:pt x="373" y="798"/>
                  </a:lnTo>
                  <a:lnTo>
                    <a:pt x="380" y="879"/>
                  </a:lnTo>
                  <a:lnTo>
                    <a:pt x="380" y="902"/>
                  </a:lnTo>
                  <a:lnTo>
                    <a:pt x="382" y="942"/>
                  </a:lnTo>
                  <a:lnTo>
                    <a:pt x="382" y="978"/>
                  </a:lnTo>
                  <a:lnTo>
                    <a:pt x="375" y="978"/>
                  </a:lnTo>
                  <a:lnTo>
                    <a:pt x="262" y="98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8" name="Freeform 463">
              <a:extLst>
                <a:ext uri="{FF2B5EF4-FFF2-40B4-BE49-F238E27FC236}">
                  <a16:creationId xmlns:a16="http://schemas.microsoft.com/office/drawing/2014/main" id="{3F13270D-BAB7-4C07-BF5B-00984A47AC8D}"/>
                </a:ext>
              </a:extLst>
            </p:cNvPr>
            <p:cNvSpPr>
              <a:spLocks/>
            </p:cNvSpPr>
            <p:nvPr/>
          </p:nvSpPr>
          <p:spPr bwMode="gray">
            <a:xfrm rot="47099">
              <a:off x="975583" y="2418444"/>
              <a:ext cx="276980" cy="494958"/>
            </a:xfrm>
            <a:custGeom>
              <a:avLst/>
              <a:gdLst>
                <a:gd name="T0" fmla="*/ 196 w 595"/>
                <a:gd name="T1" fmla="*/ 879 h 1063"/>
                <a:gd name="T2" fmla="*/ 184 w 595"/>
                <a:gd name="T3" fmla="*/ 879 h 1063"/>
                <a:gd name="T4" fmla="*/ 170 w 595"/>
                <a:gd name="T5" fmla="*/ 853 h 1063"/>
                <a:gd name="T6" fmla="*/ 170 w 595"/>
                <a:gd name="T7" fmla="*/ 836 h 1063"/>
                <a:gd name="T8" fmla="*/ 154 w 595"/>
                <a:gd name="T9" fmla="*/ 822 h 1063"/>
                <a:gd name="T10" fmla="*/ 149 w 595"/>
                <a:gd name="T11" fmla="*/ 805 h 1063"/>
                <a:gd name="T12" fmla="*/ 139 w 595"/>
                <a:gd name="T13" fmla="*/ 791 h 1063"/>
                <a:gd name="T14" fmla="*/ 123 w 595"/>
                <a:gd name="T15" fmla="*/ 751 h 1063"/>
                <a:gd name="T16" fmla="*/ 114 w 595"/>
                <a:gd name="T17" fmla="*/ 746 h 1063"/>
                <a:gd name="T18" fmla="*/ 104 w 595"/>
                <a:gd name="T19" fmla="*/ 725 h 1063"/>
                <a:gd name="T20" fmla="*/ 88 w 595"/>
                <a:gd name="T21" fmla="*/ 711 h 1063"/>
                <a:gd name="T22" fmla="*/ 76 w 595"/>
                <a:gd name="T23" fmla="*/ 694 h 1063"/>
                <a:gd name="T24" fmla="*/ 80 w 595"/>
                <a:gd name="T25" fmla="*/ 685 h 1063"/>
                <a:gd name="T26" fmla="*/ 69 w 595"/>
                <a:gd name="T27" fmla="*/ 678 h 1063"/>
                <a:gd name="T28" fmla="*/ 57 w 595"/>
                <a:gd name="T29" fmla="*/ 659 h 1063"/>
                <a:gd name="T30" fmla="*/ 57 w 595"/>
                <a:gd name="T31" fmla="*/ 635 h 1063"/>
                <a:gd name="T32" fmla="*/ 43 w 595"/>
                <a:gd name="T33" fmla="*/ 605 h 1063"/>
                <a:gd name="T34" fmla="*/ 33 w 595"/>
                <a:gd name="T35" fmla="*/ 602 h 1063"/>
                <a:gd name="T36" fmla="*/ 19 w 595"/>
                <a:gd name="T37" fmla="*/ 588 h 1063"/>
                <a:gd name="T38" fmla="*/ 2 w 595"/>
                <a:gd name="T39" fmla="*/ 576 h 1063"/>
                <a:gd name="T40" fmla="*/ 7 w 595"/>
                <a:gd name="T41" fmla="*/ 553 h 1063"/>
                <a:gd name="T42" fmla="*/ 0 w 595"/>
                <a:gd name="T43" fmla="*/ 531 h 1063"/>
                <a:gd name="T44" fmla="*/ 19 w 595"/>
                <a:gd name="T45" fmla="*/ 460 h 1063"/>
                <a:gd name="T46" fmla="*/ 59 w 595"/>
                <a:gd name="T47" fmla="*/ 328 h 1063"/>
                <a:gd name="T48" fmla="*/ 69 w 595"/>
                <a:gd name="T49" fmla="*/ 283 h 1063"/>
                <a:gd name="T50" fmla="*/ 99 w 595"/>
                <a:gd name="T51" fmla="*/ 191 h 1063"/>
                <a:gd name="T52" fmla="*/ 116 w 595"/>
                <a:gd name="T53" fmla="*/ 125 h 1063"/>
                <a:gd name="T54" fmla="*/ 149 w 595"/>
                <a:gd name="T55" fmla="*/ 16 h 1063"/>
                <a:gd name="T56" fmla="*/ 161 w 595"/>
                <a:gd name="T57" fmla="*/ 4 h 1063"/>
                <a:gd name="T58" fmla="*/ 227 w 595"/>
                <a:gd name="T59" fmla="*/ 21 h 1063"/>
                <a:gd name="T60" fmla="*/ 300 w 595"/>
                <a:gd name="T61" fmla="*/ 38 h 1063"/>
                <a:gd name="T62" fmla="*/ 333 w 595"/>
                <a:gd name="T63" fmla="*/ 45 h 1063"/>
                <a:gd name="T64" fmla="*/ 395 w 595"/>
                <a:gd name="T65" fmla="*/ 56 h 1063"/>
                <a:gd name="T66" fmla="*/ 447 w 595"/>
                <a:gd name="T67" fmla="*/ 68 h 1063"/>
                <a:gd name="T68" fmla="*/ 525 w 595"/>
                <a:gd name="T69" fmla="*/ 80 h 1063"/>
                <a:gd name="T70" fmla="*/ 595 w 595"/>
                <a:gd name="T71" fmla="*/ 90 h 1063"/>
                <a:gd name="T72" fmla="*/ 581 w 595"/>
                <a:gd name="T73" fmla="*/ 175 h 1063"/>
                <a:gd name="T74" fmla="*/ 555 w 595"/>
                <a:gd name="T75" fmla="*/ 359 h 1063"/>
                <a:gd name="T76" fmla="*/ 525 w 595"/>
                <a:gd name="T77" fmla="*/ 576 h 1063"/>
                <a:gd name="T78" fmla="*/ 508 w 595"/>
                <a:gd name="T79" fmla="*/ 701 h 1063"/>
                <a:gd name="T80" fmla="*/ 494 w 595"/>
                <a:gd name="T81" fmla="*/ 796 h 1063"/>
                <a:gd name="T82" fmla="*/ 480 w 595"/>
                <a:gd name="T83" fmla="*/ 888 h 1063"/>
                <a:gd name="T84" fmla="*/ 470 w 595"/>
                <a:gd name="T85" fmla="*/ 975 h 1063"/>
                <a:gd name="T86" fmla="*/ 458 w 595"/>
                <a:gd name="T87" fmla="*/ 1056 h 1063"/>
                <a:gd name="T88" fmla="*/ 430 w 595"/>
                <a:gd name="T89" fmla="*/ 1060 h 1063"/>
                <a:gd name="T90" fmla="*/ 354 w 595"/>
                <a:gd name="T91" fmla="*/ 1049 h 1063"/>
                <a:gd name="T92" fmla="*/ 310 w 595"/>
                <a:gd name="T93" fmla="*/ 1044 h 1063"/>
                <a:gd name="T94" fmla="*/ 265 w 595"/>
                <a:gd name="T95" fmla="*/ 1032 h 1063"/>
                <a:gd name="T96" fmla="*/ 225 w 595"/>
                <a:gd name="T97" fmla="*/ 1023 h 1063"/>
                <a:gd name="T98" fmla="*/ 201 w 595"/>
                <a:gd name="T99" fmla="*/ 985 h 1063"/>
                <a:gd name="T100" fmla="*/ 196 w 595"/>
                <a:gd name="T101" fmla="*/ 966 h 1063"/>
                <a:gd name="T102" fmla="*/ 203 w 595"/>
                <a:gd name="T103" fmla="*/ 952 h 1063"/>
                <a:gd name="T104" fmla="*/ 203 w 595"/>
                <a:gd name="T105" fmla="*/ 902 h 106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95"/>
                <a:gd name="T160" fmla="*/ 0 h 1063"/>
                <a:gd name="T161" fmla="*/ 595 w 595"/>
                <a:gd name="T162" fmla="*/ 1063 h 106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95" h="1063">
                  <a:moveTo>
                    <a:pt x="203" y="893"/>
                  </a:moveTo>
                  <a:lnTo>
                    <a:pt x="203" y="893"/>
                  </a:lnTo>
                  <a:lnTo>
                    <a:pt x="196" y="883"/>
                  </a:lnTo>
                  <a:lnTo>
                    <a:pt x="196" y="879"/>
                  </a:lnTo>
                  <a:lnTo>
                    <a:pt x="194" y="876"/>
                  </a:lnTo>
                  <a:lnTo>
                    <a:pt x="187" y="876"/>
                  </a:lnTo>
                  <a:lnTo>
                    <a:pt x="187" y="879"/>
                  </a:lnTo>
                  <a:lnTo>
                    <a:pt x="184" y="879"/>
                  </a:lnTo>
                  <a:lnTo>
                    <a:pt x="180" y="869"/>
                  </a:lnTo>
                  <a:lnTo>
                    <a:pt x="180" y="860"/>
                  </a:lnTo>
                  <a:lnTo>
                    <a:pt x="177" y="860"/>
                  </a:lnTo>
                  <a:lnTo>
                    <a:pt x="170" y="853"/>
                  </a:lnTo>
                  <a:lnTo>
                    <a:pt x="165" y="845"/>
                  </a:lnTo>
                  <a:lnTo>
                    <a:pt x="165" y="843"/>
                  </a:lnTo>
                  <a:lnTo>
                    <a:pt x="170" y="843"/>
                  </a:lnTo>
                  <a:lnTo>
                    <a:pt x="170" y="836"/>
                  </a:lnTo>
                  <a:lnTo>
                    <a:pt x="165" y="831"/>
                  </a:lnTo>
                  <a:lnTo>
                    <a:pt x="163" y="827"/>
                  </a:lnTo>
                  <a:lnTo>
                    <a:pt x="161" y="822"/>
                  </a:lnTo>
                  <a:lnTo>
                    <a:pt x="154" y="822"/>
                  </a:lnTo>
                  <a:lnTo>
                    <a:pt x="149" y="815"/>
                  </a:lnTo>
                  <a:lnTo>
                    <a:pt x="154" y="812"/>
                  </a:lnTo>
                  <a:lnTo>
                    <a:pt x="154" y="810"/>
                  </a:lnTo>
                  <a:lnTo>
                    <a:pt x="149" y="805"/>
                  </a:lnTo>
                  <a:lnTo>
                    <a:pt x="147" y="803"/>
                  </a:lnTo>
                  <a:lnTo>
                    <a:pt x="144" y="798"/>
                  </a:lnTo>
                  <a:lnTo>
                    <a:pt x="139" y="798"/>
                  </a:lnTo>
                  <a:lnTo>
                    <a:pt x="139" y="791"/>
                  </a:lnTo>
                  <a:lnTo>
                    <a:pt x="137" y="772"/>
                  </a:lnTo>
                  <a:lnTo>
                    <a:pt x="130" y="763"/>
                  </a:lnTo>
                  <a:lnTo>
                    <a:pt x="130" y="751"/>
                  </a:lnTo>
                  <a:lnTo>
                    <a:pt x="123" y="751"/>
                  </a:lnTo>
                  <a:lnTo>
                    <a:pt x="121" y="756"/>
                  </a:lnTo>
                  <a:lnTo>
                    <a:pt x="121" y="758"/>
                  </a:lnTo>
                  <a:lnTo>
                    <a:pt x="114" y="756"/>
                  </a:lnTo>
                  <a:lnTo>
                    <a:pt x="114" y="746"/>
                  </a:lnTo>
                  <a:lnTo>
                    <a:pt x="109" y="739"/>
                  </a:lnTo>
                  <a:lnTo>
                    <a:pt x="109" y="732"/>
                  </a:lnTo>
                  <a:lnTo>
                    <a:pt x="106" y="732"/>
                  </a:lnTo>
                  <a:lnTo>
                    <a:pt x="104" y="725"/>
                  </a:lnTo>
                  <a:lnTo>
                    <a:pt x="104" y="723"/>
                  </a:lnTo>
                  <a:lnTo>
                    <a:pt x="99" y="716"/>
                  </a:lnTo>
                  <a:lnTo>
                    <a:pt x="97" y="716"/>
                  </a:lnTo>
                  <a:lnTo>
                    <a:pt x="88" y="711"/>
                  </a:lnTo>
                  <a:lnTo>
                    <a:pt x="80" y="706"/>
                  </a:lnTo>
                  <a:lnTo>
                    <a:pt x="80" y="701"/>
                  </a:lnTo>
                  <a:lnTo>
                    <a:pt x="76" y="699"/>
                  </a:lnTo>
                  <a:lnTo>
                    <a:pt x="76" y="694"/>
                  </a:lnTo>
                  <a:lnTo>
                    <a:pt x="80" y="694"/>
                  </a:lnTo>
                  <a:lnTo>
                    <a:pt x="83" y="692"/>
                  </a:lnTo>
                  <a:lnTo>
                    <a:pt x="83" y="685"/>
                  </a:lnTo>
                  <a:lnTo>
                    <a:pt x="80" y="685"/>
                  </a:lnTo>
                  <a:lnTo>
                    <a:pt x="80" y="682"/>
                  </a:lnTo>
                  <a:lnTo>
                    <a:pt x="76" y="682"/>
                  </a:lnTo>
                  <a:lnTo>
                    <a:pt x="73" y="678"/>
                  </a:lnTo>
                  <a:lnTo>
                    <a:pt x="69" y="678"/>
                  </a:lnTo>
                  <a:lnTo>
                    <a:pt x="64" y="682"/>
                  </a:lnTo>
                  <a:lnTo>
                    <a:pt x="59" y="682"/>
                  </a:lnTo>
                  <a:lnTo>
                    <a:pt x="57" y="678"/>
                  </a:lnTo>
                  <a:lnTo>
                    <a:pt x="57" y="659"/>
                  </a:lnTo>
                  <a:lnTo>
                    <a:pt x="59" y="659"/>
                  </a:lnTo>
                  <a:lnTo>
                    <a:pt x="59" y="649"/>
                  </a:lnTo>
                  <a:lnTo>
                    <a:pt x="57" y="638"/>
                  </a:lnTo>
                  <a:lnTo>
                    <a:pt x="57" y="635"/>
                  </a:lnTo>
                  <a:lnTo>
                    <a:pt x="50" y="633"/>
                  </a:lnTo>
                  <a:lnTo>
                    <a:pt x="50" y="619"/>
                  </a:lnTo>
                  <a:lnTo>
                    <a:pt x="47" y="612"/>
                  </a:lnTo>
                  <a:lnTo>
                    <a:pt x="43" y="605"/>
                  </a:lnTo>
                  <a:lnTo>
                    <a:pt x="43" y="602"/>
                  </a:lnTo>
                  <a:lnTo>
                    <a:pt x="40" y="597"/>
                  </a:lnTo>
                  <a:lnTo>
                    <a:pt x="36" y="597"/>
                  </a:lnTo>
                  <a:lnTo>
                    <a:pt x="33" y="602"/>
                  </a:lnTo>
                  <a:lnTo>
                    <a:pt x="33" y="605"/>
                  </a:lnTo>
                  <a:lnTo>
                    <a:pt x="26" y="597"/>
                  </a:lnTo>
                  <a:lnTo>
                    <a:pt x="24" y="597"/>
                  </a:lnTo>
                  <a:lnTo>
                    <a:pt x="19" y="588"/>
                  </a:lnTo>
                  <a:lnTo>
                    <a:pt x="19" y="581"/>
                  </a:lnTo>
                  <a:lnTo>
                    <a:pt x="10" y="579"/>
                  </a:lnTo>
                  <a:lnTo>
                    <a:pt x="7" y="579"/>
                  </a:lnTo>
                  <a:lnTo>
                    <a:pt x="2" y="576"/>
                  </a:lnTo>
                  <a:lnTo>
                    <a:pt x="0" y="562"/>
                  </a:lnTo>
                  <a:lnTo>
                    <a:pt x="0" y="555"/>
                  </a:lnTo>
                  <a:lnTo>
                    <a:pt x="10" y="555"/>
                  </a:lnTo>
                  <a:lnTo>
                    <a:pt x="7" y="553"/>
                  </a:lnTo>
                  <a:lnTo>
                    <a:pt x="7" y="545"/>
                  </a:lnTo>
                  <a:lnTo>
                    <a:pt x="2" y="541"/>
                  </a:lnTo>
                  <a:lnTo>
                    <a:pt x="0" y="536"/>
                  </a:lnTo>
                  <a:lnTo>
                    <a:pt x="0" y="531"/>
                  </a:lnTo>
                  <a:lnTo>
                    <a:pt x="12" y="489"/>
                  </a:lnTo>
                  <a:lnTo>
                    <a:pt x="12" y="482"/>
                  </a:lnTo>
                  <a:lnTo>
                    <a:pt x="17" y="472"/>
                  </a:lnTo>
                  <a:lnTo>
                    <a:pt x="19" y="460"/>
                  </a:lnTo>
                  <a:lnTo>
                    <a:pt x="31" y="427"/>
                  </a:lnTo>
                  <a:lnTo>
                    <a:pt x="43" y="380"/>
                  </a:lnTo>
                  <a:lnTo>
                    <a:pt x="52" y="345"/>
                  </a:lnTo>
                  <a:lnTo>
                    <a:pt x="59" y="328"/>
                  </a:lnTo>
                  <a:lnTo>
                    <a:pt x="59" y="319"/>
                  </a:lnTo>
                  <a:lnTo>
                    <a:pt x="64" y="314"/>
                  </a:lnTo>
                  <a:lnTo>
                    <a:pt x="69" y="295"/>
                  </a:lnTo>
                  <a:lnTo>
                    <a:pt x="69" y="283"/>
                  </a:lnTo>
                  <a:lnTo>
                    <a:pt x="80" y="255"/>
                  </a:lnTo>
                  <a:lnTo>
                    <a:pt x="88" y="231"/>
                  </a:lnTo>
                  <a:lnTo>
                    <a:pt x="92" y="208"/>
                  </a:lnTo>
                  <a:lnTo>
                    <a:pt x="99" y="191"/>
                  </a:lnTo>
                  <a:lnTo>
                    <a:pt x="106" y="160"/>
                  </a:lnTo>
                  <a:lnTo>
                    <a:pt x="114" y="142"/>
                  </a:lnTo>
                  <a:lnTo>
                    <a:pt x="116" y="134"/>
                  </a:lnTo>
                  <a:lnTo>
                    <a:pt x="116" y="125"/>
                  </a:lnTo>
                  <a:lnTo>
                    <a:pt x="123" y="104"/>
                  </a:lnTo>
                  <a:lnTo>
                    <a:pt x="130" y="80"/>
                  </a:lnTo>
                  <a:lnTo>
                    <a:pt x="147" y="30"/>
                  </a:lnTo>
                  <a:lnTo>
                    <a:pt x="149" y="16"/>
                  </a:lnTo>
                  <a:lnTo>
                    <a:pt x="154" y="4"/>
                  </a:lnTo>
                  <a:lnTo>
                    <a:pt x="156" y="4"/>
                  </a:lnTo>
                  <a:lnTo>
                    <a:pt x="156" y="0"/>
                  </a:lnTo>
                  <a:lnTo>
                    <a:pt x="161" y="4"/>
                  </a:lnTo>
                  <a:lnTo>
                    <a:pt x="177" y="7"/>
                  </a:lnTo>
                  <a:lnTo>
                    <a:pt x="189" y="12"/>
                  </a:lnTo>
                  <a:lnTo>
                    <a:pt x="210" y="16"/>
                  </a:lnTo>
                  <a:lnTo>
                    <a:pt x="227" y="21"/>
                  </a:lnTo>
                  <a:lnTo>
                    <a:pt x="253" y="28"/>
                  </a:lnTo>
                  <a:lnTo>
                    <a:pt x="269" y="30"/>
                  </a:lnTo>
                  <a:lnTo>
                    <a:pt x="284" y="33"/>
                  </a:lnTo>
                  <a:lnTo>
                    <a:pt x="300" y="38"/>
                  </a:lnTo>
                  <a:lnTo>
                    <a:pt x="307" y="40"/>
                  </a:lnTo>
                  <a:lnTo>
                    <a:pt x="317" y="40"/>
                  </a:lnTo>
                  <a:lnTo>
                    <a:pt x="321" y="45"/>
                  </a:lnTo>
                  <a:lnTo>
                    <a:pt x="333" y="45"/>
                  </a:lnTo>
                  <a:lnTo>
                    <a:pt x="343" y="47"/>
                  </a:lnTo>
                  <a:lnTo>
                    <a:pt x="354" y="52"/>
                  </a:lnTo>
                  <a:lnTo>
                    <a:pt x="383" y="54"/>
                  </a:lnTo>
                  <a:lnTo>
                    <a:pt x="395" y="56"/>
                  </a:lnTo>
                  <a:lnTo>
                    <a:pt x="399" y="56"/>
                  </a:lnTo>
                  <a:lnTo>
                    <a:pt x="411" y="61"/>
                  </a:lnTo>
                  <a:lnTo>
                    <a:pt x="421" y="64"/>
                  </a:lnTo>
                  <a:lnTo>
                    <a:pt x="447" y="68"/>
                  </a:lnTo>
                  <a:lnTo>
                    <a:pt x="475" y="71"/>
                  </a:lnTo>
                  <a:lnTo>
                    <a:pt x="494" y="73"/>
                  </a:lnTo>
                  <a:lnTo>
                    <a:pt x="510" y="78"/>
                  </a:lnTo>
                  <a:lnTo>
                    <a:pt x="525" y="80"/>
                  </a:lnTo>
                  <a:lnTo>
                    <a:pt x="532" y="80"/>
                  </a:lnTo>
                  <a:lnTo>
                    <a:pt x="574" y="87"/>
                  </a:lnTo>
                  <a:lnTo>
                    <a:pt x="584" y="87"/>
                  </a:lnTo>
                  <a:lnTo>
                    <a:pt x="595" y="90"/>
                  </a:lnTo>
                  <a:lnTo>
                    <a:pt x="595" y="94"/>
                  </a:lnTo>
                  <a:lnTo>
                    <a:pt x="591" y="101"/>
                  </a:lnTo>
                  <a:lnTo>
                    <a:pt x="588" y="137"/>
                  </a:lnTo>
                  <a:lnTo>
                    <a:pt x="581" y="175"/>
                  </a:lnTo>
                  <a:lnTo>
                    <a:pt x="574" y="217"/>
                  </a:lnTo>
                  <a:lnTo>
                    <a:pt x="572" y="248"/>
                  </a:lnTo>
                  <a:lnTo>
                    <a:pt x="565" y="290"/>
                  </a:lnTo>
                  <a:lnTo>
                    <a:pt x="555" y="359"/>
                  </a:lnTo>
                  <a:lnTo>
                    <a:pt x="548" y="404"/>
                  </a:lnTo>
                  <a:lnTo>
                    <a:pt x="541" y="456"/>
                  </a:lnTo>
                  <a:lnTo>
                    <a:pt x="532" y="536"/>
                  </a:lnTo>
                  <a:lnTo>
                    <a:pt x="525" y="576"/>
                  </a:lnTo>
                  <a:lnTo>
                    <a:pt x="520" y="602"/>
                  </a:lnTo>
                  <a:lnTo>
                    <a:pt x="510" y="673"/>
                  </a:lnTo>
                  <a:lnTo>
                    <a:pt x="508" y="690"/>
                  </a:lnTo>
                  <a:lnTo>
                    <a:pt x="508" y="701"/>
                  </a:lnTo>
                  <a:lnTo>
                    <a:pt x="503" y="716"/>
                  </a:lnTo>
                  <a:lnTo>
                    <a:pt x="503" y="730"/>
                  </a:lnTo>
                  <a:lnTo>
                    <a:pt x="501" y="742"/>
                  </a:lnTo>
                  <a:lnTo>
                    <a:pt x="494" y="796"/>
                  </a:lnTo>
                  <a:lnTo>
                    <a:pt x="487" y="831"/>
                  </a:lnTo>
                  <a:lnTo>
                    <a:pt x="487" y="848"/>
                  </a:lnTo>
                  <a:lnTo>
                    <a:pt x="484" y="871"/>
                  </a:lnTo>
                  <a:lnTo>
                    <a:pt x="480" y="888"/>
                  </a:lnTo>
                  <a:lnTo>
                    <a:pt x="475" y="933"/>
                  </a:lnTo>
                  <a:lnTo>
                    <a:pt x="475" y="949"/>
                  </a:lnTo>
                  <a:lnTo>
                    <a:pt x="470" y="964"/>
                  </a:lnTo>
                  <a:lnTo>
                    <a:pt x="470" y="975"/>
                  </a:lnTo>
                  <a:lnTo>
                    <a:pt x="468" y="992"/>
                  </a:lnTo>
                  <a:lnTo>
                    <a:pt x="468" y="1004"/>
                  </a:lnTo>
                  <a:lnTo>
                    <a:pt x="463" y="1016"/>
                  </a:lnTo>
                  <a:lnTo>
                    <a:pt x="458" y="1056"/>
                  </a:lnTo>
                  <a:lnTo>
                    <a:pt x="458" y="1063"/>
                  </a:lnTo>
                  <a:lnTo>
                    <a:pt x="454" y="1063"/>
                  </a:lnTo>
                  <a:lnTo>
                    <a:pt x="447" y="1060"/>
                  </a:lnTo>
                  <a:lnTo>
                    <a:pt x="430" y="1060"/>
                  </a:lnTo>
                  <a:lnTo>
                    <a:pt x="421" y="1056"/>
                  </a:lnTo>
                  <a:lnTo>
                    <a:pt x="414" y="1056"/>
                  </a:lnTo>
                  <a:lnTo>
                    <a:pt x="380" y="1053"/>
                  </a:lnTo>
                  <a:lnTo>
                    <a:pt x="354" y="1049"/>
                  </a:lnTo>
                  <a:lnTo>
                    <a:pt x="340" y="1046"/>
                  </a:lnTo>
                  <a:lnTo>
                    <a:pt x="333" y="1046"/>
                  </a:lnTo>
                  <a:lnTo>
                    <a:pt x="331" y="1044"/>
                  </a:lnTo>
                  <a:lnTo>
                    <a:pt x="310" y="1044"/>
                  </a:lnTo>
                  <a:lnTo>
                    <a:pt x="307" y="1039"/>
                  </a:lnTo>
                  <a:lnTo>
                    <a:pt x="286" y="1037"/>
                  </a:lnTo>
                  <a:lnTo>
                    <a:pt x="269" y="1037"/>
                  </a:lnTo>
                  <a:lnTo>
                    <a:pt x="265" y="1032"/>
                  </a:lnTo>
                  <a:lnTo>
                    <a:pt x="251" y="1032"/>
                  </a:lnTo>
                  <a:lnTo>
                    <a:pt x="225" y="1025"/>
                  </a:lnTo>
                  <a:lnTo>
                    <a:pt x="227" y="1025"/>
                  </a:lnTo>
                  <a:lnTo>
                    <a:pt x="225" y="1023"/>
                  </a:lnTo>
                  <a:lnTo>
                    <a:pt x="220" y="1016"/>
                  </a:lnTo>
                  <a:lnTo>
                    <a:pt x="213" y="1009"/>
                  </a:lnTo>
                  <a:lnTo>
                    <a:pt x="206" y="1004"/>
                  </a:lnTo>
                  <a:lnTo>
                    <a:pt x="201" y="985"/>
                  </a:lnTo>
                  <a:lnTo>
                    <a:pt x="201" y="973"/>
                  </a:lnTo>
                  <a:lnTo>
                    <a:pt x="196" y="973"/>
                  </a:lnTo>
                  <a:lnTo>
                    <a:pt x="194" y="968"/>
                  </a:lnTo>
                  <a:lnTo>
                    <a:pt x="196" y="966"/>
                  </a:lnTo>
                  <a:lnTo>
                    <a:pt x="196" y="964"/>
                  </a:lnTo>
                  <a:lnTo>
                    <a:pt x="201" y="964"/>
                  </a:lnTo>
                  <a:lnTo>
                    <a:pt x="203" y="957"/>
                  </a:lnTo>
                  <a:lnTo>
                    <a:pt x="203" y="952"/>
                  </a:lnTo>
                  <a:lnTo>
                    <a:pt x="206" y="935"/>
                  </a:lnTo>
                  <a:lnTo>
                    <a:pt x="206" y="923"/>
                  </a:lnTo>
                  <a:lnTo>
                    <a:pt x="203" y="923"/>
                  </a:lnTo>
                  <a:lnTo>
                    <a:pt x="203" y="902"/>
                  </a:lnTo>
                  <a:lnTo>
                    <a:pt x="206" y="900"/>
                  </a:lnTo>
                  <a:lnTo>
                    <a:pt x="203" y="895"/>
                  </a:lnTo>
                  <a:lnTo>
                    <a:pt x="203" y="89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69" name="Freeform 464">
              <a:extLst>
                <a:ext uri="{FF2B5EF4-FFF2-40B4-BE49-F238E27FC236}">
                  <a16:creationId xmlns:a16="http://schemas.microsoft.com/office/drawing/2014/main" id="{974C9C6B-52B1-445A-9968-CB901F7EF5CC}"/>
                </a:ext>
              </a:extLst>
            </p:cNvPr>
            <p:cNvSpPr>
              <a:spLocks/>
            </p:cNvSpPr>
            <p:nvPr/>
          </p:nvSpPr>
          <p:spPr bwMode="gray">
            <a:xfrm rot="47099">
              <a:off x="1339784" y="2932475"/>
              <a:ext cx="215528" cy="130252"/>
            </a:xfrm>
            <a:custGeom>
              <a:avLst/>
              <a:gdLst>
                <a:gd name="T0" fmla="*/ 0 w 463"/>
                <a:gd name="T1" fmla="*/ 269 h 281"/>
                <a:gd name="T2" fmla="*/ 0 w 463"/>
                <a:gd name="T3" fmla="*/ 241 h 281"/>
                <a:gd name="T4" fmla="*/ 5 w 463"/>
                <a:gd name="T5" fmla="*/ 200 h 281"/>
                <a:gd name="T6" fmla="*/ 5 w 463"/>
                <a:gd name="T7" fmla="*/ 163 h 281"/>
                <a:gd name="T8" fmla="*/ 7 w 463"/>
                <a:gd name="T9" fmla="*/ 146 h 281"/>
                <a:gd name="T10" fmla="*/ 7 w 463"/>
                <a:gd name="T11" fmla="*/ 75 h 281"/>
                <a:gd name="T12" fmla="*/ 12 w 463"/>
                <a:gd name="T13" fmla="*/ 66 h 281"/>
                <a:gd name="T14" fmla="*/ 12 w 463"/>
                <a:gd name="T15" fmla="*/ 9 h 281"/>
                <a:gd name="T16" fmla="*/ 14 w 463"/>
                <a:gd name="T17" fmla="*/ 0 h 281"/>
                <a:gd name="T18" fmla="*/ 31 w 463"/>
                <a:gd name="T19" fmla="*/ 0 h 281"/>
                <a:gd name="T20" fmla="*/ 40 w 463"/>
                <a:gd name="T21" fmla="*/ 2 h 281"/>
                <a:gd name="T22" fmla="*/ 120 w 463"/>
                <a:gd name="T23" fmla="*/ 2 h 281"/>
                <a:gd name="T24" fmla="*/ 165 w 463"/>
                <a:gd name="T25" fmla="*/ 7 h 281"/>
                <a:gd name="T26" fmla="*/ 352 w 463"/>
                <a:gd name="T27" fmla="*/ 7 h 281"/>
                <a:gd name="T28" fmla="*/ 368 w 463"/>
                <a:gd name="T29" fmla="*/ 2 h 281"/>
                <a:gd name="T30" fmla="*/ 411 w 463"/>
                <a:gd name="T31" fmla="*/ 2 h 281"/>
                <a:gd name="T32" fmla="*/ 411 w 463"/>
                <a:gd name="T33" fmla="*/ 9 h 281"/>
                <a:gd name="T34" fmla="*/ 418 w 463"/>
                <a:gd name="T35" fmla="*/ 18 h 281"/>
                <a:gd name="T36" fmla="*/ 423 w 463"/>
                <a:gd name="T37" fmla="*/ 33 h 281"/>
                <a:gd name="T38" fmla="*/ 418 w 463"/>
                <a:gd name="T39" fmla="*/ 40 h 281"/>
                <a:gd name="T40" fmla="*/ 418 w 463"/>
                <a:gd name="T41" fmla="*/ 52 h 281"/>
                <a:gd name="T42" fmla="*/ 423 w 463"/>
                <a:gd name="T43" fmla="*/ 63 h 281"/>
                <a:gd name="T44" fmla="*/ 423 w 463"/>
                <a:gd name="T45" fmla="*/ 80 h 281"/>
                <a:gd name="T46" fmla="*/ 425 w 463"/>
                <a:gd name="T47" fmla="*/ 85 h 281"/>
                <a:gd name="T48" fmla="*/ 427 w 463"/>
                <a:gd name="T49" fmla="*/ 103 h 281"/>
                <a:gd name="T50" fmla="*/ 432 w 463"/>
                <a:gd name="T51" fmla="*/ 106 h 281"/>
                <a:gd name="T52" fmla="*/ 432 w 463"/>
                <a:gd name="T53" fmla="*/ 113 h 281"/>
                <a:gd name="T54" fmla="*/ 435 w 463"/>
                <a:gd name="T55" fmla="*/ 120 h 281"/>
                <a:gd name="T56" fmla="*/ 439 w 463"/>
                <a:gd name="T57" fmla="*/ 125 h 281"/>
                <a:gd name="T58" fmla="*/ 442 w 463"/>
                <a:gd name="T59" fmla="*/ 146 h 281"/>
                <a:gd name="T60" fmla="*/ 442 w 463"/>
                <a:gd name="T61" fmla="*/ 181 h 281"/>
                <a:gd name="T62" fmla="*/ 444 w 463"/>
                <a:gd name="T63" fmla="*/ 189 h 281"/>
                <a:gd name="T64" fmla="*/ 444 w 463"/>
                <a:gd name="T65" fmla="*/ 212 h 281"/>
                <a:gd name="T66" fmla="*/ 449 w 463"/>
                <a:gd name="T67" fmla="*/ 226 h 281"/>
                <a:gd name="T68" fmla="*/ 451 w 463"/>
                <a:gd name="T69" fmla="*/ 229 h 281"/>
                <a:gd name="T70" fmla="*/ 451 w 463"/>
                <a:gd name="T71" fmla="*/ 233 h 281"/>
                <a:gd name="T72" fmla="*/ 456 w 463"/>
                <a:gd name="T73" fmla="*/ 236 h 281"/>
                <a:gd name="T74" fmla="*/ 458 w 463"/>
                <a:gd name="T75" fmla="*/ 236 h 281"/>
                <a:gd name="T76" fmla="*/ 458 w 463"/>
                <a:gd name="T77" fmla="*/ 243 h 281"/>
                <a:gd name="T78" fmla="*/ 463 w 463"/>
                <a:gd name="T79" fmla="*/ 252 h 281"/>
                <a:gd name="T80" fmla="*/ 463 w 463"/>
                <a:gd name="T81" fmla="*/ 274 h 281"/>
                <a:gd name="T82" fmla="*/ 432 w 463"/>
                <a:gd name="T83" fmla="*/ 276 h 281"/>
                <a:gd name="T84" fmla="*/ 335 w 463"/>
                <a:gd name="T85" fmla="*/ 276 h 281"/>
                <a:gd name="T86" fmla="*/ 307 w 463"/>
                <a:gd name="T87" fmla="*/ 281 h 281"/>
                <a:gd name="T88" fmla="*/ 160 w 463"/>
                <a:gd name="T89" fmla="*/ 281 h 281"/>
                <a:gd name="T90" fmla="*/ 158 w 463"/>
                <a:gd name="T91" fmla="*/ 276 h 281"/>
                <a:gd name="T92" fmla="*/ 64 w 463"/>
                <a:gd name="T93" fmla="*/ 276 h 281"/>
                <a:gd name="T94" fmla="*/ 35 w 463"/>
                <a:gd name="T95" fmla="*/ 274 h 281"/>
                <a:gd name="T96" fmla="*/ 0 w 463"/>
                <a:gd name="T97" fmla="*/ 274 h 281"/>
                <a:gd name="T98" fmla="*/ 0 w 463"/>
                <a:gd name="T99" fmla="*/ 269 h 2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63"/>
                <a:gd name="T151" fmla="*/ 0 h 281"/>
                <a:gd name="T152" fmla="*/ 463 w 463"/>
                <a:gd name="T153" fmla="*/ 281 h 2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63" h="281">
                  <a:moveTo>
                    <a:pt x="0" y="269"/>
                  </a:moveTo>
                  <a:lnTo>
                    <a:pt x="0" y="241"/>
                  </a:lnTo>
                  <a:lnTo>
                    <a:pt x="5" y="200"/>
                  </a:lnTo>
                  <a:lnTo>
                    <a:pt x="5" y="163"/>
                  </a:lnTo>
                  <a:lnTo>
                    <a:pt x="7" y="146"/>
                  </a:lnTo>
                  <a:lnTo>
                    <a:pt x="7" y="75"/>
                  </a:lnTo>
                  <a:lnTo>
                    <a:pt x="12" y="66"/>
                  </a:lnTo>
                  <a:lnTo>
                    <a:pt x="12" y="9"/>
                  </a:lnTo>
                  <a:lnTo>
                    <a:pt x="14" y="0"/>
                  </a:lnTo>
                  <a:lnTo>
                    <a:pt x="31" y="0"/>
                  </a:lnTo>
                  <a:lnTo>
                    <a:pt x="40" y="2"/>
                  </a:lnTo>
                  <a:lnTo>
                    <a:pt x="120" y="2"/>
                  </a:lnTo>
                  <a:lnTo>
                    <a:pt x="165" y="7"/>
                  </a:lnTo>
                  <a:lnTo>
                    <a:pt x="352" y="7"/>
                  </a:lnTo>
                  <a:lnTo>
                    <a:pt x="368" y="2"/>
                  </a:lnTo>
                  <a:lnTo>
                    <a:pt x="411" y="2"/>
                  </a:lnTo>
                  <a:lnTo>
                    <a:pt x="411" y="9"/>
                  </a:lnTo>
                  <a:lnTo>
                    <a:pt x="418" y="18"/>
                  </a:lnTo>
                  <a:lnTo>
                    <a:pt x="423" y="33"/>
                  </a:lnTo>
                  <a:lnTo>
                    <a:pt x="418" y="40"/>
                  </a:lnTo>
                  <a:lnTo>
                    <a:pt x="418" y="52"/>
                  </a:lnTo>
                  <a:lnTo>
                    <a:pt x="423" y="63"/>
                  </a:lnTo>
                  <a:lnTo>
                    <a:pt x="423" y="80"/>
                  </a:lnTo>
                  <a:lnTo>
                    <a:pt x="425" y="85"/>
                  </a:lnTo>
                  <a:lnTo>
                    <a:pt x="427" y="103"/>
                  </a:lnTo>
                  <a:lnTo>
                    <a:pt x="432" y="106"/>
                  </a:lnTo>
                  <a:lnTo>
                    <a:pt x="432" y="113"/>
                  </a:lnTo>
                  <a:lnTo>
                    <a:pt x="435" y="120"/>
                  </a:lnTo>
                  <a:lnTo>
                    <a:pt x="439" y="125"/>
                  </a:lnTo>
                  <a:lnTo>
                    <a:pt x="442" y="146"/>
                  </a:lnTo>
                  <a:lnTo>
                    <a:pt x="442" y="181"/>
                  </a:lnTo>
                  <a:lnTo>
                    <a:pt x="444" y="189"/>
                  </a:lnTo>
                  <a:lnTo>
                    <a:pt x="444" y="212"/>
                  </a:lnTo>
                  <a:lnTo>
                    <a:pt x="449" y="226"/>
                  </a:lnTo>
                  <a:lnTo>
                    <a:pt x="451" y="229"/>
                  </a:lnTo>
                  <a:lnTo>
                    <a:pt x="451" y="233"/>
                  </a:lnTo>
                  <a:lnTo>
                    <a:pt x="456" y="236"/>
                  </a:lnTo>
                  <a:lnTo>
                    <a:pt x="458" y="236"/>
                  </a:lnTo>
                  <a:lnTo>
                    <a:pt x="458" y="243"/>
                  </a:lnTo>
                  <a:lnTo>
                    <a:pt x="463" y="252"/>
                  </a:lnTo>
                  <a:lnTo>
                    <a:pt x="463" y="274"/>
                  </a:lnTo>
                  <a:lnTo>
                    <a:pt x="432" y="276"/>
                  </a:lnTo>
                  <a:lnTo>
                    <a:pt x="335" y="276"/>
                  </a:lnTo>
                  <a:lnTo>
                    <a:pt x="307" y="281"/>
                  </a:lnTo>
                  <a:lnTo>
                    <a:pt x="160" y="281"/>
                  </a:lnTo>
                  <a:lnTo>
                    <a:pt x="158" y="276"/>
                  </a:lnTo>
                  <a:lnTo>
                    <a:pt x="64" y="276"/>
                  </a:lnTo>
                  <a:lnTo>
                    <a:pt x="35" y="274"/>
                  </a:lnTo>
                  <a:lnTo>
                    <a:pt x="0" y="274"/>
                  </a:lnTo>
                  <a:lnTo>
                    <a:pt x="0" y="26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0" name="Freeform 465">
              <a:extLst>
                <a:ext uri="{FF2B5EF4-FFF2-40B4-BE49-F238E27FC236}">
                  <a16:creationId xmlns:a16="http://schemas.microsoft.com/office/drawing/2014/main" id="{F6F7960D-A489-413B-A8C7-CD2886E025FD}"/>
                </a:ext>
              </a:extLst>
            </p:cNvPr>
            <p:cNvSpPr>
              <a:spLocks/>
            </p:cNvSpPr>
            <p:nvPr/>
          </p:nvSpPr>
          <p:spPr bwMode="gray">
            <a:xfrm rot="47099">
              <a:off x="1188011" y="2463517"/>
              <a:ext cx="234231" cy="469872"/>
            </a:xfrm>
            <a:custGeom>
              <a:avLst/>
              <a:gdLst>
                <a:gd name="T0" fmla="*/ 501 w 504"/>
                <a:gd name="T1" fmla="*/ 1011 h 1011"/>
                <a:gd name="T2" fmla="*/ 376 w 504"/>
                <a:gd name="T3" fmla="*/ 1006 h 1011"/>
                <a:gd name="T4" fmla="*/ 331 w 504"/>
                <a:gd name="T5" fmla="*/ 1004 h 1011"/>
                <a:gd name="T6" fmla="*/ 277 w 504"/>
                <a:gd name="T7" fmla="*/ 999 h 1011"/>
                <a:gd name="T8" fmla="*/ 215 w 504"/>
                <a:gd name="T9" fmla="*/ 996 h 1011"/>
                <a:gd name="T10" fmla="*/ 189 w 504"/>
                <a:gd name="T11" fmla="*/ 992 h 1011"/>
                <a:gd name="T12" fmla="*/ 149 w 504"/>
                <a:gd name="T13" fmla="*/ 989 h 1011"/>
                <a:gd name="T14" fmla="*/ 107 w 504"/>
                <a:gd name="T15" fmla="*/ 987 h 1011"/>
                <a:gd name="T16" fmla="*/ 76 w 504"/>
                <a:gd name="T17" fmla="*/ 982 h 1011"/>
                <a:gd name="T18" fmla="*/ 38 w 504"/>
                <a:gd name="T19" fmla="*/ 975 h 1011"/>
                <a:gd name="T20" fmla="*/ 12 w 504"/>
                <a:gd name="T21" fmla="*/ 973 h 1011"/>
                <a:gd name="T22" fmla="*/ 0 w 504"/>
                <a:gd name="T23" fmla="*/ 966 h 1011"/>
                <a:gd name="T24" fmla="*/ 10 w 504"/>
                <a:gd name="T25" fmla="*/ 914 h 1011"/>
                <a:gd name="T26" fmla="*/ 12 w 504"/>
                <a:gd name="T27" fmla="*/ 885 h 1011"/>
                <a:gd name="T28" fmla="*/ 17 w 504"/>
                <a:gd name="T29" fmla="*/ 859 h 1011"/>
                <a:gd name="T30" fmla="*/ 22 w 504"/>
                <a:gd name="T31" fmla="*/ 798 h 1011"/>
                <a:gd name="T32" fmla="*/ 29 w 504"/>
                <a:gd name="T33" fmla="*/ 758 h 1011"/>
                <a:gd name="T34" fmla="*/ 36 w 504"/>
                <a:gd name="T35" fmla="*/ 706 h 1011"/>
                <a:gd name="T36" fmla="*/ 45 w 504"/>
                <a:gd name="T37" fmla="*/ 640 h 1011"/>
                <a:gd name="T38" fmla="*/ 50 w 504"/>
                <a:gd name="T39" fmla="*/ 611 h 1011"/>
                <a:gd name="T40" fmla="*/ 52 w 504"/>
                <a:gd name="T41" fmla="*/ 583 h 1011"/>
                <a:gd name="T42" fmla="*/ 67 w 504"/>
                <a:gd name="T43" fmla="*/ 486 h 1011"/>
                <a:gd name="T44" fmla="*/ 83 w 504"/>
                <a:gd name="T45" fmla="*/ 366 h 1011"/>
                <a:gd name="T46" fmla="*/ 97 w 504"/>
                <a:gd name="T47" fmla="*/ 269 h 1011"/>
                <a:gd name="T48" fmla="*/ 114 w 504"/>
                <a:gd name="T49" fmla="*/ 158 h 1011"/>
                <a:gd name="T50" fmla="*/ 123 w 504"/>
                <a:gd name="T51" fmla="*/ 85 h 1011"/>
                <a:gd name="T52" fmla="*/ 133 w 504"/>
                <a:gd name="T53" fmla="*/ 11 h 1011"/>
                <a:gd name="T54" fmla="*/ 137 w 504"/>
                <a:gd name="T55" fmla="*/ 0 h 1011"/>
                <a:gd name="T56" fmla="*/ 156 w 504"/>
                <a:gd name="T57" fmla="*/ 4 h 1011"/>
                <a:gd name="T58" fmla="*/ 196 w 504"/>
                <a:gd name="T59" fmla="*/ 7 h 1011"/>
                <a:gd name="T60" fmla="*/ 213 w 504"/>
                <a:gd name="T61" fmla="*/ 11 h 1011"/>
                <a:gd name="T62" fmla="*/ 267 w 504"/>
                <a:gd name="T63" fmla="*/ 14 h 1011"/>
                <a:gd name="T64" fmla="*/ 312 w 504"/>
                <a:gd name="T65" fmla="*/ 18 h 1011"/>
                <a:gd name="T66" fmla="*/ 359 w 504"/>
                <a:gd name="T67" fmla="*/ 21 h 1011"/>
                <a:gd name="T68" fmla="*/ 393 w 504"/>
                <a:gd name="T69" fmla="*/ 23 h 1011"/>
                <a:gd name="T70" fmla="*/ 494 w 504"/>
                <a:gd name="T71" fmla="*/ 28 h 1011"/>
                <a:gd name="T72" fmla="*/ 489 w 504"/>
                <a:gd name="T73" fmla="*/ 137 h 1011"/>
                <a:gd name="T74" fmla="*/ 487 w 504"/>
                <a:gd name="T75" fmla="*/ 252 h 1011"/>
                <a:gd name="T76" fmla="*/ 485 w 504"/>
                <a:gd name="T77" fmla="*/ 394 h 1011"/>
                <a:gd name="T78" fmla="*/ 487 w 504"/>
                <a:gd name="T79" fmla="*/ 411 h 1011"/>
                <a:gd name="T80" fmla="*/ 485 w 504"/>
                <a:gd name="T81" fmla="*/ 432 h 1011"/>
                <a:gd name="T82" fmla="*/ 487 w 504"/>
                <a:gd name="T83" fmla="*/ 496 h 1011"/>
                <a:gd name="T84" fmla="*/ 489 w 504"/>
                <a:gd name="T85" fmla="*/ 515 h 1011"/>
                <a:gd name="T86" fmla="*/ 489 w 504"/>
                <a:gd name="T87" fmla="*/ 524 h 1011"/>
                <a:gd name="T88" fmla="*/ 494 w 504"/>
                <a:gd name="T89" fmla="*/ 588 h 1011"/>
                <a:gd name="T90" fmla="*/ 489 w 504"/>
                <a:gd name="T91" fmla="*/ 618 h 1011"/>
                <a:gd name="T92" fmla="*/ 494 w 504"/>
                <a:gd name="T93" fmla="*/ 682 h 1011"/>
                <a:gd name="T94" fmla="*/ 496 w 504"/>
                <a:gd name="T95" fmla="*/ 836 h 1011"/>
                <a:gd name="T96" fmla="*/ 501 w 504"/>
                <a:gd name="T97" fmla="*/ 930 h 1011"/>
                <a:gd name="T98" fmla="*/ 504 w 504"/>
                <a:gd name="T99" fmla="*/ 1011 h 10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4"/>
                <a:gd name="T151" fmla="*/ 0 h 1011"/>
                <a:gd name="T152" fmla="*/ 504 w 504"/>
                <a:gd name="T153" fmla="*/ 1011 h 10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4" h="1011">
                  <a:moveTo>
                    <a:pt x="501" y="1011"/>
                  </a:moveTo>
                  <a:lnTo>
                    <a:pt x="501" y="1011"/>
                  </a:lnTo>
                  <a:lnTo>
                    <a:pt x="456" y="1006"/>
                  </a:lnTo>
                  <a:lnTo>
                    <a:pt x="376" y="1006"/>
                  </a:lnTo>
                  <a:lnTo>
                    <a:pt x="367" y="1004"/>
                  </a:lnTo>
                  <a:lnTo>
                    <a:pt x="331" y="1004"/>
                  </a:lnTo>
                  <a:lnTo>
                    <a:pt x="300" y="999"/>
                  </a:lnTo>
                  <a:lnTo>
                    <a:pt x="277" y="999"/>
                  </a:lnTo>
                  <a:lnTo>
                    <a:pt x="251" y="996"/>
                  </a:lnTo>
                  <a:lnTo>
                    <a:pt x="215" y="996"/>
                  </a:lnTo>
                  <a:lnTo>
                    <a:pt x="206" y="992"/>
                  </a:lnTo>
                  <a:lnTo>
                    <a:pt x="189" y="992"/>
                  </a:lnTo>
                  <a:lnTo>
                    <a:pt x="156" y="989"/>
                  </a:lnTo>
                  <a:lnTo>
                    <a:pt x="149" y="989"/>
                  </a:lnTo>
                  <a:lnTo>
                    <a:pt x="140" y="987"/>
                  </a:lnTo>
                  <a:lnTo>
                    <a:pt x="107" y="987"/>
                  </a:lnTo>
                  <a:lnTo>
                    <a:pt x="97" y="982"/>
                  </a:lnTo>
                  <a:lnTo>
                    <a:pt x="76" y="982"/>
                  </a:lnTo>
                  <a:lnTo>
                    <a:pt x="69" y="980"/>
                  </a:lnTo>
                  <a:lnTo>
                    <a:pt x="38" y="975"/>
                  </a:lnTo>
                  <a:lnTo>
                    <a:pt x="22" y="975"/>
                  </a:lnTo>
                  <a:lnTo>
                    <a:pt x="12" y="973"/>
                  </a:lnTo>
                  <a:lnTo>
                    <a:pt x="0" y="973"/>
                  </a:lnTo>
                  <a:lnTo>
                    <a:pt x="0" y="966"/>
                  </a:lnTo>
                  <a:lnTo>
                    <a:pt x="5" y="926"/>
                  </a:lnTo>
                  <a:lnTo>
                    <a:pt x="10" y="914"/>
                  </a:lnTo>
                  <a:lnTo>
                    <a:pt x="10" y="902"/>
                  </a:lnTo>
                  <a:lnTo>
                    <a:pt x="12" y="885"/>
                  </a:lnTo>
                  <a:lnTo>
                    <a:pt x="12" y="874"/>
                  </a:lnTo>
                  <a:lnTo>
                    <a:pt x="17" y="859"/>
                  </a:lnTo>
                  <a:lnTo>
                    <a:pt x="17" y="843"/>
                  </a:lnTo>
                  <a:lnTo>
                    <a:pt x="22" y="798"/>
                  </a:lnTo>
                  <a:lnTo>
                    <a:pt x="26" y="781"/>
                  </a:lnTo>
                  <a:lnTo>
                    <a:pt x="29" y="758"/>
                  </a:lnTo>
                  <a:lnTo>
                    <a:pt x="29" y="741"/>
                  </a:lnTo>
                  <a:lnTo>
                    <a:pt x="36" y="706"/>
                  </a:lnTo>
                  <a:lnTo>
                    <a:pt x="43" y="652"/>
                  </a:lnTo>
                  <a:lnTo>
                    <a:pt x="45" y="640"/>
                  </a:lnTo>
                  <a:lnTo>
                    <a:pt x="45" y="626"/>
                  </a:lnTo>
                  <a:lnTo>
                    <a:pt x="50" y="611"/>
                  </a:lnTo>
                  <a:lnTo>
                    <a:pt x="50" y="600"/>
                  </a:lnTo>
                  <a:lnTo>
                    <a:pt x="52" y="583"/>
                  </a:lnTo>
                  <a:lnTo>
                    <a:pt x="62" y="512"/>
                  </a:lnTo>
                  <a:lnTo>
                    <a:pt x="67" y="486"/>
                  </a:lnTo>
                  <a:lnTo>
                    <a:pt x="74" y="446"/>
                  </a:lnTo>
                  <a:lnTo>
                    <a:pt x="83" y="366"/>
                  </a:lnTo>
                  <a:lnTo>
                    <a:pt x="90" y="314"/>
                  </a:lnTo>
                  <a:lnTo>
                    <a:pt x="97" y="269"/>
                  </a:lnTo>
                  <a:lnTo>
                    <a:pt x="107" y="200"/>
                  </a:lnTo>
                  <a:lnTo>
                    <a:pt x="114" y="158"/>
                  </a:lnTo>
                  <a:lnTo>
                    <a:pt x="116" y="127"/>
                  </a:lnTo>
                  <a:lnTo>
                    <a:pt x="123" y="85"/>
                  </a:lnTo>
                  <a:lnTo>
                    <a:pt x="130" y="47"/>
                  </a:lnTo>
                  <a:lnTo>
                    <a:pt x="133" y="11"/>
                  </a:lnTo>
                  <a:lnTo>
                    <a:pt x="137" y="4"/>
                  </a:lnTo>
                  <a:lnTo>
                    <a:pt x="137" y="0"/>
                  </a:lnTo>
                  <a:lnTo>
                    <a:pt x="149" y="0"/>
                  </a:lnTo>
                  <a:lnTo>
                    <a:pt x="156" y="4"/>
                  </a:lnTo>
                  <a:lnTo>
                    <a:pt x="175" y="4"/>
                  </a:lnTo>
                  <a:lnTo>
                    <a:pt x="196" y="7"/>
                  </a:lnTo>
                  <a:lnTo>
                    <a:pt x="206" y="7"/>
                  </a:lnTo>
                  <a:lnTo>
                    <a:pt x="213" y="11"/>
                  </a:lnTo>
                  <a:lnTo>
                    <a:pt x="253" y="14"/>
                  </a:lnTo>
                  <a:lnTo>
                    <a:pt x="267" y="14"/>
                  </a:lnTo>
                  <a:lnTo>
                    <a:pt x="303" y="18"/>
                  </a:lnTo>
                  <a:lnTo>
                    <a:pt x="312" y="18"/>
                  </a:lnTo>
                  <a:lnTo>
                    <a:pt x="333" y="21"/>
                  </a:lnTo>
                  <a:lnTo>
                    <a:pt x="359" y="21"/>
                  </a:lnTo>
                  <a:lnTo>
                    <a:pt x="374" y="23"/>
                  </a:lnTo>
                  <a:lnTo>
                    <a:pt x="393" y="23"/>
                  </a:lnTo>
                  <a:lnTo>
                    <a:pt x="437" y="28"/>
                  </a:lnTo>
                  <a:lnTo>
                    <a:pt x="494" y="28"/>
                  </a:lnTo>
                  <a:lnTo>
                    <a:pt x="494" y="94"/>
                  </a:lnTo>
                  <a:lnTo>
                    <a:pt x="489" y="137"/>
                  </a:lnTo>
                  <a:lnTo>
                    <a:pt x="489" y="222"/>
                  </a:lnTo>
                  <a:lnTo>
                    <a:pt x="487" y="252"/>
                  </a:lnTo>
                  <a:lnTo>
                    <a:pt x="487" y="309"/>
                  </a:lnTo>
                  <a:lnTo>
                    <a:pt x="485" y="394"/>
                  </a:lnTo>
                  <a:lnTo>
                    <a:pt x="487" y="401"/>
                  </a:lnTo>
                  <a:lnTo>
                    <a:pt x="487" y="411"/>
                  </a:lnTo>
                  <a:lnTo>
                    <a:pt x="485" y="425"/>
                  </a:lnTo>
                  <a:lnTo>
                    <a:pt x="485" y="432"/>
                  </a:lnTo>
                  <a:lnTo>
                    <a:pt x="487" y="432"/>
                  </a:lnTo>
                  <a:lnTo>
                    <a:pt x="487" y="496"/>
                  </a:lnTo>
                  <a:lnTo>
                    <a:pt x="489" y="496"/>
                  </a:lnTo>
                  <a:lnTo>
                    <a:pt x="489" y="515"/>
                  </a:lnTo>
                  <a:lnTo>
                    <a:pt x="487" y="524"/>
                  </a:lnTo>
                  <a:lnTo>
                    <a:pt x="489" y="524"/>
                  </a:lnTo>
                  <a:lnTo>
                    <a:pt x="489" y="585"/>
                  </a:lnTo>
                  <a:lnTo>
                    <a:pt x="494" y="588"/>
                  </a:lnTo>
                  <a:lnTo>
                    <a:pt x="494" y="611"/>
                  </a:lnTo>
                  <a:lnTo>
                    <a:pt x="489" y="618"/>
                  </a:lnTo>
                  <a:lnTo>
                    <a:pt x="494" y="618"/>
                  </a:lnTo>
                  <a:lnTo>
                    <a:pt x="494" y="682"/>
                  </a:lnTo>
                  <a:lnTo>
                    <a:pt x="496" y="682"/>
                  </a:lnTo>
                  <a:lnTo>
                    <a:pt x="496" y="836"/>
                  </a:lnTo>
                  <a:lnTo>
                    <a:pt x="501" y="836"/>
                  </a:lnTo>
                  <a:lnTo>
                    <a:pt x="501" y="930"/>
                  </a:lnTo>
                  <a:lnTo>
                    <a:pt x="504" y="930"/>
                  </a:lnTo>
                  <a:lnTo>
                    <a:pt x="504" y="1011"/>
                  </a:lnTo>
                  <a:lnTo>
                    <a:pt x="501" y="101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1" name="Freeform 466">
              <a:extLst>
                <a:ext uri="{FF2B5EF4-FFF2-40B4-BE49-F238E27FC236}">
                  <a16:creationId xmlns:a16="http://schemas.microsoft.com/office/drawing/2014/main" id="{325728E7-352C-45A6-9D07-04657E47FA27}"/>
                </a:ext>
              </a:extLst>
            </p:cNvPr>
            <p:cNvSpPr>
              <a:spLocks/>
            </p:cNvSpPr>
            <p:nvPr/>
          </p:nvSpPr>
          <p:spPr bwMode="gray">
            <a:xfrm rot="47099">
              <a:off x="1727912" y="2945817"/>
              <a:ext cx="259168" cy="265328"/>
            </a:xfrm>
            <a:custGeom>
              <a:avLst/>
              <a:gdLst>
                <a:gd name="T0" fmla="*/ 258 w 558"/>
                <a:gd name="T1" fmla="*/ 475 h 572"/>
                <a:gd name="T2" fmla="*/ 243 w 558"/>
                <a:gd name="T3" fmla="*/ 435 h 572"/>
                <a:gd name="T4" fmla="*/ 241 w 558"/>
                <a:gd name="T5" fmla="*/ 357 h 572"/>
                <a:gd name="T6" fmla="*/ 248 w 558"/>
                <a:gd name="T7" fmla="*/ 317 h 572"/>
                <a:gd name="T8" fmla="*/ 251 w 558"/>
                <a:gd name="T9" fmla="*/ 291 h 572"/>
                <a:gd name="T10" fmla="*/ 258 w 558"/>
                <a:gd name="T11" fmla="*/ 276 h 572"/>
                <a:gd name="T12" fmla="*/ 265 w 558"/>
                <a:gd name="T13" fmla="*/ 265 h 572"/>
                <a:gd name="T14" fmla="*/ 269 w 558"/>
                <a:gd name="T15" fmla="*/ 258 h 572"/>
                <a:gd name="T16" fmla="*/ 241 w 558"/>
                <a:gd name="T17" fmla="*/ 241 h 572"/>
                <a:gd name="T18" fmla="*/ 213 w 558"/>
                <a:gd name="T19" fmla="*/ 250 h 572"/>
                <a:gd name="T20" fmla="*/ 208 w 558"/>
                <a:gd name="T21" fmla="*/ 265 h 572"/>
                <a:gd name="T22" fmla="*/ 191 w 558"/>
                <a:gd name="T23" fmla="*/ 276 h 572"/>
                <a:gd name="T24" fmla="*/ 180 w 558"/>
                <a:gd name="T25" fmla="*/ 267 h 572"/>
                <a:gd name="T26" fmla="*/ 177 w 558"/>
                <a:gd name="T27" fmla="*/ 258 h 572"/>
                <a:gd name="T28" fmla="*/ 173 w 558"/>
                <a:gd name="T29" fmla="*/ 246 h 572"/>
                <a:gd name="T30" fmla="*/ 163 w 558"/>
                <a:gd name="T31" fmla="*/ 225 h 572"/>
                <a:gd name="T32" fmla="*/ 151 w 558"/>
                <a:gd name="T33" fmla="*/ 220 h 572"/>
                <a:gd name="T34" fmla="*/ 123 w 558"/>
                <a:gd name="T35" fmla="*/ 203 h 572"/>
                <a:gd name="T36" fmla="*/ 104 w 558"/>
                <a:gd name="T37" fmla="*/ 206 h 572"/>
                <a:gd name="T38" fmla="*/ 80 w 558"/>
                <a:gd name="T39" fmla="*/ 196 h 572"/>
                <a:gd name="T40" fmla="*/ 26 w 558"/>
                <a:gd name="T41" fmla="*/ 189 h 572"/>
                <a:gd name="T42" fmla="*/ 14 w 558"/>
                <a:gd name="T43" fmla="*/ 177 h 572"/>
                <a:gd name="T44" fmla="*/ 0 w 558"/>
                <a:gd name="T45" fmla="*/ 170 h 572"/>
                <a:gd name="T46" fmla="*/ 31 w 558"/>
                <a:gd name="T47" fmla="*/ 69 h 572"/>
                <a:gd name="T48" fmla="*/ 47 w 558"/>
                <a:gd name="T49" fmla="*/ 40 h 572"/>
                <a:gd name="T50" fmla="*/ 83 w 558"/>
                <a:gd name="T51" fmla="*/ 10 h 572"/>
                <a:gd name="T52" fmla="*/ 113 w 558"/>
                <a:gd name="T53" fmla="*/ 7 h 572"/>
                <a:gd name="T54" fmla="*/ 177 w 558"/>
                <a:gd name="T55" fmla="*/ 31 h 572"/>
                <a:gd name="T56" fmla="*/ 225 w 558"/>
                <a:gd name="T57" fmla="*/ 50 h 572"/>
                <a:gd name="T58" fmla="*/ 267 w 558"/>
                <a:gd name="T59" fmla="*/ 64 h 572"/>
                <a:gd name="T60" fmla="*/ 298 w 558"/>
                <a:gd name="T61" fmla="*/ 76 h 572"/>
                <a:gd name="T62" fmla="*/ 333 w 558"/>
                <a:gd name="T63" fmla="*/ 97 h 572"/>
                <a:gd name="T64" fmla="*/ 340 w 558"/>
                <a:gd name="T65" fmla="*/ 109 h 572"/>
                <a:gd name="T66" fmla="*/ 364 w 558"/>
                <a:gd name="T67" fmla="*/ 121 h 572"/>
                <a:gd name="T68" fmla="*/ 380 w 558"/>
                <a:gd name="T69" fmla="*/ 128 h 572"/>
                <a:gd name="T70" fmla="*/ 390 w 558"/>
                <a:gd name="T71" fmla="*/ 144 h 572"/>
                <a:gd name="T72" fmla="*/ 406 w 558"/>
                <a:gd name="T73" fmla="*/ 147 h 572"/>
                <a:gd name="T74" fmla="*/ 430 w 558"/>
                <a:gd name="T75" fmla="*/ 149 h 572"/>
                <a:gd name="T76" fmla="*/ 428 w 558"/>
                <a:gd name="T77" fmla="*/ 170 h 572"/>
                <a:gd name="T78" fmla="*/ 461 w 558"/>
                <a:gd name="T79" fmla="*/ 184 h 572"/>
                <a:gd name="T80" fmla="*/ 491 w 558"/>
                <a:gd name="T81" fmla="*/ 194 h 572"/>
                <a:gd name="T82" fmla="*/ 515 w 558"/>
                <a:gd name="T83" fmla="*/ 236 h 572"/>
                <a:gd name="T84" fmla="*/ 558 w 558"/>
                <a:gd name="T85" fmla="*/ 347 h 572"/>
                <a:gd name="T86" fmla="*/ 555 w 558"/>
                <a:gd name="T87" fmla="*/ 383 h 572"/>
                <a:gd name="T88" fmla="*/ 543 w 558"/>
                <a:gd name="T89" fmla="*/ 444 h 572"/>
                <a:gd name="T90" fmla="*/ 539 w 558"/>
                <a:gd name="T91" fmla="*/ 458 h 572"/>
                <a:gd name="T92" fmla="*/ 527 w 558"/>
                <a:gd name="T93" fmla="*/ 468 h 572"/>
                <a:gd name="T94" fmla="*/ 522 w 558"/>
                <a:gd name="T95" fmla="*/ 496 h 572"/>
                <a:gd name="T96" fmla="*/ 527 w 558"/>
                <a:gd name="T97" fmla="*/ 503 h 572"/>
                <a:gd name="T98" fmla="*/ 484 w 558"/>
                <a:gd name="T99" fmla="*/ 534 h 572"/>
                <a:gd name="T100" fmla="*/ 444 w 558"/>
                <a:gd name="T101" fmla="*/ 543 h 572"/>
                <a:gd name="T102" fmla="*/ 411 w 558"/>
                <a:gd name="T103" fmla="*/ 543 h 572"/>
                <a:gd name="T104" fmla="*/ 380 w 558"/>
                <a:gd name="T105" fmla="*/ 551 h 572"/>
                <a:gd name="T106" fmla="*/ 331 w 558"/>
                <a:gd name="T107" fmla="*/ 558 h 572"/>
                <a:gd name="T108" fmla="*/ 307 w 558"/>
                <a:gd name="T109" fmla="*/ 565 h 572"/>
                <a:gd name="T110" fmla="*/ 260 w 558"/>
                <a:gd name="T111" fmla="*/ 572 h 57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58"/>
                <a:gd name="T169" fmla="*/ 0 h 572"/>
                <a:gd name="T170" fmla="*/ 558 w 558"/>
                <a:gd name="T171" fmla="*/ 572 h 57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58" h="572">
                  <a:moveTo>
                    <a:pt x="265" y="496"/>
                  </a:moveTo>
                  <a:lnTo>
                    <a:pt x="260" y="491"/>
                  </a:lnTo>
                  <a:lnTo>
                    <a:pt x="258" y="475"/>
                  </a:lnTo>
                  <a:lnTo>
                    <a:pt x="248" y="444"/>
                  </a:lnTo>
                  <a:lnTo>
                    <a:pt x="248" y="435"/>
                  </a:lnTo>
                  <a:lnTo>
                    <a:pt x="243" y="435"/>
                  </a:lnTo>
                  <a:lnTo>
                    <a:pt x="243" y="423"/>
                  </a:lnTo>
                  <a:lnTo>
                    <a:pt x="241" y="418"/>
                  </a:lnTo>
                  <a:lnTo>
                    <a:pt x="241" y="357"/>
                  </a:lnTo>
                  <a:lnTo>
                    <a:pt x="243" y="354"/>
                  </a:lnTo>
                  <a:lnTo>
                    <a:pt x="243" y="340"/>
                  </a:lnTo>
                  <a:lnTo>
                    <a:pt x="248" y="317"/>
                  </a:lnTo>
                  <a:lnTo>
                    <a:pt x="248" y="310"/>
                  </a:lnTo>
                  <a:lnTo>
                    <a:pt x="251" y="300"/>
                  </a:lnTo>
                  <a:lnTo>
                    <a:pt x="251" y="291"/>
                  </a:lnTo>
                  <a:lnTo>
                    <a:pt x="253" y="286"/>
                  </a:lnTo>
                  <a:lnTo>
                    <a:pt x="253" y="281"/>
                  </a:lnTo>
                  <a:lnTo>
                    <a:pt x="258" y="276"/>
                  </a:lnTo>
                  <a:lnTo>
                    <a:pt x="260" y="269"/>
                  </a:lnTo>
                  <a:lnTo>
                    <a:pt x="265" y="267"/>
                  </a:lnTo>
                  <a:lnTo>
                    <a:pt x="265" y="265"/>
                  </a:lnTo>
                  <a:lnTo>
                    <a:pt x="267" y="265"/>
                  </a:lnTo>
                  <a:lnTo>
                    <a:pt x="267" y="260"/>
                  </a:lnTo>
                  <a:lnTo>
                    <a:pt x="269" y="258"/>
                  </a:lnTo>
                  <a:lnTo>
                    <a:pt x="274" y="253"/>
                  </a:lnTo>
                  <a:lnTo>
                    <a:pt x="251" y="243"/>
                  </a:lnTo>
                  <a:lnTo>
                    <a:pt x="241" y="241"/>
                  </a:lnTo>
                  <a:lnTo>
                    <a:pt x="217" y="243"/>
                  </a:lnTo>
                  <a:lnTo>
                    <a:pt x="217" y="246"/>
                  </a:lnTo>
                  <a:lnTo>
                    <a:pt x="213" y="250"/>
                  </a:lnTo>
                  <a:lnTo>
                    <a:pt x="210" y="260"/>
                  </a:lnTo>
                  <a:lnTo>
                    <a:pt x="210" y="265"/>
                  </a:lnTo>
                  <a:lnTo>
                    <a:pt x="208" y="265"/>
                  </a:lnTo>
                  <a:lnTo>
                    <a:pt x="203" y="267"/>
                  </a:lnTo>
                  <a:lnTo>
                    <a:pt x="203" y="281"/>
                  </a:lnTo>
                  <a:lnTo>
                    <a:pt x="191" y="276"/>
                  </a:lnTo>
                  <a:lnTo>
                    <a:pt x="187" y="276"/>
                  </a:lnTo>
                  <a:lnTo>
                    <a:pt x="184" y="269"/>
                  </a:lnTo>
                  <a:lnTo>
                    <a:pt x="180" y="267"/>
                  </a:lnTo>
                  <a:lnTo>
                    <a:pt x="184" y="265"/>
                  </a:lnTo>
                  <a:lnTo>
                    <a:pt x="184" y="260"/>
                  </a:lnTo>
                  <a:lnTo>
                    <a:pt x="177" y="258"/>
                  </a:lnTo>
                  <a:lnTo>
                    <a:pt x="170" y="258"/>
                  </a:lnTo>
                  <a:lnTo>
                    <a:pt x="170" y="250"/>
                  </a:lnTo>
                  <a:lnTo>
                    <a:pt x="173" y="246"/>
                  </a:lnTo>
                  <a:lnTo>
                    <a:pt x="173" y="243"/>
                  </a:lnTo>
                  <a:lnTo>
                    <a:pt x="170" y="227"/>
                  </a:lnTo>
                  <a:lnTo>
                    <a:pt x="163" y="225"/>
                  </a:lnTo>
                  <a:lnTo>
                    <a:pt x="161" y="225"/>
                  </a:lnTo>
                  <a:lnTo>
                    <a:pt x="154" y="220"/>
                  </a:lnTo>
                  <a:lnTo>
                    <a:pt x="151" y="220"/>
                  </a:lnTo>
                  <a:lnTo>
                    <a:pt x="151" y="210"/>
                  </a:lnTo>
                  <a:lnTo>
                    <a:pt x="144" y="206"/>
                  </a:lnTo>
                  <a:lnTo>
                    <a:pt x="123" y="203"/>
                  </a:lnTo>
                  <a:lnTo>
                    <a:pt x="121" y="203"/>
                  </a:lnTo>
                  <a:lnTo>
                    <a:pt x="116" y="206"/>
                  </a:lnTo>
                  <a:lnTo>
                    <a:pt x="104" y="206"/>
                  </a:lnTo>
                  <a:lnTo>
                    <a:pt x="88" y="201"/>
                  </a:lnTo>
                  <a:lnTo>
                    <a:pt x="83" y="201"/>
                  </a:lnTo>
                  <a:lnTo>
                    <a:pt x="80" y="196"/>
                  </a:lnTo>
                  <a:lnTo>
                    <a:pt x="64" y="196"/>
                  </a:lnTo>
                  <a:lnTo>
                    <a:pt x="40" y="194"/>
                  </a:lnTo>
                  <a:lnTo>
                    <a:pt x="26" y="189"/>
                  </a:lnTo>
                  <a:lnTo>
                    <a:pt x="19" y="187"/>
                  </a:lnTo>
                  <a:lnTo>
                    <a:pt x="17" y="180"/>
                  </a:lnTo>
                  <a:lnTo>
                    <a:pt x="14" y="177"/>
                  </a:lnTo>
                  <a:lnTo>
                    <a:pt x="7" y="173"/>
                  </a:lnTo>
                  <a:lnTo>
                    <a:pt x="0" y="173"/>
                  </a:lnTo>
                  <a:lnTo>
                    <a:pt x="0" y="170"/>
                  </a:lnTo>
                  <a:lnTo>
                    <a:pt x="7" y="154"/>
                  </a:lnTo>
                  <a:lnTo>
                    <a:pt x="19" y="104"/>
                  </a:lnTo>
                  <a:lnTo>
                    <a:pt x="31" y="69"/>
                  </a:lnTo>
                  <a:lnTo>
                    <a:pt x="40" y="36"/>
                  </a:lnTo>
                  <a:lnTo>
                    <a:pt x="43" y="36"/>
                  </a:lnTo>
                  <a:lnTo>
                    <a:pt x="47" y="40"/>
                  </a:lnTo>
                  <a:lnTo>
                    <a:pt x="50" y="36"/>
                  </a:lnTo>
                  <a:lnTo>
                    <a:pt x="71" y="19"/>
                  </a:lnTo>
                  <a:lnTo>
                    <a:pt x="83" y="10"/>
                  </a:lnTo>
                  <a:lnTo>
                    <a:pt x="88" y="7"/>
                  </a:lnTo>
                  <a:lnTo>
                    <a:pt x="104" y="0"/>
                  </a:lnTo>
                  <a:lnTo>
                    <a:pt x="113" y="7"/>
                  </a:lnTo>
                  <a:lnTo>
                    <a:pt x="161" y="24"/>
                  </a:lnTo>
                  <a:lnTo>
                    <a:pt x="168" y="26"/>
                  </a:lnTo>
                  <a:lnTo>
                    <a:pt x="177" y="31"/>
                  </a:lnTo>
                  <a:lnTo>
                    <a:pt x="196" y="36"/>
                  </a:lnTo>
                  <a:lnTo>
                    <a:pt x="217" y="47"/>
                  </a:lnTo>
                  <a:lnTo>
                    <a:pt x="225" y="50"/>
                  </a:lnTo>
                  <a:lnTo>
                    <a:pt x="251" y="59"/>
                  </a:lnTo>
                  <a:lnTo>
                    <a:pt x="253" y="59"/>
                  </a:lnTo>
                  <a:lnTo>
                    <a:pt x="267" y="64"/>
                  </a:lnTo>
                  <a:lnTo>
                    <a:pt x="274" y="66"/>
                  </a:lnTo>
                  <a:lnTo>
                    <a:pt x="291" y="73"/>
                  </a:lnTo>
                  <a:lnTo>
                    <a:pt x="298" y="76"/>
                  </a:lnTo>
                  <a:lnTo>
                    <a:pt x="328" y="87"/>
                  </a:lnTo>
                  <a:lnTo>
                    <a:pt x="331" y="90"/>
                  </a:lnTo>
                  <a:lnTo>
                    <a:pt x="333" y="97"/>
                  </a:lnTo>
                  <a:lnTo>
                    <a:pt x="338" y="104"/>
                  </a:lnTo>
                  <a:lnTo>
                    <a:pt x="340" y="106"/>
                  </a:lnTo>
                  <a:lnTo>
                    <a:pt x="340" y="109"/>
                  </a:lnTo>
                  <a:lnTo>
                    <a:pt x="357" y="123"/>
                  </a:lnTo>
                  <a:lnTo>
                    <a:pt x="364" y="123"/>
                  </a:lnTo>
                  <a:lnTo>
                    <a:pt x="364" y="121"/>
                  </a:lnTo>
                  <a:lnTo>
                    <a:pt x="378" y="113"/>
                  </a:lnTo>
                  <a:lnTo>
                    <a:pt x="380" y="113"/>
                  </a:lnTo>
                  <a:lnTo>
                    <a:pt x="380" y="128"/>
                  </a:lnTo>
                  <a:lnTo>
                    <a:pt x="388" y="139"/>
                  </a:lnTo>
                  <a:lnTo>
                    <a:pt x="390" y="139"/>
                  </a:lnTo>
                  <a:lnTo>
                    <a:pt x="390" y="144"/>
                  </a:lnTo>
                  <a:lnTo>
                    <a:pt x="402" y="154"/>
                  </a:lnTo>
                  <a:lnTo>
                    <a:pt x="404" y="149"/>
                  </a:lnTo>
                  <a:lnTo>
                    <a:pt x="406" y="147"/>
                  </a:lnTo>
                  <a:lnTo>
                    <a:pt x="418" y="144"/>
                  </a:lnTo>
                  <a:lnTo>
                    <a:pt x="425" y="144"/>
                  </a:lnTo>
                  <a:lnTo>
                    <a:pt x="430" y="149"/>
                  </a:lnTo>
                  <a:lnTo>
                    <a:pt x="430" y="156"/>
                  </a:lnTo>
                  <a:lnTo>
                    <a:pt x="428" y="161"/>
                  </a:lnTo>
                  <a:lnTo>
                    <a:pt x="428" y="170"/>
                  </a:lnTo>
                  <a:lnTo>
                    <a:pt x="435" y="173"/>
                  </a:lnTo>
                  <a:lnTo>
                    <a:pt x="447" y="177"/>
                  </a:lnTo>
                  <a:lnTo>
                    <a:pt x="461" y="184"/>
                  </a:lnTo>
                  <a:lnTo>
                    <a:pt x="465" y="184"/>
                  </a:lnTo>
                  <a:lnTo>
                    <a:pt x="470" y="187"/>
                  </a:lnTo>
                  <a:lnTo>
                    <a:pt x="491" y="194"/>
                  </a:lnTo>
                  <a:lnTo>
                    <a:pt x="494" y="194"/>
                  </a:lnTo>
                  <a:lnTo>
                    <a:pt x="499" y="196"/>
                  </a:lnTo>
                  <a:lnTo>
                    <a:pt x="515" y="236"/>
                  </a:lnTo>
                  <a:lnTo>
                    <a:pt x="527" y="274"/>
                  </a:lnTo>
                  <a:lnTo>
                    <a:pt x="548" y="317"/>
                  </a:lnTo>
                  <a:lnTo>
                    <a:pt x="558" y="347"/>
                  </a:lnTo>
                  <a:lnTo>
                    <a:pt x="558" y="364"/>
                  </a:lnTo>
                  <a:lnTo>
                    <a:pt x="555" y="371"/>
                  </a:lnTo>
                  <a:lnTo>
                    <a:pt x="555" y="383"/>
                  </a:lnTo>
                  <a:lnTo>
                    <a:pt x="551" y="397"/>
                  </a:lnTo>
                  <a:lnTo>
                    <a:pt x="551" y="444"/>
                  </a:lnTo>
                  <a:lnTo>
                    <a:pt x="543" y="444"/>
                  </a:lnTo>
                  <a:lnTo>
                    <a:pt x="541" y="451"/>
                  </a:lnTo>
                  <a:lnTo>
                    <a:pt x="541" y="458"/>
                  </a:lnTo>
                  <a:lnTo>
                    <a:pt x="539" y="458"/>
                  </a:lnTo>
                  <a:lnTo>
                    <a:pt x="534" y="461"/>
                  </a:lnTo>
                  <a:lnTo>
                    <a:pt x="532" y="468"/>
                  </a:lnTo>
                  <a:lnTo>
                    <a:pt x="527" y="468"/>
                  </a:lnTo>
                  <a:lnTo>
                    <a:pt x="525" y="470"/>
                  </a:lnTo>
                  <a:lnTo>
                    <a:pt x="522" y="475"/>
                  </a:lnTo>
                  <a:lnTo>
                    <a:pt x="522" y="496"/>
                  </a:lnTo>
                  <a:lnTo>
                    <a:pt x="525" y="501"/>
                  </a:lnTo>
                  <a:lnTo>
                    <a:pt x="525" y="503"/>
                  </a:lnTo>
                  <a:lnTo>
                    <a:pt x="527" y="503"/>
                  </a:lnTo>
                  <a:lnTo>
                    <a:pt x="510" y="527"/>
                  </a:lnTo>
                  <a:lnTo>
                    <a:pt x="501" y="527"/>
                  </a:lnTo>
                  <a:lnTo>
                    <a:pt x="484" y="534"/>
                  </a:lnTo>
                  <a:lnTo>
                    <a:pt x="461" y="536"/>
                  </a:lnTo>
                  <a:lnTo>
                    <a:pt x="447" y="541"/>
                  </a:lnTo>
                  <a:lnTo>
                    <a:pt x="444" y="543"/>
                  </a:lnTo>
                  <a:lnTo>
                    <a:pt x="421" y="548"/>
                  </a:lnTo>
                  <a:lnTo>
                    <a:pt x="421" y="543"/>
                  </a:lnTo>
                  <a:lnTo>
                    <a:pt x="411" y="543"/>
                  </a:lnTo>
                  <a:lnTo>
                    <a:pt x="404" y="548"/>
                  </a:lnTo>
                  <a:lnTo>
                    <a:pt x="388" y="548"/>
                  </a:lnTo>
                  <a:lnTo>
                    <a:pt x="380" y="551"/>
                  </a:lnTo>
                  <a:lnTo>
                    <a:pt x="366" y="551"/>
                  </a:lnTo>
                  <a:lnTo>
                    <a:pt x="347" y="558"/>
                  </a:lnTo>
                  <a:lnTo>
                    <a:pt x="331" y="558"/>
                  </a:lnTo>
                  <a:lnTo>
                    <a:pt x="328" y="560"/>
                  </a:lnTo>
                  <a:lnTo>
                    <a:pt x="317" y="560"/>
                  </a:lnTo>
                  <a:lnTo>
                    <a:pt x="307" y="565"/>
                  </a:lnTo>
                  <a:lnTo>
                    <a:pt x="298" y="565"/>
                  </a:lnTo>
                  <a:lnTo>
                    <a:pt x="288" y="567"/>
                  </a:lnTo>
                  <a:lnTo>
                    <a:pt x="260" y="572"/>
                  </a:lnTo>
                  <a:lnTo>
                    <a:pt x="265" y="534"/>
                  </a:lnTo>
                  <a:lnTo>
                    <a:pt x="265" y="49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2" name="Freeform 467">
              <a:extLst>
                <a:ext uri="{FF2B5EF4-FFF2-40B4-BE49-F238E27FC236}">
                  <a16:creationId xmlns:a16="http://schemas.microsoft.com/office/drawing/2014/main" id="{72111A80-6E4A-4523-9FBB-1D2E14C51AAF}"/>
                </a:ext>
              </a:extLst>
            </p:cNvPr>
            <p:cNvSpPr>
              <a:spLocks/>
            </p:cNvSpPr>
            <p:nvPr/>
          </p:nvSpPr>
          <p:spPr bwMode="gray">
            <a:xfrm rot="47099">
              <a:off x="1980485" y="2770958"/>
              <a:ext cx="7125" cy="19296"/>
            </a:xfrm>
            <a:custGeom>
              <a:avLst/>
              <a:gdLst>
                <a:gd name="T0" fmla="*/ 5 w 17"/>
                <a:gd name="T1" fmla="*/ 0 h 40"/>
                <a:gd name="T2" fmla="*/ 7 w 17"/>
                <a:gd name="T3" fmla="*/ 7 h 40"/>
                <a:gd name="T4" fmla="*/ 7 w 17"/>
                <a:gd name="T5" fmla="*/ 14 h 40"/>
                <a:gd name="T6" fmla="*/ 9 w 17"/>
                <a:gd name="T7" fmla="*/ 24 h 40"/>
                <a:gd name="T8" fmla="*/ 14 w 17"/>
                <a:gd name="T9" fmla="*/ 26 h 40"/>
                <a:gd name="T10" fmla="*/ 14 w 17"/>
                <a:gd name="T11" fmla="*/ 38 h 40"/>
                <a:gd name="T12" fmla="*/ 17 w 17"/>
                <a:gd name="T13" fmla="*/ 40 h 40"/>
                <a:gd name="T14" fmla="*/ 14 w 17"/>
                <a:gd name="T15" fmla="*/ 40 h 40"/>
                <a:gd name="T16" fmla="*/ 7 w 17"/>
                <a:gd name="T17" fmla="*/ 38 h 40"/>
                <a:gd name="T18" fmla="*/ 5 w 17"/>
                <a:gd name="T19" fmla="*/ 38 h 40"/>
                <a:gd name="T20" fmla="*/ 0 w 17"/>
                <a:gd name="T21" fmla="*/ 26 h 40"/>
                <a:gd name="T22" fmla="*/ 0 w 17"/>
                <a:gd name="T23" fmla="*/ 0 h 40"/>
                <a:gd name="T24" fmla="*/ 5 w 17"/>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0"/>
                <a:gd name="T41" fmla="*/ 17 w 1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0">
                  <a:moveTo>
                    <a:pt x="5" y="0"/>
                  </a:moveTo>
                  <a:lnTo>
                    <a:pt x="7" y="7"/>
                  </a:lnTo>
                  <a:lnTo>
                    <a:pt x="7" y="14"/>
                  </a:lnTo>
                  <a:lnTo>
                    <a:pt x="9" y="24"/>
                  </a:lnTo>
                  <a:lnTo>
                    <a:pt x="14" y="26"/>
                  </a:lnTo>
                  <a:lnTo>
                    <a:pt x="14" y="38"/>
                  </a:lnTo>
                  <a:lnTo>
                    <a:pt x="17" y="40"/>
                  </a:lnTo>
                  <a:lnTo>
                    <a:pt x="14" y="40"/>
                  </a:lnTo>
                  <a:lnTo>
                    <a:pt x="7" y="38"/>
                  </a:lnTo>
                  <a:lnTo>
                    <a:pt x="5" y="38"/>
                  </a:lnTo>
                  <a:lnTo>
                    <a:pt x="0" y="26"/>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3" name="Freeform 468">
              <a:extLst>
                <a:ext uri="{FF2B5EF4-FFF2-40B4-BE49-F238E27FC236}">
                  <a16:creationId xmlns:a16="http://schemas.microsoft.com/office/drawing/2014/main" id="{B4956F05-26FC-42E7-B5DC-7E3DABC1FE11}"/>
                </a:ext>
              </a:extLst>
            </p:cNvPr>
            <p:cNvSpPr>
              <a:spLocks/>
            </p:cNvSpPr>
            <p:nvPr/>
          </p:nvSpPr>
          <p:spPr bwMode="gray">
            <a:xfrm rot="47099">
              <a:off x="1579947" y="2597891"/>
              <a:ext cx="612742" cy="589511"/>
            </a:xfrm>
            <a:custGeom>
              <a:avLst/>
              <a:gdLst>
                <a:gd name="T0" fmla="*/ 922 w 1319"/>
                <a:gd name="T1" fmla="*/ 581 h 1269"/>
                <a:gd name="T2" fmla="*/ 969 w 1319"/>
                <a:gd name="T3" fmla="*/ 733 h 1269"/>
                <a:gd name="T4" fmla="*/ 1016 w 1319"/>
                <a:gd name="T5" fmla="*/ 796 h 1269"/>
                <a:gd name="T6" fmla="*/ 1113 w 1319"/>
                <a:gd name="T7" fmla="*/ 801 h 1269"/>
                <a:gd name="T8" fmla="*/ 1149 w 1319"/>
                <a:gd name="T9" fmla="*/ 822 h 1269"/>
                <a:gd name="T10" fmla="*/ 1196 w 1319"/>
                <a:gd name="T11" fmla="*/ 839 h 1269"/>
                <a:gd name="T12" fmla="*/ 1229 w 1319"/>
                <a:gd name="T13" fmla="*/ 836 h 1269"/>
                <a:gd name="T14" fmla="*/ 1269 w 1319"/>
                <a:gd name="T15" fmla="*/ 799 h 1269"/>
                <a:gd name="T16" fmla="*/ 1314 w 1319"/>
                <a:gd name="T17" fmla="*/ 839 h 1269"/>
                <a:gd name="T18" fmla="*/ 1274 w 1319"/>
                <a:gd name="T19" fmla="*/ 872 h 1269"/>
                <a:gd name="T20" fmla="*/ 1252 w 1319"/>
                <a:gd name="T21" fmla="*/ 914 h 1269"/>
                <a:gd name="T22" fmla="*/ 1222 w 1319"/>
                <a:gd name="T23" fmla="*/ 959 h 1269"/>
                <a:gd name="T24" fmla="*/ 1146 w 1319"/>
                <a:gd name="T25" fmla="*/ 1023 h 1269"/>
                <a:gd name="T26" fmla="*/ 1085 w 1319"/>
                <a:gd name="T27" fmla="*/ 1087 h 1269"/>
                <a:gd name="T28" fmla="*/ 1085 w 1319"/>
                <a:gd name="T29" fmla="*/ 1122 h 1269"/>
                <a:gd name="T30" fmla="*/ 945 w 1319"/>
                <a:gd name="T31" fmla="*/ 1224 h 1269"/>
                <a:gd name="T32" fmla="*/ 849 w 1319"/>
                <a:gd name="T33" fmla="*/ 1250 h 1269"/>
                <a:gd name="T34" fmla="*/ 865 w 1319"/>
                <a:gd name="T35" fmla="*/ 1200 h 1269"/>
                <a:gd name="T36" fmla="*/ 851 w 1319"/>
                <a:gd name="T37" fmla="*/ 1023 h 1269"/>
                <a:gd name="T38" fmla="*/ 759 w 1319"/>
                <a:gd name="T39" fmla="*/ 922 h 1269"/>
                <a:gd name="T40" fmla="*/ 726 w 1319"/>
                <a:gd name="T41" fmla="*/ 903 h 1269"/>
                <a:gd name="T42" fmla="*/ 681 w 1319"/>
                <a:gd name="T43" fmla="*/ 872 h 1269"/>
                <a:gd name="T44" fmla="*/ 598 w 1319"/>
                <a:gd name="T45" fmla="*/ 815 h 1269"/>
                <a:gd name="T46" fmla="*/ 485 w 1319"/>
                <a:gd name="T47" fmla="*/ 773 h 1269"/>
                <a:gd name="T48" fmla="*/ 348 w 1319"/>
                <a:gd name="T49" fmla="*/ 785 h 1269"/>
                <a:gd name="T50" fmla="*/ 282 w 1319"/>
                <a:gd name="T51" fmla="*/ 775 h 1269"/>
                <a:gd name="T52" fmla="*/ 241 w 1319"/>
                <a:gd name="T53" fmla="*/ 792 h 1269"/>
                <a:gd name="T54" fmla="*/ 201 w 1319"/>
                <a:gd name="T55" fmla="*/ 773 h 1269"/>
                <a:gd name="T56" fmla="*/ 178 w 1319"/>
                <a:gd name="T57" fmla="*/ 768 h 1269"/>
                <a:gd name="T58" fmla="*/ 121 w 1319"/>
                <a:gd name="T59" fmla="*/ 766 h 1269"/>
                <a:gd name="T60" fmla="*/ 67 w 1319"/>
                <a:gd name="T61" fmla="*/ 751 h 1269"/>
                <a:gd name="T62" fmla="*/ 43 w 1319"/>
                <a:gd name="T63" fmla="*/ 721 h 1269"/>
                <a:gd name="T64" fmla="*/ 17 w 1319"/>
                <a:gd name="T65" fmla="*/ 629 h 1269"/>
                <a:gd name="T66" fmla="*/ 29 w 1319"/>
                <a:gd name="T67" fmla="*/ 355 h 1269"/>
                <a:gd name="T68" fmla="*/ 114 w 1319"/>
                <a:gd name="T69" fmla="*/ 244 h 1269"/>
                <a:gd name="T70" fmla="*/ 156 w 1319"/>
                <a:gd name="T71" fmla="*/ 180 h 1269"/>
                <a:gd name="T72" fmla="*/ 206 w 1319"/>
                <a:gd name="T73" fmla="*/ 104 h 1269"/>
                <a:gd name="T74" fmla="*/ 251 w 1319"/>
                <a:gd name="T75" fmla="*/ 40 h 1269"/>
                <a:gd name="T76" fmla="*/ 298 w 1319"/>
                <a:gd name="T77" fmla="*/ 14 h 1269"/>
                <a:gd name="T78" fmla="*/ 348 w 1319"/>
                <a:gd name="T79" fmla="*/ 50 h 1269"/>
                <a:gd name="T80" fmla="*/ 397 w 1319"/>
                <a:gd name="T81" fmla="*/ 66 h 1269"/>
                <a:gd name="T82" fmla="*/ 463 w 1319"/>
                <a:gd name="T83" fmla="*/ 83 h 1269"/>
                <a:gd name="T84" fmla="*/ 492 w 1319"/>
                <a:gd name="T85" fmla="*/ 104 h 1269"/>
                <a:gd name="T86" fmla="*/ 492 w 1319"/>
                <a:gd name="T87" fmla="*/ 107 h 1269"/>
                <a:gd name="T88" fmla="*/ 549 w 1319"/>
                <a:gd name="T89" fmla="*/ 90 h 1269"/>
                <a:gd name="T90" fmla="*/ 572 w 1319"/>
                <a:gd name="T91" fmla="*/ 90 h 1269"/>
                <a:gd name="T92" fmla="*/ 615 w 1319"/>
                <a:gd name="T93" fmla="*/ 90 h 1269"/>
                <a:gd name="T94" fmla="*/ 634 w 1319"/>
                <a:gd name="T95" fmla="*/ 88 h 1269"/>
                <a:gd name="T96" fmla="*/ 648 w 1319"/>
                <a:gd name="T97" fmla="*/ 170 h 1269"/>
                <a:gd name="T98" fmla="*/ 671 w 1319"/>
                <a:gd name="T99" fmla="*/ 215 h 1269"/>
                <a:gd name="T100" fmla="*/ 678 w 1319"/>
                <a:gd name="T101" fmla="*/ 260 h 1269"/>
                <a:gd name="T102" fmla="*/ 728 w 1319"/>
                <a:gd name="T103" fmla="*/ 312 h 1269"/>
                <a:gd name="T104" fmla="*/ 728 w 1319"/>
                <a:gd name="T105" fmla="*/ 331 h 1269"/>
                <a:gd name="T106" fmla="*/ 785 w 1319"/>
                <a:gd name="T107" fmla="*/ 355 h 1269"/>
                <a:gd name="T108" fmla="*/ 815 w 1319"/>
                <a:gd name="T109" fmla="*/ 395 h 1269"/>
                <a:gd name="T110" fmla="*/ 806 w 1319"/>
                <a:gd name="T111" fmla="*/ 418 h 1269"/>
                <a:gd name="T112" fmla="*/ 858 w 1319"/>
                <a:gd name="T113" fmla="*/ 404 h 12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19"/>
                <a:gd name="T172" fmla="*/ 0 h 1269"/>
                <a:gd name="T173" fmla="*/ 1319 w 1319"/>
                <a:gd name="T174" fmla="*/ 1269 h 12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19" h="1269">
                  <a:moveTo>
                    <a:pt x="875" y="418"/>
                  </a:moveTo>
                  <a:lnTo>
                    <a:pt x="879" y="428"/>
                  </a:lnTo>
                  <a:lnTo>
                    <a:pt x="882" y="437"/>
                  </a:lnTo>
                  <a:lnTo>
                    <a:pt x="886" y="449"/>
                  </a:lnTo>
                  <a:lnTo>
                    <a:pt x="886" y="451"/>
                  </a:lnTo>
                  <a:lnTo>
                    <a:pt x="891" y="475"/>
                  </a:lnTo>
                  <a:lnTo>
                    <a:pt x="891" y="482"/>
                  </a:lnTo>
                  <a:lnTo>
                    <a:pt x="905" y="522"/>
                  </a:lnTo>
                  <a:lnTo>
                    <a:pt x="922" y="581"/>
                  </a:lnTo>
                  <a:lnTo>
                    <a:pt x="924" y="603"/>
                  </a:lnTo>
                  <a:lnTo>
                    <a:pt x="931" y="614"/>
                  </a:lnTo>
                  <a:lnTo>
                    <a:pt x="936" y="636"/>
                  </a:lnTo>
                  <a:lnTo>
                    <a:pt x="948" y="678"/>
                  </a:lnTo>
                  <a:lnTo>
                    <a:pt x="955" y="699"/>
                  </a:lnTo>
                  <a:lnTo>
                    <a:pt x="955" y="721"/>
                  </a:lnTo>
                  <a:lnTo>
                    <a:pt x="960" y="725"/>
                  </a:lnTo>
                  <a:lnTo>
                    <a:pt x="962" y="728"/>
                  </a:lnTo>
                  <a:lnTo>
                    <a:pt x="969" y="733"/>
                  </a:lnTo>
                  <a:lnTo>
                    <a:pt x="969" y="744"/>
                  </a:lnTo>
                  <a:lnTo>
                    <a:pt x="971" y="749"/>
                  </a:lnTo>
                  <a:lnTo>
                    <a:pt x="971" y="751"/>
                  </a:lnTo>
                  <a:lnTo>
                    <a:pt x="983" y="761"/>
                  </a:lnTo>
                  <a:lnTo>
                    <a:pt x="1000" y="773"/>
                  </a:lnTo>
                  <a:lnTo>
                    <a:pt x="1002" y="780"/>
                  </a:lnTo>
                  <a:lnTo>
                    <a:pt x="1012" y="789"/>
                  </a:lnTo>
                  <a:lnTo>
                    <a:pt x="1016" y="792"/>
                  </a:lnTo>
                  <a:lnTo>
                    <a:pt x="1016" y="796"/>
                  </a:lnTo>
                  <a:lnTo>
                    <a:pt x="1026" y="796"/>
                  </a:lnTo>
                  <a:lnTo>
                    <a:pt x="1026" y="799"/>
                  </a:lnTo>
                  <a:lnTo>
                    <a:pt x="1028" y="799"/>
                  </a:lnTo>
                  <a:lnTo>
                    <a:pt x="1033" y="801"/>
                  </a:lnTo>
                  <a:lnTo>
                    <a:pt x="1061" y="801"/>
                  </a:lnTo>
                  <a:lnTo>
                    <a:pt x="1068" y="799"/>
                  </a:lnTo>
                  <a:lnTo>
                    <a:pt x="1106" y="799"/>
                  </a:lnTo>
                  <a:lnTo>
                    <a:pt x="1108" y="801"/>
                  </a:lnTo>
                  <a:lnTo>
                    <a:pt x="1113" y="801"/>
                  </a:lnTo>
                  <a:lnTo>
                    <a:pt x="1123" y="806"/>
                  </a:lnTo>
                  <a:lnTo>
                    <a:pt x="1123" y="808"/>
                  </a:lnTo>
                  <a:lnTo>
                    <a:pt x="1125" y="813"/>
                  </a:lnTo>
                  <a:lnTo>
                    <a:pt x="1125" y="815"/>
                  </a:lnTo>
                  <a:lnTo>
                    <a:pt x="1130" y="815"/>
                  </a:lnTo>
                  <a:lnTo>
                    <a:pt x="1132" y="818"/>
                  </a:lnTo>
                  <a:lnTo>
                    <a:pt x="1137" y="818"/>
                  </a:lnTo>
                  <a:lnTo>
                    <a:pt x="1146" y="822"/>
                  </a:lnTo>
                  <a:lnTo>
                    <a:pt x="1149" y="822"/>
                  </a:lnTo>
                  <a:lnTo>
                    <a:pt x="1149" y="813"/>
                  </a:lnTo>
                  <a:lnTo>
                    <a:pt x="1156" y="813"/>
                  </a:lnTo>
                  <a:lnTo>
                    <a:pt x="1158" y="815"/>
                  </a:lnTo>
                  <a:lnTo>
                    <a:pt x="1158" y="818"/>
                  </a:lnTo>
                  <a:lnTo>
                    <a:pt x="1172" y="832"/>
                  </a:lnTo>
                  <a:lnTo>
                    <a:pt x="1177" y="836"/>
                  </a:lnTo>
                  <a:lnTo>
                    <a:pt x="1189" y="836"/>
                  </a:lnTo>
                  <a:lnTo>
                    <a:pt x="1193" y="839"/>
                  </a:lnTo>
                  <a:lnTo>
                    <a:pt x="1196" y="839"/>
                  </a:lnTo>
                  <a:lnTo>
                    <a:pt x="1198" y="836"/>
                  </a:lnTo>
                  <a:lnTo>
                    <a:pt x="1198" y="832"/>
                  </a:lnTo>
                  <a:lnTo>
                    <a:pt x="1203" y="832"/>
                  </a:lnTo>
                  <a:lnTo>
                    <a:pt x="1203" y="829"/>
                  </a:lnTo>
                  <a:lnTo>
                    <a:pt x="1210" y="829"/>
                  </a:lnTo>
                  <a:lnTo>
                    <a:pt x="1217" y="832"/>
                  </a:lnTo>
                  <a:lnTo>
                    <a:pt x="1219" y="832"/>
                  </a:lnTo>
                  <a:lnTo>
                    <a:pt x="1222" y="836"/>
                  </a:lnTo>
                  <a:lnTo>
                    <a:pt x="1229" y="836"/>
                  </a:lnTo>
                  <a:lnTo>
                    <a:pt x="1229" y="832"/>
                  </a:lnTo>
                  <a:lnTo>
                    <a:pt x="1234" y="829"/>
                  </a:lnTo>
                  <a:lnTo>
                    <a:pt x="1238" y="822"/>
                  </a:lnTo>
                  <a:lnTo>
                    <a:pt x="1243" y="818"/>
                  </a:lnTo>
                  <a:lnTo>
                    <a:pt x="1257" y="808"/>
                  </a:lnTo>
                  <a:lnTo>
                    <a:pt x="1260" y="806"/>
                  </a:lnTo>
                  <a:lnTo>
                    <a:pt x="1267" y="806"/>
                  </a:lnTo>
                  <a:lnTo>
                    <a:pt x="1267" y="801"/>
                  </a:lnTo>
                  <a:lnTo>
                    <a:pt x="1269" y="799"/>
                  </a:lnTo>
                  <a:lnTo>
                    <a:pt x="1274" y="796"/>
                  </a:lnTo>
                  <a:lnTo>
                    <a:pt x="1290" y="792"/>
                  </a:lnTo>
                  <a:lnTo>
                    <a:pt x="1307" y="792"/>
                  </a:lnTo>
                  <a:lnTo>
                    <a:pt x="1307" y="813"/>
                  </a:lnTo>
                  <a:lnTo>
                    <a:pt x="1309" y="815"/>
                  </a:lnTo>
                  <a:lnTo>
                    <a:pt x="1314" y="818"/>
                  </a:lnTo>
                  <a:lnTo>
                    <a:pt x="1319" y="822"/>
                  </a:lnTo>
                  <a:lnTo>
                    <a:pt x="1314" y="836"/>
                  </a:lnTo>
                  <a:lnTo>
                    <a:pt x="1314" y="839"/>
                  </a:lnTo>
                  <a:lnTo>
                    <a:pt x="1309" y="839"/>
                  </a:lnTo>
                  <a:lnTo>
                    <a:pt x="1309" y="841"/>
                  </a:lnTo>
                  <a:lnTo>
                    <a:pt x="1307" y="841"/>
                  </a:lnTo>
                  <a:lnTo>
                    <a:pt x="1307" y="846"/>
                  </a:lnTo>
                  <a:lnTo>
                    <a:pt x="1300" y="848"/>
                  </a:lnTo>
                  <a:lnTo>
                    <a:pt x="1293" y="848"/>
                  </a:lnTo>
                  <a:lnTo>
                    <a:pt x="1286" y="855"/>
                  </a:lnTo>
                  <a:lnTo>
                    <a:pt x="1278" y="865"/>
                  </a:lnTo>
                  <a:lnTo>
                    <a:pt x="1274" y="872"/>
                  </a:lnTo>
                  <a:lnTo>
                    <a:pt x="1269" y="879"/>
                  </a:lnTo>
                  <a:lnTo>
                    <a:pt x="1262" y="888"/>
                  </a:lnTo>
                  <a:lnTo>
                    <a:pt x="1262" y="893"/>
                  </a:lnTo>
                  <a:lnTo>
                    <a:pt x="1260" y="896"/>
                  </a:lnTo>
                  <a:lnTo>
                    <a:pt x="1257" y="903"/>
                  </a:lnTo>
                  <a:lnTo>
                    <a:pt x="1252" y="905"/>
                  </a:lnTo>
                  <a:lnTo>
                    <a:pt x="1252" y="912"/>
                  </a:lnTo>
                  <a:lnTo>
                    <a:pt x="1250" y="914"/>
                  </a:lnTo>
                  <a:lnTo>
                    <a:pt x="1252" y="914"/>
                  </a:lnTo>
                  <a:lnTo>
                    <a:pt x="1250" y="919"/>
                  </a:lnTo>
                  <a:lnTo>
                    <a:pt x="1250" y="922"/>
                  </a:lnTo>
                  <a:lnTo>
                    <a:pt x="1245" y="926"/>
                  </a:lnTo>
                  <a:lnTo>
                    <a:pt x="1243" y="926"/>
                  </a:lnTo>
                  <a:lnTo>
                    <a:pt x="1243" y="929"/>
                  </a:lnTo>
                  <a:lnTo>
                    <a:pt x="1238" y="929"/>
                  </a:lnTo>
                  <a:lnTo>
                    <a:pt x="1227" y="952"/>
                  </a:lnTo>
                  <a:lnTo>
                    <a:pt x="1227" y="955"/>
                  </a:lnTo>
                  <a:lnTo>
                    <a:pt x="1222" y="959"/>
                  </a:lnTo>
                  <a:lnTo>
                    <a:pt x="1219" y="969"/>
                  </a:lnTo>
                  <a:lnTo>
                    <a:pt x="1219" y="976"/>
                  </a:lnTo>
                  <a:lnTo>
                    <a:pt x="1217" y="992"/>
                  </a:lnTo>
                  <a:lnTo>
                    <a:pt x="1212" y="1007"/>
                  </a:lnTo>
                  <a:lnTo>
                    <a:pt x="1203" y="1009"/>
                  </a:lnTo>
                  <a:lnTo>
                    <a:pt x="1182" y="1014"/>
                  </a:lnTo>
                  <a:lnTo>
                    <a:pt x="1165" y="1018"/>
                  </a:lnTo>
                  <a:lnTo>
                    <a:pt x="1156" y="1023"/>
                  </a:lnTo>
                  <a:lnTo>
                    <a:pt x="1146" y="1023"/>
                  </a:lnTo>
                  <a:lnTo>
                    <a:pt x="1115" y="1033"/>
                  </a:lnTo>
                  <a:lnTo>
                    <a:pt x="1099" y="1035"/>
                  </a:lnTo>
                  <a:lnTo>
                    <a:pt x="1097" y="1040"/>
                  </a:lnTo>
                  <a:lnTo>
                    <a:pt x="1082" y="1049"/>
                  </a:lnTo>
                  <a:lnTo>
                    <a:pt x="1075" y="1056"/>
                  </a:lnTo>
                  <a:lnTo>
                    <a:pt x="1068" y="1063"/>
                  </a:lnTo>
                  <a:lnTo>
                    <a:pt x="1075" y="1066"/>
                  </a:lnTo>
                  <a:lnTo>
                    <a:pt x="1082" y="1075"/>
                  </a:lnTo>
                  <a:lnTo>
                    <a:pt x="1085" y="1087"/>
                  </a:lnTo>
                  <a:lnTo>
                    <a:pt x="1085" y="1092"/>
                  </a:lnTo>
                  <a:lnTo>
                    <a:pt x="1089" y="1099"/>
                  </a:lnTo>
                  <a:lnTo>
                    <a:pt x="1092" y="1099"/>
                  </a:lnTo>
                  <a:lnTo>
                    <a:pt x="1092" y="1103"/>
                  </a:lnTo>
                  <a:lnTo>
                    <a:pt x="1099" y="1103"/>
                  </a:lnTo>
                  <a:lnTo>
                    <a:pt x="1099" y="1111"/>
                  </a:lnTo>
                  <a:lnTo>
                    <a:pt x="1097" y="1113"/>
                  </a:lnTo>
                  <a:lnTo>
                    <a:pt x="1089" y="1120"/>
                  </a:lnTo>
                  <a:lnTo>
                    <a:pt x="1085" y="1122"/>
                  </a:lnTo>
                  <a:lnTo>
                    <a:pt x="1080" y="1129"/>
                  </a:lnTo>
                  <a:lnTo>
                    <a:pt x="1066" y="1144"/>
                  </a:lnTo>
                  <a:lnTo>
                    <a:pt x="1052" y="1153"/>
                  </a:lnTo>
                  <a:lnTo>
                    <a:pt x="1035" y="1170"/>
                  </a:lnTo>
                  <a:lnTo>
                    <a:pt x="1009" y="1184"/>
                  </a:lnTo>
                  <a:lnTo>
                    <a:pt x="988" y="1193"/>
                  </a:lnTo>
                  <a:lnTo>
                    <a:pt x="964" y="1203"/>
                  </a:lnTo>
                  <a:lnTo>
                    <a:pt x="955" y="1212"/>
                  </a:lnTo>
                  <a:lnTo>
                    <a:pt x="945" y="1224"/>
                  </a:lnTo>
                  <a:lnTo>
                    <a:pt x="931" y="1233"/>
                  </a:lnTo>
                  <a:lnTo>
                    <a:pt x="912" y="1257"/>
                  </a:lnTo>
                  <a:lnTo>
                    <a:pt x="898" y="1266"/>
                  </a:lnTo>
                  <a:lnTo>
                    <a:pt x="898" y="1269"/>
                  </a:lnTo>
                  <a:lnTo>
                    <a:pt x="882" y="1269"/>
                  </a:lnTo>
                  <a:lnTo>
                    <a:pt x="856" y="1259"/>
                  </a:lnTo>
                  <a:lnTo>
                    <a:pt x="851" y="1252"/>
                  </a:lnTo>
                  <a:lnTo>
                    <a:pt x="849" y="1252"/>
                  </a:lnTo>
                  <a:lnTo>
                    <a:pt x="849" y="1250"/>
                  </a:lnTo>
                  <a:lnTo>
                    <a:pt x="846" y="1245"/>
                  </a:lnTo>
                  <a:lnTo>
                    <a:pt x="846" y="1224"/>
                  </a:lnTo>
                  <a:lnTo>
                    <a:pt x="849" y="1219"/>
                  </a:lnTo>
                  <a:lnTo>
                    <a:pt x="851" y="1217"/>
                  </a:lnTo>
                  <a:lnTo>
                    <a:pt x="856" y="1217"/>
                  </a:lnTo>
                  <a:lnTo>
                    <a:pt x="858" y="1210"/>
                  </a:lnTo>
                  <a:lnTo>
                    <a:pt x="863" y="1207"/>
                  </a:lnTo>
                  <a:lnTo>
                    <a:pt x="865" y="1207"/>
                  </a:lnTo>
                  <a:lnTo>
                    <a:pt x="865" y="1200"/>
                  </a:lnTo>
                  <a:lnTo>
                    <a:pt x="867" y="1193"/>
                  </a:lnTo>
                  <a:lnTo>
                    <a:pt x="875" y="1193"/>
                  </a:lnTo>
                  <a:lnTo>
                    <a:pt x="875" y="1146"/>
                  </a:lnTo>
                  <a:lnTo>
                    <a:pt x="879" y="1132"/>
                  </a:lnTo>
                  <a:lnTo>
                    <a:pt x="879" y="1120"/>
                  </a:lnTo>
                  <a:lnTo>
                    <a:pt x="882" y="1113"/>
                  </a:lnTo>
                  <a:lnTo>
                    <a:pt x="882" y="1096"/>
                  </a:lnTo>
                  <a:lnTo>
                    <a:pt x="872" y="1066"/>
                  </a:lnTo>
                  <a:lnTo>
                    <a:pt x="851" y="1023"/>
                  </a:lnTo>
                  <a:lnTo>
                    <a:pt x="839" y="985"/>
                  </a:lnTo>
                  <a:lnTo>
                    <a:pt x="823" y="945"/>
                  </a:lnTo>
                  <a:lnTo>
                    <a:pt x="818" y="943"/>
                  </a:lnTo>
                  <a:lnTo>
                    <a:pt x="815" y="943"/>
                  </a:lnTo>
                  <a:lnTo>
                    <a:pt x="794" y="936"/>
                  </a:lnTo>
                  <a:lnTo>
                    <a:pt x="789" y="933"/>
                  </a:lnTo>
                  <a:lnTo>
                    <a:pt x="785" y="933"/>
                  </a:lnTo>
                  <a:lnTo>
                    <a:pt x="771" y="926"/>
                  </a:lnTo>
                  <a:lnTo>
                    <a:pt x="759" y="922"/>
                  </a:lnTo>
                  <a:lnTo>
                    <a:pt x="752" y="919"/>
                  </a:lnTo>
                  <a:lnTo>
                    <a:pt x="752" y="910"/>
                  </a:lnTo>
                  <a:lnTo>
                    <a:pt x="754" y="905"/>
                  </a:lnTo>
                  <a:lnTo>
                    <a:pt x="754" y="898"/>
                  </a:lnTo>
                  <a:lnTo>
                    <a:pt x="749" y="893"/>
                  </a:lnTo>
                  <a:lnTo>
                    <a:pt x="742" y="893"/>
                  </a:lnTo>
                  <a:lnTo>
                    <a:pt x="730" y="896"/>
                  </a:lnTo>
                  <a:lnTo>
                    <a:pt x="728" y="898"/>
                  </a:lnTo>
                  <a:lnTo>
                    <a:pt x="726" y="903"/>
                  </a:lnTo>
                  <a:lnTo>
                    <a:pt x="714" y="893"/>
                  </a:lnTo>
                  <a:lnTo>
                    <a:pt x="714" y="888"/>
                  </a:lnTo>
                  <a:lnTo>
                    <a:pt x="712" y="888"/>
                  </a:lnTo>
                  <a:lnTo>
                    <a:pt x="704" y="877"/>
                  </a:lnTo>
                  <a:lnTo>
                    <a:pt x="704" y="862"/>
                  </a:lnTo>
                  <a:lnTo>
                    <a:pt x="702" y="862"/>
                  </a:lnTo>
                  <a:lnTo>
                    <a:pt x="688" y="870"/>
                  </a:lnTo>
                  <a:lnTo>
                    <a:pt x="688" y="872"/>
                  </a:lnTo>
                  <a:lnTo>
                    <a:pt x="681" y="872"/>
                  </a:lnTo>
                  <a:lnTo>
                    <a:pt x="664" y="858"/>
                  </a:lnTo>
                  <a:lnTo>
                    <a:pt x="664" y="855"/>
                  </a:lnTo>
                  <a:lnTo>
                    <a:pt x="662" y="853"/>
                  </a:lnTo>
                  <a:lnTo>
                    <a:pt x="657" y="846"/>
                  </a:lnTo>
                  <a:lnTo>
                    <a:pt x="655" y="839"/>
                  </a:lnTo>
                  <a:lnTo>
                    <a:pt x="652" y="836"/>
                  </a:lnTo>
                  <a:lnTo>
                    <a:pt x="622" y="825"/>
                  </a:lnTo>
                  <a:lnTo>
                    <a:pt x="615" y="822"/>
                  </a:lnTo>
                  <a:lnTo>
                    <a:pt x="598" y="815"/>
                  </a:lnTo>
                  <a:lnTo>
                    <a:pt x="591" y="813"/>
                  </a:lnTo>
                  <a:lnTo>
                    <a:pt x="577" y="808"/>
                  </a:lnTo>
                  <a:lnTo>
                    <a:pt x="575" y="808"/>
                  </a:lnTo>
                  <a:lnTo>
                    <a:pt x="549" y="799"/>
                  </a:lnTo>
                  <a:lnTo>
                    <a:pt x="541" y="796"/>
                  </a:lnTo>
                  <a:lnTo>
                    <a:pt x="520" y="785"/>
                  </a:lnTo>
                  <a:lnTo>
                    <a:pt x="501" y="780"/>
                  </a:lnTo>
                  <a:lnTo>
                    <a:pt x="492" y="775"/>
                  </a:lnTo>
                  <a:lnTo>
                    <a:pt x="485" y="773"/>
                  </a:lnTo>
                  <a:lnTo>
                    <a:pt x="437" y="756"/>
                  </a:lnTo>
                  <a:lnTo>
                    <a:pt x="428" y="749"/>
                  </a:lnTo>
                  <a:lnTo>
                    <a:pt x="412" y="756"/>
                  </a:lnTo>
                  <a:lnTo>
                    <a:pt x="407" y="759"/>
                  </a:lnTo>
                  <a:lnTo>
                    <a:pt x="395" y="768"/>
                  </a:lnTo>
                  <a:lnTo>
                    <a:pt x="374" y="785"/>
                  </a:lnTo>
                  <a:lnTo>
                    <a:pt x="371" y="789"/>
                  </a:lnTo>
                  <a:lnTo>
                    <a:pt x="367" y="785"/>
                  </a:lnTo>
                  <a:lnTo>
                    <a:pt x="348" y="785"/>
                  </a:lnTo>
                  <a:lnTo>
                    <a:pt x="343" y="789"/>
                  </a:lnTo>
                  <a:lnTo>
                    <a:pt x="334" y="789"/>
                  </a:lnTo>
                  <a:lnTo>
                    <a:pt x="331" y="785"/>
                  </a:lnTo>
                  <a:lnTo>
                    <a:pt x="326" y="782"/>
                  </a:lnTo>
                  <a:lnTo>
                    <a:pt x="317" y="782"/>
                  </a:lnTo>
                  <a:lnTo>
                    <a:pt x="286" y="789"/>
                  </a:lnTo>
                  <a:lnTo>
                    <a:pt x="286" y="785"/>
                  </a:lnTo>
                  <a:lnTo>
                    <a:pt x="282" y="780"/>
                  </a:lnTo>
                  <a:lnTo>
                    <a:pt x="282" y="775"/>
                  </a:lnTo>
                  <a:lnTo>
                    <a:pt x="277" y="775"/>
                  </a:lnTo>
                  <a:lnTo>
                    <a:pt x="274" y="780"/>
                  </a:lnTo>
                  <a:lnTo>
                    <a:pt x="263" y="785"/>
                  </a:lnTo>
                  <a:lnTo>
                    <a:pt x="260" y="789"/>
                  </a:lnTo>
                  <a:lnTo>
                    <a:pt x="260" y="792"/>
                  </a:lnTo>
                  <a:lnTo>
                    <a:pt x="253" y="792"/>
                  </a:lnTo>
                  <a:lnTo>
                    <a:pt x="251" y="796"/>
                  </a:lnTo>
                  <a:lnTo>
                    <a:pt x="246" y="796"/>
                  </a:lnTo>
                  <a:lnTo>
                    <a:pt x="241" y="792"/>
                  </a:lnTo>
                  <a:lnTo>
                    <a:pt x="234" y="792"/>
                  </a:lnTo>
                  <a:lnTo>
                    <a:pt x="230" y="789"/>
                  </a:lnTo>
                  <a:lnTo>
                    <a:pt x="227" y="785"/>
                  </a:lnTo>
                  <a:lnTo>
                    <a:pt x="220" y="785"/>
                  </a:lnTo>
                  <a:lnTo>
                    <a:pt x="218" y="782"/>
                  </a:lnTo>
                  <a:lnTo>
                    <a:pt x="213" y="782"/>
                  </a:lnTo>
                  <a:lnTo>
                    <a:pt x="211" y="780"/>
                  </a:lnTo>
                  <a:lnTo>
                    <a:pt x="211" y="773"/>
                  </a:lnTo>
                  <a:lnTo>
                    <a:pt x="201" y="773"/>
                  </a:lnTo>
                  <a:lnTo>
                    <a:pt x="197" y="775"/>
                  </a:lnTo>
                  <a:lnTo>
                    <a:pt x="194" y="780"/>
                  </a:lnTo>
                  <a:lnTo>
                    <a:pt x="197" y="782"/>
                  </a:lnTo>
                  <a:lnTo>
                    <a:pt x="194" y="782"/>
                  </a:lnTo>
                  <a:lnTo>
                    <a:pt x="194" y="785"/>
                  </a:lnTo>
                  <a:lnTo>
                    <a:pt x="189" y="785"/>
                  </a:lnTo>
                  <a:lnTo>
                    <a:pt x="187" y="780"/>
                  </a:lnTo>
                  <a:lnTo>
                    <a:pt x="185" y="773"/>
                  </a:lnTo>
                  <a:lnTo>
                    <a:pt x="178" y="768"/>
                  </a:lnTo>
                  <a:lnTo>
                    <a:pt x="171" y="766"/>
                  </a:lnTo>
                  <a:lnTo>
                    <a:pt x="166" y="759"/>
                  </a:lnTo>
                  <a:lnTo>
                    <a:pt x="154" y="751"/>
                  </a:lnTo>
                  <a:lnTo>
                    <a:pt x="137" y="751"/>
                  </a:lnTo>
                  <a:lnTo>
                    <a:pt x="130" y="756"/>
                  </a:lnTo>
                  <a:lnTo>
                    <a:pt x="126" y="759"/>
                  </a:lnTo>
                  <a:lnTo>
                    <a:pt x="123" y="759"/>
                  </a:lnTo>
                  <a:lnTo>
                    <a:pt x="123" y="761"/>
                  </a:lnTo>
                  <a:lnTo>
                    <a:pt x="121" y="766"/>
                  </a:lnTo>
                  <a:lnTo>
                    <a:pt x="114" y="766"/>
                  </a:lnTo>
                  <a:lnTo>
                    <a:pt x="109" y="768"/>
                  </a:lnTo>
                  <a:lnTo>
                    <a:pt x="104" y="768"/>
                  </a:lnTo>
                  <a:lnTo>
                    <a:pt x="104" y="761"/>
                  </a:lnTo>
                  <a:lnTo>
                    <a:pt x="100" y="759"/>
                  </a:lnTo>
                  <a:lnTo>
                    <a:pt x="83" y="759"/>
                  </a:lnTo>
                  <a:lnTo>
                    <a:pt x="76" y="756"/>
                  </a:lnTo>
                  <a:lnTo>
                    <a:pt x="76" y="751"/>
                  </a:lnTo>
                  <a:lnTo>
                    <a:pt x="67" y="751"/>
                  </a:lnTo>
                  <a:lnTo>
                    <a:pt x="64" y="756"/>
                  </a:lnTo>
                  <a:lnTo>
                    <a:pt x="60" y="756"/>
                  </a:lnTo>
                  <a:lnTo>
                    <a:pt x="57" y="751"/>
                  </a:lnTo>
                  <a:lnTo>
                    <a:pt x="52" y="751"/>
                  </a:lnTo>
                  <a:lnTo>
                    <a:pt x="50" y="749"/>
                  </a:lnTo>
                  <a:lnTo>
                    <a:pt x="50" y="735"/>
                  </a:lnTo>
                  <a:lnTo>
                    <a:pt x="48" y="735"/>
                  </a:lnTo>
                  <a:lnTo>
                    <a:pt x="48" y="725"/>
                  </a:lnTo>
                  <a:lnTo>
                    <a:pt x="43" y="721"/>
                  </a:lnTo>
                  <a:lnTo>
                    <a:pt x="41" y="716"/>
                  </a:lnTo>
                  <a:lnTo>
                    <a:pt x="41" y="702"/>
                  </a:lnTo>
                  <a:lnTo>
                    <a:pt x="34" y="699"/>
                  </a:lnTo>
                  <a:lnTo>
                    <a:pt x="29" y="695"/>
                  </a:lnTo>
                  <a:lnTo>
                    <a:pt x="29" y="699"/>
                  </a:lnTo>
                  <a:lnTo>
                    <a:pt x="19" y="699"/>
                  </a:lnTo>
                  <a:lnTo>
                    <a:pt x="19" y="692"/>
                  </a:lnTo>
                  <a:lnTo>
                    <a:pt x="17" y="652"/>
                  </a:lnTo>
                  <a:lnTo>
                    <a:pt x="17" y="629"/>
                  </a:lnTo>
                  <a:lnTo>
                    <a:pt x="10" y="548"/>
                  </a:lnTo>
                  <a:lnTo>
                    <a:pt x="8" y="499"/>
                  </a:lnTo>
                  <a:lnTo>
                    <a:pt x="3" y="468"/>
                  </a:lnTo>
                  <a:lnTo>
                    <a:pt x="3" y="444"/>
                  </a:lnTo>
                  <a:lnTo>
                    <a:pt x="0" y="421"/>
                  </a:lnTo>
                  <a:lnTo>
                    <a:pt x="0" y="388"/>
                  </a:lnTo>
                  <a:lnTo>
                    <a:pt x="10" y="378"/>
                  </a:lnTo>
                  <a:lnTo>
                    <a:pt x="19" y="369"/>
                  </a:lnTo>
                  <a:lnTo>
                    <a:pt x="29" y="355"/>
                  </a:lnTo>
                  <a:lnTo>
                    <a:pt x="48" y="333"/>
                  </a:lnTo>
                  <a:lnTo>
                    <a:pt x="52" y="324"/>
                  </a:lnTo>
                  <a:lnTo>
                    <a:pt x="64" y="314"/>
                  </a:lnTo>
                  <a:lnTo>
                    <a:pt x="69" y="305"/>
                  </a:lnTo>
                  <a:lnTo>
                    <a:pt x="74" y="305"/>
                  </a:lnTo>
                  <a:lnTo>
                    <a:pt x="81" y="291"/>
                  </a:lnTo>
                  <a:lnTo>
                    <a:pt x="88" y="281"/>
                  </a:lnTo>
                  <a:lnTo>
                    <a:pt x="100" y="265"/>
                  </a:lnTo>
                  <a:lnTo>
                    <a:pt x="114" y="244"/>
                  </a:lnTo>
                  <a:lnTo>
                    <a:pt x="116" y="241"/>
                  </a:lnTo>
                  <a:lnTo>
                    <a:pt x="121" y="234"/>
                  </a:lnTo>
                  <a:lnTo>
                    <a:pt x="123" y="232"/>
                  </a:lnTo>
                  <a:lnTo>
                    <a:pt x="126" y="225"/>
                  </a:lnTo>
                  <a:lnTo>
                    <a:pt x="140" y="203"/>
                  </a:lnTo>
                  <a:lnTo>
                    <a:pt x="145" y="196"/>
                  </a:lnTo>
                  <a:lnTo>
                    <a:pt x="147" y="194"/>
                  </a:lnTo>
                  <a:lnTo>
                    <a:pt x="154" y="184"/>
                  </a:lnTo>
                  <a:lnTo>
                    <a:pt x="156" y="180"/>
                  </a:lnTo>
                  <a:lnTo>
                    <a:pt x="161" y="175"/>
                  </a:lnTo>
                  <a:lnTo>
                    <a:pt x="163" y="170"/>
                  </a:lnTo>
                  <a:lnTo>
                    <a:pt x="178" y="151"/>
                  </a:lnTo>
                  <a:lnTo>
                    <a:pt x="180" y="147"/>
                  </a:lnTo>
                  <a:lnTo>
                    <a:pt x="180" y="144"/>
                  </a:lnTo>
                  <a:lnTo>
                    <a:pt x="185" y="140"/>
                  </a:lnTo>
                  <a:lnTo>
                    <a:pt x="187" y="135"/>
                  </a:lnTo>
                  <a:lnTo>
                    <a:pt x="189" y="130"/>
                  </a:lnTo>
                  <a:lnTo>
                    <a:pt x="206" y="104"/>
                  </a:lnTo>
                  <a:lnTo>
                    <a:pt x="211" y="99"/>
                  </a:lnTo>
                  <a:lnTo>
                    <a:pt x="213" y="97"/>
                  </a:lnTo>
                  <a:lnTo>
                    <a:pt x="220" y="83"/>
                  </a:lnTo>
                  <a:lnTo>
                    <a:pt x="225" y="81"/>
                  </a:lnTo>
                  <a:lnTo>
                    <a:pt x="227" y="78"/>
                  </a:lnTo>
                  <a:lnTo>
                    <a:pt x="227" y="73"/>
                  </a:lnTo>
                  <a:lnTo>
                    <a:pt x="246" y="43"/>
                  </a:lnTo>
                  <a:lnTo>
                    <a:pt x="251" y="43"/>
                  </a:lnTo>
                  <a:lnTo>
                    <a:pt x="251" y="40"/>
                  </a:lnTo>
                  <a:lnTo>
                    <a:pt x="258" y="31"/>
                  </a:lnTo>
                  <a:lnTo>
                    <a:pt x="260" y="26"/>
                  </a:lnTo>
                  <a:lnTo>
                    <a:pt x="263" y="24"/>
                  </a:lnTo>
                  <a:lnTo>
                    <a:pt x="263" y="19"/>
                  </a:lnTo>
                  <a:lnTo>
                    <a:pt x="267" y="0"/>
                  </a:lnTo>
                  <a:lnTo>
                    <a:pt x="284" y="0"/>
                  </a:lnTo>
                  <a:lnTo>
                    <a:pt x="291" y="7"/>
                  </a:lnTo>
                  <a:lnTo>
                    <a:pt x="293" y="10"/>
                  </a:lnTo>
                  <a:lnTo>
                    <a:pt x="298" y="14"/>
                  </a:lnTo>
                  <a:lnTo>
                    <a:pt x="308" y="17"/>
                  </a:lnTo>
                  <a:lnTo>
                    <a:pt x="308" y="19"/>
                  </a:lnTo>
                  <a:lnTo>
                    <a:pt x="315" y="19"/>
                  </a:lnTo>
                  <a:lnTo>
                    <a:pt x="317" y="24"/>
                  </a:lnTo>
                  <a:lnTo>
                    <a:pt x="322" y="26"/>
                  </a:lnTo>
                  <a:lnTo>
                    <a:pt x="331" y="26"/>
                  </a:lnTo>
                  <a:lnTo>
                    <a:pt x="341" y="38"/>
                  </a:lnTo>
                  <a:lnTo>
                    <a:pt x="348" y="47"/>
                  </a:lnTo>
                  <a:lnTo>
                    <a:pt x="348" y="50"/>
                  </a:lnTo>
                  <a:lnTo>
                    <a:pt x="357" y="59"/>
                  </a:lnTo>
                  <a:lnTo>
                    <a:pt x="360" y="59"/>
                  </a:lnTo>
                  <a:lnTo>
                    <a:pt x="367" y="64"/>
                  </a:lnTo>
                  <a:lnTo>
                    <a:pt x="371" y="64"/>
                  </a:lnTo>
                  <a:lnTo>
                    <a:pt x="378" y="66"/>
                  </a:lnTo>
                  <a:lnTo>
                    <a:pt x="383" y="66"/>
                  </a:lnTo>
                  <a:lnTo>
                    <a:pt x="388" y="64"/>
                  </a:lnTo>
                  <a:lnTo>
                    <a:pt x="395" y="66"/>
                  </a:lnTo>
                  <a:lnTo>
                    <a:pt x="397" y="66"/>
                  </a:lnTo>
                  <a:lnTo>
                    <a:pt x="407" y="71"/>
                  </a:lnTo>
                  <a:lnTo>
                    <a:pt x="419" y="71"/>
                  </a:lnTo>
                  <a:lnTo>
                    <a:pt x="421" y="73"/>
                  </a:lnTo>
                  <a:lnTo>
                    <a:pt x="423" y="73"/>
                  </a:lnTo>
                  <a:lnTo>
                    <a:pt x="423" y="78"/>
                  </a:lnTo>
                  <a:lnTo>
                    <a:pt x="428" y="78"/>
                  </a:lnTo>
                  <a:lnTo>
                    <a:pt x="447" y="81"/>
                  </a:lnTo>
                  <a:lnTo>
                    <a:pt x="454" y="81"/>
                  </a:lnTo>
                  <a:lnTo>
                    <a:pt x="463" y="83"/>
                  </a:lnTo>
                  <a:lnTo>
                    <a:pt x="468" y="88"/>
                  </a:lnTo>
                  <a:lnTo>
                    <a:pt x="468" y="90"/>
                  </a:lnTo>
                  <a:lnTo>
                    <a:pt x="471" y="95"/>
                  </a:lnTo>
                  <a:lnTo>
                    <a:pt x="478" y="97"/>
                  </a:lnTo>
                  <a:lnTo>
                    <a:pt x="480" y="97"/>
                  </a:lnTo>
                  <a:lnTo>
                    <a:pt x="485" y="99"/>
                  </a:lnTo>
                  <a:lnTo>
                    <a:pt x="487" y="97"/>
                  </a:lnTo>
                  <a:lnTo>
                    <a:pt x="492" y="99"/>
                  </a:lnTo>
                  <a:lnTo>
                    <a:pt x="492" y="104"/>
                  </a:lnTo>
                  <a:lnTo>
                    <a:pt x="487" y="107"/>
                  </a:lnTo>
                  <a:lnTo>
                    <a:pt x="485" y="114"/>
                  </a:lnTo>
                  <a:lnTo>
                    <a:pt x="480" y="123"/>
                  </a:lnTo>
                  <a:lnTo>
                    <a:pt x="480" y="135"/>
                  </a:lnTo>
                  <a:lnTo>
                    <a:pt x="485" y="130"/>
                  </a:lnTo>
                  <a:lnTo>
                    <a:pt x="485" y="121"/>
                  </a:lnTo>
                  <a:lnTo>
                    <a:pt x="487" y="111"/>
                  </a:lnTo>
                  <a:lnTo>
                    <a:pt x="487" y="107"/>
                  </a:lnTo>
                  <a:lnTo>
                    <a:pt x="492" y="107"/>
                  </a:lnTo>
                  <a:lnTo>
                    <a:pt x="492" y="104"/>
                  </a:lnTo>
                  <a:lnTo>
                    <a:pt x="520" y="104"/>
                  </a:lnTo>
                  <a:lnTo>
                    <a:pt x="527" y="99"/>
                  </a:lnTo>
                  <a:lnTo>
                    <a:pt x="527" y="97"/>
                  </a:lnTo>
                  <a:lnTo>
                    <a:pt x="532" y="97"/>
                  </a:lnTo>
                  <a:lnTo>
                    <a:pt x="537" y="95"/>
                  </a:lnTo>
                  <a:lnTo>
                    <a:pt x="541" y="97"/>
                  </a:lnTo>
                  <a:lnTo>
                    <a:pt x="544" y="95"/>
                  </a:lnTo>
                  <a:lnTo>
                    <a:pt x="549" y="90"/>
                  </a:lnTo>
                  <a:lnTo>
                    <a:pt x="551" y="90"/>
                  </a:lnTo>
                  <a:lnTo>
                    <a:pt x="565" y="95"/>
                  </a:lnTo>
                  <a:lnTo>
                    <a:pt x="572" y="97"/>
                  </a:lnTo>
                  <a:lnTo>
                    <a:pt x="572" y="99"/>
                  </a:lnTo>
                  <a:lnTo>
                    <a:pt x="572" y="97"/>
                  </a:lnTo>
                  <a:lnTo>
                    <a:pt x="567" y="95"/>
                  </a:lnTo>
                  <a:lnTo>
                    <a:pt x="565" y="95"/>
                  </a:lnTo>
                  <a:lnTo>
                    <a:pt x="560" y="90"/>
                  </a:lnTo>
                  <a:lnTo>
                    <a:pt x="572" y="90"/>
                  </a:lnTo>
                  <a:lnTo>
                    <a:pt x="575" y="95"/>
                  </a:lnTo>
                  <a:lnTo>
                    <a:pt x="591" y="95"/>
                  </a:lnTo>
                  <a:lnTo>
                    <a:pt x="591" y="90"/>
                  </a:lnTo>
                  <a:lnTo>
                    <a:pt x="593" y="88"/>
                  </a:lnTo>
                  <a:lnTo>
                    <a:pt x="600" y="88"/>
                  </a:lnTo>
                  <a:lnTo>
                    <a:pt x="605" y="90"/>
                  </a:lnTo>
                  <a:lnTo>
                    <a:pt x="605" y="95"/>
                  </a:lnTo>
                  <a:lnTo>
                    <a:pt x="612" y="95"/>
                  </a:lnTo>
                  <a:lnTo>
                    <a:pt x="615" y="90"/>
                  </a:lnTo>
                  <a:lnTo>
                    <a:pt x="617" y="90"/>
                  </a:lnTo>
                  <a:lnTo>
                    <a:pt x="624" y="88"/>
                  </a:lnTo>
                  <a:lnTo>
                    <a:pt x="629" y="90"/>
                  </a:lnTo>
                  <a:lnTo>
                    <a:pt x="631" y="90"/>
                  </a:lnTo>
                  <a:lnTo>
                    <a:pt x="631" y="95"/>
                  </a:lnTo>
                  <a:lnTo>
                    <a:pt x="634" y="95"/>
                  </a:lnTo>
                  <a:lnTo>
                    <a:pt x="634" y="90"/>
                  </a:lnTo>
                  <a:lnTo>
                    <a:pt x="631" y="88"/>
                  </a:lnTo>
                  <a:lnTo>
                    <a:pt x="634" y="88"/>
                  </a:lnTo>
                  <a:lnTo>
                    <a:pt x="638" y="90"/>
                  </a:lnTo>
                  <a:lnTo>
                    <a:pt x="638" y="97"/>
                  </a:lnTo>
                  <a:lnTo>
                    <a:pt x="641" y="107"/>
                  </a:lnTo>
                  <a:lnTo>
                    <a:pt x="645" y="111"/>
                  </a:lnTo>
                  <a:lnTo>
                    <a:pt x="648" y="118"/>
                  </a:lnTo>
                  <a:lnTo>
                    <a:pt x="648" y="137"/>
                  </a:lnTo>
                  <a:lnTo>
                    <a:pt x="645" y="151"/>
                  </a:lnTo>
                  <a:lnTo>
                    <a:pt x="645" y="161"/>
                  </a:lnTo>
                  <a:lnTo>
                    <a:pt x="648" y="170"/>
                  </a:lnTo>
                  <a:lnTo>
                    <a:pt x="652" y="175"/>
                  </a:lnTo>
                  <a:lnTo>
                    <a:pt x="655" y="175"/>
                  </a:lnTo>
                  <a:lnTo>
                    <a:pt x="657" y="177"/>
                  </a:lnTo>
                  <a:lnTo>
                    <a:pt x="662" y="180"/>
                  </a:lnTo>
                  <a:lnTo>
                    <a:pt x="669" y="194"/>
                  </a:lnTo>
                  <a:lnTo>
                    <a:pt x="671" y="201"/>
                  </a:lnTo>
                  <a:lnTo>
                    <a:pt x="674" y="203"/>
                  </a:lnTo>
                  <a:lnTo>
                    <a:pt x="674" y="208"/>
                  </a:lnTo>
                  <a:lnTo>
                    <a:pt x="671" y="215"/>
                  </a:lnTo>
                  <a:lnTo>
                    <a:pt x="671" y="220"/>
                  </a:lnTo>
                  <a:lnTo>
                    <a:pt x="678" y="234"/>
                  </a:lnTo>
                  <a:lnTo>
                    <a:pt x="681" y="234"/>
                  </a:lnTo>
                  <a:lnTo>
                    <a:pt x="681" y="241"/>
                  </a:lnTo>
                  <a:lnTo>
                    <a:pt x="686" y="244"/>
                  </a:lnTo>
                  <a:lnTo>
                    <a:pt x="686" y="251"/>
                  </a:lnTo>
                  <a:lnTo>
                    <a:pt x="681" y="253"/>
                  </a:lnTo>
                  <a:lnTo>
                    <a:pt x="681" y="258"/>
                  </a:lnTo>
                  <a:lnTo>
                    <a:pt x="678" y="260"/>
                  </a:lnTo>
                  <a:lnTo>
                    <a:pt x="681" y="267"/>
                  </a:lnTo>
                  <a:lnTo>
                    <a:pt x="681" y="272"/>
                  </a:lnTo>
                  <a:lnTo>
                    <a:pt x="686" y="277"/>
                  </a:lnTo>
                  <a:lnTo>
                    <a:pt x="686" y="281"/>
                  </a:lnTo>
                  <a:lnTo>
                    <a:pt x="695" y="281"/>
                  </a:lnTo>
                  <a:lnTo>
                    <a:pt x="697" y="284"/>
                  </a:lnTo>
                  <a:lnTo>
                    <a:pt x="704" y="291"/>
                  </a:lnTo>
                  <a:lnTo>
                    <a:pt x="721" y="307"/>
                  </a:lnTo>
                  <a:lnTo>
                    <a:pt x="728" y="312"/>
                  </a:lnTo>
                  <a:lnTo>
                    <a:pt x="730" y="312"/>
                  </a:lnTo>
                  <a:lnTo>
                    <a:pt x="735" y="321"/>
                  </a:lnTo>
                  <a:lnTo>
                    <a:pt x="735" y="324"/>
                  </a:lnTo>
                  <a:lnTo>
                    <a:pt x="730" y="329"/>
                  </a:lnTo>
                  <a:lnTo>
                    <a:pt x="721" y="333"/>
                  </a:lnTo>
                  <a:lnTo>
                    <a:pt x="721" y="338"/>
                  </a:lnTo>
                  <a:lnTo>
                    <a:pt x="726" y="338"/>
                  </a:lnTo>
                  <a:lnTo>
                    <a:pt x="726" y="333"/>
                  </a:lnTo>
                  <a:lnTo>
                    <a:pt x="728" y="331"/>
                  </a:lnTo>
                  <a:lnTo>
                    <a:pt x="742" y="331"/>
                  </a:lnTo>
                  <a:lnTo>
                    <a:pt x="745" y="333"/>
                  </a:lnTo>
                  <a:lnTo>
                    <a:pt x="749" y="338"/>
                  </a:lnTo>
                  <a:lnTo>
                    <a:pt x="752" y="340"/>
                  </a:lnTo>
                  <a:lnTo>
                    <a:pt x="766" y="340"/>
                  </a:lnTo>
                  <a:lnTo>
                    <a:pt x="771" y="345"/>
                  </a:lnTo>
                  <a:lnTo>
                    <a:pt x="775" y="345"/>
                  </a:lnTo>
                  <a:lnTo>
                    <a:pt x="778" y="350"/>
                  </a:lnTo>
                  <a:lnTo>
                    <a:pt x="785" y="355"/>
                  </a:lnTo>
                  <a:lnTo>
                    <a:pt x="792" y="357"/>
                  </a:lnTo>
                  <a:lnTo>
                    <a:pt x="799" y="362"/>
                  </a:lnTo>
                  <a:lnTo>
                    <a:pt x="801" y="364"/>
                  </a:lnTo>
                  <a:lnTo>
                    <a:pt x="801" y="371"/>
                  </a:lnTo>
                  <a:lnTo>
                    <a:pt x="808" y="381"/>
                  </a:lnTo>
                  <a:lnTo>
                    <a:pt x="811" y="381"/>
                  </a:lnTo>
                  <a:lnTo>
                    <a:pt x="815" y="385"/>
                  </a:lnTo>
                  <a:lnTo>
                    <a:pt x="818" y="390"/>
                  </a:lnTo>
                  <a:lnTo>
                    <a:pt x="815" y="395"/>
                  </a:lnTo>
                  <a:lnTo>
                    <a:pt x="811" y="397"/>
                  </a:lnTo>
                  <a:lnTo>
                    <a:pt x="808" y="402"/>
                  </a:lnTo>
                  <a:lnTo>
                    <a:pt x="806" y="404"/>
                  </a:lnTo>
                  <a:lnTo>
                    <a:pt x="801" y="414"/>
                  </a:lnTo>
                  <a:lnTo>
                    <a:pt x="794" y="425"/>
                  </a:lnTo>
                  <a:lnTo>
                    <a:pt x="792" y="428"/>
                  </a:lnTo>
                  <a:lnTo>
                    <a:pt x="799" y="428"/>
                  </a:lnTo>
                  <a:lnTo>
                    <a:pt x="799" y="418"/>
                  </a:lnTo>
                  <a:lnTo>
                    <a:pt x="806" y="418"/>
                  </a:lnTo>
                  <a:lnTo>
                    <a:pt x="806" y="414"/>
                  </a:lnTo>
                  <a:lnTo>
                    <a:pt x="808" y="414"/>
                  </a:lnTo>
                  <a:lnTo>
                    <a:pt x="811" y="409"/>
                  </a:lnTo>
                  <a:lnTo>
                    <a:pt x="811" y="402"/>
                  </a:lnTo>
                  <a:lnTo>
                    <a:pt x="815" y="397"/>
                  </a:lnTo>
                  <a:lnTo>
                    <a:pt x="818" y="395"/>
                  </a:lnTo>
                  <a:lnTo>
                    <a:pt x="841" y="395"/>
                  </a:lnTo>
                  <a:lnTo>
                    <a:pt x="856" y="402"/>
                  </a:lnTo>
                  <a:lnTo>
                    <a:pt x="858" y="404"/>
                  </a:lnTo>
                  <a:lnTo>
                    <a:pt x="863" y="409"/>
                  </a:lnTo>
                  <a:lnTo>
                    <a:pt x="865" y="409"/>
                  </a:lnTo>
                  <a:lnTo>
                    <a:pt x="867" y="411"/>
                  </a:lnTo>
                  <a:lnTo>
                    <a:pt x="875" y="414"/>
                  </a:lnTo>
                  <a:lnTo>
                    <a:pt x="875" y="41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4" name="Freeform 469">
              <a:extLst>
                <a:ext uri="{FF2B5EF4-FFF2-40B4-BE49-F238E27FC236}">
                  <a16:creationId xmlns:a16="http://schemas.microsoft.com/office/drawing/2014/main" id="{7EE41C0F-1CB3-48D1-8A30-219D5092B2EF}"/>
                </a:ext>
              </a:extLst>
            </p:cNvPr>
            <p:cNvSpPr>
              <a:spLocks/>
            </p:cNvSpPr>
            <p:nvPr/>
          </p:nvSpPr>
          <p:spPr bwMode="gray">
            <a:xfrm rot="47099">
              <a:off x="824459" y="2833259"/>
              <a:ext cx="4453" cy="10613"/>
            </a:xfrm>
            <a:custGeom>
              <a:avLst/>
              <a:gdLst>
                <a:gd name="T0" fmla="*/ 7 w 9"/>
                <a:gd name="T1" fmla="*/ 2 h 23"/>
                <a:gd name="T2" fmla="*/ 9 w 9"/>
                <a:gd name="T3" fmla="*/ 9 h 23"/>
                <a:gd name="T4" fmla="*/ 9 w 9"/>
                <a:gd name="T5" fmla="*/ 19 h 23"/>
                <a:gd name="T6" fmla="*/ 7 w 9"/>
                <a:gd name="T7" fmla="*/ 23 h 23"/>
                <a:gd name="T8" fmla="*/ 2 w 9"/>
                <a:gd name="T9" fmla="*/ 23 h 23"/>
                <a:gd name="T10" fmla="*/ 0 w 9"/>
                <a:gd name="T11" fmla="*/ 19 h 23"/>
                <a:gd name="T12" fmla="*/ 0 w 9"/>
                <a:gd name="T13" fmla="*/ 16 h 23"/>
                <a:gd name="T14" fmla="*/ 2 w 9"/>
                <a:gd name="T15" fmla="*/ 2 h 23"/>
                <a:gd name="T16" fmla="*/ 2 w 9"/>
                <a:gd name="T17" fmla="*/ 0 h 23"/>
                <a:gd name="T18" fmla="*/ 2 w 9"/>
                <a:gd name="T19" fmla="*/ 2 h 23"/>
                <a:gd name="T20" fmla="*/ 7 w 9"/>
                <a:gd name="T21" fmla="*/ 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23"/>
                <a:gd name="T35" fmla="*/ 9 w 9"/>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23">
                  <a:moveTo>
                    <a:pt x="7" y="2"/>
                  </a:moveTo>
                  <a:lnTo>
                    <a:pt x="9" y="9"/>
                  </a:lnTo>
                  <a:lnTo>
                    <a:pt x="9" y="19"/>
                  </a:lnTo>
                  <a:lnTo>
                    <a:pt x="7" y="23"/>
                  </a:lnTo>
                  <a:lnTo>
                    <a:pt x="2" y="23"/>
                  </a:lnTo>
                  <a:lnTo>
                    <a:pt x="0" y="19"/>
                  </a:lnTo>
                  <a:lnTo>
                    <a:pt x="0" y="16"/>
                  </a:lnTo>
                  <a:lnTo>
                    <a:pt x="2" y="2"/>
                  </a:lnTo>
                  <a:lnTo>
                    <a:pt x="2" y="0"/>
                  </a:lnTo>
                  <a:lnTo>
                    <a:pt x="2" y="2"/>
                  </a:lnTo>
                  <a:lnTo>
                    <a:pt x="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5" name="Freeform 470">
              <a:extLst>
                <a:ext uri="{FF2B5EF4-FFF2-40B4-BE49-F238E27FC236}">
                  <a16:creationId xmlns:a16="http://schemas.microsoft.com/office/drawing/2014/main" id="{8BD72744-4C7A-4F8F-9D53-74EC3E12572B}"/>
                </a:ext>
              </a:extLst>
            </p:cNvPr>
            <p:cNvSpPr>
              <a:spLocks/>
            </p:cNvSpPr>
            <p:nvPr/>
          </p:nvSpPr>
          <p:spPr bwMode="gray">
            <a:xfrm rot="47099">
              <a:off x="825435" y="2825566"/>
              <a:ext cx="6235" cy="13507"/>
            </a:xfrm>
            <a:custGeom>
              <a:avLst/>
              <a:gdLst>
                <a:gd name="T0" fmla="*/ 0 w 14"/>
                <a:gd name="T1" fmla="*/ 3 h 29"/>
                <a:gd name="T2" fmla="*/ 0 w 14"/>
                <a:gd name="T3" fmla="*/ 5 h 29"/>
                <a:gd name="T4" fmla="*/ 5 w 14"/>
                <a:gd name="T5" fmla="*/ 10 h 29"/>
                <a:gd name="T6" fmla="*/ 5 w 14"/>
                <a:gd name="T7" fmla="*/ 17 h 29"/>
                <a:gd name="T8" fmla="*/ 7 w 14"/>
                <a:gd name="T9" fmla="*/ 19 h 29"/>
                <a:gd name="T10" fmla="*/ 12 w 14"/>
                <a:gd name="T11" fmla="*/ 24 h 29"/>
                <a:gd name="T12" fmla="*/ 14 w 14"/>
                <a:gd name="T13" fmla="*/ 26 h 29"/>
                <a:gd name="T14" fmla="*/ 14 w 14"/>
                <a:gd name="T15" fmla="*/ 29 h 29"/>
                <a:gd name="T16" fmla="*/ 12 w 14"/>
                <a:gd name="T17" fmla="*/ 29 h 29"/>
                <a:gd name="T18" fmla="*/ 12 w 14"/>
                <a:gd name="T19" fmla="*/ 26 h 29"/>
                <a:gd name="T20" fmla="*/ 5 w 14"/>
                <a:gd name="T21" fmla="*/ 17 h 29"/>
                <a:gd name="T22" fmla="*/ 0 w 14"/>
                <a:gd name="T23" fmla="*/ 10 h 29"/>
                <a:gd name="T24" fmla="*/ 0 w 14"/>
                <a:gd name="T25" fmla="*/ 0 h 29"/>
                <a:gd name="T26" fmla="*/ 0 w 14"/>
                <a:gd name="T27" fmla="*/ 3 h 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9"/>
                <a:gd name="T44" fmla="*/ 14 w 14"/>
                <a:gd name="T45" fmla="*/ 29 h 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9">
                  <a:moveTo>
                    <a:pt x="0" y="3"/>
                  </a:moveTo>
                  <a:lnTo>
                    <a:pt x="0" y="5"/>
                  </a:lnTo>
                  <a:lnTo>
                    <a:pt x="5" y="10"/>
                  </a:lnTo>
                  <a:lnTo>
                    <a:pt x="5" y="17"/>
                  </a:lnTo>
                  <a:lnTo>
                    <a:pt x="7" y="19"/>
                  </a:lnTo>
                  <a:lnTo>
                    <a:pt x="12" y="24"/>
                  </a:lnTo>
                  <a:lnTo>
                    <a:pt x="14" y="26"/>
                  </a:lnTo>
                  <a:lnTo>
                    <a:pt x="14" y="29"/>
                  </a:lnTo>
                  <a:lnTo>
                    <a:pt x="12" y="29"/>
                  </a:lnTo>
                  <a:lnTo>
                    <a:pt x="12" y="26"/>
                  </a:lnTo>
                  <a:lnTo>
                    <a:pt x="5" y="17"/>
                  </a:lnTo>
                  <a:lnTo>
                    <a:pt x="0" y="10"/>
                  </a:lnTo>
                  <a:lnTo>
                    <a:pt x="0" y="0"/>
                  </a:lnTo>
                  <a:lnTo>
                    <a:pt x="0"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6" name="Freeform 471">
              <a:extLst>
                <a:ext uri="{FF2B5EF4-FFF2-40B4-BE49-F238E27FC236}">
                  <a16:creationId xmlns:a16="http://schemas.microsoft.com/office/drawing/2014/main" id="{D5F2DA52-D772-409A-BFBD-18DF5361D600}"/>
                </a:ext>
              </a:extLst>
            </p:cNvPr>
            <p:cNvSpPr>
              <a:spLocks/>
            </p:cNvSpPr>
            <p:nvPr/>
          </p:nvSpPr>
          <p:spPr bwMode="gray">
            <a:xfrm rot="47099">
              <a:off x="770599" y="2800667"/>
              <a:ext cx="2672" cy="6754"/>
            </a:xfrm>
            <a:custGeom>
              <a:avLst/>
              <a:gdLst>
                <a:gd name="T0" fmla="*/ 2 w 5"/>
                <a:gd name="T1" fmla="*/ 5 h 14"/>
                <a:gd name="T2" fmla="*/ 5 w 5"/>
                <a:gd name="T3" fmla="*/ 5 h 14"/>
                <a:gd name="T4" fmla="*/ 5 w 5"/>
                <a:gd name="T5" fmla="*/ 12 h 14"/>
                <a:gd name="T6" fmla="*/ 2 w 5"/>
                <a:gd name="T7" fmla="*/ 14 h 14"/>
                <a:gd name="T8" fmla="*/ 0 w 5"/>
                <a:gd name="T9" fmla="*/ 12 h 14"/>
                <a:gd name="T10" fmla="*/ 0 w 5"/>
                <a:gd name="T11" fmla="*/ 5 h 14"/>
                <a:gd name="T12" fmla="*/ 2 w 5"/>
                <a:gd name="T13" fmla="*/ 0 h 14"/>
                <a:gd name="T14" fmla="*/ 2 w 5"/>
                <a:gd name="T15" fmla="*/ 5 h 1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4"/>
                <a:gd name="T26" fmla="*/ 5 w 5"/>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4">
                  <a:moveTo>
                    <a:pt x="2" y="5"/>
                  </a:moveTo>
                  <a:lnTo>
                    <a:pt x="5" y="5"/>
                  </a:lnTo>
                  <a:lnTo>
                    <a:pt x="5" y="12"/>
                  </a:lnTo>
                  <a:lnTo>
                    <a:pt x="2" y="14"/>
                  </a:lnTo>
                  <a:lnTo>
                    <a:pt x="0" y="12"/>
                  </a:lnTo>
                  <a:lnTo>
                    <a:pt x="0" y="5"/>
                  </a:lnTo>
                  <a:lnTo>
                    <a:pt x="2" y="0"/>
                  </a:lnTo>
                  <a:lnTo>
                    <a:pt x="2"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7" name="Freeform 472">
              <a:extLst>
                <a:ext uri="{FF2B5EF4-FFF2-40B4-BE49-F238E27FC236}">
                  <a16:creationId xmlns:a16="http://schemas.microsoft.com/office/drawing/2014/main" id="{2D7C2005-B8D1-4DB7-8B8E-E99E31199713}"/>
                </a:ext>
              </a:extLst>
            </p:cNvPr>
            <p:cNvSpPr>
              <a:spLocks/>
            </p:cNvSpPr>
            <p:nvPr/>
          </p:nvSpPr>
          <p:spPr bwMode="gray">
            <a:xfrm rot="47099">
              <a:off x="764471" y="2792870"/>
              <a:ext cx="3563" cy="6754"/>
            </a:xfrm>
            <a:custGeom>
              <a:avLst/>
              <a:gdLst>
                <a:gd name="T0" fmla="*/ 7 w 9"/>
                <a:gd name="T1" fmla="*/ 0 h 14"/>
                <a:gd name="T2" fmla="*/ 9 w 9"/>
                <a:gd name="T3" fmla="*/ 0 h 14"/>
                <a:gd name="T4" fmla="*/ 9 w 9"/>
                <a:gd name="T5" fmla="*/ 7 h 14"/>
                <a:gd name="T6" fmla="*/ 7 w 9"/>
                <a:gd name="T7" fmla="*/ 14 h 14"/>
                <a:gd name="T8" fmla="*/ 0 w 9"/>
                <a:gd name="T9" fmla="*/ 12 h 14"/>
                <a:gd name="T10" fmla="*/ 0 w 9"/>
                <a:gd name="T11" fmla="*/ 0 h 14"/>
                <a:gd name="T12" fmla="*/ 7 w 9"/>
                <a:gd name="T13" fmla="*/ 0 h 14"/>
                <a:gd name="T14" fmla="*/ 0 60000 65536"/>
                <a:gd name="T15" fmla="*/ 0 60000 65536"/>
                <a:gd name="T16" fmla="*/ 0 60000 65536"/>
                <a:gd name="T17" fmla="*/ 0 60000 65536"/>
                <a:gd name="T18" fmla="*/ 0 60000 65536"/>
                <a:gd name="T19" fmla="*/ 0 60000 65536"/>
                <a:gd name="T20" fmla="*/ 0 60000 65536"/>
                <a:gd name="T21" fmla="*/ 0 w 9"/>
                <a:gd name="T22" fmla="*/ 0 h 14"/>
                <a:gd name="T23" fmla="*/ 9 w 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4">
                  <a:moveTo>
                    <a:pt x="7" y="0"/>
                  </a:moveTo>
                  <a:lnTo>
                    <a:pt x="9" y="0"/>
                  </a:lnTo>
                  <a:lnTo>
                    <a:pt x="9" y="7"/>
                  </a:lnTo>
                  <a:lnTo>
                    <a:pt x="7" y="14"/>
                  </a:lnTo>
                  <a:lnTo>
                    <a:pt x="0" y="12"/>
                  </a:lnTo>
                  <a:lnTo>
                    <a:pt x="0"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8" name="Freeform 473">
              <a:extLst>
                <a:ext uri="{FF2B5EF4-FFF2-40B4-BE49-F238E27FC236}">
                  <a16:creationId xmlns:a16="http://schemas.microsoft.com/office/drawing/2014/main" id="{C5753440-C933-4CE9-8064-CAA9B5E0B481}"/>
                </a:ext>
              </a:extLst>
            </p:cNvPr>
            <p:cNvSpPr>
              <a:spLocks/>
            </p:cNvSpPr>
            <p:nvPr/>
          </p:nvSpPr>
          <p:spPr bwMode="gray">
            <a:xfrm rot="47099">
              <a:off x="837256" y="2812195"/>
              <a:ext cx="2672" cy="4824"/>
            </a:xfrm>
            <a:custGeom>
              <a:avLst/>
              <a:gdLst>
                <a:gd name="T0" fmla="*/ 7 w 7"/>
                <a:gd name="T1" fmla="*/ 2 h 9"/>
                <a:gd name="T2" fmla="*/ 7 w 7"/>
                <a:gd name="T3" fmla="*/ 9 h 9"/>
                <a:gd name="T4" fmla="*/ 5 w 7"/>
                <a:gd name="T5" fmla="*/ 9 h 9"/>
                <a:gd name="T6" fmla="*/ 0 w 7"/>
                <a:gd name="T7" fmla="*/ 7 h 9"/>
                <a:gd name="T8" fmla="*/ 0 w 7"/>
                <a:gd name="T9" fmla="*/ 0 h 9"/>
                <a:gd name="T10" fmla="*/ 7 w 7"/>
                <a:gd name="T11" fmla="*/ 0 h 9"/>
                <a:gd name="T12" fmla="*/ 7 w 7"/>
                <a:gd name="T13" fmla="*/ 2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7" y="2"/>
                  </a:moveTo>
                  <a:lnTo>
                    <a:pt x="7" y="9"/>
                  </a:lnTo>
                  <a:lnTo>
                    <a:pt x="5" y="9"/>
                  </a:lnTo>
                  <a:lnTo>
                    <a:pt x="0" y="7"/>
                  </a:lnTo>
                  <a:lnTo>
                    <a:pt x="0" y="0"/>
                  </a:lnTo>
                  <a:lnTo>
                    <a:pt x="7" y="0"/>
                  </a:lnTo>
                  <a:lnTo>
                    <a:pt x="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79" name="Freeform 474">
              <a:extLst>
                <a:ext uri="{FF2B5EF4-FFF2-40B4-BE49-F238E27FC236}">
                  <a16:creationId xmlns:a16="http://schemas.microsoft.com/office/drawing/2014/main" id="{EA3C1619-6B84-4FC2-B698-07C02D50E46A}"/>
                </a:ext>
              </a:extLst>
            </p:cNvPr>
            <p:cNvSpPr>
              <a:spLocks/>
            </p:cNvSpPr>
            <p:nvPr/>
          </p:nvSpPr>
          <p:spPr bwMode="gray">
            <a:xfrm rot="47099">
              <a:off x="820554" y="2796545"/>
              <a:ext cx="5343" cy="3860"/>
            </a:xfrm>
            <a:custGeom>
              <a:avLst/>
              <a:gdLst>
                <a:gd name="T0" fmla="*/ 12 w 12"/>
                <a:gd name="T1" fmla="*/ 2 h 9"/>
                <a:gd name="T2" fmla="*/ 10 w 12"/>
                <a:gd name="T3" fmla="*/ 2 h 9"/>
                <a:gd name="T4" fmla="*/ 7 w 12"/>
                <a:gd name="T5" fmla="*/ 7 h 9"/>
                <a:gd name="T6" fmla="*/ 7 w 12"/>
                <a:gd name="T7" fmla="*/ 9 h 9"/>
                <a:gd name="T8" fmla="*/ 3 w 12"/>
                <a:gd name="T9" fmla="*/ 9 h 9"/>
                <a:gd name="T10" fmla="*/ 0 w 12"/>
                <a:gd name="T11" fmla="*/ 7 h 9"/>
                <a:gd name="T12" fmla="*/ 0 w 12"/>
                <a:gd name="T13" fmla="*/ 2 h 9"/>
                <a:gd name="T14" fmla="*/ 7 w 12"/>
                <a:gd name="T15" fmla="*/ 2 h 9"/>
                <a:gd name="T16" fmla="*/ 10 w 12"/>
                <a:gd name="T17" fmla="*/ 0 h 9"/>
                <a:gd name="T18" fmla="*/ 12 w 12"/>
                <a:gd name="T19" fmla="*/ 0 h 9"/>
                <a:gd name="T20" fmla="*/ 12 w 12"/>
                <a:gd name="T21" fmla="*/ 2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9"/>
                <a:gd name="T35" fmla="*/ 12 w 12"/>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9">
                  <a:moveTo>
                    <a:pt x="12" y="2"/>
                  </a:moveTo>
                  <a:lnTo>
                    <a:pt x="10" y="2"/>
                  </a:lnTo>
                  <a:lnTo>
                    <a:pt x="7" y="7"/>
                  </a:lnTo>
                  <a:lnTo>
                    <a:pt x="7" y="9"/>
                  </a:lnTo>
                  <a:lnTo>
                    <a:pt x="3" y="9"/>
                  </a:lnTo>
                  <a:lnTo>
                    <a:pt x="0" y="7"/>
                  </a:lnTo>
                  <a:lnTo>
                    <a:pt x="0" y="2"/>
                  </a:lnTo>
                  <a:lnTo>
                    <a:pt x="7" y="2"/>
                  </a:lnTo>
                  <a:lnTo>
                    <a:pt x="10" y="0"/>
                  </a:lnTo>
                  <a:lnTo>
                    <a:pt x="12" y="0"/>
                  </a:lnTo>
                  <a:lnTo>
                    <a:pt x="12"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0" name="Freeform 475">
              <a:extLst>
                <a:ext uri="{FF2B5EF4-FFF2-40B4-BE49-F238E27FC236}">
                  <a16:creationId xmlns:a16="http://schemas.microsoft.com/office/drawing/2014/main" id="{EACA1C2E-1F55-422D-A807-848D2DE3771F}"/>
                </a:ext>
              </a:extLst>
            </p:cNvPr>
            <p:cNvSpPr>
              <a:spLocks/>
            </p:cNvSpPr>
            <p:nvPr/>
          </p:nvSpPr>
          <p:spPr bwMode="gray">
            <a:xfrm rot="47099">
              <a:off x="808963" y="2791605"/>
              <a:ext cx="11578" cy="15438"/>
            </a:xfrm>
            <a:custGeom>
              <a:avLst/>
              <a:gdLst>
                <a:gd name="T0" fmla="*/ 23 w 23"/>
                <a:gd name="T1" fmla="*/ 33 h 33"/>
                <a:gd name="T2" fmla="*/ 19 w 23"/>
                <a:gd name="T3" fmla="*/ 33 h 33"/>
                <a:gd name="T4" fmla="*/ 16 w 23"/>
                <a:gd name="T5" fmla="*/ 26 h 33"/>
                <a:gd name="T6" fmla="*/ 9 w 23"/>
                <a:gd name="T7" fmla="*/ 19 h 33"/>
                <a:gd name="T8" fmla="*/ 9 w 23"/>
                <a:gd name="T9" fmla="*/ 12 h 33"/>
                <a:gd name="T10" fmla="*/ 7 w 23"/>
                <a:gd name="T11" fmla="*/ 10 h 33"/>
                <a:gd name="T12" fmla="*/ 0 w 23"/>
                <a:gd name="T13" fmla="*/ 2 h 33"/>
                <a:gd name="T14" fmla="*/ 2 w 23"/>
                <a:gd name="T15" fmla="*/ 0 h 33"/>
                <a:gd name="T16" fmla="*/ 7 w 23"/>
                <a:gd name="T17" fmla="*/ 0 h 33"/>
                <a:gd name="T18" fmla="*/ 7 w 23"/>
                <a:gd name="T19" fmla="*/ 2 h 33"/>
                <a:gd name="T20" fmla="*/ 9 w 23"/>
                <a:gd name="T21" fmla="*/ 5 h 33"/>
                <a:gd name="T22" fmla="*/ 14 w 23"/>
                <a:gd name="T23" fmla="*/ 10 h 33"/>
                <a:gd name="T24" fmla="*/ 16 w 23"/>
                <a:gd name="T25" fmla="*/ 10 h 33"/>
                <a:gd name="T26" fmla="*/ 16 w 23"/>
                <a:gd name="T27" fmla="*/ 12 h 33"/>
                <a:gd name="T28" fmla="*/ 23 w 23"/>
                <a:gd name="T29" fmla="*/ 33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33"/>
                <a:gd name="T47" fmla="*/ 23 w 23"/>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33">
                  <a:moveTo>
                    <a:pt x="23" y="33"/>
                  </a:moveTo>
                  <a:lnTo>
                    <a:pt x="19" y="33"/>
                  </a:lnTo>
                  <a:lnTo>
                    <a:pt x="16" y="26"/>
                  </a:lnTo>
                  <a:lnTo>
                    <a:pt x="9" y="19"/>
                  </a:lnTo>
                  <a:lnTo>
                    <a:pt x="9" y="12"/>
                  </a:lnTo>
                  <a:lnTo>
                    <a:pt x="7" y="10"/>
                  </a:lnTo>
                  <a:lnTo>
                    <a:pt x="0" y="2"/>
                  </a:lnTo>
                  <a:lnTo>
                    <a:pt x="2" y="0"/>
                  </a:lnTo>
                  <a:lnTo>
                    <a:pt x="7" y="0"/>
                  </a:lnTo>
                  <a:lnTo>
                    <a:pt x="7" y="2"/>
                  </a:lnTo>
                  <a:lnTo>
                    <a:pt x="9" y="5"/>
                  </a:lnTo>
                  <a:lnTo>
                    <a:pt x="14" y="10"/>
                  </a:lnTo>
                  <a:lnTo>
                    <a:pt x="16" y="10"/>
                  </a:lnTo>
                  <a:lnTo>
                    <a:pt x="16" y="12"/>
                  </a:lnTo>
                  <a:lnTo>
                    <a:pt x="23" y="3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1" name="Freeform 476">
              <a:extLst>
                <a:ext uri="{FF2B5EF4-FFF2-40B4-BE49-F238E27FC236}">
                  <a16:creationId xmlns:a16="http://schemas.microsoft.com/office/drawing/2014/main" id="{7C2A8107-8F93-46B3-95FC-6AA0E1E0B9C0}"/>
                </a:ext>
              </a:extLst>
            </p:cNvPr>
            <p:cNvSpPr>
              <a:spLocks/>
            </p:cNvSpPr>
            <p:nvPr/>
          </p:nvSpPr>
          <p:spPr bwMode="gray">
            <a:xfrm rot="47099">
              <a:off x="752294" y="2768610"/>
              <a:ext cx="8015" cy="12543"/>
            </a:xfrm>
            <a:custGeom>
              <a:avLst/>
              <a:gdLst>
                <a:gd name="T0" fmla="*/ 12 w 16"/>
                <a:gd name="T1" fmla="*/ 0 h 26"/>
                <a:gd name="T2" fmla="*/ 16 w 16"/>
                <a:gd name="T3" fmla="*/ 2 h 26"/>
                <a:gd name="T4" fmla="*/ 16 w 16"/>
                <a:gd name="T5" fmla="*/ 23 h 26"/>
                <a:gd name="T6" fmla="*/ 12 w 16"/>
                <a:gd name="T7" fmla="*/ 26 h 26"/>
                <a:gd name="T8" fmla="*/ 9 w 16"/>
                <a:gd name="T9" fmla="*/ 26 h 26"/>
                <a:gd name="T10" fmla="*/ 2 w 16"/>
                <a:gd name="T11" fmla="*/ 19 h 26"/>
                <a:gd name="T12" fmla="*/ 0 w 16"/>
                <a:gd name="T13" fmla="*/ 12 h 26"/>
                <a:gd name="T14" fmla="*/ 0 w 16"/>
                <a:gd name="T15" fmla="*/ 7 h 26"/>
                <a:gd name="T16" fmla="*/ 2 w 16"/>
                <a:gd name="T17" fmla="*/ 0 h 26"/>
                <a:gd name="T18" fmla="*/ 12 w 16"/>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26"/>
                <a:gd name="T32" fmla="*/ 16 w 1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26">
                  <a:moveTo>
                    <a:pt x="12" y="0"/>
                  </a:moveTo>
                  <a:lnTo>
                    <a:pt x="16" y="2"/>
                  </a:lnTo>
                  <a:lnTo>
                    <a:pt x="16" y="23"/>
                  </a:lnTo>
                  <a:lnTo>
                    <a:pt x="12" y="26"/>
                  </a:lnTo>
                  <a:lnTo>
                    <a:pt x="9" y="26"/>
                  </a:lnTo>
                  <a:lnTo>
                    <a:pt x="2" y="19"/>
                  </a:lnTo>
                  <a:lnTo>
                    <a:pt x="0" y="12"/>
                  </a:lnTo>
                  <a:lnTo>
                    <a:pt x="0" y="7"/>
                  </a:lnTo>
                  <a:lnTo>
                    <a:pt x="2" y="0"/>
                  </a:lnTo>
                  <a:lnTo>
                    <a:pt x="12"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2" name="Freeform 477">
              <a:extLst>
                <a:ext uri="{FF2B5EF4-FFF2-40B4-BE49-F238E27FC236}">
                  <a16:creationId xmlns:a16="http://schemas.microsoft.com/office/drawing/2014/main" id="{B5EB193B-5A0D-42A0-B6DB-B29A774969F1}"/>
                </a:ext>
              </a:extLst>
            </p:cNvPr>
            <p:cNvSpPr>
              <a:spLocks/>
            </p:cNvSpPr>
            <p:nvPr/>
          </p:nvSpPr>
          <p:spPr bwMode="gray">
            <a:xfrm rot="47099">
              <a:off x="804855" y="2770271"/>
              <a:ext cx="4453" cy="7718"/>
            </a:xfrm>
            <a:custGeom>
              <a:avLst/>
              <a:gdLst>
                <a:gd name="T0" fmla="*/ 5 w 10"/>
                <a:gd name="T1" fmla="*/ 5 h 17"/>
                <a:gd name="T2" fmla="*/ 10 w 10"/>
                <a:gd name="T3" fmla="*/ 7 h 17"/>
                <a:gd name="T4" fmla="*/ 5 w 10"/>
                <a:gd name="T5" fmla="*/ 14 h 17"/>
                <a:gd name="T6" fmla="*/ 5 w 10"/>
                <a:gd name="T7" fmla="*/ 17 h 17"/>
                <a:gd name="T8" fmla="*/ 3 w 10"/>
                <a:gd name="T9" fmla="*/ 17 h 17"/>
                <a:gd name="T10" fmla="*/ 0 w 10"/>
                <a:gd name="T11" fmla="*/ 14 h 17"/>
                <a:gd name="T12" fmla="*/ 0 w 10"/>
                <a:gd name="T13" fmla="*/ 7 h 17"/>
                <a:gd name="T14" fmla="*/ 5 w 10"/>
                <a:gd name="T15" fmla="*/ 5 h 17"/>
                <a:gd name="T16" fmla="*/ 5 w 10"/>
                <a:gd name="T17" fmla="*/ 0 h 17"/>
                <a:gd name="T18" fmla="*/ 5 w 10"/>
                <a:gd name="T19" fmla="*/ 5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7"/>
                <a:gd name="T32" fmla="*/ 10 w 1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7">
                  <a:moveTo>
                    <a:pt x="5" y="5"/>
                  </a:moveTo>
                  <a:lnTo>
                    <a:pt x="10" y="7"/>
                  </a:lnTo>
                  <a:lnTo>
                    <a:pt x="5" y="14"/>
                  </a:lnTo>
                  <a:lnTo>
                    <a:pt x="5" y="17"/>
                  </a:lnTo>
                  <a:lnTo>
                    <a:pt x="3" y="17"/>
                  </a:lnTo>
                  <a:lnTo>
                    <a:pt x="0" y="14"/>
                  </a:lnTo>
                  <a:lnTo>
                    <a:pt x="0" y="7"/>
                  </a:lnTo>
                  <a:lnTo>
                    <a:pt x="5" y="5"/>
                  </a:lnTo>
                  <a:lnTo>
                    <a:pt x="5" y="0"/>
                  </a:lnTo>
                  <a:lnTo>
                    <a:pt x="5"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3" name="Freeform 478">
              <a:extLst>
                <a:ext uri="{FF2B5EF4-FFF2-40B4-BE49-F238E27FC236}">
                  <a16:creationId xmlns:a16="http://schemas.microsoft.com/office/drawing/2014/main" id="{24133740-3EDA-4A13-9ABE-34394B687606}"/>
                </a:ext>
              </a:extLst>
            </p:cNvPr>
            <p:cNvSpPr>
              <a:spLocks/>
            </p:cNvSpPr>
            <p:nvPr/>
          </p:nvSpPr>
          <p:spPr bwMode="gray">
            <a:xfrm rot="47099">
              <a:off x="798648" y="2766327"/>
              <a:ext cx="4453" cy="11578"/>
            </a:xfrm>
            <a:custGeom>
              <a:avLst/>
              <a:gdLst>
                <a:gd name="T0" fmla="*/ 3 w 10"/>
                <a:gd name="T1" fmla="*/ 0 h 26"/>
                <a:gd name="T2" fmla="*/ 10 w 10"/>
                <a:gd name="T3" fmla="*/ 0 h 26"/>
                <a:gd name="T4" fmla="*/ 10 w 10"/>
                <a:gd name="T5" fmla="*/ 9 h 26"/>
                <a:gd name="T6" fmla="*/ 7 w 10"/>
                <a:gd name="T7" fmla="*/ 14 h 26"/>
                <a:gd name="T8" fmla="*/ 7 w 10"/>
                <a:gd name="T9" fmla="*/ 26 h 26"/>
                <a:gd name="T10" fmla="*/ 3 w 10"/>
                <a:gd name="T11" fmla="*/ 26 h 26"/>
                <a:gd name="T12" fmla="*/ 3 w 10"/>
                <a:gd name="T13" fmla="*/ 19 h 26"/>
                <a:gd name="T14" fmla="*/ 0 w 10"/>
                <a:gd name="T15" fmla="*/ 14 h 26"/>
                <a:gd name="T16" fmla="*/ 0 w 10"/>
                <a:gd name="T17" fmla="*/ 2 h 26"/>
                <a:gd name="T18" fmla="*/ 3 w 10"/>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26"/>
                <a:gd name="T32" fmla="*/ 10 w 10"/>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26">
                  <a:moveTo>
                    <a:pt x="3" y="0"/>
                  </a:moveTo>
                  <a:lnTo>
                    <a:pt x="10" y="0"/>
                  </a:lnTo>
                  <a:lnTo>
                    <a:pt x="10" y="9"/>
                  </a:lnTo>
                  <a:lnTo>
                    <a:pt x="7" y="14"/>
                  </a:lnTo>
                  <a:lnTo>
                    <a:pt x="7" y="26"/>
                  </a:lnTo>
                  <a:lnTo>
                    <a:pt x="3" y="26"/>
                  </a:lnTo>
                  <a:lnTo>
                    <a:pt x="3" y="19"/>
                  </a:lnTo>
                  <a:lnTo>
                    <a:pt x="0" y="14"/>
                  </a:lnTo>
                  <a:lnTo>
                    <a:pt x="0" y="2"/>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4" name="Freeform 479">
              <a:extLst>
                <a:ext uri="{FF2B5EF4-FFF2-40B4-BE49-F238E27FC236}">
                  <a16:creationId xmlns:a16="http://schemas.microsoft.com/office/drawing/2014/main" id="{7632C5BA-5AE9-4272-870C-9FD22E5A330A}"/>
                </a:ext>
              </a:extLst>
            </p:cNvPr>
            <p:cNvSpPr>
              <a:spLocks/>
            </p:cNvSpPr>
            <p:nvPr/>
          </p:nvSpPr>
          <p:spPr bwMode="gray">
            <a:xfrm rot="47099">
              <a:off x="809327" y="2767431"/>
              <a:ext cx="3563" cy="10613"/>
            </a:xfrm>
            <a:custGeom>
              <a:avLst/>
              <a:gdLst>
                <a:gd name="T0" fmla="*/ 2 w 7"/>
                <a:gd name="T1" fmla="*/ 5 h 21"/>
                <a:gd name="T2" fmla="*/ 7 w 7"/>
                <a:gd name="T3" fmla="*/ 7 h 21"/>
                <a:gd name="T4" fmla="*/ 7 w 7"/>
                <a:gd name="T5" fmla="*/ 17 h 21"/>
                <a:gd name="T6" fmla="*/ 2 w 7"/>
                <a:gd name="T7" fmla="*/ 21 h 21"/>
                <a:gd name="T8" fmla="*/ 0 w 7"/>
                <a:gd name="T9" fmla="*/ 17 h 21"/>
                <a:gd name="T10" fmla="*/ 0 w 7"/>
                <a:gd name="T11" fmla="*/ 5 h 21"/>
                <a:gd name="T12" fmla="*/ 2 w 7"/>
                <a:gd name="T13" fmla="*/ 0 h 21"/>
                <a:gd name="T14" fmla="*/ 2 w 7"/>
                <a:gd name="T15" fmla="*/ 5 h 21"/>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1"/>
                <a:gd name="T26" fmla="*/ 7 w 7"/>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1">
                  <a:moveTo>
                    <a:pt x="2" y="5"/>
                  </a:moveTo>
                  <a:lnTo>
                    <a:pt x="7" y="7"/>
                  </a:lnTo>
                  <a:lnTo>
                    <a:pt x="7" y="17"/>
                  </a:lnTo>
                  <a:lnTo>
                    <a:pt x="2" y="21"/>
                  </a:lnTo>
                  <a:lnTo>
                    <a:pt x="0" y="17"/>
                  </a:lnTo>
                  <a:lnTo>
                    <a:pt x="0" y="5"/>
                  </a:lnTo>
                  <a:lnTo>
                    <a:pt x="2" y="0"/>
                  </a:lnTo>
                  <a:lnTo>
                    <a:pt x="2"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5" name="Freeform 480">
              <a:extLst>
                <a:ext uri="{FF2B5EF4-FFF2-40B4-BE49-F238E27FC236}">
                  <a16:creationId xmlns:a16="http://schemas.microsoft.com/office/drawing/2014/main" id="{898E0293-337B-4580-848B-8C8F25CB54E3}"/>
                </a:ext>
              </a:extLst>
            </p:cNvPr>
            <p:cNvSpPr>
              <a:spLocks/>
            </p:cNvSpPr>
            <p:nvPr/>
          </p:nvSpPr>
          <p:spPr bwMode="gray">
            <a:xfrm rot="47099">
              <a:off x="812897" y="2769415"/>
              <a:ext cx="4453" cy="5789"/>
            </a:xfrm>
            <a:custGeom>
              <a:avLst/>
              <a:gdLst>
                <a:gd name="T0" fmla="*/ 7 w 9"/>
                <a:gd name="T1" fmla="*/ 2 h 12"/>
                <a:gd name="T2" fmla="*/ 9 w 9"/>
                <a:gd name="T3" fmla="*/ 2 h 12"/>
                <a:gd name="T4" fmla="*/ 9 w 9"/>
                <a:gd name="T5" fmla="*/ 9 h 12"/>
                <a:gd name="T6" fmla="*/ 7 w 9"/>
                <a:gd name="T7" fmla="*/ 9 h 12"/>
                <a:gd name="T8" fmla="*/ 2 w 9"/>
                <a:gd name="T9" fmla="*/ 12 h 12"/>
                <a:gd name="T10" fmla="*/ 0 w 9"/>
                <a:gd name="T11" fmla="*/ 7 h 12"/>
                <a:gd name="T12" fmla="*/ 2 w 9"/>
                <a:gd name="T13" fmla="*/ 2 h 12"/>
                <a:gd name="T14" fmla="*/ 7 w 9"/>
                <a:gd name="T15" fmla="*/ 0 h 12"/>
                <a:gd name="T16" fmla="*/ 7 w 9"/>
                <a:gd name="T17" fmla="*/ 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2"/>
                <a:gd name="T29" fmla="*/ 9 w 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2">
                  <a:moveTo>
                    <a:pt x="7" y="2"/>
                  </a:moveTo>
                  <a:lnTo>
                    <a:pt x="9" y="2"/>
                  </a:lnTo>
                  <a:lnTo>
                    <a:pt x="9" y="9"/>
                  </a:lnTo>
                  <a:lnTo>
                    <a:pt x="7" y="9"/>
                  </a:lnTo>
                  <a:lnTo>
                    <a:pt x="2" y="12"/>
                  </a:lnTo>
                  <a:lnTo>
                    <a:pt x="0" y="7"/>
                  </a:lnTo>
                  <a:lnTo>
                    <a:pt x="2" y="2"/>
                  </a:lnTo>
                  <a:lnTo>
                    <a:pt x="7" y="0"/>
                  </a:lnTo>
                  <a:lnTo>
                    <a:pt x="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6" name="Freeform 481">
              <a:extLst>
                <a:ext uri="{FF2B5EF4-FFF2-40B4-BE49-F238E27FC236}">
                  <a16:creationId xmlns:a16="http://schemas.microsoft.com/office/drawing/2014/main" id="{EF89ED8B-8250-45C9-B3AE-FF3FC43D3E24}"/>
                </a:ext>
              </a:extLst>
            </p:cNvPr>
            <p:cNvSpPr>
              <a:spLocks/>
            </p:cNvSpPr>
            <p:nvPr/>
          </p:nvSpPr>
          <p:spPr bwMode="gray">
            <a:xfrm rot="47099">
              <a:off x="798720" y="2759591"/>
              <a:ext cx="7125" cy="14472"/>
            </a:xfrm>
            <a:custGeom>
              <a:avLst/>
              <a:gdLst>
                <a:gd name="T0" fmla="*/ 14 w 17"/>
                <a:gd name="T1" fmla="*/ 0 h 30"/>
                <a:gd name="T2" fmla="*/ 14 w 17"/>
                <a:gd name="T3" fmla="*/ 4 h 30"/>
                <a:gd name="T4" fmla="*/ 17 w 17"/>
                <a:gd name="T5" fmla="*/ 7 h 30"/>
                <a:gd name="T6" fmla="*/ 17 w 17"/>
                <a:gd name="T7" fmla="*/ 23 h 30"/>
                <a:gd name="T8" fmla="*/ 10 w 17"/>
                <a:gd name="T9" fmla="*/ 30 h 30"/>
                <a:gd name="T10" fmla="*/ 10 w 17"/>
                <a:gd name="T11" fmla="*/ 28 h 30"/>
                <a:gd name="T12" fmla="*/ 14 w 17"/>
                <a:gd name="T13" fmla="*/ 21 h 30"/>
                <a:gd name="T14" fmla="*/ 10 w 17"/>
                <a:gd name="T15" fmla="*/ 9 h 30"/>
                <a:gd name="T16" fmla="*/ 0 w 17"/>
                <a:gd name="T17" fmla="*/ 9 h 30"/>
                <a:gd name="T18" fmla="*/ 0 w 17"/>
                <a:gd name="T19" fmla="*/ 7 h 30"/>
                <a:gd name="T20" fmla="*/ 3 w 17"/>
                <a:gd name="T21" fmla="*/ 7 h 30"/>
                <a:gd name="T22" fmla="*/ 10 w 17"/>
                <a:gd name="T23" fmla="*/ 0 h 30"/>
                <a:gd name="T24" fmla="*/ 14 w 17"/>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0"/>
                <a:gd name="T41" fmla="*/ 17 w 17"/>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0">
                  <a:moveTo>
                    <a:pt x="14" y="0"/>
                  </a:moveTo>
                  <a:lnTo>
                    <a:pt x="14" y="4"/>
                  </a:lnTo>
                  <a:lnTo>
                    <a:pt x="17" y="7"/>
                  </a:lnTo>
                  <a:lnTo>
                    <a:pt x="17" y="23"/>
                  </a:lnTo>
                  <a:lnTo>
                    <a:pt x="10" y="30"/>
                  </a:lnTo>
                  <a:lnTo>
                    <a:pt x="10" y="28"/>
                  </a:lnTo>
                  <a:lnTo>
                    <a:pt x="14" y="21"/>
                  </a:lnTo>
                  <a:lnTo>
                    <a:pt x="10" y="9"/>
                  </a:lnTo>
                  <a:lnTo>
                    <a:pt x="0" y="9"/>
                  </a:lnTo>
                  <a:lnTo>
                    <a:pt x="0" y="7"/>
                  </a:lnTo>
                  <a:lnTo>
                    <a:pt x="3" y="7"/>
                  </a:lnTo>
                  <a:lnTo>
                    <a:pt x="10" y="0"/>
                  </a:lnTo>
                  <a:lnTo>
                    <a:pt x="1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7" name="Freeform 482">
              <a:extLst>
                <a:ext uri="{FF2B5EF4-FFF2-40B4-BE49-F238E27FC236}">
                  <a16:creationId xmlns:a16="http://schemas.microsoft.com/office/drawing/2014/main" id="{AFF75C93-E377-47C5-BD59-5E22623FB82E}"/>
                </a:ext>
              </a:extLst>
            </p:cNvPr>
            <p:cNvSpPr>
              <a:spLocks/>
            </p:cNvSpPr>
            <p:nvPr/>
          </p:nvSpPr>
          <p:spPr bwMode="gray">
            <a:xfrm rot="47099">
              <a:off x="797923" y="2758590"/>
              <a:ext cx="3563" cy="2894"/>
            </a:xfrm>
            <a:custGeom>
              <a:avLst/>
              <a:gdLst>
                <a:gd name="T0" fmla="*/ 9 w 9"/>
                <a:gd name="T1" fmla="*/ 0 h 7"/>
                <a:gd name="T2" fmla="*/ 9 w 9"/>
                <a:gd name="T3" fmla="*/ 3 h 7"/>
                <a:gd name="T4" fmla="*/ 5 w 9"/>
                <a:gd name="T5" fmla="*/ 7 h 7"/>
                <a:gd name="T6" fmla="*/ 2 w 9"/>
                <a:gd name="T7" fmla="*/ 7 h 7"/>
                <a:gd name="T8" fmla="*/ 0 w 9"/>
                <a:gd name="T9" fmla="*/ 3 h 7"/>
                <a:gd name="T10" fmla="*/ 2 w 9"/>
                <a:gd name="T11" fmla="*/ 0 h 7"/>
                <a:gd name="T12" fmla="*/ 9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9" y="0"/>
                  </a:moveTo>
                  <a:lnTo>
                    <a:pt x="9" y="3"/>
                  </a:lnTo>
                  <a:lnTo>
                    <a:pt x="5" y="7"/>
                  </a:lnTo>
                  <a:lnTo>
                    <a:pt x="2" y="7"/>
                  </a:lnTo>
                  <a:lnTo>
                    <a:pt x="0" y="3"/>
                  </a:lnTo>
                  <a:lnTo>
                    <a:pt x="2"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8" name="Freeform 483">
              <a:extLst>
                <a:ext uri="{FF2B5EF4-FFF2-40B4-BE49-F238E27FC236}">
                  <a16:creationId xmlns:a16="http://schemas.microsoft.com/office/drawing/2014/main" id="{DA327D95-8B49-4D50-8F2B-45A0D5027A32}"/>
                </a:ext>
              </a:extLst>
            </p:cNvPr>
            <p:cNvSpPr>
              <a:spLocks/>
            </p:cNvSpPr>
            <p:nvPr/>
          </p:nvSpPr>
          <p:spPr bwMode="gray">
            <a:xfrm rot="47099">
              <a:off x="772289" y="2743802"/>
              <a:ext cx="8906" cy="3860"/>
            </a:xfrm>
            <a:custGeom>
              <a:avLst/>
              <a:gdLst>
                <a:gd name="T0" fmla="*/ 19 w 19"/>
                <a:gd name="T1" fmla="*/ 0 h 8"/>
                <a:gd name="T2" fmla="*/ 19 w 19"/>
                <a:gd name="T3" fmla="*/ 8 h 8"/>
                <a:gd name="T4" fmla="*/ 15 w 19"/>
                <a:gd name="T5" fmla="*/ 8 h 8"/>
                <a:gd name="T6" fmla="*/ 8 w 19"/>
                <a:gd name="T7" fmla="*/ 3 h 8"/>
                <a:gd name="T8" fmla="*/ 0 w 19"/>
                <a:gd name="T9" fmla="*/ 3 h 8"/>
                <a:gd name="T10" fmla="*/ 0 w 19"/>
                <a:gd name="T11" fmla="*/ 0 h 8"/>
                <a:gd name="T12" fmla="*/ 19 w 19"/>
                <a:gd name="T13" fmla="*/ 0 h 8"/>
                <a:gd name="T14" fmla="*/ 0 60000 65536"/>
                <a:gd name="T15" fmla="*/ 0 60000 65536"/>
                <a:gd name="T16" fmla="*/ 0 60000 65536"/>
                <a:gd name="T17" fmla="*/ 0 60000 65536"/>
                <a:gd name="T18" fmla="*/ 0 60000 65536"/>
                <a:gd name="T19" fmla="*/ 0 60000 65536"/>
                <a:gd name="T20" fmla="*/ 0 60000 65536"/>
                <a:gd name="T21" fmla="*/ 0 w 19"/>
                <a:gd name="T22" fmla="*/ 0 h 8"/>
                <a:gd name="T23" fmla="*/ 19 w 19"/>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8">
                  <a:moveTo>
                    <a:pt x="19" y="0"/>
                  </a:moveTo>
                  <a:lnTo>
                    <a:pt x="19" y="8"/>
                  </a:lnTo>
                  <a:lnTo>
                    <a:pt x="15" y="8"/>
                  </a:lnTo>
                  <a:lnTo>
                    <a:pt x="8" y="3"/>
                  </a:lnTo>
                  <a:lnTo>
                    <a:pt x="0" y="3"/>
                  </a:lnTo>
                  <a:lnTo>
                    <a:pt x="0" y="0"/>
                  </a:lnTo>
                  <a:lnTo>
                    <a:pt x="1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89" name="Freeform 484">
              <a:extLst>
                <a:ext uri="{FF2B5EF4-FFF2-40B4-BE49-F238E27FC236}">
                  <a16:creationId xmlns:a16="http://schemas.microsoft.com/office/drawing/2014/main" id="{4032EBD8-2ED9-4D3F-8827-ED537C4DC852}"/>
                </a:ext>
              </a:extLst>
            </p:cNvPr>
            <p:cNvSpPr>
              <a:spLocks/>
            </p:cNvSpPr>
            <p:nvPr/>
          </p:nvSpPr>
          <p:spPr bwMode="gray">
            <a:xfrm rot="47099">
              <a:off x="761729" y="2734955"/>
              <a:ext cx="6235" cy="2894"/>
            </a:xfrm>
            <a:custGeom>
              <a:avLst/>
              <a:gdLst>
                <a:gd name="T0" fmla="*/ 7 w 14"/>
                <a:gd name="T1" fmla="*/ 4 h 4"/>
                <a:gd name="T2" fmla="*/ 7 w 14"/>
                <a:gd name="T3" fmla="*/ 2 h 4"/>
                <a:gd name="T4" fmla="*/ 0 w 14"/>
                <a:gd name="T5" fmla="*/ 2 h 4"/>
                <a:gd name="T6" fmla="*/ 0 w 14"/>
                <a:gd name="T7" fmla="*/ 0 h 4"/>
                <a:gd name="T8" fmla="*/ 2 w 14"/>
                <a:gd name="T9" fmla="*/ 0 h 4"/>
                <a:gd name="T10" fmla="*/ 14 w 14"/>
                <a:gd name="T11" fmla="*/ 2 h 4"/>
                <a:gd name="T12" fmla="*/ 14 w 14"/>
                <a:gd name="T13" fmla="*/ 4 h 4"/>
                <a:gd name="T14" fmla="*/ 7 w 1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4"/>
                <a:gd name="T26" fmla="*/ 14 w 1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4">
                  <a:moveTo>
                    <a:pt x="7" y="4"/>
                  </a:moveTo>
                  <a:lnTo>
                    <a:pt x="7" y="2"/>
                  </a:lnTo>
                  <a:lnTo>
                    <a:pt x="0" y="2"/>
                  </a:lnTo>
                  <a:lnTo>
                    <a:pt x="0" y="0"/>
                  </a:lnTo>
                  <a:lnTo>
                    <a:pt x="2" y="0"/>
                  </a:lnTo>
                  <a:lnTo>
                    <a:pt x="14" y="2"/>
                  </a:lnTo>
                  <a:lnTo>
                    <a:pt x="14" y="4"/>
                  </a:lnTo>
                  <a:lnTo>
                    <a:pt x="7"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0" name="Freeform 485">
              <a:extLst>
                <a:ext uri="{FF2B5EF4-FFF2-40B4-BE49-F238E27FC236}">
                  <a16:creationId xmlns:a16="http://schemas.microsoft.com/office/drawing/2014/main" id="{B6C542C7-800D-49B2-BC26-5B349DCF3C35}"/>
                </a:ext>
              </a:extLst>
            </p:cNvPr>
            <p:cNvSpPr>
              <a:spLocks/>
            </p:cNvSpPr>
            <p:nvPr/>
          </p:nvSpPr>
          <p:spPr bwMode="gray">
            <a:xfrm rot="47099">
              <a:off x="774163" y="2735168"/>
              <a:ext cx="12468" cy="7718"/>
            </a:xfrm>
            <a:custGeom>
              <a:avLst/>
              <a:gdLst>
                <a:gd name="T0" fmla="*/ 23 w 28"/>
                <a:gd name="T1" fmla="*/ 2 h 16"/>
                <a:gd name="T2" fmla="*/ 28 w 28"/>
                <a:gd name="T3" fmla="*/ 2 h 16"/>
                <a:gd name="T4" fmla="*/ 28 w 28"/>
                <a:gd name="T5" fmla="*/ 9 h 16"/>
                <a:gd name="T6" fmla="*/ 21 w 28"/>
                <a:gd name="T7" fmla="*/ 11 h 16"/>
                <a:gd name="T8" fmla="*/ 21 w 28"/>
                <a:gd name="T9" fmla="*/ 16 h 16"/>
                <a:gd name="T10" fmla="*/ 7 w 28"/>
                <a:gd name="T11" fmla="*/ 11 h 16"/>
                <a:gd name="T12" fmla="*/ 5 w 28"/>
                <a:gd name="T13" fmla="*/ 9 h 16"/>
                <a:gd name="T14" fmla="*/ 0 w 28"/>
                <a:gd name="T15" fmla="*/ 9 h 16"/>
                <a:gd name="T16" fmla="*/ 7 w 28"/>
                <a:gd name="T17" fmla="*/ 4 h 16"/>
                <a:gd name="T18" fmla="*/ 14 w 28"/>
                <a:gd name="T19" fmla="*/ 2 h 16"/>
                <a:gd name="T20" fmla="*/ 16 w 28"/>
                <a:gd name="T21" fmla="*/ 0 h 16"/>
                <a:gd name="T22" fmla="*/ 23 w 28"/>
                <a:gd name="T23" fmla="*/ 0 h 16"/>
                <a:gd name="T24" fmla="*/ 23 w 28"/>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6"/>
                <a:gd name="T41" fmla="*/ 28 w 2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6">
                  <a:moveTo>
                    <a:pt x="23" y="2"/>
                  </a:moveTo>
                  <a:lnTo>
                    <a:pt x="28" y="2"/>
                  </a:lnTo>
                  <a:lnTo>
                    <a:pt x="28" y="9"/>
                  </a:lnTo>
                  <a:lnTo>
                    <a:pt x="21" y="11"/>
                  </a:lnTo>
                  <a:lnTo>
                    <a:pt x="21" y="16"/>
                  </a:lnTo>
                  <a:lnTo>
                    <a:pt x="7" y="11"/>
                  </a:lnTo>
                  <a:lnTo>
                    <a:pt x="5" y="9"/>
                  </a:lnTo>
                  <a:lnTo>
                    <a:pt x="0" y="9"/>
                  </a:lnTo>
                  <a:lnTo>
                    <a:pt x="7" y="4"/>
                  </a:lnTo>
                  <a:lnTo>
                    <a:pt x="14" y="2"/>
                  </a:lnTo>
                  <a:lnTo>
                    <a:pt x="16" y="0"/>
                  </a:lnTo>
                  <a:lnTo>
                    <a:pt x="23" y="0"/>
                  </a:lnTo>
                  <a:lnTo>
                    <a:pt x="23"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1" name="Freeform 486">
              <a:extLst>
                <a:ext uri="{FF2B5EF4-FFF2-40B4-BE49-F238E27FC236}">
                  <a16:creationId xmlns:a16="http://schemas.microsoft.com/office/drawing/2014/main" id="{9D107222-7098-4D03-90BC-A44BC19572A7}"/>
                </a:ext>
              </a:extLst>
            </p:cNvPr>
            <p:cNvSpPr>
              <a:spLocks/>
            </p:cNvSpPr>
            <p:nvPr/>
          </p:nvSpPr>
          <p:spPr bwMode="gray">
            <a:xfrm rot="47099">
              <a:off x="768912" y="2729276"/>
              <a:ext cx="8015" cy="5789"/>
            </a:xfrm>
            <a:custGeom>
              <a:avLst/>
              <a:gdLst>
                <a:gd name="T0" fmla="*/ 5 w 17"/>
                <a:gd name="T1" fmla="*/ 7 h 12"/>
                <a:gd name="T2" fmla="*/ 5 w 17"/>
                <a:gd name="T3" fmla="*/ 4 h 12"/>
                <a:gd name="T4" fmla="*/ 0 w 17"/>
                <a:gd name="T5" fmla="*/ 4 h 12"/>
                <a:gd name="T6" fmla="*/ 0 w 17"/>
                <a:gd name="T7" fmla="*/ 0 h 12"/>
                <a:gd name="T8" fmla="*/ 5 w 17"/>
                <a:gd name="T9" fmla="*/ 0 h 12"/>
                <a:gd name="T10" fmla="*/ 15 w 17"/>
                <a:gd name="T11" fmla="*/ 4 h 12"/>
                <a:gd name="T12" fmla="*/ 17 w 17"/>
                <a:gd name="T13" fmla="*/ 4 h 12"/>
                <a:gd name="T14" fmla="*/ 17 w 17"/>
                <a:gd name="T15" fmla="*/ 12 h 12"/>
                <a:gd name="T16" fmla="*/ 7 w 17"/>
                <a:gd name="T17" fmla="*/ 7 h 12"/>
                <a:gd name="T18" fmla="*/ 5 w 17"/>
                <a:gd name="T19" fmla="*/ 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2"/>
                <a:gd name="T32" fmla="*/ 17 w 17"/>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2">
                  <a:moveTo>
                    <a:pt x="5" y="7"/>
                  </a:moveTo>
                  <a:lnTo>
                    <a:pt x="5" y="4"/>
                  </a:lnTo>
                  <a:lnTo>
                    <a:pt x="0" y="4"/>
                  </a:lnTo>
                  <a:lnTo>
                    <a:pt x="0" y="0"/>
                  </a:lnTo>
                  <a:lnTo>
                    <a:pt x="5" y="0"/>
                  </a:lnTo>
                  <a:lnTo>
                    <a:pt x="15" y="4"/>
                  </a:lnTo>
                  <a:lnTo>
                    <a:pt x="17" y="4"/>
                  </a:lnTo>
                  <a:lnTo>
                    <a:pt x="17" y="12"/>
                  </a:lnTo>
                  <a:lnTo>
                    <a:pt x="7" y="7"/>
                  </a:lnTo>
                  <a:lnTo>
                    <a:pt x="5"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2" name="Freeform 487">
              <a:extLst>
                <a:ext uri="{FF2B5EF4-FFF2-40B4-BE49-F238E27FC236}">
                  <a16:creationId xmlns:a16="http://schemas.microsoft.com/office/drawing/2014/main" id="{A06E3C00-12D0-4255-B20A-B74EE2D127D1}"/>
                </a:ext>
              </a:extLst>
            </p:cNvPr>
            <p:cNvSpPr>
              <a:spLocks/>
            </p:cNvSpPr>
            <p:nvPr/>
          </p:nvSpPr>
          <p:spPr bwMode="gray">
            <a:xfrm rot="47099">
              <a:off x="731622" y="2717802"/>
              <a:ext cx="97077" cy="141830"/>
            </a:xfrm>
            <a:custGeom>
              <a:avLst/>
              <a:gdLst>
                <a:gd name="T0" fmla="*/ 47 w 208"/>
                <a:gd name="T1" fmla="*/ 87 h 305"/>
                <a:gd name="T2" fmla="*/ 38 w 208"/>
                <a:gd name="T3" fmla="*/ 82 h 305"/>
                <a:gd name="T4" fmla="*/ 31 w 208"/>
                <a:gd name="T5" fmla="*/ 82 h 305"/>
                <a:gd name="T6" fmla="*/ 24 w 208"/>
                <a:gd name="T7" fmla="*/ 73 h 305"/>
                <a:gd name="T8" fmla="*/ 7 w 208"/>
                <a:gd name="T9" fmla="*/ 66 h 305"/>
                <a:gd name="T10" fmla="*/ 17 w 208"/>
                <a:gd name="T11" fmla="*/ 54 h 305"/>
                <a:gd name="T12" fmla="*/ 9 w 208"/>
                <a:gd name="T13" fmla="*/ 47 h 305"/>
                <a:gd name="T14" fmla="*/ 33 w 208"/>
                <a:gd name="T15" fmla="*/ 42 h 305"/>
                <a:gd name="T16" fmla="*/ 38 w 208"/>
                <a:gd name="T17" fmla="*/ 40 h 305"/>
                <a:gd name="T18" fmla="*/ 38 w 208"/>
                <a:gd name="T19" fmla="*/ 33 h 305"/>
                <a:gd name="T20" fmla="*/ 26 w 208"/>
                <a:gd name="T21" fmla="*/ 30 h 305"/>
                <a:gd name="T22" fmla="*/ 38 w 208"/>
                <a:gd name="T23" fmla="*/ 38 h 305"/>
                <a:gd name="T24" fmla="*/ 5 w 208"/>
                <a:gd name="T25" fmla="*/ 26 h 305"/>
                <a:gd name="T26" fmla="*/ 5 w 208"/>
                <a:gd name="T27" fmla="*/ 0 h 305"/>
                <a:gd name="T28" fmla="*/ 33 w 208"/>
                <a:gd name="T29" fmla="*/ 7 h 305"/>
                <a:gd name="T30" fmla="*/ 47 w 208"/>
                <a:gd name="T31" fmla="*/ 26 h 305"/>
                <a:gd name="T32" fmla="*/ 71 w 208"/>
                <a:gd name="T33" fmla="*/ 47 h 305"/>
                <a:gd name="T34" fmla="*/ 80 w 208"/>
                <a:gd name="T35" fmla="*/ 56 h 305"/>
                <a:gd name="T36" fmla="*/ 90 w 208"/>
                <a:gd name="T37" fmla="*/ 64 h 305"/>
                <a:gd name="T38" fmla="*/ 106 w 208"/>
                <a:gd name="T39" fmla="*/ 71 h 305"/>
                <a:gd name="T40" fmla="*/ 118 w 208"/>
                <a:gd name="T41" fmla="*/ 80 h 305"/>
                <a:gd name="T42" fmla="*/ 137 w 208"/>
                <a:gd name="T43" fmla="*/ 90 h 305"/>
                <a:gd name="T44" fmla="*/ 142 w 208"/>
                <a:gd name="T45" fmla="*/ 111 h 305"/>
                <a:gd name="T46" fmla="*/ 144 w 208"/>
                <a:gd name="T47" fmla="*/ 120 h 305"/>
                <a:gd name="T48" fmla="*/ 144 w 208"/>
                <a:gd name="T49" fmla="*/ 137 h 305"/>
                <a:gd name="T50" fmla="*/ 154 w 208"/>
                <a:gd name="T51" fmla="*/ 158 h 305"/>
                <a:gd name="T52" fmla="*/ 151 w 208"/>
                <a:gd name="T53" fmla="*/ 177 h 305"/>
                <a:gd name="T54" fmla="*/ 177 w 208"/>
                <a:gd name="T55" fmla="*/ 203 h 305"/>
                <a:gd name="T56" fmla="*/ 198 w 208"/>
                <a:gd name="T57" fmla="*/ 231 h 305"/>
                <a:gd name="T58" fmla="*/ 201 w 208"/>
                <a:gd name="T59" fmla="*/ 281 h 305"/>
                <a:gd name="T60" fmla="*/ 208 w 208"/>
                <a:gd name="T61" fmla="*/ 274 h 305"/>
                <a:gd name="T62" fmla="*/ 201 w 208"/>
                <a:gd name="T63" fmla="*/ 293 h 305"/>
                <a:gd name="T64" fmla="*/ 191 w 208"/>
                <a:gd name="T65" fmla="*/ 300 h 305"/>
                <a:gd name="T66" fmla="*/ 182 w 208"/>
                <a:gd name="T67" fmla="*/ 297 h 305"/>
                <a:gd name="T68" fmla="*/ 168 w 208"/>
                <a:gd name="T69" fmla="*/ 290 h 305"/>
                <a:gd name="T70" fmla="*/ 137 w 208"/>
                <a:gd name="T71" fmla="*/ 264 h 305"/>
                <a:gd name="T72" fmla="*/ 130 w 208"/>
                <a:gd name="T73" fmla="*/ 255 h 305"/>
                <a:gd name="T74" fmla="*/ 118 w 208"/>
                <a:gd name="T75" fmla="*/ 241 h 305"/>
                <a:gd name="T76" fmla="*/ 123 w 208"/>
                <a:gd name="T77" fmla="*/ 224 h 305"/>
                <a:gd name="T78" fmla="*/ 144 w 208"/>
                <a:gd name="T79" fmla="*/ 210 h 305"/>
                <a:gd name="T80" fmla="*/ 144 w 208"/>
                <a:gd name="T81" fmla="*/ 203 h 305"/>
                <a:gd name="T82" fmla="*/ 137 w 208"/>
                <a:gd name="T83" fmla="*/ 217 h 305"/>
                <a:gd name="T84" fmla="*/ 123 w 208"/>
                <a:gd name="T85" fmla="*/ 217 h 305"/>
                <a:gd name="T86" fmla="*/ 102 w 208"/>
                <a:gd name="T87" fmla="*/ 217 h 305"/>
                <a:gd name="T88" fmla="*/ 90 w 208"/>
                <a:gd name="T89" fmla="*/ 196 h 305"/>
                <a:gd name="T90" fmla="*/ 102 w 208"/>
                <a:gd name="T91" fmla="*/ 191 h 305"/>
                <a:gd name="T92" fmla="*/ 95 w 208"/>
                <a:gd name="T93" fmla="*/ 177 h 305"/>
                <a:gd name="T94" fmla="*/ 80 w 208"/>
                <a:gd name="T95" fmla="*/ 175 h 305"/>
                <a:gd name="T96" fmla="*/ 87 w 208"/>
                <a:gd name="T97" fmla="*/ 168 h 305"/>
                <a:gd name="T98" fmla="*/ 80 w 208"/>
                <a:gd name="T99" fmla="*/ 160 h 305"/>
                <a:gd name="T100" fmla="*/ 57 w 208"/>
                <a:gd name="T101" fmla="*/ 158 h 305"/>
                <a:gd name="T102" fmla="*/ 66 w 208"/>
                <a:gd name="T103" fmla="*/ 137 h 305"/>
                <a:gd name="T104" fmla="*/ 87 w 208"/>
                <a:gd name="T105" fmla="*/ 139 h 305"/>
                <a:gd name="T106" fmla="*/ 71 w 208"/>
                <a:gd name="T107" fmla="*/ 134 h 305"/>
                <a:gd name="T108" fmla="*/ 57 w 208"/>
                <a:gd name="T109" fmla="*/ 106 h 305"/>
                <a:gd name="T110" fmla="*/ 38 w 208"/>
                <a:gd name="T111" fmla="*/ 94 h 3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8"/>
                <a:gd name="T169" fmla="*/ 0 h 305"/>
                <a:gd name="T170" fmla="*/ 208 w 208"/>
                <a:gd name="T171" fmla="*/ 305 h 30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8" h="305">
                  <a:moveTo>
                    <a:pt x="40" y="90"/>
                  </a:moveTo>
                  <a:lnTo>
                    <a:pt x="40" y="87"/>
                  </a:lnTo>
                  <a:lnTo>
                    <a:pt x="47" y="87"/>
                  </a:lnTo>
                  <a:lnTo>
                    <a:pt x="45" y="82"/>
                  </a:lnTo>
                  <a:lnTo>
                    <a:pt x="40" y="80"/>
                  </a:lnTo>
                  <a:lnTo>
                    <a:pt x="38" y="82"/>
                  </a:lnTo>
                  <a:lnTo>
                    <a:pt x="33" y="87"/>
                  </a:lnTo>
                  <a:lnTo>
                    <a:pt x="31" y="87"/>
                  </a:lnTo>
                  <a:lnTo>
                    <a:pt x="31" y="82"/>
                  </a:lnTo>
                  <a:lnTo>
                    <a:pt x="26" y="80"/>
                  </a:lnTo>
                  <a:lnTo>
                    <a:pt x="26" y="78"/>
                  </a:lnTo>
                  <a:lnTo>
                    <a:pt x="24" y="73"/>
                  </a:lnTo>
                  <a:lnTo>
                    <a:pt x="21" y="71"/>
                  </a:lnTo>
                  <a:lnTo>
                    <a:pt x="9" y="73"/>
                  </a:lnTo>
                  <a:lnTo>
                    <a:pt x="7" y="66"/>
                  </a:lnTo>
                  <a:lnTo>
                    <a:pt x="9" y="64"/>
                  </a:lnTo>
                  <a:lnTo>
                    <a:pt x="14" y="59"/>
                  </a:lnTo>
                  <a:lnTo>
                    <a:pt x="17" y="54"/>
                  </a:lnTo>
                  <a:lnTo>
                    <a:pt x="14" y="49"/>
                  </a:lnTo>
                  <a:lnTo>
                    <a:pt x="9" y="49"/>
                  </a:lnTo>
                  <a:lnTo>
                    <a:pt x="9" y="47"/>
                  </a:lnTo>
                  <a:lnTo>
                    <a:pt x="17" y="38"/>
                  </a:lnTo>
                  <a:lnTo>
                    <a:pt x="26" y="40"/>
                  </a:lnTo>
                  <a:lnTo>
                    <a:pt x="33" y="42"/>
                  </a:lnTo>
                  <a:lnTo>
                    <a:pt x="38" y="47"/>
                  </a:lnTo>
                  <a:lnTo>
                    <a:pt x="38" y="54"/>
                  </a:lnTo>
                  <a:lnTo>
                    <a:pt x="38" y="40"/>
                  </a:lnTo>
                  <a:lnTo>
                    <a:pt x="40" y="38"/>
                  </a:lnTo>
                  <a:lnTo>
                    <a:pt x="47" y="38"/>
                  </a:lnTo>
                  <a:lnTo>
                    <a:pt x="38" y="33"/>
                  </a:lnTo>
                  <a:lnTo>
                    <a:pt x="33" y="30"/>
                  </a:lnTo>
                  <a:lnTo>
                    <a:pt x="24" y="26"/>
                  </a:lnTo>
                  <a:lnTo>
                    <a:pt x="26" y="30"/>
                  </a:lnTo>
                  <a:lnTo>
                    <a:pt x="31" y="30"/>
                  </a:lnTo>
                  <a:lnTo>
                    <a:pt x="33" y="33"/>
                  </a:lnTo>
                  <a:lnTo>
                    <a:pt x="38" y="38"/>
                  </a:lnTo>
                  <a:lnTo>
                    <a:pt x="9" y="38"/>
                  </a:lnTo>
                  <a:lnTo>
                    <a:pt x="7" y="33"/>
                  </a:lnTo>
                  <a:lnTo>
                    <a:pt x="5" y="26"/>
                  </a:lnTo>
                  <a:lnTo>
                    <a:pt x="0" y="16"/>
                  </a:lnTo>
                  <a:lnTo>
                    <a:pt x="0" y="2"/>
                  </a:lnTo>
                  <a:lnTo>
                    <a:pt x="5" y="0"/>
                  </a:lnTo>
                  <a:lnTo>
                    <a:pt x="24" y="0"/>
                  </a:lnTo>
                  <a:lnTo>
                    <a:pt x="31" y="2"/>
                  </a:lnTo>
                  <a:lnTo>
                    <a:pt x="33" y="7"/>
                  </a:lnTo>
                  <a:lnTo>
                    <a:pt x="40" y="14"/>
                  </a:lnTo>
                  <a:lnTo>
                    <a:pt x="47" y="21"/>
                  </a:lnTo>
                  <a:lnTo>
                    <a:pt x="47" y="26"/>
                  </a:lnTo>
                  <a:lnTo>
                    <a:pt x="54" y="30"/>
                  </a:lnTo>
                  <a:lnTo>
                    <a:pt x="57" y="38"/>
                  </a:lnTo>
                  <a:lnTo>
                    <a:pt x="71" y="47"/>
                  </a:lnTo>
                  <a:lnTo>
                    <a:pt x="73" y="49"/>
                  </a:lnTo>
                  <a:lnTo>
                    <a:pt x="80" y="54"/>
                  </a:lnTo>
                  <a:lnTo>
                    <a:pt x="80" y="56"/>
                  </a:lnTo>
                  <a:lnTo>
                    <a:pt x="85" y="59"/>
                  </a:lnTo>
                  <a:lnTo>
                    <a:pt x="87" y="64"/>
                  </a:lnTo>
                  <a:lnTo>
                    <a:pt x="90" y="64"/>
                  </a:lnTo>
                  <a:lnTo>
                    <a:pt x="97" y="66"/>
                  </a:lnTo>
                  <a:lnTo>
                    <a:pt x="102" y="66"/>
                  </a:lnTo>
                  <a:lnTo>
                    <a:pt x="106" y="71"/>
                  </a:lnTo>
                  <a:lnTo>
                    <a:pt x="111" y="73"/>
                  </a:lnTo>
                  <a:lnTo>
                    <a:pt x="113" y="78"/>
                  </a:lnTo>
                  <a:lnTo>
                    <a:pt x="118" y="80"/>
                  </a:lnTo>
                  <a:lnTo>
                    <a:pt x="118" y="82"/>
                  </a:lnTo>
                  <a:lnTo>
                    <a:pt x="123" y="87"/>
                  </a:lnTo>
                  <a:lnTo>
                    <a:pt x="137" y="90"/>
                  </a:lnTo>
                  <a:lnTo>
                    <a:pt x="144" y="97"/>
                  </a:lnTo>
                  <a:lnTo>
                    <a:pt x="144" y="106"/>
                  </a:lnTo>
                  <a:lnTo>
                    <a:pt x="142" y="111"/>
                  </a:lnTo>
                  <a:lnTo>
                    <a:pt x="142" y="113"/>
                  </a:lnTo>
                  <a:lnTo>
                    <a:pt x="144" y="118"/>
                  </a:lnTo>
                  <a:lnTo>
                    <a:pt x="144" y="120"/>
                  </a:lnTo>
                  <a:lnTo>
                    <a:pt x="147" y="127"/>
                  </a:lnTo>
                  <a:lnTo>
                    <a:pt x="144" y="130"/>
                  </a:lnTo>
                  <a:lnTo>
                    <a:pt x="144" y="137"/>
                  </a:lnTo>
                  <a:lnTo>
                    <a:pt x="147" y="139"/>
                  </a:lnTo>
                  <a:lnTo>
                    <a:pt x="151" y="151"/>
                  </a:lnTo>
                  <a:lnTo>
                    <a:pt x="154" y="158"/>
                  </a:lnTo>
                  <a:lnTo>
                    <a:pt x="154" y="163"/>
                  </a:lnTo>
                  <a:lnTo>
                    <a:pt x="151" y="168"/>
                  </a:lnTo>
                  <a:lnTo>
                    <a:pt x="151" y="177"/>
                  </a:lnTo>
                  <a:lnTo>
                    <a:pt x="154" y="184"/>
                  </a:lnTo>
                  <a:lnTo>
                    <a:pt x="163" y="193"/>
                  </a:lnTo>
                  <a:lnTo>
                    <a:pt x="177" y="203"/>
                  </a:lnTo>
                  <a:lnTo>
                    <a:pt x="184" y="210"/>
                  </a:lnTo>
                  <a:lnTo>
                    <a:pt x="194" y="219"/>
                  </a:lnTo>
                  <a:lnTo>
                    <a:pt x="198" y="231"/>
                  </a:lnTo>
                  <a:lnTo>
                    <a:pt x="198" y="250"/>
                  </a:lnTo>
                  <a:lnTo>
                    <a:pt x="201" y="257"/>
                  </a:lnTo>
                  <a:lnTo>
                    <a:pt x="201" y="281"/>
                  </a:lnTo>
                  <a:lnTo>
                    <a:pt x="203" y="276"/>
                  </a:lnTo>
                  <a:lnTo>
                    <a:pt x="203" y="274"/>
                  </a:lnTo>
                  <a:lnTo>
                    <a:pt x="208" y="274"/>
                  </a:lnTo>
                  <a:lnTo>
                    <a:pt x="208" y="297"/>
                  </a:lnTo>
                  <a:lnTo>
                    <a:pt x="203" y="300"/>
                  </a:lnTo>
                  <a:lnTo>
                    <a:pt x="201" y="293"/>
                  </a:lnTo>
                  <a:lnTo>
                    <a:pt x="198" y="297"/>
                  </a:lnTo>
                  <a:lnTo>
                    <a:pt x="194" y="297"/>
                  </a:lnTo>
                  <a:lnTo>
                    <a:pt x="191" y="300"/>
                  </a:lnTo>
                  <a:lnTo>
                    <a:pt x="191" y="305"/>
                  </a:lnTo>
                  <a:lnTo>
                    <a:pt x="187" y="305"/>
                  </a:lnTo>
                  <a:lnTo>
                    <a:pt x="182" y="297"/>
                  </a:lnTo>
                  <a:lnTo>
                    <a:pt x="177" y="293"/>
                  </a:lnTo>
                  <a:lnTo>
                    <a:pt x="170" y="290"/>
                  </a:lnTo>
                  <a:lnTo>
                    <a:pt x="168" y="290"/>
                  </a:lnTo>
                  <a:lnTo>
                    <a:pt x="154" y="276"/>
                  </a:lnTo>
                  <a:lnTo>
                    <a:pt x="147" y="271"/>
                  </a:lnTo>
                  <a:lnTo>
                    <a:pt x="137" y="264"/>
                  </a:lnTo>
                  <a:lnTo>
                    <a:pt x="135" y="260"/>
                  </a:lnTo>
                  <a:lnTo>
                    <a:pt x="130" y="257"/>
                  </a:lnTo>
                  <a:lnTo>
                    <a:pt x="130" y="255"/>
                  </a:lnTo>
                  <a:lnTo>
                    <a:pt x="123" y="248"/>
                  </a:lnTo>
                  <a:lnTo>
                    <a:pt x="118" y="243"/>
                  </a:lnTo>
                  <a:lnTo>
                    <a:pt x="118" y="241"/>
                  </a:lnTo>
                  <a:lnTo>
                    <a:pt x="113" y="241"/>
                  </a:lnTo>
                  <a:lnTo>
                    <a:pt x="113" y="231"/>
                  </a:lnTo>
                  <a:lnTo>
                    <a:pt x="123" y="224"/>
                  </a:lnTo>
                  <a:lnTo>
                    <a:pt x="135" y="224"/>
                  </a:lnTo>
                  <a:lnTo>
                    <a:pt x="137" y="219"/>
                  </a:lnTo>
                  <a:lnTo>
                    <a:pt x="144" y="210"/>
                  </a:lnTo>
                  <a:lnTo>
                    <a:pt x="147" y="203"/>
                  </a:lnTo>
                  <a:lnTo>
                    <a:pt x="147" y="201"/>
                  </a:lnTo>
                  <a:lnTo>
                    <a:pt x="144" y="203"/>
                  </a:lnTo>
                  <a:lnTo>
                    <a:pt x="144" y="208"/>
                  </a:lnTo>
                  <a:lnTo>
                    <a:pt x="142" y="210"/>
                  </a:lnTo>
                  <a:lnTo>
                    <a:pt x="137" y="217"/>
                  </a:lnTo>
                  <a:lnTo>
                    <a:pt x="135" y="219"/>
                  </a:lnTo>
                  <a:lnTo>
                    <a:pt x="130" y="219"/>
                  </a:lnTo>
                  <a:lnTo>
                    <a:pt x="123" y="217"/>
                  </a:lnTo>
                  <a:lnTo>
                    <a:pt x="113" y="217"/>
                  </a:lnTo>
                  <a:lnTo>
                    <a:pt x="111" y="215"/>
                  </a:lnTo>
                  <a:lnTo>
                    <a:pt x="102" y="217"/>
                  </a:lnTo>
                  <a:lnTo>
                    <a:pt x="97" y="217"/>
                  </a:lnTo>
                  <a:lnTo>
                    <a:pt x="87" y="201"/>
                  </a:lnTo>
                  <a:lnTo>
                    <a:pt x="90" y="196"/>
                  </a:lnTo>
                  <a:lnTo>
                    <a:pt x="95" y="193"/>
                  </a:lnTo>
                  <a:lnTo>
                    <a:pt x="97" y="193"/>
                  </a:lnTo>
                  <a:lnTo>
                    <a:pt x="102" y="191"/>
                  </a:lnTo>
                  <a:lnTo>
                    <a:pt x="90" y="191"/>
                  </a:lnTo>
                  <a:lnTo>
                    <a:pt x="95" y="184"/>
                  </a:lnTo>
                  <a:lnTo>
                    <a:pt x="95" y="177"/>
                  </a:lnTo>
                  <a:lnTo>
                    <a:pt x="90" y="177"/>
                  </a:lnTo>
                  <a:lnTo>
                    <a:pt x="80" y="179"/>
                  </a:lnTo>
                  <a:lnTo>
                    <a:pt x="80" y="175"/>
                  </a:lnTo>
                  <a:lnTo>
                    <a:pt x="87" y="175"/>
                  </a:lnTo>
                  <a:lnTo>
                    <a:pt x="90" y="163"/>
                  </a:lnTo>
                  <a:lnTo>
                    <a:pt x="87" y="168"/>
                  </a:lnTo>
                  <a:lnTo>
                    <a:pt x="87" y="170"/>
                  </a:lnTo>
                  <a:lnTo>
                    <a:pt x="80" y="170"/>
                  </a:lnTo>
                  <a:lnTo>
                    <a:pt x="80" y="160"/>
                  </a:lnTo>
                  <a:lnTo>
                    <a:pt x="71" y="160"/>
                  </a:lnTo>
                  <a:lnTo>
                    <a:pt x="66" y="158"/>
                  </a:lnTo>
                  <a:lnTo>
                    <a:pt x="57" y="158"/>
                  </a:lnTo>
                  <a:lnTo>
                    <a:pt x="54" y="153"/>
                  </a:lnTo>
                  <a:lnTo>
                    <a:pt x="61" y="139"/>
                  </a:lnTo>
                  <a:lnTo>
                    <a:pt x="66" y="137"/>
                  </a:lnTo>
                  <a:lnTo>
                    <a:pt x="73" y="137"/>
                  </a:lnTo>
                  <a:lnTo>
                    <a:pt x="73" y="139"/>
                  </a:lnTo>
                  <a:lnTo>
                    <a:pt x="87" y="139"/>
                  </a:lnTo>
                  <a:lnTo>
                    <a:pt x="85" y="137"/>
                  </a:lnTo>
                  <a:lnTo>
                    <a:pt x="73" y="137"/>
                  </a:lnTo>
                  <a:lnTo>
                    <a:pt x="71" y="134"/>
                  </a:lnTo>
                  <a:lnTo>
                    <a:pt x="64" y="127"/>
                  </a:lnTo>
                  <a:lnTo>
                    <a:pt x="64" y="111"/>
                  </a:lnTo>
                  <a:lnTo>
                    <a:pt x="57" y="106"/>
                  </a:lnTo>
                  <a:lnTo>
                    <a:pt x="47" y="106"/>
                  </a:lnTo>
                  <a:lnTo>
                    <a:pt x="38" y="104"/>
                  </a:lnTo>
                  <a:lnTo>
                    <a:pt x="38" y="94"/>
                  </a:lnTo>
                  <a:lnTo>
                    <a:pt x="40" y="9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3" name="Freeform 488">
              <a:extLst>
                <a:ext uri="{FF2B5EF4-FFF2-40B4-BE49-F238E27FC236}">
                  <a16:creationId xmlns:a16="http://schemas.microsoft.com/office/drawing/2014/main" id="{2358593F-3BF1-476E-B505-A9B1B540C806}"/>
                </a:ext>
              </a:extLst>
            </p:cNvPr>
            <p:cNvSpPr>
              <a:spLocks/>
            </p:cNvSpPr>
            <p:nvPr/>
          </p:nvSpPr>
          <p:spPr bwMode="gray">
            <a:xfrm rot="47099">
              <a:off x="751656" y="2684641"/>
              <a:ext cx="6235" cy="13507"/>
            </a:xfrm>
            <a:custGeom>
              <a:avLst/>
              <a:gdLst>
                <a:gd name="T0" fmla="*/ 14 w 14"/>
                <a:gd name="T1" fmla="*/ 0 h 28"/>
                <a:gd name="T2" fmla="*/ 14 w 14"/>
                <a:gd name="T3" fmla="*/ 16 h 28"/>
                <a:gd name="T4" fmla="*/ 10 w 14"/>
                <a:gd name="T5" fmla="*/ 24 h 28"/>
                <a:gd name="T6" fmla="*/ 10 w 14"/>
                <a:gd name="T7" fmla="*/ 28 h 28"/>
                <a:gd name="T8" fmla="*/ 7 w 14"/>
                <a:gd name="T9" fmla="*/ 28 h 28"/>
                <a:gd name="T10" fmla="*/ 0 w 14"/>
                <a:gd name="T11" fmla="*/ 21 h 28"/>
                <a:gd name="T12" fmla="*/ 0 w 14"/>
                <a:gd name="T13" fmla="*/ 7 h 28"/>
                <a:gd name="T14" fmla="*/ 5 w 14"/>
                <a:gd name="T15" fmla="*/ 5 h 28"/>
                <a:gd name="T16" fmla="*/ 14 w 14"/>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28"/>
                <a:gd name="T29" fmla="*/ 14 w 14"/>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28">
                  <a:moveTo>
                    <a:pt x="14" y="0"/>
                  </a:moveTo>
                  <a:lnTo>
                    <a:pt x="14" y="16"/>
                  </a:lnTo>
                  <a:lnTo>
                    <a:pt x="10" y="24"/>
                  </a:lnTo>
                  <a:lnTo>
                    <a:pt x="10" y="28"/>
                  </a:lnTo>
                  <a:lnTo>
                    <a:pt x="7" y="28"/>
                  </a:lnTo>
                  <a:lnTo>
                    <a:pt x="0" y="21"/>
                  </a:lnTo>
                  <a:lnTo>
                    <a:pt x="0" y="7"/>
                  </a:lnTo>
                  <a:lnTo>
                    <a:pt x="5" y="5"/>
                  </a:lnTo>
                  <a:lnTo>
                    <a:pt x="14"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4" name="Freeform 489">
              <a:extLst>
                <a:ext uri="{FF2B5EF4-FFF2-40B4-BE49-F238E27FC236}">
                  <a16:creationId xmlns:a16="http://schemas.microsoft.com/office/drawing/2014/main" id="{5946C079-48AB-41EC-81FF-EB547F50EE49}"/>
                </a:ext>
              </a:extLst>
            </p:cNvPr>
            <p:cNvSpPr>
              <a:spLocks/>
            </p:cNvSpPr>
            <p:nvPr/>
          </p:nvSpPr>
          <p:spPr bwMode="gray">
            <a:xfrm rot="47099">
              <a:off x="753622" y="2672149"/>
              <a:ext cx="9796" cy="11578"/>
            </a:xfrm>
            <a:custGeom>
              <a:avLst/>
              <a:gdLst>
                <a:gd name="T0" fmla="*/ 21 w 21"/>
                <a:gd name="T1" fmla="*/ 2 h 26"/>
                <a:gd name="T2" fmla="*/ 21 w 21"/>
                <a:gd name="T3" fmla="*/ 4 h 26"/>
                <a:gd name="T4" fmla="*/ 19 w 21"/>
                <a:gd name="T5" fmla="*/ 9 h 26"/>
                <a:gd name="T6" fmla="*/ 9 w 21"/>
                <a:gd name="T7" fmla="*/ 23 h 26"/>
                <a:gd name="T8" fmla="*/ 9 w 21"/>
                <a:gd name="T9" fmla="*/ 26 h 26"/>
                <a:gd name="T10" fmla="*/ 2 w 21"/>
                <a:gd name="T11" fmla="*/ 26 h 26"/>
                <a:gd name="T12" fmla="*/ 0 w 21"/>
                <a:gd name="T13" fmla="*/ 11 h 26"/>
                <a:gd name="T14" fmla="*/ 5 w 21"/>
                <a:gd name="T15" fmla="*/ 4 h 26"/>
                <a:gd name="T16" fmla="*/ 9 w 21"/>
                <a:gd name="T17" fmla="*/ 2 h 26"/>
                <a:gd name="T18" fmla="*/ 12 w 21"/>
                <a:gd name="T19" fmla="*/ 0 h 26"/>
                <a:gd name="T20" fmla="*/ 19 w 21"/>
                <a:gd name="T21" fmla="*/ 0 h 26"/>
                <a:gd name="T22" fmla="*/ 19 w 21"/>
                <a:gd name="T23" fmla="*/ 2 h 26"/>
                <a:gd name="T24" fmla="*/ 21 w 21"/>
                <a:gd name="T25" fmla="*/ 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6"/>
                <a:gd name="T41" fmla="*/ 21 w 21"/>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6">
                  <a:moveTo>
                    <a:pt x="21" y="2"/>
                  </a:moveTo>
                  <a:lnTo>
                    <a:pt x="21" y="4"/>
                  </a:lnTo>
                  <a:lnTo>
                    <a:pt x="19" y="9"/>
                  </a:lnTo>
                  <a:lnTo>
                    <a:pt x="9" y="23"/>
                  </a:lnTo>
                  <a:lnTo>
                    <a:pt x="9" y="26"/>
                  </a:lnTo>
                  <a:lnTo>
                    <a:pt x="2" y="26"/>
                  </a:lnTo>
                  <a:lnTo>
                    <a:pt x="0" y="11"/>
                  </a:lnTo>
                  <a:lnTo>
                    <a:pt x="5" y="4"/>
                  </a:lnTo>
                  <a:lnTo>
                    <a:pt x="9" y="2"/>
                  </a:lnTo>
                  <a:lnTo>
                    <a:pt x="12" y="0"/>
                  </a:lnTo>
                  <a:lnTo>
                    <a:pt x="19" y="0"/>
                  </a:lnTo>
                  <a:lnTo>
                    <a:pt x="19" y="2"/>
                  </a:lnTo>
                  <a:lnTo>
                    <a:pt x="21"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5" name="Freeform 490">
              <a:extLst>
                <a:ext uri="{FF2B5EF4-FFF2-40B4-BE49-F238E27FC236}">
                  <a16:creationId xmlns:a16="http://schemas.microsoft.com/office/drawing/2014/main" id="{4164D1C4-E39D-46E5-B365-B0909BF51F14}"/>
                </a:ext>
              </a:extLst>
            </p:cNvPr>
            <p:cNvSpPr>
              <a:spLocks/>
            </p:cNvSpPr>
            <p:nvPr/>
          </p:nvSpPr>
          <p:spPr bwMode="gray">
            <a:xfrm rot="47099">
              <a:off x="689987" y="2637468"/>
              <a:ext cx="4453" cy="8683"/>
            </a:xfrm>
            <a:custGeom>
              <a:avLst/>
              <a:gdLst>
                <a:gd name="T0" fmla="*/ 5 w 9"/>
                <a:gd name="T1" fmla="*/ 2 h 19"/>
                <a:gd name="T2" fmla="*/ 9 w 9"/>
                <a:gd name="T3" fmla="*/ 7 h 19"/>
                <a:gd name="T4" fmla="*/ 5 w 9"/>
                <a:gd name="T5" fmla="*/ 9 h 19"/>
                <a:gd name="T6" fmla="*/ 5 w 9"/>
                <a:gd name="T7" fmla="*/ 16 h 19"/>
                <a:gd name="T8" fmla="*/ 2 w 9"/>
                <a:gd name="T9" fmla="*/ 19 h 19"/>
                <a:gd name="T10" fmla="*/ 0 w 9"/>
                <a:gd name="T11" fmla="*/ 19 h 19"/>
                <a:gd name="T12" fmla="*/ 0 w 9"/>
                <a:gd name="T13" fmla="*/ 9 h 19"/>
                <a:gd name="T14" fmla="*/ 2 w 9"/>
                <a:gd name="T15" fmla="*/ 7 h 19"/>
                <a:gd name="T16" fmla="*/ 2 w 9"/>
                <a:gd name="T17" fmla="*/ 0 h 19"/>
                <a:gd name="T18" fmla="*/ 5 w 9"/>
                <a:gd name="T19" fmla="*/ 0 h 19"/>
                <a:gd name="T20" fmla="*/ 5 w 9"/>
                <a:gd name="T21" fmla="*/ 2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9"/>
                <a:gd name="T35" fmla="*/ 9 w 9"/>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9">
                  <a:moveTo>
                    <a:pt x="5" y="2"/>
                  </a:moveTo>
                  <a:lnTo>
                    <a:pt x="9" y="7"/>
                  </a:lnTo>
                  <a:lnTo>
                    <a:pt x="5" y="9"/>
                  </a:lnTo>
                  <a:lnTo>
                    <a:pt x="5" y="16"/>
                  </a:lnTo>
                  <a:lnTo>
                    <a:pt x="2" y="19"/>
                  </a:lnTo>
                  <a:lnTo>
                    <a:pt x="0" y="19"/>
                  </a:lnTo>
                  <a:lnTo>
                    <a:pt x="0" y="9"/>
                  </a:lnTo>
                  <a:lnTo>
                    <a:pt x="2" y="7"/>
                  </a:lnTo>
                  <a:lnTo>
                    <a:pt x="2" y="0"/>
                  </a:lnTo>
                  <a:lnTo>
                    <a:pt x="5" y="0"/>
                  </a:lnTo>
                  <a:lnTo>
                    <a:pt x="5"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6" name="Freeform 491">
              <a:extLst>
                <a:ext uri="{FF2B5EF4-FFF2-40B4-BE49-F238E27FC236}">
                  <a16:creationId xmlns:a16="http://schemas.microsoft.com/office/drawing/2014/main" id="{9C1FE0D4-B0EB-4744-8C02-ED26E12D656C}"/>
                </a:ext>
              </a:extLst>
            </p:cNvPr>
            <p:cNvSpPr>
              <a:spLocks/>
            </p:cNvSpPr>
            <p:nvPr/>
          </p:nvSpPr>
          <p:spPr bwMode="gray">
            <a:xfrm rot="47099">
              <a:off x="761749" y="2667404"/>
              <a:ext cx="5343" cy="4824"/>
            </a:xfrm>
            <a:custGeom>
              <a:avLst/>
              <a:gdLst>
                <a:gd name="T0" fmla="*/ 5 w 12"/>
                <a:gd name="T1" fmla="*/ 0 h 8"/>
                <a:gd name="T2" fmla="*/ 12 w 12"/>
                <a:gd name="T3" fmla="*/ 0 h 8"/>
                <a:gd name="T4" fmla="*/ 12 w 12"/>
                <a:gd name="T5" fmla="*/ 3 h 8"/>
                <a:gd name="T6" fmla="*/ 5 w 12"/>
                <a:gd name="T7" fmla="*/ 8 h 8"/>
                <a:gd name="T8" fmla="*/ 0 w 12"/>
                <a:gd name="T9" fmla="*/ 8 h 8"/>
                <a:gd name="T10" fmla="*/ 0 w 12"/>
                <a:gd name="T11" fmla="*/ 0 h 8"/>
                <a:gd name="T12" fmla="*/ 5 w 12"/>
                <a:gd name="T13" fmla="*/ 0 h 8"/>
                <a:gd name="T14" fmla="*/ 0 60000 65536"/>
                <a:gd name="T15" fmla="*/ 0 60000 65536"/>
                <a:gd name="T16" fmla="*/ 0 60000 65536"/>
                <a:gd name="T17" fmla="*/ 0 60000 65536"/>
                <a:gd name="T18" fmla="*/ 0 60000 65536"/>
                <a:gd name="T19" fmla="*/ 0 60000 65536"/>
                <a:gd name="T20" fmla="*/ 0 60000 65536"/>
                <a:gd name="T21" fmla="*/ 0 w 12"/>
                <a:gd name="T22" fmla="*/ 0 h 8"/>
                <a:gd name="T23" fmla="*/ 12 w 1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8">
                  <a:moveTo>
                    <a:pt x="5" y="0"/>
                  </a:moveTo>
                  <a:lnTo>
                    <a:pt x="12" y="0"/>
                  </a:lnTo>
                  <a:lnTo>
                    <a:pt x="12" y="3"/>
                  </a:lnTo>
                  <a:lnTo>
                    <a:pt x="5" y="8"/>
                  </a:lnTo>
                  <a:lnTo>
                    <a:pt x="0" y="8"/>
                  </a:lnTo>
                  <a:lnTo>
                    <a:pt x="0" y="0"/>
                  </a:lnTo>
                  <a:lnTo>
                    <a:pt x="5"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7" name="Freeform 492">
              <a:extLst>
                <a:ext uri="{FF2B5EF4-FFF2-40B4-BE49-F238E27FC236}">
                  <a16:creationId xmlns:a16="http://schemas.microsoft.com/office/drawing/2014/main" id="{DCBCCCC9-D98E-4207-9125-C477A48C4539}"/>
                </a:ext>
              </a:extLst>
            </p:cNvPr>
            <p:cNvSpPr>
              <a:spLocks/>
            </p:cNvSpPr>
            <p:nvPr/>
          </p:nvSpPr>
          <p:spPr bwMode="gray">
            <a:xfrm rot="47099">
              <a:off x="756427" y="2664437"/>
              <a:ext cx="5343" cy="7718"/>
            </a:xfrm>
            <a:custGeom>
              <a:avLst/>
              <a:gdLst>
                <a:gd name="T0" fmla="*/ 11 w 11"/>
                <a:gd name="T1" fmla="*/ 3 h 15"/>
                <a:gd name="T2" fmla="*/ 7 w 11"/>
                <a:gd name="T3" fmla="*/ 7 h 15"/>
                <a:gd name="T4" fmla="*/ 7 w 11"/>
                <a:gd name="T5" fmla="*/ 10 h 15"/>
                <a:gd name="T6" fmla="*/ 4 w 11"/>
                <a:gd name="T7" fmla="*/ 15 h 15"/>
                <a:gd name="T8" fmla="*/ 0 w 11"/>
                <a:gd name="T9" fmla="*/ 15 h 15"/>
                <a:gd name="T10" fmla="*/ 0 w 11"/>
                <a:gd name="T11" fmla="*/ 3 h 15"/>
                <a:gd name="T12" fmla="*/ 7 w 11"/>
                <a:gd name="T13" fmla="*/ 0 h 15"/>
                <a:gd name="T14" fmla="*/ 11 w 11"/>
                <a:gd name="T15" fmla="*/ 0 h 15"/>
                <a:gd name="T16" fmla="*/ 11 w 11"/>
                <a:gd name="T17" fmla="*/ 3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5"/>
                <a:gd name="T29" fmla="*/ 11 w 1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5">
                  <a:moveTo>
                    <a:pt x="11" y="3"/>
                  </a:moveTo>
                  <a:lnTo>
                    <a:pt x="7" y="7"/>
                  </a:lnTo>
                  <a:lnTo>
                    <a:pt x="7" y="10"/>
                  </a:lnTo>
                  <a:lnTo>
                    <a:pt x="4" y="15"/>
                  </a:lnTo>
                  <a:lnTo>
                    <a:pt x="0" y="15"/>
                  </a:lnTo>
                  <a:lnTo>
                    <a:pt x="0" y="3"/>
                  </a:lnTo>
                  <a:lnTo>
                    <a:pt x="7" y="0"/>
                  </a:lnTo>
                  <a:lnTo>
                    <a:pt x="11" y="0"/>
                  </a:lnTo>
                  <a:lnTo>
                    <a:pt x="11"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8" name="Freeform 493">
              <a:extLst>
                <a:ext uri="{FF2B5EF4-FFF2-40B4-BE49-F238E27FC236}">
                  <a16:creationId xmlns:a16="http://schemas.microsoft.com/office/drawing/2014/main" id="{4318B92A-3176-4246-9FAC-6CECBF917864}"/>
                </a:ext>
              </a:extLst>
            </p:cNvPr>
            <p:cNvSpPr>
              <a:spLocks/>
            </p:cNvSpPr>
            <p:nvPr/>
          </p:nvSpPr>
          <p:spPr bwMode="gray">
            <a:xfrm rot="47099">
              <a:off x="756499" y="2660565"/>
              <a:ext cx="3563" cy="4824"/>
            </a:xfrm>
            <a:custGeom>
              <a:avLst/>
              <a:gdLst>
                <a:gd name="T0" fmla="*/ 0 w 7"/>
                <a:gd name="T1" fmla="*/ 10 h 10"/>
                <a:gd name="T2" fmla="*/ 0 w 7"/>
                <a:gd name="T3" fmla="*/ 0 h 10"/>
                <a:gd name="T4" fmla="*/ 4 w 7"/>
                <a:gd name="T5" fmla="*/ 0 h 10"/>
                <a:gd name="T6" fmla="*/ 7 w 7"/>
                <a:gd name="T7" fmla="*/ 5 h 10"/>
                <a:gd name="T8" fmla="*/ 0 w 7"/>
                <a:gd name="T9" fmla="*/ 10 h 10"/>
                <a:gd name="T10" fmla="*/ 0 60000 65536"/>
                <a:gd name="T11" fmla="*/ 0 60000 65536"/>
                <a:gd name="T12" fmla="*/ 0 60000 65536"/>
                <a:gd name="T13" fmla="*/ 0 60000 65536"/>
                <a:gd name="T14" fmla="*/ 0 60000 65536"/>
                <a:gd name="T15" fmla="*/ 0 w 7"/>
                <a:gd name="T16" fmla="*/ 0 h 10"/>
                <a:gd name="T17" fmla="*/ 7 w 7"/>
                <a:gd name="T18" fmla="*/ 10 h 10"/>
              </a:gdLst>
              <a:ahLst/>
              <a:cxnLst>
                <a:cxn ang="T10">
                  <a:pos x="T0" y="T1"/>
                </a:cxn>
                <a:cxn ang="T11">
                  <a:pos x="T2" y="T3"/>
                </a:cxn>
                <a:cxn ang="T12">
                  <a:pos x="T4" y="T5"/>
                </a:cxn>
                <a:cxn ang="T13">
                  <a:pos x="T6" y="T7"/>
                </a:cxn>
                <a:cxn ang="T14">
                  <a:pos x="T8" y="T9"/>
                </a:cxn>
              </a:cxnLst>
              <a:rect l="T15" t="T16" r="T17" b="T18"/>
              <a:pathLst>
                <a:path w="7" h="10">
                  <a:moveTo>
                    <a:pt x="0" y="10"/>
                  </a:moveTo>
                  <a:lnTo>
                    <a:pt x="0" y="0"/>
                  </a:lnTo>
                  <a:lnTo>
                    <a:pt x="4" y="0"/>
                  </a:lnTo>
                  <a:lnTo>
                    <a:pt x="7" y="5"/>
                  </a:lnTo>
                  <a:lnTo>
                    <a:pt x="0" y="1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399" name="Freeform 494">
              <a:extLst>
                <a:ext uri="{FF2B5EF4-FFF2-40B4-BE49-F238E27FC236}">
                  <a16:creationId xmlns:a16="http://schemas.microsoft.com/office/drawing/2014/main" id="{B9A26D25-FE10-418F-AA73-3A9304CF14DA}"/>
                </a:ext>
              </a:extLst>
            </p:cNvPr>
            <p:cNvSpPr>
              <a:spLocks/>
            </p:cNvSpPr>
            <p:nvPr/>
          </p:nvSpPr>
          <p:spPr bwMode="gray">
            <a:xfrm rot="47099">
              <a:off x="762719" y="2660657"/>
              <a:ext cx="4453" cy="6754"/>
            </a:xfrm>
            <a:custGeom>
              <a:avLst/>
              <a:gdLst>
                <a:gd name="T0" fmla="*/ 9 w 9"/>
                <a:gd name="T1" fmla="*/ 5 h 14"/>
                <a:gd name="T2" fmla="*/ 9 w 9"/>
                <a:gd name="T3" fmla="*/ 14 h 14"/>
                <a:gd name="T4" fmla="*/ 7 w 9"/>
                <a:gd name="T5" fmla="*/ 14 h 14"/>
                <a:gd name="T6" fmla="*/ 2 w 9"/>
                <a:gd name="T7" fmla="*/ 10 h 14"/>
                <a:gd name="T8" fmla="*/ 0 w 9"/>
                <a:gd name="T9" fmla="*/ 10 h 14"/>
                <a:gd name="T10" fmla="*/ 0 w 9"/>
                <a:gd name="T11" fmla="*/ 5 h 14"/>
                <a:gd name="T12" fmla="*/ 7 w 9"/>
                <a:gd name="T13" fmla="*/ 0 h 14"/>
                <a:gd name="T14" fmla="*/ 9 w 9"/>
                <a:gd name="T15" fmla="*/ 5 h 1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4"/>
                <a:gd name="T26" fmla="*/ 9 w 9"/>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4">
                  <a:moveTo>
                    <a:pt x="9" y="5"/>
                  </a:moveTo>
                  <a:lnTo>
                    <a:pt x="9" y="14"/>
                  </a:lnTo>
                  <a:lnTo>
                    <a:pt x="7" y="14"/>
                  </a:lnTo>
                  <a:lnTo>
                    <a:pt x="2" y="10"/>
                  </a:lnTo>
                  <a:lnTo>
                    <a:pt x="0" y="10"/>
                  </a:lnTo>
                  <a:lnTo>
                    <a:pt x="0" y="5"/>
                  </a:lnTo>
                  <a:lnTo>
                    <a:pt x="7" y="0"/>
                  </a:lnTo>
                  <a:lnTo>
                    <a:pt x="9"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0" name="Freeform 495">
              <a:extLst>
                <a:ext uri="{FF2B5EF4-FFF2-40B4-BE49-F238E27FC236}">
                  <a16:creationId xmlns:a16="http://schemas.microsoft.com/office/drawing/2014/main" id="{0E96340E-B6DC-465E-95FB-9917F01C38FE}"/>
                </a:ext>
              </a:extLst>
            </p:cNvPr>
            <p:cNvSpPr>
              <a:spLocks/>
            </p:cNvSpPr>
            <p:nvPr/>
          </p:nvSpPr>
          <p:spPr bwMode="gray">
            <a:xfrm rot="47099">
              <a:off x="761894" y="2657751"/>
              <a:ext cx="4453" cy="2894"/>
            </a:xfrm>
            <a:custGeom>
              <a:avLst/>
              <a:gdLst>
                <a:gd name="T0" fmla="*/ 10 w 10"/>
                <a:gd name="T1" fmla="*/ 0 h 9"/>
                <a:gd name="T2" fmla="*/ 10 w 10"/>
                <a:gd name="T3" fmla="*/ 7 h 9"/>
                <a:gd name="T4" fmla="*/ 3 w 10"/>
                <a:gd name="T5" fmla="*/ 9 h 9"/>
                <a:gd name="T6" fmla="*/ 0 w 10"/>
                <a:gd name="T7" fmla="*/ 9 h 9"/>
                <a:gd name="T8" fmla="*/ 3 w 10"/>
                <a:gd name="T9" fmla="*/ 7 h 9"/>
                <a:gd name="T10" fmla="*/ 3 w 10"/>
                <a:gd name="T11" fmla="*/ 2 h 9"/>
                <a:gd name="T12" fmla="*/ 10 w 10"/>
                <a:gd name="T13" fmla="*/ 0 h 9"/>
                <a:gd name="T14" fmla="*/ 0 60000 65536"/>
                <a:gd name="T15" fmla="*/ 0 60000 65536"/>
                <a:gd name="T16" fmla="*/ 0 60000 65536"/>
                <a:gd name="T17" fmla="*/ 0 60000 65536"/>
                <a:gd name="T18" fmla="*/ 0 60000 65536"/>
                <a:gd name="T19" fmla="*/ 0 60000 65536"/>
                <a:gd name="T20" fmla="*/ 0 60000 65536"/>
                <a:gd name="T21" fmla="*/ 0 w 10"/>
                <a:gd name="T22" fmla="*/ 0 h 9"/>
                <a:gd name="T23" fmla="*/ 10 w 10"/>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9">
                  <a:moveTo>
                    <a:pt x="10" y="0"/>
                  </a:moveTo>
                  <a:lnTo>
                    <a:pt x="10" y="7"/>
                  </a:lnTo>
                  <a:lnTo>
                    <a:pt x="3" y="9"/>
                  </a:lnTo>
                  <a:lnTo>
                    <a:pt x="0" y="9"/>
                  </a:lnTo>
                  <a:lnTo>
                    <a:pt x="3" y="7"/>
                  </a:lnTo>
                  <a:lnTo>
                    <a:pt x="3" y="2"/>
                  </a:lnTo>
                  <a:lnTo>
                    <a:pt x="10"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1" name="Freeform 496">
              <a:extLst>
                <a:ext uri="{FF2B5EF4-FFF2-40B4-BE49-F238E27FC236}">
                  <a16:creationId xmlns:a16="http://schemas.microsoft.com/office/drawing/2014/main" id="{C5579DC9-55F2-42FF-8CB3-59FBA3D9E2B2}"/>
                </a:ext>
              </a:extLst>
            </p:cNvPr>
            <p:cNvSpPr>
              <a:spLocks/>
            </p:cNvSpPr>
            <p:nvPr/>
          </p:nvSpPr>
          <p:spPr bwMode="gray">
            <a:xfrm rot="47099">
              <a:off x="763530" y="2663686"/>
              <a:ext cx="22265" cy="12543"/>
            </a:xfrm>
            <a:custGeom>
              <a:avLst/>
              <a:gdLst>
                <a:gd name="T0" fmla="*/ 21 w 47"/>
                <a:gd name="T1" fmla="*/ 19 h 28"/>
                <a:gd name="T2" fmla="*/ 19 w 47"/>
                <a:gd name="T3" fmla="*/ 19 h 28"/>
                <a:gd name="T4" fmla="*/ 14 w 47"/>
                <a:gd name="T5" fmla="*/ 21 h 28"/>
                <a:gd name="T6" fmla="*/ 14 w 47"/>
                <a:gd name="T7" fmla="*/ 26 h 28"/>
                <a:gd name="T8" fmla="*/ 12 w 47"/>
                <a:gd name="T9" fmla="*/ 26 h 28"/>
                <a:gd name="T10" fmla="*/ 12 w 47"/>
                <a:gd name="T11" fmla="*/ 28 h 28"/>
                <a:gd name="T12" fmla="*/ 0 w 47"/>
                <a:gd name="T13" fmla="*/ 28 h 28"/>
                <a:gd name="T14" fmla="*/ 0 w 47"/>
                <a:gd name="T15" fmla="*/ 26 h 28"/>
                <a:gd name="T16" fmla="*/ 5 w 47"/>
                <a:gd name="T17" fmla="*/ 19 h 28"/>
                <a:gd name="T18" fmla="*/ 5 w 47"/>
                <a:gd name="T19" fmla="*/ 17 h 28"/>
                <a:gd name="T20" fmla="*/ 7 w 47"/>
                <a:gd name="T21" fmla="*/ 12 h 28"/>
                <a:gd name="T22" fmla="*/ 12 w 47"/>
                <a:gd name="T23" fmla="*/ 12 h 28"/>
                <a:gd name="T24" fmla="*/ 12 w 47"/>
                <a:gd name="T25" fmla="*/ 9 h 28"/>
                <a:gd name="T26" fmla="*/ 14 w 47"/>
                <a:gd name="T27" fmla="*/ 9 h 28"/>
                <a:gd name="T28" fmla="*/ 19 w 47"/>
                <a:gd name="T29" fmla="*/ 5 h 28"/>
                <a:gd name="T30" fmla="*/ 31 w 47"/>
                <a:gd name="T31" fmla="*/ 5 h 28"/>
                <a:gd name="T32" fmla="*/ 36 w 47"/>
                <a:gd name="T33" fmla="*/ 2 h 28"/>
                <a:gd name="T34" fmla="*/ 38 w 47"/>
                <a:gd name="T35" fmla="*/ 2 h 28"/>
                <a:gd name="T36" fmla="*/ 40 w 47"/>
                <a:gd name="T37" fmla="*/ 0 h 28"/>
                <a:gd name="T38" fmla="*/ 47 w 47"/>
                <a:gd name="T39" fmla="*/ 0 h 28"/>
                <a:gd name="T40" fmla="*/ 47 w 47"/>
                <a:gd name="T41" fmla="*/ 9 h 28"/>
                <a:gd name="T42" fmla="*/ 45 w 47"/>
                <a:gd name="T43" fmla="*/ 9 h 28"/>
                <a:gd name="T44" fmla="*/ 45 w 47"/>
                <a:gd name="T45" fmla="*/ 12 h 28"/>
                <a:gd name="T46" fmla="*/ 31 w 47"/>
                <a:gd name="T47" fmla="*/ 12 h 28"/>
                <a:gd name="T48" fmla="*/ 24 w 47"/>
                <a:gd name="T49" fmla="*/ 17 h 28"/>
                <a:gd name="T50" fmla="*/ 21 w 47"/>
                <a:gd name="T51" fmla="*/ 17 h 28"/>
                <a:gd name="T52" fmla="*/ 21 w 47"/>
                <a:gd name="T53" fmla="*/ 19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
                <a:gd name="T82" fmla="*/ 0 h 28"/>
                <a:gd name="T83" fmla="*/ 47 w 47"/>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 h="28">
                  <a:moveTo>
                    <a:pt x="21" y="19"/>
                  </a:moveTo>
                  <a:lnTo>
                    <a:pt x="19" y="19"/>
                  </a:lnTo>
                  <a:lnTo>
                    <a:pt x="14" y="21"/>
                  </a:lnTo>
                  <a:lnTo>
                    <a:pt x="14" y="26"/>
                  </a:lnTo>
                  <a:lnTo>
                    <a:pt x="12" y="26"/>
                  </a:lnTo>
                  <a:lnTo>
                    <a:pt x="12" y="28"/>
                  </a:lnTo>
                  <a:lnTo>
                    <a:pt x="0" y="28"/>
                  </a:lnTo>
                  <a:lnTo>
                    <a:pt x="0" y="26"/>
                  </a:lnTo>
                  <a:lnTo>
                    <a:pt x="5" y="19"/>
                  </a:lnTo>
                  <a:lnTo>
                    <a:pt x="5" y="17"/>
                  </a:lnTo>
                  <a:lnTo>
                    <a:pt x="7" y="12"/>
                  </a:lnTo>
                  <a:lnTo>
                    <a:pt x="12" y="12"/>
                  </a:lnTo>
                  <a:lnTo>
                    <a:pt x="12" y="9"/>
                  </a:lnTo>
                  <a:lnTo>
                    <a:pt x="14" y="9"/>
                  </a:lnTo>
                  <a:lnTo>
                    <a:pt x="19" y="5"/>
                  </a:lnTo>
                  <a:lnTo>
                    <a:pt x="31" y="5"/>
                  </a:lnTo>
                  <a:lnTo>
                    <a:pt x="36" y="2"/>
                  </a:lnTo>
                  <a:lnTo>
                    <a:pt x="38" y="2"/>
                  </a:lnTo>
                  <a:lnTo>
                    <a:pt x="40" y="0"/>
                  </a:lnTo>
                  <a:lnTo>
                    <a:pt x="47" y="0"/>
                  </a:lnTo>
                  <a:lnTo>
                    <a:pt x="47" y="9"/>
                  </a:lnTo>
                  <a:lnTo>
                    <a:pt x="45" y="9"/>
                  </a:lnTo>
                  <a:lnTo>
                    <a:pt x="45" y="12"/>
                  </a:lnTo>
                  <a:lnTo>
                    <a:pt x="31" y="12"/>
                  </a:lnTo>
                  <a:lnTo>
                    <a:pt x="24" y="17"/>
                  </a:lnTo>
                  <a:lnTo>
                    <a:pt x="21" y="17"/>
                  </a:lnTo>
                  <a:lnTo>
                    <a:pt x="21" y="1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2" name="Freeform 497">
              <a:extLst>
                <a:ext uri="{FF2B5EF4-FFF2-40B4-BE49-F238E27FC236}">
                  <a16:creationId xmlns:a16="http://schemas.microsoft.com/office/drawing/2014/main" id="{3642B294-D6AC-49BF-854B-B8E22861A6FC}"/>
                </a:ext>
              </a:extLst>
            </p:cNvPr>
            <p:cNvSpPr>
              <a:spLocks/>
            </p:cNvSpPr>
            <p:nvPr/>
          </p:nvSpPr>
          <p:spPr bwMode="gray">
            <a:xfrm rot="47099">
              <a:off x="751288" y="2648916"/>
              <a:ext cx="3563" cy="8683"/>
            </a:xfrm>
            <a:custGeom>
              <a:avLst/>
              <a:gdLst>
                <a:gd name="T0" fmla="*/ 7 w 9"/>
                <a:gd name="T1" fmla="*/ 7 h 17"/>
                <a:gd name="T2" fmla="*/ 7 w 9"/>
                <a:gd name="T3" fmla="*/ 12 h 17"/>
                <a:gd name="T4" fmla="*/ 2 w 9"/>
                <a:gd name="T5" fmla="*/ 17 h 17"/>
                <a:gd name="T6" fmla="*/ 0 w 9"/>
                <a:gd name="T7" fmla="*/ 17 h 17"/>
                <a:gd name="T8" fmla="*/ 0 w 9"/>
                <a:gd name="T9" fmla="*/ 3 h 17"/>
                <a:gd name="T10" fmla="*/ 2 w 9"/>
                <a:gd name="T11" fmla="*/ 0 h 17"/>
                <a:gd name="T12" fmla="*/ 9 w 9"/>
                <a:gd name="T13" fmla="*/ 0 h 17"/>
                <a:gd name="T14" fmla="*/ 9 w 9"/>
                <a:gd name="T15" fmla="*/ 3 h 17"/>
                <a:gd name="T16" fmla="*/ 7 w 9"/>
                <a:gd name="T17" fmla="*/ 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7"/>
                <a:gd name="T29" fmla="*/ 9 w 9"/>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7">
                  <a:moveTo>
                    <a:pt x="7" y="7"/>
                  </a:moveTo>
                  <a:lnTo>
                    <a:pt x="7" y="12"/>
                  </a:lnTo>
                  <a:lnTo>
                    <a:pt x="2" y="17"/>
                  </a:lnTo>
                  <a:lnTo>
                    <a:pt x="0" y="17"/>
                  </a:lnTo>
                  <a:lnTo>
                    <a:pt x="0" y="3"/>
                  </a:lnTo>
                  <a:lnTo>
                    <a:pt x="2" y="0"/>
                  </a:lnTo>
                  <a:lnTo>
                    <a:pt x="9" y="0"/>
                  </a:lnTo>
                  <a:lnTo>
                    <a:pt x="9" y="3"/>
                  </a:lnTo>
                  <a:lnTo>
                    <a:pt x="7"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3" name="Freeform 498">
              <a:extLst>
                <a:ext uri="{FF2B5EF4-FFF2-40B4-BE49-F238E27FC236}">
                  <a16:creationId xmlns:a16="http://schemas.microsoft.com/office/drawing/2014/main" id="{AF1D64CE-1936-4E6F-A4AA-9E59F137BEF2}"/>
                </a:ext>
              </a:extLst>
            </p:cNvPr>
            <p:cNvSpPr>
              <a:spLocks/>
            </p:cNvSpPr>
            <p:nvPr/>
          </p:nvSpPr>
          <p:spPr bwMode="gray">
            <a:xfrm rot="47099">
              <a:off x="752245" y="2645100"/>
              <a:ext cx="8015" cy="6754"/>
            </a:xfrm>
            <a:custGeom>
              <a:avLst/>
              <a:gdLst>
                <a:gd name="T0" fmla="*/ 17 w 17"/>
                <a:gd name="T1" fmla="*/ 0 h 16"/>
                <a:gd name="T2" fmla="*/ 17 w 17"/>
                <a:gd name="T3" fmla="*/ 5 h 16"/>
                <a:gd name="T4" fmla="*/ 14 w 17"/>
                <a:gd name="T5" fmla="*/ 9 h 16"/>
                <a:gd name="T6" fmla="*/ 14 w 17"/>
                <a:gd name="T7" fmla="*/ 16 h 16"/>
                <a:gd name="T8" fmla="*/ 10 w 17"/>
                <a:gd name="T9" fmla="*/ 16 h 16"/>
                <a:gd name="T10" fmla="*/ 7 w 17"/>
                <a:gd name="T11" fmla="*/ 12 h 16"/>
                <a:gd name="T12" fmla="*/ 7 w 17"/>
                <a:gd name="T13" fmla="*/ 9 h 16"/>
                <a:gd name="T14" fmla="*/ 0 w 17"/>
                <a:gd name="T15" fmla="*/ 5 h 16"/>
                <a:gd name="T16" fmla="*/ 0 w 17"/>
                <a:gd name="T17" fmla="*/ 2 h 16"/>
                <a:gd name="T18" fmla="*/ 7 w 17"/>
                <a:gd name="T19" fmla="*/ 0 h 16"/>
                <a:gd name="T20" fmla="*/ 14 w 17"/>
                <a:gd name="T21" fmla="*/ 2 h 16"/>
                <a:gd name="T22" fmla="*/ 14 w 17"/>
                <a:gd name="T23" fmla="*/ 0 h 16"/>
                <a:gd name="T24" fmla="*/ 17 w 17"/>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16"/>
                <a:gd name="T41" fmla="*/ 17 w 17"/>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16">
                  <a:moveTo>
                    <a:pt x="17" y="0"/>
                  </a:moveTo>
                  <a:lnTo>
                    <a:pt x="17" y="5"/>
                  </a:lnTo>
                  <a:lnTo>
                    <a:pt x="14" y="9"/>
                  </a:lnTo>
                  <a:lnTo>
                    <a:pt x="14" y="16"/>
                  </a:lnTo>
                  <a:lnTo>
                    <a:pt x="10" y="16"/>
                  </a:lnTo>
                  <a:lnTo>
                    <a:pt x="7" y="12"/>
                  </a:lnTo>
                  <a:lnTo>
                    <a:pt x="7" y="9"/>
                  </a:lnTo>
                  <a:lnTo>
                    <a:pt x="0" y="5"/>
                  </a:lnTo>
                  <a:lnTo>
                    <a:pt x="0" y="2"/>
                  </a:lnTo>
                  <a:lnTo>
                    <a:pt x="7" y="0"/>
                  </a:lnTo>
                  <a:lnTo>
                    <a:pt x="14" y="2"/>
                  </a:lnTo>
                  <a:lnTo>
                    <a:pt x="14" y="0"/>
                  </a:lnTo>
                  <a:lnTo>
                    <a:pt x="1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4" name="Freeform 499">
              <a:extLst>
                <a:ext uri="{FF2B5EF4-FFF2-40B4-BE49-F238E27FC236}">
                  <a16:creationId xmlns:a16="http://schemas.microsoft.com/office/drawing/2014/main" id="{F54FE002-41BB-437A-B14B-D0F9B03D6C6C}"/>
                </a:ext>
              </a:extLst>
            </p:cNvPr>
            <p:cNvSpPr>
              <a:spLocks/>
            </p:cNvSpPr>
            <p:nvPr/>
          </p:nvSpPr>
          <p:spPr bwMode="gray">
            <a:xfrm rot="47099">
              <a:off x="688616" y="2608514"/>
              <a:ext cx="6235" cy="6754"/>
            </a:xfrm>
            <a:custGeom>
              <a:avLst/>
              <a:gdLst>
                <a:gd name="T0" fmla="*/ 14 w 14"/>
                <a:gd name="T1" fmla="*/ 7 h 14"/>
                <a:gd name="T2" fmla="*/ 14 w 14"/>
                <a:gd name="T3" fmla="*/ 12 h 14"/>
                <a:gd name="T4" fmla="*/ 10 w 14"/>
                <a:gd name="T5" fmla="*/ 14 h 14"/>
                <a:gd name="T6" fmla="*/ 0 w 14"/>
                <a:gd name="T7" fmla="*/ 14 h 14"/>
                <a:gd name="T8" fmla="*/ 0 w 14"/>
                <a:gd name="T9" fmla="*/ 0 h 14"/>
                <a:gd name="T10" fmla="*/ 5 w 14"/>
                <a:gd name="T11" fmla="*/ 0 h 14"/>
                <a:gd name="T12" fmla="*/ 14 w 14"/>
                <a:gd name="T13" fmla="*/ 5 h 14"/>
                <a:gd name="T14" fmla="*/ 14 w 14"/>
                <a:gd name="T15" fmla="*/ 7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4" y="7"/>
                  </a:moveTo>
                  <a:lnTo>
                    <a:pt x="14" y="12"/>
                  </a:lnTo>
                  <a:lnTo>
                    <a:pt x="10" y="14"/>
                  </a:lnTo>
                  <a:lnTo>
                    <a:pt x="0" y="14"/>
                  </a:lnTo>
                  <a:lnTo>
                    <a:pt x="0" y="0"/>
                  </a:lnTo>
                  <a:lnTo>
                    <a:pt x="5" y="0"/>
                  </a:lnTo>
                  <a:lnTo>
                    <a:pt x="14" y="5"/>
                  </a:lnTo>
                  <a:lnTo>
                    <a:pt x="14"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5" name="Freeform 500">
              <a:extLst>
                <a:ext uri="{FF2B5EF4-FFF2-40B4-BE49-F238E27FC236}">
                  <a16:creationId xmlns:a16="http://schemas.microsoft.com/office/drawing/2014/main" id="{94CC2DF2-D714-4739-B270-728925990303}"/>
                </a:ext>
              </a:extLst>
            </p:cNvPr>
            <p:cNvSpPr>
              <a:spLocks/>
            </p:cNvSpPr>
            <p:nvPr/>
          </p:nvSpPr>
          <p:spPr bwMode="gray">
            <a:xfrm rot="47099">
              <a:off x="756716" y="2639384"/>
              <a:ext cx="9796" cy="15438"/>
            </a:xfrm>
            <a:custGeom>
              <a:avLst/>
              <a:gdLst>
                <a:gd name="T0" fmla="*/ 21 w 21"/>
                <a:gd name="T1" fmla="*/ 5 h 33"/>
                <a:gd name="T2" fmla="*/ 21 w 21"/>
                <a:gd name="T3" fmla="*/ 7 h 33"/>
                <a:gd name="T4" fmla="*/ 16 w 21"/>
                <a:gd name="T5" fmla="*/ 14 h 33"/>
                <a:gd name="T6" fmla="*/ 14 w 21"/>
                <a:gd name="T7" fmla="*/ 28 h 33"/>
                <a:gd name="T8" fmla="*/ 14 w 21"/>
                <a:gd name="T9" fmla="*/ 31 h 33"/>
                <a:gd name="T10" fmla="*/ 11 w 21"/>
                <a:gd name="T11" fmla="*/ 31 h 33"/>
                <a:gd name="T12" fmla="*/ 7 w 21"/>
                <a:gd name="T13" fmla="*/ 33 h 33"/>
                <a:gd name="T14" fmla="*/ 0 w 21"/>
                <a:gd name="T15" fmla="*/ 33 h 33"/>
                <a:gd name="T16" fmla="*/ 0 w 21"/>
                <a:gd name="T17" fmla="*/ 31 h 33"/>
                <a:gd name="T18" fmla="*/ 7 w 21"/>
                <a:gd name="T19" fmla="*/ 21 h 33"/>
                <a:gd name="T20" fmla="*/ 11 w 21"/>
                <a:gd name="T21" fmla="*/ 14 h 33"/>
                <a:gd name="T22" fmla="*/ 16 w 21"/>
                <a:gd name="T23" fmla="*/ 0 h 33"/>
                <a:gd name="T24" fmla="*/ 21 w 21"/>
                <a:gd name="T25" fmla="*/ 0 h 33"/>
                <a:gd name="T26" fmla="*/ 21 w 21"/>
                <a:gd name="T27" fmla="*/ 5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33"/>
                <a:gd name="T44" fmla="*/ 21 w 21"/>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33">
                  <a:moveTo>
                    <a:pt x="21" y="5"/>
                  </a:moveTo>
                  <a:lnTo>
                    <a:pt x="21" y="7"/>
                  </a:lnTo>
                  <a:lnTo>
                    <a:pt x="16" y="14"/>
                  </a:lnTo>
                  <a:lnTo>
                    <a:pt x="14" y="28"/>
                  </a:lnTo>
                  <a:lnTo>
                    <a:pt x="14" y="31"/>
                  </a:lnTo>
                  <a:lnTo>
                    <a:pt x="11" y="31"/>
                  </a:lnTo>
                  <a:lnTo>
                    <a:pt x="7" y="33"/>
                  </a:lnTo>
                  <a:lnTo>
                    <a:pt x="0" y="33"/>
                  </a:lnTo>
                  <a:lnTo>
                    <a:pt x="0" y="31"/>
                  </a:lnTo>
                  <a:lnTo>
                    <a:pt x="7" y="21"/>
                  </a:lnTo>
                  <a:lnTo>
                    <a:pt x="11" y="14"/>
                  </a:lnTo>
                  <a:lnTo>
                    <a:pt x="16" y="0"/>
                  </a:lnTo>
                  <a:lnTo>
                    <a:pt x="21" y="0"/>
                  </a:lnTo>
                  <a:lnTo>
                    <a:pt x="21"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6" name="Freeform 501">
              <a:extLst>
                <a:ext uri="{FF2B5EF4-FFF2-40B4-BE49-F238E27FC236}">
                  <a16:creationId xmlns:a16="http://schemas.microsoft.com/office/drawing/2014/main" id="{F0C7E957-1F99-449C-9EE4-D0C30A62D854}"/>
                </a:ext>
              </a:extLst>
            </p:cNvPr>
            <p:cNvSpPr>
              <a:spLocks/>
            </p:cNvSpPr>
            <p:nvPr/>
          </p:nvSpPr>
          <p:spPr bwMode="gray">
            <a:xfrm rot="47099">
              <a:off x="763894" y="2639457"/>
              <a:ext cx="6235" cy="7718"/>
            </a:xfrm>
            <a:custGeom>
              <a:avLst/>
              <a:gdLst>
                <a:gd name="T0" fmla="*/ 14 w 14"/>
                <a:gd name="T1" fmla="*/ 5 h 17"/>
                <a:gd name="T2" fmla="*/ 7 w 14"/>
                <a:gd name="T3" fmla="*/ 12 h 17"/>
                <a:gd name="T4" fmla="*/ 5 w 14"/>
                <a:gd name="T5" fmla="*/ 17 h 17"/>
                <a:gd name="T6" fmla="*/ 0 w 14"/>
                <a:gd name="T7" fmla="*/ 17 h 17"/>
                <a:gd name="T8" fmla="*/ 5 w 14"/>
                <a:gd name="T9" fmla="*/ 14 h 17"/>
                <a:gd name="T10" fmla="*/ 5 w 14"/>
                <a:gd name="T11" fmla="*/ 5 h 17"/>
                <a:gd name="T12" fmla="*/ 12 w 14"/>
                <a:gd name="T13" fmla="*/ 5 h 17"/>
                <a:gd name="T14" fmla="*/ 14 w 14"/>
                <a:gd name="T15" fmla="*/ 0 h 17"/>
                <a:gd name="T16" fmla="*/ 14 w 14"/>
                <a:gd name="T17" fmla="*/ 5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7"/>
                <a:gd name="T29" fmla="*/ 14 w 14"/>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7">
                  <a:moveTo>
                    <a:pt x="14" y="5"/>
                  </a:moveTo>
                  <a:lnTo>
                    <a:pt x="7" y="12"/>
                  </a:lnTo>
                  <a:lnTo>
                    <a:pt x="5" y="17"/>
                  </a:lnTo>
                  <a:lnTo>
                    <a:pt x="0" y="17"/>
                  </a:lnTo>
                  <a:lnTo>
                    <a:pt x="5" y="14"/>
                  </a:lnTo>
                  <a:lnTo>
                    <a:pt x="5" y="5"/>
                  </a:lnTo>
                  <a:lnTo>
                    <a:pt x="12" y="5"/>
                  </a:lnTo>
                  <a:lnTo>
                    <a:pt x="14" y="0"/>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7" name="Freeform 502">
              <a:extLst>
                <a:ext uri="{FF2B5EF4-FFF2-40B4-BE49-F238E27FC236}">
                  <a16:creationId xmlns:a16="http://schemas.microsoft.com/office/drawing/2014/main" id="{BF7A9A2C-CFAD-4D15-954D-D97DD44AEE71}"/>
                </a:ext>
              </a:extLst>
            </p:cNvPr>
            <p:cNvSpPr>
              <a:spLocks/>
            </p:cNvSpPr>
            <p:nvPr/>
          </p:nvSpPr>
          <p:spPr bwMode="gray">
            <a:xfrm rot="47099">
              <a:off x="744362" y="2630512"/>
              <a:ext cx="7125" cy="16402"/>
            </a:xfrm>
            <a:custGeom>
              <a:avLst/>
              <a:gdLst>
                <a:gd name="T0" fmla="*/ 7 w 14"/>
                <a:gd name="T1" fmla="*/ 0 h 36"/>
                <a:gd name="T2" fmla="*/ 9 w 14"/>
                <a:gd name="T3" fmla="*/ 10 h 36"/>
                <a:gd name="T4" fmla="*/ 9 w 14"/>
                <a:gd name="T5" fmla="*/ 14 h 36"/>
                <a:gd name="T6" fmla="*/ 14 w 14"/>
                <a:gd name="T7" fmla="*/ 24 h 36"/>
                <a:gd name="T8" fmla="*/ 9 w 14"/>
                <a:gd name="T9" fmla="*/ 31 h 36"/>
                <a:gd name="T10" fmla="*/ 9 w 14"/>
                <a:gd name="T11" fmla="*/ 33 h 36"/>
                <a:gd name="T12" fmla="*/ 7 w 14"/>
                <a:gd name="T13" fmla="*/ 33 h 36"/>
                <a:gd name="T14" fmla="*/ 7 w 14"/>
                <a:gd name="T15" fmla="*/ 36 h 36"/>
                <a:gd name="T16" fmla="*/ 2 w 14"/>
                <a:gd name="T17" fmla="*/ 36 h 36"/>
                <a:gd name="T18" fmla="*/ 2 w 14"/>
                <a:gd name="T19" fmla="*/ 24 h 36"/>
                <a:gd name="T20" fmla="*/ 0 w 14"/>
                <a:gd name="T21" fmla="*/ 17 h 36"/>
                <a:gd name="T22" fmla="*/ 0 w 14"/>
                <a:gd name="T23" fmla="*/ 3 h 36"/>
                <a:gd name="T24" fmla="*/ 2 w 14"/>
                <a:gd name="T25" fmla="*/ 0 h 36"/>
                <a:gd name="T26" fmla="*/ 7 w 14"/>
                <a:gd name="T27" fmla="*/ 0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36"/>
                <a:gd name="T44" fmla="*/ 14 w 14"/>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36">
                  <a:moveTo>
                    <a:pt x="7" y="0"/>
                  </a:moveTo>
                  <a:lnTo>
                    <a:pt x="9" y="10"/>
                  </a:lnTo>
                  <a:lnTo>
                    <a:pt x="9" y="14"/>
                  </a:lnTo>
                  <a:lnTo>
                    <a:pt x="14" y="24"/>
                  </a:lnTo>
                  <a:lnTo>
                    <a:pt x="9" y="31"/>
                  </a:lnTo>
                  <a:lnTo>
                    <a:pt x="9" y="33"/>
                  </a:lnTo>
                  <a:lnTo>
                    <a:pt x="7" y="33"/>
                  </a:lnTo>
                  <a:lnTo>
                    <a:pt x="7" y="36"/>
                  </a:lnTo>
                  <a:lnTo>
                    <a:pt x="2" y="36"/>
                  </a:lnTo>
                  <a:lnTo>
                    <a:pt x="2" y="24"/>
                  </a:lnTo>
                  <a:lnTo>
                    <a:pt x="0" y="17"/>
                  </a:lnTo>
                  <a:lnTo>
                    <a:pt x="0" y="3"/>
                  </a:lnTo>
                  <a:lnTo>
                    <a:pt x="2" y="0"/>
                  </a:lnTo>
                  <a:lnTo>
                    <a:pt x="7"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8" name="Freeform 503">
              <a:extLst>
                <a:ext uri="{FF2B5EF4-FFF2-40B4-BE49-F238E27FC236}">
                  <a16:creationId xmlns:a16="http://schemas.microsoft.com/office/drawing/2014/main" id="{761D3A04-94FB-4138-A96B-C56DD91C886D}"/>
                </a:ext>
              </a:extLst>
            </p:cNvPr>
            <p:cNvSpPr>
              <a:spLocks/>
            </p:cNvSpPr>
            <p:nvPr/>
          </p:nvSpPr>
          <p:spPr bwMode="gray">
            <a:xfrm rot="47099">
              <a:off x="760378" y="2634566"/>
              <a:ext cx="3563" cy="10613"/>
            </a:xfrm>
            <a:custGeom>
              <a:avLst/>
              <a:gdLst>
                <a:gd name="T0" fmla="*/ 9 w 9"/>
                <a:gd name="T1" fmla="*/ 0 h 21"/>
                <a:gd name="T2" fmla="*/ 9 w 9"/>
                <a:gd name="T3" fmla="*/ 9 h 21"/>
                <a:gd name="T4" fmla="*/ 4 w 9"/>
                <a:gd name="T5" fmla="*/ 21 h 21"/>
                <a:gd name="T6" fmla="*/ 0 w 9"/>
                <a:gd name="T7" fmla="*/ 21 h 21"/>
                <a:gd name="T8" fmla="*/ 0 w 9"/>
                <a:gd name="T9" fmla="*/ 16 h 21"/>
                <a:gd name="T10" fmla="*/ 4 w 9"/>
                <a:gd name="T11" fmla="*/ 14 h 21"/>
                <a:gd name="T12" fmla="*/ 4 w 9"/>
                <a:gd name="T13" fmla="*/ 9 h 21"/>
                <a:gd name="T14" fmla="*/ 9 w 9"/>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1"/>
                <a:gd name="T26" fmla="*/ 9 w 9"/>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1">
                  <a:moveTo>
                    <a:pt x="9" y="0"/>
                  </a:moveTo>
                  <a:lnTo>
                    <a:pt x="9" y="9"/>
                  </a:lnTo>
                  <a:lnTo>
                    <a:pt x="4" y="21"/>
                  </a:lnTo>
                  <a:lnTo>
                    <a:pt x="0" y="21"/>
                  </a:lnTo>
                  <a:lnTo>
                    <a:pt x="0" y="16"/>
                  </a:lnTo>
                  <a:lnTo>
                    <a:pt x="4" y="14"/>
                  </a:lnTo>
                  <a:lnTo>
                    <a:pt x="4" y="9"/>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09" name="Freeform 504">
              <a:extLst>
                <a:ext uri="{FF2B5EF4-FFF2-40B4-BE49-F238E27FC236}">
                  <a16:creationId xmlns:a16="http://schemas.microsoft.com/office/drawing/2014/main" id="{95E9985F-DC98-4F7F-8E12-B0769B3A51E8}"/>
                </a:ext>
              </a:extLst>
            </p:cNvPr>
            <p:cNvSpPr>
              <a:spLocks/>
            </p:cNvSpPr>
            <p:nvPr/>
          </p:nvSpPr>
          <p:spPr bwMode="gray">
            <a:xfrm rot="47099">
              <a:off x="744646" y="2612158"/>
              <a:ext cx="3563" cy="11578"/>
            </a:xfrm>
            <a:custGeom>
              <a:avLst/>
              <a:gdLst>
                <a:gd name="T0" fmla="*/ 7 w 7"/>
                <a:gd name="T1" fmla="*/ 5 h 24"/>
                <a:gd name="T2" fmla="*/ 7 w 7"/>
                <a:gd name="T3" fmla="*/ 24 h 24"/>
                <a:gd name="T4" fmla="*/ 2 w 7"/>
                <a:gd name="T5" fmla="*/ 17 h 24"/>
                <a:gd name="T6" fmla="*/ 2 w 7"/>
                <a:gd name="T7" fmla="*/ 7 h 24"/>
                <a:gd name="T8" fmla="*/ 0 w 7"/>
                <a:gd name="T9" fmla="*/ 5 h 24"/>
                <a:gd name="T10" fmla="*/ 2 w 7"/>
                <a:gd name="T11" fmla="*/ 0 h 24"/>
                <a:gd name="T12" fmla="*/ 7 w 7"/>
                <a:gd name="T13" fmla="*/ 0 h 24"/>
                <a:gd name="T14" fmla="*/ 7 w 7"/>
                <a:gd name="T15" fmla="*/ 5 h 2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4"/>
                <a:gd name="T26" fmla="*/ 7 w 7"/>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4">
                  <a:moveTo>
                    <a:pt x="7" y="5"/>
                  </a:moveTo>
                  <a:lnTo>
                    <a:pt x="7" y="24"/>
                  </a:lnTo>
                  <a:lnTo>
                    <a:pt x="2" y="17"/>
                  </a:lnTo>
                  <a:lnTo>
                    <a:pt x="2" y="7"/>
                  </a:lnTo>
                  <a:lnTo>
                    <a:pt x="0" y="5"/>
                  </a:lnTo>
                  <a:lnTo>
                    <a:pt x="2" y="0"/>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0" name="Freeform 505">
              <a:extLst>
                <a:ext uri="{FF2B5EF4-FFF2-40B4-BE49-F238E27FC236}">
                  <a16:creationId xmlns:a16="http://schemas.microsoft.com/office/drawing/2014/main" id="{4C9DC88E-D7E2-4647-8CBE-C6DAF10991E2}"/>
                </a:ext>
              </a:extLst>
            </p:cNvPr>
            <p:cNvSpPr>
              <a:spLocks/>
            </p:cNvSpPr>
            <p:nvPr/>
          </p:nvSpPr>
          <p:spPr bwMode="gray">
            <a:xfrm rot="47099">
              <a:off x="676154" y="2584319"/>
              <a:ext cx="20484" cy="54030"/>
            </a:xfrm>
            <a:custGeom>
              <a:avLst/>
              <a:gdLst>
                <a:gd name="T0" fmla="*/ 33 w 43"/>
                <a:gd name="T1" fmla="*/ 43 h 116"/>
                <a:gd name="T2" fmla="*/ 26 w 43"/>
                <a:gd name="T3" fmla="*/ 33 h 116"/>
                <a:gd name="T4" fmla="*/ 19 w 43"/>
                <a:gd name="T5" fmla="*/ 36 h 116"/>
                <a:gd name="T6" fmla="*/ 26 w 43"/>
                <a:gd name="T7" fmla="*/ 40 h 116"/>
                <a:gd name="T8" fmla="*/ 26 w 43"/>
                <a:gd name="T9" fmla="*/ 57 h 116"/>
                <a:gd name="T10" fmla="*/ 24 w 43"/>
                <a:gd name="T11" fmla="*/ 66 h 116"/>
                <a:gd name="T12" fmla="*/ 31 w 43"/>
                <a:gd name="T13" fmla="*/ 76 h 116"/>
                <a:gd name="T14" fmla="*/ 33 w 43"/>
                <a:gd name="T15" fmla="*/ 88 h 116"/>
                <a:gd name="T16" fmla="*/ 36 w 43"/>
                <a:gd name="T17" fmla="*/ 92 h 116"/>
                <a:gd name="T18" fmla="*/ 31 w 43"/>
                <a:gd name="T19" fmla="*/ 97 h 116"/>
                <a:gd name="T20" fmla="*/ 40 w 43"/>
                <a:gd name="T21" fmla="*/ 100 h 116"/>
                <a:gd name="T22" fmla="*/ 43 w 43"/>
                <a:gd name="T23" fmla="*/ 111 h 116"/>
                <a:gd name="T24" fmla="*/ 36 w 43"/>
                <a:gd name="T25" fmla="*/ 114 h 116"/>
                <a:gd name="T26" fmla="*/ 26 w 43"/>
                <a:gd name="T27" fmla="*/ 114 h 116"/>
                <a:gd name="T28" fmla="*/ 24 w 43"/>
                <a:gd name="T29" fmla="*/ 107 h 116"/>
                <a:gd name="T30" fmla="*/ 19 w 43"/>
                <a:gd name="T31" fmla="*/ 90 h 116"/>
                <a:gd name="T32" fmla="*/ 24 w 43"/>
                <a:gd name="T33" fmla="*/ 83 h 116"/>
                <a:gd name="T34" fmla="*/ 19 w 43"/>
                <a:gd name="T35" fmla="*/ 74 h 116"/>
                <a:gd name="T36" fmla="*/ 12 w 43"/>
                <a:gd name="T37" fmla="*/ 59 h 116"/>
                <a:gd name="T38" fmla="*/ 10 w 43"/>
                <a:gd name="T39" fmla="*/ 43 h 116"/>
                <a:gd name="T40" fmla="*/ 17 w 43"/>
                <a:gd name="T41" fmla="*/ 48 h 116"/>
                <a:gd name="T42" fmla="*/ 17 w 43"/>
                <a:gd name="T43" fmla="*/ 43 h 116"/>
                <a:gd name="T44" fmla="*/ 10 w 43"/>
                <a:gd name="T45" fmla="*/ 43 h 116"/>
                <a:gd name="T46" fmla="*/ 3 w 43"/>
                <a:gd name="T47" fmla="*/ 26 h 116"/>
                <a:gd name="T48" fmla="*/ 10 w 43"/>
                <a:gd name="T49" fmla="*/ 24 h 116"/>
                <a:gd name="T50" fmla="*/ 12 w 43"/>
                <a:gd name="T51" fmla="*/ 24 h 116"/>
                <a:gd name="T52" fmla="*/ 12 w 43"/>
                <a:gd name="T53" fmla="*/ 17 h 116"/>
                <a:gd name="T54" fmla="*/ 7 w 43"/>
                <a:gd name="T55" fmla="*/ 12 h 116"/>
                <a:gd name="T56" fmla="*/ 0 w 43"/>
                <a:gd name="T57" fmla="*/ 7 h 116"/>
                <a:gd name="T58" fmla="*/ 7 w 43"/>
                <a:gd name="T59" fmla="*/ 3 h 116"/>
                <a:gd name="T60" fmla="*/ 19 w 43"/>
                <a:gd name="T61" fmla="*/ 10 h 116"/>
                <a:gd name="T62" fmla="*/ 36 w 43"/>
                <a:gd name="T63" fmla="*/ 7 h 116"/>
                <a:gd name="T64" fmla="*/ 43 w 43"/>
                <a:gd name="T65" fmla="*/ 31 h 116"/>
                <a:gd name="T66" fmla="*/ 36 w 43"/>
                <a:gd name="T67" fmla="*/ 24 h 116"/>
                <a:gd name="T68" fmla="*/ 31 w 43"/>
                <a:gd name="T69" fmla="*/ 19 h 116"/>
                <a:gd name="T70" fmla="*/ 26 w 43"/>
                <a:gd name="T71" fmla="*/ 26 h 116"/>
                <a:gd name="T72" fmla="*/ 33 w 43"/>
                <a:gd name="T73" fmla="*/ 24 h 116"/>
                <a:gd name="T74" fmla="*/ 40 w 43"/>
                <a:gd name="T75" fmla="*/ 33 h 116"/>
                <a:gd name="T76" fmla="*/ 40 w 43"/>
                <a:gd name="T77" fmla="*/ 36 h 116"/>
                <a:gd name="T78" fmla="*/ 36 w 43"/>
                <a:gd name="T79" fmla="*/ 40 h 1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3"/>
                <a:gd name="T121" fmla="*/ 0 h 116"/>
                <a:gd name="T122" fmla="*/ 43 w 43"/>
                <a:gd name="T123" fmla="*/ 116 h 1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3" h="116">
                  <a:moveTo>
                    <a:pt x="36" y="40"/>
                  </a:moveTo>
                  <a:lnTo>
                    <a:pt x="33" y="43"/>
                  </a:lnTo>
                  <a:lnTo>
                    <a:pt x="26" y="40"/>
                  </a:lnTo>
                  <a:lnTo>
                    <a:pt x="26" y="33"/>
                  </a:lnTo>
                  <a:lnTo>
                    <a:pt x="24" y="31"/>
                  </a:lnTo>
                  <a:lnTo>
                    <a:pt x="19" y="36"/>
                  </a:lnTo>
                  <a:lnTo>
                    <a:pt x="24" y="36"/>
                  </a:lnTo>
                  <a:lnTo>
                    <a:pt x="26" y="40"/>
                  </a:lnTo>
                  <a:lnTo>
                    <a:pt x="24" y="52"/>
                  </a:lnTo>
                  <a:lnTo>
                    <a:pt x="26" y="57"/>
                  </a:lnTo>
                  <a:lnTo>
                    <a:pt x="26" y="59"/>
                  </a:lnTo>
                  <a:lnTo>
                    <a:pt x="24" y="66"/>
                  </a:lnTo>
                  <a:lnTo>
                    <a:pt x="26" y="74"/>
                  </a:lnTo>
                  <a:lnTo>
                    <a:pt x="31" y="76"/>
                  </a:lnTo>
                  <a:lnTo>
                    <a:pt x="31" y="90"/>
                  </a:lnTo>
                  <a:lnTo>
                    <a:pt x="33" y="88"/>
                  </a:lnTo>
                  <a:lnTo>
                    <a:pt x="40" y="88"/>
                  </a:lnTo>
                  <a:lnTo>
                    <a:pt x="36" y="92"/>
                  </a:lnTo>
                  <a:lnTo>
                    <a:pt x="31" y="92"/>
                  </a:lnTo>
                  <a:lnTo>
                    <a:pt x="31" y="97"/>
                  </a:lnTo>
                  <a:lnTo>
                    <a:pt x="33" y="100"/>
                  </a:lnTo>
                  <a:lnTo>
                    <a:pt x="40" y="100"/>
                  </a:lnTo>
                  <a:lnTo>
                    <a:pt x="40" y="104"/>
                  </a:lnTo>
                  <a:lnTo>
                    <a:pt x="43" y="111"/>
                  </a:lnTo>
                  <a:lnTo>
                    <a:pt x="40" y="114"/>
                  </a:lnTo>
                  <a:lnTo>
                    <a:pt x="36" y="114"/>
                  </a:lnTo>
                  <a:lnTo>
                    <a:pt x="31" y="116"/>
                  </a:lnTo>
                  <a:lnTo>
                    <a:pt x="26" y="114"/>
                  </a:lnTo>
                  <a:lnTo>
                    <a:pt x="26" y="111"/>
                  </a:lnTo>
                  <a:lnTo>
                    <a:pt x="24" y="107"/>
                  </a:lnTo>
                  <a:lnTo>
                    <a:pt x="24" y="104"/>
                  </a:lnTo>
                  <a:lnTo>
                    <a:pt x="19" y="90"/>
                  </a:lnTo>
                  <a:lnTo>
                    <a:pt x="19" y="83"/>
                  </a:lnTo>
                  <a:lnTo>
                    <a:pt x="24" y="83"/>
                  </a:lnTo>
                  <a:lnTo>
                    <a:pt x="24" y="81"/>
                  </a:lnTo>
                  <a:lnTo>
                    <a:pt x="19" y="74"/>
                  </a:lnTo>
                  <a:lnTo>
                    <a:pt x="17" y="71"/>
                  </a:lnTo>
                  <a:lnTo>
                    <a:pt x="12" y="59"/>
                  </a:lnTo>
                  <a:lnTo>
                    <a:pt x="10" y="50"/>
                  </a:lnTo>
                  <a:lnTo>
                    <a:pt x="10" y="43"/>
                  </a:lnTo>
                  <a:lnTo>
                    <a:pt x="12" y="43"/>
                  </a:lnTo>
                  <a:lnTo>
                    <a:pt x="17" y="48"/>
                  </a:lnTo>
                  <a:lnTo>
                    <a:pt x="17" y="50"/>
                  </a:lnTo>
                  <a:lnTo>
                    <a:pt x="17" y="43"/>
                  </a:lnTo>
                  <a:lnTo>
                    <a:pt x="12" y="40"/>
                  </a:lnTo>
                  <a:lnTo>
                    <a:pt x="10" y="43"/>
                  </a:lnTo>
                  <a:lnTo>
                    <a:pt x="7" y="36"/>
                  </a:lnTo>
                  <a:lnTo>
                    <a:pt x="3" y="26"/>
                  </a:lnTo>
                  <a:lnTo>
                    <a:pt x="3" y="24"/>
                  </a:lnTo>
                  <a:lnTo>
                    <a:pt x="10" y="24"/>
                  </a:lnTo>
                  <a:lnTo>
                    <a:pt x="12" y="26"/>
                  </a:lnTo>
                  <a:lnTo>
                    <a:pt x="12" y="24"/>
                  </a:lnTo>
                  <a:lnTo>
                    <a:pt x="17" y="24"/>
                  </a:lnTo>
                  <a:lnTo>
                    <a:pt x="12" y="17"/>
                  </a:lnTo>
                  <a:lnTo>
                    <a:pt x="10" y="17"/>
                  </a:lnTo>
                  <a:lnTo>
                    <a:pt x="7" y="12"/>
                  </a:lnTo>
                  <a:lnTo>
                    <a:pt x="0" y="12"/>
                  </a:lnTo>
                  <a:lnTo>
                    <a:pt x="0" y="7"/>
                  </a:lnTo>
                  <a:lnTo>
                    <a:pt x="3" y="0"/>
                  </a:lnTo>
                  <a:lnTo>
                    <a:pt x="7" y="3"/>
                  </a:lnTo>
                  <a:lnTo>
                    <a:pt x="10" y="7"/>
                  </a:lnTo>
                  <a:lnTo>
                    <a:pt x="19" y="10"/>
                  </a:lnTo>
                  <a:lnTo>
                    <a:pt x="31" y="10"/>
                  </a:lnTo>
                  <a:lnTo>
                    <a:pt x="36" y="7"/>
                  </a:lnTo>
                  <a:lnTo>
                    <a:pt x="43" y="10"/>
                  </a:lnTo>
                  <a:lnTo>
                    <a:pt x="43" y="31"/>
                  </a:lnTo>
                  <a:lnTo>
                    <a:pt x="36" y="26"/>
                  </a:lnTo>
                  <a:lnTo>
                    <a:pt x="36" y="24"/>
                  </a:lnTo>
                  <a:lnTo>
                    <a:pt x="33" y="24"/>
                  </a:lnTo>
                  <a:lnTo>
                    <a:pt x="31" y="19"/>
                  </a:lnTo>
                  <a:lnTo>
                    <a:pt x="26" y="24"/>
                  </a:lnTo>
                  <a:lnTo>
                    <a:pt x="26" y="26"/>
                  </a:lnTo>
                  <a:lnTo>
                    <a:pt x="31" y="26"/>
                  </a:lnTo>
                  <a:lnTo>
                    <a:pt x="33" y="24"/>
                  </a:lnTo>
                  <a:lnTo>
                    <a:pt x="33" y="26"/>
                  </a:lnTo>
                  <a:lnTo>
                    <a:pt x="40" y="33"/>
                  </a:lnTo>
                  <a:lnTo>
                    <a:pt x="43" y="33"/>
                  </a:lnTo>
                  <a:lnTo>
                    <a:pt x="40" y="36"/>
                  </a:lnTo>
                  <a:lnTo>
                    <a:pt x="40" y="40"/>
                  </a:lnTo>
                  <a:lnTo>
                    <a:pt x="36" y="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1" name="Freeform 506">
              <a:extLst>
                <a:ext uri="{FF2B5EF4-FFF2-40B4-BE49-F238E27FC236}">
                  <a16:creationId xmlns:a16="http://schemas.microsoft.com/office/drawing/2014/main" id="{0EFA39FD-2861-44F8-9AE9-7ADC6202D1F0}"/>
                </a:ext>
              </a:extLst>
            </p:cNvPr>
            <p:cNvSpPr>
              <a:spLocks/>
            </p:cNvSpPr>
            <p:nvPr/>
          </p:nvSpPr>
          <p:spPr bwMode="gray">
            <a:xfrm rot="47099">
              <a:off x="748953" y="2612315"/>
              <a:ext cx="17812" cy="32805"/>
            </a:xfrm>
            <a:custGeom>
              <a:avLst/>
              <a:gdLst>
                <a:gd name="T0" fmla="*/ 0 w 38"/>
                <a:gd name="T1" fmla="*/ 41 h 69"/>
                <a:gd name="T2" fmla="*/ 0 w 38"/>
                <a:gd name="T3" fmla="*/ 38 h 69"/>
                <a:gd name="T4" fmla="*/ 5 w 38"/>
                <a:gd name="T5" fmla="*/ 38 h 69"/>
                <a:gd name="T6" fmla="*/ 5 w 38"/>
                <a:gd name="T7" fmla="*/ 33 h 69"/>
                <a:gd name="T8" fmla="*/ 5 w 38"/>
                <a:gd name="T9" fmla="*/ 38 h 69"/>
                <a:gd name="T10" fmla="*/ 12 w 38"/>
                <a:gd name="T11" fmla="*/ 33 h 69"/>
                <a:gd name="T12" fmla="*/ 14 w 38"/>
                <a:gd name="T13" fmla="*/ 31 h 69"/>
                <a:gd name="T14" fmla="*/ 21 w 38"/>
                <a:gd name="T15" fmla="*/ 29 h 69"/>
                <a:gd name="T16" fmla="*/ 24 w 38"/>
                <a:gd name="T17" fmla="*/ 29 h 69"/>
                <a:gd name="T18" fmla="*/ 21 w 38"/>
                <a:gd name="T19" fmla="*/ 24 h 69"/>
                <a:gd name="T20" fmla="*/ 21 w 38"/>
                <a:gd name="T21" fmla="*/ 17 h 69"/>
                <a:gd name="T22" fmla="*/ 17 w 38"/>
                <a:gd name="T23" fmla="*/ 15 h 69"/>
                <a:gd name="T24" fmla="*/ 17 w 38"/>
                <a:gd name="T25" fmla="*/ 22 h 69"/>
                <a:gd name="T26" fmla="*/ 21 w 38"/>
                <a:gd name="T27" fmla="*/ 24 h 69"/>
                <a:gd name="T28" fmla="*/ 21 w 38"/>
                <a:gd name="T29" fmla="*/ 29 h 69"/>
                <a:gd name="T30" fmla="*/ 7 w 38"/>
                <a:gd name="T31" fmla="*/ 33 h 69"/>
                <a:gd name="T32" fmla="*/ 5 w 38"/>
                <a:gd name="T33" fmla="*/ 33 h 69"/>
                <a:gd name="T34" fmla="*/ 5 w 38"/>
                <a:gd name="T35" fmla="*/ 22 h 69"/>
                <a:gd name="T36" fmla="*/ 7 w 38"/>
                <a:gd name="T37" fmla="*/ 17 h 69"/>
                <a:gd name="T38" fmla="*/ 12 w 38"/>
                <a:gd name="T39" fmla="*/ 17 h 69"/>
                <a:gd name="T40" fmla="*/ 12 w 38"/>
                <a:gd name="T41" fmla="*/ 22 h 69"/>
                <a:gd name="T42" fmla="*/ 14 w 38"/>
                <a:gd name="T43" fmla="*/ 17 h 69"/>
                <a:gd name="T44" fmla="*/ 14 w 38"/>
                <a:gd name="T45" fmla="*/ 15 h 69"/>
                <a:gd name="T46" fmla="*/ 17 w 38"/>
                <a:gd name="T47" fmla="*/ 7 h 69"/>
                <a:gd name="T48" fmla="*/ 17 w 38"/>
                <a:gd name="T49" fmla="*/ 5 h 69"/>
                <a:gd name="T50" fmla="*/ 21 w 38"/>
                <a:gd name="T51" fmla="*/ 0 h 69"/>
                <a:gd name="T52" fmla="*/ 24 w 38"/>
                <a:gd name="T53" fmla="*/ 0 h 69"/>
                <a:gd name="T54" fmla="*/ 28 w 38"/>
                <a:gd name="T55" fmla="*/ 5 h 69"/>
                <a:gd name="T56" fmla="*/ 28 w 38"/>
                <a:gd name="T57" fmla="*/ 7 h 69"/>
                <a:gd name="T58" fmla="*/ 31 w 38"/>
                <a:gd name="T59" fmla="*/ 7 h 69"/>
                <a:gd name="T60" fmla="*/ 31 w 38"/>
                <a:gd name="T61" fmla="*/ 15 h 69"/>
                <a:gd name="T62" fmla="*/ 33 w 38"/>
                <a:gd name="T63" fmla="*/ 17 h 69"/>
                <a:gd name="T64" fmla="*/ 33 w 38"/>
                <a:gd name="T65" fmla="*/ 22 h 69"/>
                <a:gd name="T66" fmla="*/ 38 w 38"/>
                <a:gd name="T67" fmla="*/ 22 h 69"/>
                <a:gd name="T68" fmla="*/ 38 w 38"/>
                <a:gd name="T69" fmla="*/ 33 h 69"/>
                <a:gd name="T70" fmla="*/ 33 w 38"/>
                <a:gd name="T71" fmla="*/ 41 h 69"/>
                <a:gd name="T72" fmla="*/ 33 w 38"/>
                <a:gd name="T73" fmla="*/ 48 h 69"/>
                <a:gd name="T74" fmla="*/ 24 w 38"/>
                <a:gd name="T75" fmla="*/ 62 h 69"/>
                <a:gd name="T76" fmla="*/ 21 w 38"/>
                <a:gd name="T77" fmla="*/ 64 h 69"/>
                <a:gd name="T78" fmla="*/ 24 w 38"/>
                <a:gd name="T79" fmla="*/ 64 h 69"/>
                <a:gd name="T80" fmla="*/ 21 w 38"/>
                <a:gd name="T81" fmla="*/ 69 h 69"/>
                <a:gd name="T82" fmla="*/ 12 w 38"/>
                <a:gd name="T83" fmla="*/ 69 h 69"/>
                <a:gd name="T84" fmla="*/ 17 w 38"/>
                <a:gd name="T85" fmla="*/ 55 h 69"/>
                <a:gd name="T86" fmla="*/ 24 w 38"/>
                <a:gd name="T87" fmla="*/ 45 h 69"/>
                <a:gd name="T88" fmla="*/ 28 w 38"/>
                <a:gd name="T89" fmla="*/ 45 h 69"/>
                <a:gd name="T90" fmla="*/ 28 w 38"/>
                <a:gd name="T91" fmla="*/ 41 h 69"/>
                <a:gd name="T92" fmla="*/ 31 w 38"/>
                <a:gd name="T93" fmla="*/ 38 h 69"/>
                <a:gd name="T94" fmla="*/ 28 w 38"/>
                <a:gd name="T95" fmla="*/ 38 h 69"/>
                <a:gd name="T96" fmla="*/ 21 w 38"/>
                <a:gd name="T97" fmla="*/ 48 h 69"/>
                <a:gd name="T98" fmla="*/ 17 w 38"/>
                <a:gd name="T99" fmla="*/ 48 h 69"/>
                <a:gd name="T100" fmla="*/ 14 w 38"/>
                <a:gd name="T101" fmla="*/ 55 h 69"/>
                <a:gd name="T102" fmla="*/ 14 w 38"/>
                <a:gd name="T103" fmla="*/ 62 h 69"/>
                <a:gd name="T104" fmla="*/ 12 w 38"/>
                <a:gd name="T105" fmla="*/ 62 h 69"/>
                <a:gd name="T106" fmla="*/ 5 w 38"/>
                <a:gd name="T107" fmla="*/ 55 h 69"/>
                <a:gd name="T108" fmla="*/ 0 w 38"/>
                <a:gd name="T109" fmla="*/ 52 h 69"/>
                <a:gd name="T110" fmla="*/ 0 w 38"/>
                <a:gd name="T111" fmla="*/ 41 h 6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
                <a:gd name="T169" fmla="*/ 0 h 69"/>
                <a:gd name="T170" fmla="*/ 38 w 38"/>
                <a:gd name="T171" fmla="*/ 69 h 6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 h="69">
                  <a:moveTo>
                    <a:pt x="0" y="41"/>
                  </a:moveTo>
                  <a:lnTo>
                    <a:pt x="0" y="38"/>
                  </a:lnTo>
                  <a:lnTo>
                    <a:pt x="5" y="38"/>
                  </a:lnTo>
                  <a:lnTo>
                    <a:pt x="5" y="33"/>
                  </a:lnTo>
                  <a:lnTo>
                    <a:pt x="5" y="38"/>
                  </a:lnTo>
                  <a:lnTo>
                    <a:pt x="12" y="33"/>
                  </a:lnTo>
                  <a:lnTo>
                    <a:pt x="14" y="31"/>
                  </a:lnTo>
                  <a:lnTo>
                    <a:pt x="21" y="29"/>
                  </a:lnTo>
                  <a:lnTo>
                    <a:pt x="24" y="29"/>
                  </a:lnTo>
                  <a:lnTo>
                    <a:pt x="21" y="24"/>
                  </a:lnTo>
                  <a:lnTo>
                    <a:pt x="21" y="17"/>
                  </a:lnTo>
                  <a:lnTo>
                    <a:pt x="17" y="15"/>
                  </a:lnTo>
                  <a:lnTo>
                    <a:pt x="17" y="22"/>
                  </a:lnTo>
                  <a:lnTo>
                    <a:pt x="21" y="24"/>
                  </a:lnTo>
                  <a:lnTo>
                    <a:pt x="21" y="29"/>
                  </a:lnTo>
                  <a:lnTo>
                    <a:pt x="7" y="33"/>
                  </a:lnTo>
                  <a:lnTo>
                    <a:pt x="5" y="33"/>
                  </a:lnTo>
                  <a:lnTo>
                    <a:pt x="5" y="22"/>
                  </a:lnTo>
                  <a:lnTo>
                    <a:pt x="7" y="17"/>
                  </a:lnTo>
                  <a:lnTo>
                    <a:pt x="12" y="17"/>
                  </a:lnTo>
                  <a:lnTo>
                    <a:pt x="12" y="22"/>
                  </a:lnTo>
                  <a:lnTo>
                    <a:pt x="14" y="17"/>
                  </a:lnTo>
                  <a:lnTo>
                    <a:pt x="14" y="15"/>
                  </a:lnTo>
                  <a:lnTo>
                    <a:pt x="17" y="7"/>
                  </a:lnTo>
                  <a:lnTo>
                    <a:pt x="17" y="5"/>
                  </a:lnTo>
                  <a:lnTo>
                    <a:pt x="21" y="0"/>
                  </a:lnTo>
                  <a:lnTo>
                    <a:pt x="24" y="0"/>
                  </a:lnTo>
                  <a:lnTo>
                    <a:pt x="28" y="5"/>
                  </a:lnTo>
                  <a:lnTo>
                    <a:pt x="28" y="7"/>
                  </a:lnTo>
                  <a:lnTo>
                    <a:pt x="31" y="7"/>
                  </a:lnTo>
                  <a:lnTo>
                    <a:pt x="31" y="15"/>
                  </a:lnTo>
                  <a:lnTo>
                    <a:pt x="33" y="17"/>
                  </a:lnTo>
                  <a:lnTo>
                    <a:pt x="33" y="22"/>
                  </a:lnTo>
                  <a:lnTo>
                    <a:pt x="38" y="22"/>
                  </a:lnTo>
                  <a:lnTo>
                    <a:pt x="38" y="33"/>
                  </a:lnTo>
                  <a:lnTo>
                    <a:pt x="33" y="41"/>
                  </a:lnTo>
                  <a:lnTo>
                    <a:pt x="33" y="48"/>
                  </a:lnTo>
                  <a:lnTo>
                    <a:pt x="24" y="62"/>
                  </a:lnTo>
                  <a:lnTo>
                    <a:pt x="21" y="64"/>
                  </a:lnTo>
                  <a:lnTo>
                    <a:pt x="24" y="64"/>
                  </a:lnTo>
                  <a:lnTo>
                    <a:pt x="21" y="69"/>
                  </a:lnTo>
                  <a:lnTo>
                    <a:pt x="12" y="69"/>
                  </a:lnTo>
                  <a:lnTo>
                    <a:pt x="17" y="55"/>
                  </a:lnTo>
                  <a:lnTo>
                    <a:pt x="24" y="45"/>
                  </a:lnTo>
                  <a:lnTo>
                    <a:pt x="28" y="45"/>
                  </a:lnTo>
                  <a:lnTo>
                    <a:pt x="28" y="41"/>
                  </a:lnTo>
                  <a:lnTo>
                    <a:pt x="31" y="38"/>
                  </a:lnTo>
                  <a:lnTo>
                    <a:pt x="28" y="38"/>
                  </a:lnTo>
                  <a:lnTo>
                    <a:pt x="21" y="48"/>
                  </a:lnTo>
                  <a:lnTo>
                    <a:pt x="17" y="48"/>
                  </a:lnTo>
                  <a:lnTo>
                    <a:pt x="14" y="55"/>
                  </a:lnTo>
                  <a:lnTo>
                    <a:pt x="14" y="62"/>
                  </a:lnTo>
                  <a:lnTo>
                    <a:pt x="12" y="62"/>
                  </a:lnTo>
                  <a:lnTo>
                    <a:pt x="5" y="55"/>
                  </a:lnTo>
                  <a:lnTo>
                    <a:pt x="0" y="52"/>
                  </a:lnTo>
                  <a:lnTo>
                    <a:pt x="0" y="4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2" name="Freeform 507">
              <a:extLst>
                <a:ext uri="{FF2B5EF4-FFF2-40B4-BE49-F238E27FC236}">
                  <a16:creationId xmlns:a16="http://schemas.microsoft.com/office/drawing/2014/main" id="{ACB544CB-BA26-40C0-8111-4C249E66AE2A}"/>
                </a:ext>
              </a:extLst>
            </p:cNvPr>
            <p:cNvSpPr>
              <a:spLocks/>
            </p:cNvSpPr>
            <p:nvPr/>
          </p:nvSpPr>
          <p:spPr bwMode="gray">
            <a:xfrm rot="47099">
              <a:off x="749138" y="2609343"/>
              <a:ext cx="6235" cy="11578"/>
            </a:xfrm>
            <a:custGeom>
              <a:avLst/>
              <a:gdLst>
                <a:gd name="T0" fmla="*/ 14 w 14"/>
                <a:gd name="T1" fmla="*/ 5 h 24"/>
                <a:gd name="T2" fmla="*/ 14 w 14"/>
                <a:gd name="T3" fmla="*/ 14 h 24"/>
                <a:gd name="T4" fmla="*/ 12 w 14"/>
                <a:gd name="T5" fmla="*/ 22 h 24"/>
                <a:gd name="T6" fmla="*/ 12 w 14"/>
                <a:gd name="T7" fmla="*/ 24 h 24"/>
                <a:gd name="T8" fmla="*/ 5 w 14"/>
                <a:gd name="T9" fmla="*/ 22 h 24"/>
                <a:gd name="T10" fmla="*/ 0 w 14"/>
                <a:gd name="T11" fmla="*/ 19 h 24"/>
                <a:gd name="T12" fmla="*/ 0 w 14"/>
                <a:gd name="T13" fmla="*/ 14 h 24"/>
                <a:gd name="T14" fmla="*/ 5 w 14"/>
                <a:gd name="T15" fmla="*/ 12 h 24"/>
                <a:gd name="T16" fmla="*/ 12 w 14"/>
                <a:gd name="T17" fmla="*/ 0 h 24"/>
                <a:gd name="T18" fmla="*/ 14 w 14"/>
                <a:gd name="T19" fmla="*/ 0 h 24"/>
                <a:gd name="T20" fmla="*/ 14 w 14"/>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4"/>
                <a:gd name="T35" fmla="*/ 14 w 14"/>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4">
                  <a:moveTo>
                    <a:pt x="14" y="5"/>
                  </a:moveTo>
                  <a:lnTo>
                    <a:pt x="14" y="14"/>
                  </a:lnTo>
                  <a:lnTo>
                    <a:pt x="12" y="22"/>
                  </a:lnTo>
                  <a:lnTo>
                    <a:pt x="12" y="24"/>
                  </a:lnTo>
                  <a:lnTo>
                    <a:pt x="5" y="22"/>
                  </a:lnTo>
                  <a:lnTo>
                    <a:pt x="0" y="19"/>
                  </a:lnTo>
                  <a:lnTo>
                    <a:pt x="0" y="14"/>
                  </a:lnTo>
                  <a:lnTo>
                    <a:pt x="5" y="12"/>
                  </a:lnTo>
                  <a:lnTo>
                    <a:pt x="12" y="0"/>
                  </a:lnTo>
                  <a:lnTo>
                    <a:pt x="14" y="0"/>
                  </a:lnTo>
                  <a:lnTo>
                    <a:pt x="14"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3" name="Freeform 508">
              <a:extLst>
                <a:ext uri="{FF2B5EF4-FFF2-40B4-BE49-F238E27FC236}">
                  <a16:creationId xmlns:a16="http://schemas.microsoft.com/office/drawing/2014/main" id="{E5090BA5-CE39-4CEC-99EA-28D4122422E6}"/>
                </a:ext>
              </a:extLst>
            </p:cNvPr>
            <p:cNvSpPr>
              <a:spLocks/>
            </p:cNvSpPr>
            <p:nvPr/>
          </p:nvSpPr>
          <p:spPr bwMode="gray">
            <a:xfrm rot="47099">
              <a:off x="757245" y="2604636"/>
              <a:ext cx="7125" cy="7718"/>
            </a:xfrm>
            <a:custGeom>
              <a:avLst/>
              <a:gdLst>
                <a:gd name="T0" fmla="*/ 14 w 16"/>
                <a:gd name="T1" fmla="*/ 3 h 19"/>
                <a:gd name="T2" fmla="*/ 14 w 16"/>
                <a:gd name="T3" fmla="*/ 17 h 19"/>
                <a:gd name="T4" fmla="*/ 11 w 16"/>
                <a:gd name="T5" fmla="*/ 19 h 19"/>
                <a:gd name="T6" fmla="*/ 0 w 16"/>
                <a:gd name="T7" fmla="*/ 17 h 19"/>
                <a:gd name="T8" fmla="*/ 0 w 16"/>
                <a:gd name="T9" fmla="*/ 12 h 19"/>
                <a:gd name="T10" fmla="*/ 4 w 16"/>
                <a:gd name="T11" fmla="*/ 12 h 19"/>
                <a:gd name="T12" fmla="*/ 11 w 16"/>
                <a:gd name="T13" fmla="*/ 8 h 19"/>
                <a:gd name="T14" fmla="*/ 11 w 16"/>
                <a:gd name="T15" fmla="*/ 3 h 19"/>
                <a:gd name="T16" fmla="*/ 14 w 16"/>
                <a:gd name="T17" fmla="*/ 3 h 19"/>
                <a:gd name="T18" fmla="*/ 14 w 16"/>
                <a:gd name="T19" fmla="*/ 0 h 19"/>
                <a:gd name="T20" fmla="*/ 16 w 16"/>
                <a:gd name="T21" fmla="*/ 3 h 19"/>
                <a:gd name="T22" fmla="*/ 14 w 16"/>
                <a:gd name="T23" fmla="*/ 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9"/>
                <a:gd name="T38" fmla="*/ 16 w 16"/>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9">
                  <a:moveTo>
                    <a:pt x="14" y="3"/>
                  </a:moveTo>
                  <a:lnTo>
                    <a:pt x="14" y="17"/>
                  </a:lnTo>
                  <a:lnTo>
                    <a:pt x="11" y="19"/>
                  </a:lnTo>
                  <a:lnTo>
                    <a:pt x="0" y="17"/>
                  </a:lnTo>
                  <a:lnTo>
                    <a:pt x="0" y="12"/>
                  </a:lnTo>
                  <a:lnTo>
                    <a:pt x="4" y="12"/>
                  </a:lnTo>
                  <a:lnTo>
                    <a:pt x="11" y="8"/>
                  </a:lnTo>
                  <a:lnTo>
                    <a:pt x="11" y="3"/>
                  </a:lnTo>
                  <a:lnTo>
                    <a:pt x="14" y="3"/>
                  </a:lnTo>
                  <a:lnTo>
                    <a:pt x="14" y="0"/>
                  </a:lnTo>
                  <a:lnTo>
                    <a:pt x="16" y="3"/>
                  </a:lnTo>
                  <a:lnTo>
                    <a:pt x="14" y="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4" name="Freeform 509">
              <a:extLst>
                <a:ext uri="{FF2B5EF4-FFF2-40B4-BE49-F238E27FC236}">
                  <a16:creationId xmlns:a16="http://schemas.microsoft.com/office/drawing/2014/main" id="{8C4134BB-DC70-4702-AF9D-665A81002EAD}"/>
                </a:ext>
              </a:extLst>
            </p:cNvPr>
            <p:cNvSpPr>
              <a:spLocks/>
            </p:cNvSpPr>
            <p:nvPr/>
          </p:nvSpPr>
          <p:spPr bwMode="gray">
            <a:xfrm rot="47099">
              <a:off x="729771" y="2585962"/>
              <a:ext cx="12468" cy="25085"/>
            </a:xfrm>
            <a:custGeom>
              <a:avLst/>
              <a:gdLst>
                <a:gd name="T0" fmla="*/ 9 w 26"/>
                <a:gd name="T1" fmla="*/ 4 h 54"/>
                <a:gd name="T2" fmla="*/ 14 w 26"/>
                <a:gd name="T3" fmla="*/ 9 h 54"/>
                <a:gd name="T4" fmla="*/ 16 w 26"/>
                <a:gd name="T5" fmla="*/ 14 h 54"/>
                <a:gd name="T6" fmla="*/ 18 w 26"/>
                <a:gd name="T7" fmla="*/ 16 h 54"/>
                <a:gd name="T8" fmla="*/ 23 w 26"/>
                <a:gd name="T9" fmla="*/ 28 h 54"/>
                <a:gd name="T10" fmla="*/ 26 w 26"/>
                <a:gd name="T11" fmla="*/ 28 h 54"/>
                <a:gd name="T12" fmla="*/ 26 w 26"/>
                <a:gd name="T13" fmla="*/ 54 h 54"/>
                <a:gd name="T14" fmla="*/ 16 w 26"/>
                <a:gd name="T15" fmla="*/ 54 h 54"/>
                <a:gd name="T16" fmla="*/ 16 w 26"/>
                <a:gd name="T17" fmla="*/ 49 h 54"/>
                <a:gd name="T18" fmla="*/ 14 w 26"/>
                <a:gd name="T19" fmla="*/ 37 h 54"/>
                <a:gd name="T20" fmla="*/ 14 w 26"/>
                <a:gd name="T21" fmla="*/ 30 h 54"/>
                <a:gd name="T22" fmla="*/ 9 w 26"/>
                <a:gd name="T23" fmla="*/ 28 h 54"/>
                <a:gd name="T24" fmla="*/ 7 w 26"/>
                <a:gd name="T25" fmla="*/ 28 h 54"/>
                <a:gd name="T26" fmla="*/ 7 w 26"/>
                <a:gd name="T27" fmla="*/ 23 h 54"/>
                <a:gd name="T28" fmla="*/ 2 w 26"/>
                <a:gd name="T29" fmla="*/ 16 h 54"/>
                <a:gd name="T30" fmla="*/ 0 w 26"/>
                <a:gd name="T31" fmla="*/ 7 h 54"/>
                <a:gd name="T32" fmla="*/ 2 w 26"/>
                <a:gd name="T33" fmla="*/ 7 h 54"/>
                <a:gd name="T34" fmla="*/ 2 w 26"/>
                <a:gd name="T35" fmla="*/ 0 h 54"/>
                <a:gd name="T36" fmla="*/ 7 w 26"/>
                <a:gd name="T37" fmla="*/ 0 h 54"/>
                <a:gd name="T38" fmla="*/ 9 w 26"/>
                <a:gd name="T39" fmla="*/ 4 h 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54"/>
                <a:gd name="T62" fmla="*/ 26 w 26"/>
                <a:gd name="T63" fmla="*/ 54 h 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54">
                  <a:moveTo>
                    <a:pt x="9" y="4"/>
                  </a:moveTo>
                  <a:lnTo>
                    <a:pt x="14" y="9"/>
                  </a:lnTo>
                  <a:lnTo>
                    <a:pt x="16" y="14"/>
                  </a:lnTo>
                  <a:lnTo>
                    <a:pt x="18" y="16"/>
                  </a:lnTo>
                  <a:lnTo>
                    <a:pt x="23" y="28"/>
                  </a:lnTo>
                  <a:lnTo>
                    <a:pt x="26" y="28"/>
                  </a:lnTo>
                  <a:lnTo>
                    <a:pt x="26" y="54"/>
                  </a:lnTo>
                  <a:lnTo>
                    <a:pt x="16" y="54"/>
                  </a:lnTo>
                  <a:lnTo>
                    <a:pt x="16" y="49"/>
                  </a:lnTo>
                  <a:lnTo>
                    <a:pt x="14" y="37"/>
                  </a:lnTo>
                  <a:lnTo>
                    <a:pt x="14" y="30"/>
                  </a:lnTo>
                  <a:lnTo>
                    <a:pt x="9" y="28"/>
                  </a:lnTo>
                  <a:lnTo>
                    <a:pt x="7" y="28"/>
                  </a:lnTo>
                  <a:lnTo>
                    <a:pt x="7" y="23"/>
                  </a:lnTo>
                  <a:lnTo>
                    <a:pt x="2" y="16"/>
                  </a:lnTo>
                  <a:lnTo>
                    <a:pt x="0" y="7"/>
                  </a:lnTo>
                  <a:lnTo>
                    <a:pt x="2" y="7"/>
                  </a:lnTo>
                  <a:lnTo>
                    <a:pt x="2" y="0"/>
                  </a:lnTo>
                  <a:lnTo>
                    <a:pt x="7" y="0"/>
                  </a:lnTo>
                  <a:lnTo>
                    <a:pt x="9"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5" name="Freeform 510">
              <a:extLst>
                <a:ext uri="{FF2B5EF4-FFF2-40B4-BE49-F238E27FC236}">
                  <a16:creationId xmlns:a16="http://schemas.microsoft.com/office/drawing/2014/main" id="{76DC80DE-6ECD-4E1E-8EE4-B7CA91A7AC85}"/>
                </a:ext>
              </a:extLst>
            </p:cNvPr>
            <p:cNvSpPr>
              <a:spLocks/>
            </p:cNvSpPr>
            <p:nvPr/>
          </p:nvSpPr>
          <p:spPr bwMode="gray">
            <a:xfrm rot="47099">
              <a:off x="759086" y="2599866"/>
              <a:ext cx="11578" cy="8683"/>
            </a:xfrm>
            <a:custGeom>
              <a:avLst/>
              <a:gdLst>
                <a:gd name="T0" fmla="*/ 24 w 26"/>
                <a:gd name="T1" fmla="*/ 2 h 19"/>
                <a:gd name="T2" fmla="*/ 12 w 26"/>
                <a:gd name="T3" fmla="*/ 5 h 19"/>
                <a:gd name="T4" fmla="*/ 12 w 26"/>
                <a:gd name="T5" fmla="*/ 9 h 19"/>
                <a:gd name="T6" fmla="*/ 7 w 26"/>
                <a:gd name="T7" fmla="*/ 12 h 19"/>
                <a:gd name="T8" fmla="*/ 3 w 26"/>
                <a:gd name="T9" fmla="*/ 17 h 19"/>
                <a:gd name="T10" fmla="*/ 0 w 26"/>
                <a:gd name="T11" fmla="*/ 19 h 19"/>
                <a:gd name="T12" fmla="*/ 7 w 26"/>
                <a:gd name="T13" fmla="*/ 2 h 19"/>
                <a:gd name="T14" fmla="*/ 7 w 26"/>
                <a:gd name="T15" fmla="*/ 0 h 19"/>
                <a:gd name="T16" fmla="*/ 26 w 26"/>
                <a:gd name="T17" fmla="*/ 0 h 19"/>
                <a:gd name="T18" fmla="*/ 24 w 26"/>
                <a:gd name="T19" fmla="*/ 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19"/>
                <a:gd name="T32" fmla="*/ 26 w 26"/>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19">
                  <a:moveTo>
                    <a:pt x="24" y="2"/>
                  </a:moveTo>
                  <a:lnTo>
                    <a:pt x="12" y="5"/>
                  </a:lnTo>
                  <a:lnTo>
                    <a:pt x="12" y="9"/>
                  </a:lnTo>
                  <a:lnTo>
                    <a:pt x="7" y="12"/>
                  </a:lnTo>
                  <a:lnTo>
                    <a:pt x="3" y="17"/>
                  </a:lnTo>
                  <a:lnTo>
                    <a:pt x="0" y="19"/>
                  </a:lnTo>
                  <a:lnTo>
                    <a:pt x="7" y="2"/>
                  </a:lnTo>
                  <a:lnTo>
                    <a:pt x="7" y="0"/>
                  </a:lnTo>
                  <a:lnTo>
                    <a:pt x="26" y="0"/>
                  </a:lnTo>
                  <a:lnTo>
                    <a:pt x="2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6" name="Freeform 511">
              <a:extLst>
                <a:ext uri="{FF2B5EF4-FFF2-40B4-BE49-F238E27FC236}">
                  <a16:creationId xmlns:a16="http://schemas.microsoft.com/office/drawing/2014/main" id="{782B31A2-DF84-4BF5-BDCF-4FED39DC5313}"/>
                </a:ext>
              </a:extLst>
            </p:cNvPr>
            <p:cNvSpPr>
              <a:spLocks/>
            </p:cNvSpPr>
            <p:nvPr/>
          </p:nvSpPr>
          <p:spPr bwMode="gray">
            <a:xfrm rot="47099">
              <a:off x="737041" y="2582154"/>
              <a:ext cx="5343" cy="11578"/>
            </a:xfrm>
            <a:custGeom>
              <a:avLst/>
              <a:gdLst>
                <a:gd name="T0" fmla="*/ 9 w 12"/>
                <a:gd name="T1" fmla="*/ 0 h 24"/>
                <a:gd name="T2" fmla="*/ 9 w 12"/>
                <a:gd name="T3" fmla="*/ 3 h 24"/>
                <a:gd name="T4" fmla="*/ 12 w 12"/>
                <a:gd name="T5" fmla="*/ 14 h 24"/>
                <a:gd name="T6" fmla="*/ 9 w 12"/>
                <a:gd name="T7" fmla="*/ 24 h 24"/>
                <a:gd name="T8" fmla="*/ 4 w 12"/>
                <a:gd name="T9" fmla="*/ 24 h 24"/>
                <a:gd name="T10" fmla="*/ 0 w 12"/>
                <a:gd name="T11" fmla="*/ 17 h 24"/>
                <a:gd name="T12" fmla="*/ 0 w 12"/>
                <a:gd name="T13" fmla="*/ 7 h 24"/>
                <a:gd name="T14" fmla="*/ 4 w 12"/>
                <a:gd name="T15" fmla="*/ 0 h 24"/>
                <a:gd name="T16" fmla="*/ 9 w 12"/>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24"/>
                <a:gd name="T29" fmla="*/ 12 w 12"/>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24">
                  <a:moveTo>
                    <a:pt x="9" y="0"/>
                  </a:moveTo>
                  <a:lnTo>
                    <a:pt x="9" y="3"/>
                  </a:lnTo>
                  <a:lnTo>
                    <a:pt x="12" y="14"/>
                  </a:lnTo>
                  <a:lnTo>
                    <a:pt x="9" y="24"/>
                  </a:lnTo>
                  <a:lnTo>
                    <a:pt x="4" y="24"/>
                  </a:lnTo>
                  <a:lnTo>
                    <a:pt x="0" y="17"/>
                  </a:lnTo>
                  <a:lnTo>
                    <a:pt x="0" y="7"/>
                  </a:lnTo>
                  <a:lnTo>
                    <a:pt x="4" y="0"/>
                  </a:lnTo>
                  <a:lnTo>
                    <a:pt x="9"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7" name="Freeform 512">
              <a:extLst>
                <a:ext uri="{FF2B5EF4-FFF2-40B4-BE49-F238E27FC236}">
                  <a16:creationId xmlns:a16="http://schemas.microsoft.com/office/drawing/2014/main" id="{B927EFC0-1B5F-44A2-ABC6-4EAD3C682FC7}"/>
                </a:ext>
              </a:extLst>
            </p:cNvPr>
            <p:cNvSpPr>
              <a:spLocks/>
            </p:cNvSpPr>
            <p:nvPr/>
          </p:nvSpPr>
          <p:spPr bwMode="gray">
            <a:xfrm rot="47099">
              <a:off x="740498" y="2579356"/>
              <a:ext cx="12468" cy="32805"/>
            </a:xfrm>
            <a:custGeom>
              <a:avLst/>
              <a:gdLst>
                <a:gd name="T0" fmla="*/ 10 w 26"/>
                <a:gd name="T1" fmla="*/ 64 h 73"/>
                <a:gd name="T2" fmla="*/ 10 w 26"/>
                <a:gd name="T3" fmla="*/ 57 h 73"/>
                <a:gd name="T4" fmla="*/ 7 w 26"/>
                <a:gd name="T5" fmla="*/ 54 h 73"/>
                <a:gd name="T6" fmla="*/ 7 w 26"/>
                <a:gd name="T7" fmla="*/ 40 h 73"/>
                <a:gd name="T8" fmla="*/ 10 w 26"/>
                <a:gd name="T9" fmla="*/ 40 h 73"/>
                <a:gd name="T10" fmla="*/ 10 w 26"/>
                <a:gd name="T11" fmla="*/ 31 h 73"/>
                <a:gd name="T12" fmla="*/ 7 w 26"/>
                <a:gd name="T13" fmla="*/ 31 h 73"/>
                <a:gd name="T14" fmla="*/ 3 w 26"/>
                <a:gd name="T15" fmla="*/ 33 h 73"/>
                <a:gd name="T16" fmla="*/ 3 w 26"/>
                <a:gd name="T17" fmla="*/ 26 h 73"/>
                <a:gd name="T18" fmla="*/ 10 w 26"/>
                <a:gd name="T19" fmla="*/ 26 h 73"/>
                <a:gd name="T20" fmla="*/ 7 w 26"/>
                <a:gd name="T21" fmla="*/ 26 h 73"/>
                <a:gd name="T22" fmla="*/ 3 w 26"/>
                <a:gd name="T23" fmla="*/ 24 h 73"/>
                <a:gd name="T24" fmla="*/ 3 w 26"/>
                <a:gd name="T25" fmla="*/ 17 h 73"/>
                <a:gd name="T26" fmla="*/ 0 w 26"/>
                <a:gd name="T27" fmla="*/ 5 h 73"/>
                <a:gd name="T28" fmla="*/ 3 w 26"/>
                <a:gd name="T29" fmla="*/ 0 h 73"/>
                <a:gd name="T30" fmla="*/ 7 w 26"/>
                <a:gd name="T31" fmla="*/ 0 h 73"/>
                <a:gd name="T32" fmla="*/ 10 w 26"/>
                <a:gd name="T33" fmla="*/ 5 h 73"/>
                <a:gd name="T34" fmla="*/ 12 w 26"/>
                <a:gd name="T35" fmla="*/ 14 h 73"/>
                <a:gd name="T36" fmla="*/ 17 w 26"/>
                <a:gd name="T37" fmla="*/ 24 h 73"/>
                <a:gd name="T38" fmla="*/ 24 w 26"/>
                <a:gd name="T39" fmla="*/ 45 h 73"/>
                <a:gd name="T40" fmla="*/ 24 w 26"/>
                <a:gd name="T41" fmla="*/ 50 h 73"/>
                <a:gd name="T42" fmla="*/ 26 w 26"/>
                <a:gd name="T43" fmla="*/ 57 h 73"/>
                <a:gd name="T44" fmla="*/ 24 w 26"/>
                <a:gd name="T45" fmla="*/ 62 h 73"/>
                <a:gd name="T46" fmla="*/ 19 w 26"/>
                <a:gd name="T47" fmla="*/ 66 h 73"/>
                <a:gd name="T48" fmla="*/ 17 w 26"/>
                <a:gd name="T49" fmla="*/ 71 h 73"/>
                <a:gd name="T50" fmla="*/ 17 w 26"/>
                <a:gd name="T51" fmla="*/ 73 h 73"/>
                <a:gd name="T52" fmla="*/ 12 w 26"/>
                <a:gd name="T53" fmla="*/ 71 h 73"/>
                <a:gd name="T54" fmla="*/ 10 w 26"/>
                <a:gd name="T55" fmla="*/ 64 h 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
                <a:gd name="T85" fmla="*/ 0 h 73"/>
                <a:gd name="T86" fmla="*/ 26 w 26"/>
                <a:gd name="T87" fmla="*/ 73 h 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 h="73">
                  <a:moveTo>
                    <a:pt x="10" y="64"/>
                  </a:moveTo>
                  <a:lnTo>
                    <a:pt x="10" y="57"/>
                  </a:lnTo>
                  <a:lnTo>
                    <a:pt x="7" y="54"/>
                  </a:lnTo>
                  <a:lnTo>
                    <a:pt x="7" y="40"/>
                  </a:lnTo>
                  <a:lnTo>
                    <a:pt x="10" y="40"/>
                  </a:lnTo>
                  <a:lnTo>
                    <a:pt x="10" y="31"/>
                  </a:lnTo>
                  <a:lnTo>
                    <a:pt x="7" y="31"/>
                  </a:lnTo>
                  <a:lnTo>
                    <a:pt x="3" y="33"/>
                  </a:lnTo>
                  <a:lnTo>
                    <a:pt x="3" y="26"/>
                  </a:lnTo>
                  <a:lnTo>
                    <a:pt x="10" y="26"/>
                  </a:lnTo>
                  <a:lnTo>
                    <a:pt x="7" y="26"/>
                  </a:lnTo>
                  <a:lnTo>
                    <a:pt x="3" y="24"/>
                  </a:lnTo>
                  <a:lnTo>
                    <a:pt x="3" y="17"/>
                  </a:lnTo>
                  <a:lnTo>
                    <a:pt x="0" y="5"/>
                  </a:lnTo>
                  <a:lnTo>
                    <a:pt x="3" y="0"/>
                  </a:lnTo>
                  <a:lnTo>
                    <a:pt x="7" y="0"/>
                  </a:lnTo>
                  <a:lnTo>
                    <a:pt x="10" y="5"/>
                  </a:lnTo>
                  <a:lnTo>
                    <a:pt x="12" y="14"/>
                  </a:lnTo>
                  <a:lnTo>
                    <a:pt x="17" y="24"/>
                  </a:lnTo>
                  <a:lnTo>
                    <a:pt x="24" y="45"/>
                  </a:lnTo>
                  <a:lnTo>
                    <a:pt x="24" y="50"/>
                  </a:lnTo>
                  <a:lnTo>
                    <a:pt x="26" y="57"/>
                  </a:lnTo>
                  <a:lnTo>
                    <a:pt x="24" y="62"/>
                  </a:lnTo>
                  <a:lnTo>
                    <a:pt x="19" y="66"/>
                  </a:lnTo>
                  <a:lnTo>
                    <a:pt x="17" y="71"/>
                  </a:lnTo>
                  <a:lnTo>
                    <a:pt x="17" y="73"/>
                  </a:lnTo>
                  <a:lnTo>
                    <a:pt x="12" y="71"/>
                  </a:lnTo>
                  <a:lnTo>
                    <a:pt x="10" y="6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8" name="Freeform 513">
              <a:extLst>
                <a:ext uri="{FF2B5EF4-FFF2-40B4-BE49-F238E27FC236}">
                  <a16:creationId xmlns:a16="http://schemas.microsoft.com/office/drawing/2014/main" id="{A848138B-DAF9-4A9E-AEBE-DA518902D7F1}"/>
                </a:ext>
              </a:extLst>
            </p:cNvPr>
            <p:cNvSpPr>
              <a:spLocks/>
            </p:cNvSpPr>
            <p:nvPr/>
          </p:nvSpPr>
          <p:spPr bwMode="gray">
            <a:xfrm rot="47099">
              <a:off x="730978" y="2569581"/>
              <a:ext cx="13360" cy="11578"/>
            </a:xfrm>
            <a:custGeom>
              <a:avLst/>
              <a:gdLst>
                <a:gd name="T0" fmla="*/ 28 w 28"/>
                <a:gd name="T1" fmla="*/ 7 h 24"/>
                <a:gd name="T2" fmla="*/ 28 w 28"/>
                <a:gd name="T3" fmla="*/ 17 h 24"/>
                <a:gd name="T4" fmla="*/ 16 w 28"/>
                <a:gd name="T5" fmla="*/ 24 h 24"/>
                <a:gd name="T6" fmla="*/ 14 w 28"/>
                <a:gd name="T7" fmla="*/ 19 h 24"/>
                <a:gd name="T8" fmla="*/ 14 w 28"/>
                <a:gd name="T9" fmla="*/ 17 h 24"/>
                <a:gd name="T10" fmla="*/ 21 w 28"/>
                <a:gd name="T11" fmla="*/ 12 h 24"/>
                <a:gd name="T12" fmla="*/ 21 w 28"/>
                <a:gd name="T13" fmla="*/ 10 h 24"/>
                <a:gd name="T14" fmla="*/ 21 w 28"/>
                <a:gd name="T15" fmla="*/ 12 h 24"/>
                <a:gd name="T16" fmla="*/ 24 w 28"/>
                <a:gd name="T17" fmla="*/ 12 h 24"/>
                <a:gd name="T18" fmla="*/ 24 w 28"/>
                <a:gd name="T19" fmla="*/ 10 h 24"/>
                <a:gd name="T20" fmla="*/ 16 w 28"/>
                <a:gd name="T21" fmla="*/ 10 h 24"/>
                <a:gd name="T22" fmla="*/ 16 w 28"/>
                <a:gd name="T23" fmla="*/ 12 h 24"/>
                <a:gd name="T24" fmla="*/ 12 w 28"/>
                <a:gd name="T25" fmla="*/ 12 h 24"/>
                <a:gd name="T26" fmla="*/ 12 w 28"/>
                <a:gd name="T27" fmla="*/ 7 h 24"/>
                <a:gd name="T28" fmla="*/ 7 w 28"/>
                <a:gd name="T29" fmla="*/ 7 h 24"/>
                <a:gd name="T30" fmla="*/ 5 w 28"/>
                <a:gd name="T31" fmla="*/ 10 h 24"/>
                <a:gd name="T32" fmla="*/ 5 w 28"/>
                <a:gd name="T33" fmla="*/ 12 h 24"/>
                <a:gd name="T34" fmla="*/ 7 w 28"/>
                <a:gd name="T35" fmla="*/ 12 h 24"/>
                <a:gd name="T36" fmla="*/ 7 w 28"/>
                <a:gd name="T37" fmla="*/ 17 h 24"/>
                <a:gd name="T38" fmla="*/ 0 w 28"/>
                <a:gd name="T39" fmla="*/ 17 h 24"/>
                <a:gd name="T40" fmla="*/ 0 w 28"/>
                <a:gd name="T41" fmla="*/ 12 h 24"/>
                <a:gd name="T42" fmla="*/ 5 w 28"/>
                <a:gd name="T43" fmla="*/ 10 h 24"/>
                <a:gd name="T44" fmla="*/ 5 w 28"/>
                <a:gd name="T45" fmla="*/ 7 h 24"/>
                <a:gd name="T46" fmla="*/ 7 w 28"/>
                <a:gd name="T47" fmla="*/ 3 h 24"/>
                <a:gd name="T48" fmla="*/ 14 w 28"/>
                <a:gd name="T49" fmla="*/ 3 h 24"/>
                <a:gd name="T50" fmla="*/ 16 w 28"/>
                <a:gd name="T51" fmla="*/ 0 h 24"/>
                <a:gd name="T52" fmla="*/ 24 w 28"/>
                <a:gd name="T53" fmla="*/ 0 h 24"/>
                <a:gd name="T54" fmla="*/ 28 w 28"/>
                <a:gd name="T55" fmla="*/ 3 h 24"/>
                <a:gd name="T56" fmla="*/ 28 w 28"/>
                <a:gd name="T57" fmla="*/ 7 h 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
                <a:gd name="T88" fmla="*/ 0 h 24"/>
                <a:gd name="T89" fmla="*/ 28 w 28"/>
                <a:gd name="T90" fmla="*/ 24 h 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 h="24">
                  <a:moveTo>
                    <a:pt x="28" y="7"/>
                  </a:moveTo>
                  <a:lnTo>
                    <a:pt x="28" y="17"/>
                  </a:lnTo>
                  <a:lnTo>
                    <a:pt x="16" y="24"/>
                  </a:lnTo>
                  <a:lnTo>
                    <a:pt x="14" y="19"/>
                  </a:lnTo>
                  <a:lnTo>
                    <a:pt x="14" y="17"/>
                  </a:lnTo>
                  <a:lnTo>
                    <a:pt x="21" y="12"/>
                  </a:lnTo>
                  <a:lnTo>
                    <a:pt x="21" y="10"/>
                  </a:lnTo>
                  <a:lnTo>
                    <a:pt x="21" y="12"/>
                  </a:lnTo>
                  <a:lnTo>
                    <a:pt x="24" y="12"/>
                  </a:lnTo>
                  <a:lnTo>
                    <a:pt x="24" y="10"/>
                  </a:lnTo>
                  <a:lnTo>
                    <a:pt x="16" y="10"/>
                  </a:lnTo>
                  <a:lnTo>
                    <a:pt x="16" y="12"/>
                  </a:lnTo>
                  <a:lnTo>
                    <a:pt x="12" y="12"/>
                  </a:lnTo>
                  <a:lnTo>
                    <a:pt x="12" y="7"/>
                  </a:lnTo>
                  <a:lnTo>
                    <a:pt x="7" y="7"/>
                  </a:lnTo>
                  <a:lnTo>
                    <a:pt x="5" y="10"/>
                  </a:lnTo>
                  <a:lnTo>
                    <a:pt x="5" y="12"/>
                  </a:lnTo>
                  <a:lnTo>
                    <a:pt x="7" y="12"/>
                  </a:lnTo>
                  <a:lnTo>
                    <a:pt x="7" y="17"/>
                  </a:lnTo>
                  <a:lnTo>
                    <a:pt x="0" y="17"/>
                  </a:lnTo>
                  <a:lnTo>
                    <a:pt x="0" y="12"/>
                  </a:lnTo>
                  <a:lnTo>
                    <a:pt x="5" y="10"/>
                  </a:lnTo>
                  <a:lnTo>
                    <a:pt x="5" y="7"/>
                  </a:lnTo>
                  <a:lnTo>
                    <a:pt x="7" y="3"/>
                  </a:lnTo>
                  <a:lnTo>
                    <a:pt x="14" y="3"/>
                  </a:lnTo>
                  <a:lnTo>
                    <a:pt x="16" y="0"/>
                  </a:lnTo>
                  <a:lnTo>
                    <a:pt x="24" y="0"/>
                  </a:lnTo>
                  <a:lnTo>
                    <a:pt x="28" y="3"/>
                  </a:lnTo>
                  <a:lnTo>
                    <a:pt x="28"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19" name="Freeform 514">
              <a:extLst>
                <a:ext uri="{FF2B5EF4-FFF2-40B4-BE49-F238E27FC236}">
                  <a16:creationId xmlns:a16="http://schemas.microsoft.com/office/drawing/2014/main" id="{5E958190-6C75-4E79-B034-B0EDBD8C39B8}"/>
                </a:ext>
              </a:extLst>
            </p:cNvPr>
            <p:cNvSpPr>
              <a:spLocks/>
            </p:cNvSpPr>
            <p:nvPr/>
          </p:nvSpPr>
          <p:spPr bwMode="gray">
            <a:xfrm rot="47099">
              <a:off x="676801" y="2541035"/>
              <a:ext cx="39187" cy="46312"/>
            </a:xfrm>
            <a:custGeom>
              <a:avLst/>
              <a:gdLst>
                <a:gd name="T0" fmla="*/ 7 w 83"/>
                <a:gd name="T1" fmla="*/ 40 h 101"/>
                <a:gd name="T2" fmla="*/ 0 w 83"/>
                <a:gd name="T3" fmla="*/ 31 h 101"/>
                <a:gd name="T4" fmla="*/ 7 w 83"/>
                <a:gd name="T5" fmla="*/ 21 h 101"/>
                <a:gd name="T6" fmla="*/ 10 w 83"/>
                <a:gd name="T7" fmla="*/ 16 h 101"/>
                <a:gd name="T8" fmla="*/ 17 w 83"/>
                <a:gd name="T9" fmla="*/ 7 h 101"/>
                <a:gd name="T10" fmla="*/ 19 w 83"/>
                <a:gd name="T11" fmla="*/ 0 h 101"/>
                <a:gd name="T12" fmla="*/ 24 w 83"/>
                <a:gd name="T13" fmla="*/ 7 h 101"/>
                <a:gd name="T14" fmla="*/ 31 w 83"/>
                <a:gd name="T15" fmla="*/ 9 h 101"/>
                <a:gd name="T16" fmla="*/ 40 w 83"/>
                <a:gd name="T17" fmla="*/ 14 h 101"/>
                <a:gd name="T18" fmla="*/ 33 w 83"/>
                <a:gd name="T19" fmla="*/ 23 h 101"/>
                <a:gd name="T20" fmla="*/ 31 w 83"/>
                <a:gd name="T21" fmla="*/ 28 h 101"/>
                <a:gd name="T22" fmla="*/ 36 w 83"/>
                <a:gd name="T23" fmla="*/ 23 h 101"/>
                <a:gd name="T24" fmla="*/ 52 w 83"/>
                <a:gd name="T25" fmla="*/ 21 h 101"/>
                <a:gd name="T26" fmla="*/ 50 w 83"/>
                <a:gd name="T27" fmla="*/ 45 h 101"/>
                <a:gd name="T28" fmla="*/ 43 w 83"/>
                <a:gd name="T29" fmla="*/ 49 h 101"/>
                <a:gd name="T30" fmla="*/ 24 w 83"/>
                <a:gd name="T31" fmla="*/ 47 h 101"/>
                <a:gd name="T32" fmla="*/ 26 w 83"/>
                <a:gd name="T33" fmla="*/ 56 h 101"/>
                <a:gd name="T34" fmla="*/ 33 w 83"/>
                <a:gd name="T35" fmla="*/ 56 h 101"/>
                <a:gd name="T36" fmla="*/ 47 w 83"/>
                <a:gd name="T37" fmla="*/ 47 h 101"/>
                <a:gd name="T38" fmla="*/ 52 w 83"/>
                <a:gd name="T39" fmla="*/ 40 h 101"/>
                <a:gd name="T40" fmla="*/ 81 w 83"/>
                <a:gd name="T41" fmla="*/ 33 h 101"/>
                <a:gd name="T42" fmla="*/ 81 w 83"/>
                <a:gd name="T43" fmla="*/ 38 h 101"/>
                <a:gd name="T44" fmla="*/ 76 w 83"/>
                <a:gd name="T45" fmla="*/ 40 h 101"/>
                <a:gd name="T46" fmla="*/ 73 w 83"/>
                <a:gd name="T47" fmla="*/ 47 h 101"/>
                <a:gd name="T48" fmla="*/ 66 w 83"/>
                <a:gd name="T49" fmla="*/ 49 h 101"/>
                <a:gd name="T50" fmla="*/ 59 w 83"/>
                <a:gd name="T51" fmla="*/ 56 h 101"/>
                <a:gd name="T52" fmla="*/ 47 w 83"/>
                <a:gd name="T53" fmla="*/ 78 h 101"/>
                <a:gd name="T54" fmla="*/ 40 w 83"/>
                <a:gd name="T55" fmla="*/ 90 h 101"/>
                <a:gd name="T56" fmla="*/ 31 w 83"/>
                <a:gd name="T57" fmla="*/ 97 h 101"/>
                <a:gd name="T58" fmla="*/ 19 w 83"/>
                <a:gd name="T59" fmla="*/ 97 h 101"/>
                <a:gd name="T60" fmla="*/ 24 w 83"/>
                <a:gd name="T61" fmla="*/ 101 h 101"/>
                <a:gd name="T62" fmla="*/ 10 w 83"/>
                <a:gd name="T63" fmla="*/ 97 h 101"/>
                <a:gd name="T64" fmla="*/ 7 w 83"/>
                <a:gd name="T65" fmla="*/ 94 h 101"/>
                <a:gd name="T66" fmla="*/ 3 w 83"/>
                <a:gd name="T67" fmla="*/ 85 h 101"/>
                <a:gd name="T68" fmla="*/ 3 w 83"/>
                <a:gd name="T69" fmla="*/ 80 h 101"/>
                <a:gd name="T70" fmla="*/ 3 w 83"/>
                <a:gd name="T71" fmla="*/ 78 h 101"/>
                <a:gd name="T72" fmla="*/ 0 w 83"/>
                <a:gd name="T73" fmla="*/ 73 h 101"/>
                <a:gd name="T74" fmla="*/ 12 w 83"/>
                <a:gd name="T75" fmla="*/ 80 h 101"/>
                <a:gd name="T76" fmla="*/ 17 w 83"/>
                <a:gd name="T77" fmla="*/ 80 h 101"/>
                <a:gd name="T78" fmla="*/ 7 w 83"/>
                <a:gd name="T79" fmla="*/ 64 h 101"/>
                <a:gd name="T80" fmla="*/ 0 w 83"/>
                <a:gd name="T81" fmla="*/ 47 h 101"/>
                <a:gd name="T82" fmla="*/ 3 w 83"/>
                <a:gd name="T83" fmla="*/ 40 h 1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
                <a:gd name="T127" fmla="*/ 0 h 101"/>
                <a:gd name="T128" fmla="*/ 83 w 83"/>
                <a:gd name="T129" fmla="*/ 101 h 10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 h="101">
                  <a:moveTo>
                    <a:pt x="3" y="40"/>
                  </a:moveTo>
                  <a:lnTo>
                    <a:pt x="7" y="40"/>
                  </a:lnTo>
                  <a:lnTo>
                    <a:pt x="7" y="38"/>
                  </a:lnTo>
                  <a:lnTo>
                    <a:pt x="0" y="31"/>
                  </a:lnTo>
                  <a:lnTo>
                    <a:pt x="3" y="21"/>
                  </a:lnTo>
                  <a:lnTo>
                    <a:pt x="7" y="21"/>
                  </a:lnTo>
                  <a:lnTo>
                    <a:pt x="7" y="16"/>
                  </a:lnTo>
                  <a:lnTo>
                    <a:pt x="10" y="16"/>
                  </a:lnTo>
                  <a:lnTo>
                    <a:pt x="12" y="9"/>
                  </a:lnTo>
                  <a:lnTo>
                    <a:pt x="17" y="7"/>
                  </a:lnTo>
                  <a:lnTo>
                    <a:pt x="17" y="5"/>
                  </a:lnTo>
                  <a:lnTo>
                    <a:pt x="19" y="0"/>
                  </a:lnTo>
                  <a:lnTo>
                    <a:pt x="24" y="5"/>
                  </a:lnTo>
                  <a:lnTo>
                    <a:pt x="24" y="7"/>
                  </a:lnTo>
                  <a:lnTo>
                    <a:pt x="31" y="7"/>
                  </a:lnTo>
                  <a:lnTo>
                    <a:pt x="31" y="9"/>
                  </a:lnTo>
                  <a:lnTo>
                    <a:pt x="36" y="9"/>
                  </a:lnTo>
                  <a:lnTo>
                    <a:pt x="40" y="14"/>
                  </a:lnTo>
                  <a:lnTo>
                    <a:pt x="40" y="16"/>
                  </a:lnTo>
                  <a:lnTo>
                    <a:pt x="33" y="23"/>
                  </a:lnTo>
                  <a:lnTo>
                    <a:pt x="26" y="23"/>
                  </a:lnTo>
                  <a:lnTo>
                    <a:pt x="31" y="28"/>
                  </a:lnTo>
                  <a:lnTo>
                    <a:pt x="33" y="28"/>
                  </a:lnTo>
                  <a:lnTo>
                    <a:pt x="36" y="23"/>
                  </a:lnTo>
                  <a:lnTo>
                    <a:pt x="47" y="21"/>
                  </a:lnTo>
                  <a:lnTo>
                    <a:pt x="52" y="21"/>
                  </a:lnTo>
                  <a:lnTo>
                    <a:pt x="52" y="33"/>
                  </a:lnTo>
                  <a:lnTo>
                    <a:pt x="50" y="45"/>
                  </a:lnTo>
                  <a:lnTo>
                    <a:pt x="50" y="47"/>
                  </a:lnTo>
                  <a:lnTo>
                    <a:pt x="43" y="49"/>
                  </a:lnTo>
                  <a:lnTo>
                    <a:pt x="24" y="49"/>
                  </a:lnTo>
                  <a:lnTo>
                    <a:pt x="24" y="47"/>
                  </a:lnTo>
                  <a:lnTo>
                    <a:pt x="19" y="47"/>
                  </a:lnTo>
                  <a:lnTo>
                    <a:pt x="26" y="56"/>
                  </a:lnTo>
                  <a:lnTo>
                    <a:pt x="26" y="61"/>
                  </a:lnTo>
                  <a:lnTo>
                    <a:pt x="33" y="56"/>
                  </a:lnTo>
                  <a:lnTo>
                    <a:pt x="43" y="56"/>
                  </a:lnTo>
                  <a:lnTo>
                    <a:pt x="47" y="47"/>
                  </a:lnTo>
                  <a:lnTo>
                    <a:pt x="52" y="45"/>
                  </a:lnTo>
                  <a:lnTo>
                    <a:pt x="52" y="40"/>
                  </a:lnTo>
                  <a:lnTo>
                    <a:pt x="57" y="33"/>
                  </a:lnTo>
                  <a:lnTo>
                    <a:pt x="81" y="33"/>
                  </a:lnTo>
                  <a:lnTo>
                    <a:pt x="83" y="31"/>
                  </a:lnTo>
                  <a:lnTo>
                    <a:pt x="81" y="38"/>
                  </a:lnTo>
                  <a:lnTo>
                    <a:pt x="81" y="40"/>
                  </a:lnTo>
                  <a:lnTo>
                    <a:pt x="76" y="40"/>
                  </a:lnTo>
                  <a:lnTo>
                    <a:pt x="73" y="45"/>
                  </a:lnTo>
                  <a:lnTo>
                    <a:pt x="73" y="47"/>
                  </a:lnTo>
                  <a:lnTo>
                    <a:pt x="71" y="47"/>
                  </a:lnTo>
                  <a:lnTo>
                    <a:pt x="66" y="49"/>
                  </a:lnTo>
                  <a:lnTo>
                    <a:pt x="64" y="54"/>
                  </a:lnTo>
                  <a:lnTo>
                    <a:pt x="59" y="56"/>
                  </a:lnTo>
                  <a:lnTo>
                    <a:pt x="50" y="71"/>
                  </a:lnTo>
                  <a:lnTo>
                    <a:pt x="47" y="78"/>
                  </a:lnTo>
                  <a:lnTo>
                    <a:pt x="43" y="87"/>
                  </a:lnTo>
                  <a:lnTo>
                    <a:pt x="40" y="90"/>
                  </a:lnTo>
                  <a:lnTo>
                    <a:pt x="36" y="97"/>
                  </a:lnTo>
                  <a:lnTo>
                    <a:pt x="31" y="97"/>
                  </a:lnTo>
                  <a:lnTo>
                    <a:pt x="24" y="94"/>
                  </a:lnTo>
                  <a:lnTo>
                    <a:pt x="19" y="97"/>
                  </a:lnTo>
                  <a:lnTo>
                    <a:pt x="24" y="97"/>
                  </a:lnTo>
                  <a:lnTo>
                    <a:pt x="24" y="101"/>
                  </a:lnTo>
                  <a:lnTo>
                    <a:pt x="19" y="101"/>
                  </a:lnTo>
                  <a:lnTo>
                    <a:pt x="10" y="97"/>
                  </a:lnTo>
                  <a:lnTo>
                    <a:pt x="7" y="97"/>
                  </a:lnTo>
                  <a:lnTo>
                    <a:pt x="7" y="94"/>
                  </a:lnTo>
                  <a:lnTo>
                    <a:pt x="3" y="94"/>
                  </a:lnTo>
                  <a:lnTo>
                    <a:pt x="3" y="85"/>
                  </a:lnTo>
                  <a:lnTo>
                    <a:pt x="0" y="85"/>
                  </a:lnTo>
                  <a:lnTo>
                    <a:pt x="3" y="80"/>
                  </a:lnTo>
                  <a:lnTo>
                    <a:pt x="10" y="80"/>
                  </a:lnTo>
                  <a:lnTo>
                    <a:pt x="3" y="78"/>
                  </a:lnTo>
                  <a:lnTo>
                    <a:pt x="0" y="78"/>
                  </a:lnTo>
                  <a:lnTo>
                    <a:pt x="0" y="73"/>
                  </a:lnTo>
                  <a:lnTo>
                    <a:pt x="3" y="73"/>
                  </a:lnTo>
                  <a:lnTo>
                    <a:pt x="12" y="80"/>
                  </a:lnTo>
                  <a:lnTo>
                    <a:pt x="17" y="85"/>
                  </a:lnTo>
                  <a:lnTo>
                    <a:pt x="17" y="80"/>
                  </a:lnTo>
                  <a:lnTo>
                    <a:pt x="12" y="73"/>
                  </a:lnTo>
                  <a:lnTo>
                    <a:pt x="7" y="64"/>
                  </a:lnTo>
                  <a:lnTo>
                    <a:pt x="0" y="61"/>
                  </a:lnTo>
                  <a:lnTo>
                    <a:pt x="0" y="47"/>
                  </a:lnTo>
                  <a:lnTo>
                    <a:pt x="3" y="49"/>
                  </a:lnTo>
                  <a:lnTo>
                    <a:pt x="3" y="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0" name="Freeform 515">
              <a:extLst>
                <a:ext uri="{FF2B5EF4-FFF2-40B4-BE49-F238E27FC236}">
                  <a16:creationId xmlns:a16="http://schemas.microsoft.com/office/drawing/2014/main" id="{E269A351-3D43-4B05-AB50-CA52D2B0014F}"/>
                </a:ext>
              </a:extLst>
            </p:cNvPr>
            <p:cNvSpPr>
              <a:spLocks/>
            </p:cNvSpPr>
            <p:nvPr/>
          </p:nvSpPr>
          <p:spPr bwMode="gray">
            <a:xfrm rot="47099">
              <a:off x="737590" y="2544542"/>
              <a:ext cx="7125" cy="6754"/>
            </a:xfrm>
            <a:custGeom>
              <a:avLst/>
              <a:gdLst>
                <a:gd name="T0" fmla="*/ 16 w 16"/>
                <a:gd name="T1" fmla="*/ 2 h 14"/>
                <a:gd name="T2" fmla="*/ 16 w 16"/>
                <a:gd name="T3" fmla="*/ 7 h 14"/>
                <a:gd name="T4" fmla="*/ 12 w 16"/>
                <a:gd name="T5" fmla="*/ 9 h 14"/>
                <a:gd name="T6" fmla="*/ 4 w 16"/>
                <a:gd name="T7" fmla="*/ 14 h 14"/>
                <a:gd name="T8" fmla="*/ 0 w 16"/>
                <a:gd name="T9" fmla="*/ 14 h 14"/>
                <a:gd name="T10" fmla="*/ 2 w 16"/>
                <a:gd name="T11" fmla="*/ 9 h 14"/>
                <a:gd name="T12" fmla="*/ 2 w 16"/>
                <a:gd name="T13" fmla="*/ 7 h 14"/>
                <a:gd name="T14" fmla="*/ 9 w 16"/>
                <a:gd name="T15" fmla="*/ 0 h 14"/>
                <a:gd name="T16" fmla="*/ 16 w 16"/>
                <a:gd name="T17" fmla="*/ 2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4"/>
                <a:gd name="T29" fmla="*/ 16 w 16"/>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4">
                  <a:moveTo>
                    <a:pt x="16" y="2"/>
                  </a:moveTo>
                  <a:lnTo>
                    <a:pt x="16" y="7"/>
                  </a:lnTo>
                  <a:lnTo>
                    <a:pt x="12" y="9"/>
                  </a:lnTo>
                  <a:lnTo>
                    <a:pt x="4" y="14"/>
                  </a:lnTo>
                  <a:lnTo>
                    <a:pt x="0" y="14"/>
                  </a:lnTo>
                  <a:lnTo>
                    <a:pt x="2" y="9"/>
                  </a:lnTo>
                  <a:lnTo>
                    <a:pt x="2" y="7"/>
                  </a:lnTo>
                  <a:lnTo>
                    <a:pt x="9" y="0"/>
                  </a:lnTo>
                  <a:lnTo>
                    <a:pt x="16"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1" name="Freeform 516">
              <a:extLst>
                <a:ext uri="{FF2B5EF4-FFF2-40B4-BE49-F238E27FC236}">
                  <a16:creationId xmlns:a16="http://schemas.microsoft.com/office/drawing/2014/main" id="{497FF477-AB2F-47A9-95B4-838891FFA9C9}"/>
                </a:ext>
              </a:extLst>
            </p:cNvPr>
            <p:cNvSpPr>
              <a:spLocks/>
            </p:cNvSpPr>
            <p:nvPr/>
          </p:nvSpPr>
          <p:spPr bwMode="gray">
            <a:xfrm rot="47099">
              <a:off x="750117" y="2541793"/>
              <a:ext cx="3563" cy="3860"/>
            </a:xfrm>
            <a:custGeom>
              <a:avLst/>
              <a:gdLst>
                <a:gd name="T0" fmla="*/ 7 w 7"/>
                <a:gd name="T1" fmla="*/ 5 h 9"/>
                <a:gd name="T2" fmla="*/ 7 w 7"/>
                <a:gd name="T3" fmla="*/ 7 h 9"/>
                <a:gd name="T4" fmla="*/ 5 w 7"/>
                <a:gd name="T5" fmla="*/ 9 h 9"/>
                <a:gd name="T6" fmla="*/ 0 w 7"/>
                <a:gd name="T7" fmla="*/ 7 h 9"/>
                <a:gd name="T8" fmla="*/ 0 w 7"/>
                <a:gd name="T9" fmla="*/ 5 h 9"/>
                <a:gd name="T10" fmla="*/ 7 w 7"/>
                <a:gd name="T11" fmla="*/ 0 h 9"/>
                <a:gd name="T12" fmla="*/ 7 w 7"/>
                <a:gd name="T13" fmla="*/ 5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7" y="5"/>
                  </a:moveTo>
                  <a:lnTo>
                    <a:pt x="7" y="7"/>
                  </a:lnTo>
                  <a:lnTo>
                    <a:pt x="5" y="9"/>
                  </a:lnTo>
                  <a:lnTo>
                    <a:pt x="0" y="7"/>
                  </a:lnTo>
                  <a:lnTo>
                    <a:pt x="0" y="5"/>
                  </a:lnTo>
                  <a:lnTo>
                    <a:pt x="7" y="0"/>
                  </a:lnTo>
                  <a:lnTo>
                    <a:pt x="7" y="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2" name="Freeform 517">
              <a:extLst>
                <a:ext uri="{FF2B5EF4-FFF2-40B4-BE49-F238E27FC236}">
                  <a16:creationId xmlns:a16="http://schemas.microsoft.com/office/drawing/2014/main" id="{3605122C-7D83-46D3-9367-0D7029FD5390}"/>
                </a:ext>
              </a:extLst>
            </p:cNvPr>
            <p:cNvSpPr>
              <a:spLocks/>
            </p:cNvSpPr>
            <p:nvPr/>
          </p:nvSpPr>
          <p:spPr bwMode="gray">
            <a:xfrm rot="47099">
              <a:off x="753725" y="2536102"/>
              <a:ext cx="10687" cy="8683"/>
            </a:xfrm>
            <a:custGeom>
              <a:avLst/>
              <a:gdLst>
                <a:gd name="T0" fmla="*/ 24 w 24"/>
                <a:gd name="T1" fmla="*/ 2 h 19"/>
                <a:gd name="T2" fmla="*/ 24 w 24"/>
                <a:gd name="T3" fmla="*/ 5 h 19"/>
                <a:gd name="T4" fmla="*/ 21 w 24"/>
                <a:gd name="T5" fmla="*/ 5 h 19"/>
                <a:gd name="T6" fmla="*/ 21 w 24"/>
                <a:gd name="T7" fmla="*/ 9 h 19"/>
                <a:gd name="T8" fmla="*/ 10 w 24"/>
                <a:gd name="T9" fmla="*/ 17 h 19"/>
                <a:gd name="T10" fmla="*/ 5 w 24"/>
                <a:gd name="T11" fmla="*/ 19 h 19"/>
                <a:gd name="T12" fmla="*/ 5 w 24"/>
                <a:gd name="T13" fmla="*/ 17 h 19"/>
                <a:gd name="T14" fmla="*/ 0 w 24"/>
                <a:gd name="T15" fmla="*/ 12 h 19"/>
                <a:gd name="T16" fmla="*/ 5 w 24"/>
                <a:gd name="T17" fmla="*/ 9 h 19"/>
                <a:gd name="T18" fmla="*/ 10 w 24"/>
                <a:gd name="T19" fmla="*/ 9 h 19"/>
                <a:gd name="T20" fmla="*/ 17 w 24"/>
                <a:gd name="T21" fmla="*/ 5 h 19"/>
                <a:gd name="T22" fmla="*/ 17 w 24"/>
                <a:gd name="T23" fmla="*/ 2 h 19"/>
                <a:gd name="T24" fmla="*/ 21 w 24"/>
                <a:gd name="T25" fmla="*/ 2 h 19"/>
                <a:gd name="T26" fmla="*/ 21 w 24"/>
                <a:gd name="T27" fmla="*/ 0 h 19"/>
                <a:gd name="T28" fmla="*/ 24 w 24"/>
                <a:gd name="T29" fmla="*/ 2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19"/>
                <a:gd name="T47" fmla="*/ 24 w 24"/>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19">
                  <a:moveTo>
                    <a:pt x="24" y="2"/>
                  </a:moveTo>
                  <a:lnTo>
                    <a:pt x="24" y="5"/>
                  </a:lnTo>
                  <a:lnTo>
                    <a:pt x="21" y="5"/>
                  </a:lnTo>
                  <a:lnTo>
                    <a:pt x="21" y="9"/>
                  </a:lnTo>
                  <a:lnTo>
                    <a:pt x="10" y="17"/>
                  </a:lnTo>
                  <a:lnTo>
                    <a:pt x="5" y="19"/>
                  </a:lnTo>
                  <a:lnTo>
                    <a:pt x="5" y="17"/>
                  </a:lnTo>
                  <a:lnTo>
                    <a:pt x="0" y="12"/>
                  </a:lnTo>
                  <a:lnTo>
                    <a:pt x="5" y="9"/>
                  </a:lnTo>
                  <a:lnTo>
                    <a:pt x="10" y="9"/>
                  </a:lnTo>
                  <a:lnTo>
                    <a:pt x="17" y="5"/>
                  </a:lnTo>
                  <a:lnTo>
                    <a:pt x="17" y="2"/>
                  </a:lnTo>
                  <a:lnTo>
                    <a:pt x="21" y="2"/>
                  </a:lnTo>
                  <a:lnTo>
                    <a:pt x="21" y="0"/>
                  </a:lnTo>
                  <a:lnTo>
                    <a:pt x="24"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3" name="Freeform 518">
              <a:extLst>
                <a:ext uri="{FF2B5EF4-FFF2-40B4-BE49-F238E27FC236}">
                  <a16:creationId xmlns:a16="http://schemas.microsoft.com/office/drawing/2014/main" id="{EAD8575A-C5B9-422F-A9ED-88C4309E892E}"/>
                </a:ext>
              </a:extLst>
            </p:cNvPr>
            <p:cNvSpPr>
              <a:spLocks/>
            </p:cNvSpPr>
            <p:nvPr/>
          </p:nvSpPr>
          <p:spPr bwMode="gray">
            <a:xfrm rot="47099">
              <a:off x="689079" y="2265762"/>
              <a:ext cx="393651" cy="627140"/>
            </a:xfrm>
            <a:custGeom>
              <a:avLst/>
              <a:gdLst>
                <a:gd name="T0" fmla="*/ 355 w 846"/>
                <a:gd name="T1" fmla="*/ 1195 h 1349"/>
                <a:gd name="T2" fmla="*/ 321 w 846"/>
                <a:gd name="T3" fmla="*/ 1177 h 1349"/>
                <a:gd name="T4" fmla="*/ 307 w 846"/>
                <a:gd name="T5" fmla="*/ 1155 h 1349"/>
                <a:gd name="T6" fmla="*/ 307 w 846"/>
                <a:gd name="T7" fmla="*/ 1146 h 1349"/>
                <a:gd name="T8" fmla="*/ 321 w 846"/>
                <a:gd name="T9" fmla="*/ 1122 h 1349"/>
                <a:gd name="T10" fmla="*/ 274 w 846"/>
                <a:gd name="T11" fmla="*/ 1134 h 1349"/>
                <a:gd name="T12" fmla="*/ 284 w 846"/>
                <a:gd name="T13" fmla="*/ 1080 h 1349"/>
                <a:gd name="T14" fmla="*/ 260 w 846"/>
                <a:gd name="T15" fmla="*/ 1080 h 1349"/>
                <a:gd name="T16" fmla="*/ 281 w 846"/>
                <a:gd name="T17" fmla="*/ 1042 h 1349"/>
                <a:gd name="T18" fmla="*/ 241 w 846"/>
                <a:gd name="T19" fmla="*/ 1056 h 1349"/>
                <a:gd name="T20" fmla="*/ 210 w 846"/>
                <a:gd name="T21" fmla="*/ 1049 h 1349"/>
                <a:gd name="T22" fmla="*/ 255 w 846"/>
                <a:gd name="T23" fmla="*/ 1006 h 1349"/>
                <a:gd name="T24" fmla="*/ 203 w 846"/>
                <a:gd name="T25" fmla="*/ 1009 h 1349"/>
                <a:gd name="T26" fmla="*/ 187 w 846"/>
                <a:gd name="T27" fmla="*/ 1002 h 1349"/>
                <a:gd name="T28" fmla="*/ 163 w 846"/>
                <a:gd name="T29" fmla="*/ 990 h 1349"/>
                <a:gd name="T30" fmla="*/ 199 w 846"/>
                <a:gd name="T31" fmla="*/ 983 h 1349"/>
                <a:gd name="T32" fmla="*/ 144 w 846"/>
                <a:gd name="T33" fmla="*/ 957 h 1349"/>
                <a:gd name="T34" fmla="*/ 163 w 846"/>
                <a:gd name="T35" fmla="*/ 950 h 1349"/>
                <a:gd name="T36" fmla="*/ 215 w 846"/>
                <a:gd name="T37" fmla="*/ 936 h 1349"/>
                <a:gd name="T38" fmla="*/ 187 w 846"/>
                <a:gd name="T39" fmla="*/ 905 h 1349"/>
                <a:gd name="T40" fmla="*/ 158 w 846"/>
                <a:gd name="T41" fmla="*/ 903 h 1349"/>
                <a:gd name="T42" fmla="*/ 199 w 846"/>
                <a:gd name="T43" fmla="*/ 877 h 1349"/>
                <a:gd name="T44" fmla="*/ 225 w 846"/>
                <a:gd name="T45" fmla="*/ 877 h 1349"/>
                <a:gd name="T46" fmla="*/ 239 w 846"/>
                <a:gd name="T47" fmla="*/ 832 h 1349"/>
                <a:gd name="T48" fmla="*/ 184 w 846"/>
                <a:gd name="T49" fmla="*/ 841 h 1349"/>
                <a:gd name="T50" fmla="*/ 154 w 846"/>
                <a:gd name="T51" fmla="*/ 853 h 1349"/>
                <a:gd name="T52" fmla="*/ 163 w 846"/>
                <a:gd name="T53" fmla="*/ 799 h 1349"/>
                <a:gd name="T54" fmla="*/ 182 w 846"/>
                <a:gd name="T55" fmla="*/ 756 h 1349"/>
                <a:gd name="T56" fmla="*/ 194 w 846"/>
                <a:gd name="T57" fmla="*/ 751 h 1349"/>
                <a:gd name="T58" fmla="*/ 194 w 846"/>
                <a:gd name="T59" fmla="*/ 704 h 1349"/>
                <a:gd name="T60" fmla="*/ 142 w 846"/>
                <a:gd name="T61" fmla="*/ 742 h 1349"/>
                <a:gd name="T62" fmla="*/ 151 w 846"/>
                <a:gd name="T63" fmla="*/ 666 h 1349"/>
                <a:gd name="T64" fmla="*/ 128 w 846"/>
                <a:gd name="T65" fmla="*/ 643 h 1349"/>
                <a:gd name="T66" fmla="*/ 142 w 846"/>
                <a:gd name="T67" fmla="*/ 636 h 1349"/>
                <a:gd name="T68" fmla="*/ 163 w 846"/>
                <a:gd name="T69" fmla="*/ 595 h 1349"/>
                <a:gd name="T70" fmla="*/ 201 w 846"/>
                <a:gd name="T71" fmla="*/ 565 h 1349"/>
                <a:gd name="T72" fmla="*/ 161 w 846"/>
                <a:gd name="T73" fmla="*/ 591 h 1349"/>
                <a:gd name="T74" fmla="*/ 201 w 846"/>
                <a:gd name="T75" fmla="*/ 515 h 1349"/>
                <a:gd name="T76" fmla="*/ 163 w 846"/>
                <a:gd name="T77" fmla="*/ 442 h 1349"/>
                <a:gd name="T78" fmla="*/ 147 w 846"/>
                <a:gd name="T79" fmla="*/ 369 h 1349"/>
                <a:gd name="T80" fmla="*/ 142 w 846"/>
                <a:gd name="T81" fmla="*/ 201 h 1349"/>
                <a:gd name="T82" fmla="*/ 135 w 846"/>
                <a:gd name="T83" fmla="*/ 114 h 1349"/>
                <a:gd name="T84" fmla="*/ 71 w 846"/>
                <a:gd name="T85" fmla="*/ 102 h 1349"/>
                <a:gd name="T86" fmla="*/ 10 w 846"/>
                <a:gd name="T87" fmla="*/ 118 h 1349"/>
                <a:gd name="T88" fmla="*/ 5 w 846"/>
                <a:gd name="T89" fmla="*/ 5 h 1349"/>
                <a:gd name="T90" fmla="*/ 104 w 846"/>
                <a:gd name="T91" fmla="*/ 57 h 1349"/>
                <a:gd name="T92" fmla="*/ 291 w 846"/>
                <a:gd name="T93" fmla="*/ 151 h 1349"/>
                <a:gd name="T94" fmla="*/ 484 w 846"/>
                <a:gd name="T95" fmla="*/ 232 h 1349"/>
                <a:gd name="T96" fmla="*/ 629 w 846"/>
                <a:gd name="T97" fmla="*/ 284 h 1349"/>
                <a:gd name="T98" fmla="*/ 766 w 846"/>
                <a:gd name="T99" fmla="*/ 354 h 1349"/>
                <a:gd name="T100" fmla="*/ 683 w 846"/>
                <a:gd name="T101" fmla="*/ 638 h 1349"/>
                <a:gd name="T102" fmla="*/ 626 w 846"/>
                <a:gd name="T103" fmla="*/ 869 h 1349"/>
                <a:gd name="T104" fmla="*/ 652 w 846"/>
                <a:gd name="T105" fmla="*/ 926 h 1349"/>
                <a:gd name="T106" fmla="*/ 676 w 846"/>
                <a:gd name="T107" fmla="*/ 1002 h 1349"/>
                <a:gd name="T108" fmla="*/ 699 w 846"/>
                <a:gd name="T109" fmla="*/ 1025 h 1349"/>
                <a:gd name="T110" fmla="*/ 740 w 846"/>
                <a:gd name="T111" fmla="*/ 1080 h 1349"/>
                <a:gd name="T112" fmla="*/ 773 w 846"/>
                <a:gd name="T113" fmla="*/ 1146 h 1349"/>
                <a:gd name="T114" fmla="*/ 806 w 846"/>
                <a:gd name="T115" fmla="*/ 1203 h 1349"/>
                <a:gd name="T116" fmla="*/ 822 w 846"/>
                <a:gd name="T117" fmla="*/ 1281 h 1349"/>
                <a:gd name="T118" fmla="*/ 844 w 846"/>
                <a:gd name="T119" fmla="*/ 1349 h 1349"/>
                <a:gd name="T120" fmla="*/ 662 w 846"/>
                <a:gd name="T121" fmla="*/ 1314 h 1349"/>
                <a:gd name="T122" fmla="*/ 508 w 846"/>
                <a:gd name="T123" fmla="*/ 1276 h 1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46"/>
                <a:gd name="T187" fmla="*/ 0 h 1349"/>
                <a:gd name="T188" fmla="*/ 846 w 846"/>
                <a:gd name="T189" fmla="*/ 1349 h 1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46" h="1349">
                  <a:moveTo>
                    <a:pt x="347" y="1233"/>
                  </a:moveTo>
                  <a:lnTo>
                    <a:pt x="345" y="1233"/>
                  </a:lnTo>
                  <a:lnTo>
                    <a:pt x="345" y="1224"/>
                  </a:lnTo>
                  <a:lnTo>
                    <a:pt x="336" y="1224"/>
                  </a:lnTo>
                  <a:lnTo>
                    <a:pt x="336" y="1231"/>
                  </a:lnTo>
                  <a:lnTo>
                    <a:pt x="331" y="1226"/>
                  </a:lnTo>
                  <a:lnTo>
                    <a:pt x="331" y="1217"/>
                  </a:lnTo>
                  <a:lnTo>
                    <a:pt x="329" y="1217"/>
                  </a:lnTo>
                  <a:lnTo>
                    <a:pt x="329" y="1203"/>
                  </a:lnTo>
                  <a:lnTo>
                    <a:pt x="345" y="1203"/>
                  </a:lnTo>
                  <a:lnTo>
                    <a:pt x="347" y="1207"/>
                  </a:lnTo>
                  <a:lnTo>
                    <a:pt x="355" y="1193"/>
                  </a:lnTo>
                  <a:lnTo>
                    <a:pt x="355" y="1195"/>
                  </a:lnTo>
                  <a:lnTo>
                    <a:pt x="352" y="1200"/>
                  </a:lnTo>
                  <a:lnTo>
                    <a:pt x="347" y="1203"/>
                  </a:lnTo>
                  <a:lnTo>
                    <a:pt x="340" y="1203"/>
                  </a:lnTo>
                  <a:lnTo>
                    <a:pt x="340" y="1200"/>
                  </a:lnTo>
                  <a:lnTo>
                    <a:pt x="331" y="1195"/>
                  </a:lnTo>
                  <a:lnTo>
                    <a:pt x="331" y="1193"/>
                  </a:lnTo>
                  <a:lnTo>
                    <a:pt x="336" y="1179"/>
                  </a:lnTo>
                  <a:lnTo>
                    <a:pt x="340" y="1172"/>
                  </a:lnTo>
                  <a:lnTo>
                    <a:pt x="345" y="1167"/>
                  </a:lnTo>
                  <a:lnTo>
                    <a:pt x="340" y="1169"/>
                  </a:lnTo>
                  <a:lnTo>
                    <a:pt x="338" y="1172"/>
                  </a:lnTo>
                  <a:lnTo>
                    <a:pt x="331" y="1177"/>
                  </a:lnTo>
                  <a:lnTo>
                    <a:pt x="321" y="1177"/>
                  </a:lnTo>
                  <a:lnTo>
                    <a:pt x="321" y="1186"/>
                  </a:lnTo>
                  <a:lnTo>
                    <a:pt x="317" y="1186"/>
                  </a:lnTo>
                  <a:lnTo>
                    <a:pt x="314" y="1184"/>
                  </a:lnTo>
                  <a:lnTo>
                    <a:pt x="312" y="1179"/>
                  </a:lnTo>
                  <a:lnTo>
                    <a:pt x="305" y="1177"/>
                  </a:lnTo>
                  <a:lnTo>
                    <a:pt x="300" y="1172"/>
                  </a:lnTo>
                  <a:lnTo>
                    <a:pt x="298" y="1169"/>
                  </a:lnTo>
                  <a:lnTo>
                    <a:pt x="298" y="1167"/>
                  </a:lnTo>
                  <a:lnTo>
                    <a:pt x="295" y="1155"/>
                  </a:lnTo>
                  <a:lnTo>
                    <a:pt x="295" y="1153"/>
                  </a:lnTo>
                  <a:lnTo>
                    <a:pt x="298" y="1151"/>
                  </a:lnTo>
                  <a:lnTo>
                    <a:pt x="305" y="1151"/>
                  </a:lnTo>
                  <a:lnTo>
                    <a:pt x="307" y="1155"/>
                  </a:lnTo>
                  <a:lnTo>
                    <a:pt x="307" y="1167"/>
                  </a:lnTo>
                  <a:lnTo>
                    <a:pt x="305" y="1172"/>
                  </a:lnTo>
                  <a:lnTo>
                    <a:pt x="307" y="1172"/>
                  </a:lnTo>
                  <a:lnTo>
                    <a:pt x="307" y="1167"/>
                  </a:lnTo>
                  <a:lnTo>
                    <a:pt x="312" y="1162"/>
                  </a:lnTo>
                  <a:lnTo>
                    <a:pt x="324" y="1162"/>
                  </a:lnTo>
                  <a:lnTo>
                    <a:pt x="324" y="1160"/>
                  </a:lnTo>
                  <a:lnTo>
                    <a:pt x="321" y="1160"/>
                  </a:lnTo>
                  <a:lnTo>
                    <a:pt x="314" y="1162"/>
                  </a:lnTo>
                  <a:lnTo>
                    <a:pt x="312" y="1160"/>
                  </a:lnTo>
                  <a:lnTo>
                    <a:pt x="307" y="1160"/>
                  </a:lnTo>
                  <a:lnTo>
                    <a:pt x="305" y="1146"/>
                  </a:lnTo>
                  <a:lnTo>
                    <a:pt x="307" y="1146"/>
                  </a:lnTo>
                  <a:lnTo>
                    <a:pt x="312" y="1144"/>
                  </a:lnTo>
                  <a:lnTo>
                    <a:pt x="312" y="1134"/>
                  </a:lnTo>
                  <a:lnTo>
                    <a:pt x="307" y="1129"/>
                  </a:lnTo>
                  <a:lnTo>
                    <a:pt x="312" y="1129"/>
                  </a:lnTo>
                  <a:lnTo>
                    <a:pt x="314" y="1127"/>
                  </a:lnTo>
                  <a:lnTo>
                    <a:pt x="321" y="1127"/>
                  </a:lnTo>
                  <a:lnTo>
                    <a:pt x="324" y="1122"/>
                  </a:lnTo>
                  <a:lnTo>
                    <a:pt x="321" y="1115"/>
                  </a:lnTo>
                  <a:lnTo>
                    <a:pt x="314" y="1110"/>
                  </a:lnTo>
                  <a:lnTo>
                    <a:pt x="314" y="1113"/>
                  </a:lnTo>
                  <a:lnTo>
                    <a:pt x="317" y="1113"/>
                  </a:lnTo>
                  <a:lnTo>
                    <a:pt x="317" y="1115"/>
                  </a:lnTo>
                  <a:lnTo>
                    <a:pt x="321" y="1122"/>
                  </a:lnTo>
                  <a:lnTo>
                    <a:pt x="312" y="1122"/>
                  </a:lnTo>
                  <a:lnTo>
                    <a:pt x="307" y="1127"/>
                  </a:lnTo>
                  <a:lnTo>
                    <a:pt x="307" y="1144"/>
                  </a:lnTo>
                  <a:lnTo>
                    <a:pt x="300" y="1144"/>
                  </a:lnTo>
                  <a:lnTo>
                    <a:pt x="305" y="1139"/>
                  </a:lnTo>
                  <a:lnTo>
                    <a:pt x="305" y="1134"/>
                  </a:lnTo>
                  <a:lnTo>
                    <a:pt x="300" y="1136"/>
                  </a:lnTo>
                  <a:lnTo>
                    <a:pt x="300" y="1139"/>
                  </a:lnTo>
                  <a:lnTo>
                    <a:pt x="298" y="1144"/>
                  </a:lnTo>
                  <a:lnTo>
                    <a:pt x="291" y="1144"/>
                  </a:lnTo>
                  <a:lnTo>
                    <a:pt x="288" y="1139"/>
                  </a:lnTo>
                  <a:lnTo>
                    <a:pt x="279" y="1139"/>
                  </a:lnTo>
                  <a:lnTo>
                    <a:pt x="274" y="1134"/>
                  </a:lnTo>
                  <a:lnTo>
                    <a:pt x="274" y="1127"/>
                  </a:lnTo>
                  <a:lnTo>
                    <a:pt x="272" y="1122"/>
                  </a:lnTo>
                  <a:lnTo>
                    <a:pt x="267" y="1120"/>
                  </a:lnTo>
                  <a:lnTo>
                    <a:pt x="267" y="1113"/>
                  </a:lnTo>
                  <a:lnTo>
                    <a:pt x="265" y="1110"/>
                  </a:lnTo>
                  <a:lnTo>
                    <a:pt x="265" y="1106"/>
                  </a:lnTo>
                  <a:lnTo>
                    <a:pt x="272" y="1113"/>
                  </a:lnTo>
                  <a:lnTo>
                    <a:pt x="274" y="1110"/>
                  </a:lnTo>
                  <a:lnTo>
                    <a:pt x="281" y="1099"/>
                  </a:lnTo>
                  <a:lnTo>
                    <a:pt x="281" y="1089"/>
                  </a:lnTo>
                  <a:lnTo>
                    <a:pt x="279" y="1087"/>
                  </a:lnTo>
                  <a:lnTo>
                    <a:pt x="284" y="1082"/>
                  </a:lnTo>
                  <a:lnTo>
                    <a:pt x="284" y="1080"/>
                  </a:lnTo>
                  <a:lnTo>
                    <a:pt x="288" y="1080"/>
                  </a:lnTo>
                  <a:lnTo>
                    <a:pt x="288" y="1082"/>
                  </a:lnTo>
                  <a:lnTo>
                    <a:pt x="298" y="1082"/>
                  </a:lnTo>
                  <a:lnTo>
                    <a:pt x="300" y="1080"/>
                  </a:lnTo>
                  <a:lnTo>
                    <a:pt x="305" y="1075"/>
                  </a:lnTo>
                  <a:lnTo>
                    <a:pt x="300" y="1080"/>
                  </a:lnTo>
                  <a:lnTo>
                    <a:pt x="288" y="1080"/>
                  </a:lnTo>
                  <a:lnTo>
                    <a:pt x="281" y="1082"/>
                  </a:lnTo>
                  <a:lnTo>
                    <a:pt x="279" y="1082"/>
                  </a:lnTo>
                  <a:lnTo>
                    <a:pt x="274" y="1087"/>
                  </a:lnTo>
                  <a:lnTo>
                    <a:pt x="272" y="1087"/>
                  </a:lnTo>
                  <a:lnTo>
                    <a:pt x="267" y="1082"/>
                  </a:lnTo>
                  <a:lnTo>
                    <a:pt x="260" y="1080"/>
                  </a:lnTo>
                  <a:lnTo>
                    <a:pt x="260" y="1075"/>
                  </a:lnTo>
                  <a:lnTo>
                    <a:pt x="265" y="1066"/>
                  </a:lnTo>
                  <a:lnTo>
                    <a:pt x="272" y="1066"/>
                  </a:lnTo>
                  <a:lnTo>
                    <a:pt x="279" y="1063"/>
                  </a:lnTo>
                  <a:lnTo>
                    <a:pt x="279" y="1058"/>
                  </a:lnTo>
                  <a:lnTo>
                    <a:pt x="281" y="1054"/>
                  </a:lnTo>
                  <a:lnTo>
                    <a:pt x="284" y="1047"/>
                  </a:lnTo>
                  <a:lnTo>
                    <a:pt x="284" y="1040"/>
                  </a:lnTo>
                  <a:lnTo>
                    <a:pt x="291" y="1035"/>
                  </a:lnTo>
                  <a:lnTo>
                    <a:pt x="291" y="1032"/>
                  </a:lnTo>
                  <a:lnTo>
                    <a:pt x="288" y="1032"/>
                  </a:lnTo>
                  <a:lnTo>
                    <a:pt x="281" y="1040"/>
                  </a:lnTo>
                  <a:lnTo>
                    <a:pt x="281" y="1042"/>
                  </a:lnTo>
                  <a:lnTo>
                    <a:pt x="279" y="1049"/>
                  </a:lnTo>
                  <a:lnTo>
                    <a:pt x="279" y="1056"/>
                  </a:lnTo>
                  <a:lnTo>
                    <a:pt x="274" y="1058"/>
                  </a:lnTo>
                  <a:lnTo>
                    <a:pt x="267" y="1063"/>
                  </a:lnTo>
                  <a:lnTo>
                    <a:pt x="265" y="1063"/>
                  </a:lnTo>
                  <a:lnTo>
                    <a:pt x="260" y="1066"/>
                  </a:lnTo>
                  <a:lnTo>
                    <a:pt x="260" y="1070"/>
                  </a:lnTo>
                  <a:lnTo>
                    <a:pt x="255" y="1070"/>
                  </a:lnTo>
                  <a:lnTo>
                    <a:pt x="255" y="1066"/>
                  </a:lnTo>
                  <a:lnTo>
                    <a:pt x="251" y="1063"/>
                  </a:lnTo>
                  <a:lnTo>
                    <a:pt x="244" y="1058"/>
                  </a:lnTo>
                  <a:lnTo>
                    <a:pt x="241" y="1058"/>
                  </a:lnTo>
                  <a:lnTo>
                    <a:pt x="241" y="1056"/>
                  </a:lnTo>
                  <a:lnTo>
                    <a:pt x="244" y="1047"/>
                  </a:lnTo>
                  <a:lnTo>
                    <a:pt x="248" y="1042"/>
                  </a:lnTo>
                  <a:lnTo>
                    <a:pt x="251" y="1042"/>
                  </a:lnTo>
                  <a:lnTo>
                    <a:pt x="251" y="1040"/>
                  </a:lnTo>
                  <a:lnTo>
                    <a:pt x="244" y="1042"/>
                  </a:lnTo>
                  <a:lnTo>
                    <a:pt x="241" y="1047"/>
                  </a:lnTo>
                  <a:lnTo>
                    <a:pt x="241" y="1049"/>
                  </a:lnTo>
                  <a:lnTo>
                    <a:pt x="239" y="1054"/>
                  </a:lnTo>
                  <a:lnTo>
                    <a:pt x="234" y="1056"/>
                  </a:lnTo>
                  <a:lnTo>
                    <a:pt x="234" y="1058"/>
                  </a:lnTo>
                  <a:lnTo>
                    <a:pt x="227" y="1058"/>
                  </a:lnTo>
                  <a:lnTo>
                    <a:pt x="225" y="1049"/>
                  </a:lnTo>
                  <a:lnTo>
                    <a:pt x="210" y="1049"/>
                  </a:lnTo>
                  <a:lnTo>
                    <a:pt x="208" y="1047"/>
                  </a:lnTo>
                  <a:lnTo>
                    <a:pt x="203" y="1047"/>
                  </a:lnTo>
                  <a:lnTo>
                    <a:pt x="201" y="1040"/>
                  </a:lnTo>
                  <a:lnTo>
                    <a:pt x="208" y="1040"/>
                  </a:lnTo>
                  <a:lnTo>
                    <a:pt x="203" y="1035"/>
                  </a:lnTo>
                  <a:lnTo>
                    <a:pt x="203" y="1032"/>
                  </a:lnTo>
                  <a:lnTo>
                    <a:pt x="220" y="1032"/>
                  </a:lnTo>
                  <a:lnTo>
                    <a:pt x="225" y="1035"/>
                  </a:lnTo>
                  <a:lnTo>
                    <a:pt x="239" y="1035"/>
                  </a:lnTo>
                  <a:lnTo>
                    <a:pt x="244" y="1032"/>
                  </a:lnTo>
                  <a:lnTo>
                    <a:pt x="251" y="1025"/>
                  </a:lnTo>
                  <a:lnTo>
                    <a:pt x="255" y="1018"/>
                  </a:lnTo>
                  <a:lnTo>
                    <a:pt x="255" y="1006"/>
                  </a:lnTo>
                  <a:lnTo>
                    <a:pt x="251" y="1002"/>
                  </a:lnTo>
                  <a:lnTo>
                    <a:pt x="251" y="1016"/>
                  </a:lnTo>
                  <a:lnTo>
                    <a:pt x="248" y="1018"/>
                  </a:lnTo>
                  <a:lnTo>
                    <a:pt x="241" y="1030"/>
                  </a:lnTo>
                  <a:lnTo>
                    <a:pt x="239" y="1032"/>
                  </a:lnTo>
                  <a:lnTo>
                    <a:pt x="225" y="1032"/>
                  </a:lnTo>
                  <a:lnTo>
                    <a:pt x="215" y="1030"/>
                  </a:lnTo>
                  <a:lnTo>
                    <a:pt x="210" y="1025"/>
                  </a:lnTo>
                  <a:lnTo>
                    <a:pt x="218" y="1023"/>
                  </a:lnTo>
                  <a:lnTo>
                    <a:pt x="218" y="1014"/>
                  </a:lnTo>
                  <a:lnTo>
                    <a:pt x="210" y="1014"/>
                  </a:lnTo>
                  <a:lnTo>
                    <a:pt x="208" y="1009"/>
                  </a:lnTo>
                  <a:lnTo>
                    <a:pt x="203" y="1009"/>
                  </a:lnTo>
                  <a:lnTo>
                    <a:pt x="203" y="1014"/>
                  </a:lnTo>
                  <a:lnTo>
                    <a:pt x="201" y="1014"/>
                  </a:lnTo>
                  <a:lnTo>
                    <a:pt x="199" y="1009"/>
                  </a:lnTo>
                  <a:lnTo>
                    <a:pt x="199" y="1006"/>
                  </a:lnTo>
                  <a:lnTo>
                    <a:pt x="201" y="1002"/>
                  </a:lnTo>
                  <a:lnTo>
                    <a:pt x="203" y="1002"/>
                  </a:lnTo>
                  <a:lnTo>
                    <a:pt x="208" y="1006"/>
                  </a:lnTo>
                  <a:lnTo>
                    <a:pt x="215" y="1009"/>
                  </a:lnTo>
                  <a:lnTo>
                    <a:pt x="218" y="1009"/>
                  </a:lnTo>
                  <a:lnTo>
                    <a:pt x="220" y="1006"/>
                  </a:lnTo>
                  <a:lnTo>
                    <a:pt x="210" y="1006"/>
                  </a:lnTo>
                  <a:lnTo>
                    <a:pt x="208" y="1002"/>
                  </a:lnTo>
                  <a:lnTo>
                    <a:pt x="187" y="1002"/>
                  </a:lnTo>
                  <a:lnTo>
                    <a:pt x="184" y="997"/>
                  </a:lnTo>
                  <a:lnTo>
                    <a:pt x="182" y="997"/>
                  </a:lnTo>
                  <a:lnTo>
                    <a:pt x="175" y="992"/>
                  </a:lnTo>
                  <a:lnTo>
                    <a:pt x="170" y="992"/>
                  </a:lnTo>
                  <a:lnTo>
                    <a:pt x="170" y="990"/>
                  </a:lnTo>
                  <a:lnTo>
                    <a:pt x="168" y="990"/>
                  </a:lnTo>
                  <a:lnTo>
                    <a:pt x="170" y="997"/>
                  </a:lnTo>
                  <a:lnTo>
                    <a:pt x="175" y="997"/>
                  </a:lnTo>
                  <a:lnTo>
                    <a:pt x="177" y="999"/>
                  </a:lnTo>
                  <a:lnTo>
                    <a:pt x="170" y="1002"/>
                  </a:lnTo>
                  <a:lnTo>
                    <a:pt x="170" y="999"/>
                  </a:lnTo>
                  <a:lnTo>
                    <a:pt x="168" y="997"/>
                  </a:lnTo>
                  <a:lnTo>
                    <a:pt x="163" y="990"/>
                  </a:lnTo>
                  <a:lnTo>
                    <a:pt x="158" y="990"/>
                  </a:lnTo>
                  <a:lnTo>
                    <a:pt x="154" y="985"/>
                  </a:lnTo>
                  <a:lnTo>
                    <a:pt x="154" y="983"/>
                  </a:lnTo>
                  <a:lnTo>
                    <a:pt x="151" y="976"/>
                  </a:lnTo>
                  <a:lnTo>
                    <a:pt x="154" y="969"/>
                  </a:lnTo>
                  <a:lnTo>
                    <a:pt x="158" y="969"/>
                  </a:lnTo>
                  <a:lnTo>
                    <a:pt x="161" y="973"/>
                  </a:lnTo>
                  <a:lnTo>
                    <a:pt x="161" y="976"/>
                  </a:lnTo>
                  <a:lnTo>
                    <a:pt x="163" y="976"/>
                  </a:lnTo>
                  <a:lnTo>
                    <a:pt x="168" y="978"/>
                  </a:lnTo>
                  <a:lnTo>
                    <a:pt x="175" y="978"/>
                  </a:lnTo>
                  <a:lnTo>
                    <a:pt x="182" y="983"/>
                  </a:lnTo>
                  <a:lnTo>
                    <a:pt x="199" y="983"/>
                  </a:lnTo>
                  <a:lnTo>
                    <a:pt x="201" y="978"/>
                  </a:lnTo>
                  <a:lnTo>
                    <a:pt x="201" y="976"/>
                  </a:lnTo>
                  <a:lnTo>
                    <a:pt x="201" y="978"/>
                  </a:lnTo>
                  <a:lnTo>
                    <a:pt x="199" y="978"/>
                  </a:lnTo>
                  <a:lnTo>
                    <a:pt x="192" y="983"/>
                  </a:lnTo>
                  <a:lnTo>
                    <a:pt x="184" y="978"/>
                  </a:lnTo>
                  <a:lnTo>
                    <a:pt x="175" y="978"/>
                  </a:lnTo>
                  <a:lnTo>
                    <a:pt x="170" y="976"/>
                  </a:lnTo>
                  <a:lnTo>
                    <a:pt x="163" y="976"/>
                  </a:lnTo>
                  <a:lnTo>
                    <a:pt x="161" y="973"/>
                  </a:lnTo>
                  <a:lnTo>
                    <a:pt x="158" y="966"/>
                  </a:lnTo>
                  <a:lnTo>
                    <a:pt x="147" y="966"/>
                  </a:lnTo>
                  <a:lnTo>
                    <a:pt x="144" y="957"/>
                  </a:lnTo>
                  <a:lnTo>
                    <a:pt x="144" y="952"/>
                  </a:lnTo>
                  <a:lnTo>
                    <a:pt x="147" y="950"/>
                  </a:lnTo>
                  <a:lnTo>
                    <a:pt x="158" y="950"/>
                  </a:lnTo>
                  <a:lnTo>
                    <a:pt x="161" y="952"/>
                  </a:lnTo>
                  <a:lnTo>
                    <a:pt x="163" y="952"/>
                  </a:lnTo>
                  <a:lnTo>
                    <a:pt x="168" y="957"/>
                  </a:lnTo>
                  <a:lnTo>
                    <a:pt x="182" y="957"/>
                  </a:lnTo>
                  <a:lnTo>
                    <a:pt x="184" y="952"/>
                  </a:lnTo>
                  <a:lnTo>
                    <a:pt x="182" y="952"/>
                  </a:lnTo>
                  <a:lnTo>
                    <a:pt x="182" y="957"/>
                  </a:lnTo>
                  <a:lnTo>
                    <a:pt x="175" y="957"/>
                  </a:lnTo>
                  <a:lnTo>
                    <a:pt x="168" y="952"/>
                  </a:lnTo>
                  <a:lnTo>
                    <a:pt x="163" y="950"/>
                  </a:lnTo>
                  <a:lnTo>
                    <a:pt x="161" y="945"/>
                  </a:lnTo>
                  <a:lnTo>
                    <a:pt x="147" y="945"/>
                  </a:lnTo>
                  <a:lnTo>
                    <a:pt x="151" y="943"/>
                  </a:lnTo>
                  <a:lnTo>
                    <a:pt x="154" y="938"/>
                  </a:lnTo>
                  <a:lnTo>
                    <a:pt x="158" y="938"/>
                  </a:lnTo>
                  <a:lnTo>
                    <a:pt x="163" y="936"/>
                  </a:lnTo>
                  <a:lnTo>
                    <a:pt x="170" y="929"/>
                  </a:lnTo>
                  <a:lnTo>
                    <a:pt x="170" y="926"/>
                  </a:lnTo>
                  <a:lnTo>
                    <a:pt x="187" y="926"/>
                  </a:lnTo>
                  <a:lnTo>
                    <a:pt x="194" y="929"/>
                  </a:lnTo>
                  <a:lnTo>
                    <a:pt x="201" y="933"/>
                  </a:lnTo>
                  <a:lnTo>
                    <a:pt x="203" y="933"/>
                  </a:lnTo>
                  <a:lnTo>
                    <a:pt x="215" y="936"/>
                  </a:lnTo>
                  <a:lnTo>
                    <a:pt x="220" y="936"/>
                  </a:lnTo>
                  <a:lnTo>
                    <a:pt x="220" y="926"/>
                  </a:lnTo>
                  <a:lnTo>
                    <a:pt x="220" y="929"/>
                  </a:lnTo>
                  <a:lnTo>
                    <a:pt x="215" y="936"/>
                  </a:lnTo>
                  <a:lnTo>
                    <a:pt x="203" y="929"/>
                  </a:lnTo>
                  <a:lnTo>
                    <a:pt x="201" y="929"/>
                  </a:lnTo>
                  <a:lnTo>
                    <a:pt x="199" y="926"/>
                  </a:lnTo>
                  <a:lnTo>
                    <a:pt x="194" y="926"/>
                  </a:lnTo>
                  <a:lnTo>
                    <a:pt x="187" y="921"/>
                  </a:lnTo>
                  <a:lnTo>
                    <a:pt x="177" y="921"/>
                  </a:lnTo>
                  <a:lnTo>
                    <a:pt x="177" y="919"/>
                  </a:lnTo>
                  <a:lnTo>
                    <a:pt x="184" y="912"/>
                  </a:lnTo>
                  <a:lnTo>
                    <a:pt x="187" y="905"/>
                  </a:lnTo>
                  <a:lnTo>
                    <a:pt x="182" y="912"/>
                  </a:lnTo>
                  <a:lnTo>
                    <a:pt x="170" y="917"/>
                  </a:lnTo>
                  <a:lnTo>
                    <a:pt x="170" y="921"/>
                  </a:lnTo>
                  <a:lnTo>
                    <a:pt x="168" y="929"/>
                  </a:lnTo>
                  <a:lnTo>
                    <a:pt x="163" y="933"/>
                  </a:lnTo>
                  <a:lnTo>
                    <a:pt x="161" y="936"/>
                  </a:lnTo>
                  <a:lnTo>
                    <a:pt x="158" y="936"/>
                  </a:lnTo>
                  <a:lnTo>
                    <a:pt x="158" y="933"/>
                  </a:lnTo>
                  <a:lnTo>
                    <a:pt x="154" y="929"/>
                  </a:lnTo>
                  <a:lnTo>
                    <a:pt x="158" y="929"/>
                  </a:lnTo>
                  <a:lnTo>
                    <a:pt x="158" y="921"/>
                  </a:lnTo>
                  <a:lnTo>
                    <a:pt x="154" y="912"/>
                  </a:lnTo>
                  <a:lnTo>
                    <a:pt x="158" y="903"/>
                  </a:lnTo>
                  <a:lnTo>
                    <a:pt x="161" y="895"/>
                  </a:lnTo>
                  <a:lnTo>
                    <a:pt x="163" y="893"/>
                  </a:lnTo>
                  <a:lnTo>
                    <a:pt x="175" y="893"/>
                  </a:lnTo>
                  <a:lnTo>
                    <a:pt x="177" y="886"/>
                  </a:lnTo>
                  <a:lnTo>
                    <a:pt x="182" y="881"/>
                  </a:lnTo>
                  <a:lnTo>
                    <a:pt x="184" y="879"/>
                  </a:lnTo>
                  <a:lnTo>
                    <a:pt x="192" y="879"/>
                  </a:lnTo>
                  <a:lnTo>
                    <a:pt x="192" y="881"/>
                  </a:lnTo>
                  <a:lnTo>
                    <a:pt x="184" y="881"/>
                  </a:lnTo>
                  <a:lnTo>
                    <a:pt x="182" y="886"/>
                  </a:lnTo>
                  <a:lnTo>
                    <a:pt x="194" y="881"/>
                  </a:lnTo>
                  <a:lnTo>
                    <a:pt x="194" y="879"/>
                  </a:lnTo>
                  <a:lnTo>
                    <a:pt x="199" y="877"/>
                  </a:lnTo>
                  <a:lnTo>
                    <a:pt x="208" y="877"/>
                  </a:lnTo>
                  <a:lnTo>
                    <a:pt x="210" y="872"/>
                  </a:lnTo>
                  <a:lnTo>
                    <a:pt x="218" y="877"/>
                  </a:lnTo>
                  <a:lnTo>
                    <a:pt x="220" y="877"/>
                  </a:lnTo>
                  <a:lnTo>
                    <a:pt x="220" y="881"/>
                  </a:lnTo>
                  <a:lnTo>
                    <a:pt x="225" y="893"/>
                  </a:lnTo>
                  <a:lnTo>
                    <a:pt x="225" y="900"/>
                  </a:lnTo>
                  <a:lnTo>
                    <a:pt x="227" y="903"/>
                  </a:lnTo>
                  <a:lnTo>
                    <a:pt x="227" y="910"/>
                  </a:lnTo>
                  <a:lnTo>
                    <a:pt x="227" y="895"/>
                  </a:lnTo>
                  <a:lnTo>
                    <a:pt x="225" y="888"/>
                  </a:lnTo>
                  <a:lnTo>
                    <a:pt x="220" y="886"/>
                  </a:lnTo>
                  <a:lnTo>
                    <a:pt x="225" y="877"/>
                  </a:lnTo>
                  <a:lnTo>
                    <a:pt x="227" y="877"/>
                  </a:lnTo>
                  <a:lnTo>
                    <a:pt x="232" y="872"/>
                  </a:lnTo>
                  <a:lnTo>
                    <a:pt x="234" y="877"/>
                  </a:lnTo>
                  <a:lnTo>
                    <a:pt x="234" y="872"/>
                  </a:lnTo>
                  <a:lnTo>
                    <a:pt x="218" y="872"/>
                  </a:lnTo>
                  <a:lnTo>
                    <a:pt x="215" y="869"/>
                  </a:lnTo>
                  <a:lnTo>
                    <a:pt x="215" y="853"/>
                  </a:lnTo>
                  <a:lnTo>
                    <a:pt x="218" y="853"/>
                  </a:lnTo>
                  <a:lnTo>
                    <a:pt x="227" y="848"/>
                  </a:lnTo>
                  <a:lnTo>
                    <a:pt x="232" y="848"/>
                  </a:lnTo>
                  <a:lnTo>
                    <a:pt x="239" y="841"/>
                  </a:lnTo>
                  <a:lnTo>
                    <a:pt x="239" y="829"/>
                  </a:lnTo>
                  <a:lnTo>
                    <a:pt x="239" y="832"/>
                  </a:lnTo>
                  <a:lnTo>
                    <a:pt x="234" y="841"/>
                  </a:lnTo>
                  <a:lnTo>
                    <a:pt x="227" y="846"/>
                  </a:lnTo>
                  <a:lnTo>
                    <a:pt x="225" y="848"/>
                  </a:lnTo>
                  <a:lnTo>
                    <a:pt x="215" y="848"/>
                  </a:lnTo>
                  <a:lnTo>
                    <a:pt x="210" y="853"/>
                  </a:lnTo>
                  <a:lnTo>
                    <a:pt x="210" y="855"/>
                  </a:lnTo>
                  <a:lnTo>
                    <a:pt x="208" y="860"/>
                  </a:lnTo>
                  <a:lnTo>
                    <a:pt x="201" y="860"/>
                  </a:lnTo>
                  <a:lnTo>
                    <a:pt x="199" y="862"/>
                  </a:lnTo>
                  <a:lnTo>
                    <a:pt x="187" y="865"/>
                  </a:lnTo>
                  <a:lnTo>
                    <a:pt x="175" y="865"/>
                  </a:lnTo>
                  <a:lnTo>
                    <a:pt x="175" y="862"/>
                  </a:lnTo>
                  <a:lnTo>
                    <a:pt x="184" y="841"/>
                  </a:lnTo>
                  <a:lnTo>
                    <a:pt x="182" y="841"/>
                  </a:lnTo>
                  <a:lnTo>
                    <a:pt x="177" y="848"/>
                  </a:lnTo>
                  <a:lnTo>
                    <a:pt x="170" y="855"/>
                  </a:lnTo>
                  <a:lnTo>
                    <a:pt x="170" y="841"/>
                  </a:lnTo>
                  <a:lnTo>
                    <a:pt x="175" y="841"/>
                  </a:lnTo>
                  <a:lnTo>
                    <a:pt x="175" y="839"/>
                  </a:lnTo>
                  <a:lnTo>
                    <a:pt x="184" y="839"/>
                  </a:lnTo>
                  <a:lnTo>
                    <a:pt x="184" y="836"/>
                  </a:lnTo>
                  <a:lnTo>
                    <a:pt x="175" y="836"/>
                  </a:lnTo>
                  <a:lnTo>
                    <a:pt x="170" y="839"/>
                  </a:lnTo>
                  <a:lnTo>
                    <a:pt x="168" y="841"/>
                  </a:lnTo>
                  <a:lnTo>
                    <a:pt x="158" y="848"/>
                  </a:lnTo>
                  <a:lnTo>
                    <a:pt x="154" y="853"/>
                  </a:lnTo>
                  <a:lnTo>
                    <a:pt x="151" y="848"/>
                  </a:lnTo>
                  <a:lnTo>
                    <a:pt x="154" y="841"/>
                  </a:lnTo>
                  <a:lnTo>
                    <a:pt x="161" y="841"/>
                  </a:lnTo>
                  <a:lnTo>
                    <a:pt x="163" y="839"/>
                  </a:lnTo>
                  <a:lnTo>
                    <a:pt x="163" y="832"/>
                  </a:lnTo>
                  <a:lnTo>
                    <a:pt x="168" y="829"/>
                  </a:lnTo>
                  <a:lnTo>
                    <a:pt x="177" y="820"/>
                  </a:lnTo>
                  <a:lnTo>
                    <a:pt x="177" y="815"/>
                  </a:lnTo>
                  <a:lnTo>
                    <a:pt x="182" y="806"/>
                  </a:lnTo>
                  <a:lnTo>
                    <a:pt x="175" y="808"/>
                  </a:lnTo>
                  <a:lnTo>
                    <a:pt x="170" y="808"/>
                  </a:lnTo>
                  <a:lnTo>
                    <a:pt x="163" y="806"/>
                  </a:lnTo>
                  <a:lnTo>
                    <a:pt x="163" y="799"/>
                  </a:lnTo>
                  <a:lnTo>
                    <a:pt x="168" y="792"/>
                  </a:lnTo>
                  <a:lnTo>
                    <a:pt x="168" y="784"/>
                  </a:lnTo>
                  <a:lnTo>
                    <a:pt x="170" y="775"/>
                  </a:lnTo>
                  <a:lnTo>
                    <a:pt x="168" y="768"/>
                  </a:lnTo>
                  <a:lnTo>
                    <a:pt x="163" y="768"/>
                  </a:lnTo>
                  <a:lnTo>
                    <a:pt x="161" y="763"/>
                  </a:lnTo>
                  <a:lnTo>
                    <a:pt x="161" y="749"/>
                  </a:lnTo>
                  <a:lnTo>
                    <a:pt x="163" y="744"/>
                  </a:lnTo>
                  <a:lnTo>
                    <a:pt x="163" y="732"/>
                  </a:lnTo>
                  <a:lnTo>
                    <a:pt x="175" y="735"/>
                  </a:lnTo>
                  <a:lnTo>
                    <a:pt x="175" y="744"/>
                  </a:lnTo>
                  <a:lnTo>
                    <a:pt x="182" y="751"/>
                  </a:lnTo>
                  <a:lnTo>
                    <a:pt x="182" y="756"/>
                  </a:lnTo>
                  <a:lnTo>
                    <a:pt x="184" y="756"/>
                  </a:lnTo>
                  <a:lnTo>
                    <a:pt x="187" y="751"/>
                  </a:lnTo>
                  <a:lnTo>
                    <a:pt x="199" y="756"/>
                  </a:lnTo>
                  <a:lnTo>
                    <a:pt x="201" y="756"/>
                  </a:lnTo>
                  <a:lnTo>
                    <a:pt x="201" y="758"/>
                  </a:lnTo>
                  <a:lnTo>
                    <a:pt x="203" y="758"/>
                  </a:lnTo>
                  <a:lnTo>
                    <a:pt x="203" y="780"/>
                  </a:lnTo>
                  <a:lnTo>
                    <a:pt x="208" y="782"/>
                  </a:lnTo>
                  <a:lnTo>
                    <a:pt x="208" y="773"/>
                  </a:lnTo>
                  <a:lnTo>
                    <a:pt x="203" y="768"/>
                  </a:lnTo>
                  <a:lnTo>
                    <a:pt x="203" y="756"/>
                  </a:lnTo>
                  <a:lnTo>
                    <a:pt x="201" y="756"/>
                  </a:lnTo>
                  <a:lnTo>
                    <a:pt x="194" y="751"/>
                  </a:lnTo>
                  <a:lnTo>
                    <a:pt x="187" y="749"/>
                  </a:lnTo>
                  <a:lnTo>
                    <a:pt x="182" y="749"/>
                  </a:lnTo>
                  <a:lnTo>
                    <a:pt x="175" y="728"/>
                  </a:lnTo>
                  <a:lnTo>
                    <a:pt x="177" y="725"/>
                  </a:lnTo>
                  <a:lnTo>
                    <a:pt x="182" y="723"/>
                  </a:lnTo>
                  <a:lnTo>
                    <a:pt x="182" y="716"/>
                  </a:lnTo>
                  <a:lnTo>
                    <a:pt x="192" y="716"/>
                  </a:lnTo>
                  <a:lnTo>
                    <a:pt x="199" y="718"/>
                  </a:lnTo>
                  <a:lnTo>
                    <a:pt x="199" y="716"/>
                  </a:lnTo>
                  <a:lnTo>
                    <a:pt x="194" y="716"/>
                  </a:lnTo>
                  <a:lnTo>
                    <a:pt x="192" y="711"/>
                  </a:lnTo>
                  <a:lnTo>
                    <a:pt x="192" y="709"/>
                  </a:lnTo>
                  <a:lnTo>
                    <a:pt x="194" y="704"/>
                  </a:lnTo>
                  <a:lnTo>
                    <a:pt x="199" y="699"/>
                  </a:lnTo>
                  <a:lnTo>
                    <a:pt x="194" y="702"/>
                  </a:lnTo>
                  <a:lnTo>
                    <a:pt x="192" y="704"/>
                  </a:lnTo>
                  <a:lnTo>
                    <a:pt x="184" y="709"/>
                  </a:lnTo>
                  <a:lnTo>
                    <a:pt x="175" y="716"/>
                  </a:lnTo>
                  <a:lnTo>
                    <a:pt x="163" y="716"/>
                  </a:lnTo>
                  <a:lnTo>
                    <a:pt x="154" y="723"/>
                  </a:lnTo>
                  <a:lnTo>
                    <a:pt x="151" y="728"/>
                  </a:lnTo>
                  <a:lnTo>
                    <a:pt x="151" y="732"/>
                  </a:lnTo>
                  <a:lnTo>
                    <a:pt x="147" y="735"/>
                  </a:lnTo>
                  <a:lnTo>
                    <a:pt x="147" y="740"/>
                  </a:lnTo>
                  <a:lnTo>
                    <a:pt x="144" y="742"/>
                  </a:lnTo>
                  <a:lnTo>
                    <a:pt x="142" y="742"/>
                  </a:lnTo>
                  <a:lnTo>
                    <a:pt x="142" y="740"/>
                  </a:lnTo>
                  <a:lnTo>
                    <a:pt x="137" y="725"/>
                  </a:lnTo>
                  <a:lnTo>
                    <a:pt x="130" y="711"/>
                  </a:lnTo>
                  <a:lnTo>
                    <a:pt x="130" y="699"/>
                  </a:lnTo>
                  <a:lnTo>
                    <a:pt x="128" y="699"/>
                  </a:lnTo>
                  <a:lnTo>
                    <a:pt x="128" y="695"/>
                  </a:lnTo>
                  <a:lnTo>
                    <a:pt x="123" y="685"/>
                  </a:lnTo>
                  <a:lnTo>
                    <a:pt x="123" y="678"/>
                  </a:lnTo>
                  <a:lnTo>
                    <a:pt x="128" y="669"/>
                  </a:lnTo>
                  <a:lnTo>
                    <a:pt x="130" y="666"/>
                  </a:lnTo>
                  <a:lnTo>
                    <a:pt x="135" y="662"/>
                  </a:lnTo>
                  <a:lnTo>
                    <a:pt x="147" y="662"/>
                  </a:lnTo>
                  <a:lnTo>
                    <a:pt x="151" y="666"/>
                  </a:lnTo>
                  <a:lnTo>
                    <a:pt x="154" y="669"/>
                  </a:lnTo>
                  <a:lnTo>
                    <a:pt x="158" y="669"/>
                  </a:lnTo>
                  <a:lnTo>
                    <a:pt x="163" y="666"/>
                  </a:lnTo>
                  <a:lnTo>
                    <a:pt x="161" y="666"/>
                  </a:lnTo>
                  <a:lnTo>
                    <a:pt x="154" y="662"/>
                  </a:lnTo>
                  <a:lnTo>
                    <a:pt x="151" y="662"/>
                  </a:lnTo>
                  <a:lnTo>
                    <a:pt x="147" y="659"/>
                  </a:lnTo>
                  <a:lnTo>
                    <a:pt x="137" y="659"/>
                  </a:lnTo>
                  <a:lnTo>
                    <a:pt x="135" y="662"/>
                  </a:lnTo>
                  <a:lnTo>
                    <a:pt x="128" y="654"/>
                  </a:lnTo>
                  <a:lnTo>
                    <a:pt x="130" y="647"/>
                  </a:lnTo>
                  <a:lnTo>
                    <a:pt x="130" y="643"/>
                  </a:lnTo>
                  <a:lnTo>
                    <a:pt x="128" y="643"/>
                  </a:lnTo>
                  <a:lnTo>
                    <a:pt x="123" y="638"/>
                  </a:lnTo>
                  <a:lnTo>
                    <a:pt x="121" y="638"/>
                  </a:lnTo>
                  <a:lnTo>
                    <a:pt x="121" y="631"/>
                  </a:lnTo>
                  <a:lnTo>
                    <a:pt x="128" y="626"/>
                  </a:lnTo>
                  <a:lnTo>
                    <a:pt x="130" y="619"/>
                  </a:lnTo>
                  <a:lnTo>
                    <a:pt x="135" y="614"/>
                  </a:lnTo>
                  <a:lnTo>
                    <a:pt x="137" y="621"/>
                  </a:lnTo>
                  <a:lnTo>
                    <a:pt x="137" y="631"/>
                  </a:lnTo>
                  <a:lnTo>
                    <a:pt x="142" y="645"/>
                  </a:lnTo>
                  <a:lnTo>
                    <a:pt x="142" y="647"/>
                  </a:lnTo>
                  <a:lnTo>
                    <a:pt x="144" y="647"/>
                  </a:lnTo>
                  <a:lnTo>
                    <a:pt x="142" y="645"/>
                  </a:lnTo>
                  <a:lnTo>
                    <a:pt x="142" y="636"/>
                  </a:lnTo>
                  <a:lnTo>
                    <a:pt x="137" y="621"/>
                  </a:lnTo>
                  <a:lnTo>
                    <a:pt x="137" y="612"/>
                  </a:lnTo>
                  <a:lnTo>
                    <a:pt x="144" y="612"/>
                  </a:lnTo>
                  <a:lnTo>
                    <a:pt x="147" y="614"/>
                  </a:lnTo>
                  <a:lnTo>
                    <a:pt x="151" y="619"/>
                  </a:lnTo>
                  <a:lnTo>
                    <a:pt x="151" y="621"/>
                  </a:lnTo>
                  <a:lnTo>
                    <a:pt x="154" y="626"/>
                  </a:lnTo>
                  <a:lnTo>
                    <a:pt x="158" y="626"/>
                  </a:lnTo>
                  <a:lnTo>
                    <a:pt x="154" y="626"/>
                  </a:lnTo>
                  <a:lnTo>
                    <a:pt x="154" y="621"/>
                  </a:lnTo>
                  <a:lnTo>
                    <a:pt x="147" y="612"/>
                  </a:lnTo>
                  <a:lnTo>
                    <a:pt x="154" y="603"/>
                  </a:lnTo>
                  <a:lnTo>
                    <a:pt x="163" y="595"/>
                  </a:lnTo>
                  <a:lnTo>
                    <a:pt x="170" y="595"/>
                  </a:lnTo>
                  <a:lnTo>
                    <a:pt x="184" y="603"/>
                  </a:lnTo>
                  <a:lnTo>
                    <a:pt x="184" y="598"/>
                  </a:lnTo>
                  <a:lnTo>
                    <a:pt x="177" y="595"/>
                  </a:lnTo>
                  <a:lnTo>
                    <a:pt x="170" y="595"/>
                  </a:lnTo>
                  <a:lnTo>
                    <a:pt x="168" y="591"/>
                  </a:lnTo>
                  <a:lnTo>
                    <a:pt x="170" y="588"/>
                  </a:lnTo>
                  <a:lnTo>
                    <a:pt x="170" y="586"/>
                  </a:lnTo>
                  <a:lnTo>
                    <a:pt x="182" y="579"/>
                  </a:lnTo>
                  <a:lnTo>
                    <a:pt x="192" y="569"/>
                  </a:lnTo>
                  <a:lnTo>
                    <a:pt x="199" y="565"/>
                  </a:lnTo>
                  <a:lnTo>
                    <a:pt x="201" y="562"/>
                  </a:lnTo>
                  <a:lnTo>
                    <a:pt x="201" y="565"/>
                  </a:lnTo>
                  <a:lnTo>
                    <a:pt x="208" y="565"/>
                  </a:lnTo>
                  <a:lnTo>
                    <a:pt x="208" y="562"/>
                  </a:lnTo>
                  <a:lnTo>
                    <a:pt x="201" y="562"/>
                  </a:lnTo>
                  <a:lnTo>
                    <a:pt x="199" y="558"/>
                  </a:lnTo>
                  <a:lnTo>
                    <a:pt x="199" y="562"/>
                  </a:lnTo>
                  <a:lnTo>
                    <a:pt x="199" y="548"/>
                  </a:lnTo>
                  <a:lnTo>
                    <a:pt x="194" y="555"/>
                  </a:lnTo>
                  <a:lnTo>
                    <a:pt x="194" y="558"/>
                  </a:lnTo>
                  <a:lnTo>
                    <a:pt x="192" y="569"/>
                  </a:lnTo>
                  <a:lnTo>
                    <a:pt x="177" y="581"/>
                  </a:lnTo>
                  <a:lnTo>
                    <a:pt x="168" y="588"/>
                  </a:lnTo>
                  <a:lnTo>
                    <a:pt x="163" y="591"/>
                  </a:lnTo>
                  <a:lnTo>
                    <a:pt x="161" y="591"/>
                  </a:lnTo>
                  <a:lnTo>
                    <a:pt x="161" y="581"/>
                  </a:lnTo>
                  <a:lnTo>
                    <a:pt x="168" y="579"/>
                  </a:lnTo>
                  <a:lnTo>
                    <a:pt x="170" y="574"/>
                  </a:lnTo>
                  <a:lnTo>
                    <a:pt x="175" y="574"/>
                  </a:lnTo>
                  <a:lnTo>
                    <a:pt x="182" y="569"/>
                  </a:lnTo>
                  <a:lnTo>
                    <a:pt x="182" y="562"/>
                  </a:lnTo>
                  <a:lnTo>
                    <a:pt x="184" y="546"/>
                  </a:lnTo>
                  <a:lnTo>
                    <a:pt x="187" y="529"/>
                  </a:lnTo>
                  <a:lnTo>
                    <a:pt x="192" y="525"/>
                  </a:lnTo>
                  <a:lnTo>
                    <a:pt x="194" y="525"/>
                  </a:lnTo>
                  <a:lnTo>
                    <a:pt x="194" y="522"/>
                  </a:lnTo>
                  <a:lnTo>
                    <a:pt x="199" y="522"/>
                  </a:lnTo>
                  <a:lnTo>
                    <a:pt x="201" y="515"/>
                  </a:lnTo>
                  <a:lnTo>
                    <a:pt x="203" y="508"/>
                  </a:lnTo>
                  <a:lnTo>
                    <a:pt x="203" y="499"/>
                  </a:lnTo>
                  <a:lnTo>
                    <a:pt x="199" y="499"/>
                  </a:lnTo>
                  <a:lnTo>
                    <a:pt x="192" y="491"/>
                  </a:lnTo>
                  <a:lnTo>
                    <a:pt x="192" y="482"/>
                  </a:lnTo>
                  <a:lnTo>
                    <a:pt x="184" y="475"/>
                  </a:lnTo>
                  <a:lnTo>
                    <a:pt x="184" y="466"/>
                  </a:lnTo>
                  <a:lnTo>
                    <a:pt x="182" y="461"/>
                  </a:lnTo>
                  <a:lnTo>
                    <a:pt x="177" y="461"/>
                  </a:lnTo>
                  <a:lnTo>
                    <a:pt x="170" y="454"/>
                  </a:lnTo>
                  <a:lnTo>
                    <a:pt x="168" y="451"/>
                  </a:lnTo>
                  <a:lnTo>
                    <a:pt x="168" y="449"/>
                  </a:lnTo>
                  <a:lnTo>
                    <a:pt x="163" y="442"/>
                  </a:lnTo>
                  <a:lnTo>
                    <a:pt x="158" y="428"/>
                  </a:lnTo>
                  <a:lnTo>
                    <a:pt x="154" y="428"/>
                  </a:lnTo>
                  <a:lnTo>
                    <a:pt x="144" y="425"/>
                  </a:lnTo>
                  <a:lnTo>
                    <a:pt x="147" y="414"/>
                  </a:lnTo>
                  <a:lnTo>
                    <a:pt x="151" y="409"/>
                  </a:lnTo>
                  <a:lnTo>
                    <a:pt x="144" y="397"/>
                  </a:lnTo>
                  <a:lnTo>
                    <a:pt x="144" y="395"/>
                  </a:lnTo>
                  <a:lnTo>
                    <a:pt x="147" y="392"/>
                  </a:lnTo>
                  <a:lnTo>
                    <a:pt x="151" y="385"/>
                  </a:lnTo>
                  <a:lnTo>
                    <a:pt x="154" y="385"/>
                  </a:lnTo>
                  <a:lnTo>
                    <a:pt x="147" y="378"/>
                  </a:lnTo>
                  <a:lnTo>
                    <a:pt x="144" y="376"/>
                  </a:lnTo>
                  <a:lnTo>
                    <a:pt x="147" y="369"/>
                  </a:lnTo>
                  <a:lnTo>
                    <a:pt x="151" y="369"/>
                  </a:lnTo>
                  <a:lnTo>
                    <a:pt x="151" y="291"/>
                  </a:lnTo>
                  <a:lnTo>
                    <a:pt x="147" y="288"/>
                  </a:lnTo>
                  <a:lnTo>
                    <a:pt x="147" y="281"/>
                  </a:lnTo>
                  <a:lnTo>
                    <a:pt x="151" y="277"/>
                  </a:lnTo>
                  <a:lnTo>
                    <a:pt x="151" y="265"/>
                  </a:lnTo>
                  <a:lnTo>
                    <a:pt x="147" y="260"/>
                  </a:lnTo>
                  <a:lnTo>
                    <a:pt x="147" y="248"/>
                  </a:lnTo>
                  <a:lnTo>
                    <a:pt x="151" y="243"/>
                  </a:lnTo>
                  <a:lnTo>
                    <a:pt x="151" y="232"/>
                  </a:lnTo>
                  <a:lnTo>
                    <a:pt x="147" y="220"/>
                  </a:lnTo>
                  <a:lnTo>
                    <a:pt x="147" y="210"/>
                  </a:lnTo>
                  <a:lnTo>
                    <a:pt x="142" y="201"/>
                  </a:lnTo>
                  <a:lnTo>
                    <a:pt x="137" y="194"/>
                  </a:lnTo>
                  <a:lnTo>
                    <a:pt x="135" y="184"/>
                  </a:lnTo>
                  <a:lnTo>
                    <a:pt x="137" y="180"/>
                  </a:lnTo>
                  <a:lnTo>
                    <a:pt x="137" y="163"/>
                  </a:lnTo>
                  <a:lnTo>
                    <a:pt x="135" y="163"/>
                  </a:lnTo>
                  <a:lnTo>
                    <a:pt x="135" y="151"/>
                  </a:lnTo>
                  <a:lnTo>
                    <a:pt x="128" y="144"/>
                  </a:lnTo>
                  <a:lnTo>
                    <a:pt x="128" y="128"/>
                  </a:lnTo>
                  <a:lnTo>
                    <a:pt x="130" y="128"/>
                  </a:lnTo>
                  <a:lnTo>
                    <a:pt x="135" y="123"/>
                  </a:lnTo>
                  <a:lnTo>
                    <a:pt x="135" y="121"/>
                  </a:lnTo>
                  <a:lnTo>
                    <a:pt x="137" y="121"/>
                  </a:lnTo>
                  <a:lnTo>
                    <a:pt x="135" y="114"/>
                  </a:lnTo>
                  <a:lnTo>
                    <a:pt x="135" y="111"/>
                  </a:lnTo>
                  <a:lnTo>
                    <a:pt x="130" y="102"/>
                  </a:lnTo>
                  <a:lnTo>
                    <a:pt x="128" y="90"/>
                  </a:lnTo>
                  <a:lnTo>
                    <a:pt x="111" y="90"/>
                  </a:lnTo>
                  <a:lnTo>
                    <a:pt x="104" y="95"/>
                  </a:lnTo>
                  <a:lnTo>
                    <a:pt x="97" y="90"/>
                  </a:lnTo>
                  <a:lnTo>
                    <a:pt x="85" y="90"/>
                  </a:lnTo>
                  <a:lnTo>
                    <a:pt x="88" y="90"/>
                  </a:lnTo>
                  <a:lnTo>
                    <a:pt x="88" y="97"/>
                  </a:lnTo>
                  <a:lnTo>
                    <a:pt x="81" y="102"/>
                  </a:lnTo>
                  <a:lnTo>
                    <a:pt x="78" y="102"/>
                  </a:lnTo>
                  <a:lnTo>
                    <a:pt x="73" y="97"/>
                  </a:lnTo>
                  <a:lnTo>
                    <a:pt x="71" y="102"/>
                  </a:lnTo>
                  <a:lnTo>
                    <a:pt x="71" y="104"/>
                  </a:lnTo>
                  <a:lnTo>
                    <a:pt x="66" y="111"/>
                  </a:lnTo>
                  <a:lnTo>
                    <a:pt x="64" y="114"/>
                  </a:lnTo>
                  <a:lnTo>
                    <a:pt x="57" y="118"/>
                  </a:lnTo>
                  <a:lnTo>
                    <a:pt x="50" y="118"/>
                  </a:lnTo>
                  <a:lnTo>
                    <a:pt x="47" y="114"/>
                  </a:lnTo>
                  <a:lnTo>
                    <a:pt x="40" y="114"/>
                  </a:lnTo>
                  <a:lnTo>
                    <a:pt x="38" y="118"/>
                  </a:lnTo>
                  <a:lnTo>
                    <a:pt x="17" y="118"/>
                  </a:lnTo>
                  <a:lnTo>
                    <a:pt x="14" y="121"/>
                  </a:lnTo>
                  <a:lnTo>
                    <a:pt x="10" y="121"/>
                  </a:lnTo>
                  <a:lnTo>
                    <a:pt x="7" y="118"/>
                  </a:lnTo>
                  <a:lnTo>
                    <a:pt x="10" y="118"/>
                  </a:lnTo>
                  <a:lnTo>
                    <a:pt x="10" y="114"/>
                  </a:lnTo>
                  <a:lnTo>
                    <a:pt x="14" y="114"/>
                  </a:lnTo>
                  <a:lnTo>
                    <a:pt x="14" y="106"/>
                  </a:lnTo>
                  <a:lnTo>
                    <a:pt x="17" y="102"/>
                  </a:lnTo>
                  <a:lnTo>
                    <a:pt x="17" y="97"/>
                  </a:lnTo>
                  <a:lnTo>
                    <a:pt x="21" y="90"/>
                  </a:lnTo>
                  <a:lnTo>
                    <a:pt x="17" y="71"/>
                  </a:lnTo>
                  <a:lnTo>
                    <a:pt x="14" y="57"/>
                  </a:lnTo>
                  <a:lnTo>
                    <a:pt x="10" y="47"/>
                  </a:lnTo>
                  <a:lnTo>
                    <a:pt x="7" y="33"/>
                  </a:lnTo>
                  <a:lnTo>
                    <a:pt x="7" y="17"/>
                  </a:lnTo>
                  <a:lnTo>
                    <a:pt x="10" y="14"/>
                  </a:lnTo>
                  <a:lnTo>
                    <a:pt x="5" y="5"/>
                  </a:lnTo>
                  <a:lnTo>
                    <a:pt x="0" y="0"/>
                  </a:lnTo>
                  <a:lnTo>
                    <a:pt x="5" y="0"/>
                  </a:lnTo>
                  <a:lnTo>
                    <a:pt x="7" y="5"/>
                  </a:lnTo>
                  <a:lnTo>
                    <a:pt x="14" y="7"/>
                  </a:lnTo>
                  <a:lnTo>
                    <a:pt x="21" y="10"/>
                  </a:lnTo>
                  <a:lnTo>
                    <a:pt x="24" y="14"/>
                  </a:lnTo>
                  <a:lnTo>
                    <a:pt x="31" y="17"/>
                  </a:lnTo>
                  <a:lnTo>
                    <a:pt x="57" y="33"/>
                  </a:lnTo>
                  <a:lnTo>
                    <a:pt x="73" y="40"/>
                  </a:lnTo>
                  <a:lnTo>
                    <a:pt x="78" y="43"/>
                  </a:lnTo>
                  <a:lnTo>
                    <a:pt x="85" y="47"/>
                  </a:lnTo>
                  <a:lnTo>
                    <a:pt x="90" y="50"/>
                  </a:lnTo>
                  <a:lnTo>
                    <a:pt x="104" y="57"/>
                  </a:lnTo>
                  <a:lnTo>
                    <a:pt x="118" y="66"/>
                  </a:lnTo>
                  <a:lnTo>
                    <a:pt x="123" y="71"/>
                  </a:lnTo>
                  <a:lnTo>
                    <a:pt x="135" y="73"/>
                  </a:lnTo>
                  <a:lnTo>
                    <a:pt x="147" y="80"/>
                  </a:lnTo>
                  <a:lnTo>
                    <a:pt x="170" y="95"/>
                  </a:lnTo>
                  <a:lnTo>
                    <a:pt x="187" y="102"/>
                  </a:lnTo>
                  <a:lnTo>
                    <a:pt x="201" y="106"/>
                  </a:lnTo>
                  <a:lnTo>
                    <a:pt x="218" y="118"/>
                  </a:lnTo>
                  <a:lnTo>
                    <a:pt x="241" y="128"/>
                  </a:lnTo>
                  <a:lnTo>
                    <a:pt x="260" y="137"/>
                  </a:lnTo>
                  <a:lnTo>
                    <a:pt x="267" y="142"/>
                  </a:lnTo>
                  <a:lnTo>
                    <a:pt x="279" y="144"/>
                  </a:lnTo>
                  <a:lnTo>
                    <a:pt x="291" y="151"/>
                  </a:lnTo>
                  <a:lnTo>
                    <a:pt x="307" y="158"/>
                  </a:lnTo>
                  <a:lnTo>
                    <a:pt x="314" y="163"/>
                  </a:lnTo>
                  <a:lnTo>
                    <a:pt x="329" y="168"/>
                  </a:lnTo>
                  <a:lnTo>
                    <a:pt x="336" y="170"/>
                  </a:lnTo>
                  <a:lnTo>
                    <a:pt x="340" y="175"/>
                  </a:lnTo>
                  <a:lnTo>
                    <a:pt x="352" y="177"/>
                  </a:lnTo>
                  <a:lnTo>
                    <a:pt x="369" y="187"/>
                  </a:lnTo>
                  <a:lnTo>
                    <a:pt x="381" y="191"/>
                  </a:lnTo>
                  <a:lnTo>
                    <a:pt x="395" y="199"/>
                  </a:lnTo>
                  <a:lnTo>
                    <a:pt x="402" y="201"/>
                  </a:lnTo>
                  <a:lnTo>
                    <a:pt x="409" y="201"/>
                  </a:lnTo>
                  <a:lnTo>
                    <a:pt x="435" y="215"/>
                  </a:lnTo>
                  <a:lnTo>
                    <a:pt x="484" y="232"/>
                  </a:lnTo>
                  <a:lnTo>
                    <a:pt x="492" y="234"/>
                  </a:lnTo>
                  <a:lnTo>
                    <a:pt x="515" y="243"/>
                  </a:lnTo>
                  <a:lnTo>
                    <a:pt x="522" y="243"/>
                  </a:lnTo>
                  <a:lnTo>
                    <a:pt x="534" y="251"/>
                  </a:lnTo>
                  <a:lnTo>
                    <a:pt x="541" y="251"/>
                  </a:lnTo>
                  <a:lnTo>
                    <a:pt x="562" y="260"/>
                  </a:lnTo>
                  <a:lnTo>
                    <a:pt x="581" y="267"/>
                  </a:lnTo>
                  <a:lnTo>
                    <a:pt x="605" y="274"/>
                  </a:lnTo>
                  <a:lnTo>
                    <a:pt x="610" y="274"/>
                  </a:lnTo>
                  <a:lnTo>
                    <a:pt x="612" y="277"/>
                  </a:lnTo>
                  <a:lnTo>
                    <a:pt x="614" y="277"/>
                  </a:lnTo>
                  <a:lnTo>
                    <a:pt x="621" y="281"/>
                  </a:lnTo>
                  <a:lnTo>
                    <a:pt x="629" y="284"/>
                  </a:lnTo>
                  <a:lnTo>
                    <a:pt x="645" y="288"/>
                  </a:lnTo>
                  <a:lnTo>
                    <a:pt x="650" y="288"/>
                  </a:lnTo>
                  <a:lnTo>
                    <a:pt x="699" y="305"/>
                  </a:lnTo>
                  <a:lnTo>
                    <a:pt x="709" y="307"/>
                  </a:lnTo>
                  <a:lnTo>
                    <a:pt x="728" y="314"/>
                  </a:lnTo>
                  <a:lnTo>
                    <a:pt x="747" y="317"/>
                  </a:lnTo>
                  <a:lnTo>
                    <a:pt x="758" y="321"/>
                  </a:lnTo>
                  <a:lnTo>
                    <a:pt x="768" y="324"/>
                  </a:lnTo>
                  <a:lnTo>
                    <a:pt x="773" y="324"/>
                  </a:lnTo>
                  <a:lnTo>
                    <a:pt x="775" y="328"/>
                  </a:lnTo>
                  <a:lnTo>
                    <a:pt x="773" y="328"/>
                  </a:lnTo>
                  <a:lnTo>
                    <a:pt x="768" y="340"/>
                  </a:lnTo>
                  <a:lnTo>
                    <a:pt x="766" y="354"/>
                  </a:lnTo>
                  <a:lnTo>
                    <a:pt x="749" y="404"/>
                  </a:lnTo>
                  <a:lnTo>
                    <a:pt x="742" y="428"/>
                  </a:lnTo>
                  <a:lnTo>
                    <a:pt x="735" y="449"/>
                  </a:lnTo>
                  <a:lnTo>
                    <a:pt x="735" y="458"/>
                  </a:lnTo>
                  <a:lnTo>
                    <a:pt x="733" y="466"/>
                  </a:lnTo>
                  <a:lnTo>
                    <a:pt x="725" y="484"/>
                  </a:lnTo>
                  <a:lnTo>
                    <a:pt x="718" y="515"/>
                  </a:lnTo>
                  <a:lnTo>
                    <a:pt x="711" y="532"/>
                  </a:lnTo>
                  <a:lnTo>
                    <a:pt x="707" y="555"/>
                  </a:lnTo>
                  <a:lnTo>
                    <a:pt x="699" y="579"/>
                  </a:lnTo>
                  <a:lnTo>
                    <a:pt x="688" y="607"/>
                  </a:lnTo>
                  <a:lnTo>
                    <a:pt x="688" y="619"/>
                  </a:lnTo>
                  <a:lnTo>
                    <a:pt x="683" y="638"/>
                  </a:lnTo>
                  <a:lnTo>
                    <a:pt x="678" y="643"/>
                  </a:lnTo>
                  <a:lnTo>
                    <a:pt x="678" y="652"/>
                  </a:lnTo>
                  <a:lnTo>
                    <a:pt x="671" y="669"/>
                  </a:lnTo>
                  <a:lnTo>
                    <a:pt x="662" y="704"/>
                  </a:lnTo>
                  <a:lnTo>
                    <a:pt x="650" y="751"/>
                  </a:lnTo>
                  <a:lnTo>
                    <a:pt x="638" y="784"/>
                  </a:lnTo>
                  <a:lnTo>
                    <a:pt x="636" y="796"/>
                  </a:lnTo>
                  <a:lnTo>
                    <a:pt x="631" y="806"/>
                  </a:lnTo>
                  <a:lnTo>
                    <a:pt x="631" y="813"/>
                  </a:lnTo>
                  <a:lnTo>
                    <a:pt x="619" y="855"/>
                  </a:lnTo>
                  <a:lnTo>
                    <a:pt x="619" y="860"/>
                  </a:lnTo>
                  <a:lnTo>
                    <a:pt x="621" y="865"/>
                  </a:lnTo>
                  <a:lnTo>
                    <a:pt x="626" y="869"/>
                  </a:lnTo>
                  <a:lnTo>
                    <a:pt x="626" y="877"/>
                  </a:lnTo>
                  <a:lnTo>
                    <a:pt x="629" y="879"/>
                  </a:lnTo>
                  <a:lnTo>
                    <a:pt x="619" y="879"/>
                  </a:lnTo>
                  <a:lnTo>
                    <a:pt x="619" y="886"/>
                  </a:lnTo>
                  <a:lnTo>
                    <a:pt x="621" y="900"/>
                  </a:lnTo>
                  <a:lnTo>
                    <a:pt x="626" y="903"/>
                  </a:lnTo>
                  <a:lnTo>
                    <a:pt x="629" y="903"/>
                  </a:lnTo>
                  <a:lnTo>
                    <a:pt x="638" y="905"/>
                  </a:lnTo>
                  <a:lnTo>
                    <a:pt x="638" y="912"/>
                  </a:lnTo>
                  <a:lnTo>
                    <a:pt x="643" y="921"/>
                  </a:lnTo>
                  <a:lnTo>
                    <a:pt x="645" y="921"/>
                  </a:lnTo>
                  <a:lnTo>
                    <a:pt x="652" y="929"/>
                  </a:lnTo>
                  <a:lnTo>
                    <a:pt x="652" y="926"/>
                  </a:lnTo>
                  <a:lnTo>
                    <a:pt x="655" y="921"/>
                  </a:lnTo>
                  <a:lnTo>
                    <a:pt x="659" y="921"/>
                  </a:lnTo>
                  <a:lnTo>
                    <a:pt x="662" y="926"/>
                  </a:lnTo>
                  <a:lnTo>
                    <a:pt x="662" y="929"/>
                  </a:lnTo>
                  <a:lnTo>
                    <a:pt x="666" y="936"/>
                  </a:lnTo>
                  <a:lnTo>
                    <a:pt x="669" y="943"/>
                  </a:lnTo>
                  <a:lnTo>
                    <a:pt x="669" y="957"/>
                  </a:lnTo>
                  <a:lnTo>
                    <a:pt x="676" y="959"/>
                  </a:lnTo>
                  <a:lnTo>
                    <a:pt x="676" y="962"/>
                  </a:lnTo>
                  <a:lnTo>
                    <a:pt x="678" y="973"/>
                  </a:lnTo>
                  <a:lnTo>
                    <a:pt x="678" y="983"/>
                  </a:lnTo>
                  <a:lnTo>
                    <a:pt x="676" y="983"/>
                  </a:lnTo>
                  <a:lnTo>
                    <a:pt x="676" y="1002"/>
                  </a:lnTo>
                  <a:lnTo>
                    <a:pt x="678" y="1006"/>
                  </a:lnTo>
                  <a:lnTo>
                    <a:pt x="683" y="1006"/>
                  </a:lnTo>
                  <a:lnTo>
                    <a:pt x="688" y="1002"/>
                  </a:lnTo>
                  <a:lnTo>
                    <a:pt x="692" y="1002"/>
                  </a:lnTo>
                  <a:lnTo>
                    <a:pt x="695" y="1006"/>
                  </a:lnTo>
                  <a:lnTo>
                    <a:pt x="699" y="1006"/>
                  </a:lnTo>
                  <a:lnTo>
                    <a:pt x="699" y="1009"/>
                  </a:lnTo>
                  <a:lnTo>
                    <a:pt x="702" y="1009"/>
                  </a:lnTo>
                  <a:lnTo>
                    <a:pt x="702" y="1016"/>
                  </a:lnTo>
                  <a:lnTo>
                    <a:pt x="699" y="1018"/>
                  </a:lnTo>
                  <a:lnTo>
                    <a:pt x="695" y="1018"/>
                  </a:lnTo>
                  <a:lnTo>
                    <a:pt x="695" y="1023"/>
                  </a:lnTo>
                  <a:lnTo>
                    <a:pt x="699" y="1025"/>
                  </a:lnTo>
                  <a:lnTo>
                    <a:pt x="699" y="1030"/>
                  </a:lnTo>
                  <a:lnTo>
                    <a:pt x="707" y="1035"/>
                  </a:lnTo>
                  <a:lnTo>
                    <a:pt x="716" y="1040"/>
                  </a:lnTo>
                  <a:lnTo>
                    <a:pt x="718" y="1040"/>
                  </a:lnTo>
                  <a:lnTo>
                    <a:pt x="723" y="1047"/>
                  </a:lnTo>
                  <a:lnTo>
                    <a:pt x="723" y="1049"/>
                  </a:lnTo>
                  <a:lnTo>
                    <a:pt x="725" y="1056"/>
                  </a:lnTo>
                  <a:lnTo>
                    <a:pt x="728" y="1056"/>
                  </a:lnTo>
                  <a:lnTo>
                    <a:pt x="728" y="1063"/>
                  </a:lnTo>
                  <a:lnTo>
                    <a:pt x="733" y="1070"/>
                  </a:lnTo>
                  <a:lnTo>
                    <a:pt x="733" y="1080"/>
                  </a:lnTo>
                  <a:lnTo>
                    <a:pt x="740" y="1082"/>
                  </a:lnTo>
                  <a:lnTo>
                    <a:pt x="740" y="1080"/>
                  </a:lnTo>
                  <a:lnTo>
                    <a:pt x="742" y="1075"/>
                  </a:lnTo>
                  <a:lnTo>
                    <a:pt x="749" y="1075"/>
                  </a:lnTo>
                  <a:lnTo>
                    <a:pt x="749" y="1087"/>
                  </a:lnTo>
                  <a:lnTo>
                    <a:pt x="756" y="1096"/>
                  </a:lnTo>
                  <a:lnTo>
                    <a:pt x="758" y="1115"/>
                  </a:lnTo>
                  <a:lnTo>
                    <a:pt x="758" y="1122"/>
                  </a:lnTo>
                  <a:lnTo>
                    <a:pt x="763" y="1122"/>
                  </a:lnTo>
                  <a:lnTo>
                    <a:pt x="766" y="1127"/>
                  </a:lnTo>
                  <a:lnTo>
                    <a:pt x="768" y="1129"/>
                  </a:lnTo>
                  <a:lnTo>
                    <a:pt x="773" y="1134"/>
                  </a:lnTo>
                  <a:lnTo>
                    <a:pt x="773" y="1136"/>
                  </a:lnTo>
                  <a:lnTo>
                    <a:pt x="768" y="1139"/>
                  </a:lnTo>
                  <a:lnTo>
                    <a:pt x="773" y="1146"/>
                  </a:lnTo>
                  <a:lnTo>
                    <a:pt x="780" y="1146"/>
                  </a:lnTo>
                  <a:lnTo>
                    <a:pt x="782" y="1151"/>
                  </a:lnTo>
                  <a:lnTo>
                    <a:pt x="784" y="1155"/>
                  </a:lnTo>
                  <a:lnTo>
                    <a:pt x="789" y="1160"/>
                  </a:lnTo>
                  <a:lnTo>
                    <a:pt x="789" y="1167"/>
                  </a:lnTo>
                  <a:lnTo>
                    <a:pt x="784" y="1167"/>
                  </a:lnTo>
                  <a:lnTo>
                    <a:pt x="784" y="1169"/>
                  </a:lnTo>
                  <a:lnTo>
                    <a:pt x="789" y="1177"/>
                  </a:lnTo>
                  <a:lnTo>
                    <a:pt x="796" y="1184"/>
                  </a:lnTo>
                  <a:lnTo>
                    <a:pt x="799" y="1184"/>
                  </a:lnTo>
                  <a:lnTo>
                    <a:pt x="799" y="1193"/>
                  </a:lnTo>
                  <a:lnTo>
                    <a:pt x="803" y="1203"/>
                  </a:lnTo>
                  <a:lnTo>
                    <a:pt x="806" y="1203"/>
                  </a:lnTo>
                  <a:lnTo>
                    <a:pt x="806" y="1200"/>
                  </a:lnTo>
                  <a:lnTo>
                    <a:pt x="813" y="1200"/>
                  </a:lnTo>
                  <a:lnTo>
                    <a:pt x="815" y="1203"/>
                  </a:lnTo>
                  <a:lnTo>
                    <a:pt x="815" y="1207"/>
                  </a:lnTo>
                  <a:lnTo>
                    <a:pt x="822" y="1217"/>
                  </a:lnTo>
                  <a:lnTo>
                    <a:pt x="822" y="1219"/>
                  </a:lnTo>
                  <a:lnTo>
                    <a:pt x="825" y="1224"/>
                  </a:lnTo>
                  <a:lnTo>
                    <a:pt x="822" y="1226"/>
                  </a:lnTo>
                  <a:lnTo>
                    <a:pt x="822" y="1247"/>
                  </a:lnTo>
                  <a:lnTo>
                    <a:pt x="825" y="1247"/>
                  </a:lnTo>
                  <a:lnTo>
                    <a:pt x="825" y="1259"/>
                  </a:lnTo>
                  <a:lnTo>
                    <a:pt x="822" y="1276"/>
                  </a:lnTo>
                  <a:lnTo>
                    <a:pt x="822" y="1281"/>
                  </a:lnTo>
                  <a:lnTo>
                    <a:pt x="820" y="1288"/>
                  </a:lnTo>
                  <a:lnTo>
                    <a:pt x="815" y="1288"/>
                  </a:lnTo>
                  <a:lnTo>
                    <a:pt x="815" y="1290"/>
                  </a:lnTo>
                  <a:lnTo>
                    <a:pt x="813" y="1292"/>
                  </a:lnTo>
                  <a:lnTo>
                    <a:pt x="815" y="1297"/>
                  </a:lnTo>
                  <a:lnTo>
                    <a:pt x="820" y="1297"/>
                  </a:lnTo>
                  <a:lnTo>
                    <a:pt x="820" y="1309"/>
                  </a:lnTo>
                  <a:lnTo>
                    <a:pt x="825" y="1328"/>
                  </a:lnTo>
                  <a:lnTo>
                    <a:pt x="832" y="1333"/>
                  </a:lnTo>
                  <a:lnTo>
                    <a:pt x="839" y="1340"/>
                  </a:lnTo>
                  <a:lnTo>
                    <a:pt x="844" y="1347"/>
                  </a:lnTo>
                  <a:lnTo>
                    <a:pt x="846" y="1349"/>
                  </a:lnTo>
                  <a:lnTo>
                    <a:pt x="844" y="1349"/>
                  </a:lnTo>
                  <a:lnTo>
                    <a:pt x="825" y="1347"/>
                  </a:lnTo>
                  <a:lnTo>
                    <a:pt x="815" y="1347"/>
                  </a:lnTo>
                  <a:lnTo>
                    <a:pt x="808" y="1344"/>
                  </a:lnTo>
                  <a:lnTo>
                    <a:pt x="796" y="1340"/>
                  </a:lnTo>
                  <a:lnTo>
                    <a:pt x="780" y="1340"/>
                  </a:lnTo>
                  <a:lnTo>
                    <a:pt x="768" y="1337"/>
                  </a:lnTo>
                  <a:lnTo>
                    <a:pt x="763" y="1337"/>
                  </a:lnTo>
                  <a:lnTo>
                    <a:pt x="756" y="1333"/>
                  </a:lnTo>
                  <a:lnTo>
                    <a:pt x="747" y="1333"/>
                  </a:lnTo>
                  <a:lnTo>
                    <a:pt x="728" y="1330"/>
                  </a:lnTo>
                  <a:lnTo>
                    <a:pt x="676" y="1316"/>
                  </a:lnTo>
                  <a:lnTo>
                    <a:pt x="669" y="1316"/>
                  </a:lnTo>
                  <a:lnTo>
                    <a:pt x="662" y="1314"/>
                  </a:lnTo>
                  <a:lnTo>
                    <a:pt x="655" y="1314"/>
                  </a:lnTo>
                  <a:lnTo>
                    <a:pt x="643" y="1309"/>
                  </a:lnTo>
                  <a:lnTo>
                    <a:pt x="626" y="1307"/>
                  </a:lnTo>
                  <a:lnTo>
                    <a:pt x="619" y="1304"/>
                  </a:lnTo>
                  <a:lnTo>
                    <a:pt x="610" y="1304"/>
                  </a:lnTo>
                  <a:lnTo>
                    <a:pt x="595" y="1299"/>
                  </a:lnTo>
                  <a:lnTo>
                    <a:pt x="574" y="1292"/>
                  </a:lnTo>
                  <a:lnTo>
                    <a:pt x="562" y="1290"/>
                  </a:lnTo>
                  <a:lnTo>
                    <a:pt x="551" y="1290"/>
                  </a:lnTo>
                  <a:lnTo>
                    <a:pt x="546" y="1288"/>
                  </a:lnTo>
                  <a:lnTo>
                    <a:pt x="534" y="1283"/>
                  </a:lnTo>
                  <a:lnTo>
                    <a:pt x="513" y="1281"/>
                  </a:lnTo>
                  <a:lnTo>
                    <a:pt x="508" y="1276"/>
                  </a:lnTo>
                  <a:lnTo>
                    <a:pt x="501" y="1276"/>
                  </a:lnTo>
                  <a:lnTo>
                    <a:pt x="475" y="1269"/>
                  </a:lnTo>
                  <a:lnTo>
                    <a:pt x="442" y="1259"/>
                  </a:lnTo>
                  <a:lnTo>
                    <a:pt x="385" y="1243"/>
                  </a:lnTo>
                  <a:lnTo>
                    <a:pt x="376" y="1240"/>
                  </a:lnTo>
                  <a:lnTo>
                    <a:pt x="369" y="1240"/>
                  </a:lnTo>
                  <a:lnTo>
                    <a:pt x="362" y="1236"/>
                  </a:lnTo>
                  <a:lnTo>
                    <a:pt x="352" y="1233"/>
                  </a:lnTo>
                  <a:lnTo>
                    <a:pt x="347" y="1233"/>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4" name="Freeform 519">
              <a:extLst>
                <a:ext uri="{FF2B5EF4-FFF2-40B4-BE49-F238E27FC236}">
                  <a16:creationId xmlns:a16="http://schemas.microsoft.com/office/drawing/2014/main" id="{674A6F06-AFBD-46B6-A7D5-E28929F7F90A}"/>
                </a:ext>
              </a:extLst>
            </p:cNvPr>
            <p:cNvSpPr>
              <a:spLocks/>
            </p:cNvSpPr>
            <p:nvPr/>
          </p:nvSpPr>
          <p:spPr bwMode="gray">
            <a:xfrm rot="47099">
              <a:off x="1540826" y="3837946"/>
              <a:ext cx="9796" cy="45346"/>
            </a:xfrm>
            <a:custGeom>
              <a:avLst/>
              <a:gdLst>
                <a:gd name="T0" fmla="*/ 5 w 21"/>
                <a:gd name="T1" fmla="*/ 40 h 99"/>
                <a:gd name="T2" fmla="*/ 5 w 21"/>
                <a:gd name="T3" fmla="*/ 33 h 99"/>
                <a:gd name="T4" fmla="*/ 0 w 21"/>
                <a:gd name="T5" fmla="*/ 16 h 99"/>
                <a:gd name="T6" fmla="*/ 0 w 21"/>
                <a:gd name="T7" fmla="*/ 0 h 99"/>
                <a:gd name="T8" fmla="*/ 0 w 21"/>
                <a:gd name="T9" fmla="*/ 16 h 99"/>
                <a:gd name="T10" fmla="*/ 5 w 21"/>
                <a:gd name="T11" fmla="*/ 19 h 99"/>
                <a:gd name="T12" fmla="*/ 5 w 21"/>
                <a:gd name="T13" fmla="*/ 33 h 99"/>
                <a:gd name="T14" fmla="*/ 7 w 21"/>
                <a:gd name="T15" fmla="*/ 40 h 99"/>
                <a:gd name="T16" fmla="*/ 7 w 21"/>
                <a:gd name="T17" fmla="*/ 47 h 99"/>
                <a:gd name="T18" fmla="*/ 10 w 21"/>
                <a:gd name="T19" fmla="*/ 52 h 99"/>
                <a:gd name="T20" fmla="*/ 14 w 21"/>
                <a:gd name="T21" fmla="*/ 59 h 99"/>
                <a:gd name="T22" fmla="*/ 14 w 21"/>
                <a:gd name="T23" fmla="*/ 64 h 99"/>
                <a:gd name="T24" fmla="*/ 17 w 21"/>
                <a:gd name="T25" fmla="*/ 68 h 99"/>
                <a:gd name="T26" fmla="*/ 17 w 21"/>
                <a:gd name="T27" fmla="*/ 80 h 99"/>
                <a:gd name="T28" fmla="*/ 21 w 21"/>
                <a:gd name="T29" fmla="*/ 92 h 99"/>
                <a:gd name="T30" fmla="*/ 21 w 21"/>
                <a:gd name="T31" fmla="*/ 99 h 99"/>
                <a:gd name="T32" fmla="*/ 21 w 21"/>
                <a:gd name="T33" fmla="*/ 92 h 99"/>
                <a:gd name="T34" fmla="*/ 17 w 21"/>
                <a:gd name="T35" fmla="*/ 87 h 99"/>
                <a:gd name="T36" fmla="*/ 17 w 21"/>
                <a:gd name="T37" fmla="*/ 75 h 99"/>
                <a:gd name="T38" fmla="*/ 10 w 21"/>
                <a:gd name="T39" fmla="*/ 64 h 99"/>
                <a:gd name="T40" fmla="*/ 10 w 21"/>
                <a:gd name="T41" fmla="*/ 56 h 99"/>
                <a:gd name="T42" fmla="*/ 7 w 21"/>
                <a:gd name="T43" fmla="*/ 47 h 99"/>
                <a:gd name="T44" fmla="*/ 5 w 21"/>
                <a:gd name="T45" fmla="*/ 42 h 99"/>
                <a:gd name="T46" fmla="*/ 5 w 21"/>
                <a:gd name="T47" fmla="*/ 40 h 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
                <a:gd name="T73" fmla="*/ 0 h 99"/>
                <a:gd name="T74" fmla="*/ 21 w 21"/>
                <a:gd name="T75" fmla="*/ 99 h 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 h="99">
                  <a:moveTo>
                    <a:pt x="5" y="40"/>
                  </a:moveTo>
                  <a:lnTo>
                    <a:pt x="5" y="33"/>
                  </a:lnTo>
                  <a:lnTo>
                    <a:pt x="0" y="16"/>
                  </a:lnTo>
                  <a:lnTo>
                    <a:pt x="0" y="0"/>
                  </a:lnTo>
                  <a:lnTo>
                    <a:pt x="0" y="16"/>
                  </a:lnTo>
                  <a:lnTo>
                    <a:pt x="5" y="19"/>
                  </a:lnTo>
                  <a:lnTo>
                    <a:pt x="5" y="33"/>
                  </a:lnTo>
                  <a:lnTo>
                    <a:pt x="7" y="40"/>
                  </a:lnTo>
                  <a:lnTo>
                    <a:pt x="7" y="47"/>
                  </a:lnTo>
                  <a:lnTo>
                    <a:pt x="10" y="52"/>
                  </a:lnTo>
                  <a:lnTo>
                    <a:pt x="14" y="59"/>
                  </a:lnTo>
                  <a:lnTo>
                    <a:pt x="14" y="64"/>
                  </a:lnTo>
                  <a:lnTo>
                    <a:pt x="17" y="68"/>
                  </a:lnTo>
                  <a:lnTo>
                    <a:pt x="17" y="80"/>
                  </a:lnTo>
                  <a:lnTo>
                    <a:pt x="21" y="92"/>
                  </a:lnTo>
                  <a:lnTo>
                    <a:pt x="21" y="99"/>
                  </a:lnTo>
                  <a:lnTo>
                    <a:pt x="21" y="92"/>
                  </a:lnTo>
                  <a:lnTo>
                    <a:pt x="17" y="87"/>
                  </a:lnTo>
                  <a:lnTo>
                    <a:pt x="17" y="75"/>
                  </a:lnTo>
                  <a:lnTo>
                    <a:pt x="10" y="64"/>
                  </a:lnTo>
                  <a:lnTo>
                    <a:pt x="10" y="56"/>
                  </a:lnTo>
                  <a:lnTo>
                    <a:pt x="7" y="47"/>
                  </a:lnTo>
                  <a:lnTo>
                    <a:pt x="5" y="42"/>
                  </a:lnTo>
                  <a:lnTo>
                    <a:pt x="5" y="4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5" name="Freeform 520">
              <a:extLst>
                <a:ext uri="{FF2B5EF4-FFF2-40B4-BE49-F238E27FC236}">
                  <a16:creationId xmlns:a16="http://schemas.microsoft.com/office/drawing/2014/main" id="{2E6DF001-5A5D-4270-8C5B-B66FDF5C970E}"/>
                </a:ext>
              </a:extLst>
            </p:cNvPr>
            <p:cNvSpPr>
              <a:spLocks/>
            </p:cNvSpPr>
            <p:nvPr/>
          </p:nvSpPr>
          <p:spPr bwMode="gray">
            <a:xfrm rot="47099">
              <a:off x="1541322" y="3810953"/>
              <a:ext cx="12468" cy="27016"/>
            </a:xfrm>
            <a:custGeom>
              <a:avLst/>
              <a:gdLst>
                <a:gd name="T0" fmla="*/ 10 w 26"/>
                <a:gd name="T1" fmla="*/ 28 h 57"/>
                <a:gd name="T2" fmla="*/ 7 w 26"/>
                <a:gd name="T3" fmla="*/ 33 h 57"/>
                <a:gd name="T4" fmla="*/ 7 w 26"/>
                <a:gd name="T5" fmla="*/ 43 h 57"/>
                <a:gd name="T6" fmla="*/ 5 w 26"/>
                <a:gd name="T7" fmla="*/ 43 h 57"/>
                <a:gd name="T8" fmla="*/ 5 w 26"/>
                <a:gd name="T9" fmla="*/ 57 h 57"/>
                <a:gd name="T10" fmla="*/ 0 w 26"/>
                <a:gd name="T11" fmla="*/ 57 h 57"/>
                <a:gd name="T12" fmla="*/ 0 w 26"/>
                <a:gd name="T13" fmla="*/ 47 h 57"/>
                <a:gd name="T14" fmla="*/ 5 w 26"/>
                <a:gd name="T15" fmla="*/ 43 h 57"/>
                <a:gd name="T16" fmla="*/ 5 w 26"/>
                <a:gd name="T17" fmla="*/ 33 h 57"/>
                <a:gd name="T18" fmla="*/ 7 w 26"/>
                <a:gd name="T19" fmla="*/ 28 h 57"/>
                <a:gd name="T20" fmla="*/ 10 w 26"/>
                <a:gd name="T21" fmla="*/ 26 h 57"/>
                <a:gd name="T22" fmla="*/ 17 w 26"/>
                <a:gd name="T23" fmla="*/ 10 h 57"/>
                <a:gd name="T24" fmla="*/ 21 w 26"/>
                <a:gd name="T25" fmla="*/ 10 h 57"/>
                <a:gd name="T26" fmla="*/ 24 w 26"/>
                <a:gd name="T27" fmla="*/ 0 h 57"/>
                <a:gd name="T28" fmla="*/ 26 w 26"/>
                <a:gd name="T29" fmla="*/ 0 h 57"/>
                <a:gd name="T30" fmla="*/ 26 w 26"/>
                <a:gd name="T31" fmla="*/ 2 h 57"/>
                <a:gd name="T32" fmla="*/ 24 w 26"/>
                <a:gd name="T33" fmla="*/ 2 h 57"/>
                <a:gd name="T34" fmla="*/ 24 w 26"/>
                <a:gd name="T35" fmla="*/ 7 h 57"/>
                <a:gd name="T36" fmla="*/ 21 w 26"/>
                <a:gd name="T37" fmla="*/ 10 h 57"/>
                <a:gd name="T38" fmla="*/ 17 w 26"/>
                <a:gd name="T39" fmla="*/ 12 h 57"/>
                <a:gd name="T40" fmla="*/ 17 w 26"/>
                <a:gd name="T41" fmla="*/ 17 h 57"/>
                <a:gd name="T42" fmla="*/ 10 w 26"/>
                <a:gd name="T43" fmla="*/ 26 h 57"/>
                <a:gd name="T44" fmla="*/ 10 w 26"/>
                <a:gd name="T45" fmla="*/ 28 h 5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57"/>
                <a:gd name="T71" fmla="*/ 26 w 26"/>
                <a:gd name="T72" fmla="*/ 57 h 5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57">
                  <a:moveTo>
                    <a:pt x="10" y="28"/>
                  </a:moveTo>
                  <a:lnTo>
                    <a:pt x="7" y="33"/>
                  </a:lnTo>
                  <a:lnTo>
                    <a:pt x="7" y="43"/>
                  </a:lnTo>
                  <a:lnTo>
                    <a:pt x="5" y="43"/>
                  </a:lnTo>
                  <a:lnTo>
                    <a:pt x="5" y="57"/>
                  </a:lnTo>
                  <a:lnTo>
                    <a:pt x="0" y="57"/>
                  </a:lnTo>
                  <a:lnTo>
                    <a:pt x="0" y="47"/>
                  </a:lnTo>
                  <a:lnTo>
                    <a:pt x="5" y="43"/>
                  </a:lnTo>
                  <a:lnTo>
                    <a:pt x="5" y="33"/>
                  </a:lnTo>
                  <a:lnTo>
                    <a:pt x="7" y="28"/>
                  </a:lnTo>
                  <a:lnTo>
                    <a:pt x="10" y="26"/>
                  </a:lnTo>
                  <a:lnTo>
                    <a:pt x="17" y="10"/>
                  </a:lnTo>
                  <a:lnTo>
                    <a:pt x="21" y="10"/>
                  </a:lnTo>
                  <a:lnTo>
                    <a:pt x="24" y="0"/>
                  </a:lnTo>
                  <a:lnTo>
                    <a:pt x="26" y="0"/>
                  </a:lnTo>
                  <a:lnTo>
                    <a:pt x="26" y="2"/>
                  </a:lnTo>
                  <a:lnTo>
                    <a:pt x="24" y="2"/>
                  </a:lnTo>
                  <a:lnTo>
                    <a:pt x="24" y="7"/>
                  </a:lnTo>
                  <a:lnTo>
                    <a:pt x="21" y="10"/>
                  </a:lnTo>
                  <a:lnTo>
                    <a:pt x="17" y="12"/>
                  </a:lnTo>
                  <a:lnTo>
                    <a:pt x="17" y="17"/>
                  </a:lnTo>
                  <a:lnTo>
                    <a:pt x="10" y="26"/>
                  </a:lnTo>
                  <a:lnTo>
                    <a:pt x="10" y="28"/>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6" name="Freeform 521">
              <a:extLst>
                <a:ext uri="{FF2B5EF4-FFF2-40B4-BE49-F238E27FC236}">
                  <a16:creationId xmlns:a16="http://schemas.microsoft.com/office/drawing/2014/main" id="{3634446F-D8A4-4310-8C2F-ADD86AEB8034}"/>
                </a:ext>
              </a:extLst>
            </p:cNvPr>
            <p:cNvSpPr>
              <a:spLocks/>
            </p:cNvSpPr>
            <p:nvPr/>
          </p:nvSpPr>
          <p:spPr bwMode="gray">
            <a:xfrm rot="47099">
              <a:off x="1554073" y="3798559"/>
              <a:ext cx="8906" cy="10613"/>
            </a:xfrm>
            <a:custGeom>
              <a:avLst/>
              <a:gdLst>
                <a:gd name="T0" fmla="*/ 17 w 17"/>
                <a:gd name="T1" fmla="*/ 4 h 23"/>
                <a:gd name="T2" fmla="*/ 17 w 17"/>
                <a:gd name="T3" fmla="*/ 7 h 23"/>
                <a:gd name="T4" fmla="*/ 14 w 17"/>
                <a:gd name="T5" fmla="*/ 12 h 23"/>
                <a:gd name="T6" fmla="*/ 5 w 17"/>
                <a:gd name="T7" fmla="*/ 23 h 23"/>
                <a:gd name="T8" fmla="*/ 0 w 17"/>
                <a:gd name="T9" fmla="*/ 23 h 23"/>
                <a:gd name="T10" fmla="*/ 5 w 17"/>
                <a:gd name="T11" fmla="*/ 21 h 23"/>
                <a:gd name="T12" fmla="*/ 12 w 17"/>
                <a:gd name="T13" fmla="*/ 4 h 23"/>
                <a:gd name="T14" fmla="*/ 14 w 17"/>
                <a:gd name="T15" fmla="*/ 0 h 23"/>
                <a:gd name="T16" fmla="*/ 17 w 17"/>
                <a:gd name="T17" fmla="*/ 4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23"/>
                <a:gd name="T29" fmla="*/ 17 w 17"/>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23">
                  <a:moveTo>
                    <a:pt x="17" y="4"/>
                  </a:moveTo>
                  <a:lnTo>
                    <a:pt x="17" y="7"/>
                  </a:lnTo>
                  <a:lnTo>
                    <a:pt x="14" y="12"/>
                  </a:lnTo>
                  <a:lnTo>
                    <a:pt x="5" y="23"/>
                  </a:lnTo>
                  <a:lnTo>
                    <a:pt x="0" y="23"/>
                  </a:lnTo>
                  <a:lnTo>
                    <a:pt x="5" y="21"/>
                  </a:lnTo>
                  <a:lnTo>
                    <a:pt x="12" y="4"/>
                  </a:lnTo>
                  <a:lnTo>
                    <a:pt x="14" y="0"/>
                  </a:lnTo>
                  <a:lnTo>
                    <a:pt x="17" y="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7" name="Freeform 522">
              <a:extLst>
                <a:ext uri="{FF2B5EF4-FFF2-40B4-BE49-F238E27FC236}">
                  <a16:creationId xmlns:a16="http://schemas.microsoft.com/office/drawing/2014/main" id="{91F3465D-647C-4B67-A34B-3F0415F516E7}"/>
                </a:ext>
              </a:extLst>
            </p:cNvPr>
            <p:cNvSpPr>
              <a:spLocks/>
            </p:cNvSpPr>
            <p:nvPr/>
          </p:nvSpPr>
          <p:spPr bwMode="gray">
            <a:xfrm rot="47099">
              <a:off x="1563117" y="3787152"/>
              <a:ext cx="16031" cy="13507"/>
            </a:xfrm>
            <a:custGeom>
              <a:avLst/>
              <a:gdLst>
                <a:gd name="T0" fmla="*/ 4 w 35"/>
                <a:gd name="T1" fmla="*/ 21 h 28"/>
                <a:gd name="T2" fmla="*/ 7 w 35"/>
                <a:gd name="T3" fmla="*/ 21 h 28"/>
                <a:gd name="T4" fmla="*/ 11 w 35"/>
                <a:gd name="T5" fmla="*/ 19 h 28"/>
                <a:gd name="T6" fmla="*/ 14 w 35"/>
                <a:gd name="T7" fmla="*/ 14 h 28"/>
                <a:gd name="T8" fmla="*/ 23 w 35"/>
                <a:gd name="T9" fmla="*/ 7 h 28"/>
                <a:gd name="T10" fmla="*/ 30 w 35"/>
                <a:gd name="T11" fmla="*/ 0 h 28"/>
                <a:gd name="T12" fmla="*/ 35 w 35"/>
                <a:gd name="T13" fmla="*/ 0 h 28"/>
                <a:gd name="T14" fmla="*/ 35 w 35"/>
                <a:gd name="T15" fmla="*/ 7 h 28"/>
                <a:gd name="T16" fmla="*/ 28 w 35"/>
                <a:gd name="T17" fmla="*/ 7 h 28"/>
                <a:gd name="T18" fmla="*/ 28 w 35"/>
                <a:gd name="T19" fmla="*/ 12 h 28"/>
                <a:gd name="T20" fmla="*/ 21 w 35"/>
                <a:gd name="T21" fmla="*/ 12 h 28"/>
                <a:gd name="T22" fmla="*/ 11 w 35"/>
                <a:gd name="T23" fmla="*/ 21 h 28"/>
                <a:gd name="T24" fmla="*/ 7 w 35"/>
                <a:gd name="T25" fmla="*/ 24 h 28"/>
                <a:gd name="T26" fmla="*/ 4 w 35"/>
                <a:gd name="T27" fmla="*/ 28 h 28"/>
                <a:gd name="T28" fmla="*/ 0 w 35"/>
                <a:gd name="T29" fmla="*/ 28 h 28"/>
                <a:gd name="T30" fmla="*/ 0 w 35"/>
                <a:gd name="T31" fmla="*/ 21 h 28"/>
                <a:gd name="T32" fmla="*/ 4 w 35"/>
                <a:gd name="T33" fmla="*/ 21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28"/>
                <a:gd name="T53" fmla="*/ 35 w 35"/>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28">
                  <a:moveTo>
                    <a:pt x="4" y="21"/>
                  </a:moveTo>
                  <a:lnTo>
                    <a:pt x="7" y="21"/>
                  </a:lnTo>
                  <a:lnTo>
                    <a:pt x="11" y="19"/>
                  </a:lnTo>
                  <a:lnTo>
                    <a:pt x="14" y="14"/>
                  </a:lnTo>
                  <a:lnTo>
                    <a:pt x="23" y="7"/>
                  </a:lnTo>
                  <a:lnTo>
                    <a:pt x="30" y="0"/>
                  </a:lnTo>
                  <a:lnTo>
                    <a:pt x="35" y="0"/>
                  </a:lnTo>
                  <a:lnTo>
                    <a:pt x="35" y="7"/>
                  </a:lnTo>
                  <a:lnTo>
                    <a:pt x="28" y="7"/>
                  </a:lnTo>
                  <a:lnTo>
                    <a:pt x="28" y="12"/>
                  </a:lnTo>
                  <a:lnTo>
                    <a:pt x="21" y="12"/>
                  </a:lnTo>
                  <a:lnTo>
                    <a:pt x="11" y="21"/>
                  </a:lnTo>
                  <a:lnTo>
                    <a:pt x="7" y="24"/>
                  </a:lnTo>
                  <a:lnTo>
                    <a:pt x="4" y="28"/>
                  </a:lnTo>
                  <a:lnTo>
                    <a:pt x="0" y="28"/>
                  </a:lnTo>
                  <a:lnTo>
                    <a:pt x="0" y="21"/>
                  </a:lnTo>
                  <a:lnTo>
                    <a:pt x="4" y="21"/>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8" name="Freeform 523">
              <a:extLst>
                <a:ext uri="{FF2B5EF4-FFF2-40B4-BE49-F238E27FC236}">
                  <a16:creationId xmlns:a16="http://schemas.microsoft.com/office/drawing/2014/main" id="{2F990D8D-B9C4-4FC8-858E-7339075E9CE4}"/>
                </a:ext>
              </a:extLst>
            </p:cNvPr>
            <p:cNvSpPr>
              <a:spLocks/>
            </p:cNvSpPr>
            <p:nvPr/>
          </p:nvSpPr>
          <p:spPr bwMode="gray">
            <a:xfrm rot="47099">
              <a:off x="1625152" y="3746475"/>
              <a:ext cx="10687" cy="10613"/>
            </a:xfrm>
            <a:custGeom>
              <a:avLst/>
              <a:gdLst>
                <a:gd name="T0" fmla="*/ 22 w 24"/>
                <a:gd name="T1" fmla="*/ 7 h 24"/>
                <a:gd name="T2" fmla="*/ 17 w 24"/>
                <a:gd name="T3" fmla="*/ 7 h 24"/>
                <a:gd name="T4" fmla="*/ 17 w 24"/>
                <a:gd name="T5" fmla="*/ 12 h 24"/>
                <a:gd name="T6" fmla="*/ 0 w 24"/>
                <a:gd name="T7" fmla="*/ 24 h 24"/>
                <a:gd name="T8" fmla="*/ 0 w 24"/>
                <a:gd name="T9" fmla="*/ 22 h 24"/>
                <a:gd name="T10" fmla="*/ 22 w 24"/>
                <a:gd name="T11" fmla="*/ 0 h 24"/>
                <a:gd name="T12" fmla="*/ 24 w 24"/>
                <a:gd name="T13" fmla="*/ 5 h 24"/>
                <a:gd name="T14" fmla="*/ 22 w 24"/>
                <a:gd name="T15" fmla="*/ 7 h 2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4"/>
                <a:gd name="T26" fmla="*/ 24 w 24"/>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4">
                  <a:moveTo>
                    <a:pt x="22" y="7"/>
                  </a:moveTo>
                  <a:lnTo>
                    <a:pt x="17" y="7"/>
                  </a:lnTo>
                  <a:lnTo>
                    <a:pt x="17" y="12"/>
                  </a:lnTo>
                  <a:lnTo>
                    <a:pt x="0" y="24"/>
                  </a:lnTo>
                  <a:lnTo>
                    <a:pt x="0" y="22"/>
                  </a:lnTo>
                  <a:lnTo>
                    <a:pt x="22" y="0"/>
                  </a:lnTo>
                  <a:lnTo>
                    <a:pt x="24" y="5"/>
                  </a:lnTo>
                  <a:lnTo>
                    <a:pt x="22" y="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29" name="Freeform 524">
              <a:extLst>
                <a:ext uri="{FF2B5EF4-FFF2-40B4-BE49-F238E27FC236}">
                  <a16:creationId xmlns:a16="http://schemas.microsoft.com/office/drawing/2014/main" id="{12DA427A-04A8-49DA-93D1-261EB1D2DE9F}"/>
                </a:ext>
              </a:extLst>
            </p:cNvPr>
            <p:cNvSpPr>
              <a:spLocks/>
            </p:cNvSpPr>
            <p:nvPr/>
          </p:nvSpPr>
          <p:spPr bwMode="gray">
            <a:xfrm rot="47099">
              <a:off x="1210317" y="3451575"/>
              <a:ext cx="468462" cy="439963"/>
            </a:xfrm>
            <a:custGeom>
              <a:avLst/>
              <a:gdLst>
                <a:gd name="T0" fmla="*/ 494 w 1006"/>
                <a:gd name="T1" fmla="*/ 742 h 947"/>
                <a:gd name="T2" fmla="*/ 475 w 1006"/>
                <a:gd name="T3" fmla="*/ 706 h 947"/>
                <a:gd name="T4" fmla="*/ 461 w 1006"/>
                <a:gd name="T5" fmla="*/ 673 h 947"/>
                <a:gd name="T6" fmla="*/ 420 w 1006"/>
                <a:gd name="T7" fmla="*/ 626 h 947"/>
                <a:gd name="T8" fmla="*/ 371 w 1006"/>
                <a:gd name="T9" fmla="*/ 600 h 947"/>
                <a:gd name="T10" fmla="*/ 307 w 1006"/>
                <a:gd name="T11" fmla="*/ 600 h 947"/>
                <a:gd name="T12" fmla="*/ 260 w 1006"/>
                <a:gd name="T13" fmla="*/ 669 h 947"/>
                <a:gd name="T14" fmla="*/ 231 w 1006"/>
                <a:gd name="T15" fmla="*/ 657 h 947"/>
                <a:gd name="T16" fmla="*/ 180 w 1006"/>
                <a:gd name="T17" fmla="*/ 626 h 947"/>
                <a:gd name="T18" fmla="*/ 161 w 1006"/>
                <a:gd name="T19" fmla="*/ 609 h 947"/>
                <a:gd name="T20" fmla="*/ 128 w 1006"/>
                <a:gd name="T21" fmla="*/ 520 h 947"/>
                <a:gd name="T22" fmla="*/ 87 w 1006"/>
                <a:gd name="T23" fmla="*/ 487 h 947"/>
                <a:gd name="T24" fmla="*/ 50 w 1006"/>
                <a:gd name="T25" fmla="*/ 446 h 947"/>
                <a:gd name="T26" fmla="*/ 26 w 1006"/>
                <a:gd name="T27" fmla="*/ 418 h 947"/>
                <a:gd name="T28" fmla="*/ 0 w 1006"/>
                <a:gd name="T29" fmla="*/ 385 h 947"/>
                <a:gd name="T30" fmla="*/ 175 w 1006"/>
                <a:gd name="T31" fmla="*/ 394 h 947"/>
                <a:gd name="T32" fmla="*/ 281 w 1006"/>
                <a:gd name="T33" fmla="*/ 248 h 947"/>
                <a:gd name="T34" fmla="*/ 347 w 1006"/>
                <a:gd name="T35" fmla="*/ 5 h 947"/>
                <a:gd name="T36" fmla="*/ 524 w 1006"/>
                <a:gd name="T37" fmla="*/ 182 h 947"/>
                <a:gd name="T38" fmla="*/ 565 w 1006"/>
                <a:gd name="T39" fmla="*/ 191 h 947"/>
                <a:gd name="T40" fmla="*/ 607 w 1006"/>
                <a:gd name="T41" fmla="*/ 215 h 947"/>
                <a:gd name="T42" fmla="*/ 638 w 1006"/>
                <a:gd name="T43" fmla="*/ 215 h 947"/>
                <a:gd name="T44" fmla="*/ 669 w 1006"/>
                <a:gd name="T45" fmla="*/ 239 h 947"/>
                <a:gd name="T46" fmla="*/ 695 w 1006"/>
                <a:gd name="T47" fmla="*/ 234 h 947"/>
                <a:gd name="T48" fmla="*/ 723 w 1006"/>
                <a:gd name="T49" fmla="*/ 248 h 947"/>
                <a:gd name="T50" fmla="*/ 744 w 1006"/>
                <a:gd name="T51" fmla="*/ 234 h 947"/>
                <a:gd name="T52" fmla="*/ 796 w 1006"/>
                <a:gd name="T53" fmla="*/ 239 h 947"/>
                <a:gd name="T54" fmla="*/ 841 w 1006"/>
                <a:gd name="T55" fmla="*/ 229 h 947"/>
                <a:gd name="T56" fmla="*/ 881 w 1006"/>
                <a:gd name="T57" fmla="*/ 229 h 947"/>
                <a:gd name="T58" fmla="*/ 928 w 1006"/>
                <a:gd name="T59" fmla="*/ 253 h 947"/>
                <a:gd name="T60" fmla="*/ 959 w 1006"/>
                <a:gd name="T61" fmla="*/ 298 h 947"/>
                <a:gd name="T62" fmla="*/ 976 w 1006"/>
                <a:gd name="T63" fmla="*/ 402 h 947"/>
                <a:gd name="T64" fmla="*/ 997 w 1006"/>
                <a:gd name="T65" fmla="*/ 446 h 947"/>
                <a:gd name="T66" fmla="*/ 999 w 1006"/>
                <a:gd name="T67" fmla="*/ 506 h 947"/>
                <a:gd name="T68" fmla="*/ 992 w 1006"/>
                <a:gd name="T69" fmla="*/ 565 h 947"/>
                <a:gd name="T70" fmla="*/ 990 w 1006"/>
                <a:gd name="T71" fmla="*/ 595 h 947"/>
                <a:gd name="T72" fmla="*/ 926 w 1006"/>
                <a:gd name="T73" fmla="*/ 619 h 947"/>
                <a:gd name="T74" fmla="*/ 938 w 1006"/>
                <a:gd name="T75" fmla="*/ 612 h 947"/>
                <a:gd name="T76" fmla="*/ 919 w 1006"/>
                <a:gd name="T77" fmla="*/ 588 h 947"/>
                <a:gd name="T78" fmla="*/ 909 w 1006"/>
                <a:gd name="T79" fmla="*/ 624 h 947"/>
                <a:gd name="T80" fmla="*/ 879 w 1006"/>
                <a:gd name="T81" fmla="*/ 669 h 947"/>
                <a:gd name="T82" fmla="*/ 839 w 1006"/>
                <a:gd name="T83" fmla="*/ 692 h 947"/>
                <a:gd name="T84" fmla="*/ 822 w 1006"/>
                <a:gd name="T85" fmla="*/ 702 h 947"/>
                <a:gd name="T86" fmla="*/ 824 w 1006"/>
                <a:gd name="T87" fmla="*/ 699 h 947"/>
                <a:gd name="T88" fmla="*/ 815 w 1006"/>
                <a:gd name="T89" fmla="*/ 699 h 947"/>
                <a:gd name="T90" fmla="*/ 791 w 1006"/>
                <a:gd name="T91" fmla="*/ 702 h 947"/>
                <a:gd name="T92" fmla="*/ 796 w 1006"/>
                <a:gd name="T93" fmla="*/ 716 h 947"/>
                <a:gd name="T94" fmla="*/ 761 w 1006"/>
                <a:gd name="T95" fmla="*/ 718 h 947"/>
                <a:gd name="T96" fmla="*/ 744 w 1006"/>
                <a:gd name="T97" fmla="*/ 739 h 947"/>
                <a:gd name="T98" fmla="*/ 744 w 1006"/>
                <a:gd name="T99" fmla="*/ 749 h 947"/>
                <a:gd name="T100" fmla="*/ 725 w 1006"/>
                <a:gd name="T101" fmla="*/ 782 h 947"/>
                <a:gd name="T102" fmla="*/ 699 w 1006"/>
                <a:gd name="T103" fmla="*/ 813 h 947"/>
                <a:gd name="T104" fmla="*/ 709 w 1006"/>
                <a:gd name="T105" fmla="*/ 827 h 947"/>
                <a:gd name="T106" fmla="*/ 709 w 1006"/>
                <a:gd name="T107" fmla="*/ 862 h 947"/>
                <a:gd name="T108" fmla="*/ 728 w 1006"/>
                <a:gd name="T109" fmla="*/ 924 h 947"/>
                <a:gd name="T110" fmla="*/ 728 w 1006"/>
                <a:gd name="T111" fmla="*/ 940 h 947"/>
                <a:gd name="T112" fmla="*/ 654 w 1006"/>
                <a:gd name="T113" fmla="*/ 931 h 947"/>
                <a:gd name="T114" fmla="*/ 614 w 1006"/>
                <a:gd name="T115" fmla="*/ 909 h 947"/>
                <a:gd name="T116" fmla="*/ 574 w 1006"/>
                <a:gd name="T117" fmla="*/ 874 h 947"/>
                <a:gd name="T118" fmla="*/ 550 w 1006"/>
                <a:gd name="T119" fmla="*/ 806 h 947"/>
                <a:gd name="T120" fmla="*/ 532 w 1006"/>
                <a:gd name="T121" fmla="*/ 787 h 9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06"/>
                <a:gd name="T184" fmla="*/ 0 h 947"/>
                <a:gd name="T185" fmla="*/ 1006 w 1006"/>
                <a:gd name="T186" fmla="*/ 947 h 9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06" h="947">
                  <a:moveTo>
                    <a:pt x="517" y="772"/>
                  </a:moveTo>
                  <a:lnTo>
                    <a:pt x="517" y="770"/>
                  </a:lnTo>
                  <a:lnTo>
                    <a:pt x="515" y="763"/>
                  </a:lnTo>
                  <a:lnTo>
                    <a:pt x="510" y="763"/>
                  </a:lnTo>
                  <a:lnTo>
                    <a:pt x="506" y="749"/>
                  </a:lnTo>
                  <a:lnTo>
                    <a:pt x="501" y="746"/>
                  </a:lnTo>
                  <a:lnTo>
                    <a:pt x="494" y="742"/>
                  </a:lnTo>
                  <a:lnTo>
                    <a:pt x="491" y="739"/>
                  </a:lnTo>
                  <a:lnTo>
                    <a:pt x="489" y="737"/>
                  </a:lnTo>
                  <a:lnTo>
                    <a:pt x="482" y="725"/>
                  </a:lnTo>
                  <a:lnTo>
                    <a:pt x="484" y="723"/>
                  </a:lnTo>
                  <a:lnTo>
                    <a:pt x="482" y="716"/>
                  </a:lnTo>
                  <a:lnTo>
                    <a:pt x="482" y="713"/>
                  </a:lnTo>
                  <a:lnTo>
                    <a:pt x="475" y="706"/>
                  </a:lnTo>
                  <a:lnTo>
                    <a:pt x="470" y="699"/>
                  </a:lnTo>
                  <a:lnTo>
                    <a:pt x="470" y="697"/>
                  </a:lnTo>
                  <a:lnTo>
                    <a:pt x="468" y="685"/>
                  </a:lnTo>
                  <a:lnTo>
                    <a:pt x="461" y="680"/>
                  </a:lnTo>
                  <a:lnTo>
                    <a:pt x="461" y="676"/>
                  </a:lnTo>
                  <a:lnTo>
                    <a:pt x="458" y="676"/>
                  </a:lnTo>
                  <a:lnTo>
                    <a:pt x="461" y="673"/>
                  </a:lnTo>
                  <a:lnTo>
                    <a:pt x="458" y="661"/>
                  </a:lnTo>
                  <a:lnTo>
                    <a:pt x="449" y="650"/>
                  </a:lnTo>
                  <a:lnTo>
                    <a:pt x="435" y="640"/>
                  </a:lnTo>
                  <a:lnTo>
                    <a:pt x="428" y="633"/>
                  </a:lnTo>
                  <a:lnTo>
                    <a:pt x="428" y="628"/>
                  </a:lnTo>
                  <a:lnTo>
                    <a:pt x="420" y="628"/>
                  </a:lnTo>
                  <a:lnTo>
                    <a:pt x="420" y="626"/>
                  </a:lnTo>
                  <a:lnTo>
                    <a:pt x="413" y="624"/>
                  </a:lnTo>
                  <a:lnTo>
                    <a:pt x="409" y="617"/>
                  </a:lnTo>
                  <a:lnTo>
                    <a:pt x="404" y="612"/>
                  </a:lnTo>
                  <a:lnTo>
                    <a:pt x="402" y="609"/>
                  </a:lnTo>
                  <a:lnTo>
                    <a:pt x="397" y="602"/>
                  </a:lnTo>
                  <a:lnTo>
                    <a:pt x="373" y="602"/>
                  </a:lnTo>
                  <a:lnTo>
                    <a:pt x="371" y="600"/>
                  </a:lnTo>
                  <a:lnTo>
                    <a:pt x="345" y="600"/>
                  </a:lnTo>
                  <a:lnTo>
                    <a:pt x="333" y="595"/>
                  </a:lnTo>
                  <a:lnTo>
                    <a:pt x="331" y="593"/>
                  </a:lnTo>
                  <a:lnTo>
                    <a:pt x="331" y="588"/>
                  </a:lnTo>
                  <a:lnTo>
                    <a:pt x="324" y="593"/>
                  </a:lnTo>
                  <a:lnTo>
                    <a:pt x="314" y="600"/>
                  </a:lnTo>
                  <a:lnTo>
                    <a:pt x="307" y="600"/>
                  </a:lnTo>
                  <a:lnTo>
                    <a:pt x="300" y="602"/>
                  </a:lnTo>
                  <a:lnTo>
                    <a:pt x="288" y="626"/>
                  </a:lnTo>
                  <a:lnTo>
                    <a:pt x="283" y="635"/>
                  </a:lnTo>
                  <a:lnTo>
                    <a:pt x="281" y="645"/>
                  </a:lnTo>
                  <a:lnTo>
                    <a:pt x="276" y="652"/>
                  </a:lnTo>
                  <a:lnTo>
                    <a:pt x="267" y="659"/>
                  </a:lnTo>
                  <a:lnTo>
                    <a:pt x="260" y="669"/>
                  </a:lnTo>
                  <a:lnTo>
                    <a:pt x="250" y="666"/>
                  </a:lnTo>
                  <a:lnTo>
                    <a:pt x="248" y="666"/>
                  </a:lnTo>
                  <a:lnTo>
                    <a:pt x="243" y="661"/>
                  </a:lnTo>
                  <a:lnTo>
                    <a:pt x="241" y="661"/>
                  </a:lnTo>
                  <a:lnTo>
                    <a:pt x="236" y="659"/>
                  </a:lnTo>
                  <a:lnTo>
                    <a:pt x="234" y="659"/>
                  </a:lnTo>
                  <a:lnTo>
                    <a:pt x="231" y="657"/>
                  </a:lnTo>
                  <a:lnTo>
                    <a:pt x="215" y="645"/>
                  </a:lnTo>
                  <a:lnTo>
                    <a:pt x="203" y="640"/>
                  </a:lnTo>
                  <a:lnTo>
                    <a:pt x="196" y="635"/>
                  </a:lnTo>
                  <a:lnTo>
                    <a:pt x="191" y="635"/>
                  </a:lnTo>
                  <a:lnTo>
                    <a:pt x="191" y="633"/>
                  </a:lnTo>
                  <a:lnTo>
                    <a:pt x="187" y="633"/>
                  </a:lnTo>
                  <a:lnTo>
                    <a:pt x="180" y="626"/>
                  </a:lnTo>
                  <a:lnTo>
                    <a:pt x="180" y="624"/>
                  </a:lnTo>
                  <a:lnTo>
                    <a:pt x="177" y="619"/>
                  </a:lnTo>
                  <a:lnTo>
                    <a:pt x="175" y="619"/>
                  </a:lnTo>
                  <a:lnTo>
                    <a:pt x="175" y="617"/>
                  </a:lnTo>
                  <a:lnTo>
                    <a:pt x="168" y="617"/>
                  </a:lnTo>
                  <a:lnTo>
                    <a:pt x="163" y="612"/>
                  </a:lnTo>
                  <a:lnTo>
                    <a:pt x="161" y="609"/>
                  </a:lnTo>
                  <a:lnTo>
                    <a:pt x="154" y="602"/>
                  </a:lnTo>
                  <a:lnTo>
                    <a:pt x="144" y="579"/>
                  </a:lnTo>
                  <a:lnTo>
                    <a:pt x="144" y="553"/>
                  </a:lnTo>
                  <a:lnTo>
                    <a:pt x="137" y="546"/>
                  </a:lnTo>
                  <a:lnTo>
                    <a:pt x="130" y="531"/>
                  </a:lnTo>
                  <a:lnTo>
                    <a:pt x="130" y="522"/>
                  </a:lnTo>
                  <a:lnTo>
                    <a:pt x="128" y="520"/>
                  </a:lnTo>
                  <a:lnTo>
                    <a:pt x="123" y="515"/>
                  </a:lnTo>
                  <a:lnTo>
                    <a:pt x="118" y="508"/>
                  </a:lnTo>
                  <a:lnTo>
                    <a:pt x="113" y="506"/>
                  </a:lnTo>
                  <a:lnTo>
                    <a:pt x="111" y="503"/>
                  </a:lnTo>
                  <a:lnTo>
                    <a:pt x="104" y="498"/>
                  </a:lnTo>
                  <a:lnTo>
                    <a:pt x="94" y="491"/>
                  </a:lnTo>
                  <a:lnTo>
                    <a:pt x="87" y="487"/>
                  </a:lnTo>
                  <a:lnTo>
                    <a:pt x="80" y="482"/>
                  </a:lnTo>
                  <a:lnTo>
                    <a:pt x="80" y="475"/>
                  </a:lnTo>
                  <a:lnTo>
                    <a:pt x="78" y="472"/>
                  </a:lnTo>
                  <a:lnTo>
                    <a:pt x="71" y="465"/>
                  </a:lnTo>
                  <a:lnTo>
                    <a:pt x="64" y="463"/>
                  </a:lnTo>
                  <a:lnTo>
                    <a:pt x="61" y="456"/>
                  </a:lnTo>
                  <a:lnTo>
                    <a:pt x="50" y="446"/>
                  </a:lnTo>
                  <a:lnTo>
                    <a:pt x="47" y="442"/>
                  </a:lnTo>
                  <a:lnTo>
                    <a:pt x="43" y="442"/>
                  </a:lnTo>
                  <a:lnTo>
                    <a:pt x="38" y="439"/>
                  </a:lnTo>
                  <a:lnTo>
                    <a:pt x="33" y="435"/>
                  </a:lnTo>
                  <a:lnTo>
                    <a:pt x="31" y="425"/>
                  </a:lnTo>
                  <a:lnTo>
                    <a:pt x="26" y="423"/>
                  </a:lnTo>
                  <a:lnTo>
                    <a:pt x="26" y="418"/>
                  </a:lnTo>
                  <a:lnTo>
                    <a:pt x="24" y="416"/>
                  </a:lnTo>
                  <a:lnTo>
                    <a:pt x="21" y="409"/>
                  </a:lnTo>
                  <a:lnTo>
                    <a:pt x="14" y="409"/>
                  </a:lnTo>
                  <a:lnTo>
                    <a:pt x="9" y="406"/>
                  </a:lnTo>
                  <a:lnTo>
                    <a:pt x="7" y="402"/>
                  </a:lnTo>
                  <a:lnTo>
                    <a:pt x="2" y="394"/>
                  </a:lnTo>
                  <a:lnTo>
                    <a:pt x="0" y="385"/>
                  </a:lnTo>
                  <a:lnTo>
                    <a:pt x="2" y="385"/>
                  </a:lnTo>
                  <a:lnTo>
                    <a:pt x="47" y="387"/>
                  </a:lnTo>
                  <a:lnTo>
                    <a:pt x="61" y="387"/>
                  </a:lnTo>
                  <a:lnTo>
                    <a:pt x="71" y="392"/>
                  </a:lnTo>
                  <a:lnTo>
                    <a:pt x="113" y="392"/>
                  </a:lnTo>
                  <a:lnTo>
                    <a:pt x="130" y="394"/>
                  </a:lnTo>
                  <a:lnTo>
                    <a:pt x="175" y="394"/>
                  </a:lnTo>
                  <a:lnTo>
                    <a:pt x="210" y="399"/>
                  </a:lnTo>
                  <a:lnTo>
                    <a:pt x="255" y="402"/>
                  </a:lnTo>
                  <a:lnTo>
                    <a:pt x="274" y="402"/>
                  </a:lnTo>
                  <a:lnTo>
                    <a:pt x="276" y="383"/>
                  </a:lnTo>
                  <a:lnTo>
                    <a:pt x="276" y="291"/>
                  </a:lnTo>
                  <a:lnTo>
                    <a:pt x="281" y="269"/>
                  </a:lnTo>
                  <a:lnTo>
                    <a:pt x="281" y="248"/>
                  </a:lnTo>
                  <a:lnTo>
                    <a:pt x="283" y="224"/>
                  </a:lnTo>
                  <a:lnTo>
                    <a:pt x="283" y="182"/>
                  </a:lnTo>
                  <a:lnTo>
                    <a:pt x="288" y="125"/>
                  </a:lnTo>
                  <a:lnTo>
                    <a:pt x="291" y="21"/>
                  </a:lnTo>
                  <a:lnTo>
                    <a:pt x="291" y="0"/>
                  </a:lnTo>
                  <a:lnTo>
                    <a:pt x="333" y="0"/>
                  </a:lnTo>
                  <a:lnTo>
                    <a:pt x="347" y="5"/>
                  </a:lnTo>
                  <a:lnTo>
                    <a:pt x="508" y="5"/>
                  </a:lnTo>
                  <a:lnTo>
                    <a:pt x="508" y="175"/>
                  </a:lnTo>
                  <a:lnTo>
                    <a:pt x="510" y="177"/>
                  </a:lnTo>
                  <a:lnTo>
                    <a:pt x="515" y="175"/>
                  </a:lnTo>
                  <a:lnTo>
                    <a:pt x="515" y="177"/>
                  </a:lnTo>
                  <a:lnTo>
                    <a:pt x="517" y="177"/>
                  </a:lnTo>
                  <a:lnTo>
                    <a:pt x="524" y="182"/>
                  </a:lnTo>
                  <a:lnTo>
                    <a:pt x="529" y="184"/>
                  </a:lnTo>
                  <a:lnTo>
                    <a:pt x="529" y="189"/>
                  </a:lnTo>
                  <a:lnTo>
                    <a:pt x="532" y="191"/>
                  </a:lnTo>
                  <a:lnTo>
                    <a:pt x="534" y="194"/>
                  </a:lnTo>
                  <a:lnTo>
                    <a:pt x="550" y="194"/>
                  </a:lnTo>
                  <a:lnTo>
                    <a:pt x="557" y="189"/>
                  </a:lnTo>
                  <a:lnTo>
                    <a:pt x="565" y="191"/>
                  </a:lnTo>
                  <a:lnTo>
                    <a:pt x="567" y="198"/>
                  </a:lnTo>
                  <a:lnTo>
                    <a:pt x="567" y="205"/>
                  </a:lnTo>
                  <a:lnTo>
                    <a:pt x="572" y="208"/>
                  </a:lnTo>
                  <a:lnTo>
                    <a:pt x="581" y="208"/>
                  </a:lnTo>
                  <a:lnTo>
                    <a:pt x="595" y="213"/>
                  </a:lnTo>
                  <a:lnTo>
                    <a:pt x="595" y="215"/>
                  </a:lnTo>
                  <a:lnTo>
                    <a:pt x="607" y="215"/>
                  </a:lnTo>
                  <a:lnTo>
                    <a:pt x="612" y="213"/>
                  </a:lnTo>
                  <a:lnTo>
                    <a:pt x="614" y="215"/>
                  </a:lnTo>
                  <a:lnTo>
                    <a:pt x="619" y="217"/>
                  </a:lnTo>
                  <a:lnTo>
                    <a:pt x="621" y="222"/>
                  </a:lnTo>
                  <a:lnTo>
                    <a:pt x="626" y="222"/>
                  </a:lnTo>
                  <a:lnTo>
                    <a:pt x="628" y="217"/>
                  </a:lnTo>
                  <a:lnTo>
                    <a:pt x="638" y="215"/>
                  </a:lnTo>
                  <a:lnTo>
                    <a:pt x="645" y="215"/>
                  </a:lnTo>
                  <a:lnTo>
                    <a:pt x="652" y="222"/>
                  </a:lnTo>
                  <a:lnTo>
                    <a:pt x="652" y="224"/>
                  </a:lnTo>
                  <a:lnTo>
                    <a:pt x="659" y="224"/>
                  </a:lnTo>
                  <a:lnTo>
                    <a:pt x="661" y="229"/>
                  </a:lnTo>
                  <a:lnTo>
                    <a:pt x="661" y="239"/>
                  </a:lnTo>
                  <a:lnTo>
                    <a:pt x="669" y="239"/>
                  </a:lnTo>
                  <a:lnTo>
                    <a:pt x="676" y="234"/>
                  </a:lnTo>
                  <a:lnTo>
                    <a:pt x="678" y="231"/>
                  </a:lnTo>
                  <a:lnTo>
                    <a:pt x="678" y="229"/>
                  </a:lnTo>
                  <a:lnTo>
                    <a:pt x="683" y="229"/>
                  </a:lnTo>
                  <a:lnTo>
                    <a:pt x="685" y="224"/>
                  </a:lnTo>
                  <a:lnTo>
                    <a:pt x="687" y="229"/>
                  </a:lnTo>
                  <a:lnTo>
                    <a:pt x="695" y="234"/>
                  </a:lnTo>
                  <a:lnTo>
                    <a:pt x="699" y="239"/>
                  </a:lnTo>
                  <a:lnTo>
                    <a:pt x="702" y="241"/>
                  </a:lnTo>
                  <a:lnTo>
                    <a:pt x="704" y="239"/>
                  </a:lnTo>
                  <a:lnTo>
                    <a:pt x="716" y="234"/>
                  </a:lnTo>
                  <a:lnTo>
                    <a:pt x="718" y="239"/>
                  </a:lnTo>
                  <a:lnTo>
                    <a:pt x="718" y="246"/>
                  </a:lnTo>
                  <a:lnTo>
                    <a:pt x="723" y="248"/>
                  </a:lnTo>
                  <a:lnTo>
                    <a:pt x="725" y="248"/>
                  </a:lnTo>
                  <a:lnTo>
                    <a:pt x="728" y="246"/>
                  </a:lnTo>
                  <a:lnTo>
                    <a:pt x="728" y="239"/>
                  </a:lnTo>
                  <a:lnTo>
                    <a:pt x="735" y="229"/>
                  </a:lnTo>
                  <a:lnTo>
                    <a:pt x="742" y="229"/>
                  </a:lnTo>
                  <a:lnTo>
                    <a:pt x="742" y="234"/>
                  </a:lnTo>
                  <a:lnTo>
                    <a:pt x="744" y="234"/>
                  </a:lnTo>
                  <a:lnTo>
                    <a:pt x="751" y="239"/>
                  </a:lnTo>
                  <a:lnTo>
                    <a:pt x="756" y="234"/>
                  </a:lnTo>
                  <a:lnTo>
                    <a:pt x="761" y="234"/>
                  </a:lnTo>
                  <a:lnTo>
                    <a:pt x="772" y="241"/>
                  </a:lnTo>
                  <a:lnTo>
                    <a:pt x="784" y="248"/>
                  </a:lnTo>
                  <a:lnTo>
                    <a:pt x="796" y="241"/>
                  </a:lnTo>
                  <a:lnTo>
                    <a:pt x="796" y="239"/>
                  </a:lnTo>
                  <a:lnTo>
                    <a:pt x="798" y="234"/>
                  </a:lnTo>
                  <a:lnTo>
                    <a:pt x="808" y="231"/>
                  </a:lnTo>
                  <a:lnTo>
                    <a:pt x="824" y="231"/>
                  </a:lnTo>
                  <a:lnTo>
                    <a:pt x="824" y="229"/>
                  </a:lnTo>
                  <a:lnTo>
                    <a:pt x="839" y="224"/>
                  </a:lnTo>
                  <a:lnTo>
                    <a:pt x="841" y="224"/>
                  </a:lnTo>
                  <a:lnTo>
                    <a:pt x="841" y="229"/>
                  </a:lnTo>
                  <a:lnTo>
                    <a:pt x="848" y="231"/>
                  </a:lnTo>
                  <a:lnTo>
                    <a:pt x="855" y="229"/>
                  </a:lnTo>
                  <a:lnTo>
                    <a:pt x="860" y="229"/>
                  </a:lnTo>
                  <a:lnTo>
                    <a:pt x="862" y="224"/>
                  </a:lnTo>
                  <a:lnTo>
                    <a:pt x="865" y="222"/>
                  </a:lnTo>
                  <a:lnTo>
                    <a:pt x="869" y="222"/>
                  </a:lnTo>
                  <a:lnTo>
                    <a:pt x="881" y="229"/>
                  </a:lnTo>
                  <a:lnTo>
                    <a:pt x="886" y="231"/>
                  </a:lnTo>
                  <a:lnTo>
                    <a:pt x="893" y="239"/>
                  </a:lnTo>
                  <a:lnTo>
                    <a:pt x="905" y="241"/>
                  </a:lnTo>
                  <a:lnTo>
                    <a:pt x="917" y="246"/>
                  </a:lnTo>
                  <a:lnTo>
                    <a:pt x="921" y="246"/>
                  </a:lnTo>
                  <a:lnTo>
                    <a:pt x="926" y="248"/>
                  </a:lnTo>
                  <a:lnTo>
                    <a:pt x="928" y="253"/>
                  </a:lnTo>
                  <a:lnTo>
                    <a:pt x="935" y="253"/>
                  </a:lnTo>
                  <a:lnTo>
                    <a:pt x="935" y="248"/>
                  </a:lnTo>
                  <a:lnTo>
                    <a:pt x="943" y="248"/>
                  </a:lnTo>
                  <a:lnTo>
                    <a:pt x="952" y="253"/>
                  </a:lnTo>
                  <a:lnTo>
                    <a:pt x="957" y="253"/>
                  </a:lnTo>
                  <a:lnTo>
                    <a:pt x="957" y="272"/>
                  </a:lnTo>
                  <a:lnTo>
                    <a:pt x="959" y="298"/>
                  </a:lnTo>
                  <a:lnTo>
                    <a:pt x="959" y="319"/>
                  </a:lnTo>
                  <a:lnTo>
                    <a:pt x="961" y="361"/>
                  </a:lnTo>
                  <a:lnTo>
                    <a:pt x="961" y="387"/>
                  </a:lnTo>
                  <a:lnTo>
                    <a:pt x="969" y="394"/>
                  </a:lnTo>
                  <a:lnTo>
                    <a:pt x="973" y="399"/>
                  </a:lnTo>
                  <a:lnTo>
                    <a:pt x="976" y="399"/>
                  </a:lnTo>
                  <a:lnTo>
                    <a:pt x="976" y="402"/>
                  </a:lnTo>
                  <a:lnTo>
                    <a:pt x="978" y="409"/>
                  </a:lnTo>
                  <a:lnTo>
                    <a:pt x="983" y="416"/>
                  </a:lnTo>
                  <a:lnTo>
                    <a:pt x="983" y="425"/>
                  </a:lnTo>
                  <a:lnTo>
                    <a:pt x="985" y="428"/>
                  </a:lnTo>
                  <a:lnTo>
                    <a:pt x="990" y="432"/>
                  </a:lnTo>
                  <a:lnTo>
                    <a:pt x="997" y="442"/>
                  </a:lnTo>
                  <a:lnTo>
                    <a:pt x="997" y="446"/>
                  </a:lnTo>
                  <a:lnTo>
                    <a:pt x="999" y="451"/>
                  </a:lnTo>
                  <a:lnTo>
                    <a:pt x="1002" y="456"/>
                  </a:lnTo>
                  <a:lnTo>
                    <a:pt x="1006" y="458"/>
                  </a:lnTo>
                  <a:lnTo>
                    <a:pt x="1006" y="491"/>
                  </a:lnTo>
                  <a:lnTo>
                    <a:pt x="1002" y="503"/>
                  </a:lnTo>
                  <a:lnTo>
                    <a:pt x="1002" y="506"/>
                  </a:lnTo>
                  <a:lnTo>
                    <a:pt x="999" y="506"/>
                  </a:lnTo>
                  <a:lnTo>
                    <a:pt x="999" y="508"/>
                  </a:lnTo>
                  <a:lnTo>
                    <a:pt x="997" y="513"/>
                  </a:lnTo>
                  <a:lnTo>
                    <a:pt x="997" y="539"/>
                  </a:lnTo>
                  <a:lnTo>
                    <a:pt x="999" y="543"/>
                  </a:lnTo>
                  <a:lnTo>
                    <a:pt x="999" y="560"/>
                  </a:lnTo>
                  <a:lnTo>
                    <a:pt x="997" y="562"/>
                  </a:lnTo>
                  <a:lnTo>
                    <a:pt x="992" y="565"/>
                  </a:lnTo>
                  <a:lnTo>
                    <a:pt x="990" y="565"/>
                  </a:lnTo>
                  <a:lnTo>
                    <a:pt x="983" y="583"/>
                  </a:lnTo>
                  <a:lnTo>
                    <a:pt x="983" y="586"/>
                  </a:lnTo>
                  <a:lnTo>
                    <a:pt x="985" y="586"/>
                  </a:lnTo>
                  <a:lnTo>
                    <a:pt x="985" y="588"/>
                  </a:lnTo>
                  <a:lnTo>
                    <a:pt x="990" y="593"/>
                  </a:lnTo>
                  <a:lnTo>
                    <a:pt x="990" y="595"/>
                  </a:lnTo>
                  <a:lnTo>
                    <a:pt x="973" y="595"/>
                  </a:lnTo>
                  <a:lnTo>
                    <a:pt x="969" y="600"/>
                  </a:lnTo>
                  <a:lnTo>
                    <a:pt x="957" y="605"/>
                  </a:lnTo>
                  <a:lnTo>
                    <a:pt x="943" y="612"/>
                  </a:lnTo>
                  <a:lnTo>
                    <a:pt x="933" y="617"/>
                  </a:lnTo>
                  <a:lnTo>
                    <a:pt x="928" y="619"/>
                  </a:lnTo>
                  <a:lnTo>
                    <a:pt x="926" y="619"/>
                  </a:lnTo>
                  <a:lnTo>
                    <a:pt x="926" y="624"/>
                  </a:lnTo>
                  <a:lnTo>
                    <a:pt x="921" y="626"/>
                  </a:lnTo>
                  <a:lnTo>
                    <a:pt x="919" y="626"/>
                  </a:lnTo>
                  <a:lnTo>
                    <a:pt x="919" y="624"/>
                  </a:lnTo>
                  <a:lnTo>
                    <a:pt x="926" y="617"/>
                  </a:lnTo>
                  <a:lnTo>
                    <a:pt x="933" y="617"/>
                  </a:lnTo>
                  <a:lnTo>
                    <a:pt x="938" y="612"/>
                  </a:lnTo>
                  <a:lnTo>
                    <a:pt x="943" y="609"/>
                  </a:lnTo>
                  <a:lnTo>
                    <a:pt x="935" y="605"/>
                  </a:lnTo>
                  <a:lnTo>
                    <a:pt x="926" y="609"/>
                  </a:lnTo>
                  <a:lnTo>
                    <a:pt x="919" y="609"/>
                  </a:lnTo>
                  <a:lnTo>
                    <a:pt x="921" y="605"/>
                  </a:lnTo>
                  <a:lnTo>
                    <a:pt x="921" y="593"/>
                  </a:lnTo>
                  <a:lnTo>
                    <a:pt x="919" y="588"/>
                  </a:lnTo>
                  <a:lnTo>
                    <a:pt x="917" y="593"/>
                  </a:lnTo>
                  <a:lnTo>
                    <a:pt x="912" y="593"/>
                  </a:lnTo>
                  <a:lnTo>
                    <a:pt x="905" y="600"/>
                  </a:lnTo>
                  <a:lnTo>
                    <a:pt x="898" y="595"/>
                  </a:lnTo>
                  <a:lnTo>
                    <a:pt x="895" y="595"/>
                  </a:lnTo>
                  <a:lnTo>
                    <a:pt x="898" y="609"/>
                  </a:lnTo>
                  <a:lnTo>
                    <a:pt x="909" y="624"/>
                  </a:lnTo>
                  <a:lnTo>
                    <a:pt x="912" y="626"/>
                  </a:lnTo>
                  <a:lnTo>
                    <a:pt x="912" y="628"/>
                  </a:lnTo>
                  <a:lnTo>
                    <a:pt x="909" y="633"/>
                  </a:lnTo>
                  <a:lnTo>
                    <a:pt x="895" y="645"/>
                  </a:lnTo>
                  <a:lnTo>
                    <a:pt x="893" y="657"/>
                  </a:lnTo>
                  <a:lnTo>
                    <a:pt x="879" y="666"/>
                  </a:lnTo>
                  <a:lnTo>
                    <a:pt x="879" y="669"/>
                  </a:lnTo>
                  <a:lnTo>
                    <a:pt x="876" y="669"/>
                  </a:lnTo>
                  <a:lnTo>
                    <a:pt x="855" y="685"/>
                  </a:lnTo>
                  <a:lnTo>
                    <a:pt x="841" y="685"/>
                  </a:lnTo>
                  <a:lnTo>
                    <a:pt x="832" y="692"/>
                  </a:lnTo>
                  <a:lnTo>
                    <a:pt x="832" y="697"/>
                  </a:lnTo>
                  <a:lnTo>
                    <a:pt x="836" y="697"/>
                  </a:lnTo>
                  <a:lnTo>
                    <a:pt x="839" y="692"/>
                  </a:lnTo>
                  <a:lnTo>
                    <a:pt x="841" y="692"/>
                  </a:lnTo>
                  <a:lnTo>
                    <a:pt x="846" y="690"/>
                  </a:lnTo>
                  <a:lnTo>
                    <a:pt x="839" y="697"/>
                  </a:lnTo>
                  <a:lnTo>
                    <a:pt x="836" y="697"/>
                  </a:lnTo>
                  <a:lnTo>
                    <a:pt x="832" y="699"/>
                  </a:lnTo>
                  <a:lnTo>
                    <a:pt x="824" y="699"/>
                  </a:lnTo>
                  <a:lnTo>
                    <a:pt x="822" y="702"/>
                  </a:lnTo>
                  <a:lnTo>
                    <a:pt x="815" y="706"/>
                  </a:lnTo>
                  <a:lnTo>
                    <a:pt x="815" y="709"/>
                  </a:lnTo>
                  <a:lnTo>
                    <a:pt x="808" y="709"/>
                  </a:lnTo>
                  <a:lnTo>
                    <a:pt x="813" y="709"/>
                  </a:lnTo>
                  <a:lnTo>
                    <a:pt x="815" y="706"/>
                  </a:lnTo>
                  <a:lnTo>
                    <a:pt x="822" y="702"/>
                  </a:lnTo>
                  <a:lnTo>
                    <a:pt x="824" y="699"/>
                  </a:lnTo>
                  <a:lnTo>
                    <a:pt x="829" y="697"/>
                  </a:lnTo>
                  <a:lnTo>
                    <a:pt x="822" y="697"/>
                  </a:lnTo>
                  <a:lnTo>
                    <a:pt x="820" y="699"/>
                  </a:lnTo>
                  <a:lnTo>
                    <a:pt x="815" y="699"/>
                  </a:lnTo>
                  <a:lnTo>
                    <a:pt x="808" y="702"/>
                  </a:lnTo>
                  <a:lnTo>
                    <a:pt x="808" y="699"/>
                  </a:lnTo>
                  <a:lnTo>
                    <a:pt x="815" y="699"/>
                  </a:lnTo>
                  <a:lnTo>
                    <a:pt x="813" y="692"/>
                  </a:lnTo>
                  <a:lnTo>
                    <a:pt x="806" y="692"/>
                  </a:lnTo>
                  <a:lnTo>
                    <a:pt x="796" y="690"/>
                  </a:lnTo>
                  <a:lnTo>
                    <a:pt x="791" y="685"/>
                  </a:lnTo>
                  <a:lnTo>
                    <a:pt x="791" y="690"/>
                  </a:lnTo>
                  <a:lnTo>
                    <a:pt x="796" y="699"/>
                  </a:lnTo>
                  <a:lnTo>
                    <a:pt x="791" y="702"/>
                  </a:lnTo>
                  <a:lnTo>
                    <a:pt x="784" y="699"/>
                  </a:lnTo>
                  <a:lnTo>
                    <a:pt x="782" y="697"/>
                  </a:lnTo>
                  <a:lnTo>
                    <a:pt x="782" y="692"/>
                  </a:lnTo>
                  <a:lnTo>
                    <a:pt x="775" y="692"/>
                  </a:lnTo>
                  <a:lnTo>
                    <a:pt x="780" y="706"/>
                  </a:lnTo>
                  <a:lnTo>
                    <a:pt x="789" y="709"/>
                  </a:lnTo>
                  <a:lnTo>
                    <a:pt x="796" y="716"/>
                  </a:lnTo>
                  <a:lnTo>
                    <a:pt x="780" y="725"/>
                  </a:lnTo>
                  <a:lnTo>
                    <a:pt x="772" y="725"/>
                  </a:lnTo>
                  <a:lnTo>
                    <a:pt x="772" y="718"/>
                  </a:lnTo>
                  <a:lnTo>
                    <a:pt x="768" y="716"/>
                  </a:lnTo>
                  <a:lnTo>
                    <a:pt x="761" y="713"/>
                  </a:lnTo>
                  <a:lnTo>
                    <a:pt x="758" y="718"/>
                  </a:lnTo>
                  <a:lnTo>
                    <a:pt x="761" y="718"/>
                  </a:lnTo>
                  <a:lnTo>
                    <a:pt x="765" y="723"/>
                  </a:lnTo>
                  <a:lnTo>
                    <a:pt x="765" y="732"/>
                  </a:lnTo>
                  <a:lnTo>
                    <a:pt x="758" y="742"/>
                  </a:lnTo>
                  <a:lnTo>
                    <a:pt x="756" y="742"/>
                  </a:lnTo>
                  <a:lnTo>
                    <a:pt x="749" y="746"/>
                  </a:lnTo>
                  <a:lnTo>
                    <a:pt x="749" y="742"/>
                  </a:lnTo>
                  <a:lnTo>
                    <a:pt x="744" y="739"/>
                  </a:lnTo>
                  <a:lnTo>
                    <a:pt x="735" y="742"/>
                  </a:lnTo>
                  <a:lnTo>
                    <a:pt x="732" y="749"/>
                  </a:lnTo>
                  <a:lnTo>
                    <a:pt x="735" y="749"/>
                  </a:lnTo>
                  <a:lnTo>
                    <a:pt x="735" y="754"/>
                  </a:lnTo>
                  <a:lnTo>
                    <a:pt x="739" y="754"/>
                  </a:lnTo>
                  <a:lnTo>
                    <a:pt x="742" y="749"/>
                  </a:lnTo>
                  <a:lnTo>
                    <a:pt x="744" y="749"/>
                  </a:lnTo>
                  <a:lnTo>
                    <a:pt x="744" y="754"/>
                  </a:lnTo>
                  <a:lnTo>
                    <a:pt x="732" y="772"/>
                  </a:lnTo>
                  <a:lnTo>
                    <a:pt x="723" y="770"/>
                  </a:lnTo>
                  <a:lnTo>
                    <a:pt x="709" y="770"/>
                  </a:lnTo>
                  <a:lnTo>
                    <a:pt x="711" y="772"/>
                  </a:lnTo>
                  <a:lnTo>
                    <a:pt x="718" y="777"/>
                  </a:lnTo>
                  <a:lnTo>
                    <a:pt x="725" y="782"/>
                  </a:lnTo>
                  <a:lnTo>
                    <a:pt x="728" y="787"/>
                  </a:lnTo>
                  <a:lnTo>
                    <a:pt x="718" y="810"/>
                  </a:lnTo>
                  <a:lnTo>
                    <a:pt x="718" y="817"/>
                  </a:lnTo>
                  <a:lnTo>
                    <a:pt x="711" y="820"/>
                  </a:lnTo>
                  <a:lnTo>
                    <a:pt x="709" y="813"/>
                  </a:lnTo>
                  <a:lnTo>
                    <a:pt x="699" y="817"/>
                  </a:lnTo>
                  <a:lnTo>
                    <a:pt x="699" y="813"/>
                  </a:lnTo>
                  <a:lnTo>
                    <a:pt x="695" y="813"/>
                  </a:lnTo>
                  <a:lnTo>
                    <a:pt x="692" y="806"/>
                  </a:lnTo>
                  <a:lnTo>
                    <a:pt x="687" y="806"/>
                  </a:lnTo>
                  <a:lnTo>
                    <a:pt x="692" y="810"/>
                  </a:lnTo>
                  <a:lnTo>
                    <a:pt x="695" y="817"/>
                  </a:lnTo>
                  <a:lnTo>
                    <a:pt x="699" y="822"/>
                  </a:lnTo>
                  <a:lnTo>
                    <a:pt x="709" y="827"/>
                  </a:lnTo>
                  <a:lnTo>
                    <a:pt x="711" y="822"/>
                  </a:lnTo>
                  <a:lnTo>
                    <a:pt x="716" y="822"/>
                  </a:lnTo>
                  <a:lnTo>
                    <a:pt x="716" y="834"/>
                  </a:lnTo>
                  <a:lnTo>
                    <a:pt x="711" y="843"/>
                  </a:lnTo>
                  <a:lnTo>
                    <a:pt x="704" y="846"/>
                  </a:lnTo>
                  <a:lnTo>
                    <a:pt x="704" y="860"/>
                  </a:lnTo>
                  <a:lnTo>
                    <a:pt x="709" y="862"/>
                  </a:lnTo>
                  <a:lnTo>
                    <a:pt x="711" y="862"/>
                  </a:lnTo>
                  <a:lnTo>
                    <a:pt x="711" y="869"/>
                  </a:lnTo>
                  <a:lnTo>
                    <a:pt x="718" y="886"/>
                  </a:lnTo>
                  <a:lnTo>
                    <a:pt x="718" y="900"/>
                  </a:lnTo>
                  <a:lnTo>
                    <a:pt x="723" y="900"/>
                  </a:lnTo>
                  <a:lnTo>
                    <a:pt x="728" y="914"/>
                  </a:lnTo>
                  <a:lnTo>
                    <a:pt x="728" y="924"/>
                  </a:lnTo>
                  <a:lnTo>
                    <a:pt x="735" y="933"/>
                  </a:lnTo>
                  <a:lnTo>
                    <a:pt x="739" y="931"/>
                  </a:lnTo>
                  <a:lnTo>
                    <a:pt x="739" y="926"/>
                  </a:lnTo>
                  <a:lnTo>
                    <a:pt x="742" y="931"/>
                  </a:lnTo>
                  <a:lnTo>
                    <a:pt x="742" y="935"/>
                  </a:lnTo>
                  <a:lnTo>
                    <a:pt x="732" y="940"/>
                  </a:lnTo>
                  <a:lnTo>
                    <a:pt x="728" y="940"/>
                  </a:lnTo>
                  <a:lnTo>
                    <a:pt x="725" y="943"/>
                  </a:lnTo>
                  <a:lnTo>
                    <a:pt x="725" y="947"/>
                  </a:lnTo>
                  <a:lnTo>
                    <a:pt x="718" y="947"/>
                  </a:lnTo>
                  <a:lnTo>
                    <a:pt x="711" y="943"/>
                  </a:lnTo>
                  <a:lnTo>
                    <a:pt x="709" y="935"/>
                  </a:lnTo>
                  <a:lnTo>
                    <a:pt x="702" y="931"/>
                  </a:lnTo>
                  <a:lnTo>
                    <a:pt x="654" y="931"/>
                  </a:lnTo>
                  <a:lnTo>
                    <a:pt x="647" y="926"/>
                  </a:lnTo>
                  <a:lnTo>
                    <a:pt x="643" y="924"/>
                  </a:lnTo>
                  <a:lnTo>
                    <a:pt x="643" y="919"/>
                  </a:lnTo>
                  <a:lnTo>
                    <a:pt x="635" y="917"/>
                  </a:lnTo>
                  <a:lnTo>
                    <a:pt x="626" y="914"/>
                  </a:lnTo>
                  <a:lnTo>
                    <a:pt x="621" y="914"/>
                  </a:lnTo>
                  <a:lnTo>
                    <a:pt x="614" y="909"/>
                  </a:lnTo>
                  <a:lnTo>
                    <a:pt x="612" y="907"/>
                  </a:lnTo>
                  <a:lnTo>
                    <a:pt x="607" y="907"/>
                  </a:lnTo>
                  <a:lnTo>
                    <a:pt x="595" y="900"/>
                  </a:lnTo>
                  <a:lnTo>
                    <a:pt x="591" y="900"/>
                  </a:lnTo>
                  <a:lnTo>
                    <a:pt x="581" y="895"/>
                  </a:lnTo>
                  <a:lnTo>
                    <a:pt x="579" y="891"/>
                  </a:lnTo>
                  <a:lnTo>
                    <a:pt x="574" y="874"/>
                  </a:lnTo>
                  <a:lnTo>
                    <a:pt x="572" y="867"/>
                  </a:lnTo>
                  <a:lnTo>
                    <a:pt x="567" y="862"/>
                  </a:lnTo>
                  <a:lnTo>
                    <a:pt x="567" y="860"/>
                  </a:lnTo>
                  <a:lnTo>
                    <a:pt x="565" y="860"/>
                  </a:lnTo>
                  <a:lnTo>
                    <a:pt x="550" y="843"/>
                  </a:lnTo>
                  <a:lnTo>
                    <a:pt x="555" y="827"/>
                  </a:lnTo>
                  <a:lnTo>
                    <a:pt x="550" y="806"/>
                  </a:lnTo>
                  <a:lnTo>
                    <a:pt x="548" y="798"/>
                  </a:lnTo>
                  <a:lnTo>
                    <a:pt x="548" y="796"/>
                  </a:lnTo>
                  <a:lnTo>
                    <a:pt x="541" y="794"/>
                  </a:lnTo>
                  <a:lnTo>
                    <a:pt x="539" y="794"/>
                  </a:lnTo>
                  <a:lnTo>
                    <a:pt x="534" y="789"/>
                  </a:lnTo>
                  <a:lnTo>
                    <a:pt x="532" y="789"/>
                  </a:lnTo>
                  <a:lnTo>
                    <a:pt x="532" y="787"/>
                  </a:lnTo>
                  <a:lnTo>
                    <a:pt x="529" y="782"/>
                  </a:lnTo>
                  <a:lnTo>
                    <a:pt x="524" y="780"/>
                  </a:lnTo>
                  <a:lnTo>
                    <a:pt x="522" y="780"/>
                  </a:lnTo>
                  <a:lnTo>
                    <a:pt x="522" y="777"/>
                  </a:lnTo>
                  <a:lnTo>
                    <a:pt x="517" y="77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0" name="Freeform 525">
              <a:extLst>
                <a:ext uri="{FF2B5EF4-FFF2-40B4-BE49-F238E27FC236}">
                  <a16:creationId xmlns:a16="http://schemas.microsoft.com/office/drawing/2014/main" id="{F76F1745-9143-4066-A047-2BF101CC5B53}"/>
                </a:ext>
              </a:extLst>
            </p:cNvPr>
            <p:cNvSpPr>
              <a:spLocks/>
            </p:cNvSpPr>
            <p:nvPr/>
          </p:nvSpPr>
          <p:spPr bwMode="gray">
            <a:xfrm rot="47099">
              <a:off x="993565" y="4144993"/>
              <a:ext cx="7125" cy="5789"/>
            </a:xfrm>
            <a:custGeom>
              <a:avLst/>
              <a:gdLst>
                <a:gd name="T0" fmla="*/ 7 w 14"/>
                <a:gd name="T1" fmla="*/ 12 h 12"/>
                <a:gd name="T2" fmla="*/ 7 w 14"/>
                <a:gd name="T3" fmla="*/ 9 h 12"/>
                <a:gd name="T4" fmla="*/ 0 w 14"/>
                <a:gd name="T5" fmla="*/ 9 h 12"/>
                <a:gd name="T6" fmla="*/ 0 w 14"/>
                <a:gd name="T7" fmla="*/ 7 h 12"/>
                <a:gd name="T8" fmla="*/ 7 w 14"/>
                <a:gd name="T9" fmla="*/ 0 h 12"/>
                <a:gd name="T10" fmla="*/ 9 w 14"/>
                <a:gd name="T11" fmla="*/ 0 h 12"/>
                <a:gd name="T12" fmla="*/ 9 w 14"/>
                <a:gd name="T13" fmla="*/ 2 h 12"/>
                <a:gd name="T14" fmla="*/ 14 w 14"/>
                <a:gd name="T15" fmla="*/ 2 h 12"/>
                <a:gd name="T16" fmla="*/ 14 w 14"/>
                <a:gd name="T17" fmla="*/ 12 h 12"/>
                <a:gd name="T18" fmla="*/ 7 w 14"/>
                <a:gd name="T19" fmla="*/ 1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2"/>
                <a:gd name="T32" fmla="*/ 14 w 14"/>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2">
                  <a:moveTo>
                    <a:pt x="7" y="12"/>
                  </a:moveTo>
                  <a:lnTo>
                    <a:pt x="7" y="9"/>
                  </a:lnTo>
                  <a:lnTo>
                    <a:pt x="0" y="9"/>
                  </a:lnTo>
                  <a:lnTo>
                    <a:pt x="0" y="7"/>
                  </a:lnTo>
                  <a:lnTo>
                    <a:pt x="7" y="0"/>
                  </a:lnTo>
                  <a:lnTo>
                    <a:pt x="9" y="0"/>
                  </a:lnTo>
                  <a:lnTo>
                    <a:pt x="9" y="2"/>
                  </a:lnTo>
                  <a:lnTo>
                    <a:pt x="14" y="2"/>
                  </a:lnTo>
                  <a:lnTo>
                    <a:pt x="14" y="12"/>
                  </a:lnTo>
                  <a:lnTo>
                    <a:pt x="7" y="1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1" name="Freeform 526">
              <a:extLst>
                <a:ext uri="{FF2B5EF4-FFF2-40B4-BE49-F238E27FC236}">
                  <a16:creationId xmlns:a16="http://schemas.microsoft.com/office/drawing/2014/main" id="{7CDAAE0E-1F46-49B4-BA78-FA95063A35A8}"/>
                </a:ext>
              </a:extLst>
            </p:cNvPr>
            <p:cNvSpPr>
              <a:spLocks/>
            </p:cNvSpPr>
            <p:nvPr/>
          </p:nvSpPr>
          <p:spPr bwMode="gray">
            <a:xfrm rot="47099">
              <a:off x="1063329" y="3925922"/>
              <a:ext cx="3563" cy="11578"/>
            </a:xfrm>
            <a:custGeom>
              <a:avLst/>
              <a:gdLst>
                <a:gd name="T0" fmla="*/ 4 w 9"/>
                <a:gd name="T1" fmla="*/ 24 h 24"/>
                <a:gd name="T2" fmla="*/ 4 w 9"/>
                <a:gd name="T3" fmla="*/ 22 h 24"/>
                <a:gd name="T4" fmla="*/ 2 w 9"/>
                <a:gd name="T5" fmla="*/ 22 h 24"/>
                <a:gd name="T6" fmla="*/ 2 w 9"/>
                <a:gd name="T7" fmla="*/ 14 h 24"/>
                <a:gd name="T8" fmla="*/ 0 w 9"/>
                <a:gd name="T9" fmla="*/ 12 h 24"/>
                <a:gd name="T10" fmla="*/ 0 w 9"/>
                <a:gd name="T11" fmla="*/ 0 h 24"/>
                <a:gd name="T12" fmla="*/ 2 w 9"/>
                <a:gd name="T13" fmla="*/ 5 h 24"/>
                <a:gd name="T14" fmla="*/ 2 w 9"/>
                <a:gd name="T15" fmla="*/ 7 h 24"/>
                <a:gd name="T16" fmla="*/ 4 w 9"/>
                <a:gd name="T17" fmla="*/ 7 h 24"/>
                <a:gd name="T18" fmla="*/ 9 w 9"/>
                <a:gd name="T19" fmla="*/ 17 h 24"/>
                <a:gd name="T20" fmla="*/ 9 w 9"/>
                <a:gd name="T21" fmla="*/ 24 h 24"/>
                <a:gd name="T22" fmla="*/ 4 w 9"/>
                <a:gd name="T23" fmla="*/ 24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4"/>
                <a:gd name="T38" fmla="*/ 9 w 9"/>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4">
                  <a:moveTo>
                    <a:pt x="4" y="24"/>
                  </a:moveTo>
                  <a:lnTo>
                    <a:pt x="4" y="22"/>
                  </a:lnTo>
                  <a:lnTo>
                    <a:pt x="2" y="22"/>
                  </a:lnTo>
                  <a:lnTo>
                    <a:pt x="2" y="14"/>
                  </a:lnTo>
                  <a:lnTo>
                    <a:pt x="0" y="12"/>
                  </a:lnTo>
                  <a:lnTo>
                    <a:pt x="0" y="0"/>
                  </a:lnTo>
                  <a:lnTo>
                    <a:pt x="2" y="5"/>
                  </a:lnTo>
                  <a:lnTo>
                    <a:pt x="2" y="7"/>
                  </a:lnTo>
                  <a:lnTo>
                    <a:pt x="4" y="7"/>
                  </a:lnTo>
                  <a:lnTo>
                    <a:pt x="9" y="17"/>
                  </a:lnTo>
                  <a:lnTo>
                    <a:pt x="9" y="24"/>
                  </a:lnTo>
                  <a:lnTo>
                    <a:pt x="4" y="24"/>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2" name="Freeform 527">
              <a:extLst>
                <a:ext uri="{FF2B5EF4-FFF2-40B4-BE49-F238E27FC236}">
                  <a16:creationId xmlns:a16="http://schemas.microsoft.com/office/drawing/2014/main" id="{E70B11B9-44B2-4025-A556-DEFAAFC1251D}"/>
                </a:ext>
              </a:extLst>
            </p:cNvPr>
            <p:cNvSpPr>
              <a:spLocks/>
            </p:cNvSpPr>
            <p:nvPr/>
          </p:nvSpPr>
          <p:spPr bwMode="gray">
            <a:xfrm rot="47099">
              <a:off x="982501" y="3910408"/>
              <a:ext cx="13360" cy="9649"/>
            </a:xfrm>
            <a:custGeom>
              <a:avLst/>
              <a:gdLst>
                <a:gd name="T0" fmla="*/ 24 w 28"/>
                <a:gd name="T1" fmla="*/ 22 h 22"/>
                <a:gd name="T2" fmla="*/ 24 w 28"/>
                <a:gd name="T3" fmla="*/ 17 h 22"/>
                <a:gd name="T4" fmla="*/ 21 w 28"/>
                <a:gd name="T5" fmla="*/ 17 h 22"/>
                <a:gd name="T6" fmla="*/ 14 w 28"/>
                <a:gd name="T7" fmla="*/ 12 h 22"/>
                <a:gd name="T8" fmla="*/ 7 w 28"/>
                <a:gd name="T9" fmla="*/ 5 h 22"/>
                <a:gd name="T10" fmla="*/ 0 w 28"/>
                <a:gd name="T11" fmla="*/ 0 h 22"/>
                <a:gd name="T12" fmla="*/ 17 w 28"/>
                <a:gd name="T13" fmla="*/ 0 h 22"/>
                <a:gd name="T14" fmla="*/ 28 w 28"/>
                <a:gd name="T15" fmla="*/ 14 h 22"/>
                <a:gd name="T16" fmla="*/ 28 w 28"/>
                <a:gd name="T17" fmla="*/ 17 h 22"/>
                <a:gd name="T18" fmla="*/ 24 w 28"/>
                <a:gd name="T19" fmla="*/ 22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2"/>
                <a:gd name="T32" fmla="*/ 28 w 28"/>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2">
                  <a:moveTo>
                    <a:pt x="24" y="22"/>
                  </a:moveTo>
                  <a:lnTo>
                    <a:pt x="24" y="17"/>
                  </a:lnTo>
                  <a:lnTo>
                    <a:pt x="21" y="17"/>
                  </a:lnTo>
                  <a:lnTo>
                    <a:pt x="14" y="12"/>
                  </a:lnTo>
                  <a:lnTo>
                    <a:pt x="7" y="5"/>
                  </a:lnTo>
                  <a:lnTo>
                    <a:pt x="0" y="0"/>
                  </a:lnTo>
                  <a:lnTo>
                    <a:pt x="17" y="0"/>
                  </a:lnTo>
                  <a:lnTo>
                    <a:pt x="28" y="14"/>
                  </a:lnTo>
                  <a:lnTo>
                    <a:pt x="28" y="17"/>
                  </a:lnTo>
                  <a:lnTo>
                    <a:pt x="24" y="2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3" name="Freeform 528">
              <a:extLst>
                <a:ext uri="{FF2B5EF4-FFF2-40B4-BE49-F238E27FC236}">
                  <a16:creationId xmlns:a16="http://schemas.microsoft.com/office/drawing/2014/main" id="{E48ED0F4-D8F6-4650-AD0E-CB295A883A42}"/>
                </a:ext>
              </a:extLst>
            </p:cNvPr>
            <p:cNvSpPr>
              <a:spLocks/>
            </p:cNvSpPr>
            <p:nvPr/>
          </p:nvSpPr>
          <p:spPr bwMode="gray">
            <a:xfrm rot="47099">
              <a:off x="1045670" y="3916031"/>
              <a:ext cx="3563" cy="8683"/>
            </a:xfrm>
            <a:custGeom>
              <a:avLst/>
              <a:gdLst>
                <a:gd name="T0" fmla="*/ 2 w 7"/>
                <a:gd name="T1" fmla="*/ 17 h 17"/>
                <a:gd name="T2" fmla="*/ 2 w 7"/>
                <a:gd name="T3" fmla="*/ 12 h 17"/>
                <a:gd name="T4" fmla="*/ 0 w 7"/>
                <a:gd name="T5" fmla="*/ 2 h 17"/>
                <a:gd name="T6" fmla="*/ 0 w 7"/>
                <a:gd name="T7" fmla="*/ 0 h 17"/>
                <a:gd name="T8" fmla="*/ 2 w 7"/>
                <a:gd name="T9" fmla="*/ 2 h 17"/>
                <a:gd name="T10" fmla="*/ 7 w 7"/>
                <a:gd name="T11" fmla="*/ 10 h 17"/>
                <a:gd name="T12" fmla="*/ 7 w 7"/>
                <a:gd name="T13" fmla="*/ 17 h 17"/>
                <a:gd name="T14" fmla="*/ 2 w 7"/>
                <a:gd name="T15" fmla="*/ 17 h 17"/>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7"/>
                <a:gd name="T26" fmla="*/ 7 w 7"/>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7">
                  <a:moveTo>
                    <a:pt x="2" y="17"/>
                  </a:moveTo>
                  <a:lnTo>
                    <a:pt x="2" y="12"/>
                  </a:lnTo>
                  <a:lnTo>
                    <a:pt x="0" y="2"/>
                  </a:lnTo>
                  <a:lnTo>
                    <a:pt x="0" y="0"/>
                  </a:lnTo>
                  <a:lnTo>
                    <a:pt x="2" y="2"/>
                  </a:lnTo>
                  <a:lnTo>
                    <a:pt x="7" y="10"/>
                  </a:lnTo>
                  <a:lnTo>
                    <a:pt x="7" y="17"/>
                  </a:lnTo>
                  <a:lnTo>
                    <a:pt x="2" y="1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4" name="Freeform 529">
              <a:extLst>
                <a:ext uri="{FF2B5EF4-FFF2-40B4-BE49-F238E27FC236}">
                  <a16:creationId xmlns:a16="http://schemas.microsoft.com/office/drawing/2014/main" id="{B64BD572-034F-467A-A329-473DC078E73E}"/>
                </a:ext>
              </a:extLst>
            </p:cNvPr>
            <p:cNvSpPr>
              <a:spLocks/>
            </p:cNvSpPr>
            <p:nvPr/>
          </p:nvSpPr>
          <p:spPr bwMode="gray">
            <a:xfrm rot="47099">
              <a:off x="1036165" y="3894690"/>
              <a:ext cx="6235" cy="8683"/>
            </a:xfrm>
            <a:custGeom>
              <a:avLst/>
              <a:gdLst>
                <a:gd name="T0" fmla="*/ 0 w 15"/>
                <a:gd name="T1" fmla="*/ 2 h 19"/>
                <a:gd name="T2" fmla="*/ 5 w 15"/>
                <a:gd name="T3" fmla="*/ 2 h 19"/>
                <a:gd name="T4" fmla="*/ 8 w 15"/>
                <a:gd name="T5" fmla="*/ 7 h 19"/>
                <a:gd name="T6" fmla="*/ 12 w 15"/>
                <a:gd name="T7" fmla="*/ 7 h 19"/>
                <a:gd name="T8" fmla="*/ 15 w 15"/>
                <a:gd name="T9" fmla="*/ 19 h 19"/>
                <a:gd name="T10" fmla="*/ 8 w 15"/>
                <a:gd name="T11" fmla="*/ 19 h 19"/>
                <a:gd name="T12" fmla="*/ 5 w 15"/>
                <a:gd name="T13" fmla="*/ 16 h 19"/>
                <a:gd name="T14" fmla="*/ 0 w 15"/>
                <a:gd name="T15" fmla="*/ 2 h 19"/>
                <a:gd name="T16" fmla="*/ 0 w 15"/>
                <a:gd name="T17" fmla="*/ 0 h 19"/>
                <a:gd name="T18" fmla="*/ 0 w 15"/>
                <a:gd name="T19" fmla="*/ 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9"/>
                <a:gd name="T32" fmla="*/ 15 w 15"/>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9">
                  <a:moveTo>
                    <a:pt x="0" y="2"/>
                  </a:moveTo>
                  <a:lnTo>
                    <a:pt x="5" y="2"/>
                  </a:lnTo>
                  <a:lnTo>
                    <a:pt x="8" y="7"/>
                  </a:lnTo>
                  <a:lnTo>
                    <a:pt x="12" y="7"/>
                  </a:lnTo>
                  <a:lnTo>
                    <a:pt x="15" y="19"/>
                  </a:lnTo>
                  <a:lnTo>
                    <a:pt x="8" y="19"/>
                  </a:lnTo>
                  <a:lnTo>
                    <a:pt x="5" y="16"/>
                  </a:lnTo>
                  <a:lnTo>
                    <a:pt x="0" y="2"/>
                  </a:lnTo>
                  <a:lnTo>
                    <a:pt x="0" y="0"/>
                  </a:lnTo>
                  <a:lnTo>
                    <a:pt x="0"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5" name="Freeform 530">
              <a:extLst>
                <a:ext uri="{FF2B5EF4-FFF2-40B4-BE49-F238E27FC236}">
                  <a16:creationId xmlns:a16="http://schemas.microsoft.com/office/drawing/2014/main" id="{4FF5C46B-337C-4EB2-A776-3C19B419CDEA}"/>
                </a:ext>
              </a:extLst>
            </p:cNvPr>
            <p:cNvSpPr>
              <a:spLocks/>
            </p:cNvSpPr>
            <p:nvPr/>
          </p:nvSpPr>
          <p:spPr bwMode="gray">
            <a:xfrm rot="47099">
              <a:off x="975655" y="3879394"/>
              <a:ext cx="7125" cy="30874"/>
            </a:xfrm>
            <a:custGeom>
              <a:avLst/>
              <a:gdLst>
                <a:gd name="T0" fmla="*/ 16 w 16"/>
                <a:gd name="T1" fmla="*/ 0 h 66"/>
                <a:gd name="T2" fmla="*/ 16 w 16"/>
                <a:gd name="T3" fmla="*/ 2 h 66"/>
                <a:gd name="T4" fmla="*/ 14 w 16"/>
                <a:gd name="T5" fmla="*/ 7 h 66"/>
                <a:gd name="T6" fmla="*/ 14 w 16"/>
                <a:gd name="T7" fmla="*/ 10 h 66"/>
                <a:gd name="T8" fmla="*/ 11 w 16"/>
                <a:gd name="T9" fmla="*/ 17 h 66"/>
                <a:gd name="T10" fmla="*/ 7 w 16"/>
                <a:gd name="T11" fmla="*/ 33 h 66"/>
                <a:gd name="T12" fmla="*/ 7 w 16"/>
                <a:gd name="T13" fmla="*/ 40 h 66"/>
                <a:gd name="T14" fmla="*/ 16 w 16"/>
                <a:gd name="T15" fmla="*/ 64 h 66"/>
                <a:gd name="T16" fmla="*/ 16 w 16"/>
                <a:gd name="T17" fmla="*/ 66 h 66"/>
                <a:gd name="T18" fmla="*/ 14 w 16"/>
                <a:gd name="T19" fmla="*/ 66 h 66"/>
                <a:gd name="T20" fmla="*/ 11 w 16"/>
                <a:gd name="T21" fmla="*/ 64 h 66"/>
                <a:gd name="T22" fmla="*/ 7 w 16"/>
                <a:gd name="T23" fmla="*/ 57 h 66"/>
                <a:gd name="T24" fmla="*/ 7 w 16"/>
                <a:gd name="T25" fmla="*/ 40 h 66"/>
                <a:gd name="T26" fmla="*/ 0 w 16"/>
                <a:gd name="T27" fmla="*/ 40 h 66"/>
                <a:gd name="T28" fmla="*/ 7 w 16"/>
                <a:gd name="T29" fmla="*/ 24 h 66"/>
                <a:gd name="T30" fmla="*/ 7 w 16"/>
                <a:gd name="T31" fmla="*/ 21 h 66"/>
                <a:gd name="T32" fmla="*/ 14 w 16"/>
                <a:gd name="T33" fmla="*/ 7 h 66"/>
                <a:gd name="T34" fmla="*/ 16 w 16"/>
                <a:gd name="T35" fmla="*/ 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66"/>
                <a:gd name="T56" fmla="*/ 16 w 16"/>
                <a:gd name="T57" fmla="*/ 66 h 6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66">
                  <a:moveTo>
                    <a:pt x="16" y="0"/>
                  </a:moveTo>
                  <a:lnTo>
                    <a:pt x="16" y="2"/>
                  </a:lnTo>
                  <a:lnTo>
                    <a:pt x="14" y="7"/>
                  </a:lnTo>
                  <a:lnTo>
                    <a:pt x="14" y="10"/>
                  </a:lnTo>
                  <a:lnTo>
                    <a:pt x="11" y="17"/>
                  </a:lnTo>
                  <a:lnTo>
                    <a:pt x="7" y="33"/>
                  </a:lnTo>
                  <a:lnTo>
                    <a:pt x="7" y="40"/>
                  </a:lnTo>
                  <a:lnTo>
                    <a:pt x="16" y="64"/>
                  </a:lnTo>
                  <a:lnTo>
                    <a:pt x="16" y="66"/>
                  </a:lnTo>
                  <a:lnTo>
                    <a:pt x="14" y="66"/>
                  </a:lnTo>
                  <a:lnTo>
                    <a:pt x="11" y="64"/>
                  </a:lnTo>
                  <a:lnTo>
                    <a:pt x="7" y="57"/>
                  </a:lnTo>
                  <a:lnTo>
                    <a:pt x="7" y="40"/>
                  </a:lnTo>
                  <a:lnTo>
                    <a:pt x="0" y="40"/>
                  </a:lnTo>
                  <a:lnTo>
                    <a:pt x="7" y="24"/>
                  </a:lnTo>
                  <a:lnTo>
                    <a:pt x="7" y="21"/>
                  </a:lnTo>
                  <a:lnTo>
                    <a:pt x="14" y="7"/>
                  </a:lnTo>
                  <a:lnTo>
                    <a:pt x="16"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6" name="Freeform 531">
              <a:extLst>
                <a:ext uri="{FF2B5EF4-FFF2-40B4-BE49-F238E27FC236}">
                  <a16:creationId xmlns:a16="http://schemas.microsoft.com/office/drawing/2014/main" id="{B5F0629E-16FD-41FB-A51D-6933FDBDD6D1}"/>
                </a:ext>
              </a:extLst>
            </p:cNvPr>
            <p:cNvSpPr>
              <a:spLocks/>
            </p:cNvSpPr>
            <p:nvPr/>
          </p:nvSpPr>
          <p:spPr bwMode="gray">
            <a:xfrm rot="47099">
              <a:off x="1020710" y="3852022"/>
              <a:ext cx="6235" cy="9649"/>
            </a:xfrm>
            <a:custGeom>
              <a:avLst/>
              <a:gdLst>
                <a:gd name="T0" fmla="*/ 0 w 14"/>
                <a:gd name="T1" fmla="*/ 19 h 21"/>
                <a:gd name="T2" fmla="*/ 0 w 14"/>
                <a:gd name="T3" fmla="*/ 19 h 21"/>
                <a:gd name="T4" fmla="*/ 2 w 14"/>
                <a:gd name="T5" fmla="*/ 2 h 21"/>
                <a:gd name="T6" fmla="*/ 9 w 14"/>
                <a:gd name="T7" fmla="*/ 0 h 21"/>
                <a:gd name="T8" fmla="*/ 14 w 14"/>
                <a:gd name="T9" fmla="*/ 0 h 21"/>
                <a:gd name="T10" fmla="*/ 14 w 14"/>
                <a:gd name="T11" fmla="*/ 5 h 21"/>
                <a:gd name="T12" fmla="*/ 9 w 14"/>
                <a:gd name="T13" fmla="*/ 5 h 21"/>
                <a:gd name="T14" fmla="*/ 2 w 14"/>
                <a:gd name="T15" fmla="*/ 12 h 21"/>
                <a:gd name="T16" fmla="*/ 2 w 14"/>
                <a:gd name="T17" fmla="*/ 19 h 21"/>
                <a:gd name="T18" fmla="*/ 0 w 14"/>
                <a:gd name="T19" fmla="*/ 21 h 21"/>
                <a:gd name="T20" fmla="*/ 0 w 14"/>
                <a:gd name="T21" fmla="*/ 19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1"/>
                <a:gd name="T35" fmla="*/ 14 w 14"/>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1">
                  <a:moveTo>
                    <a:pt x="0" y="19"/>
                  </a:moveTo>
                  <a:lnTo>
                    <a:pt x="0" y="19"/>
                  </a:lnTo>
                  <a:lnTo>
                    <a:pt x="2" y="2"/>
                  </a:lnTo>
                  <a:lnTo>
                    <a:pt x="9" y="0"/>
                  </a:lnTo>
                  <a:lnTo>
                    <a:pt x="14" y="0"/>
                  </a:lnTo>
                  <a:lnTo>
                    <a:pt x="14" y="5"/>
                  </a:lnTo>
                  <a:lnTo>
                    <a:pt x="9" y="5"/>
                  </a:lnTo>
                  <a:lnTo>
                    <a:pt x="2" y="12"/>
                  </a:lnTo>
                  <a:lnTo>
                    <a:pt x="2" y="19"/>
                  </a:lnTo>
                  <a:lnTo>
                    <a:pt x="0" y="21"/>
                  </a:lnTo>
                  <a:lnTo>
                    <a:pt x="0" y="19"/>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7" name="Freeform 532">
              <a:extLst>
                <a:ext uri="{FF2B5EF4-FFF2-40B4-BE49-F238E27FC236}">
                  <a16:creationId xmlns:a16="http://schemas.microsoft.com/office/drawing/2014/main" id="{90C411B4-EBFD-4F7A-A8A9-9D50C7FE6B79}"/>
                </a:ext>
              </a:extLst>
            </p:cNvPr>
            <p:cNvSpPr>
              <a:spLocks/>
            </p:cNvSpPr>
            <p:nvPr/>
          </p:nvSpPr>
          <p:spPr bwMode="gray">
            <a:xfrm rot="47099">
              <a:off x="887795" y="3755960"/>
              <a:ext cx="192372" cy="232524"/>
            </a:xfrm>
            <a:custGeom>
              <a:avLst/>
              <a:gdLst>
                <a:gd name="T0" fmla="*/ 186 w 413"/>
                <a:gd name="T1" fmla="*/ 44 h 498"/>
                <a:gd name="T2" fmla="*/ 210 w 413"/>
                <a:gd name="T3" fmla="*/ 61 h 498"/>
                <a:gd name="T4" fmla="*/ 233 w 413"/>
                <a:gd name="T5" fmla="*/ 111 h 498"/>
                <a:gd name="T6" fmla="*/ 236 w 413"/>
                <a:gd name="T7" fmla="*/ 137 h 498"/>
                <a:gd name="T8" fmla="*/ 252 w 413"/>
                <a:gd name="T9" fmla="*/ 151 h 498"/>
                <a:gd name="T10" fmla="*/ 243 w 413"/>
                <a:gd name="T11" fmla="*/ 137 h 498"/>
                <a:gd name="T12" fmla="*/ 252 w 413"/>
                <a:gd name="T13" fmla="*/ 134 h 498"/>
                <a:gd name="T14" fmla="*/ 267 w 413"/>
                <a:gd name="T15" fmla="*/ 160 h 498"/>
                <a:gd name="T16" fmla="*/ 276 w 413"/>
                <a:gd name="T17" fmla="*/ 207 h 498"/>
                <a:gd name="T18" fmla="*/ 285 w 413"/>
                <a:gd name="T19" fmla="*/ 248 h 498"/>
                <a:gd name="T20" fmla="*/ 297 w 413"/>
                <a:gd name="T21" fmla="*/ 264 h 498"/>
                <a:gd name="T22" fmla="*/ 309 w 413"/>
                <a:gd name="T23" fmla="*/ 295 h 498"/>
                <a:gd name="T24" fmla="*/ 318 w 413"/>
                <a:gd name="T25" fmla="*/ 323 h 498"/>
                <a:gd name="T26" fmla="*/ 314 w 413"/>
                <a:gd name="T27" fmla="*/ 359 h 498"/>
                <a:gd name="T28" fmla="*/ 337 w 413"/>
                <a:gd name="T29" fmla="*/ 375 h 498"/>
                <a:gd name="T30" fmla="*/ 340 w 413"/>
                <a:gd name="T31" fmla="*/ 377 h 498"/>
                <a:gd name="T32" fmla="*/ 342 w 413"/>
                <a:gd name="T33" fmla="*/ 385 h 498"/>
                <a:gd name="T34" fmla="*/ 354 w 413"/>
                <a:gd name="T35" fmla="*/ 363 h 498"/>
                <a:gd name="T36" fmla="*/ 370 w 413"/>
                <a:gd name="T37" fmla="*/ 387 h 498"/>
                <a:gd name="T38" fmla="*/ 387 w 413"/>
                <a:gd name="T39" fmla="*/ 411 h 498"/>
                <a:gd name="T40" fmla="*/ 399 w 413"/>
                <a:gd name="T41" fmla="*/ 434 h 498"/>
                <a:gd name="T42" fmla="*/ 413 w 413"/>
                <a:gd name="T43" fmla="*/ 451 h 498"/>
                <a:gd name="T44" fmla="*/ 399 w 413"/>
                <a:gd name="T45" fmla="*/ 479 h 498"/>
                <a:gd name="T46" fmla="*/ 387 w 413"/>
                <a:gd name="T47" fmla="*/ 484 h 498"/>
                <a:gd name="T48" fmla="*/ 370 w 413"/>
                <a:gd name="T49" fmla="*/ 496 h 498"/>
                <a:gd name="T50" fmla="*/ 356 w 413"/>
                <a:gd name="T51" fmla="*/ 491 h 498"/>
                <a:gd name="T52" fmla="*/ 349 w 413"/>
                <a:gd name="T53" fmla="*/ 455 h 498"/>
                <a:gd name="T54" fmla="*/ 326 w 413"/>
                <a:gd name="T55" fmla="*/ 425 h 498"/>
                <a:gd name="T56" fmla="*/ 309 w 413"/>
                <a:gd name="T57" fmla="*/ 408 h 498"/>
                <a:gd name="T58" fmla="*/ 281 w 413"/>
                <a:gd name="T59" fmla="*/ 375 h 498"/>
                <a:gd name="T60" fmla="*/ 245 w 413"/>
                <a:gd name="T61" fmla="*/ 344 h 498"/>
                <a:gd name="T62" fmla="*/ 236 w 413"/>
                <a:gd name="T63" fmla="*/ 335 h 498"/>
                <a:gd name="T64" fmla="*/ 219 w 413"/>
                <a:gd name="T65" fmla="*/ 318 h 498"/>
                <a:gd name="T66" fmla="*/ 203 w 413"/>
                <a:gd name="T67" fmla="*/ 311 h 498"/>
                <a:gd name="T68" fmla="*/ 200 w 413"/>
                <a:gd name="T69" fmla="*/ 297 h 498"/>
                <a:gd name="T70" fmla="*/ 205 w 413"/>
                <a:gd name="T71" fmla="*/ 266 h 498"/>
                <a:gd name="T72" fmla="*/ 212 w 413"/>
                <a:gd name="T73" fmla="*/ 233 h 498"/>
                <a:gd name="T74" fmla="*/ 212 w 413"/>
                <a:gd name="T75" fmla="*/ 224 h 498"/>
                <a:gd name="T76" fmla="*/ 203 w 413"/>
                <a:gd name="T77" fmla="*/ 198 h 498"/>
                <a:gd name="T78" fmla="*/ 193 w 413"/>
                <a:gd name="T79" fmla="*/ 174 h 498"/>
                <a:gd name="T80" fmla="*/ 163 w 413"/>
                <a:gd name="T81" fmla="*/ 153 h 498"/>
                <a:gd name="T82" fmla="*/ 148 w 413"/>
                <a:gd name="T83" fmla="*/ 141 h 498"/>
                <a:gd name="T84" fmla="*/ 132 w 413"/>
                <a:gd name="T85" fmla="*/ 120 h 498"/>
                <a:gd name="T86" fmla="*/ 144 w 413"/>
                <a:gd name="T87" fmla="*/ 111 h 498"/>
                <a:gd name="T88" fmla="*/ 132 w 413"/>
                <a:gd name="T89" fmla="*/ 113 h 498"/>
                <a:gd name="T90" fmla="*/ 106 w 413"/>
                <a:gd name="T91" fmla="*/ 118 h 498"/>
                <a:gd name="T92" fmla="*/ 89 w 413"/>
                <a:gd name="T93" fmla="*/ 101 h 498"/>
                <a:gd name="T94" fmla="*/ 73 w 413"/>
                <a:gd name="T95" fmla="*/ 89 h 498"/>
                <a:gd name="T96" fmla="*/ 66 w 413"/>
                <a:gd name="T97" fmla="*/ 77 h 498"/>
                <a:gd name="T98" fmla="*/ 52 w 413"/>
                <a:gd name="T99" fmla="*/ 73 h 498"/>
                <a:gd name="T100" fmla="*/ 35 w 413"/>
                <a:gd name="T101" fmla="*/ 47 h 498"/>
                <a:gd name="T102" fmla="*/ 11 w 413"/>
                <a:gd name="T103" fmla="*/ 16 h 498"/>
                <a:gd name="T104" fmla="*/ 0 w 413"/>
                <a:gd name="T105" fmla="*/ 4 h 498"/>
                <a:gd name="T106" fmla="*/ 28 w 413"/>
                <a:gd name="T107" fmla="*/ 11 h 498"/>
                <a:gd name="T108" fmla="*/ 49 w 413"/>
                <a:gd name="T109" fmla="*/ 14 h 498"/>
                <a:gd name="T110" fmla="*/ 80 w 413"/>
                <a:gd name="T111" fmla="*/ 30 h 498"/>
                <a:gd name="T112" fmla="*/ 75 w 413"/>
                <a:gd name="T113" fmla="*/ 23 h 498"/>
                <a:gd name="T114" fmla="*/ 63 w 413"/>
                <a:gd name="T115" fmla="*/ 14 h 498"/>
                <a:gd name="T116" fmla="*/ 73 w 413"/>
                <a:gd name="T117" fmla="*/ 0 h 498"/>
                <a:gd name="T118" fmla="*/ 170 w 413"/>
                <a:gd name="T119" fmla="*/ 14 h 49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3"/>
                <a:gd name="T181" fmla="*/ 0 h 498"/>
                <a:gd name="T182" fmla="*/ 413 w 413"/>
                <a:gd name="T183" fmla="*/ 498 h 49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3" h="498">
                  <a:moveTo>
                    <a:pt x="186" y="16"/>
                  </a:moveTo>
                  <a:lnTo>
                    <a:pt x="184" y="16"/>
                  </a:lnTo>
                  <a:lnTo>
                    <a:pt x="184" y="30"/>
                  </a:lnTo>
                  <a:lnTo>
                    <a:pt x="186" y="44"/>
                  </a:lnTo>
                  <a:lnTo>
                    <a:pt x="193" y="49"/>
                  </a:lnTo>
                  <a:lnTo>
                    <a:pt x="196" y="54"/>
                  </a:lnTo>
                  <a:lnTo>
                    <a:pt x="200" y="54"/>
                  </a:lnTo>
                  <a:lnTo>
                    <a:pt x="210" y="61"/>
                  </a:lnTo>
                  <a:lnTo>
                    <a:pt x="212" y="68"/>
                  </a:lnTo>
                  <a:lnTo>
                    <a:pt x="217" y="89"/>
                  </a:lnTo>
                  <a:lnTo>
                    <a:pt x="226" y="101"/>
                  </a:lnTo>
                  <a:lnTo>
                    <a:pt x="233" y="111"/>
                  </a:lnTo>
                  <a:lnTo>
                    <a:pt x="229" y="113"/>
                  </a:lnTo>
                  <a:lnTo>
                    <a:pt x="233" y="120"/>
                  </a:lnTo>
                  <a:lnTo>
                    <a:pt x="236" y="127"/>
                  </a:lnTo>
                  <a:lnTo>
                    <a:pt x="236" y="137"/>
                  </a:lnTo>
                  <a:lnTo>
                    <a:pt x="241" y="144"/>
                  </a:lnTo>
                  <a:lnTo>
                    <a:pt x="245" y="153"/>
                  </a:lnTo>
                  <a:lnTo>
                    <a:pt x="250" y="153"/>
                  </a:lnTo>
                  <a:lnTo>
                    <a:pt x="252" y="151"/>
                  </a:lnTo>
                  <a:lnTo>
                    <a:pt x="250" y="148"/>
                  </a:lnTo>
                  <a:lnTo>
                    <a:pt x="250" y="144"/>
                  </a:lnTo>
                  <a:lnTo>
                    <a:pt x="245" y="141"/>
                  </a:lnTo>
                  <a:lnTo>
                    <a:pt x="243" y="137"/>
                  </a:lnTo>
                  <a:lnTo>
                    <a:pt x="243" y="125"/>
                  </a:lnTo>
                  <a:lnTo>
                    <a:pt x="245" y="125"/>
                  </a:lnTo>
                  <a:lnTo>
                    <a:pt x="250" y="129"/>
                  </a:lnTo>
                  <a:lnTo>
                    <a:pt x="252" y="134"/>
                  </a:lnTo>
                  <a:lnTo>
                    <a:pt x="259" y="137"/>
                  </a:lnTo>
                  <a:lnTo>
                    <a:pt x="262" y="141"/>
                  </a:lnTo>
                  <a:lnTo>
                    <a:pt x="262" y="158"/>
                  </a:lnTo>
                  <a:lnTo>
                    <a:pt x="267" y="160"/>
                  </a:lnTo>
                  <a:lnTo>
                    <a:pt x="274" y="177"/>
                  </a:lnTo>
                  <a:lnTo>
                    <a:pt x="274" y="191"/>
                  </a:lnTo>
                  <a:lnTo>
                    <a:pt x="276" y="198"/>
                  </a:lnTo>
                  <a:lnTo>
                    <a:pt x="276" y="207"/>
                  </a:lnTo>
                  <a:lnTo>
                    <a:pt x="274" y="210"/>
                  </a:lnTo>
                  <a:lnTo>
                    <a:pt x="276" y="222"/>
                  </a:lnTo>
                  <a:lnTo>
                    <a:pt x="276" y="226"/>
                  </a:lnTo>
                  <a:lnTo>
                    <a:pt x="285" y="248"/>
                  </a:lnTo>
                  <a:lnTo>
                    <a:pt x="290" y="250"/>
                  </a:lnTo>
                  <a:lnTo>
                    <a:pt x="292" y="250"/>
                  </a:lnTo>
                  <a:lnTo>
                    <a:pt x="297" y="255"/>
                  </a:lnTo>
                  <a:lnTo>
                    <a:pt x="297" y="264"/>
                  </a:lnTo>
                  <a:lnTo>
                    <a:pt x="300" y="278"/>
                  </a:lnTo>
                  <a:lnTo>
                    <a:pt x="302" y="285"/>
                  </a:lnTo>
                  <a:lnTo>
                    <a:pt x="307" y="295"/>
                  </a:lnTo>
                  <a:lnTo>
                    <a:pt x="309" y="295"/>
                  </a:lnTo>
                  <a:lnTo>
                    <a:pt x="314" y="297"/>
                  </a:lnTo>
                  <a:lnTo>
                    <a:pt x="316" y="302"/>
                  </a:lnTo>
                  <a:lnTo>
                    <a:pt x="318" y="311"/>
                  </a:lnTo>
                  <a:lnTo>
                    <a:pt x="318" y="323"/>
                  </a:lnTo>
                  <a:lnTo>
                    <a:pt x="316" y="323"/>
                  </a:lnTo>
                  <a:lnTo>
                    <a:pt x="316" y="328"/>
                  </a:lnTo>
                  <a:lnTo>
                    <a:pt x="314" y="330"/>
                  </a:lnTo>
                  <a:lnTo>
                    <a:pt x="314" y="359"/>
                  </a:lnTo>
                  <a:lnTo>
                    <a:pt x="316" y="361"/>
                  </a:lnTo>
                  <a:lnTo>
                    <a:pt x="318" y="363"/>
                  </a:lnTo>
                  <a:lnTo>
                    <a:pt x="330" y="375"/>
                  </a:lnTo>
                  <a:lnTo>
                    <a:pt x="337" y="375"/>
                  </a:lnTo>
                  <a:lnTo>
                    <a:pt x="340" y="377"/>
                  </a:lnTo>
                  <a:lnTo>
                    <a:pt x="342" y="377"/>
                  </a:lnTo>
                  <a:lnTo>
                    <a:pt x="340" y="380"/>
                  </a:lnTo>
                  <a:lnTo>
                    <a:pt x="340" y="377"/>
                  </a:lnTo>
                  <a:lnTo>
                    <a:pt x="337" y="377"/>
                  </a:lnTo>
                  <a:lnTo>
                    <a:pt x="337" y="380"/>
                  </a:lnTo>
                  <a:lnTo>
                    <a:pt x="340" y="385"/>
                  </a:lnTo>
                  <a:lnTo>
                    <a:pt x="342" y="385"/>
                  </a:lnTo>
                  <a:lnTo>
                    <a:pt x="342" y="380"/>
                  </a:lnTo>
                  <a:lnTo>
                    <a:pt x="347" y="377"/>
                  </a:lnTo>
                  <a:lnTo>
                    <a:pt x="347" y="363"/>
                  </a:lnTo>
                  <a:lnTo>
                    <a:pt x="354" y="363"/>
                  </a:lnTo>
                  <a:lnTo>
                    <a:pt x="356" y="370"/>
                  </a:lnTo>
                  <a:lnTo>
                    <a:pt x="366" y="380"/>
                  </a:lnTo>
                  <a:lnTo>
                    <a:pt x="370" y="380"/>
                  </a:lnTo>
                  <a:lnTo>
                    <a:pt x="370" y="387"/>
                  </a:lnTo>
                  <a:lnTo>
                    <a:pt x="380" y="394"/>
                  </a:lnTo>
                  <a:lnTo>
                    <a:pt x="382" y="399"/>
                  </a:lnTo>
                  <a:lnTo>
                    <a:pt x="382" y="411"/>
                  </a:lnTo>
                  <a:lnTo>
                    <a:pt x="387" y="411"/>
                  </a:lnTo>
                  <a:lnTo>
                    <a:pt x="389" y="415"/>
                  </a:lnTo>
                  <a:lnTo>
                    <a:pt x="389" y="432"/>
                  </a:lnTo>
                  <a:lnTo>
                    <a:pt x="394" y="432"/>
                  </a:lnTo>
                  <a:lnTo>
                    <a:pt x="399" y="434"/>
                  </a:lnTo>
                  <a:lnTo>
                    <a:pt x="404" y="434"/>
                  </a:lnTo>
                  <a:lnTo>
                    <a:pt x="404" y="439"/>
                  </a:lnTo>
                  <a:lnTo>
                    <a:pt x="406" y="439"/>
                  </a:lnTo>
                  <a:lnTo>
                    <a:pt x="413" y="451"/>
                  </a:lnTo>
                  <a:lnTo>
                    <a:pt x="413" y="455"/>
                  </a:lnTo>
                  <a:lnTo>
                    <a:pt x="411" y="472"/>
                  </a:lnTo>
                  <a:lnTo>
                    <a:pt x="404" y="474"/>
                  </a:lnTo>
                  <a:lnTo>
                    <a:pt x="399" y="479"/>
                  </a:lnTo>
                  <a:lnTo>
                    <a:pt x="396" y="481"/>
                  </a:lnTo>
                  <a:lnTo>
                    <a:pt x="389" y="481"/>
                  </a:lnTo>
                  <a:lnTo>
                    <a:pt x="389" y="484"/>
                  </a:lnTo>
                  <a:lnTo>
                    <a:pt x="387" y="484"/>
                  </a:lnTo>
                  <a:lnTo>
                    <a:pt x="387" y="489"/>
                  </a:lnTo>
                  <a:lnTo>
                    <a:pt x="382" y="489"/>
                  </a:lnTo>
                  <a:lnTo>
                    <a:pt x="373" y="496"/>
                  </a:lnTo>
                  <a:lnTo>
                    <a:pt x="370" y="496"/>
                  </a:lnTo>
                  <a:lnTo>
                    <a:pt x="366" y="498"/>
                  </a:lnTo>
                  <a:lnTo>
                    <a:pt x="363" y="498"/>
                  </a:lnTo>
                  <a:lnTo>
                    <a:pt x="359" y="496"/>
                  </a:lnTo>
                  <a:lnTo>
                    <a:pt x="356" y="491"/>
                  </a:lnTo>
                  <a:lnTo>
                    <a:pt x="354" y="484"/>
                  </a:lnTo>
                  <a:lnTo>
                    <a:pt x="354" y="481"/>
                  </a:lnTo>
                  <a:lnTo>
                    <a:pt x="349" y="474"/>
                  </a:lnTo>
                  <a:lnTo>
                    <a:pt x="349" y="455"/>
                  </a:lnTo>
                  <a:lnTo>
                    <a:pt x="340" y="432"/>
                  </a:lnTo>
                  <a:lnTo>
                    <a:pt x="333" y="427"/>
                  </a:lnTo>
                  <a:lnTo>
                    <a:pt x="333" y="425"/>
                  </a:lnTo>
                  <a:lnTo>
                    <a:pt x="326" y="425"/>
                  </a:lnTo>
                  <a:lnTo>
                    <a:pt x="323" y="420"/>
                  </a:lnTo>
                  <a:lnTo>
                    <a:pt x="318" y="418"/>
                  </a:lnTo>
                  <a:lnTo>
                    <a:pt x="314" y="415"/>
                  </a:lnTo>
                  <a:lnTo>
                    <a:pt x="309" y="408"/>
                  </a:lnTo>
                  <a:lnTo>
                    <a:pt x="300" y="399"/>
                  </a:lnTo>
                  <a:lnTo>
                    <a:pt x="285" y="377"/>
                  </a:lnTo>
                  <a:lnTo>
                    <a:pt x="283" y="377"/>
                  </a:lnTo>
                  <a:lnTo>
                    <a:pt x="281" y="375"/>
                  </a:lnTo>
                  <a:lnTo>
                    <a:pt x="269" y="368"/>
                  </a:lnTo>
                  <a:lnTo>
                    <a:pt x="250" y="352"/>
                  </a:lnTo>
                  <a:lnTo>
                    <a:pt x="245" y="347"/>
                  </a:lnTo>
                  <a:lnTo>
                    <a:pt x="245" y="344"/>
                  </a:lnTo>
                  <a:lnTo>
                    <a:pt x="243" y="344"/>
                  </a:lnTo>
                  <a:lnTo>
                    <a:pt x="241" y="342"/>
                  </a:lnTo>
                  <a:lnTo>
                    <a:pt x="241" y="337"/>
                  </a:lnTo>
                  <a:lnTo>
                    <a:pt x="236" y="335"/>
                  </a:lnTo>
                  <a:lnTo>
                    <a:pt x="236" y="330"/>
                  </a:lnTo>
                  <a:lnTo>
                    <a:pt x="226" y="330"/>
                  </a:lnTo>
                  <a:lnTo>
                    <a:pt x="222" y="321"/>
                  </a:lnTo>
                  <a:lnTo>
                    <a:pt x="219" y="318"/>
                  </a:lnTo>
                  <a:lnTo>
                    <a:pt x="217" y="311"/>
                  </a:lnTo>
                  <a:lnTo>
                    <a:pt x="212" y="307"/>
                  </a:lnTo>
                  <a:lnTo>
                    <a:pt x="212" y="311"/>
                  </a:lnTo>
                  <a:lnTo>
                    <a:pt x="203" y="311"/>
                  </a:lnTo>
                  <a:lnTo>
                    <a:pt x="203" y="285"/>
                  </a:lnTo>
                  <a:lnTo>
                    <a:pt x="203" y="290"/>
                  </a:lnTo>
                  <a:lnTo>
                    <a:pt x="200" y="295"/>
                  </a:lnTo>
                  <a:lnTo>
                    <a:pt x="200" y="297"/>
                  </a:lnTo>
                  <a:lnTo>
                    <a:pt x="196" y="297"/>
                  </a:lnTo>
                  <a:lnTo>
                    <a:pt x="200" y="290"/>
                  </a:lnTo>
                  <a:lnTo>
                    <a:pt x="203" y="271"/>
                  </a:lnTo>
                  <a:lnTo>
                    <a:pt x="205" y="266"/>
                  </a:lnTo>
                  <a:lnTo>
                    <a:pt x="210" y="266"/>
                  </a:lnTo>
                  <a:lnTo>
                    <a:pt x="210" y="264"/>
                  </a:lnTo>
                  <a:lnTo>
                    <a:pt x="212" y="257"/>
                  </a:lnTo>
                  <a:lnTo>
                    <a:pt x="212" y="233"/>
                  </a:lnTo>
                  <a:lnTo>
                    <a:pt x="210" y="238"/>
                  </a:lnTo>
                  <a:lnTo>
                    <a:pt x="210" y="240"/>
                  </a:lnTo>
                  <a:lnTo>
                    <a:pt x="210" y="226"/>
                  </a:lnTo>
                  <a:lnTo>
                    <a:pt x="212" y="224"/>
                  </a:lnTo>
                  <a:lnTo>
                    <a:pt x="212" y="222"/>
                  </a:lnTo>
                  <a:lnTo>
                    <a:pt x="205" y="205"/>
                  </a:lnTo>
                  <a:lnTo>
                    <a:pt x="205" y="200"/>
                  </a:lnTo>
                  <a:lnTo>
                    <a:pt x="203" y="198"/>
                  </a:lnTo>
                  <a:lnTo>
                    <a:pt x="203" y="193"/>
                  </a:lnTo>
                  <a:lnTo>
                    <a:pt x="196" y="191"/>
                  </a:lnTo>
                  <a:lnTo>
                    <a:pt x="196" y="177"/>
                  </a:lnTo>
                  <a:lnTo>
                    <a:pt x="193" y="174"/>
                  </a:lnTo>
                  <a:lnTo>
                    <a:pt x="189" y="170"/>
                  </a:lnTo>
                  <a:lnTo>
                    <a:pt x="186" y="174"/>
                  </a:lnTo>
                  <a:lnTo>
                    <a:pt x="172" y="165"/>
                  </a:lnTo>
                  <a:lnTo>
                    <a:pt x="163" y="153"/>
                  </a:lnTo>
                  <a:lnTo>
                    <a:pt x="160" y="151"/>
                  </a:lnTo>
                  <a:lnTo>
                    <a:pt x="155" y="144"/>
                  </a:lnTo>
                  <a:lnTo>
                    <a:pt x="153" y="144"/>
                  </a:lnTo>
                  <a:lnTo>
                    <a:pt x="148" y="141"/>
                  </a:lnTo>
                  <a:lnTo>
                    <a:pt x="144" y="134"/>
                  </a:lnTo>
                  <a:lnTo>
                    <a:pt x="139" y="129"/>
                  </a:lnTo>
                  <a:lnTo>
                    <a:pt x="132" y="127"/>
                  </a:lnTo>
                  <a:lnTo>
                    <a:pt x="132" y="120"/>
                  </a:lnTo>
                  <a:lnTo>
                    <a:pt x="137" y="118"/>
                  </a:lnTo>
                  <a:lnTo>
                    <a:pt x="137" y="113"/>
                  </a:lnTo>
                  <a:lnTo>
                    <a:pt x="139" y="111"/>
                  </a:lnTo>
                  <a:lnTo>
                    <a:pt x="144" y="111"/>
                  </a:lnTo>
                  <a:lnTo>
                    <a:pt x="144" y="103"/>
                  </a:lnTo>
                  <a:lnTo>
                    <a:pt x="137" y="103"/>
                  </a:lnTo>
                  <a:lnTo>
                    <a:pt x="137" y="111"/>
                  </a:lnTo>
                  <a:lnTo>
                    <a:pt x="132" y="113"/>
                  </a:lnTo>
                  <a:lnTo>
                    <a:pt x="129" y="118"/>
                  </a:lnTo>
                  <a:lnTo>
                    <a:pt x="120" y="111"/>
                  </a:lnTo>
                  <a:lnTo>
                    <a:pt x="113" y="111"/>
                  </a:lnTo>
                  <a:lnTo>
                    <a:pt x="106" y="118"/>
                  </a:lnTo>
                  <a:lnTo>
                    <a:pt x="104" y="118"/>
                  </a:lnTo>
                  <a:lnTo>
                    <a:pt x="92" y="108"/>
                  </a:lnTo>
                  <a:lnTo>
                    <a:pt x="92" y="101"/>
                  </a:lnTo>
                  <a:lnTo>
                    <a:pt x="89" y="101"/>
                  </a:lnTo>
                  <a:lnTo>
                    <a:pt x="85" y="96"/>
                  </a:lnTo>
                  <a:lnTo>
                    <a:pt x="85" y="94"/>
                  </a:lnTo>
                  <a:lnTo>
                    <a:pt x="82" y="89"/>
                  </a:lnTo>
                  <a:lnTo>
                    <a:pt x="73" y="89"/>
                  </a:lnTo>
                  <a:lnTo>
                    <a:pt x="68" y="87"/>
                  </a:lnTo>
                  <a:lnTo>
                    <a:pt x="68" y="80"/>
                  </a:lnTo>
                  <a:lnTo>
                    <a:pt x="66" y="80"/>
                  </a:lnTo>
                  <a:lnTo>
                    <a:pt x="66" y="77"/>
                  </a:lnTo>
                  <a:lnTo>
                    <a:pt x="63" y="73"/>
                  </a:lnTo>
                  <a:lnTo>
                    <a:pt x="56" y="73"/>
                  </a:lnTo>
                  <a:lnTo>
                    <a:pt x="56" y="70"/>
                  </a:lnTo>
                  <a:lnTo>
                    <a:pt x="52" y="73"/>
                  </a:lnTo>
                  <a:lnTo>
                    <a:pt x="49" y="70"/>
                  </a:lnTo>
                  <a:lnTo>
                    <a:pt x="40" y="63"/>
                  </a:lnTo>
                  <a:lnTo>
                    <a:pt x="40" y="49"/>
                  </a:lnTo>
                  <a:lnTo>
                    <a:pt x="35" y="47"/>
                  </a:lnTo>
                  <a:lnTo>
                    <a:pt x="28" y="37"/>
                  </a:lnTo>
                  <a:lnTo>
                    <a:pt x="26" y="37"/>
                  </a:lnTo>
                  <a:lnTo>
                    <a:pt x="18" y="28"/>
                  </a:lnTo>
                  <a:lnTo>
                    <a:pt x="11" y="16"/>
                  </a:lnTo>
                  <a:lnTo>
                    <a:pt x="9" y="16"/>
                  </a:lnTo>
                  <a:lnTo>
                    <a:pt x="2" y="14"/>
                  </a:lnTo>
                  <a:lnTo>
                    <a:pt x="2" y="7"/>
                  </a:lnTo>
                  <a:lnTo>
                    <a:pt x="0" y="4"/>
                  </a:lnTo>
                  <a:lnTo>
                    <a:pt x="2" y="0"/>
                  </a:lnTo>
                  <a:lnTo>
                    <a:pt x="16" y="7"/>
                  </a:lnTo>
                  <a:lnTo>
                    <a:pt x="18" y="7"/>
                  </a:lnTo>
                  <a:lnTo>
                    <a:pt x="28" y="11"/>
                  </a:lnTo>
                  <a:lnTo>
                    <a:pt x="33" y="14"/>
                  </a:lnTo>
                  <a:lnTo>
                    <a:pt x="42" y="16"/>
                  </a:lnTo>
                  <a:lnTo>
                    <a:pt x="42" y="14"/>
                  </a:lnTo>
                  <a:lnTo>
                    <a:pt x="49" y="14"/>
                  </a:lnTo>
                  <a:lnTo>
                    <a:pt x="56" y="16"/>
                  </a:lnTo>
                  <a:lnTo>
                    <a:pt x="59" y="21"/>
                  </a:lnTo>
                  <a:lnTo>
                    <a:pt x="66" y="28"/>
                  </a:lnTo>
                  <a:lnTo>
                    <a:pt x="80" y="30"/>
                  </a:lnTo>
                  <a:lnTo>
                    <a:pt x="82" y="28"/>
                  </a:lnTo>
                  <a:lnTo>
                    <a:pt x="82" y="23"/>
                  </a:lnTo>
                  <a:lnTo>
                    <a:pt x="80" y="21"/>
                  </a:lnTo>
                  <a:lnTo>
                    <a:pt x="75" y="23"/>
                  </a:lnTo>
                  <a:lnTo>
                    <a:pt x="68" y="23"/>
                  </a:lnTo>
                  <a:lnTo>
                    <a:pt x="66" y="21"/>
                  </a:lnTo>
                  <a:lnTo>
                    <a:pt x="66" y="16"/>
                  </a:lnTo>
                  <a:lnTo>
                    <a:pt x="63" y="14"/>
                  </a:lnTo>
                  <a:lnTo>
                    <a:pt x="59" y="11"/>
                  </a:lnTo>
                  <a:lnTo>
                    <a:pt x="63" y="4"/>
                  </a:lnTo>
                  <a:lnTo>
                    <a:pt x="68" y="0"/>
                  </a:lnTo>
                  <a:lnTo>
                    <a:pt x="73" y="0"/>
                  </a:lnTo>
                  <a:lnTo>
                    <a:pt x="96" y="4"/>
                  </a:lnTo>
                  <a:lnTo>
                    <a:pt x="115" y="7"/>
                  </a:lnTo>
                  <a:lnTo>
                    <a:pt x="139" y="11"/>
                  </a:lnTo>
                  <a:lnTo>
                    <a:pt x="170" y="14"/>
                  </a:lnTo>
                  <a:lnTo>
                    <a:pt x="186" y="16"/>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8" name="Freeform 533">
              <a:extLst>
                <a:ext uri="{FF2B5EF4-FFF2-40B4-BE49-F238E27FC236}">
                  <a16:creationId xmlns:a16="http://schemas.microsoft.com/office/drawing/2014/main" id="{E9E7F220-7352-4B31-9B82-55CDE28ED47B}"/>
                </a:ext>
              </a:extLst>
            </p:cNvPr>
            <p:cNvSpPr>
              <a:spLocks/>
            </p:cNvSpPr>
            <p:nvPr/>
          </p:nvSpPr>
          <p:spPr bwMode="gray">
            <a:xfrm rot="47099">
              <a:off x="2400667" y="2923364"/>
              <a:ext cx="4453" cy="7718"/>
            </a:xfrm>
            <a:custGeom>
              <a:avLst/>
              <a:gdLst>
                <a:gd name="T0" fmla="*/ 3 w 10"/>
                <a:gd name="T1" fmla="*/ 0 h 17"/>
                <a:gd name="T2" fmla="*/ 3 w 10"/>
                <a:gd name="T3" fmla="*/ 0 h 17"/>
                <a:gd name="T4" fmla="*/ 8 w 10"/>
                <a:gd name="T5" fmla="*/ 3 h 17"/>
                <a:gd name="T6" fmla="*/ 10 w 10"/>
                <a:gd name="T7" fmla="*/ 7 h 17"/>
                <a:gd name="T8" fmla="*/ 10 w 10"/>
                <a:gd name="T9" fmla="*/ 10 h 17"/>
                <a:gd name="T10" fmla="*/ 3 w 10"/>
                <a:gd name="T11" fmla="*/ 17 h 17"/>
                <a:gd name="T12" fmla="*/ 0 w 10"/>
                <a:gd name="T13" fmla="*/ 14 h 17"/>
                <a:gd name="T14" fmla="*/ 0 w 10"/>
                <a:gd name="T15" fmla="*/ 3 h 17"/>
                <a:gd name="T16" fmla="*/ 3 w 10"/>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7"/>
                <a:gd name="T29" fmla="*/ 10 w 10"/>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7">
                  <a:moveTo>
                    <a:pt x="3" y="0"/>
                  </a:moveTo>
                  <a:lnTo>
                    <a:pt x="3" y="0"/>
                  </a:lnTo>
                  <a:lnTo>
                    <a:pt x="8" y="3"/>
                  </a:lnTo>
                  <a:lnTo>
                    <a:pt x="10" y="7"/>
                  </a:lnTo>
                  <a:lnTo>
                    <a:pt x="10" y="10"/>
                  </a:lnTo>
                  <a:lnTo>
                    <a:pt x="3" y="17"/>
                  </a:lnTo>
                  <a:lnTo>
                    <a:pt x="0" y="14"/>
                  </a:lnTo>
                  <a:lnTo>
                    <a:pt x="0" y="3"/>
                  </a:lnTo>
                  <a:lnTo>
                    <a:pt x="3" y="0"/>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39" name="Freeform 534">
              <a:extLst>
                <a:ext uri="{FF2B5EF4-FFF2-40B4-BE49-F238E27FC236}">
                  <a16:creationId xmlns:a16="http://schemas.microsoft.com/office/drawing/2014/main" id="{B29778F9-1947-4228-A547-D391CBA5ACFE}"/>
                </a:ext>
              </a:extLst>
            </p:cNvPr>
            <p:cNvSpPr>
              <a:spLocks/>
            </p:cNvSpPr>
            <p:nvPr/>
          </p:nvSpPr>
          <p:spPr bwMode="gray">
            <a:xfrm rot="47099">
              <a:off x="2404457" y="2775789"/>
              <a:ext cx="5343" cy="9649"/>
            </a:xfrm>
            <a:custGeom>
              <a:avLst/>
              <a:gdLst>
                <a:gd name="T0" fmla="*/ 7 w 12"/>
                <a:gd name="T1" fmla="*/ 2 h 19"/>
                <a:gd name="T2" fmla="*/ 12 w 12"/>
                <a:gd name="T3" fmla="*/ 4 h 19"/>
                <a:gd name="T4" fmla="*/ 12 w 12"/>
                <a:gd name="T5" fmla="*/ 9 h 19"/>
                <a:gd name="T6" fmla="*/ 7 w 12"/>
                <a:gd name="T7" fmla="*/ 16 h 19"/>
                <a:gd name="T8" fmla="*/ 7 w 12"/>
                <a:gd name="T9" fmla="*/ 19 h 19"/>
                <a:gd name="T10" fmla="*/ 5 w 12"/>
                <a:gd name="T11" fmla="*/ 16 h 19"/>
                <a:gd name="T12" fmla="*/ 0 w 12"/>
                <a:gd name="T13" fmla="*/ 12 h 19"/>
                <a:gd name="T14" fmla="*/ 0 w 12"/>
                <a:gd name="T15" fmla="*/ 4 h 19"/>
                <a:gd name="T16" fmla="*/ 5 w 12"/>
                <a:gd name="T17" fmla="*/ 2 h 19"/>
                <a:gd name="T18" fmla="*/ 7 w 12"/>
                <a:gd name="T19" fmla="*/ 0 h 19"/>
                <a:gd name="T20" fmla="*/ 7 w 12"/>
                <a:gd name="T21" fmla="*/ 2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7" y="2"/>
                  </a:moveTo>
                  <a:lnTo>
                    <a:pt x="12" y="4"/>
                  </a:lnTo>
                  <a:lnTo>
                    <a:pt x="12" y="9"/>
                  </a:lnTo>
                  <a:lnTo>
                    <a:pt x="7" y="16"/>
                  </a:lnTo>
                  <a:lnTo>
                    <a:pt x="7" y="19"/>
                  </a:lnTo>
                  <a:lnTo>
                    <a:pt x="5" y="16"/>
                  </a:lnTo>
                  <a:lnTo>
                    <a:pt x="0" y="12"/>
                  </a:lnTo>
                  <a:lnTo>
                    <a:pt x="0" y="4"/>
                  </a:lnTo>
                  <a:lnTo>
                    <a:pt x="5" y="2"/>
                  </a:lnTo>
                  <a:lnTo>
                    <a:pt x="7" y="0"/>
                  </a:lnTo>
                  <a:lnTo>
                    <a:pt x="7" y="2"/>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0" name="Freeform 535">
              <a:extLst>
                <a:ext uri="{FF2B5EF4-FFF2-40B4-BE49-F238E27FC236}">
                  <a16:creationId xmlns:a16="http://schemas.microsoft.com/office/drawing/2014/main" id="{5196C2B9-1FF4-41C7-AEFA-8A7399D31524}"/>
                </a:ext>
              </a:extLst>
            </p:cNvPr>
            <p:cNvSpPr>
              <a:spLocks/>
            </p:cNvSpPr>
            <p:nvPr/>
          </p:nvSpPr>
          <p:spPr bwMode="gray">
            <a:xfrm rot="47099">
              <a:off x="2303766" y="2783161"/>
              <a:ext cx="154967" cy="132183"/>
            </a:xfrm>
            <a:custGeom>
              <a:avLst/>
              <a:gdLst>
                <a:gd name="T0" fmla="*/ 7 w 331"/>
                <a:gd name="T1" fmla="*/ 137 h 284"/>
                <a:gd name="T2" fmla="*/ 26 w 331"/>
                <a:gd name="T3" fmla="*/ 109 h 284"/>
                <a:gd name="T4" fmla="*/ 17 w 331"/>
                <a:gd name="T5" fmla="*/ 85 h 284"/>
                <a:gd name="T6" fmla="*/ 26 w 331"/>
                <a:gd name="T7" fmla="*/ 74 h 284"/>
                <a:gd name="T8" fmla="*/ 40 w 331"/>
                <a:gd name="T9" fmla="*/ 59 h 284"/>
                <a:gd name="T10" fmla="*/ 52 w 331"/>
                <a:gd name="T11" fmla="*/ 57 h 284"/>
                <a:gd name="T12" fmla="*/ 69 w 331"/>
                <a:gd name="T13" fmla="*/ 57 h 284"/>
                <a:gd name="T14" fmla="*/ 90 w 331"/>
                <a:gd name="T15" fmla="*/ 43 h 284"/>
                <a:gd name="T16" fmla="*/ 97 w 331"/>
                <a:gd name="T17" fmla="*/ 33 h 284"/>
                <a:gd name="T18" fmla="*/ 107 w 331"/>
                <a:gd name="T19" fmla="*/ 26 h 284"/>
                <a:gd name="T20" fmla="*/ 116 w 331"/>
                <a:gd name="T21" fmla="*/ 17 h 284"/>
                <a:gd name="T22" fmla="*/ 147 w 331"/>
                <a:gd name="T23" fmla="*/ 17 h 284"/>
                <a:gd name="T24" fmla="*/ 156 w 331"/>
                <a:gd name="T25" fmla="*/ 19 h 284"/>
                <a:gd name="T26" fmla="*/ 170 w 331"/>
                <a:gd name="T27" fmla="*/ 36 h 284"/>
                <a:gd name="T28" fmla="*/ 184 w 331"/>
                <a:gd name="T29" fmla="*/ 10 h 284"/>
                <a:gd name="T30" fmla="*/ 194 w 331"/>
                <a:gd name="T31" fmla="*/ 3 h 284"/>
                <a:gd name="T32" fmla="*/ 213 w 331"/>
                <a:gd name="T33" fmla="*/ 0 h 284"/>
                <a:gd name="T34" fmla="*/ 213 w 331"/>
                <a:gd name="T35" fmla="*/ 12 h 284"/>
                <a:gd name="T36" fmla="*/ 218 w 331"/>
                <a:gd name="T37" fmla="*/ 29 h 284"/>
                <a:gd name="T38" fmla="*/ 213 w 331"/>
                <a:gd name="T39" fmla="*/ 59 h 284"/>
                <a:gd name="T40" fmla="*/ 218 w 331"/>
                <a:gd name="T41" fmla="*/ 74 h 284"/>
                <a:gd name="T42" fmla="*/ 236 w 331"/>
                <a:gd name="T43" fmla="*/ 59 h 284"/>
                <a:gd name="T44" fmla="*/ 236 w 331"/>
                <a:gd name="T45" fmla="*/ 74 h 284"/>
                <a:gd name="T46" fmla="*/ 241 w 331"/>
                <a:gd name="T47" fmla="*/ 83 h 284"/>
                <a:gd name="T48" fmla="*/ 251 w 331"/>
                <a:gd name="T49" fmla="*/ 90 h 284"/>
                <a:gd name="T50" fmla="*/ 267 w 331"/>
                <a:gd name="T51" fmla="*/ 102 h 284"/>
                <a:gd name="T52" fmla="*/ 274 w 331"/>
                <a:gd name="T53" fmla="*/ 114 h 284"/>
                <a:gd name="T54" fmla="*/ 300 w 331"/>
                <a:gd name="T55" fmla="*/ 114 h 284"/>
                <a:gd name="T56" fmla="*/ 317 w 331"/>
                <a:gd name="T57" fmla="*/ 109 h 284"/>
                <a:gd name="T58" fmla="*/ 326 w 331"/>
                <a:gd name="T59" fmla="*/ 121 h 284"/>
                <a:gd name="T60" fmla="*/ 317 w 331"/>
                <a:gd name="T61" fmla="*/ 123 h 284"/>
                <a:gd name="T62" fmla="*/ 317 w 331"/>
                <a:gd name="T63" fmla="*/ 133 h 284"/>
                <a:gd name="T64" fmla="*/ 307 w 331"/>
                <a:gd name="T65" fmla="*/ 147 h 284"/>
                <a:gd name="T66" fmla="*/ 293 w 331"/>
                <a:gd name="T67" fmla="*/ 149 h 284"/>
                <a:gd name="T68" fmla="*/ 284 w 331"/>
                <a:gd name="T69" fmla="*/ 147 h 284"/>
                <a:gd name="T70" fmla="*/ 298 w 331"/>
                <a:gd name="T71" fmla="*/ 156 h 284"/>
                <a:gd name="T72" fmla="*/ 286 w 331"/>
                <a:gd name="T73" fmla="*/ 187 h 284"/>
                <a:gd name="T74" fmla="*/ 281 w 331"/>
                <a:gd name="T75" fmla="*/ 196 h 284"/>
                <a:gd name="T76" fmla="*/ 270 w 331"/>
                <a:gd name="T77" fmla="*/ 206 h 284"/>
                <a:gd name="T78" fmla="*/ 262 w 331"/>
                <a:gd name="T79" fmla="*/ 222 h 284"/>
                <a:gd name="T80" fmla="*/ 234 w 331"/>
                <a:gd name="T81" fmla="*/ 239 h 284"/>
                <a:gd name="T82" fmla="*/ 234 w 331"/>
                <a:gd name="T83" fmla="*/ 229 h 284"/>
                <a:gd name="T84" fmla="*/ 229 w 331"/>
                <a:gd name="T85" fmla="*/ 244 h 284"/>
                <a:gd name="T86" fmla="*/ 234 w 331"/>
                <a:gd name="T87" fmla="*/ 258 h 284"/>
                <a:gd name="T88" fmla="*/ 218 w 331"/>
                <a:gd name="T89" fmla="*/ 263 h 284"/>
                <a:gd name="T90" fmla="*/ 210 w 331"/>
                <a:gd name="T91" fmla="*/ 274 h 284"/>
                <a:gd name="T92" fmla="*/ 203 w 331"/>
                <a:gd name="T93" fmla="*/ 277 h 284"/>
                <a:gd name="T94" fmla="*/ 187 w 331"/>
                <a:gd name="T95" fmla="*/ 279 h 284"/>
                <a:gd name="T96" fmla="*/ 177 w 331"/>
                <a:gd name="T97" fmla="*/ 279 h 284"/>
                <a:gd name="T98" fmla="*/ 163 w 331"/>
                <a:gd name="T99" fmla="*/ 284 h 284"/>
                <a:gd name="T100" fmla="*/ 156 w 331"/>
                <a:gd name="T101" fmla="*/ 277 h 284"/>
                <a:gd name="T102" fmla="*/ 149 w 331"/>
                <a:gd name="T103" fmla="*/ 251 h 284"/>
                <a:gd name="T104" fmla="*/ 133 w 331"/>
                <a:gd name="T105" fmla="*/ 253 h 284"/>
                <a:gd name="T106" fmla="*/ 121 w 331"/>
                <a:gd name="T107" fmla="*/ 244 h 284"/>
                <a:gd name="T108" fmla="*/ 104 w 331"/>
                <a:gd name="T109" fmla="*/ 199 h 284"/>
                <a:gd name="T110" fmla="*/ 76 w 331"/>
                <a:gd name="T111" fmla="*/ 137 h 284"/>
                <a:gd name="T112" fmla="*/ 43 w 331"/>
                <a:gd name="T113" fmla="*/ 123 h 284"/>
                <a:gd name="T114" fmla="*/ 26 w 331"/>
                <a:gd name="T115" fmla="*/ 137 h 284"/>
                <a:gd name="T116" fmla="*/ 12 w 331"/>
                <a:gd name="T117" fmla="*/ 149 h 28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1"/>
                <a:gd name="T178" fmla="*/ 0 h 284"/>
                <a:gd name="T179" fmla="*/ 331 w 331"/>
                <a:gd name="T180" fmla="*/ 284 h 28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1" h="284">
                  <a:moveTo>
                    <a:pt x="0" y="147"/>
                  </a:moveTo>
                  <a:lnTo>
                    <a:pt x="0" y="147"/>
                  </a:lnTo>
                  <a:lnTo>
                    <a:pt x="7" y="137"/>
                  </a:lnTo>
                  <a:lnTo>
                    <a:pt x="10" y="133"/>
                  </a:lnTo>
                  <a:lnTo>
                    <a:pt x="19" y="123"/>
                  </a:lnTo>
                  <a:lnTo>
                    <a:pt x="26" y="109"/>
                  </a:lnTo>
                  <a:lnTo>
                    <a:pt x="26" y="107"/>
                  </a:lnTo>
                  <a:lnTo>
                    <a:pt x="19" y="90"/>
                  </a:lnTo>
                  <a:lnTo>
                    <a:pt x="17" y="85"/>
                  </a:lnTo>
                  <a:lnTo>
                    <a:pt x="17" y="83"/>
                  </a:lnTo>
                  <a:lnTo>
                    <a:pt x="12" y="76"/>
                  </a:lnTo>
                  <a:lnTo>
                    <a:pt x="26" y="74"/>
                  </a:lnTo>
                  <a:lnTo>
                    <a:pt x="26" y="66"/>
                  </a:lnTo>
                  <a:lnTo>
                    <a:pt x="24" y="66"/>
                  </a:lnTo>
                  <a:lnTo>
                    <a:pt x="40" y="59"/>
                  </a:lnTo>
                  <a:lnTo>
                    <a:pt x="43" y="57"/>
                  </a:lnTo>
                  <a:lnTo>
                    <a:pt x="50" y="52"/>
                  </a:lnTo>
                  <a:lnTo>
                    <a:pt x="52" y="57"/>
                  </a:lnTo>
                  <a:lnTo>
                    <a:pt x="57" y="57"/>
                  </a:lnTo>
                  <a:lnTo>
                    <a:pt x="66" y="59"/>
                  </a:lnTo>
                  <a:lnTo>
                    <a:pt x="69" y="57"/>
                  </a:lnTo>
                  <a:lnTo>
                    <a:pt x="81" y="50"/>
                  </a:lnTo>
                  <a:lnTo>
                    <a:pt x="88" y="45"/>
                  </a:lnTo>
                  <a:lnTo>
                    <a:pt x="90" y="43"/>
                  </a:lnTo>
                  <a:lnTo>
                    <a:pt x="90" y="36"/>
                  </a:lnTo>
                  <a:lnTo>
                    <a:pt x="92" y="36"/>
                  </a:lnTo>
                  <a:lnTo>
                    <a:pt x="97" y="33"/>
                  </a:lnTo>
                  <a:lnTo>
                    <a:pt x="99" y="33"/>
                  </a:lnTo>
                  <a:lnTo>
                    <a:pt x="104" y="29"/>
                  </a:lnTo>
                  <a:lnTo>
                    <a:pt x="107" y="26"/>
                  </a:lnTo>
                  <a:lnTo>
                    <a:pt x="107" y="24"/>
                  </a:lnTo>
                  <a:lnTo>
                    <a:pt x="114" y="19"/>
                  </a:lnTo>
                  <a:lnTo>
                    <a:pt x="116" y="17"/>
                  </a:lnTo>
                  <a:lnTo>
                    <a:pt x="123" y="19"/>
                  </a:lnTo>
                  <a:lnTo>
                    <a:pt x="147" y="19"/>
                  </a:lnTo>
                  <a:lnTo>
                    <a:pt x="147" y="17"/>
                  </a:lnTo>
                  <a:lnTo>
                    <a:pt x="154" y="17"/>
                  </a:lnTo>
                  <a:lnTo>
                    <a:pt x="154" y="19"/>
                  </a:lnTo>
                  <a:lnTo>
                    <a:pt x="156" y="19"/>
                  </a:lnTo>
                  <a:lnTo>
                    <a:pt x="161" y="24"/>
                  </a:lnTo>
                  <a:lnTo>
                    <a:pt x="163" y="29"/>
                  </a:lnTo>
                  <a:lnTo>
                    <a:pt x="170" y="36"/>
                  </a:lnTo>
                  <a:lnTo>
                    <a:pt x="180" y="19"/>
                  </a:lnTo>
                  <a:lnTo>
                    <a:pt x="180" y="17"/>
                  </a:lnTo>
                  <a:lnTo>
                    <a:pt x="184" y="10"/>
                  </a:lnTo>
                  <a:lnTo>
                    <a:pt x="187" y="10"/>
                  </a:lnTo>
                  <a:lnTo>
                    <a:pt x="187" y="5"/>
                  </a:lnTo>
                  <a:lnTo>
                    <a:pt x="194" y="3"/>
                  </a:lnTo>
                  <a:lnTo>
                    <a:pt x="196" y="3"/>
                  </a:lnTo>
                  <a:lnTo>
                    <a:pt x="206" y="0"/>
                  </a:lnTo>
                  <a:lnTo>
                    <a:pt x="213" y="0"/>
                  </a:lnTo>
                  <a:lnTo>
                    <a:pt x="218" y="3"/>
                  </a:lnTo>
                  <a:lnTo>
                    <a:pt x="218" y="5"/>
                  </a:lnTo>
                  <a:lnTo>
                    <a:pt x="213" y="12"/>
                  </a:lnTo>
                  <a:lnTo>
                    <a:pt x="213" y="24"/>
                  </a:lnTo>
                  <a:lnTo>
                    <a:pt x="218" y="26"/>
                  </a:lnTo>
                  <a:lnTo>
                    <a:pt x="218" y="29"/>
                  </a:lnTo>
                  <a:lnTo>
                    <a:pt x="220" y="33"/>
                  </a:lnTo>
                  <a:lnTo>
                    <a:pt x="220" y="40"/>
                  </a:lnTo>
                  <a:lnTo>
                    <a:pt x="213" y="59"/>
                  </a:lnTo>
                  <a:lnTo>
                    <a:pt x="210" y="66"/>
                  </a:lnTo>
                  <a:lnTo>
                    <a:pt x="206" y="74"/>
                  </a:lnTo>
                  <a:lnTo>
                    <a:pt x="218" y="74"/>
                  </a:lnTo>
                  <a:lnTo>
                    <a:pt x="220" y="66"/>
                  </a:lnTo>
                  <a:lnTo>
                    <a:pt x="225" y="64"/>
                  </a:lnTo>
                  <a:lnTo>
                    <a:pt x="236" y="59"/>
                  </a:lnTo>
                  <a:lnTo>
                    <a:pt x="241" y="66"/>
                  </a:lnTo>
                  <a:lnTo>
                    <a:pt x="241" y="74"/>
                  </a:lnTo>
                  <a:lnTo>
                    <a:pt x="236" y="74"/>
                  </a:lnTo>
                  <a:lnTo>
                    <a:pt x="236" y="76"/>
                  </a:lnTo>
                  <a:lnTo>
                    <a:pt x="241" y="76"/>
                  </a:lnTo>
                  <a:lnTo>
                    <a:pt x="241" y="83"/>
                  </a:lnTo>
                  <a:lnTo>
                    <a:pt x="244" y="85"/>
                  </a:lnTo>
                  <a:lnTo>
                    <a:pt x="246" y="85"/>
                  </a:lnTo>
                  <a:lnTo>
                    <a:pt x="251" y="90"/>
                  </a:lnTo>
                  <a:lnTo>
                    <a:pt x="258" y="90"/>
                  </a:lnTo>
                  <a:lnTo>
                    <a:pt x="260" y="92"/>
                  </a:lnTo>
                  <a:lnTo>
                    <a:pt x="267" y="102"/>
                  </a:lnTo>
                  <a:lnTo>
                    <a:pt x="267" y="107"/>
                  </a:lnTo>
                  <a:lnTo>
                    <a:pt x="274" y="109"/>
                  </a:lnTo>
                  <a:lnTo>
                    <a:pt x="274" y="114"/>
                  </a:lnTo>
                  <a:lnTo>
                    <a:pt x="286" y="121"/>
                  </a:lnTo>
                  <a:lnTo>
                    <a:pt x="291" y="121"/>
                  </a:lnTo>
                  <a:lnTo>
                    <a:pt x="300" y="114"/>
                  </a:lnTo>
                  <a:lnTo>
                    <a:pt x="310" y="116"/>
                  </a:lnTo>
                  <a:lnTo>
                    <a:pt x="314" y="114"/>
                  </a:lnTo>
                  <a:lnTo>
                    <a:pt x="317" y="109"/>
                  </a:lnTo>
                  <a:lnTo>
                    <a:pt x="326" y="109"/>
                  </a:lnTo>
                  <a:lnTo>
                    <a:pt x="331" y="114"/>
                  </a:lnTo>
                  <a:lnTo>
                    <a:pt x="326" y="121"/>
                  </a:lnTo>
                  <a:lnTo>
                    <a:pt x="324" y="121"/>
                  </a:lnTo>
                  <a:lnTo>
                    <a:pt x="322" y="123"/>
                  </a:lnTo>
                  <a:lnTo>
                    <a:pt x="317" y="123"/>
                  </a:lnTo>
                  <a:lnTo>
                    <a:pt x="317" y="130"/>
                  </a:lnTo>
                  <a:lnTo>
                    <a:pt x="322" y="130"/>
                  </a:lnTo>
                  <a:lnTo>
                    <a:pt x="317" y="133"/>
                  </a:lnTo>
                  <a:lnTo>
                    <a:pt x="314" y="142"/>
                  </a:lnTo>
                  <a:lnTo>
                    <a:pt x="314" y="147"/>
                  </a:lnTo>
                  <a:lnTo>
                    <a:pt x="307" y="147"/>
                  </a:lnTo>
                  <a:lnTo>
                    <a:pt x="307" y="161"/>
                  </a:lnTo>
                  <a:lnTo>
                    <a:pt x="303" y="156"/>
                  </a:lnTo>
                  <a:lnTo>
                    <a:pt x="293" y="149"/>
                  </a:lnTo>
                  <a:lnTo>
                    <a:pt x="284" y="142"/>
                  </a:lnTo>
                  <a:lnTo>
                    <a:pt x="277" y="140"/>
                  </a:lnTo>
                  <a:lnTo>
                    <a:pt x="284" y="147"/>
                  </a:lnTo>
                  <a:lnTo>
                    <a:pt x="291" y="149"/>
                  </a:lnTo>
                  <a:lnTo>
                    <a:pt x="293" y="154"/>
                  </a:lnTo>
                  <a:lnTo>
                    <a:pt x="298" y="156"/>
                  </a:lnTo>
                  <a:lnTo>
                    <a:pt x="298" y="180"/>
                  </a:lnTo>
                  <a:lnTo>
                    <a:pt x="286" y="180"/>
                  </a:lnTo>
                  <a:lnTo>
                    <a:pt x="286" y="187"/>
                  </a:lnTo>
                  <a:lnTo>
                    <a:pt x="284" y="189"/>
                  </a:lnTo>
                  <a:lnTo>
                    <a:pt x="284" y="194"/>
                  </a:lnTo>
                  <a:lnTo>
                    <a:pt x="281" y="196"/>
                  </a:lnTo>
                  <a:lnTo>
                    <a:pt x="277" y="196"/>
                  </a:lnTo>
                  <a:lnTo>
                    <a:pt x="274" y="203"/>
                  </a:lnTo>
                  <a:lnTo>
                    <a:pt x="270" y="206"/>
                  </a:lnTo>
                  <a:lnTo>
                    <a:pt x="270" y="211"/>
                  </a:lnTo>
                  <a:lnTo>
                    <a:pt x="267" y="213"/>
                  </a:lnTo>
                  <a:lnTo>
                    <a:pt x="262" y="222"/>
                  </a:lnTo>
                  <a:lnTo>
                    <a:pt x="251" y="244"/>
                  </a:lnTo>
                  <a:lnTo>
                    <a:pt x="244" y="244"/>
                  </a:lnTo>
                  <a:lnTo>
                    <a:pt x="234" y="239"/>
                  </a:lnTo>
                  <a:lnTo>
                    <a:pt x="234" y="234"/>
                  </a:lnTo>
                  <a:lnTo>
                    <a:pt x="236" y="229"/>
                  </a:lnTo>
                  <a:lnTo>
                    <a:pt x="234" y="229"/>
                  </a:lnTo>
                  <a:lnTo>
                    <a:pt x="234" y="227"/>
                  </a:lnTo>
                  <a:lnTo>
                    <a:pt x="227" y="239"/>
                  </a:lnTo>
                  <a:lnTo>
                    <a:pt x="229" y="244"/>
                  </a:lnTo>
                  <a:lnTo>
                    <a:pt x="236" y="244"/>
                  </a:lnTo>
                  <a:lnTo>
                    <a:pt x="234" y="251"/>
                  </a:lnTo>
                  <a:lnTo>
                    <a:pt x="234" y="258"/>
                  </a:lnTo>
                  <a:lnTo>
                    <a:pt x="225" y="267"/>
                  </a:lnTo>
                  <a:lnTo>
                    <a:pt x="220" y="267"/>
                  </a:lnTo>
                  <a:lnTo>
                    <a:pt x="218" y="263"/>
                  </a:lnTo>
                  <a:lnTo>
                    <a:pt x="213" y="263"/>
                  </a:lnTo>
                  <a:lnTo>
                    <a:pt x="213" y="270"/>
                  </a:lnTo>
                  <a:lnTo>
                    <a:pt x="210" y="274"/>
                  </a:lnTo>
                  <a:lnTo>
                    <a:pt x="206" y="277"/>
                  </a:lnTo>
                  <a:lnTo>
                    <a:pt x="203" y="279"/>
                  </a:lnTo>
                  <a:lnTo>
                    <a:pt x="203" y="277"/>
                  </a:lnTo>
                  <a:lnTo>
                    <a:pt x="189" y="274"/>
                  </a:lnTo>
                  <a:lnTo>
                    <a:pt x="187" y="277"/>
                  </a:lnTo>
                  <a:lnTo>
                    <a:pt x="187" y="279"/>
                  </a:lnTo>
                  <a:lnTo>
                    <a:pt x="180" y="277"/>
                  </a:lnTo>
                  <a:lnTo>
                    <a:pt x="177" y="277"/>
                  </a:lnTo>
                  <a:lnTo>
                    <a:pt x="177" y="279"/>
                  </a:lnTo>
                  <a:lnTo>
                    <a:pt x="170" y="279"/>
                  </a:lnTo>
                  <a:lnTo>
                    <a:pt x="170" y="284"/>
                  </a:lnTo>
                  <a:lnTo>
                    <a:pt x="163" y="284"/>
                  </a:lnTo>
                  <a:lnTo>
                    <a:pt x="163" y="279"/>
                  </a:lnTo>
                  <a:lnTo>
                    <a:pt x="161" y="279"/>
                  </a:lnTo>
                  <a:lnTo>
                    <a:pt x="156" y="277"/>
                  </a:lnTo>
                  <a:lnTo>
                    <a:pt x="156" y="274"/>
                  </a:lnTo>
                  <a:lnTo>
                    <a:pt x="149" y="260"/>
                  </a:lnTo>
                  <a:lnTo>
                    <a:pt x="149" y="251"/>
                  </a:lnTo>
                  <a:lnTo>
                    <a:pt x="144" y="251"/>
                  </a:lnTo>
                  <a:lnTo>
                    <a:pt x="140" y="253"/>
                  </a:lnTo>
                  <a:lnTo>
                    <a:pt x="133" y="253"/>
                  </a:lnTo>
                  <a:lnTo>
                    <a:pt x="123" y="251"/>
                  </a:lnTo>
                  <a:lnTo>
                    <a:pt x="123" y="246"/>
                  </a:lnTo>
                  <a:lnTo>
                    <a:pt x="121" y="244"/>
                  </a:lnTo>
                  <a:lnTo>
                    <a:pt x="116" y="234"/>
                  </a:lnTo>
                  <a:lnTo>
                    <a:pt x="116" y="227"/>
                  </a:lnTo>
                  <a:lnTo>
                    <a:pt x="104" y="199"/>
                  </a:lnTo>
                  <a:lnTo>
                    <a:pt x="88" y="161"/>
                  </a:lnTo>
                  <a:lnTo>
                    <a:pt x="81" y="147"/>
                  </a:lnTo>
                  <a:lnTo>
                    <a:pt x="76" y="137"/>
                  </a:lnTo>
                  <a:lnTo>
                    <a:pt x="69" y="133"/>
                  </a:lnTo>
                  <a:lnTo>
                    <a:pt x="64" y="130"/>
                  </a:lnTo>
                  <a:lnTo>
                    <a:pt x="43" y="123"/>
                  </a:lnTo>
                  <a:lnTo>
                    <a:pt x="33" y="123"/>
                  </a:lnTo>
                  <a:lnTo>
                    <a:pt x="33" y="125"/>
                  </a:lnTo>
                  <a:lnTo>
                    <a:pt x="26" y="137"/>
                  </a:lnTo>
                  <a:lnTo>
                    <a:pt x="17" y="142"/>
                  </a:lnTo>
                  <a:lnTo>
                    <a:pt x="17" y="147"/>
                  </a:lnTo>
                  <a:lnTo>
                    <a:pt x="12" y="149"/>
                  </a:lnTo>
                  <a:lnTo>
                    <a:pt x="0" y="149"/>
                  </a:lnTo>
                  <a:lnTo>
                    <a:pt x="0" y="147"/>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1" name="Freeform 171">
              <a:extLst>
                <a:ext uri="{FF2B5EF4-FFF2-40B4-BE49-F238E27FC236}">
                  <a16:creationId xmlns:a16="http://schemas.microsoft.com/office/drawing/2014/main" id="{DCC0A6A6-093E-41EE-B2C7-FA03FC4627EB}"/>
                </a:ext>
              </a:extLst>
            </p:cNvPr>
            <p:cNvSpPr>
              <a:spLocks/>
            </p:cNvSpPr>
            <p:nvPr/>
          </p:nvSpPr>
          <p:spPr bwMode="gray">
            <a:xfrm rot="47099">
              <a:off x="2150722" y="3121984"/>
              <a:ext cx="90285" cy="112667"/>
            </a:xfrm>
            <a:custGeom>
              <a:avLst/>
              <a:gdLst>
                <a:gd name="T0" fmla="*/ 123 w 423"/>
                <a:gd name="T1" fmla="*/ 274 h 291"/>
                <a:gd name="T2" fmla="*/ 76 w 423"/>
                <a:gd name="T3" fmla="*/ 283 h 291"/>
                <a:gd name="T4" fmla="*/ 57 w 423"/>
                <a:gd name="T5" fmla="*/ 291 h 291"/>
                <a:gd name="T6" fmla="*/ 36 w 423"/>
                <a:gd name="T7" fmla="*/ 210 h 291"/>
                <a:gd name="T8" fmla="*/ 7 w 423"/>
                <a:gd name="T9" fmla="*/ 92 h 291"/>
                <a:gd name="T10" fmla="*/ 26 w 423"/>
                <a:gd name="T11" fmla="*/ 50 h 291"/>
                <a:gd name="T12" fmla="*/ 57 w 423"/>
                <a:gd name="T13" fmla="*/ 80 h 291"/>
                <a:gd name="T14" fmla="*/ 76 w 423"/>
                <a:gd name="T15" fmla="*/ 73 h 291"/>
                <a:gd name="T16" fmla="*/ 92 w 423"/>
                <a:gd name="T17" fmla="*/ 68 h 291"/>
                <a:gd name="T18" fmla="*/ 140 w 423"/>
                <a:gd name="T19" fmla="*/ 57 h 291"/>
                <a:gd name="T20" fmla="*/ 173 w 423"/>
                <a:gd name="T21" fmla="*/ 47 h 291"/>
                <a:gd name="T22" fmla="*/ 187 w 423"/>
                <a:gd name="T23" fmla="*/ 43 h 291"/>
                <a:gd name="T24" fmla="*/ 196 w 423"/>
                <a:gd name="T25" fmla="*/ 40 h 291"/>
                <a:gd name="T26" fmla="*/ 210 w 423"/>
                <a:gd name="T27" fmla="*/ 35 h 291"/>
                <a:gd name="T28" fmla="*/ 225 w 423"/>
                <a:gd name="T29" fmla="*/ 33 h 291"/>
                <a:gd name="T30" fmla="*/ 236 w 423"/>
                <a:gd name="T31" fmla="*/ 28 h 291"/>
                <a:gd name="T32" fmla="*/ 243 w 423"/>
                <a:gd name="T33" fmla="*/ 26 h 291"/>
                <a:gd name="T34" fmla="*/ 269 w 423"/>
                <a:gd name="T35" fmla="*/ 19 h 291"/>
                <a:gd name="T36" fmla="*/ 286 w 423"/>
                <a:gd name="T37" fmla="*/ 12 h 291"/>
                <a:gd name="T38" fmla="*/ 338 w 423"/>
                <a:gd name="T39" fmla="*/ 0 h 291"/>
                <a:gd name="T40" fmla="*/ 350 w 423"/>
                <a:gd name="T41" fmla="*/ 7 h 291"/>
                <a:gd name="T42" fmla="*/ 357 w 423"/>
                <a:gd name="T43" fmla="*/ 9 h 291"/>
                <a:gd name="T44" fmla="*/ 362 w 423"/>
                <a:gd name="T45" fmla="*/ 17 h 291"/>
                <a:gd name="T46" fmla="*/ 364 w 423"/>
                <a:gd name="T47" fmla="*/ 26 h 291"/>
                <a:gd name="T48" fmla="*/ 371 w 423"/>
                <a:gd name="T49" fmla="*/ 33 h 291"/>
                <a:gd name="T50" fmla="*/ 388 w 423"/>
                <a:gd name="T51" fmla="*/ 35 h 291"/>
                <a:gd name="T52" fmla="*/ 395 w 423"/>
                <a:gd name="T53" fmla="*/ 43 h 291"/>
                <a:gd name="T54" fmla="*/ 388 w 423"/>
                <a:gd name="T55" fmla="*/ 47 h 291"/>
                <a:gd name="T56" fmla="*/ 385 w 423"/>
                <a:gd name="T57" fmla="*/ 68 h 291"/>
                <a:gd name="T58" fmla="*/ 378 w 423"/>
                <a:gd name="T59" fmla="*/ 80 h 291"/>
                <a:gd name="T60" fmla="*/ 381 w 423"/>
                <a:gd name="T61" fmla="*/ 87 h 291"/>
                <a:gd name="T62" fmla="*/ 385 w 423"/>
                <a:gd name="T63" fmla="*/ 92 h 291"/>
                <a:gd name="T64" fmla="*/ 378 w 423"/>
                <a:gd name="T65" fmla="*/ 104 h 291"/>
                <a:gd name="T66" fmla="*/ 381 w 423"/>
                <a:gd name="T67" fmla="*/ 113 h 291"/>
                <a:gd name="T68" fmla="*/ 390 w 423"/>
                <a:gd name="T69" fmla="*/ 123 h 291"/>
                <a:gd name="T70" fmla="*/ 411 w 423"/>
                <a:gd name="T71" fmla="*/ 137 h 291"/>
                <a:gd name="T72" fmla="*/ 423 w 423"/>
                <a:gd name="T73" fmla="*/ 146 h 291"/>
                <a:gd name="T74" fmla="*/ 406 w 423"/>
                <a:gd name="T75" fmla="*/ 163 h 291"/>
                <a:gd name="T76" fmla="*/ 404 w 423"/>
                <a:gd name="T77" fmla="*/ 170 h 291"/>
                <a:gd name="T78" fmla="*/ 402 w 423"/>
                <a:gd name="T79" fmla="*/ 177 h 291"/>
                <a:gd name="T80" fmla="*/ 395 w 423"/>
                <a:gd name="T81" fmla="*/ 184 h 291"/>
                <a:gd name="T82" fmla="*/ 388 w 423"/>
                <a:gd name="T83" fmla="*/ 189 h 291"/>
                <a:gd name="T84" fmla="*/ 381 w 423"/>
                <a:gd name="T85" fmla="*/ 187 h 291"/>
                <a:gd name="T86" fmla="*/ 371 w 423"/>
                <a:gd name="T87" fmla="*/ 189 h 291"/>
                <a:gd name="T88" fmla="*/ 366 w 423"/>
                <a:gd name="T89" fmla="*/ 196 h 291"/>
                <a:gd name="T90" fmla="*/ 243 w 423"/>
                <a:gd name="T91" fmla="*/ 241 h 2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3"/>
                <a:gd name="T139" fmla="*/ 0 h 291"/>
                <a:gd name="T140" fmla="*/ 423 w 423"/>
                <a:gd name="T141" fmla="*/ 291 h 291"/>
                <a:gd name="connsiteX0" fmla="*/ 5745 w 10000"/>
                <a:gd name="connsiteY0" fmla="*/ 8282 h 10000"/>
                <a:gd name="connsiteX1" fmla="*/ 2908 w 10000"/>
                <a:gd name="connsiteY1" fmla="*/ 9416 h 10000"/>
                <a:gd name="connsiteX2" fmla="*/ 1962 w 10000"/>
                <a:gd name="connsiteY2" fmla="*/ 9725 h 10000"/>
                <a:gd name="connsiteX3" fmla="*/ 1797 w 10000"/>
                <a:gd name="connsiteY3" fmla="*/ 9725 h 10000"/>
                <a:gd name="connsiteX4" fmla="*/ 1678 w 10000"/>
                <a:gd name="connsiteY4" fmla="*/ 9828 h 10000"/>
                <a:gd name="connsiteX5" fmla="*/ 1348 w 10000"/>
                <a:gd name="connsiteY5" fmla="*/ 10000 h 10000"/>
                <a:gd name="connsiteX6" fmla="*/ 851 w 10000"/>
                <a:gd name="connsiteY6" fmla="*/ 7216 h 10000"/>
                <a:gd name="connsiteX7" fmla="*/ 733 w 10000"/>
                <a:gd name="connsiteY7" fmla="*/ 6323 h 10000"/>
                <a:gd name="connsiteX8" fmla="*/ 165 w 10000"/>
                <a:gd name="connsiteY8" fmla="*/ 3162 h 10000"/>
                <a:gd name="connsiteX9" fmla="*/ 0 w 10000"/>
                <a:gd name="connsiteY9" fmla="*/ 2199 h 10000"/>
                <a:gd name="connsiteX10" fmla="*/ 615 w 10000"/>
                <a:gd name="connsiteY10" fmla="*/ 1718 h 10000"/>
                <a:gd name="connsiteX11" fmla="*/ 1017 w 10000"/>
                <a:gd name="connsiteY11" fmla="*/ 1134 h 10000"/>
                <a:gd name="connsiteX12" fmla="*/ 1348 w 10000"/>
                <a:gd name="connsiteY12" fmla="*/ 2749 h 10000"/>
                <a:gd name="connsiteX13" fmla="*/ 1560 w 10000"/>
                <a:gd name="connsiteY13" fmla="*/ 2612 h 10000"/>
                <a:gd name="connsiteX14" fmla="*/ 1797 w 10000"/>
                <a:gd name="connsiteY14" fmla="*/ 2509 h 10000"/>
                <a:gd name="connsiteX15" fmla="*/ 1962 w 10000"/>
                <a:gd name="connsiteY15" fmla="*/ 2509 h 10000"/>
                <a:gd name="connsiteX16" fmla="*/ 2175 w 10000"/>
                <a:gd name="connsiteY16" fmla="*/ 2337 h 10000"/>
                <a:gd name="connsiteX17" fmla="*/ 2506 w 10000"/>
                <a:gd name="connsiteY17" fmla="*/ 2268 h 10000"/>
                <a:gd name="connsiteX18" fmla="*/ 3310 w 10000"/>
                <a:gd name="connsiteY18" fmla="*/ 1959 h 10000"/>
                <a:gd name="connsiteX19" fmla="*/ 3641 w 10000"/>
                <a:gd name="connsiteY19" fmla="*/ 1787 h 10000"/>
                <a:gd name="connsiteX20" fmla="*/ 4090 w 10000"/>
                <a:gd name="connsiteY20" fmla="*/ 1615 h 10000"/>
                <a:gd name="connsiteX21" fmla="*/ 4255 w 10000"/>
                <a:gd name="connsiteY21" fmla="*/ 1615 h 10000"/>
                <a:gd name="connsiteX22" fmla="*/ 4421 w 10000"/>
                <a:gd name="connsiteY22" fmla="*/ 1478 h 10000"/>
                <a:gd name="connsiteX23" fmla="*/ 4586 w 10000"/>
                <a:gd name="connsiteY23" fmla="*/ 1478 h 10000"/>
                <a:gd name="connsiteX24" fmla="*/ 4634 w 10000"/>
                <a:gd name="connsiteY24" fmla="*/ 1375 h 10000"/>
                <a:gd name="connsiteX25" fmla="*/ 4917 w 10000"/>
                <a:gd name="connsiteY25" fmla="*/ 1375 h 10000"/>
                <a:gd name="connsiteX26" fmla="*/ 4965 w 10000"/>
                <a:gd name="connsiteY26" fmla="*/ 1203 h 10000"/>
                <a:gd name="connsiteX27" fmla="*/ 5035 w 10000"/>
                <a:gd name="connsiteY27" fmla="*/ 1203 h 10000"/>
                <a:gd name="connsiteX28" fmla="*/ 5319 w 10000"/>
                <a:gd name="connsiteY28" fmla="*/ 1134 h 10000"/>
                <a:gd name="connsiteX29" fmla="*/ 5414 w 10000"/>
                <a:gd name="connsiteY29" fmla="*/ 1134 h 10000"/>
                <a:gd name="connsiteX30" fmla="*/ 5579 w 10000"/>
                <a:gd name="connsiteY30" fmla="*/ 962 h 10000"/>
                <a:gd name="connsiteX31" fmla="*/ 5697 w 10000"/>
                <a:gd name="connsiteY31" fmla="*/ 962 h 10000"/>
                <a:gd name="connsiteX32" fmla="*/ 5745 w 10000"/>
                <a:gd name="connsiteY32" fmla="*/ 893 h 10000"/>
                <a:gd name="connsiteX33" fmla="*/ 6265 w 10000"/>
                <a:gd name="connsiteY33" fmla="*/ 653 h 10000"/>
                <a:gd name="connsiteX34" fmla="*/ 6359 w 10000"/>
                <a:gd name="connsiteY34" fmla="*/ 653 h 10000"/>
                <a:gd name="connsiteX35" fmla="*/ 6478 w 10000"/>
                <a:gd name="connsiteY35" fmla="*/ 584 h 10000"/>
                <a:gd name="connsiteX36" fmla="*/ 6761 w 10000"/>
                <a:gd name="connsiteY36" fmla="*/ 412 h 10000"/>
                <a:gd name="connsiteX37" fmla="*/ 7872 w 10000"/>
                <a:gd name="connsiteY37" fmla="*/ 0 h 10000"/>
                <a:gd name="connsiteX38" fmla="*/ 7991 w 10000"/>
                <a:gd name="connsiteY38" fmla="*/ 0 h 10000"/>
                <a:gd name="connsiteX39" fmla="*/ 8038 w 10000"/>
                <a:gd name="connsiteY39" fmla="*/ 69 h 10000"/>
                <a:gd name="connsiteX40" fmla="*/ 8274 w 10000"/>
                <a:gd name="connsiteY40" fmla="*/ 241 h 10000"/>
                <a:gd name="connsiteX41" fmla="*/ 8392 w 10000"/>
                <a:gd name="connsiteY41" fmla="*/ 241 h 10000"/>
                <a:gd name="connsiteX42" fmla="*/ 8440 w 10000"/>
                <a:gd name="connsiteY42" fmla="*/ 309 h 10000"/>
                <a:gd name="connsiteX43" fmla="*/ 8558 w 10000"/>
                <a:gd name="connsiteY43" fmla="*/ 412 h 10000"/>
                <a:gd name="connsiteX44" fmla="*/ 8558 w 10000"/>
                <a:gd name="connsiteY44" fmla="*/ 584 h 10000"/>
                <a:gd name="connsiteX45" fmla="*/ 8605 w 10000"/>
                <a:gd name="connsiteY45" fmla="*/ 825 h 10000"/>
                <a:gd name="connsiteX46" fmla="*/ 8605 w 10000"/>
                <a:gd name="connsiteY46" fmla="*/ 893 h 10000"/>
                <a:gd name="connsiteX47" fmla="*/ 8652 w 10000"/>
                <a:gd name="connsiteY47" fmla="*/ 1134 h 10000"/>
                <a:gd name="connsiteX48" fmla="*/ 8771 w 10000"/>
                <a:gd name="connsiteY48" fmla="*/ 1134 h 10000"/>
                <a:gd name="connsiteX49" fmla="*/ 8771 w 10000"/>
                <a:gd name="connsiteY49" fmla="*/ 1203 h 10000"/>
                <a:gd name="connsiteX50" fmla="*/ 9173 w 10000"/>
                <a:gd name="connsiteY50" fmla="*/ 1203 h 10000"/>
                <a:gd name="connsiteX51" fmla="*/ 9338 w 10000"/>
                <a:gd name="connsiteY51" fmla="*/ 1375 h 10000"/>
                <a:gd name="connsiteX52" fmla="*/ 9338 w 10000"/>
                <a:gd name="connsiteY52" fmla="*/ 1478 h 10000"/>
                <a:gd name="connsiteX53" fmla="*/ 9220 w 10000"/>
                <a:gd name="connsiteY53" fmla="*/ 1478 h 10000"/>
                <a:gd name="connsiteX54" fmla="*/ 9173 w 10000"/>
                <a:gd name="connsiteY54" fmla="*/ 1615 h 10000"/>
                <a:gd name="connsiteX55" fmla="*/ 9173 w 10000"/>
                <a:gd name="connsiteY55" fmla="*/ 2027 h 10000"/>
                <a:gd name="connsiteX56" fmla="*/ 9102 w 10000"/>
                <a:gd name="connsiteY56" fmla="*/ 2337 h 10000"/>
                <a:gd name="connsiteX57" fmla="*/ 9007 w 10000"/>
                <a:gd name="connsiteY57" fmla="*/ 2612 h 10000"/>
                <a:gd name="connsiteX58" fmla="*/ 8936 w 10000"/>
                <a:gd name="connsiteY58" fmla="*/ 2749 h 10000"/>
                <a:gd name="connsiteX59" fmla="*/ 8936 w 10000"/>
                <a:gd name="connsiteY59" fmla="*/ 2990 h 10000"/>
                <a:gd name="connsiteX60" fmla="*/ 9007 w 10000"/>
                <a:gd name="connsiteY60" fmla="*/ 2990 h 10000"/>
                <a:gd name="connsiteX61" fmla="*/ 9102 w 10000"/>
                <a:gd name="connsiteY61" fmla="*/ 3093 h 10000"/>
                <a:gd name="connsiteX62" fmla="*/ 9102 w 10000"/>
                <a:gd name="connsiteY62" fmla="*/ 3162 h 10000"/>
                <a:gd name="connsiteX63" fmla="*/ 9007 w 10000"/>
                <a:gd name="connsiteY63" fmla="*/ 3402 h 10000"/>
                <a:gd name="connsiteX64" fmla="*/ 8936 w 10000"/>
                <a:gd name="connsiteY64" fmla="*/ 3574 h 10000"/>
                <a:gd name="connsiteX65" fmla="*/ 8936 w 10000"/>
                <a:gd name="connsiteY65" fmla="*/ 3746 h 10000"/>
                <a:gd name="connsiteX66" fmla="*/ 9007 w 10000"/>
                <a:gd name="connsiteY66" fmla="*/ 3883 h 10000"/>
                <a:gd name="connsiteX67" fmla="*/ 9102 w 10000"/>
                <a:gd name="connsiteY67" fmla="*/ 4124 h 10000"/>
                <a:gd name="connsiteX68" fmla="*/ 9220 w 10000"/>
                <a:gd name="connsiteY68" fmla="*/ 4227 h 10000"/>
                <a:gd name="connsiteX69" fmla="*/ 9385 w 10000"/>
                <a:gd name="connsiteY69" fmla="*/ 4467 h 10000"/>
                <a:gd name="connsiteX70" fmla="*/ 9716 w 10000"/>
                <a:gd name="connsiteY70" fmla="*/ 4708 h 10000"/>
                <a:gd name="connsiteX71" fmla="*/ 9882 w 10000"/>
                <a:gd name="connsiteY71" fmla="*/ 4948 h 10000"/>
                <a:gd name="connsiteX72" fmla="*/ 10000 w 10000"/>
                <a:gd name="connsiteY72" fmla="*/ 5017 h 10000"/>
                <a:gd name="connsiteX73" fmla="*/ 9716 w 10000"/>
                <a:gd name="connsiteY73" fmla="*/ 5533 h 10000"/>
                <a:gd name="connsiteX74" fmla="*/ 9598 w 10000"/>
                <a:gd name="connsiteY74" fmla="*/ 5601 h 10000"/>
                <a:gd name="connsiteX75" fmla="*/ 9551 w 10000"/>
                <a:gd name="connsiteY75" fmla="*/ 5670 h 10000"/>
                <a:gd name="connsiteX76" fmla="*/ 9551 w 10000"/>
                <a:gd name="connsiteY76" fmla="*/ 5842 h 10000"/>
                <a:gd name="connsiteX77" fmla="*/ 9504 w 10000"/>
                <a:gd name="connsiteY77" fmla="*/ 5842 h 10000"/>
                <a:gd name="connsiteX78" fmla="*/ 9504 w 10000"/>
                <a:gd name="connsiteY78" fmla="*/ 6082 h 10000"/>
                <a:gd name="connsiteX79" fmla="*/ 9385 w 10000"/>
                <a:gd name="connsiteY79" fmla="*/ 6186 h 10000"/>
                <a:gd name="connsiteX80" fmla="*/ 9338 w 10000"/>
                <a:gd name="connsiteY80" fmla="*/ 6323 h 10000"/>
                <a:gd name="connsiteX81" fmla="*/ 9220 w 10000"/>
                <a:gd name="connsiteY81" fmla="*/ 6426 h 10000"/>
                <a:gd name="connsiteX82" fmla="*/ 9173 w 10000"/>
                <a:gd name="connsiteY82" fmla="*/ 6495 h 10000"/>
                <a:gd name="connsiteX83" fmla="*/ 9102 w 10000"/>
                <a:gd name="connsiteY83" fmla="*/ 6495 h 10000"/>
                <a:gd name="connsiteX84" fmla="*/ 9007 w 10000"/>
                <a:gd name="connsiteY84" fmla="*/ 6426 h 10000"/>
                <a:gd name="connsiteX85" fmla="*/ 9007 w 10000"/>
                <a:gd name="connsiteY85" fmla="*/ 6495 h 10000"/>
                <a:gd name="connsiteX86" fmla="*/ 8771 w 10000"/>
                <a:gd name="connsiteY86" fmla="*/ 6495 h 10000"/>
                <a:gd name="connsiteX87" fmla="*/ 8771 w 10000"/>
                <a:gd name="connsiteY87" fmla="*/ 6667 h 10000"/>
                <a:gd name="connsiteX88" fmla="*/ 8652 w 10000"/>
                <a:gd name="connsiteY88" fmla="*/ 6735 h 10000"/>
                <a:gd name="connsiteX89" fmla="*/ 8652 w 10000"/>
                <a:gd name="connsiteY89" fmla="*/ 6976 h 10000"/>
                <a:gd name="connsiteX90" fmla="*/ 5745 w 10000"/>
                <a:gd name="connsiteY90" fmla="*/ 8282 h 10000"/>
                <a:gd name="connsiteX0" fmla="*/ 5745 w 10000"/>
                <a:gd name="connsiteY0" fmla="*/ 8282 h 9828"/>
                <a:gd name="connsiteX1" fmla="*/ 2908 w 10000"/>
                <a:gd name="connsiteY1" fmla="*/ 9416 h 9828"/>
                <a:gd name="connsiteX2" fmla="*/ 1962 w 10000"/>
                <a:gd name="connsiteY2" fmla="*/ 9725 h 9828"/>
                <a:gd name="connsiteX3" fmla="*/ 1797 w 10000"/>
                <a:gd name="connsiteY3" fmla="*/ 9725 h 9828"/>
                <a:gd name="connsiteX4" fmla="*/ 1678 w 10000"/>
                <a:gd name="connsiteY4" fmla="*/ 9828 h 9828"/>
                <a:gd name="connsiteX5" fmla="*/ 851 w 10000"/>
                <a:gd name="connsiteY5" fmla="*/ 7216 h 9828"/>
                <a:gd name="connsiteX6" fmla="*/ 733 w 10000"/>
                <a:gd name="connsiteY6" fmla="*/ 6323 h 9828"/>
                <a:gd name="connsiteX7" fmla="*/ 165 w 10000"/>
                <a:gd name="connsiteY7" fmla="*/ 3162 h 9828"/>
                <a:gd name="connsiteX8" fmla="*/ 0 w 10000"/>
                <a:gd name="connsiteY8" fmla="*/ 2199 h 9828"/>
                <a:gd name="connsiteX9" fmla="*/ 615 w 10000"/>
                <a:gd name="connsiteY9" fmla="*/ 1718 h 9828"/>
                <a:gd name="connsiteX10" fmla="*/ 1017 w 10000"/>
                <a:gd name="connsiteY10" fmla="*/ 1134 h 9828"/>
                <a:gd name="connsiteX11" fmla="*/ 1348 w 10000"/>
                <a:gd name="connsiteY11" fmla="*/ 2749 h 9828"/>
                <a:gd name="connsiteX12" fmla="*/ 1560 w 10000"/>
                <a:gd name="connsiteY12" fmla="*/ 2612 h 9828"/>
                <a:gd name="connsiteX13" fmla="*/ 1797 w 10000"/>
                <a:gd name="connsiteY13" fmla="*/ 2509 h 9828"/>
                <a:gd name="connsiteX14" fmla="*/ 1962 w 10000"/>
                <a:gd name="connsiteY14" fmla="*/ 2509 h 9828"/>
                <a:gd name="connsiteX15" fmla="*/ 2175 w 10000"/>
                <a:gd name="connsiteY15" fmla="*/ 2337 h 9828"/>
                <a:gd name="connsiteX16" fmla="*/ 2506 w 10000"/>
                <a:gd name="connsiteY16" fmla="*/ 2268 h 9828"/>
                <a:gd name="connsiteX17" fmla="*/ 3310 w 10000"/>
                <a:gd name="connsiteY17" fmla="*/ 1959 h 9828"/>
                <a:gd name="connsiteX18" fmla="*/ 3641 w 10000"/>
                <a:gd name="connsiteY18" fmla="*/ 1787 h 9828"/>
                <a:gd name="connsiteX19" fmla="*/ 4090 w 10000"/>
                <a:gd name="connsiteY19" fmla="*/ 1615 h 9828"/>
                <a:gd name="connsiteX20" fmla="*/ 4255 w 10000"/>
                <a:gd name="connsiteY20" fmla="*/ 1615 h 9828"/>
                <a:gd name="connsiteX21" fmla="*/ 4421 w 10000"/>
                <a:gd name="connsiteY21" fmla="*/ 1478 h 9828"/>
                <a:gd name="connsiteX22" fmla="*/ 4586 w 10000"/>
                <a:gd name="connsiteY22" fmla="*/ 1478 h 9828"/>
                <a:gd name="connsiteX23" fmla="*/ 4634 w 10000"/>
                <a:gd name="connsiteY23" fmla="*/ 1375 h 9828"/>
                <a:gd name="connsiteX24" fmla="*/ 4917 w 10000"/>
                <a:gd name="connsiteY24" fmla="*/ 1375 h 9828"/>
                <a:gd name="connsiteX25" fmla="*/ 4965 w 10000"/>
                <a:gd name="connsiteY25" fmla="*/ 1203 h 9828"/>
                <a:gd name="connsiteX26" fmla="*/ 5035 w 10000"/>
                <a:gd name="connsiteY26" fmla="*/ 1203 h 9828"/>
                <a:gd name="connsiteX27" fmla="*/ 5319 w 10000"/>
                <a:gd name="connsiteY27" fmla="*/ 1134 h 9828"/>
                <a:gd name="connsiteX28" fmla="*/ 5414 w 10000"/>
                <a:gd name="connsiteY28" fmla="*/ 1134 h 9828"/>
                <a:gd name="connsiteX29" fmla="*/ 5579 w 10000"/>
                <a:gd name="connsiteY29" fmla="*/ 962 h 9828"/>
                <a:gd name="connsiteX30" fmla="*/ 5697 w 10000"/>
                <a:gd name="connsiteY30" fmla="*/ 962 h 9828"/>
                <a:gd name="connsiteX31" fmla="*/ 5745 w 10000"/>
                <a:gd name="connsiteY31" fmla="*/ 893 h 9828"/>
                <a:gd name="connsiteX32" fmla="*/ 6265 w 10000"/>
                <a:gd name="connsiteY32" fmla="*/ 653 h 9828"/>
                <a:gd name="connsiteX33" fmla="*/ 6359 w 10000"/>
                <a:gd name="connsiteY33" fmla="*/ 653 h 9828"/>
                <a:gd name="connsiteX34" fmla="*/ 6478 w 10000"/>
                <a:gd name="connsiteY34" fmla="*/ 584 h 9828"/>
                <a:gd name="connsiteX35" fmla="*/ 6761 w 10000"/>
                <a:gd name="connsiteY35" fmla="*/ 412 h 9828"/>
                <a:gd name="connsiteX36" fmla="*/ 7872 w 10000"/>
                <a:gd name="connsiteY36" fmla="*/ 0 h 9828"/>
                <a:gd name="connsiteX37" fmla="*/ 7991 w 10000"/>
                <a:gd name="connsiteY37" fmla="*/ 0 h 9828"/>
                <a:gd name="connsiteX38" fmla="*/ 8038 w 10000"/>
                <a:gd name="connsiteY38" fmla="*/ 69 h 9828"/>
                <a:gd name="connsiteX39" fmla="*/ 8274 w 10000"/>
                <a:gd name="connsiteY39" fmla="*/ 241 h 9828"/>
                <a:gd name="connsiteX40" fmla="*/ 8392 w 10000"/>
                <a:gd name="connsiteY40" fmla="*/ 241 h 9828"/>
                <a:gd name="connsiteX41" fmla="*/ 8440 w 10000"/>
                <a:gd name="connsiteY41" fmla="*/ 309 h 9828"/>
                <a:gd name="connsiteX42" fmla="*/ 8558 w 10000"/>
                <a:gd name="connsiteY42" fmla="*/ 412 h 9828"/>
                <a:gd name="connsiteX43" fmla="*/ 8558 w 10000"/>
                <a:gd name="connsiteY43" fmla="*/ 584 h 9828"/>
                <a:gd name="connsiteX44" fmla="*/ 8605 w 10000"/>
                <a:gd name="connsiteY44" fmla="*/ 825 h 9828"/>
                <a:gd name="connsiteX45" fmla="*/ 8605 w 10000"/>
                <a:gd name="connsiteY45" fmla="*/ 893 h 9828"/>
                <a:gd name="connsiteX46" fmla="*/ 8652 w 10000"/>
                <a:gd name="connsiteY46" fmla="*/ 1134 h 9828"/>
                <a:gd name="connsiteX47" fmla="*/ 8771 w 10000"/>
                <a:gd name="connsiteY47" fmla="*/ 1134 h 9828"/>
                <a:gd name="connsiteX48" fmla="*/ 8771 w 10000"/>
                <a:gd name="connsiteY48" fmla="*/ 1203 h 9828"/>
                <a:gd name="connsiteX49" fmla="*/ 9173 w 10000"/>
                <a:gd name="connsiteY49" fmla="*/ 1203 h 9828"/>
                <a:gd name="connsiteX50" fmla="*/ 9338 w 10000"/>
                <a:gd name="connsiteY50" fmla="*/ 1375 h 9828"/>
                <a:gd name="connsiteX51" fmla="*/ 9338 w 10000"/>
                <a:gd name="connsiteY51" fmla="*/ 1478 h 9828"/>
                <a:gd name="connsiteX52" fmla="*/ 9220 w 10000"/>
                <a:gd name="connsiteY52" fmla="*/ 1478 h 9828"/>
                <a:gd name="connsiteX53" fmla="*/ 9173 w 10000"/>
                <a:gd name="connsiteY53" fmla="*/ 1615 h 9828"/>
                <a:gd name="connsiteX54" fmla="*/ 9173 w 10000"/>
                <a:gd name="connsiteY54" fmla="*/ 2027 h 9828"/>
                <a:gd name="connsiteX55" fmla="*/ 9102 w 10000"/>
                <a:gd name="connsiteY55" fmla="*/ 2337 h 9828"/>
                <a:gd name="connsiteX56" fmla="*/ 9007 w 10000"/>
                <a:gd name="connsiteY56" fmla="*/ 2612 h 9828"/>
                <a:gd name="connsiteX57" fmla="*/ 8936 w 10000"/>
                <a:gd name="connsiteY57" fmla="*/ 2749 h 9828"/>
                <a:gd name="connsiteX58" fmla="*/ 8936 w 10000"/>
                <a:gd name="connsiteY58" fmla="*/ 2990 h 9828"/>
                <a:gd name="connsiteX59" fmla="*/ 9007 w 10000"/>
                <a:gd name="connsiteY59" fmla="*/ 2990 h 9828"/>
                <a:gd name="connsiteX60" fmla="*/ 9102 w 10000"/>
                <a:gd name="connsiteY60" fmla="*/ 3093 h 9828"/>
                <a:gd name="connsiteX61" fmla="*/ 9102 w 10000"/>
                <a:gd name="connsiteY61" fmla="*/ 3162 h 9828"/>
                <a:gd name="connsiteX62" fmla="*/ 9007 w 10000"/>
                <a:gd name="connsiteY62" fmla="*/ 3402 h 9828"/>
                <a:gd name="connsiteX63" fmla="*/ 8936 w 10000"/>
                <a:gd name="connsiteY63" fmla="*/ 3574 h 9828"/>
                <a:gd name="connsiteX64" fmla="*/ 8936 w 10000"/>
                <a:gd name="connsiteY64" fmla="*/ 3746 h 9828"/>
                <a:gd name="connsiteX65" fmla="*/ 9007 w 10000"/>
                <a:gd name="connsiteY65" fmla="*/ 3883 h 9828"/>
                <a:gd name="connsiteX66" fmla="*/ 9102 w 10000"/>
                <a:gd name="connsiteY66" fmla="*/ 4124 h 9828"/>
                <a:gd name="connsiteX67" fmla="*/ 9220 w 10000"/>
                <a:gd name="connsiteY67" fmla="*/ 4227 h 9828"/>
                <a:gd name="connsiteX68" fmla="*/ 9385 w 10000"/>
                <a:gd name="connsiteY68" fmla="*/ 4467 h 9828"/>
                <a:gd name="connsiteX69" fmla="*/ 9716 w 10000"/>
                <a:gd name="connsiteY69" fmla="*/ 4708 h 9828"/>
                <a:gd name="connsiteX70" fmla="*/ 9882 w 10000"/>
                <a:gd name="connsiteY70" fmla="*/ 4948 h 9828"/>
                <a:gd name="connsiteX71" fmla="*/ 10000 w 10000"/>
                <a:gd name="connsiteY71" fmla="*/ 5017 h 9828"/>
                <a:gd name="connsiteX72" fmla="*/ 9716 w 10000"/>
                <a:gd name="connsiteY72" fmla="*/ 5533 h 9828"/>
                <a:gd name="connsiteX73" fmla="*/ 9598 w 10000"/>
                <a:gd name="connsiteY73" fmla="*/ 5601 h 9828"/>
                <a:gd name="connsiteX74" fmla="*/ 9551 w 10000"/>
                <a:gd name="connsiteY74" fmla="*/ 5670 h 9828"/>
                <a:gd name="connsiteX75" fmla="*/ 9551 w 10000"/>
                <a:gd name="connsiteY75" fmla="*/ 5842 h 9828"/>
                <a:gd name="connsiteX76" fmla="*/ 9504 w 10000"/>
                <a:gd name="connsiteY76" fmla="*/ 5842 h 9828"/>
                <a:gd name="connsiteX77" fmla="*/ 9504 w 10000"/>
                <a:gd name="connsiteY77" fmla="*/ 6082 h 9828"/>
                <a:gd name="connsiteX78" fmla="*/ 9385 w 10000"/>
                <a:gd name="connsiteY78" fmla="*/ 6186 h 9828"/>
                <a:gd name="connsiteX79" fmla="*/ 9338 w 10000"/>
                <a:gd name="connsiteY79" fmla="*/ 6323 h 9828"/>
                <a:gd name="connsiteX80" fmla="*/ 9220 w 10000"/>
                <a:gd name="connsiteY80" fmla="*/ 6426 h 9828"/>
                <a:gd name="connsiteX81" fmla="*/ 9173 w 10000"/>
                <a:gd name="connsiteY81" fmla="*/ 6495 h 9828"/>
                <a:gd name="connsiteX82" fmla="*/ 9102 w 10000"/>
                <a:gd name="connsiteY82" fmla="*/ 6495 h 9828"/>
                <a:gd name="connsiteX83" fmla="*/ 9007 w 10000"/>
                <a:gd name="connsiteY83" fmla="*/ 6426 h 9828"/>
                <a:gd name="connsiteX84" fmla="*/ 9007 w 10000"/>
                <a:gd name="connsiteY84" fmla="*/ 6495 h 9828"/>
                <a:gd name="connsiteX85" fmla="*/ 8771 w 10000"/>
                <a:gd name="connsiteY85" fmla="*/ 6495 h 9828"/>
                <a:gd name="connsiteX86" fmla="*/ 8771 w 10000"/>
                <a:gd name="connsiteY86" fmla="*/ 6667 h 9828"/>
                <a:gd name="connsiteX87" fmla="*/ 8652 w 10000"/>
                <a:gd name="connsiteY87" fmla="*/ 6735 h 9828"/>
                <a:gd name="connsiteX88" fmla="*/ 8652 w 10000"/>
                <a:gd name="connsiteY88" fmla="*/ 6976 h 9828"/>
                <a:gd name="connsiteX89" fmla="*/ 5745 w 10000"/>
                <a:gd name="connsiteY89" fmla="*/ 8282 h 9828"/>
                <a:gd name="connsiteX0" fmla="*/ 5745 w 10000"/>
                <a:gd name="connsiteY0" fmla="*/ 8427 h 9895"/>
                <a:gd name="connsiteX1" fmla="*/ 2908 w 10000"/>
                <a:gd name="connsiteY1" fmla="*/ 9581 h 9895"/>
                <a:gd name="connsiteX2" fmla="*/ 1962 w 10000"/>
                <a:gd name="connsiteY2" fmla="*/ 9895 h 9895"/>
                <a:gd name="connsiteX3" fmla="*/ 1797 w 10000"/>
                <a:gd name="connsiteY3" fmla="*/ 9895 h 9895"/>
                <a:gd name="connsiteX4" fmla="*/ 851 w 10000"/>
                <a:gd name="connsiteY4" fmla="*/ 7342 h 9895"/>
                <a:gd name="connsiteX5" fmla="*/ 733 w 10000"/>
                <a:gd name="connsiteY5" fmla="*/ 6434 h 9895"/>
                <a:gd name="connsiteX6" fmla="*/ 165 w 10000"/>
                <a:gd name="connsiteY6" fmla="*/ 3217 h 9895"/>
                <a:gd name="connsiteX7" fmla="*/ 0 w 10000"/>
                <a:gd name="connsiteY7" fmla="*/ 2237 h 9895"/>
                <a:gd name="connsiteX8" fmla="*/ 615 w 10000"/>
                <a:gd name="connsiteY8" fmla="*/ 1748 h 9895"/>
                <a:gd name="connsiteX9" fmla="*/ 1017 w 10000"/>
                <a:gd name="connsiteY9" fmla="*/ 1154 h 9895"/>
                <a:gd name="connsiteX10" fmla="*/ 1348 w 10000"/>
                <a:gd name="connsiteY10" fmla="*/ 2797 h 9895"/>
                <a:gd name="connsiteX11" fmla="*/ 1560 w 10000"/>
                <a:gd name="connsiteY11" fmla="*/ 2658 h 9895"/>
                <a:gd name="connsiteX12" fmla="*/ 1797 w 10000"/>
                <a:gd name="connsiteY12" fmla="*/ 2553 h 9895"/>
                <a:gd name="connsiteX13" fmla="*/ 1962 w 10000"/>
                <a:gd name="connsiteY13" fmla="*/ 2553 h 9895"/>
                <a:gd name="connsiteX14" fmla="*/ 2175 w 10000"/>
                <a:gd name="connsiteY14" fmla="*/ 2378 h 9895"/>
                <a:gd name="connsiteX15" fmla="*/ 2506 w 10000"/>
                <a:gd name="connsiteY15" fmla="*/ 2308 h 9895"/>
                <a:gd name="connsiteX16" fmla="*/ 3310 w 10000"/>
                <a:gd name="connsiteY16" fmla="*/ 1993 h 9895"/>
                <a:gd name="connsiteX17" fmla="*/ 3641 w 10000"/>
                <a:gd name="connsiteY17" fmla="*/ 1818 h 9895"/>
                <a:gd name="connsiteX18" fmla="*/ 4090 w 10000"/>
                <a:gd name="connsiteY18" fmla="*/ 1643 h 9895"/>
                <a:gd name="connsiteX19" fmla="*/ 4255 w 10000"/>
                <a:gd name="connsiteY19" fmla="*/ 1643 h 9895"/>
                <a:gd name="connsiteX20" fmla="*/ 4421 w 10000"/>
                <a:gd name="connsiteY20" fmla="*/ 1504 h 9895"/>
                <a:gd name="connsiteX21" fmla="*/ 4586 w 10000"/>
                <a:gd name="connsiteY21" fmla="*/ 1504 h 9895"/>
                <a:gd name="connsiteX22" fmla="*/ 4634 w 10000"/>
                <a:gd name="connsiteY22" fmla="*/ 1399 h 9895"/>
                <a:gd name="connsiteX23" fmla="*/ 4917 w 10000"/>
                <a:gd name="connsiteY23" fmla="*/ 1399 h 9895"/>
                <a:gd name="connsiteX24" fmla="*/ 4965 w 10000"/>
                <a:gd name="connsiteY24" fmla="*/ 1224 h 9895"/>
                <a:gd name="connsiteX25" fmla="*/ 5035 w 10000"/>
                <a:gd name="connsiteY25" fmla="*/ 1224 h 9895"/>
                <a:gd name="connsiteX26" fmla="*/ 5319 w 10000"/>
                <a:gd name="connsiteY26" fmla="*/ 1154 h 9895"/>
                <a:gd name="connsiteX27" fmla="*/ 5414 w 10000"/>
                <a:gd name="connsiteY27" fmla="*/ 1154 h 9895"/>
                <a:gd name="connsiteX28" fmla="*/ 5579 w 10000"/>
                <a:gd name="connsiteY28" fmla="*/ 979 h 9895"/>
                <a:gd name="connsiteX29" fmla="*/ 5697 w 10000"/>
                <a:gd name="connsiteY29" fmla="*/ 979 h 9895"/>
                <a:gd name="connsiteX30" fmla="*/ 5745 w 10000"/>
                <a:gd name="connsiteY30" fmla="*/ 909 h 9895"/>
                <a:gd name="connsiteX31" fmla="*/ 6265 w 10000"/>
                <a:gd name="connsiteY31" fmla="*/ 664 h 9895"/>
                <a:gd name="connsiteX32" fmla="*/ 6359 w 10000"/>
                <a:gd name="connsiteY32" fmla="*/ 664 h 9895"/>
                <a:gd name="connsiteX33" fmla="*/ 6478 w 10000"/>
                <a:gd name="connsiteY33" fmla="*/ 594 h 9895"/>
                <a:gd name="connsiteX34" fmla="*/ 6761 w 10000"/>
                <a:gd name="connsiteY34" fmla="*/ 419 h 9895"/>
                <a:gd name="connsiteX35" fmla="*/ 7872 w 10000"/>
                <a:gd name="connsiteY35" fmla="*/ 0 h 9895"/>
                <a:gd name="connsiteX36" fmla="*/ 7991 w 10000"/>
                <a:gd name="connsiteY36" fmla="*/ 0 h 9895"/>
                <a:gd name="connsiteX37" fmla="*/ 8038 w 10000"/>
                <a:gd name="connsiteY37" fmla="*/ 70 h 9895"/>
                <a:gd name="connsiteX38" fmla="*/ 8274 w 10000"/>
                <a:gd name="connsiteY38" fmla="*/ 245 h 9895"/>
                <a:gd name="connsiteX39" fmla="*/ 8392 w 10000"/>
                <a:gd name="connsiteY39" fmla="*/ 245 h 9895"/>
                <a:gd name="connsiteX40" fmla="*/ 8440 w 10000"/>
                <a:gd name="connsiteY40" fmla="*/ 314 h 9895"/>
                <a:gd name="connsiteX41" fmla="*/ 8558 w 10000"/>
                <a:gd name="connsiteY41" fmla="*/ 419 h 9895"/>
                <a:gd name="connsiteX42" fmla="*/ 8558 w 10000"/>
                <a:gd name="connsiteY42" fmla="*/ 594 h 9895"/>
                <a:gd name="connsiteX43" fmla="*/ 8605 w 10000"/>
                <a:gd name="connsiteY43" fmla="*/ 839 h 9895"/>
                <a:gd name="connsiteX44" fmla="*/ 8605 w 10000"/>
                <a:gd name="connsiteY44" fmla="*/ 909 h 9895"/>
                <a:gd name="connsiteX45" fmla="*/ 8652 w 10000"/>
                <a:gd name="connsiteY45" fmla="*/ 1154 h 9895"/>
                <a:gd name="connsiteX46" fmla="*/ 8771 w 10000"/>
                <a:gd name="connsiteY46" fmla="*/ 1154 h 9895"/>
                <a:gd name="connsiteX47" fmla="*/ 8771 w 10000"/>
                <a:gd name="connsiteY47" fmla="*/ 1224 h 9895"/>
                <a:gd name="connsiteX48" fmla="*/ 9173 w 10000"/>
                <a:gd name="connsiteY48" fmla="*/ 1224 h 9895"/>
                <a:gd name="connsiteX49" fmla="*/ 9338 w 10000"/>
                <a:gd name="connsiteY49" fmla="*/ 1399 h 9895"/>
                <a:gd name="connsiteX50" fmla="*/ 9338 w 10000"/>
                <a:gd name="connsiteY50" fmla="*/ 1504 h 9895"/>
                <a:gd name="connsiteX51" fmla="*/ 9220 w 10000"/>
                <a:gd name="connsiteY51" fmla="*/ 1504 h 9895"/>
                <a:gd name="connsiteX52" fmla="*/ 9173 w 10000"/>
                <a:gd name="connsiteY52" fmla="*/ 1643 h 9895"/>
                <a:gd name="connsiteX53" fmla="*/ 9173 w 10000"/>
                <a:gd name="connsiteY53" fmla="*/ 2062 h 9895"/>
                <a:gd name="connsiteX54" fmla="*/ 9102 w 10000"/>
                <a:gd name="connsiteY54" fmla="*/ 2378 h 9895"/>
                <a:gd name="connsiteX55" fmla="*/ 9007 w 10000"/>
                <a:gd name="connsiteY55" fmla="*/ 2658 h 9895"/>
                <a:gd name="connsiteX56" fmla="*/ 8936 w 10000"/>
                <a:gd name="connsiteY56" fmla="*/ 2797 h 9895"/>
                <a:gd name="connsiteX57" fmla="*/ 8936 w 10000"/>
                <a:gd name="connsiteY57" fmla="*/ 3042 h 9895"/>
                <a:gd name="connsiteX58" fmla="*/ 9007 w 10000"/>
                <a:gd name="connsiteY58" fmla="*/ 3042 h 9895"/>
                <a:gd name="connsiteX59" fmla="*/ 9102 w 10000"/>
                <a:gd name="connsiteY59" fmla="*/ 3147 h 9895"/>
                <a:gd name="connsiteX60" fmla="*/ 9102 w 10000"/>
                <a:gd name="connsiteY60" fmla="*/ 3217 h 9895"/>
                <a:gd name="connsiteX61" fmla="*/ 9007 w 10000"/>
                <a:gd name="connsiteY61" fmla="*/ 3462 h 9895"/>
                <a:gd name="connsiteX62" fmla="*/ 8936 w 10000"/>
                <a:gd name="connsiteY62" fmla="*/ 3637 h 9895"/>
                <a:gd name="connsiteX63" fmla="*/ 8936 w 10000"/>
                <a:gd name="connsiteY63" fmla="*/ 3812 h 9895"/>
                <a:gd name="connsiteX64" fmla="*/ 9007 w 10000"/>
                <a:gd name="connsiteY64" fmla="*/ 3951 h 9895"/>
                <a:gd name="connsiteX65" fmla="*/ 9102 w 10000"/>
                <a:gd name="connsiteY65" fmla="*/ 4196 h 9895"/>
                <a:gd name="connsiteX66" fmla="*/ 9220 w 10000"/>
                <a:gd name="connsiteY66" fmla="*/ 4301 h 9895"/>
                <a:gd name="connsiteX67" fmla="*/ 9385 w 10000"/>
                <a:gd name="connsiteY67" fmla="*/ 4545 h 9895"/>
                <a:gd name="connsiteX68" fmla="*/ 9716 w 10000"/>
                <a:gd name="connsiteY68" fmla="*/ 4790 h 9895"/>
                <a:gd name="connsiteX69" fmla="*/ 9882 w 10000"/>
                <a:gd name="connsiteY69" fmla="*/ 5035 h 9895"/>
                <a:gd name="connsiteX70" fmla="*/ 10000 w 10000"/>
                <a:gd name="connsiteY70" fmla="*/ 5105 h 9895"/>
                <a:gd name="connsiteX71" fmla="*/ 9716 w 10000"/>
                <a:gd name="connsiteY71" fmla="*/ 5630 h 9895"/>
                <a:gd name="connsiteX72" fmla="*/ 9598 w 10000"/>
                <a:gd name="connsiteY72" fmla="*/ 5699 h 9895"/>
                <a:gd name="connsiteX73" fmla="*/ 9551 w 10000"/>
                <a:gd name="connsiteY73" fmla="*/ 5769 h 9895"/>
                <a:gd name="connsiteX74" fmla="*/ 9551 w 10000"/>
                <a:gd name="connsiteY74" fmla="*/ 5944 h 9895"/>
                <a:gd name="connsiteX75" fmla="*/ 9504 w 10000"/>
                <a:gd name="connsiteY75" fmla="*/ 5944 h 9895"/>
                <a:gd name="connsiteX76" fmla="*/ 9504 w 10000"/>
                <a:gd name="connsiteY76" fmla="*/ 6188 h 9895"/>
                <a:gd name="connsiteX77" fmla="*/ 9385 w 10000"/>
                <a:gd name="connsiteY77" fmla="*/ 6294 h 9895"/>
                <a:gd name="connsiteX78" fmla="*/ 9338 w 10000"/>
                <a:gd name="connsiteY78" fmla="*/ 6434 h 9895"/>
                <a:gd name="connsiteX79" fmla="*/ 9220 w 10000"/>
                <a:gd name="connsiteY79" fmla="*/ 6538 h 9895"/>
                <a:gd name="connsiteX80" fmla="*/ 9173 w 10000"/>
                <a:gd name="connsiteY80" fmla="*/ 6609 h 9895"/>
                <a:gd name="connsiteX81" fmla="*/ 9102 w 10000"/>
                <a:gd name="connsiteY81" fmla="*/ 6609 h 9895"/>
                <a:gd name="connsiteX82" fmla="*/ 9007 w 10000"/>
                <a:gd name="connsiteY82" fmla="*/ 6538 h 9895"/>
                <a:gd name="connsiteX83" fmla="*/ 9007 w 10000"/>
                <a:gd name="connsiteY83" fmla="*/ 6609 h 9895"/>
                <a:gd name="connsiteX84" fmla="*/ 8771 w 10000"/>
                <a:gd name="connsiteY84" fmla="*/ 6609 h 9895"/>
                <a:gd name="connsiteX85" fmla="*/ 8771 w 10000"/>
                <a:gd name="connsiteY85" fmla="*/ 6784 h 9895"/>
                <a:gd name="connsiteX86" fmla="*/ 8652 w 10000"/>
                <a:gd name="connsiteY86" fmla="*/ 6853 h 9895"/>
                <a:gd name="connsiteX87" fmla="*/ 8652 w 10000"/>
                <a:gd name="connsiteY87" fmla="*/ 7098 h 9895"/>
                <a:gd name="connsiteX88" fmla="*/ 5745 w 10000"/>
                <a:gd name="connsiteY88" fmla="*/ 8427 h 9895"/>
                <a:gd name="connsiteX0" fmla="*/ 5745 w 10000"/>
                <a:gd name="connsiteY0" fmla="*/ 8516 h 10000"/>
                <a:gd name="connsiteX1" fmla="*/ 2908 w 10000"/>
                <a:gd name="connsiteY1" fmla="*/ 9683 h 10000"/>
                <a:gd name="connsiteX2" fmla="*/ 1962 w 10000"/>
                <a:gd name="connsiteY2" fmla="*/ 10000 h 10000"/>
                <a:gd name="connsiteX3" fmla="*/ 1797 w 10000"/>
                <a:gd name="connsiteY3" fmla="*/ 10000 h 10000"/>
                <a:gd name="connsiteX4" fmla="*/ 733 w 10000"/>
                <a:gd name="connsiteY4" fmla="*/ 6502 h 10000"/>
                <a:gd name="connsiteX5" fmla="*/ 165 w 10000"/>
                <a:gd name="connsiteY5" fmla="*/ 3251 h 10000"/>
                <a:gd name="connsiteX6" fmla="*/ 0 w 10000"/>
                <a:gd name="connsiteY6" fmla="*/ 2261 h 10000"/>
                <a:gd name="connsiteX7" fmla="*/ 615 w 10000"/>
                <a:gd name="connsiteY7" fmla="*/ 1767 h 10000"/>
                <a:gd name="connsiteX8" fmla="*/ 1017 w 10000"/>
                <a:gd name="connsiteY8" fmla="*/ 1166 h 10000"/>
                <a:gd name="connsiteX9" fmla="*/ 1348 w 10000"/>
                <a:gd name="connsiteY9" fmla="*/ 2827 h 10000"/>
                <a:gd name="connsiteX10" fmla="*/ 1560 w 10000"/>
                <a:gd name="connsiteY10" fmla="*/ 2686 h 10000"/>
                <a:gd name="connsiteX11" fmla="*/ 1797 w 10000"/>
                <a:gd name="connsiteY11" fmla="*/ 2580 h 10000"/>
                <a:gd name="connsiteX12" fmla="*/ 1962 w 10000"/>
                <a:gd name="connsiteY12" fmla="*/ 2580 h 10000"/>
                <a:gd name="connsiteX13" fmla="*/ 2175 w 10000"/>
                <a:gd name="connsiteY13" fmla="*/ 2403 h 10000"/>
                <a:gd name="connsiteX14" fmla="*/ 2506 w 10000"/>
                <a:gd name="connsiteY14" fmla="*/ 2332 h 10000"/>
                <a:gd name="connsiteX15" fmla="*/ 3310 w 10000"/>
                <a:gd name="connsiteY15" fmla="*/ 2014 h 10000"/>
                <a:gd name="connsiteX16" fmla="*/ 3641 w 10000"/>
                <a:gd name="connsiteY16" fmla="*/ 1837 h 10000"/>
                <a:gd name="connsiteX17" fmla="*/ 4090 w 10000"/>
                <a:gd name="connsiteY17" fmla="*/ 1660 h 10000"/>
                <a:gd name="connsiteX18" fmla="*/ 4255 w 10000"/>
                <a:gd name="connsiteY18" fmla="*/ 1660 h 10000"/>
                <a:gd name="connsiteX19" fmla="*/ 4421 w 10000"/>
                <a:gd name="connsiteY19" fmla="*/ 1520 h 10000"/>
                <a:gd name="connsiteX20" fmla="*/ 4586 w 10000"/>
                <a:gd name="connsiteY20" fmla="*/ 1520 h 10000"/>
                <a:gd name="connsiteX21" fmla="*/ 4634 w 10000"/>
                <a:gd name="connsiteY21" fmla="*/ 1414 h 10000"/>
                <a:gd name="connsiteX22" fmla="*/ 4917 w 10000"/>
                <a:gd name="connsiteY22" fmla="*/ 1414 h 10000"/>
                <a:gd name="connsiteX23" fmla="*/ 4965 w 10000"/>
                <a:gd name="connsiteY23" fmla="*/ 1237 h 10000"/>
                <a:gd name="connsiteX24" fmla="*/ 5035 w 10000"/>
                <a:gd name="connsiteY24" fmla="*/ 1237 h 10000"/>
                <a:gd name="connsiteX25" fmla="*/ 5319 w 10000"/>
                <a:gd name="connsiteY25" fmla="*/ 1166 h 10000"/>
                <a:gd name="connsiteX26" fmla="*/ 5414 w 10000"/>
                <a:gd name="connsiteY26" fmla="*/ 1166 h 10000"/>
                <a:gd name="connsiteX27" fmla="*/ 5579 w 10000"/>
                <a:gd name="connsiteY27" fmla="*/ 989 h 10000"/>
                <a:gd name="connsiteX28" fmla="*/ 5697 w 10000"/>
                <a:gd name="connsiteY28" fmla="*/ 989 h 10000"/>
                <a:gd name="connsiteX29" fmla="*/ 5745 w 10000"/>
                <a:gd name="connsiteY29" fmla="*/ 919 h 10000"/>
                <a:gd name="connsiteX30" fmla="*/ 6265 w 10000"/>
                <a:gd name="connsiteY30" fmla="*/ 671 h 10000"/>
                <a:gd name="connsiteX31" fmla="*/ 6359 w 10000"/>
                <a:gd name="connsiteY31" fmla="*/ 671 h 10000"/>
                <a:gd name="connsiteX32" fmla="*/ 6478 w 10000"/>
                <a:gd name="connsiteY32" fmla="*/ 600 h 10000"/>
                <a:gd name="connsiteX33" fmla="*/ 6761 w 10000"/>
                <a:gd name="connsiteY33" fmla="*/ 423 h 10000"/>
                <a:gd name="connsiteX34" fmla="*/ 7872 w 10000"/>
                <a:gd name="connsiteY34" fmla="*/ 0 h 10000"/>
                <a:gd name="connsiteX35" fmla="*/ 7991 w 10000"/>
                <a:gd name="connsiteY35" fmla="*/ 0 h 10000"/>
                <a:gd name="connsiteX36" fmla="*/ 8038 w 10000"/>
                <a:gd name="connsiteY36" fmla="*/ 71 h 10000"/>
                <a:gd name="connsiteX37" fmla="*/ 8274 w 10000"/>
                <a:gd name="connsiteY37" fmla="*/ 248 h 10000"/>
                <a:gd name="connsiteX38" fmla="*/ 8392 w 10000"/>
                <a:gd name="connsiteY38" fmla="*/ 248 h 10000"/>
                <a:gd name="connsiteX39" fmla="*/ 8440 w 10000"/>
                <a:gd name="connsiteY39" fmla="*/ 317 h 10000"/>
                <a:gd name="connsiteX40" fmla="*/ 8558 w 10000"/>
                <a:gd name="connsiteY40" fmla="*/ 423 h 10000"/>
                <a:gd name="connsiteX41" fmla="*/ 8558 w 10000"/>
                <a:gd name="connsiteY41" fmla="*/ 600 h 10000"/>
                <a:gd name="connsiteX42" fmla="*/ 8605 w 10000"/>
                <a:gd name="connsiteY42" fmla="*/ 848 h 10000"/>
                <a:gd name="connsiteX43" fmla="*/ 8605 w 10000"/>
                <a:gd name="connsiteY43" fmla="*/ 919 h 10000"/>
                <a:gd name="connsiteX44" fmla="*/ 8652 w 10000"/>
                <a:gd name="connsiteY44" fmla="*/ 1166 h 10000"/>
                <a:gd name="connsiteX45" fmla="*/ 8771 w 10000"/>
                <a:gd name="connsiteY45" fmla="*/ 1166 h 10000"/>
                <a:gd name="connsiteX46" fmla="*/ 8771 w 10000"/>
                <a:gd name="connsiteY46" fmla="*/ 1237 h 10000"/>
                <a:gd name="connsiteX47" fmla="*/ 9173 w 10000"/>
                <a:gd name="connsiteY47" fmla="*/ 1237 h 10000"/>
                <a:gd name="connsiteX48" fmla="*/ 9338 w 10000"/>
                <a:gd name="connsiteY48" fmla="*/ 1414 h 10000"/>
                <a:gd name="connsiteX49" fmla="*/ 9338 w 10000"/>
                <a:gd name="connsiteY49" fmla="*/ 1520 h 10000"/>
                <a:gd name="connsiteX50" fmla="*/ 9220 w 10000"/>
                <a:gd name="connsiteY50" fmla="*/ 1520 h 10000"/>
                <a:gd name="connsiteX51" fmla="*/ 9173 w 10000"/>
                <a:gd name="connsiteY51" fmla="*/ 1660 h 10000"/>
                <a:gd name="connsiteX52" fmla="*/ 9173 w 10000"/>
                <a:gd name="connsiteY52" fmla="*/ 2084 h 10000"/>
                <a:gd name="connsiteX53" fmla="*/ 9102 w 10000"/>
                <a:gd name="connsiteY53" fmla="*/ 2403 h 10000"/>
                <a:gd name="connsiteX54" fmla="*/ 9007 w 10000"/>
                <a:gd name="connsiteY54" fmla="*/ 2686 h 10000"/>
                <a:gd name="connsiteX55" fmla="*/ 8936 w 10000"/>
                <a:gd name="connsiteY55" fmla="*/ 2827 h 10000"/>
                <a:gd name="connsiteX56" fmla="*/ 8936 w 10000"/>
                <a:gd name="connsiteY56" fmla="*/ 3074 h 10000"/>
                <a:gd name="connsiteX57" fmla="*/ 9007 w 10000"/>
                <a:gd name="connsiteY57" fmla="*/ 3074 h 10000"/>
                <a:gd name="connsiteX58" fmla="*/ 9102 w 10000"/>
                <a:gd name="connsiteY58" fmla="*/ 3180 h 10000"/>
                <a:gd name="connsiteX59" fmla="*/ 9102 w 10000"/>
                <a:gd name="connsiteY59" fmla="*/ 3251 h 10000"/>
                <a:gd name="connsiteX60" fmla="*/ 9007 w 10000"/>
                <a:gd name="connsiteY60" fmla="*/ 3499 h 10000"/>
                <a:gd name="connsiteX61" fmla="*/ 8936 w 10000"/>
                <a:gd name="connsiteY61" fmla="*/ 3676 h 10000"/>
                <a:gd name="connsiteX62" fmla="*/ 8936 w 10000"/>
                <a:gd name="connsiteY62" fmla="*/ 3852 h 10000"/>
                <a:gd name="connsiteX63" fmla="*/ 9007 w 10000"/>
                <a:gd name="connsiteY63" fmla="*/ 3993 h 10000"/>
                <a:gd name="connsiteX64" fmla="*/ 9102 w 10000"/>
                <a:gd name="connsiteY64" fmla="*/ 4241 h 10000"/>
                <a:gd name="connsiteX65" fmla="*/ 9220 w 10000"/>
                <a:gd name="connsiteY65" fmla="*/ 4347 h 10000"/>
                <a:gd name="connsiteX66" fmla="*/ 9385 w 10000"/>
                <a:gd name="connsiteY66" fmla="*/ 4593 h 10000"/>
                <a:gd name="connsiteX67" fmla="*/ 9716 w 10000"/>
                <a:gd name="connsiteY67" fmla="*/ 4841 h 10000"/>
                <a:gd name="connsiteX68" fmla="*/ 9882 w 10000"/>
                <a:gd name="connsiteY68" fmla="*/ 5088 h 10000"/>
                <a:gd name="connsiteX69" fmla="*/ 10000 w 10000"/>
                <a:gd name="connsiteY69" fmla="*/ 5159 h 10000"/>
                <a:gd name="connsiteX70" fmla="*/ 9716 w 10000"/>
                <a:gd name="connsiteY70" fmla="*/ 5690 h 10000"/>
                <a:gd name="connsiteX71" fmla="*/ 9598 w 10000"/>
                <a:gd name="connsiteY71" fmla="*/ 5759 h 10000"/>
                <a:gd name="connsiteX72" fmla="*/ 9551 w 10000"/>
                <a:gd name="connsiteY72" fmla="*/ 5830 h 10000"/>
                <a:gd name="connsiteX73" fmla="*/ 9551 w 10000"/>
                <a:gd name="connsiteY73" fmla="*/ 6007 h 10000"/>
                <a:gd name="connsiteX74" fmla="*/ 9504 w 10000"/>
                <a:gd name="connsiteY74" fmla="*/ 6007 h 10000"/>
                <a:gd name="connsiteX75" fmla="*/ 9504 w 10000"/>
                <a:gd name="connsiteY75" fmla="*/ 6254 h 10000"/>
                <a:gd name="connsiteX76" fmla="*/ 9385 w 10000"/>
                <a:gd name="connsiteY76" fmla="*/ 6361 h 10000"/>
                <a:gd name="connsiteX77" fmla="*/ 9338 w 10000"/>
                <a:gd name="connsiteY77" fmla="*/ 6502 h 10000"/>
                <a:gd name="connsiteX78" fmla="*/ 9220 w 10000"/>
                <a:gd name="connsiteY78" fmla="*/ 6607 h 10000"/>
                <a:gd name="connsiteX79" fmla="*/ 9173 w 10000"/>
                <a:gd name="connsiteY79" fmla="*/ 6679 h 10000"/>
                <a:gd name="connsiteX80" fmla="*/ 9102 w 10000"/>
                <a:gd name="connsiteY80" fmla="*/ 6679 h 10000"/>
                <a:gd name="connsiteX81" fmla="*/ 9007 w 10000"/>
                <a:gd name="connsiteY81" fmla="*/ 6607 h 10000"/>
                <a:gd name="connsiteX82" fmla="*/ 9007 w 10000"/>
                <a:gd name="connsiteY82" fmla="*/ 6679 h 10000"/>
                <a:gd name="connsiteX83" fmla="*/ 8771 w 10000"/>
                <a:gd name="connsiteY83" fmla="*/ 6679 h 10000"/>
                <a:gd name="connsiteX84" fmla="*/ 8771 w 10000"/>
                <a:gd name="connsiteY84" fmla="*/ 6856 h 10000"/>
                <a:gd name="connsiteX85" fmla="*/ 8652 w 10000"/>
                <a:gd name="connsiteY85" fmla="*/ 6926 h 10000"/>
                <a:gd name="connsiteX86" fmla="*/ 8652 w 10000"/>
                <a:gd name="connsiteY86" fmla="*/ 7173 h 10000"/>
                <a:gd name="connsiteX87" fmla="*/ 5745 w 10000"/>
                <a:gd name="connsiteY87" fmla="*/ 8516 h 10000"/>
                <a:gd name="connsiteX0" fmla="*/ 5745 w 10000"/>
                <a:gd name="connsiteY0" fmla="*/ 8516 h 10000"/>
                <a:gd name="connsiteX1" fmla="*/ 2908 w 10000"/>
                <a:gd name="connsiteY1" fmla="*/ 9683 h 10000"/>
                <a:gd name="connsiteX2" fmla="*/ 1962 w 10000"/>
                <a:gd name="connsiteY2" fmla="*/ 10000 h 10000"/>
                <a:gd name="connsiteX3" fmla="*/ 1797 w 10000"/>
                <a:gd name="connsiteY3" fmla="*/ 10000 h 10000"/>
                <a:gd name="connsiteX4" fmla="*/ 165 w 10000"/>
                <a:gd name="connsiteY4" fmla="*/ 3251 h 10000"/>
                <a:gd name="connsiteX5" fmla="*/ 0 w 10000"/>
                <a:gd name="connsiteY5" fmla="*/ 2261 h 10000"/>
                <a:gd name="connsiteX6" fmla="*/ 615 w 10000"/>
                <a:gd name="connsiteY6" fmla="*/ 1767 h 10000"/>
                <a:gd name="connsiteX7" fmla="*/ 1017 w 10000"/>
                <a:gd name="connsiteY7" fmla="*/ 1166 h 10000"/>
                <a:gd name="connsiteX8" fmla="*/ 1348 w 10000"/>
                <a:gd name="connsiteY8" fmla="*/ 2827 h 10000"/>
                <a:gd name="connsiteX9" fmla="*/ 1560 w 10000"/>
                <a:gd name="connsiteY9" fmla="*/ 2686 h 10000"/>
                <a:gd name="connsiteX10" fmla="*/ 1797 w 10000"/>
                <a:gd name="connsiteY10" fmla="*/ 2580 h 10000"/>
                <a:gd name="connsiteX11" fmla="*/ 1962 w 10000"/>
                <a:gd name="connsiteY11" fmla="*/ 2580 h 10000"/>
                <a:gd name="connsiteX12" fmla="*/ 2175 w 10000"/>
                <a:gd name="connsiteY12" fmla="*/ 2403 h 10000"/>
                <a:gd name="connsiteX13" fmla="*/ 2506 w 10000"/>
                <a:gd name="connsiteY13" fmla="*/ 2332 h 10000"/>
                <a:gd name="connsiteX14" fmla="*/ 3310 w 10000"/>
                <a:gd name="connsiteY14" fmla="*/ 2014 h 10000"/>
                <a:gd name="connsiteX15" fmla="*/ 3641 w 10000"/>
                <a:gd name="connsiteY15" fmla="*/ 1837 h 10000"/>
                <a:gd name="connsiteX16" fmla="*/ 4090 w 10000"/>
                <a:gd name="connsiteY16" fmla="*/ 1660 h 10000"/>
                <a:gd name="connsiteX17" fmla="*/ 4255 w 10000"/>
                <a:gd name="connsiteY17" fmla="*/ 1660 h 10000"/>
                <a:gd name="connsiteX18" fmla="*/ 4421 w 10000"/>
                <a:gd name="connsiteY18" fmla="*/ 1520 h 10000"/>
                <a:gd name="connsiteX19" fmla="*/ 4586 w 10000"/>
                <a:gd name="connsiteY19" fmla="*/ 1520 h 10000"/>
                <a:gd name="connsiteX20" fmla="*/ 4634 w 10000"/>
                <a:gd name="connsiteY20" fmla="*/ 1414 h 10000"/>
                <a:gd name="connsiteX21" fmla="*/ 4917 w 10000"/>
                <a:gd name="connsiteY21" fmla="*/ 1414 h 10000"/>
                <a:gd name="connsiteX22" fmla="*/ 4965 w 10000"/>
                <a:gd name="connsiteY22" fmla="*/ 1237 h 10000"/>
                <a:gd name="connsiteX23" fmla="*/ 5035 w 10000"/>
                <a:gd name="connsiteY23" fmla="*/ 1237 h 10000"/>
                <a:gd name="connsiteX24" fmla="*/ 5319 w 10000"/>
                <a:gd name="connsiteY24" fmla="*/ 1166 h 10000"/>
                <a:gd name="connsiteX25" fmla="*/ 5414 w 10000"/>
                <a:gd name="connsiteY25" fmla="*/ 1166 h 10000"/>
                <a:gd name="connsiteX26" fmla="*/ 5579 w 10000"/>
                <a:gd name="connsiteY26" fmla="*/ 989 h 10000"/>
                <a:gd name="connsiteX27" fmla="*/ 5697 w 10000"/>
                <a:gd name="connsiteY27" fmla="*/ 989 h 10000"/>
                <a:gd name="connsiteX28" fmla="*/ 5745 w 10000"/>
                <a:gd name="connsiteY28" fmla="*/ 919 h 10000"/>
                <a:gd name="connsiteX29" fmla="*/ 6265 w 10000"/>
                <a:gd name="connsiteY29" fmla="*/ 671 h 10000"/>
                <a:gd name="connsiteX30" fmla="*/ 6359 w 10000"/>
                <a:gd name="connsiteY30" fmla="*/ 671 h 10000"/>
                <a:gd name="connsiteX31" fmla="*/ 6478 w 10000"/>
                <a:gd name="connsiteY31" fmla="*/ 600 h 10000"/>
                <a:gd name="connsiteX32" fmla="*/ 6761 w 10000"/>
                <a:gd name="connsiteY32" fmla="*/ 423 h 10000"/>
                <a:gd name="connsiteX33" fmla="*/ 7872 w 10000"/>
                <a:gd name="connsiteY33" fmla="*/ 0 h 10000"/>
                <a:gd name="connsiteX34" fmla="*/ 7991 w 10000"/>
                <a:gd name="connsiteY34" fmla="*/ 0 h 10000"/>
                <a:gd name="connsiteX35" fmla="*/ 8038 w 10000"/>
                <a:gd name="connsiteY35" fmla="*/ 71 h 10000"/>
                <a:gd name="connsiteX36" fmla="*/ 8274 w 10000"/>
                <a:gd name="connsiteY36" fmla="*/ 248 h 10000"/>
                <a:gd name="connsiteX37" fmla="*/ 8392 w 10000"/>
                <a:gd name="connsiteY37" fmla="*/ 248 h 10000"/>
                <a:gd name="connsiteX38" fmla="*/ 8440 w 10000"/>
                <a:gd name="connsiteY38" fmla="*/ 317 h 10000"/>
                <a:gd name="connsiteX39" fmla="*/ 8558 w 10000"/>
                <a:gd name="connsiteY39" fmla="*/ 423 h 10000"/>
                <a:gd name="connsiteX40" fmla="*/ 8558 w 10000"/>
                <a:gd name="connsiteY40" fmla="*/ 600 h 10000"/>
                <a:gd name="connsiteX41" fmla="*/ 8605 w 10000"/>
                <a:gd name="connsiteY41" fmla="*/ 848 h 10000"/>
                <a:gd name="connsiteX42" fmla="*/ 8605 w 10000"/>
                <a:gd name="connsiteY42" fmla="*/ 919 h 10000"/>
                <a:gd name="connsiteX43" fmla="*/ 8652 w 10000"/>
                <a:gd name="connsiteY43" fmla="*/ 1166 h 10000"/>
                <a:gd name="connsiteX44" fmla="*/ 8771 w 10000"/>
                <a:gd name="connsiteY44" fmla="*/ 1166 h 10000"/>
                <a:gd name="connsiteX45" fmla="*/ 8771 w 10000"/>
                <a:gd name="connsiteY45" fmla="*/ 1237 h 10000"/>
                <a:gd name="connsiteX46" fmla="*/ 9173 w 10000"/>
                <a:gd name="connsiteY46" fmla="*/ 1237 h 10000"/>
                <a:gd name="connsiteX47" fmla="*/ 9338 w 10000"/>
                <a:gd name="connsiteY47" fmla="*/ 1414 h 10000"/>
                <a:gd name="connsiteX48" fmla="*/ 9338 w 10000"/>
                <a:gd name="connsiteY48" fmla="*/ 1520 h 10000"/>
                <a:gd name="connsiteX49" fmla="*/ 9220 w 10000"/>
                <a:gd name="connsiteY49" fmla="*/ 1520 h 10000"/>
                <a:gd name="connsiteX50" fmla="*/ 9173 w 10000"/>
                <a:gd name="connsiteY50" fmla="*/ 1660 h 10000"/>
                <a:gd name="connsiteX51" fmla="*/ 9173 w 10000"/>
                <a:gd name="connsiteY51" fmla="*/ 2084 h 10000"/>
                <a:gd name="connsiteX52" fmla="*/ 9102 w 10000"/>
                <a:gd name="connsiteY52" fmla="*/ 2403 h 10000"/>
                <a:gd name="connsiteX53" fmla="*/ 9007 w 10000"/>
                <a:gd name="connsiteY53" fmla="*/ 2686 h 10000"/>
                <a:gd name="connsiteX54" fmla="*/ 8936 w 10000"/>
                <a:gd name="connsiteY54" fmla="*/ 2827 h 10000"/>
                <a:gd name="connsiteX55" fmla="*/ 8936 w 10000"/>
                <a:gd name="connsiteY55" fmla="*/ 3074 h 10000"/>
                <a:gd name="connsiteX56" fmla="*/ 9007 w 10000"/>
                <a:gd name="connsiteY56" fmla="*/ 3074 h 10000"/>
                <a:gd name="connsiteX57" fmla="*/ 9102 w 10000"/>
                <a:gd name="connsiteY57" fmla="*/ 3180 h 10000"/>
                <a:gd name="connsiteX58" fmla="*/ 9102 w 10000"/>
                <a:gd name="connsiteY58" fmla="*/ 3251 h 10000"/>
                <a:gd name="connsiteX59" fmla="*/ 9007 w 10000"/>
                <a:gd name="connsiteY59" fmla="*/ 3499 h 10000"/>
                <a:gd name="connsiteX60" fmla="*/ 8936 w 10000"/>
                <a:gd name="connsiteY60" fmla="*/ 3676 h 10000"/>
                <a:gd name="connsiteX61" fmla="*/ 8936 w 10000"/>
                <a:gd name="connsiteY61" fmla="*/ 3852 h 10000"/>
                <a:gd name="connsiteX62" fmla="*/ 9007 w 10000"/>
                <a:gd name="connsiteY62" fmla="*/ 3993 h 10000"/>
                <a:gd name="connsiteX63" fmla="*/ 9102 w 10000"/>
                <a:gd name="connsiteY63" fmla="*/ 4241 h 10000"/>
                <a:gd name="connsiteX64" fmla="*/ 9220 w 10000"/>
                <a:gd name="connsiteY64" fmla="*/ 4347 h 10000"/>
                <a:gd name="connsiteX65" fmla="*/ 9385 w 10000"/>
                <a:gd name="connsiteY65" fmla="*/ 4593 h 10000"/>
                <a:gd name="connsiteX66" fmla="*/ 9716 w 10000"/>
                <a:gd name="connsiteY66" fmla="*/ 4841 h 10000"/>
                <a:gd name="connsiteX67" fmla="*/ 9882 w 10000"/>
                <a:gd name="connsiteY67" fmla="*/ 5088 h 10000"/>
                <a:gd name="connsiteX68" fmla="*/ 10000 w 10000"/>
                <a:gd name="connsiteY68" fmla="*/ 5159 h 10000"/>
                <a:gd name="connsiteX69" fmla="*/ 9716 w 10000"/>
                <a:gd name="connsiteY69" fmla="*/ 5690 h 10000"/>
                <a:gd name="connsiteX70" fmla="*/ 9598 w 10000"/>
                <a:gd name="connsiteY70" fmla="*/ 5759 h 10000"/>
                <a:gd name="connsiteX71" fmla="*/ 9551 w 10000"/>
                <a:gd name="connsiteY71" fmla="*/ 5830 h 10000"/>
                <a:gd name="connsiteX72" fmla="*/ 9551 w 10000"/>
                <a:gd name="connsiteY72" fmla="*/ 6007 h 10000"/>
                <a:gd name="connsiteX73" fmla="*/ 9504 w 10000"/>
                <a:gd name="connsiteY73" fmla="*/ 6007 h 10000"/>
                <a:gd name="connsiteX74" fmla="*/ 9504 w 10000"/>
                <a:gd name="connsiteY74" fmla="*/ 6254 h 10000"/>
                <a:gd name="connsiteX75" fmla="*/ 9385 w 10000"/>
                <a:gd name="connsiteY75" fmla="*/ 6361 h 10000"/>
                <a:gd name="connsiteX76" fmla="*/ 9338 w 10000"/>
                <a:gd name="connsiteY76" fmla="*/ 6502 h 10000"/>
                <a:gd name="connsiteX77" fmla="*/ 9220 w 10000"/>
                <a:gd name="connsiteY77" fmla="*/ 6607 h 10000"/>
                <a:gd name="connsiteX78" fmla="*/ 9173 w 10000"/>
                <a:gd name="connsiteY78" fmla="*/ 6679 h 10000"/>
                <a:gd name="connsiteX79" fmla="*/ 9102 w 10000"/>
                <a:gd name="connsiteY79" fmla="*/ 6679 h 10000"/>
                <a:gd name="connsiteX80" fmla="*/ 9007 w 10000"/>
                <a:gd name="connsiteY80" fmla="*/ 6607 h 10000"/>
                <a:gd name="connsiteX81" fmla="*/ 9007 w 10000"/>
                <a:gd name="connsiteY81" fmla="*/ 6679 h 10000"/>
                <a:gd name="connsiteX82" fmla="*/ 8771 w 10000"/>
                <a:gd name="connsiteY82" fmla="*/ 6679 h 10000"/>
                <a:gd name="connsiteX83" fmla="*/ 8771 w 10000"/>
                <a:gd name="connsiteY83" fmla="*/ 6856 h 10000"/>
                <a:gd name="connsiteX84" fmla="*/ 8652 w 10000"/>
                <a:gd name="connsiteY84" fmla="*/ 6926 h 10000"/>
                <a:gd name="connsiteX85" fmla="*/ 8652 w 10000"/>
                <a:gd name="connsiteY85" fmla="*/ 7173 h 10000"/>
                <a:gd name="connsiteX86" fmla="*/ 5745 w 10000"/>
                <a:gd name="connsiteY86" fmla="*/ 8516 h 10000"/>
                <a:gd name="connsiteX0" fmla="*/ 5745 w 10000"/>
                <a:gd name="connsiteY0" fmla="*/ 8516 h 10000"/>
                <a:gd name="connsiteX1" fmla="*/ 2908 w 10000"/>
                <a:gd name="connsiteY1" fmla="*/ 9683 h 10000"/>
                <a:gd name="connsiteX2" fmla="*/ 1962 w 10000"/>
                <a:gd name="connsiteY2" fmla="*/ 10000 h 10000"/>
                <a:gd name="connsiteX3" fmla="*/ 1797 w 10000"/>
                <a:gd name="connsiteY3" fmla="*/ 10000 h 10000"/>
                <a:gd name="connsiteX4" fmla="*/ 0 w 10000"/>
                <a:gd name="connsiteY4" fmla="*/ 2261 h 10000"/>
                <a:gd name="connsiteX5" fmla="*/ 615 w 10000"/>
                <a:gd name="connsiteY5" fmla="*/ 1767 h 10000"/>
                <a:gd name="connsiteX6" fmla="*/ 1017 w 10000"/>
                <a:gd name="connsiteY6" fmla="*/ 1166 h 10000"/>
                <a:gd name="connsiteX7" fmla="*/ 1348 w 10000"/>
                <a:gd name="connsiteY7" fmla="*/ 2827 h 10000"/>
                <a:gd name="connsiteX8" fmla="*/ 1560 w 10000"/>
                <a:gd name="connsiteY8" fmla="*/ 2686 h 10000"/>
                <a:gd name="connsiteX9" fmla="*/ 1797 w 10000"/>
                <a:gd name="connsiteY9" fmla="*/ 2580 h 10000"/>
                <a:gd name="connsiteX10" fmla="*/ 1962 w 10000"/>
                <a:gd name="connsiteY10" fmla="*/ 2580 h 10000"/>
                <a:gd name="connsiteX11" fmla="*/ 2175 w 10000"/>
                <a:gd name="connsiteY11" fmla="*/ 2403 h 10000"/>
                <a:gd name="connsiteX12" fmla="*/ 2506 w 10000"/>
                <a:gd name="connsiteY12" fmla="*/ 2332 h 10000"/>
                <a:gd name="connsiteX13" fmla="*/ 3310 w 10000"/>
                <a:gd name="connsiteY13" fmla="*/ 2014 h 10000"/>
                <a:gd name="connsiteX14" fmla="*/ 3641 w 10000"/>
                <a:gd name="connsiteY14" fmla="*/ 1837 h 10000"/>
                <a:gd name="connsiteX15" fmla="*/ 4090 w 10000"/>
                <a:gd name="connsiteY15" fmla="*/ 1660 h 10000"/>
                <a:gd name="connsiteX16" fmla="*/ 4255 w 10000"/>
                <a:gd name="connsiteY16" fmla="*/ 1660 h 10000"/>
                <a:gd name="connsiteX17" fmla="*/ 4421 w 10000"/>
                <a:gd name="connsiteY17" fmla="*/ 1520 h 10000"/>
                <a:gd name="connsiteX18" fmla="*/ 4586 w 10000"/>
                <a:gd name="connsiteY18" fmla="*/ 1520 h 10000"/>
                <a:gd name="connsiteX19" fmla="*/ 4634 w 10000"/>
                <a:gd name="connsiteY19" fmla="*/ 1414 h 10000"/>
                <a:gd name="connsiteX20" fmla="*/ 4917 w 10000"/>
                <a:gd name="connsiteY20" fmla="*/ 1414 h 10000"/>
                <a:gd name="connsiteX21" fmla="*/ 4965 w 10000"/>
                <a:gd name="connsiteY21" fmla="*/ 1237 h 10000"/>
                <a:gd name="connsiteX22" fmla="*/ 5035 w 10000"/>
                <a:gd name="connsiteY22" fmla="*/ 1237 h 10000"/>
                <a:gd name="connsiteX23" fmla="*/ 5319 w 10000"/>
                <a:gd name="connsiteY23" fmla="*/ 1166 h 10000"/>
                <a:gd name="connsiteX24" fmla="*/ 5414 w 10000"/>
                <a:gd name="connsiteY24" fmla="*/ 1166 h 10000"/>
                <a:gd name="connsiteX25" fmla="*/ 5579 w 10000"/>
                <a:gd name="connsiteY25" fmla="*/ 989 h 10000"/>
                <a:gd name="connsiteX26" fmla="*/ 5697 w 10000"/>
                <a:gd name="connsiteY26" fmla="*/ 989 h 10000"/>
                <a:gd name="connsiteX27" fmla="*/ 5745 w 10000"/>
                <a:gd name="connsiteY27" fmla="*/ 919 h 10000"/>
                <a:gd name="connsiteX28" fmla="*/ 6265 w 10000"/>
                <a:gd name="connsiteY28" fmla="*/ 671 h 10000"/>
                <a:gd name="connsiteX29" fmla="*/ 6359 w 10000"/>
                <a:gd name="connsiteY29" fmla="*/ 671 h 10000"/>
                <a:gd name="connsiteX30" fmla="*/ 6478 w 10000"/>
                <a:gd name="connsiteY30" fmla="*/ 600 h 10000"/>
                <a:gd name="connsiteX31" fmla="*/ 6761 w 10000"/>
                <a:gd name="connsiteY31" fmla="*/ 423 h 10000"/>
                <a:gd name="connsiteX32" fmla="*/ 7872 w 10000"/>
                <a:gd name="connsiteY32" fmla="*/ 0 h 10000"/>
                <a:gd name="connsiteX33" fmla="*/ 7991 w 10000"/>
                <a:gd name="connsiteY33" fmla="*/ 0 h 10000"/>
                <a:gd name="connsiteX34" fmla="*/ 8038 w 10000"/>
                <a:gd name="connsiteY34" fmla="*/ 71 h 10000"/>
                <a:gd name="connsiteX35" fmla="*/ 8274 w 10000"/>
                <a:gd name="connsiteY35" fmla="*/ 248 h 10000"/>
                <a:gd name="connsiteX36" fmla="*/ 8392 w 10000"/>
                <a:gd name="connsiteY36" fmla="*/ 248 h 10000"/>
                <a:gd name="connsiteX37" fmla="*/ 8440 w 10000"/>
                <a:gd name="connsiteY37" fmla="*/ 317 h 10000"/>
                <a:gd name="connsiteX38" fmla="*/ 8558 w 10000"/>
                <a:gd name="connsiteY38" fmla="*/ 423 h 10000"/>
                <a:gd name="connsiteX39" fmla="*/ 8558 w 10000"/>
                <a:gd name="connsiteY39" fmla="*/ 600 h 10000"/>
                <a:gd name="connsiteX40" fmla="*/ 8605 w 10000"/>
                <a:gd name="connsiteY40" fmla="*/ 848 h 10000"/>
                <a:gd name="connsiteX41" fmla="*/ 8605 w 10000"/>
                <a:gd name="connsiteY41" fmla="*/ 919 h 10000"/>
                <a:gd name="connsiteX42" fmla="*/ 8652 w 10000"/>
                <a:gd name="connsiteY42" fmla="*/ 1166 h 10000"/>
                <a:gd name="connsiteX43" fmla="*/ 8771 w 10000"/>
                <a:gd name="connsiteY43" fmla="*/ 1166 h 10000"/>
                <a:gd name="connsiteX44" fmla="*/ 8771 w 10000"/>
                <a:gd name="connsiteY44" fmla="*/ 1237 h 10000"/>
                <a:gd name="connsiteX45" fmla="*/ 9173 w 10000"/>
                <a:gd name="connsiteY45" fmla="*/ 1237 h 10000"/>
                <a:gd name="connsiteX46" fmla="*/ 9338 w 10000"/>
                <a:gd name="connsiteY46" fmla="*/ 1414 h 10000"/>
                <a:gd name="connsiteX47" fmla="*/ 9338 w 10000"/>
                <a:gd name="connsiteY47" fmla="*/ 1520 h 10000"/>
                <a:gd name="connsiteX48" fmla="*/ 9220 w 10000"/>
                <a:gd name="connsiteY48" fmla="*/ 1520 h 10000"/>
                <a:gd name="connsiteX49" fmla="*/ 9173 w 10000"/>
                <a:gd name="connsiteY49" fmla="*/ 1660 h 10000"/>
                <a:gd name="connsiteX50" fmla="*/ 9173 w 10000"/>
                <a:gd name="connsiteY50" fmla="*/ 2084 h 10000"/>
                <a:gd name="connsiteX51" fmla="*/ 9102 w 10000"/>
                <a:gd name="connsiteY51" fmla="*/ 2403 h 10000"/>
                <a:gd name="connsiteX52" fmla="*/ 9007 w 10000"/>
                <a:gd name="connsiteY52" fmla="*/ 2686 h 10000"/>
                <a:gd name="connsiteX53" fmla="*/ 8936 w 10000"/>
                <a:gd name="connsiteY53" fmla="*/ 2827 h 10000"/>
                <a:gd name="connsiteX54" fmla="*/ 8936 w 10000"/>
                <a:gd name="connsiteY54" fmla="*/ 3074 h 10000"/>
                <a:gd name="connsiteX55" fmla="*/ 9007 w 10000"/>
                <a:gd name="connsiteY55" fmla="*/ 3074 h 10000"/>
                <a:gd name="connsiteX56" fmla="*/ 9102 w 10000"/>
                <a:gd name="connsiteY56" fmla="*/ 3180 h 10000"/>
                <a:gd name="connsiteX57" fmla="*/ 9102 w 10000"/>
                <a:gd name="connsiteY57" fmla="*/ 3251 h 10000"/>
                <a:gd name="connsiteX58" fmla="*/ 9007 w 10000"/>
                <a:gd name="connsiteY58" fmla="*/ 3499 h 10000"/>
                <a:gd name="connsiteX59" fmla="*/ 8936 w 10000"/>
                <a:gd name="connsiteY59" fmla="*/ 3676 h 10000"/>
                <a:gd name="connsiteX60" fmla="*/ 8936 w 10000"/>
                <a:gd name="connsiteY60" fmla="*/ 3852 h 10000"/>
                <a:gd name="connsiteX61" fmla="*/ 9007 w 10000"/>
                <a:gd name="connsiteY61" fmla="*/ 3993 h 10000"/>
                <a:gd name="connsiteX62" fmla="*/ 9102 w 10000"/>
                <a:gd name="connsiteY62" fmla="*/ 4241 h 10000"/>
                <a:gd name="connsiteX63" fmla="*/ 9220 w 10000"/>
                <a:gd name="connsiteY63" fmla="*/ 4347 h 10000"/>
                <a:gd name="connsiteX64" fmla="*/ 9385 w 10000"/>
                <a:gd name="connsiteY64" fmla="*/ 4593 h 10000"/>
                <a:gd name="connsiteX65" fmla="*/ 9716 w 10000"/>
                <a:gd name="connsiteY65" fmla="*/ 4841 h 10000"/>
                <a:gd name="connsiteX66" fmla="*/ 9882 w 10000"/>
                <a:gd name="connsiteY66" fmla="*/ 5088 h 10000"/>
                <a:gd name="connsiteX67" fmla="*/ 10000 w 10000"/>
                <a:gd name="connsiteY67" fmla="*/ 5159 h 10000"/>
                <a:gd name="connsiteX68" fmla="*/ 9716 w 10000"/>
                <a:gd name="connsiteY68" fmla="*/ 5690 h 10000"/>
                <a:gd name="connsiteX69" fmla="*/ 9598 w 10000"/>
                <a:gd name="connsiteY69" fmla="*/ 5759 h 10000"/>
                <a:gd name="connsiteX70" fmla="*/ 9551 w 10000"/>
                <a:gd name="connsiteY70" fmla="*/ 5830 h 10000"/>
                <a:gd name="connsiteX71" fmla="*/ 9551 w 10000"/>
                <a:gd name="connsiteY71" fmla="*/ 6007 h 10000"/>
                <a:gd name="connsiteX72" fmla="*/ 9504 w 10000"/>
                <a:gd name="connsiteY72" fmla="*/ 6007 h 10000"/>
                <a:gd name="connsiteX73" fmla="*/ 9504 w 10000"/>
                <a:gd name="connsiteY73" fmla="*/ 6254 h 10000"/>
                <a:gd name="connsiteX74" fmla="*/ 9385 w 10000"/>
                <a:gd name="connsiteY74" fmla="*/ 6361 h 10000"/>
                <a:gd name="connsiteX75" fmla="*/ 9338 w 10000"/>
                <a:gd name="connsiteY75" fmla="*/ 6502 h 10000"/>
                <a:gd name="connsiteX76" fmla="*/ 9220 w 10000"/>
                <a:gd name="connsiteY76" fmla="*/ 6607 h 10000"/>
                <a:gd name="connsiteX77" fmla="*/ 9173 w 10000"/>
                <a:gd name="connsiteY77" fmla="*/ 6679 h 10000"/>
                <a:gd name="connsiteX78" fmla="*/ 9102 w 10000"/>
                <a:gd name="connsiteY78" fmla="*/ 6679 h 10000"/>
                <a:gd name="connsiteX79" fmla="*/ 9007 w 10000"/>
                <a:gd name="connsiteY79" fmla="*/ 6607 h 10000"/>
                <a:gd name="connsiteX80" fmla="*/ 9007 w 10000"/>
                <a:gd name="connsiteY80" fmla="*/ 6679 h 10000"/>
                <a:gd name="connsiteX81" fmla="*/ 8771 w 10000"/>
                <a:gd name="connsiteY81" fmla="*/ 6679 h 10000"/>
                <a:gd name="connsiteX82" fmla="*/ 8771 w 10000"/>
                <a:gd name="connsiteY82" fmla="*/ 6856 h 10000"/>
                <a:gd name="connsiteX83" fmla="*/ 8652 w 10000"/>
                <a:gd name="connsiteY83" fmla="*/ 6926 h 10000"/>
                <a:gd name="connsiteX84" fmla="*/ 8652 w 10000"/>
                <a:gd name="connsiteY84" fmla="*/ 7173 h 10000"/>
                <a:gd name="connsiteX85" fmla="*/ 5745 w 10000"/>
                <a:gd name="connsiteY85" fmla="*/ 8516 h 10000"/>
                <a:gd name="connsiteX0" fmla="*/ 5130 w 9385"/>
                <a:gd name="connsiteY0" fmla="*/ 8516 h 10000"/>
                <a:gd name="connsiteX1" fmla="*/ 2293 w 9385"/>
                <a:gd name="connsiteY1" fmla="*/ 9683 h 10000"/>
                <a:gd name="connsiteX2" fmla="*/ 1347 w 9385"/>
                <a:gd name="connsiteY2" fmla="*/ 10000 h 10000"/>
                <a:gd name="connsiteX3" fmla="*/ 1182 w 9385"/>
                <a:gd name="connsiteY3" fmla="*/ 10000 h 10000"/>
                <a:gd name="connsiteX4" fmla="*/ 0 w 9385"/>
                <a:gd name="connsiteY4" fmla="*/ 1767 h 10000"/>
                <a:gd name="connsiteX5" fmla="*/ 402 w 9385"/>
                <a:gd name="connsiteY5" fmla="*/ 1166 h 10000"/>
                <a:gd name="connsiteX6" fmla="*/ 733 w 9385"/>
                <a:gd name="connsiteY6" fmla="*/ 2827 h 10000"/>
                <a:gd name="connsiteX7" fmla="*/ 945 w 9385"/>
                <a:gd name="connsiteY7" fmla="*/ 2686 h 10000"/>
                <a:gd name="connsiteX8" fmla="*/ 1182 w 9385"/>
                <a:gd name="connsiteY8" fmla="*/ 2580 h 10000"/>
                <a:gd name="connsiteX9" fmla="*/ 1347 w 9385"/>
                <a:gd name="connsiteY9" fmla="*/ 2580 h 10000"/>
                <a:gd name="connsiteX10" fmla="*/ 1560 w 9385"/>
                <a:gd name="connsiteY10" fmla="*/ 2403 h 10000"/>
                <a:gd name="connsiteX11" fmla="*/ 1891 w 9385"/>
                <a:gd name="connsiteY11" fmla="*/ 2332 h 10000"/>
                <a:gd name="connsiteX12" fmla="*/ 2695 w 9385"/>
                <a:gd name="connsiteY12" fmla="*/ 2014 h 10000"/>
                <a:gd name="connsiteX13" fmla="*/ 3026 w 9385"/>
                <a:gd name="connsiteY13" fmla="*/ 1837 h 10000"/>
                <a:gd name="connsiteX14" fmla="*/ 3475 w 9385"/>
                <a:gd name="connsiteY14" fmla="*/ 1660 h 10000"/>
                <a:gd name="connsiteX15" fmla="*/ 3640 w 9385"/>
                <a:gd name="connsiteY15" fmla="*/ 1660 h 10000"/>
                <a:gd name="connsiteX16" fmla="*/ 3806 w 9385"/>
                <a:gd name="connsiteY16" fmla="*/ 1520 h 10000"/>
                <a:gd name="connsiteX17" fmla="*/ 3971 w 9385"/>
                <a:gd name="connsiteY17" fmla="*/ 1520 h 10000"/>
                <a:gd name="connsiteX18" fmla="*/ 4019 w 9385"/>
                <a:gd name="connsiteY18" fmla="*/ 1414 h 10000"/>
                <a:gd name="connsiteX19" fmla="*/ 4302 w 9385"/>
                <a:gd name="connsiteY19" fmla="*/ 1414 h 10000"/>
                <a:gd name="connsiteX20" fmla="*/ 4350 w 9385"/>
                <a:gd name="connsiteY20" fmla="*/ 1237 h 10000"/>
                <a:gd name="connsiteX21" fmla="*/ 4420 w 9385"/>
                <a:gd name="connsiteY21" fmla="*/ 1237 h 10000"/>
                <a:gd name="connsiteX22" fmla="*/ 4704 w 9385"/>
                <a:gd name="connsiteY22" fmla="*/ 1166 h 10000"/>
                <a:gd name="connsiteX23" fmla="*/ 4799 w 9385"/>
                <a:gd name="connsiteY23" fmla="*/ 1166 h 10000"/>
                <a:gd name="connsiteX24" fmla="*/ 4964 w 9385"/>
                <a:gd name="connsiteY24" fmla="*/ 989 h 10000"/>
                <a:gd name="connsiteX25" fmla="*/ 5082 w 9385"/>
                <a:gd name="connsiteY25" fmla="*/ 989 h 10000"/>
                <a:gd name="connsiteX26" fmla="*/ 5130 w 9385"/>
                <a:gd name="connsiteY26" fmla="*/ 919 h 10000"/>
                <a:gd name="connsiteX27" fmla="*/ 5650 w 9385"/>
                <a:gd name="connsiteY27" fmla="*/ 671 h 10000"/>
                <a:gd name="connsiteX28" fmla="*/ 5744 w 9385"/>
                <a:gd name="connsiteY28" fmla="*/ 671 h 10000"/>
                <a:gd name="connsiteX29" fmla="*/ 5863 w 9385"/>
                <a:gd name="connsiteY29" fmla="*/ 600 h 10000"/>
                <a:gd name="connsiteX30" fmla="*/ 6146 w 9385"/>
                <a:gd name="connsiteY30" fmla="*/ 423 h 10000"/>
                <a:gd name="connsiteX31" fmla="*/ 7257 w 9385"/>
                <a:gd name="connsiteY31" fmla="*/ 0 h 10000"/>
                <a:gd name="connsiteX32" fmla="*/ 7376 w 9385"/>
                <a:gd name="connsiteY32" fmla="*/ 0 h 10000"/>
                <a:gd name="connsiteX33" fmla="*/ 7423 w 9385"/>
                <a:gd name="connsiteY33" fmla="*/ 71 h 10000"/>
                <a:gd name="connsiteX34" fmla="*/ 7659 w 9385"/>
                <a:gd name="connsiteY34" fmla="*/ 248 h 10000"/>
                <a:gd name="connsiteX35" fmla="*/ 7777 w 9385"/>
                <a:gd name="connsiteY35" fmla="*/ 248 h 10000"/>
                <a:gd name="connsiteX36" fmla="*/ 7825 w 9385"/>
                <a:gd name="connsiteY36" fmla="*/ 317 h 10000"/>
                <a:gd name="connsiteX37" fmla="*/ 7943 w 9385"/>
                <a:gd name="connsiteY37" fmla="*/ 423 h 10000"/>
                <a:gd name="connsiteX38" fmla="*/ 7943 w 9385"/>
                <a:gd name="connsiteY38" fmla="*/ 600 h 10000"/>
                <a:gd name="connsiteX39" fmla="*/ 7990 w 9385"/>
                <a:gd name="connsiteY39" fmla="*/ 848 h 10000"/>
                <a:gd name="connsiteX40" fmla="*/ 7990 w 9385"/>
                <a:gd name="connsiteY40" fmla="*/ 919 h 10000"/>
                <a:gd name="connsiteX41" fmla="*/ 8037 w 9385"/>
                <a:gd name="connsiteY41" fmla="*/ 1166 h 10000"/>
                <a:gd name="connsiteX42" fmla="*/ 8156 w 9385"/>
                <a:gd name="connsiteY42" fmla="*/ 1166 h 10000"/>
                <a:gd name="connsiteX43" fmla="*/ 8156 w 9385"/>
                <a:gd name="connsiteY43" fmla="*/ 1237 h 10000"/>
                <a:gd name="connsiteX44" fmla="*/ 8558 w 9385"/>
                <a:gd name="connsiteY44" fmla="*/ 1237 h 10000"/>
                <a:gd name="connsiteX45" fmla="*/ 8723 w 9385"/>
                <a:gd name="connsiteY45" fmla="*/ 1414 h 10000"/>
                <a:gd name="connsiteX46" fmla="*/ 8723 w 9385"/>
                <a:gd name="connsiteY46" fmla="*/ 1520 h 10000"/>
                <a:gd name="connsiteX47" fmla="*/ 8605 w 9385"/>
                <a:gd name="connsiteY47" fmla="*/ 1520 h 10000"/>
                <a:gd name="connsiteX48" fmla="*/ 8558 w 9385"/>
                <a:gd name="connsiteY48" fmla="*/ 1660 h 10000"/>
                <a:gd name="connsiteX49" fmla="*/ 8558 w 9385"/>
                <a:gd name="connsiteY49" fmla="*/ 2084 h 10000"/>
                <a:gd name="connsiteX50" fmla="*/ 8487 w 9385"/>
                <a:gd name="connsiteY50" fmla="*/ 2403 h 10000"/>
                <a:gd name="connsiteX51" fmla="*/ 8392 w 9385"/>
                <a:gd name="connsiteY51" fmla="*/ 2686 h 10000"/>
                <a:gd name="connsiteX52" fmla="*/ 8321 w 9385"/>
                <a:gd name="connsiteY52" fmla="*/ 2827 h 10000"/>
                <a:gd name="connsiteX53" fmla="*/ 8321 w 9385"/>
                <a:gd name="connsiteY53" fmla="*/ 3074 h 10000"/>
                <a:gd name="connsiteX54" fmla="*/ 8392 w 9385"/>
                <a:gd name="connsiteY54" fmla="*/ 3074 h 10000"/>
                <a:gd name="connsiteX55" fmla="*/ 8487 w 9385"/>
                <a:gd name="connsiteY55" fmla="*/ 3180 h 10000"/>
                <a:gd name="connsiteX56" fmla="*/ 8487 w 9385"/>
                <a:gd name="connsiteY56" fmla="*/ 3251 h 10000"/>
                <a:gd name="connsiteX57" fmla="*/ 8392 w 9385"/>
                <a:gd name="connsiteY57" fmla="*/ 3499 h 10000"/>
                <a:gd name="connsiteX58" fmla="*/ 8321 w 9385"/>
                <a:gd name="connsiteY58" fmla="*/ 3676 h 10000"/>
                <a:gd name="connsiteX59" fmla="*/ 8321 w 9385"/>
                <a:gd name="connsiteY59" fmla="*/ 3852 h 10000"/>
                <a:gd name="connsiteX60" fmla="*/ 8392 w 9385"/>
                <a:gd name="connsiteY60" fmla="*/ 3993 h 10000"/>
                <a:gd name="connsiteX61" fmla="*/ 8487 w 9385"/>
                <a:gd name="connsiteY61" fmla="*/ 4241 h 10000"/>
                <a:gd name="connsiteX62" fmla="*/ 8605 w 9385"/>
                <a:gd name="connsiteY62" fmla="*/ 4347 h 10000"/>
                <a:gd name="connsiteX63" fmla="*/ 8770 w 9385"/>
                <a:gd name="connsiteY63" fmla="*/ 4593 h 10000"/>
                <a:gd name="connsiteX64" fmla="*/ 9101 w 9385"/>
                <a:gd name="connsiteY64" fmla="*/ 4841 h 10000"/>
                <a:gd name="connsiteX65" fmla="*/ 9267 w 9385"/>
                <a:gd name="connsiteY65" fmla="*/ 5088 h 10000"/>
                <a:gd name="connsiteX66" fmla="*/ 9385 w 9385"/>
                <a:gd name="connsiteY66" fmla="*/ 5159 h 10000"/>
                <a:gd name="connsiteX67" fmla="*/ 9101 w 9385"/>
                <a:gd name="connsiteY67" fmla="*/ 5690 h 10000"/>
                <a:gd name="connsiteX68" fmla="*/ 8983 w 9385"/>
                <a:gd name="connsiteY68" fmla="*/ 5759 h 10000"/>
                <a:gd name="connsiteX69" fmla="*/ 8936 w 9385"/>
                <a:gd name="connsiteY69" fmla="*/ 5830 h 10000"/>
                <a:gd name="connsiteX70" fmla="*/ 8936 w 9385"/>
                <a:gd name="connsiteY70" fmla="*/ 6007 h 10000"/>
                <a:gd name="connsiteX71" fmla="*/ 8889 w 9385"/>
                <a:gd name="connsiteY71" fmla="*/ 6007 h 10000"/>
                <a:gd name="connsiteX72" fmla="*/ 8889 w 9385"/>
                <a:gd name="connsiteY72" fmla="*/ 6254 h 10000"/>
                <a:gd name="connsiteX73" fmla="*/ 8770 w 9385"/>
                <a:gd name="connsiteY73" fmla="*/ 6361 h 10000"/>
                <a:gd name="connsiteX74" fmla="*/ 8723 w 9385"/>
                <a:gd name="connsiteY74" fmla="*/ 6502 h 10000"/>
                <a:gd name="connsiteX75" fmla="*/ 8605 w 9385"/>
                <a:gd name="connsiteY75" fmla="*/ 6607 h 10000"/>
                <a:gd name="connsiteX76" fmla="*/ 8558 w 9385"/>
                <a:gd name="connsiteY76" fmla="*/ 6679 h 10000"/>
                <a:gd name="connsiteX77" fmla="*/ 8487 w 9385"/>
                <a:gd name="connsiteY77" fmla="*/ 6679 h 10000"/>
                <a:gd name="connsiteX78" fmla="*/ 8392 w 9385"/>
                <a:gd name="connsiteY78" fmla="*/ 6607 h 10000"/>
                <a:gd name="connsiteX79" fmla="*/ 8392 w 9385"/>
                <a:gd name="connsiteY79" fmla="*/ 6679 h 10000"/>
                <a:gd name="connsiteX80" fmla="*/ 8156 w 9385"/>
                <a:gd name="connsiteY80" fmla="*/ 6679 h 10000"/>
                <a:gd name="connsiteX81" fmla="*/ 8156 w 9385"/>
                <a:gd name="connsiteY81" fmla="*/ 6856 h 10000"/>
                <a:gd name="connsiteX82" fmla="*/ 8037 w 9385"/>
                <a:gd name="connsiteY82" fmla="*/ 6926 h 10000"/>
                <a:gd name="connsiteX83" fmla="*/ 8037 w 9385"/>
                <a:gd name="connsiteY83" fmla="*/ 7173 h 10000"/>
                <a:gd name="connsiteX84" fmla="*/ 5130 w 9385"/>
                <a:gd name="connsiteY84" fmla="*/ 8516 h 10000"/>
                <a:gd name="connsiteX0" fmla="*/ 5466 w 10000"/>
                <a:gd name="connsiteY0" fmla="*/ 8516 h 10000"/>
                <a:gd name="connsiteX1" fmla="*/ 2443 w 10000"/>
                <a:gd name="connsiteY1" fmla="*/ 9683 h 10000"/>
                <a:gd name="connsiteX2" fmla="*/ 1435 w 10000"/>
                <a:gd name="connsiteY2" fmla="*/ 10000 h 10000"/>
                <a:gd name="connsiteX3" fmla="*/ 1259 w 10000"/>
                <a:gd name="connsiteY3" fmla="*/ 10000 h 10000"/>
                <a:gd name="connsiteX4" fmla="*/ 0 w 10000"/>
                <a:gd name="connsiteY4" fmla="*/ 1767 h 10000"/>
                <a:gd name="connsiteX5" fmla="*/ 781 w 10000"/>
                <a:gd name="connsiteY5" fmla="*/ 2827 h 10000"/>
                <a:gd name="connsiteX6" fmla="*/ 1007 w 10000"/>
                <a:gd name="connsiteY6" fmla="*/ 2686 h 10000"/>
                <a:gd name="connsiteX7" fmla="*/ 1259 w 10000"/>
                <a:gd name="connsiteY7" fmla="*/ 2580 h 10000"/>
                <a:gd name="connsiteX8" fmla="*/ 1435 w 10000"/>
                <a:gd name="connsiteY8" fmla="*/ 2580 h 10000"/>
                <a:gd name="connsiteX9" fmla="*/ 1662 w 10000"/>
                <a:gd name="connsiteY9" fmla="*/ 2403 h 10000"/>
                <a:gd name="connsiteX10" fmla="*/ 2015 w 10000"/>
                <a:gd name="connsiteY10" fmla="*/ 2332 h 10000"/>
                <a:gd name="connsiteX11" fmla="*/ 2872 w 10000"/>
                <a:gd name="connsiteY11" fmla="*/ 2014 h 10000"/>
                <a:gd name="connsiteX12" fmla="*/ 3224 w 10000"/>
                <a:gd name="connsiteY12" fmla="*/ 1837 h 10000"/>
                <a:gd name="connsiteX13" fmla="*/ 3703 w 10000"/>
                <a:gd name="connsiteY13" fmla="*/ 1660 h 10000"/>
                <a:gd name="connsiteX14" fmla="*/ 3879 w 10000"/>
                <a:gd name="connsiteY14" fmla="*/ 1660 h 10000"/>
                <a:gd name="connsiteX15" fmla="*/ 4055 w 10000"/>
                <a:gd name="connsiteY15" fmla="*/ 1520 h 10000"/>
                <a:gd name="connsiteX16" fmla="*/ 4231 w 10000"/>
                <a:gd name="connsiteY16" fmla="*/ 1520 h 10000"/>
                <a:gd name="connsiteX17" fmla="*/ 4282 w 10000"/>
                <a:gd name="connsiteY17" fmla="*/ 1414 h 10000"/>
                <a:gd name="connsiteX18" fmla="*/ 4584 w 10000"/>
                <a:gd name="connsiteY18" fmla="*/ 1414 h 10000"/>
                <a:gd name="connsiteX19" fmla="*/ 4635 w 10000"/>
                <a:gd name="connsiteY19" fmla="*/ 1237 h 10000"/>
                <a:gd name="connsiteX20" fmla="*/ 4710 w 10000"/>
                <a:gd name="connsiteY20" fmla="*/ 1237 h 10000"/>
                <a:gd name="connsiteX21" fmla="*/ 5012 w 10000"/>
                <a:gd name="connsiteY21" fmla="*/ 1166 h 10000"/>
                <a:gd name="connsiteX22" fmla="*/ 5113 w 10000"/>
                <a:gd name="connsiteY22" fmla="*/ 1166 h 10000"/>
                <a:gd name="connsiteX23" fmla="*/ 5289 w 10000"/>
                <a:gd name="connsiteY23" fmla="*/ 989 h 10000"/>
                <a:gd name="connsiteX24" fmla="*/ 5415 w 10000"/>
                <a:gd name="connsiteY24" fmla="*/ 989 h 10000"/>
                <a:gd name="connsiteX25" fmla="*/ 5466 w 10000"/>
                <a:gd name="connsiteY25" fmla="*/ 919 h 10000"/>
                <a:gd name="connsiteX26" fmla="*/ 6020 w 10000"/>
                <a:gd name="connsiteY26" fmla="*/ 671 h 10000"/>
                <a:gd name="connsiteX27" fmla="*/ 6120 w 10000"/>
                <a:gd name="connsiteY27" fmla="*/ 671 h 10000"/>
                <a:gd name="connsiteX28" fmla="*/ 6247 w 10000"/>
                <a:gd name="connsiteY28" fmla="*/ 600 h 10000"/>
                <a:gd name="connsiteX29" fmla="*/ 6549 w 10000"/>
                <a:gd name="connsiteY29" fmla="*/ 423 h 10000"/>
                <a:gd name="connsiteX30" fmla="*/ 7733 w 10000"/>
                <a:gd name="connsiteY30" fmla="*/ 0 h 10000"/>
                <a:gd name="connsiteX31" fmla="*/ 7859 w 10000"/>
                <a:gd name="connsiteY31" fmla="*/ 0 h 10000"/>
                <a:gd name="connsiteX32" fmla="*/ 7909 w 10000"/>
                <a:gd name="connsiteY32" fmla="*/ 71 h 10000"/>
                <a:gd name="connsiteX33" fmla="*/ 8161 w 10000"/>
                <a:gd name="connsiteY33" fmla="*/ 248 h 10000"/>
                <a:gd name="connsiteX34" fmla="*/ 8287 w 10000"/>
                <a:gd name="connsiteY34" fmla="*/ 248 h 10000"/>
                <a:gd name="connsiteX35" fmla="*/ 8338 w 10000"/>
                <a:gd name="connsiteY35" fmla="*/ 317 h 10000"/>
                <a:gd name="connsiteX36" fmla="*/ 8464 w 10000"/>
                <a:gd name="connsiteY36" fmla="*/ 423 h 10000"/>
                <a:gd name="connsiteX37" fmla="*/ 8464 w 10000"/>
                <a:gd name="connsiteY37" fmla="*/ 600 h 10000"/>
                <a:gd name="connsiteX38" fmla="*/ 8514 w 10000"/>
                <a:gd name="connsiteY38" fmla="*/ 848 h 10000"/>
                <a:gd name="connsiteX39" fmla="*/ 8514 w 10000"/>
                <a:gd name="connsiteY39" fmla="*/ 919 h 10000"/>
                <a:gd name="connsiteX40" fmla="*/ 8564 w 10000"/>
                <a:gd name="connsiteY40" fmla="*/ 1166 h 10000"/>
                <a:gd name="connsiteX41" fmla="*/ 8690 w 10000"/>
                <a:gd name="connsiteY41" fmla="*/ 1166 h 10000"/>
                <a:gd name="connsiteX42" fmla="*/ 8690 w 10000"/>
                <a:gd name="connsiteY42" fmla="*/ 1237 h 10000"/>
                <a:gd name="connsiteX43" fmla="*/ 9119 w 10000"/>
                <a:gd name="connsiteY43" fmla="*/ 1237 h 10000"/>
                <a:gd name="connsiteX44" fmla="*/ 9295 w 10000"/>
                <a:gd name="connsiteY44" fmla="*/ 1414 h 10000"/>
                <a:gd name="connsiteX45" fmla="*/ 9295 w 10000"/>
                <a:gd name="connsiteY45" fmla="*/ 1520 h 10000"/>
                <a:gd name="connsiteX46" fmla="*/ 9169 w 10000"/>
                <a:gd name="connsiteY46" fmla="*/ 1520 h 10000"/>
                <a:gd name="connsiteX47" fmla="*/ 9119 w 10000"/>
                <a:gd name="connsiteY47" fmla="*/ 1660 h 10000"/>
                <a:gd name="connsiteX48" fmla="*/ 9119 w 10000"/>
                <a:gd name="connsiteY48" fmla="*/ 2084 h 10000"/>
                <a:gd name="connsiteX49" fmla="*/ 9043 w 10000"/>
                <a:gd name="connsiteY49" fmla="*/ 2403 h 10000"/>
                <a:gd name="connsiteX50" fmla="*/ 8942 w 10000"/>
                <a:gd name="connsiteY50" fmla="*/ 2686 h 10000"/>
                <a:gd name="connsiteX51" fmla="*/ 8866 w 10000"/>
                <a:gd name="connsiteY51" fmla="*/ 2827 h 10000"/>
                <a:gd name="connsiteX52" fmla="*/ 8866 w 10000"/>
                <a:gd name="connsiteY52" fmla="*/ 3074 h 10000"/>
                <a:gd name="connsiteX53" fmla="*/ 8942 w 10000"/>
                <a:gd name="connsiteY53" fmla="*/ 3074 h 10000"/>
                <a:gd name="connsiteX54" fmla="*/ 9043 w 10000"/>
                <a:gd name="connsiteY54" fmla="*/ 3180 h 10000"/>
                <a:gd name="connsiteX55" fmla="*/ 9043 w 10000"/>
                <a:gd name="connsiteY55" fmla="*/ 3251 h 10000"/>
                <a:gd name="connsiteX56" fmla="*/ 8942 w 10000"/>
                <a:gd name="connsiteY56" fmla="*/ 3499 h 10000"/>
                <a:gd name="connsiteX57" fmla="*/ 8866 w 10000"/>
                <a:gd name="connsiteY57" fmla="*/ 3676 h 10000"/>
                <a:gd name="connsiteX58" fmla="*/ 8866 w 10000"/>
                <a:gd name="connsiteY58" fmla="*/ 3852 h 10000"/>
                <a:gd name="connsiteX59" fmla="*/ 8942 w 10000"/>
                <a:gd name="connsiteY59" fmla="*/ 3993 h 10000"/>
                <a:gd name="connsiteX60" fmla="*/ 9043 w 10000"/>
                <a:gd name="connsiteY60" fmla="*/ 4241 h 10000"/>
                <a:gd name="connsiteX61" fmla="*/ 9169 w 10000"/>
                <a:gd name="connsiteY61" fmla="*/ 4347 h 10000"/>
                <a:gd name="connsiteX62" fmla="*/ 9345 w 10000"/>
                <a:gd name="connsiteY62" fmla="*/ 4593 h 10000"/>
                <a:gd name="connsiteX63" fmla="*/ 9697 w 10000"/>
                <a:gd name="connsiteY63" fmla="*/ 4841 h 10000"/>
                <a:gd name="connsiteX64" fmla="*/ 9874 w 10000"/>
                <a:gd name="connsiteY64" fmla="*/ 5088 h 10000"/>
                <a:gd name="connsiteX65" fmla="*/ 10000 w 10000"/>
                <a:gd name="connsiteY65" fmla="*/ 5159 h 10000"/>
                <a:gd name="connsiteX66" fmla="*/ 9697 w 10000"/>
                <a:gd name="connsiteY66" fmla="*/ 5690 h 10000"/>
                <a:gd name="connsiteX67" fmla="*/ 9572 w 10000"/>
                <a:gd name="connsiteY67" fmla="*/ 5759 h 10000"/>
                <a:gd name="connsiteX68" fmla="*/ 9522 w 10000"/>
                <a:gd name="connsiteY68" fmla="*/ 5830 h 10000"/>
                <a:gd name="connsiteX69" fmla="*/ 9522 w 10000"/>
                <a:gd name="connsiteY69" fmla="*/ 6007 h 10000"/>
                <a:gd name="connsiteX70" fmla="*/ 9471 w 10000"/>
                <a:gd name="connsiteY70" fmla="*/ 6007 h 10000"/>
                <a:gd name="connsiteX71" fmla="*/ 9471 w 10000"/>
                <a:gd name="connsiteY71" fmla="*/ 6254 h 10000"/>
                <a:gd name="connsiteX72" fmla="*/ 9345 w 10000"/>
                <a:gd name="connsiteY72" fmla="*/ 6361 h 10000"/>
                <a:gd name="connsiteX73" fmla="*/ 9295 w 10000"/>
                <a:gd name="connsiteY73" fmla="*/ 6502 h 10000"/>
                <a:gd name="connsiteX74" fmla="*/ 9169 w 10000"/>
                <a:gd name="connsiteY74" fmla="*/ 6607 h 10000"/>
                <a:gd name="connsiteX75" fmla="*/ 9119 w 10000"/>
                <a:gd name="connsiteY75" fmla="*/ 6679 h 10000"/>
                <a:gd name="connsiteX76" fmla="*/ 9043 w 10000"/>
                <a:gd name="connsiteY76" fmla="*/ 6679 h 10000"/>
                <a:gd name="connsiteX77" fmla="*/ 8942 w 10000"/>
                <a:gd name="connsiteY77" fmla="*/ 6607 h 10000"/>
                <a:gd name="connsiteX78" fmla="*/ 8942 w 10000"/>
                <a:gd name="connsiteY78" fmla="*/ 6679 h 10000"/>
                <a:gd name="connsiteX79" fmla="*/ 8690 w 10000"/>
                <a:gd name="connsiteY79" fmla="*/ 6679 h 10000"/>
                <a:gd name="connsiteX80" fmla="*/ 8690 w 10000"/>
                <a:gd name="connsiteY80" fmla="*/ 6856 h 10000"/>
                <a:gd name="connsiteX81" fmla="*/ 8564 w 10000"/>
                <a:gd name="connsiteY81" fmla="*/ 6926 h 10000"/>
                <a:gd name="connsiteX82" fmla="*/ 8564 w 10000"/>
                <a:gd name="connsiteY82" fmla="*/ 7173 h 10000"/>
                <a:gd name="connsiteX83" fmla="*/ 5466 w 10000"/>
                <a:gd name="connsiteY83" fmla="*/ 8516 h 10000"/>
                <a:gd name="connsiteX0" fmla="*/ 4685 w 9219"/>
                <a:gd name="connsiteY0" fmla="*/ 8516 h 10000"/>
                <a:gd name="connsiteX1" fmla="*/ 1662 w 9219"/>
                <a:gd name="connsiteY1" fmla="*/ 9683 h 10000"/>
                <a:gd name="connsiteX2" fmla="*/ 654 w 9219"/>
                <a:gd name="connsiteY2" fmla="*/ 10000 h 10000"/>
                <a:gd name="connsiteX3" fmla="*/ 478 w 9219"/>
                <a:gd name="connsiteY3" fmla="*/ 10000 h 10000"/>
                <a:gd name="connsiteX4" fmla="*/ 0 w 9219"/>
                <a:gd name="connsiteY4" fmla="*/ 2827 h 10000"/>
                <a:gd name="connsiteX5" fmla="*/ 226 w 9219"/>
                <a:gd name="connsiteY5" fmla="*/ 2686 h 10000"/>
                <a:gd name="connsiteX6" fmla="*/ 478 w 9219"/>
                <a:gd name="connsiteY6" fmla="*/ 2580 h 10000"/>
                <a:gd name="connsiteX7" fmla="*/ 654 w 9219"/>
                <a:gd name="connsiteY7" fmla="*/ 2580 h 10000"/>
                <a:gd name="connsiteX8" fmla="*/ 881 w 9219"/>
                <a:gd name="connsiteY8" fmla="*/ 2403 h 10000"/>
                <a:gd name="connsiteX9" fmla="*/ 1234 w 9219"/>
                <a:gd name="connsiteY9" fmla="*/ 2332 h 10000"/>
                <a:gd name="connsiteX10" fmla="*/ 2091 w 9219"/>
                <a:gd name="connsiteY10" fmla="*/ 2014 h 10000"/>
                <a:gd name="connsiteX11" fmla="*/ 2443 w 9219"/>
                <a:gd name="connsiteY11" fmla="*/ 1837 h 10000"/>
                <a:gd name="connsiteX12" fmla="*/ 2922 w 9219"/>
                <a:gd name="connsiteY12" fmla="*/ 1660 h 10000"/>
                <a:gd name="connsiteX13" fmla="*/ 3098 w 9219"/>
                <a:gd name="connsiteY13" fmla="*/ 1660 h 10000"/>
                <a:gd name="connsiteX14" fmla="*/ 3274 w 9219"/>
                <a:gd name="connsiteY14" fmla="*/ 1520 h 10000"/>
                <a:gd name="connsiteX15" fmla="*/ 3450 w 9219"/>
                <a:gd name="connsiteY15" fmla="*/ 1520 h 10000"/>
                <a:gd name="connsiteX16" fmla="*/ 3501 w 9219"/>
                <a:gd name="connsiteY16" fmla="*/ 1414 h 10000"/>
                <a:gd name="connsiteX17" fmla="*/ 3803 w 9219"/>
                <a:gd name="connsiteY17" fmla="*/ 1414 h 10000"/>
                <a:gd name="connsiteX18" fmla="*/ 3854 w 9219"/>
                <a:gd name="connsiteY18" fmla="*/ 1237 h 10000"/>
                <a:gd name="connsiteX19" fmla="*/ 3929 w 9219"/>
                <a:gd name="connsiteY19" fmla="*/ 1237 h 10000"/>
                <a:gd name="connsiteX20" fmla="*/ 4231 w 9219"/>
                <a:gd name="connsiteY20" fmla="*/ 1166 h 10000"/>
                <a:gd name="connsiteX21" fmla="*/ 4332 w 9219"/>
                <a:gd name="connsiteY21" fmla="*/ 1166 h 10000"/>
                <a:gd name="connsiteX22" fmla="*/ 4508 w 9219"/>
                <a:gd name="connsiteY22" fmla="*/ 989 h 10000"/>
                <a:gd name="connsiteX23" fmla="*/ 4634 w 9219"/>
                <a:gd name="connsiteY23" fmla="*/ 989 h 10000"/>
                <a:gd name="connsiteX24" fmla="*/ 4685 w 9219"/>
                <a:gd name="connsiteY24" fmla="*/ 919 h 10000"/>
                <a:gd name="connsiteX25" fmla="*/ 5239 w 9219"/>
                <a:gd name="connsiteY25" fmla="*/ 671 h 10000"/>
                <a:gd name="connsiteX26" fmla="*/ 5339 w 9219"/>
                <a:gd name="connsiteY26" fmla="*/ 671 h 10000"/>
                <a:gd name="connsiteX27" fmla="*/ 5466 w 9219"/>
                <a:gd name="connsiteY27" fmla="*/ 600 h 10000"/>
                <a:gd name="connsiteX28" fmla="*/ 5768 w 9219"/>
                <a:gd name="connsiteY28" fmla="*/ 423 h 10000"/>
                <a:gd name="connsiteX29" fmla="*/ 6952 w 9219"/>
                <a:gd name="connsiteY29" fmla="*/ 0 h 10000"/>
                <a:gd name="connsiteX30" fmla="*/ 7078 w 9219"/>
                <a:gd name="connsiteY30" fmla="*/ 0 h 10000"/>
                <a:gd name="connsiteX31" fmla="*/ 7128 w 9219"/>
                <a:gd name="connsiteY31" fmla="*/ 71 h 10000"/>
                <a:gd name="connsiteX32" fmla="*/ 7380 w 9219"/>
                <a:gd name="connsiteY32" fmla="*/ 248 h 10000"/>
                <a:gd name="connsiteX33" fmla="*/ 7506 w 9219"/>
                <a:gd name="connsiteY33" fmla="*/ 248 h 10000"/>
                <a:gd name="connsiteX34" fmla="*/ 7557 w 9219"/>
                <a:gd name="connsiteY34" fmla="*/ 317 h 10000"/>
                <a:gd name="connsiteX35" fmla="*/ 7683 w 9219"/>
                <a:gd name="connsiteY35" fmla="*/ 423 h 10000"/>
                <a:gd name="connsiteX36" fmla="*/ 7683 w 9219"/>
                <a:gd name="connsiteY36" fmla="*/ 600 h 10000"/>
                <a:gd name="connsiteX37" fmla="*/ 7733 w 9219"/>
                <a:gd name="connsiteY37" fmla="*/ 848 h 10000"/>
                <a:gd name="connsiteX38" fmla="*/ 7733 w 9219"/>
                <a:gd name="connsiteY38" fmla="*/ 919 h 10000"/>
                <a:gd name="connsiteX39" fmla="*/ 7783 w 9219"/>
                <a:gd name="connsiteY39" fmla="*/ 1166 h 10000"/>
                <a:gd name="connsiteX40" fmla="*/ 7909 w 9219"/>
                <a:gd name="connsiteY40" fmla="*/ 1166 h 10000"/>
                <a:gd name="connsiteX41" fmla="*/ 7909 w 9219"/>
                <a:gd name="connsiteY41" fmla="*/ 1237 h 10000"/>
                <a:gd name="connsiteX42" fmla="*/ 8338 w 9219"/>
                <a:gd name="connsiteY42" fmla="*/ 1237 h 10000"/>
                <a:gd name="connsiteX43" fmla="*/ 8514 w 9219"/>
                <a:gd name="connsiteY43" fmla="*/ 1414 h 10000"/>
                <a:gd name="connsiteX44" fmla="*/ 8514 w 9219"/>
                <a:gd name="connsiteY44" fmla="*/ 1520 h 10000"/>
                <a:gd name="connsiteX45" fmla="*/ 8388 w 9219"/>
                <a:gd name="connsiteY45" fmla="*/ 1520 h 10000"/>
                <a:gd name="connsiteX46" fmla="*/ 8338 w 9219"/>
                <a:gd name="connsiteY46" fmla="*/ 1660 h 10000"/>
                <a:gd name="connsiteX47" fmla="*/ 8338 w 9219"/>
                <a:gd name="connsiteY47" fmla="*/ 2084 h 10000"/>
                <a:gd name="connsiteX48" fmla="*/ 8262 w 9219"/>
                <a:gd name="connsiteY48" fmla="*/ 2403 h 10000"/>
                <a:gd name="connsiteX49" fmla="*/ 8161 w 9219"/>
                <a:gd name="connsiteY49" fmla="*/ 2686 h 10000"/>
                <a:gd name="connsiteX50" fmla="*/ 8085 w 9219"/>
                <a:gd name="connsiteY50" fmla="*/ 2827 h 10000"/>
                <a:gd name="connsiteX51" fmla="*/ 8085 w 9219"/>
                <a:gd name="connsiteY51" fmla="*/ 3074 h 10000"/>
                <a:gd name="connsiteX52" fmla="*/ 8161 w 9219"/>
                <a:gd name="connsiteY52" fmla="*/ 3074 h 10000"/>
                <a:gd name="connsiteX53" fmla="*/ 8262 w 9219"/>
                <a:gd name="connsiteY53" fmla="*/ 3180 h 10000"/>
                <a:gd name="connsiteX54" fmla="*/ 8262 w 9219"/>
                <a:gd name="connsiteY54" fmla="*/ 3251 h 10000"/>
                <a:gd name="connsiteX55" fmla="*/ 8161 w 9219"/>
                <a:gd name="connsiteY55" fmla="*/ 3499 h 10000"/>
                <a:gd name="connsiteX56" fmla="*/ 8085 w 9219"/>
                <a:gd name="connsiteY56" fmla="*/ 3676 h 10000"/>
                <a:gd name="connsiteX57" fmla="*/ 8085 w 9219"/>
                <a:gd name="connsiteY57" fmla="*/ 3852 h 10000"/>
                <a:gd name="connsiteX58" fmla="*/ 8161 w 9219"/>
                <a:gd name="connsiteY58" fmla="*/ 3993 h 10000"/>
                <a:gd name="connsiteX59" fmla="*/ 8262 w 9219"/>
                <a:gd name="connsiteY59" fmla="*/ 4241 h 10000"/>
                <a:gd name="connsiteX60" fmla="*/ 8388 w 9219"/>
                <a:gd name="connsiteY60" fmla="*/ 4347 h 10000"/>
                <a:gd name="connsiteX61" fmla="*/ 8564 w 9219"/>
                <a:gd name="connsiteY61" fmla="*/ 4593 h 10000"/>
                <a:gd name="connsiteX62" fmla="*/ 8916 w 9219"/>
                <a:gd name="connsiteY62" fmla="*/ 4841 h 10000"/>
                <a:gd name="connsiteX63" fmla="*/ 9093 w 9219"/>
                <a:gd name="connsiteY63" fmla="*/ 5088 h 10000"/>
                <a:gd name="connsiteX64" fmla="*/ 9219 w 9219"/>
                <a:gd name="connsiteY64" fmla="*/ 5159 h 10000"/>
                <a:gd name="connsiteX65" fmla="*/ 8916 w 9219"/>
                <a:gd name="connsiteY65" fmla="*/ 5690 h 10000"/>
                <a:gd name="connsiteX66" fmla="*/ 8791 w 9219"/>
                <a:gd name="connsiteY66" fmla="*/ 5759 h 10000"/>
                <a:gd name="connsiteX67" fmla="*/ 8741 w 9219"/>
                <a:gd name="connsiteY67" fmla="*/ 5830 h 10000"/>
                <a:gd name="connsiteX68" fmla="*/ 8741 w 9219"/>
                <a:gd name="connsiteY68" fmla="*/ 6007 h 10000"/>
                <a:gd name="connsiteX69" fmla="*/ 8690 w 9219"/>
                <a:gd name="connsiteY69" fmla="*/ 6007 h 10000"/>
                <a:gd name="connsiteX70" fmla="*/ 8690 w 9219"/>
                <a:gd name="connsiteY70" fmla="*/ 6254 h 10000"/>
                <a:gd name="connsiteX71" fmla="*/ 8564 w 9219"/>
                <a:gd name="connsiteY71" fmla="*/ 6361 h 10000"/>
                <a:gd name="connsiteX72" fmla="*/ 8514 w 9219"/>
                <a:gd name="connsiteY72" fmla="*/ 6502 h 10000"/>
                <a:gd name="connsiteX73" fmla="*/ 8388 w 9219"/>
                <a:gd name="connsiteY73" fmla="*/ 6607 h 10000"/>
                <a:gd name="connsiteX74" fmla="*/ 8338 w 9219"/>
                <a:gd name="connsiteY74" fmla="*/ 6679 h 10000"/>
                <a:gd name="connsiteX75" fmla="*/ 8262 w 9219"/>
                <a:gd name="connsiteY75" fmla="*/ 6679 h 10000"/>
                <a:gd name="connsiteX76" fmla="*/ 8161 w 9219"/>
                <a:gd name="connsiteY76" fmla="*/ 6607 h 10000"/>
                <a:gd name="connsiteX77" fmla="*/ 8161 w 9219"/>
                <a:gd name="connsiteY77" fmla="*/ 6679 h 10000"/>
                <a:gd name="connsiteX78" fmla="*/ 7909 w 9219"/>
                <a:gd name="connsiteY78" fmla="*/ 6679 h 10000"/>
                <a:gd name="connsiteX79" fmla="*/ 7909 w 9219"/>
                <a:gd name="connsiteY79" fmla="*/ 6856 h 10000"/>
                <a:gd name="connsiteX80" fmla="*/ 7783 w 9219"/>
                <a:gd name="connsiteY80" fmla="*/ 6926 h 10000"/>
                <a:gd name="connsiteX81" fmla="*/ 7783 w 9219"/>
                <a:gd name="connsiteY81" fmla="*/ 7173 h 10000"/>
                <a:gd name="connsiteX82" fmla="*/ 4685 w 9219"/>
                <a:gd name="connsiteY82" fmla="*/ 8516 h 10000"/>
                <a:gd name="connsiteX0" fmla="*/ 5082 w 10000"/>
                <a:gd name="connsiteY0" fmla="*/ 8516 h 10000"/>
                <a:gd name="connsiteX1" fmla="*/ 1803 w 10000"/>
                <a:gd name="connsiteY1" fmla="*/ 9683 h 10000"/>
                <a:gd name="connsiteX2" fmla="*/ 709 w 10000"/>
                <a:gd name="connsiteY2" fmla="*/ 10000 h 10000"/>
                <a:gd name="connsiteX3" fmla="*/ 518 w 10000"/>
                <a:gd name="connsiteY3" fmla="*/ 10000 h 10000"/>
                <a:gd name="connsiteX4" fmla="*/ 0 w 10000"/>
                <a:gd name="connsiteY4" fmla="*/ 2827 h 10000"/>
                <a:gd name="connsiteX5" fmla="*/ 518 w 10000"/>
                <a:gd name="connsiteY5" fmla="*/ 2580 h 10000"/>
                <a:gd name="connsiteX6" fmla="*/ 709 w 10000"/>
                <a:gd name="connsiteY6" fmla="*/ 2580 h 10000"/>
                <a:gd name="connsiteX7" fmla="*/ 956 w 10000"/>
                <a:gd name="connsiteY7" fmla="*/ 2403 h 10000"/>
                <a:gd name="connsiteX8" fmla="*/ 1339 w 10000"/>
                <a:gd name="connsiteY8" fmla="*/ 2332 h 10000"/>
                <a:gd name="connsiteX9" fmla="*/ 2268 w 10000"/>
                <a:gd name="connsiteY9" fmla="*/ 2014 h 10000"/>
                <a:gd name="connsiteX10" fmla="*/ 2650 w 10000"/>
                <a:gd name="connsiteY10" fmla="*/ 1837 h 10000"/>
                <a:gd name="connsiteX11" fmla="*/ 3170 w 10000"/>
                <a:gd name="connsiteY11" fmla="*/ 1660 h 10000"/>
                <a:gd name="connsiteX12" fmla="*/ 3360 w 10000"/>
                <a:gd name="connsiteY12" fmla="*/ 1660 h 10000"/>
                <a:gd name="connsiteX13" fmla="*/ 3551 w 10000"/>
                <a:gd name="connsiteY13" fmla="*/ 1520 h 10000"/>
                <a:gd name="connsiteX14" fmla="*/ 3742 w 10000"/>
                <a:gd name="connsiteY14" fmla="*/ 1520 h 10000"/>
                <a:gd name="connsiteX15" fmla="*/ 3798 w 10000"/>
                <a:gd name="connsiteY15" fmla="*/ 1414 h 10000"/>
                <a:gd name="connsiteX16" fmla="*/ 4125 w 10000"/>
                <a:gd name="connsiteY16" fmla="*/ 1414 h 10000"/>
                <a:gd name="connsiteX17" fmla="*/ 4180 w 10000"/>
                <a:gd name="connsiteY17" fmla="*/ 1237 h 10000"/>
                <a:gd name="connsiteX18" fmla="*/ 4262 w 10000"/>
                <a:gd name="connsiteY18" fmla="*/ 1237 h 10000"/>
                <a:gd name="connsiteX19" fmla="*/ 4589 w 10000"/>
                <a:gd name="connsiteY19" fmla="*/ 1166 h 10000"/>
                <a:gd name="connsiteX20" fmla="*/ 4699 w 10000"/>
                <a:gd name="connsiteY20" fmla="*/ 1166 h 10000"/>
                <a:gd name="connsiteX21" fmla="*/ 4890 w 10000"/>
                <a:gd name="connsiteY21" fmla="*/ 989 h 10000"/>
                <a:gd name="connsiteX22" fmla="*/ 5027 w 10000"/>
                <a:gd name="connsiteY22" fmla="*/ 989 h 10000"/>
                <a:gd name="connsiteX23" fmla="*/ 5082 w 10000"/>
                <a:gd name="connsiteY23" fmla="*/ 919 h 10000"/>
                <a:gd name="connsiteX24" fmla="*/ 5683 w 10000"/>
                <a:gd name="connsiteY24" fmla="*/ 671 h 10000"/>
                <a:gd name="connsiteX25" fmla="*/ 5791 w 10000"/>
                <a:gd name="connsiteY25" fmla="*/ 671 h 10000"/>
                <a:gd name="connsiteX26" fmla="*/ 5929 w 10000"/>
                <a:gd name="connsiteY26" fmla="*/ 600 h 10000"/>
                <a:gd name="connsiteX27" fmla="*/ 6257 w 10000"/>
                <a:gd name="connsiteY27" fmla="*/ 423 h 10000"/>
                <a:gd name="connsiteX28" fmla="*/ 7541 w 10000"/>
                <a:gd name="connsiteY28" fmla="*/ 0 h 10000"/>
                <a:gd name="connsiteX29" fmla="*/ 7678 w 10000"/>
                <a:gd name="connsiteY29" fmla="*/ 0 h 10000"/>
                <a:gd name="connsiteX30" fmla="*/ 7732 w 10000"/>
                <a:gd name="connsiteY30" fmla="*/ 71 h 10000"/>
                <a:gd name="connsiteX31" fmla="*/ 8005 w 10000"/>
                <a:gd name="connsiteY31" fmla="*/ 248 h 10000"/>
                <a:gd name="connsiteX32" fmla="*/ 8142 w 10000"/>
                <a:gd name="connsiteY32" fmla="*/ 248 h 10000"/>
                <a:gd name="connsiteX33" fmla="*/ 8197 w 10000"/>
                <a:gd name="connsiteY33" fmla="*/ 317 h 10000"/>
                <a:gd name="connsiteX34" fmla="*/ 8334 w 10000"/>
                <a:gd name="connsiteY34" fmla="*/ 423 h 10000"/>
                <a:gd name="connsiteX35" fmla="*/ 8334 w 10000"/>
                <a:gd name="connsiteY35" fmla="*/ 600 h 10000"/>
                <a:gd name="connsiteX36" fmla="*/ 8388 w 10000"/>
                <a:gd name="connsiteY36" fmla="*/ 848 h 10000"/>
                <a:gd name="connsiteX37" fmla="*/ 8388 w 10000"/>
                <a:gd name="connsiteY37" fmla="*/ 919 h 10000"/>
                <a:gd name="connsiteX38" fmla="*/ 8442 w 10000"/>
                <a:gd name="connsiteY38" fmla="*/ 1166 h 10000"/>
                <a:gd name="connsiteX39" fmla="*/ 8579 w 10000"/>
                <a:gd name="connsiteY39" fmla="*/ 1166 h 10000"/>
                <a:gd name="connsiteX40" fmla="*/ 8579 w 10000"/>
                <a:gd name="connsiteY40" fmla="*/ 1237 h 10000"/>
                <a:gd name="connsiteX41" fmla="*/ 9044 w 10000"/>
                <a:gd name="connsiteY41" fmla="*/ 1237 h 10000"/>
                <a:gd name="connsiteX42" fmla="*/ 9235 w 10000"/>
                <a:gd name="connsiteY42" fmla="*/ 1414 h 10000"/>
                <a:gd name="connsiteX43" fmla="*/ 9235 w 10000"/>
                <a:gd name="connsiteY43" fmla="*/ 1520 h 10000"/>
                <a:gd name="connsiteX44" fmla="*/ 9099 w 10000"/>
                <a:gd name="connsiteY44" fmla="*/ 1520 h 10000"/>
                <a:gd name="connsiteX45" fmla="*/ 9044 w 10000"/>
                <a:gd name="connsiteY45" fmla="*/ 1660 h 10000"/>
                <a:gd name="connsiteX46" fmla="*/ 9044 w 10000"/>
                <a:gd name="connsiteY46" fmla="*/ 2084 h 10000"/>
                <a:gd name="connsiteX47" fmla="*/ 8962 w 10000"/>
                <a:gd name="connsiteY47" fmla="*/ 2403 h 10000"/>
                <a:gd name="connsiteX48" fmla="*/ 8852 w 10000"/>
                <a:gd name="connsiteY48" fmla="*/ 2686 h 10000"/>
                <a:gd name="connsiteX49" fmla="*/ 8770 w 10000"/>
                <a:gd name="connsiteY49" fmla="*/ 2827 h 10000"/>
                <a:gd name="connsiteX50" fmla="*/ 8770 w 10000"/>
                <a:gd name="connsiteY50" fmla="*/ 3074 h 10000"/>
                <a:gd name="connsiteX51" fmla="*/ 8852 w 10000"/>
                <a:gd name="connsiteY51" fmla="*/ 3074 h 10000"/>
                <a:gd name="connsiteX52" fmla="*/ 8962 w 10000"/>
                <a:gd name="connsiteY52" fmla="*/ 3180 h 10000"/>
                <a:gd name="connsiteX53" fmla="*/ 8962 w 10000"/>
                <a:gd name="connsiteY53" fmla="*/ 3251 h 10000"/>
                <a:gd name="connsiteX54" fmla="*/ 8852 w 10000"/>
                <a:gd name="connsiteY54" fmla="*/ 3499 h 10000"/>
                <a:gd name="connsiteX55" fmla="*/ 8770 w 10000"/>
                <a:gd name="connsiteY55" fmla="*/ 3676 h 10000"/>
                <a:gd name="connsiteX56" fmla="*/ 8770 w 10000"/>
                <a:gd name="connsiteY56" fmla="*/ 3852 h 10000"/>
                <a:gd name="connsiteX57" fmla="*/ 8852 w 10000"/>
                <a:gd name="connsiteY57" fmla="*/ 3993 h 10000"/>
                <a:gd name="connsiteX58" fmla="*/ 8962 w 10000"/>
                <a:gd name="connsiteY58" fmla="*/ 4241 h 10000"/>
                <a:gd name="connsiteX59" fmla="*/ 9099 w 10000"/>
                <a:gd name="connsiteY59" fmla="*/ 4347 h 10000"/>
                <a:gd name="connsiteX60" fmla="*/ 9290 w 10000"/>
                <a:gd name="connsiteY60" fmla="*/ 4593 h 10000"/>
                <a:gd name="connsiteX61" fmla="*/ 9671 w 10000"/>
                <a:gd name="connsiteY61" fmla="*/ 4841 h 10000"/>
                <a:gd name="connsiteX62" fmla="*/ 9863 w 10000"/>
                <a:gd name="connsiteY62" fmla="*/ 5088 h 10000"/>
                <a:gd name="connsiteX63" fmla="*/ 10000 w 10000"/>
                <a:gd name="connsiteY63" fmla="*/ 5159 h 10000"/>
                <a:gd name="connsiteX64" fmla="*/ 9671 w 10000"/>
                <a:gd name="connsiteY64" fmla="*/ 5690 h 10000"/>
                <a:gd name="connsiteX65" fmla="*/ 9536 w 10000"/>
                <a:gd name="connsiteY65" fmla="*/ 5759 h 10000"/>
                <a:gd name="connsiteX66" fmla="*/ 9482 w 10000"/>
                <a:gd name="connsiteY66" fmla="*/ 5830 h 10000"/>
                <a:gd name="connsiteX67" fmla="*/ 9482 w 10000"/>
                <a:gd name="connsiteY67" fmla="*/ 6007 h 10000"/>
                <a:gd name="connsiteX68" fmla="*/ 9426 w 10000"/>
                <a:gd name="connsiteY68" fmla="*/ 6007 h 10000"/>
                <a:gd name="connsiteX69" fmla="*/ 9426 w 10000"/>
                <a:gd name="connsiteY69" fmla="*/ 6254 h 10000"/>
                <a:gd name="connsiteX70" fmla="*/ 9290 w 10000"/>
                <a:gd name="connsiteY70" fmla="*/ 6361 h 10000"/>
                <a:gd name="connsiteX71" fmla="*/ 9235 w 10000"/>
                <a:gd name="connsiteY71" fmla="*/ 6502 h 10000"/>
                <a:gd name="connsiteX72" fmla="*/ 9099 w 10000"/>
                <a:gd name="connsiteY72" fmla="*/ 6607 h 10000"/>
                <a:gd name="connsiteX73" fmla="*/ 9044 w 10000"/>
                <a:gd name="connsiteY73" fmla="*/ 6679 h 10000"/>
                <a:gd name="connsiteX74" fmla="*/ 8962 w 10000"/>
                <a:gd name="connsiteY74" fmla="*/ 6679 h 10000"/>
                <a:gd name="connsiteX75" fmla="*/ 8852 w 10000"/>
                <a:gd name="connsiteY75" fmla="*/ 6607 h 10000"/>
                <a:gd name="connsiteX76" fmla="*/ 8852 w 10000"/>
                <a:gd name="connsiteY76" fmla="*/ 6679 h 10000"/>
                <a:gd name="connsiteX77" fmla="*/ 8579 w 10000"/>
                <a:gd name="connsiteY77" fmla="*/ 6679 h 10000"/>
                <a:gd name="connsiteX78" fmla="*/ 8579 w 10000"/>
                <a:gd name="connsiteY78" fmla="*/ 6856 h 10000"/>
                <a:gd name="connsiteX79" fmla="*/ 8442 w 10000"/>
                <a:gd name="connsiteY79" fmla="*/ 6926 h 10000"/>
                <a:gd name="connsiteX80" fmla="*/ 8442 w 10000"/>
                <a:gd name="connsiteY80" fmla="*/ 7173 h 10000"/>
                <a:gd name="connsiteX81" fmla="*/ 5082 w 10000"/>
                <a:gd name="connsiteY81" fmla="*/ 8516 h 10000"/>
                <a:gd name="connsiteX0" fmla="*/ 4564 w 9482"/>
                <a:gd name="connsiteY0" fmla="*/ 8516 h 10000"/>
                <a:gd name="connsiteX1" fmla="*/ 1285 w 9482"/>
                <a:gd name="connsiteY1" fmla="*/ 9683 h 10000"/>
                <a:gd name="connsiteX2" fmla="*/ 191 w 9482"/>
                <a:gd name="connsiteY2" fmla="*/ 10000 h 10000"/>
                <a:gd name="connsiteX3" fmla="*/ 0 w 9482"/>
                <a:gd name="connsiteY3" fmla="*/ 10000 h 10000"/>
                <a:gd name="connsiteX4" fmla="*/ 0 w 9482"/>
                <a:gd name="connsiteY4" fmla="*/ 2580 h 10000"/>
                <a:gd name="connsiteX5" fmla="*/ 191 w 9482"/>
                <a:gd name="connsiteY5" fmla="*/ 2580 h 10000"/>
                <a:gd name="connsiteX6" fmla="*/ 438 w 9482"/>
                <a:gd name="connsiteY6" fmla="*/ 2403 h 10000"/>
                <a:gd name="connsiteX7" fmla="*/ 821 w 9482"/>
                <a:gd name="connsiteY7" fmla="*/ 2332 h 10000"/>
                <a:gd name="connsiteX8" fmla="*/ 1750 w 9482"/>
                <a:gd name="connsiteY8" fmla="*/ 2014 h 10000"/>
                <a:gd name="connsiteX9" fmla="*/ 2132 w 9482"/>
                <a:gd name="connsiteY9" fmla="*/ 1837 h 10000"/>
                <a:gd name="connsiteX10" fmla="*/ 2652 w 9482"/>
                <a:gd name="connsiteY10" fmla="*/ 1660 h 10000"/>
                <a:gd name="connsiteX11" fmla="*/ 2842 w 9482"/>
                <a:gd name="connsiteY11" fmla="*/ 1660 h 10000"/>
                <a:gd name="connsiteX12" fmla="*/ 3033 w 9482"/>
                <a:gd name="connsiteY12" fmla="*/ 1520 h 10000"/>
                <a:gd name="connsiteX13" fmla="*/ 3224 w 9482"/>
                <a:gd name="connsiteY13" fmla="*/ 1520 h 10000"/>
                <a:gd name="connsiteX14" fmla="*/ 3280 w 9482"/>
                <a:gd name="connsiteY14" fmla="*/ 1414 h 10000"/>
                <a:gd name="connsiteX15" fmla="*/ 3607 w 9482"/>
                <a:gd name="connsiteY15" fmla="*/ 1414 h 10000"/>
                <a:gd name="connsiteX16" fmla="*/ 3662 w 9482"/>
                <a:gd name="connsiteY16" fmla="*/ 1237 h 10000"/>
                <a:gd name="connsiteX17" fmla="*/ 3744 w 9482"/>
                <a:gd name="connsiteY17" fmla="*/ 1237 h 10000"/>
                <a:gd name="connsiteX18" fmla="*/ 4071 w 9482"/>
                <a:gd name="connsiteY18" fmla="*/ 1166 h 10000"/>
                <a:gd name="connsiteX19" fmla="*/ 4181 w 9482"/>
                <a:gd name="connsiteY19" fmla="*/ 1166 h 10000"/>
                <a:gd name="connsiteX20" fmla="*/ 4372 w 9482"/>
                <a:gd name="connsiteY20" fmla="*/ 989 h 10000"/>
                <a:gd name="connsiteX21" fmla="*/ 4509 w 9482"/>
                <a:gd name="connsiteY21" fmla="*/ 989 h 10000"/>
                <a:gd name="connsiteX22" fmla="*/ 4564 w 9482"/>
                <a:gd name="connsiteY22" fmla="*/ 919 h 10000"/>
                <a:gd name="connsiteX23" fmla="*/ 5165 w 9482"/>
                <a:gd name="connsiteY23" fmla="*/ 671 h 10000"/>
                <a:gd name="connsiteX24" fmla="*/ 5273 w 9482"/>
                <a:gd name="connsiteY24" fmla="*/ 671 h 10000"/>
                <a:gd name="connsiteX25" fmla="*/ 5411 w 9482"/>
                <a:gd name="connsiteY25" fmla="*/ 600 h 10000"/>
                <a:gd name="connsiteX26" fmla="*/ 5739 w 9482"/>
                <a:gd name="connsiteY26" fmla="*/ 423 h 10000"/>
                <a:gd name="connsiteX27" fmla="*/ 7023 w 9482"/>
                <a:gd name="connsiteY27" fmla="*/ 0 h 10000"/>
                <a:gd name="connsiteX28" fmla="*/ 7160 w 9482"/>
                <a:gd name="connsiteY28" fmla="*/ 0 h 10000"/>
                <a:gd name="connsiteX29" fmla="*/ 7214 w 9482"/>
                <a:gd name="connsiteY29" fmla="*/ 71 h 10000"/>
                <a:gd name="connsiteX30" fmla="*/ 7487 w 9482"/>
                <a:gd name="connsiteY30" fmla="*/ 248 h 10000"/>
                <a:gd name="connsiteX31" fmla="*/ 7624 w 9482"/>
                <a:gd name="connsiteY31" fmla="*/ 248 h 10000"/>
                <a:gd name="connsiteX32" fmla="*/ 7679 w 9482"/>
                <a:gd name="connsiteY32" fmla="*/ 317 h 10000"/>
                <a:gd name="connsiteX33" fmla="*/ 7816 w 9482"/>
                <a:gd name="connsiteY33" fmla="*/ 423 h 10000"/>
                <a:gd name="connsiteX34" fmla="*/ 7816 w 9482"/>
                <a:gd name="connsiteY34" fmla="*/ 600 h 10000"/>
                <a:gd name="connsiteX35" fmla="*/ 7870 w 9482"/>
                <a:gd name="connsiteY35" fmla="*/ 848 h 10000"/>
                <a:gd name="connsiteX36" fmla="*/ 7870 w 9482"/>
                <a:gd name="connsiteY36" fmla="*/ 919 h 10000"/>
                <a:gd name="connsiteX37" fmla="*/ 7924 w 9482"/>
                <a:gd name="connsiteY37" fmla="*/ 1166 h 10000"/>
                <a:gd name="connsiteX38" fmla="*/ 8061 w 9482"/>
                <a:gd name="connsiteY38" fmla="*/ 1166 h 10000"/>
                <a:gd name="connsiteX39" fmla="*/ 8061 w 9482"/>
                <a:gd name="connsiteY39" fmla="*/ 1237 h 10000"/>
                <a:gd name="connsiteX40" fmla="*/ 8526 w 9482"/>
                <a:gd name="connsiteY40" fmla="*/ 1237 h 10000"/>
                <a:gd name="connsiteX41" fmla="*/ 8717 w 9482"/>
                <a:gd name="connsiteY41" fmla="*/ 1414 h 10000"/>
                <a:gd name="connsiteX42" fmla="*/ 8717 w 9482"/>
                <a:gd name="connsiteY42" fmla="*/ 1520 h 10000"/>
                <a:gd name="connsiteX43" fmla="*/ 8581 w 9482"/>
                <a:gd name="connsiteY43" fmla="*/ 1520 h 10000"/>
                <a:gd name="connsiteX44" fmla="*/ 8526 w 9482"/>
                <a:gd name="connsiteY44" fmla="*/ 1660 h 10000"/>
                <a:gd name="connsiteX45" fmla="*/ 8526 w 9482"/>
                <a:gd name="connsiteY45" fmla="*/ 2084 h 10000"/>
                <a:gd name="connsiteX46" fmla="*/ 8444 w 9482"/>
                <a:gd name="connsiteY46" fmla="*/ 2403 h 10000"/>
                <a:gd name="connsiteX47" fmla="*/ 8334 w 9482"/>
                <a:gd name="connsiteY47" fmla="*/ 2686 h 10000"/>
                <a:gd name="connsiteX48" fmla="*/ 8252 w 9482"/>
                <a:gd name="connsiteY48" fmla="*/ 2827 h 10000"/>
                <a:gd name="connsiteX49" fmla="*/ 8252 w 9482"/>
                <a:gd name="connsiteY49" fmla="*/ 3074 h 10000"/>
                <a:gd name="connsiteX50" fmla="*/ 8334 w 9482"/>
                <a:gd name="connsiteY50" fmla="*/ 3074 h 10000"/>
                <a:gd name="connsiteX51" fmla="*/ 8444 w 9482"/>
                <a:gd name="connsiteY51" fmla="*/ 3180 h 10000"/>
                <a:gd name="connsiteX52" fmla="*/ 8444 w 9482"/>
                <a:gd name="connsiteY52" fmla="*/ 3251 h 10000"/>
                <a:gd name="connsiteX53" fmla="*/ 8334 w 9482"/>
                <a:gd name="connsiteY53" fmla="*/ 3499 h 10000"/>
                <a:gd name="connsiteX54" fmla="*/ 8252 w 9482"/>
                <a:gd name="connsiteY54" fmla="*/ 3676 h 10000"/>
                <a:gd name="connsiteX55" fmla="*/ 8252 w 9482"/>
                <a:gd name="connsiteY55" fmla="*/ 3852 h 10000"/>
                <a:gd name="connsiteX56" fmla="*/ 8334 w 9482"/>
                <a:gd name="connsiteY56" fmla="*/ 3993 h 10000"/>
                <a:gd name="connsiteX57" fmla="*/ 8444 w 9482"/>
                <a:gd name="connsiteY57" fmla="*/ 4241 h 10000"/>
                <a:gd name="connsiteX58" fmla="*/ 8581 w 9482"/>
                <a:gd name="connsiteY58" fmla="*/ 4347 h 10000"/>
                <a:gd name="connsiteX59" fmla="*/ 8772 w 9482"/>
                <a:gd name="connsiteY59" fmla="*/ 4593 h 10000"/>
                <a:gd name="connsiteX60" fmla="*/ 9153 w 9482"/>
                <a:gd name="connsiteY60" fmla="*/ 4841 h 10000"/>
                <a:gd name="connsiteX61" fmla="*/ 9345 w 9482"/>
                <a:gd name="connsiteY61" fmla="*/ 5088 h 10000"/>
                <a:gd name="connsiteX62" fmla="*/ 9482 w 9482"/>
                <a:gd name="connsiteY62" fmla="*/ 5159 h 10000"/>
                <a:gd name="connsiteX63" fmla="*/ 9153 w 9482"/>
                <a:gd name="connsiteY63" fmla="*/ 5690 h 10000"/>
                <a:gd name="connsiteX64" fmla="*/ 9018 w 9482"/>
                <a:gd name="connsiteY64" fmla="*/ 5759 h 10000"/>
                <a:gd name="connsiteX65" fmla="*/ 8964 w 9482"/>
                <a:gd name="connsiteY65" fmla="*/ 5830 h 10000"/>
                <a:gd name="connsiteX66" fmla="*/ 8964 w 9482"/>
                <a:gd name="connsiteY66" fmla="*/ 6007 h 10000"/>
                <a:gd name="connsiteX67" fmla="*/ 8908 w 9482"/>
                <a:gd name="connsiteY67" fmla="*/ 6007 h 10000"/>
                <a:gd name="connsiteX68" fmla="*/ 8908 w 9482"/>
                <a:gd name="connsiteY68" fmla="*/ 6254 h 10000"/>
                <a:gd name="connsiteX69" fmla="*/ 8772 w 9482"/>
                <a:gd name="connsiteY69" fmla="*/ 6361 h 10000"/>
                <a:gd name="connsiteX70" fmla="*/ 8717 w 9482"/>
                <a:gd name="connsiteY70" fmla="*/ 6502 h 10000"/>
                <a:gd name="connsiteX71" fmla="*/ 8581 w 9482"/>
                <a:gd name="connsiteY71" fmla="*/ 6607 h 10000"/>
                <a:gd name="connsiteX72" fmla="*/ 8526 w 9482"/>
                <a:gd name="connsiteY72" fmla="*/ 6679 h 10000"/>
                <a:gd name="connsiteX73" fmla="*/ 8444 w 9482"/>
                <a:gd name="connsiteY73" fmla="*/ 6679 h 10000"/>
                <a:gd name="connsiteX74" fmla="*/ 8334 w 9482"/>
                <a:gd name="connsiteY74" fmla="*/ 6607 h 10000"/>
                <a:gd name="connsiteX75" fmla="*/ 8334 w 9482"/>
                <a:gd name="connsiteY75" fmla="*/ 6679 h 10000"/>
                <a:gd name="connsiteX76" fmla="*/ 8061 w 9482"/>
                <a:gd name="connsiteY76" fmla="*/ 6679 h 10000"/>
                <a:gd name="connsiteX77" fmla="*/ 8061 w 9482"/>
                <a:gd name="connsiteY77" fmla="*/ 6856 h 10000"/>
                <a:gd name="connsiteX78" fmla="*/ 7924 w 9482"/>
                <a:gd name="connsiteY78" fmla="*/ 6926 h 10000"/>
                <a:gd name="connsiteX79" fmla="*/ 7924 w 9482"/>
                <a:gd name="connsiteY79" fmla="*/ 7173 h 10000"/>
                <a:gd name="connsiteX80" fmla="*/ 4564 w 9482"/>
                <a:gd name="connsiteY80"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462 w 10000"/>
                <a:gd name="connsiteY5" fmla="*/ 2403 h 10000"/>
                <a:gd name="connsiteX6" fmla="*/ 866 w 10000"/>
                <a:gd name="connsiteY6" fmla="*/ 2332 h 10000"/>
                <a:gd name="connsiteX7" fmla="*/ 1846 w 10000"/>
                <a:gd name="connsiteY7" fmla="*/ 2014 h 10000"/>
                <a:gd name="connsiteX8" fmla="*/ 2248 w 10000"/>
                <a:gd name="connsiteY8" fmla="*/ 1837 h 10000"/>
                <a:gd name="connsiteX9" fmla="*/ 2797 w 10000"/>
                <a:gd name="connsiteY9" fmla="*/ 1660 h 10000"/>
                <a:gd name="connsiteX10" fmla="*/ 2997 w 10000"/>
                <a:gd name="connsiteY10" fmla="*/ 1660 h 10000"/>
                <a:gd name="connsiteX11" fmla="*/ 3199 w 10000"/>
                <a:gd name="connsiteY11" fmla="*/ 1520 h 10000"/>
                <a:gd name="connsiteX12" fmla="*/ 3400 w 10000"/>
                <a:gd name="connsiteY12" fmla="*/ 1520 h 10000"/>
                <a:gd name="connsiteX13" fmla="*/ 3459 w 10000"/>
                <a:gd name="connsiteY13" fmla="*/ 1414 h 10000"/>
                <a:gd name="connsiteX14" fmla="*/ 3804 w 10000"/>
                <a:gd name="connsiteY14" fmla="*/ 1414 h 10000"/>
                <a:gd name="connsiteX15" fmla="*/ 3862 w 10000"/>
                <a:gd name="connsiteY15" fmla="*/ 1237 h 10000"/>
                <a:gd name="connsiteX16" fmla="*/ 3949 w 10000"/>
                <a:gd name="connsiteY16" fmla="*/ 1237 h 10000"/>
                <a:gd name="connsiteX17" fmla="*/ 4293 w 10000"/>
                <a:gd name="connsiteY17" fmla="*/ 1166 h 10000"/>
                <a:gd name="connsiteX18" fmla="*/ 4409 w 10000"/>
                <a:gd name="connsiteY18" fmla="*/ 1166 h 10000"/>
                <a:gd name="connsiteX19" fmla="*/ 4611 w 10000"/>
                <a:gd name="connsiteY19" fmla="*/ 989 h 10000"/>
                <a:gd name="connsiteX20" fmla="*/ 4755 w 10000"/>
                <a:gd name="connsiteY20" fmla="*/ 989 h 10000"/>
                <a:gd name="connsiteX21" fmla="*/ 4813 w 10000"/>
                <a:gd name="connsiteY21" fmla="*/ 919 h 10000"/>
                <a:gd name="connsiteX22" fmla="*/ 5447 w 10000"/>
                <a:gd name="connsiteY22" fmla="*/ 671 h 10000"/>
                <a:gd name="connsiteX23" fmla="*/ 5561 w 10000"/>
                <a:gd name="connsiteY23" fmla="*/ 671 h 10000"/>
                <a:gd name="connsiteX24" fmla="*/ 5707 w 10000"/>
                <a:gd name="connsiteY24" fmla="*/ 600 h 10000"/>
                <a:gd name="connsiteX25" fmla="*/ 6053 w 10000"/>
                <a:gd name="connsiteY25" fmla="*/ 423 h 10000"/>
                <a:gd name="connsiteX26" fmla="*/ 7407 w 10000"/>
                <a:gd name="connsiteY26" fmla="*/ 0 h 10000"/>
                <a:gd name="connsiteX27" fmla="*/ 7551 w 10000"/>
                <a:gd name="connsiteY27" fmla="*/ 0 h 10000"/>
                <a:gd name="connsiteX28" fmla="*/ 7608 w 10000"/>
                <a:gd name="connsiteY28" fmla="*/ 71 h 10000"/>
                <a:gd name="connsiteX29" fmla="*/ 7896 w 10000"/>
                <a:gd name="connsiteY29" fmla="*/ 248 h 10000"/>
                <a:gd name="connsiteX30" fmla="*/ 8040 w 10000"/>
                <a:gd name="connsiteY30" fmla="*/ 248 h 10000"/>
                <a:gd name="connsiteX31" fmla="*/ 8099 w 10000"/>
                <a:gd name="connsiteY31" fmla="*/ 317 h 10000"/>
                <a:gd name="connsiteX32" fmla="*/ 8243 w 10000"/>
                <a:gd name="connsiteY32" fmla="*/ 423 h 10000"/>
                <a:gd name="connsiteX33" fmla="*/ 8243 w 10000"/>
                <a:gd name="connsiteY33" fmla="*/ 600 h 10000"/>
                <a:gd name="connsiteX34" fmla="*/ 8300 w 10000"/>
                <a:gd name="connsiteY34" fmla="*/ 848 h 10000"/>
                <a:gd name="connsiteX35" fmla="*/ 8300 w 10000"/>
                <a:gd name="connsiteY35" fmla="*/ 919 h 10000"/>
                <a:gd name="connsiteX36" fmla="*/ 8357 w 10000"/>
                <a:gd name="connsiteY36" fmla="*/ 1166 h 10000"/>
                <a:gd name="connsiteX37" fmla="*/ 8501 w 10000"/>
                <a:gd name="connsiteY37" fmla="*/ 1166 h 10000"/>
                <a:gd name="connsiteX38" fmla="*/ 8501 w 10000"/>
                <a:gd name="connsiteY38" fmla="*/ 1237 h 10000"/>
                <a:gd name="connsiteX39" fmla="*/ 8992 w 10000"/>
                <a:gd name="connsiteY39" fmla="*/ 1237 h 10000"/>
                <a:gd name="connsiteX40" fmla="*/ 9193 w 10000"/>
                <a:gd name="connsiteY40" fmla="*/ 1414 h 10000"/>
                <a:gd name="connsiteX41" fmla="*/ 9193 w 10000"/>
                <a:gd name="connsiteY41" fmla="*/ 1520 h 10000"/>
                <a:gd name="connsiteX42" fmla="*/ 9050 w 10000"/>
                <a:gd name="connsiteY42" fmla="*/ 1520 h 10000"/>
                <a:gd name="connsiteX43" fmla="*/ 8992 w 10000"/>
                <a:gd name="connsiteY43" fmla="*/ 1660 h 10000"/>
                <a:gd name="connsiteX44" fmla="*/ 8992 w 10000"/>
                <a:gd name="connsiteY44" fmla="*/ 2084 h 10000"/>
                <a:gd name="connsiteX45" fmla="*/ 8905 w 10000"/>
                <a:gd name="connsiteY45" fmla="*/ 2403 h 10000"/>
                <a:gd name="connsiteX46" fmla="*/ 8789 w 10000"/>
                <a:gd name="connsiteY46" fmla="*/ 2686 h 10000"/>
                <a:gd name="connsiteX47" fmla="*/ 8703 w 10000"/>
                <a:gd name="connsiteY47" fmla="*/ 2827 h 10000"/>
                <a:gd name="connsiteX48" fmla="*/ 8703 w 10000"/>
                <a:gd name="connsiteY48" fmla="*/ 3074 h 10000"/>
                <a:gd name="connsiteX49" fmla="*/ 8789 w 10000"/>
                <a:gd name="connsiteY49" fmla="*/ 3074 h 10000"/>
                <a:gd name="connsiteX50" fmla="*/ 8905 w 10000"/>
                <a:gd name="connsiteY50" fmla="*/ 3180 h 10000"/>
                <a:gd name="connsiteX51" fmla="*/ 8905 w 10000"/>
                <a:gd name="connsiteY51" fmla="*/ 3251 h 10000"/>
                <a:gd name="connsiteX52" fmla="*/ 8789 w 10000"/>
                <a:gd name="connsiteY52" fmla="*/ 3499 h 10000"/>
                <a:gd name="connsiteX53" fmla="*/ 8703 w 10000"/>
                <a:gd name="connsiteY53" fmla="*/ 3676 h 10000"/>
                <a:gd name="connsiteX54" fmla="*/ 8703 w 10000"/>
                <a:gd name="connsiteY54" fmla="*/ 3852 h 10000"/>
                <a:gd name="connsiteX55" fmla="*/ 8789 w 10000"/>
                <a:gd name="connsiteY55" fmla="*/ 3993 h 10000"/>
                <a:gd name="connsiteX56" fmla="*/ 8905 w 10000"/>
                <a:gd name="connsiteY56" fmla="*/ 4241 h 10000"/>
                <a:gd name="connsiteX57" fmla="*/ 9050 w 10000"/>
                <a:gd name="connsiteY57" fmla="*/ 4347 h 10000"/>
                <a:gd name="connsiteX58" fmla="*/ 9251 w 10000"/>
                <a:gd name="connsiteY58" fmla="*/ 4593 h 10000"/>
                <a:gd name="connsiteX59" fmla="*/ 9653 w 10000"/>
                <a:gd name="connsiteY59" fmla="*/ 4841 h 10000"/>
                <a:gd name="connsiteX60" fmla="*/ 9856 w 10000"/>
                <a:gd name="connsiteY60" fmla="*/ 5088 h 10000"/>
                <a:gd name="connsiteX61" fmla="*/ 10000 w 10000"/>
                <a:gd name="connsiteY61" fmla="*/ 5159 h 10000"/>
                <a:gd name="connsiteX62" fmla="*/ 9653 w 10000"/>
                <a:gd name="connsiteY62" fmla="*/ 5690 h 10000"/>
                <a:gd name="connsiteX63" fmla="*/ 9511 w 10000"/>
                <a:gd name="connsiteY63" fmla="*/ 5759 h 10000"/>
                <a:gd name="connsiteX64" fmla="*/ 9454 w 10000"/>
                <a:gd name="connsiteY64" fmla="*/ 5830 h 10000"/>
                <a:gd name="connsiteX65" fmla="*/ 9454 w 10000"/>
                <a:gd name="connsiteY65" fmla="*/ 6007 h 10000"/>
                <a:gd name="connsiteX66" fmla="*/ 9395 w 10000"/>
                <a:gd name="connsiteY66" fmla="*/ 6007 h 10000"/>
                <a:gd name="connsiteX67" fmla="*/ 9395 w 10000"/>
                <a:gd name="connsiteY67" fmla="*/ 6254 h 10000"/>
                <a:gd name="connsiteX68" fmla="*/ 9251 w 10000"/>
                <a:gd name="connsiteY68" fmla="*/ 6361 h 10000"/>
                <a:gd name="connsiteX69" fmla="*/ 9193 w 10000"/>
                <a:gd name="connsiteY69" fmla="*/ 6502 h 10000"/>
                <a:gd name="connsiteX70" fmla="*/ 9050 w 10000"/>
                <a:gd name="connsiteY70" fmla="*/ 6607 h 10000"/>
                <a:gd name="connsiteX71" fmla="*/ 8992 w 10000"/>
                <a:gd name="connsiteY71" fmla="*/ 6679 h 10000"/>
                <a:gd name="connsiteX72" fmla="*/ 8905 w 10000"/>
                <a:gd name="connsiteY72" fmla="*/ 6679 h 10000"/>
                <a:gd name="connsiteX73" fmla="*/ 8789 w 10000"/>
                <a:gd name="connsiteY73" fmla="*/ 6607 h 10000"/>
                <a:gd name="connsiteX74" fmla="*/ 8789 w 10000"/>
                <a:gd name="connsiteY74" fmla="*/ 6679 h 10000"/>
                <a:gd name="connsiteX75" fmla="*/ 8501 w 10000"/>
                <a:gd name="connsiteY75" fmla="*/ 6679 h 10000"/>
                <a:gd name="connsiteX76" fmla="*/ 8501 w 10000"/>
                <a:gd name="connsiteY76" fmla="*/ 6856 h 10000"/>
                <a:gd name="connsiteX77" fmla="*/ 8357 w 10000"/>
                <a:gd name="connsiteY77" fmla="*/ 6926 h 10000"/>
                <a:gd name="connsiteX78" fmla="*/ 8357 w 10000"/>
                <a:gd name="connsiteY78" fmla="*/ 7173 h 10000"/>
                <a:gd name="connsiteX79" fmla="*/ 4813 w 10000"/>
                <a:gd name="connsiteY79"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866 w 10000"/>
                <a:gd name="connsiteY5" fmla="*/ 2332 h 10000"/>
                <a:gd name="connsiteX6" fmla="*/ 1846 w 10000"/>
                <a:gd name="connsiteY6" fmla="*/ 2014 h 10000"/>
                <a:gd name="connsiteX7" fmla="*/ 2248 w 10000"/>
                <a:gd name="connsiteY7" fmla="*/ 1837 h 10000"/>
                <a:gd name="connsiteX8" fmla="*/ 2797 w 10000"/>
                <a:gd name="connsiteY8" fmla="*/ 1660 h 10000"/>
                <a:gd name="connsiteX9" fmla="*/ 2997 w 10000"/>
                <a:gd name="connsiteY9" fmla="*/ 1660 h 10000"/>
                <a:gd name="connsiteX10" fmla="*/ 3199 w 10000"/>
                <a:gd name="connsiteY10" fmla="*/ 1520 h 10000"/>
                <a:gd name="connsiteX11" fmla="*/ 3400 w 10000"/>
                <a:gd name="connsiteY11" fmla="*/ 1520 h 10000"/>
                <a:gd name="connsiteX12" fmla="*/ 3459 w 10000"/>
                <a:gd name="connsiteY12" fmla="*/ 1414 h 10000"/>
                <a:gd name="connsiteX13" fmla="*/ 3804 w 10000"/>
                <a:gd name="connsiteY13" fmla="*/ 1414 h 10000"/>
                <a:gd name="connsiteX14" fmla="*/ 3862 w 10000"/>
                <a:gd name="connsiteY14" fmla="*/ 1237 h 10000"/>
                <a:gd name="connsiteX15" fmla="*/ 3949 w 10000"/>
                <a:gd name="connsiteY15" fmla="*/ 1237 h 10000"/>
                <a:gd name="connsiteX16" fmla="*/ 4293 w 10000"/>
                <a:gd name="connsiteY16" fmla="*/ 1166 h 10000"/>
                <a:gd name="connsiteX17" fmla="*/ 4409 w 10000"/>
                <a:gd name="connsiteY17" fmla="*/ 1166 h 10000"/>
                <a:gd name="connsiteX18" fmla="*/ 4611 w 10000"/>
                <a:gd name="connsiteY18" fmla="*/ 989 h 10000"/>
                <a:gd name="connsiteX19" fmla="*/ 4755 w 10000"/>
                <a:gd name="connsiteY19" fmla="*/ 989 h 10000"/>
                <a:gd name="connsiteX20" fmla="*/ 4813 w 10000"/>
                <a:gd name="connsiteY20" fmla="*/ 919 h 10000"/>
                <a:gd name="connsiteX21" fmla="*/ 5447 w 10000"/>
                <a:gd name="connsiteY21" fmla="*/ 671 h 10000"/>
                <a:gd name="connsiteX22" fmla="*/ 5561 w 10000"/>
                <a:gd name="connsiteY22" fmla="*/ 671 h 10000"/>
                <a:gd name="connsiteX23" fmla="*/ 5707 w 10000"/>
                <a:gd name="connsiteY23" fmla="*/ 600 h 10000"/>
                <a:gd name="connsiteX24" fmla="*/ 6053 w 10000"/>
                <a:gd name="connsiteY24" fmla="*/ 423 h 10000"/>
                <a:gd name="connsiteX25" fmla="*/ 7407 w 10000"/>
                <a:gd name="connsiteY25" fmla="*/ 0 h 10000"/>
                <a:gd name="connsiteX26" fmla="*/ 7551 w 10000"/>
                <a:gd name="connsiteY26" fmla="*/ 0 h 10000"/>
                <a:gd name="connsiteX27" fmla="*/ 7608 w 10000"/>
                <a:gd name="connsiteY27" fmla="*/ 71 h 10000"/>
                <a:gd name="connsiteX28" fmla="*/ 7896 w 10000"/>
                <a:gd name="connsiteY28" fmla="*/ 248 h 10000"/>
                <a:gd name="connsiteX29" fmla="*/ 8040 w 10000"/>
                <a:gd name="connsiteY29" fmla="*/ 248 h 10000"/>
                <a:gd name="connsiteX30" fmla="*/ 8099 w 10000"/>
                <a:gd name="connsiteY30" fmla="*/ 317 h 10000"/>
                <a:gd name="connsiteX31" fmla="*/ 8243 w 10000"/>
                <a:gd name="connsiteY31" fmla="*/ 423 h 10000"/>
                <a:gd name="connsiteX32" fmla="*/ 8243 w 10000"/>
                <a:gd name="connsiteY32" fmla="*/ 600 h 10000"/>
                <a:gd name="connsiteX33" fmla="*/ 8300 w 10000"/>
                <a:gd name="connsiteY33" fmla="*/ 848 h 10000"/>
                <a:gd name="connsiteX34" fmla="*/ 8300 w 10000"/>
                <a:gd name="connsiteY34" fmla="*/ 919 h 10000"/>
                <a:gd name="connsiteX35" fmla="*/ 8357 w 10000"/>
                <a:gd name="connsiteY35" fmla="*/ 1166 h 10000"/>
                <a:gd name="connsiteX36" fmla="*/ 8501 w 10000"/>
                <a:gd name="connsiteY36" fmla="*/ 1166 h 10000"/>
                <a:gd name="connsiteX37" fmla="*/ 8501 w 10000"/>
                <a:gd name="connsiteY37" fmla="*/ 1237 h 10000"/>
                <a:gd name="connsiteX38" fmla="*/ 8992 w 10000"/>
                <a:gd name="connsiteY38" fmla="*/ 1237 h 10000"/>
                <a:gd name="connsiteX39" fmla="*/ 9193 w 10000"/>
                <a:gd name="connsiteY39" fmla="*/ 1414 h 10000"/>
                <a:gd name="connsiteX40" fmla="*/ 9193 w 10000"/>
                <a:gd name="connsiteY40" fmla="*/ 1520 h 10000"/>
                <a:gd name="connsiteX41" fmla="*/ 9050 w 10000"/>
                <a:gd name="connsiteY41" fmla="*/ 1520 h 10000"/>
                <a:gd name="connsiteX42" fmla="*/ 8992 w 10000"/>
                <a:gd name="connsiteY42" fmla="*/ 1660 h 10000"/>
                <a:gd name="connsiteX43" fmla="*/ 8992 w 10000"/>
                <a:gd name="connsiteY43" fmla="*/ 2084 h 10000"/>
                <a:gd name="connsiteX44" fmla="*/ 8905 w 10000"/>
                <a:gd name="connsiteY44" fmla="*/ 2403 h 10000"/>
                <a:gd name="connsiteX45" fmla="*/ 8789 w 10000"/>
                <a:gd name="connsiteY45" fmla="*/ 2686 h 10000"/>
                <a:gd name="connsiteX46" fmla="*/ 8703 w 10000"/>
                <a:gd name="connsiteY46" fmla="*/ 2827 h 10000"/>
                <a:gd name="connsiteX47" fmla="*/ 8703 w 10000"/>
                <a:gd name="connsiteY47" fmla="*/ 3074 h 10000"/>
                <a:gd name="connsiteX48" fmla="*/ 8789 w 10000"/>
                <a:gd name="connsiteY48" fmla="*/ 3074 h 10000"/>
                <a:gd name="connsiteX49" fmla="*/ 8905 w 10000"/>
                <a:gd name="connsiteY49" fmla="*/ 3180 h 10000"/>
                <a:gd name="connsiteX50" fmla="*/ 8905 w 10000"/>
                <a:gd name="connsiteY50" fmla="*/ 3251 h 10000"/>
                <a:gd name="connsiteX51" fmla="*/ 8789 w 10000"/>
                <a:gd name="connsiteY51" fmla="*/ 3499 h 10000"/>
                <a:gd name="connsiteX52" fmla="*/ 8703 w 10000"/>
                <a:gd name="connsiteY52" fmla="*/ 3676 h 10000"/>
                <a:gd name="connsiteX53" fmla="*/ 8703 w 10000"/>
                <a:gd name="connsiteY53" fmla="*/ 3852 h 10000"/>
                <a:gd name="connsiteX54" fmla="*/ 8789 w 10000"/>
                <a:gd name="connsiteY54" fmla="*/ 3993 h 10000"/>
                <a:gd name="connsiteX55" fmla="*/ 8905 w 10000"/>
                <a:gd name="connsiteY55" fmla="*/ 4241 h 10000"/>
                <a:gd name="connsiteX56" fmla="*/ 9050 w 10000"/>
                <a:gd name="connsiteY56" fmla="*/ 4347 h 10000"/>
                <a:gd name="connsiteX57" fmla="*/ 9251 w 10000"/>
                <a:gd name="connsiteY57" fmla="*/ 4593 h 10000"/>
                <a:gd name="connsiteX58" fmla="*/ 9653 w 10000"/>
                <a:gd name="connsiteY58" fmla="*/ 4841 h 10000"/>
                <a:gd name="connsiteX59" fmla="*/ 9856 w 10000"/>
                <a:gd name="connsiteY59" fmla="*/ 5088 h 10000"/>
                <a:gd name="connsiteX60" fmla="*/ 10000 w 10000"/>
                <a:gd name="connsiteY60" fmla="*/ 5159 h 10000"/>
                <a:gd name="connsiteX61" fmla="*/ 9653 w 10000"/>
                <a:gd name="connsiteY61" fmla="*/ 5690 h 10000"/>
                <a:gd name="connsiteX62" fmla="*/ 9511 w 10000"/>
                <a:gd name="connsiteY62" fmla="*/ 5759 h 10000"/>
                <a:gd name="connsiteX63" fmla="*/ 9454 w 10000"/>
                <a:gd name="connsiteY63" fmla="*/ 5830 h 10000"/>
                <a:gd name="connsiteX64" fmla="*/ 9454 w 10000"/>
                <a:gd name="connsiteY64" fmla="*/ 6007 h 10000"/>
                <a:gd name="connsiteX65" fmla="*/ 9395 w 10000"/>
                <a:gd name="connsiteY65" fmla="*/ 6007 h 10000"/>
                <a:gd name="connsiteX66" fmla="*/ 9395 w 10000"/>
                <a:gd name="connsiteY66" fmla="*/ 6254 h 10000"/>
                <a:gd name="connsiteX67" fmla="*/ 9251 w 10000"/>
                <a:gd name="connsiteY67" fmla="*/ 6361 h 10000"/>
                <a:gd name="connsiteX68" fmla="*/ 9193 w 10000"/>
                <a:gd name="connsiteY68" fmla="*/ 6502 h 10000"/>
                <a:gd name="connsiteX69" fmla="*/ 9050 w 10000"/>
                <a:gd name="connsiteY69" fmla="*/ 6607 h 10000"/>
                <a:gd name="connsiteX70" fmla="*/ 8992 w 10000"/>
                <a:gd name="connsiteY70" fmla="*/ 6679 h 10000"/>
                <a:gd name="connsiteX71" fmla="*/ 8905 w 10000"/>
                <a:gd name="connsiteY71" fmla="*/ 6679 h 10000"/>
                <a:gd name="connsiteX72" fmla="*/ 8789 w 10000"/>
                <a:gd name="connsiteY72" fmla="*/ 6607 h 10000"/>
                <a:gd name="connsiteX73" fmla="*/ 8789 w 10000"/>
                <a:gd name="connsiteY73" fmla="*/ 6679 h 10000"/>
                <a:gd name="connsiteX74" fmla="*/ 8501 w 10000"/>
                <a:gd name="connsiteY74" fmla="*/ 6679 h 10000"/>
                <a:gd name="connsiteX75" fmla="*/ 8501 w 10000"/>
                <a:gd name="connsiteY75" fmla="*/ 6856 h 10000"/>
                <a:gd name="connsiteX76" fmla="*/ 8357 w 10000"/>
                <a:gd name="connsiteY76" fmla="*/ 6926 h 10000"/>
                <a:gd name="connsiteX77" fmla="*/ 8357 w 10000"/>
                <a:gd name="connsiteY77" fmla="*/ 7173 h 10000"/>
                <a:gd name="connsiteX78" fmla="*/ 4813 w 10000"/>
                <a:gd name="connsiteY78"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248 w 10000"/>
                <a:gd name="connsiteY6" fmla="*/ 1837 h 10000"/>
                <a:gd name="connsiteX7" fmla="*/ 2797 w 10000"/>
                <a:gd name="connsiteY7" fmla="*/ 1660 h 10000"/>
                <a:gd name="connsiteX8" fmla="*/ 2997 w 10000"/>
                <a:gd name="connsiteY8" fmla="*/ 1660 h 10000"/>
                <a:gd name="connsiteX9" fmla="*/ 3199 w 10000"/>
                <a:gd name="connsiteY9" fmla="*/ 1520 h 10000"/>
                <a:gd name="connsiteX10" fmla="*/ 3400 w 10000"/>
                <a:gd name="connsiteY10" fmla="*/ 1520 h 10000"/>
                <a:gd name="connsiteX11" fmla="*/ 3459 w 10000"/>
                <a:gd name="connsiteY11" fmla="*/ 1414 h 10000"/>
                <a:gd name="connsiteX12" fmla="*/ 3804 w 10000"/>
                <a:gd name="connsiteY12" fmla="*/ 1414 h 10000"/>
                <a:gd name="connsiteX13" fmla="*/ 3862 w 10000"/>
                <a:gd name="connsiteY13" fmla="*/ 1237 h 10000"/>
                <a:gd name="connsiteX14" fmla="*/ 3949 w 10000"/>
                <a:gd name="connsiteY14" fmla="*/ 1237 h 10000"/>
                <a:gd name="connsiteX15" fmla="*/ 4293 w 10000"/>
                <a:gd name="connsiteY15" fmla="*/ 1166 h 10000"/>
                <a:gd name="connsiteX16" fmla="*/ 4409 w 10000"/>
                <a:gd name="connsiteY16" fmla="*/ 1166 h 10000"/>
                <a:gd name="connsiteX17" fmla="*/ 4611 w 10000"/>
                <a:gd name="connsiteY17" fmla="*/ 989 h 10000"/>
                <a:gd name="connsiteX18" fmla="*/ 4755 w 10000"/>
                <a:gd name="connsiteY18" fmla="*/ 989 h 10000"/>
                <a:gd name="connsiteX19" fmla="*/ 4813 w 10000"/>
                <a:gd name="connsiteY19" fmla="*/ 919 h 10000"/>
                <a:gd name="connsiteX20" fmla="*/ 5447 w 10000"/>
                <a:gd name="connsiteY20" fmla="*/ 671 h 10000"/>
                <a:gd name="connsiteX21" fmla="*/ 5561 w 10000"/>
                <a:gd name="connsiteY21" fmla="*/ 671 h 10000"/>
                <a:gd name="connsiteX22" fmla="*/ 5707 w 10000"/>
                <a:gd name="connsiteY22" fmla="*/ 600 h 10000"/>
                <a:gd name="connsiteX23" fmla="*/ 6053 w 10000"/>
                <a:gd name="connsiteY23" fmla="*/ 423 h 10000"/>
                <a:gd name="connsiteX24" fmla="*/ 7407 w 10000"/>
                <a:gd name="connsiteY24" fmla="*/ 0 h 10000"/>
                <a:gd name="connsiteX25" fmla="*/ 7551 w 10000"/>
                <a:gd name="connsiteY25" fmla="*/ 0 h 10000"/>
                <a:gd name="connsiteX26" fmla="*/ 7608 w 10000"/>
                <a:gd name="connsiteY26" fmla="*/ 71 h 10000"/>
                <a:gd name="connsiteX27" fmla="*/ 7896 w 10000"/>
                <a:gd name="connsiteY27" fmla="*/ 248 h 10000"/>
                <a:gd name="connsiteX28" fmla="*/ 8040 w 10000"/>
                <a:gd name="connsiteY28" fmla="*/ 248 h 10000"/>
                <a:gd name="connsiteX29" fmla="*/ 8099 w 10000"/>
                <a:gd name="connsiteY29" fmla="*/ 317 h 10000"/>
                <a:gd name="connsiteX30" fmla="*/ 8243 w 10000"/>
                <a:gd name="connsiteY30" fmla="*/ 423 h 10000"/>
                <a:gd name="connsiteX31" fmla="*/ 8243 w 10000"/>
                <a:gd name="connsiteY31" fmla="*/ 600 h 10000"/>
                <a:gd name="connsiteX32" fmla="*/ 8300 w 10000"/>
                <a:gd name="connsiteY32" fmla="*/ 848 h 10000"/>
                <a:gd name="connsiteX33" fmla="*/ 8300 w 10000"/>
                <a:gd name="connsiteY33" fmla="*/ 919 h 10000"/>
                <a:gd name="connsiteX34" fmla="*/ 8357 w 10000"/>
                <a:gd name="connsiteY34" fmla="*/ 1166 h 10000"/>
                <a:gd name="connsiteX35" fmla="*/ 8501 w 10000"/>
                <a:gd name="connsiteY35" fmla="*/ 1166 h 10000"/>
                <a:gd name="connsiteX36" fmla="*/ 8501 w 10000"/>
                <a:gd name="connsiteY36" fmla="*/ 1237 h 10000"/>
                <a:gd name="connsiteX37" fmla="*/ 8992 w 10000"/>
                <a:gd name="connsiteY37" fmla="*/ 1237 h 10000"/>
                <a:gd name="connsiteX38" fmla="*/ 9193 w 10000"/>
                <a:gd name="connsiteY38" fmla="*/ 1414 h 10000"/>
                <a:gd name="connsiteX39" fmla="*/ 9193 w 10000"/>
                <a:gd name="connsiteY39" fmla="*/ 1520 h 10000"/>
                <a:gd name="connsiteX40" fmla="*/ 9050 w 10000"/>
                <a:gd name="connsiteY40" fmla="*/ 1520 h 10000"/>
                <a:gd name="connsiteX41" fmla="*/ 8992 w 10000"/>
                <a:gd name="connsiteY41" fmla="*/ 1660 h 10000"/>
                <a:gd name="connsiteX42" fmla="*/ 8992 w 10000"/>
                <a:gd name="connsiteY42" fmla="*/ 2084 h 10000"/>
                <a:gd name="connsiteX43" fmla="*/ 8905 w 10000"/>
                <a:gd name="connsiteY43" fmla="*/ 2403 h 10000"/>
                <a:gd name="connsiteX44" fmla="*/ 8789 w 10000"/>
                <a:gd name="connsiteY44" fmla="*/ 2686 h 10000"/>
                <a:gd name="connsiteX45" fmla="*/ 8703 w 10000"/>
                <a:gd name="connsiteY45" fmla="*/ 2827 h 10000"/>
                <a:gd name="connsiteX46" fmla="*/ 8703 w 10000"/>
                <a:gd name="connsiteY46" fmla="*/ 3074 h 10000"/>
                <a:gd name="connsiteX47" fmla="*/ 8789 w 10000"/>
                <a:gd name="connsiteY47" fmla="*/ 3074 h 10000"/>
                <a:gd name="connsiteX48" fmla="*/ 8905 w 10000"/>
                <a:gd name="connsiteY48" fmla="*/ 3180 h 10000"/>
                <a:gd name="connsiteX49" fmla="*/ 8905 w 10000"/>
                <a:gd name="connsiteY49" fmla="*/ 3251 h 10000"/>
                <a:gd name="connsiteX50" fmla="*/ 8789 w 10000"/>
                <a:gd name="connsiteY50" fmla="*/ 3499 h 10000"/>
                <a:gd name="connsiteX51" fmla="*/ 8703 w 10000"/>
                <a:gd name="connsiteY51" fmla="*/ 3676 h 10000"/>
                <a:gd name="connsiteX52" fmla="*/ 8703 w 10000"/>
                <a:gd name="connsiteY52" fmla="*/ 3852 h 10000"/>
                <a:gd name="connsiteX53" fmla="*/ 8789 w 10000"/>
                <a:gd name="connsiteY53" fmla="*/ 3993 h 10000"/>
                <a:gd name="connsiteX54" fmla="*/ 8905 w 10000"/>
                <a:gd name="connsiteY54" fmla="*/ 4241 h 10000"/>
                <a:gd name="connsiteX55" fmla="*/ 9050 w 10000"/>
                <a:gd name="connsiteY55" fmla="*/ 4347 h 10000"/>
                <a:gd name="connsiteX56" fmla="*/ 9251 w 10000"/>
                <a:gd name="connsiteY56" fmla="*/ 4593 h 10000"/>
                <a:gd name="connsiteX57" fmla="*/ 9653 w 10000"/>
                <a:gd name="connsiteY57" fmla="*/ 4841 h 10000"/>
                <a:gd name="connsiteX58" fmla="*/ 9856 w 10000"/>
                <a:gd name="connsiteY58" fmla="*/ 5088 h 10000"/>
                <a:gd name="connsiteX59" fmla="*/ 10000 w 10000"/>
                <a:gd name="connsiteY59" fmla="*/ 5159 h 10000"/>
                <a:gd name="connsiteX60" fmla="*/ 9653 w 10000"/>
                <a:gd name="connsiteY60" fmla="*/ 5690 h 10000"/>
                <a:gd name="connsiteX61" fmla="*/ 9511 w 10000"/>
                <a:gd name="connsiteY61" fmla="*/ 5759 h 10000"/>
                <a:gd name="connsiteX62" fmla="*/ 9454 w 10000"/>
                <a:gd name="connsiteY62" fmla="*/ 5830 h 10000"/>
                <a:gd name="connsiteX63" fmla="*/ 9454 w 10000"/>
                <a:gd name="connsiteY63" fmla="*/ 6007 h 10000"/>
                <a:gd name="connsiteX64" fmla="*/ 9395 w 10000"/>
                <a:gd name="connsiteY64" fmla="*/ 6007 h 10000"/>
                <a:gd name="connsiteX65" fmla="*/ 9395 w 10000"/>
                <a:gd name="connsiteY65" fmla="*/ 6254 h 10000"/>
                <a:gd name="connsiteX66" fmla="*/ 9251 w 10000"/>
                <a:gd name="connsiteY66" fmla="*/ 6361 h 10000"/>
                <a:gd name="connsiteX67" fmla="*/ 9193 w 10000"/>
                <a:gd name="connsiteY67" fmla="*/ 6502 h 10000"/>
                <a:gd name="connsiteX68" fmla="*/ 9050 w 10000"/>
                <a:gd name="connsiteY68" fmla="*/ 6607 h 10000"/>
                <a:gd name="connsiteX69" fmla="*/ 8992 w 10000"/>
                <a:gd name="connsiteY69" fmla="*/ 6679 h 10000"/>
                <a:gd name="connsiteX70" fmla="*/ 8905 w 10000"/>
                <a:gd name="connsiteY70" fmla="*/ 6679 h 10000"/>
                <a:gd name="connsiteX71" fmla="*/ 8789 w 10000"/>
                <a:gd name="connsiteY71" fmla="*/ 6607 h 10000"/>
                <a:gd name="connsiteX72" fmla="*/ 8789 w 10000"/>
                <a:gd name="connsiteY72" fmla="*/ 6679 h 10000"/>
                <a:gd name="connsiteX73" fmla="*/ 8501 w 10000"/>
                <a:gd name="connsiteY73" fmla="*/ 6679 h 10000"/>
                <a:gd name="connsiteX74" fmla="*/ 8501 w 10000"/>
                <a:gd name="connsiteY74" fmla="*/ 6856 h 10000"/>
                <a:gd name="connsiteX75" fmla="*/ 8357 w 10000"/>
                <a:gd name="connsiteY75" fmla="*/ 6926 h 10000"/>
                <a:gd name="connsiteX76" fmla="*/ 8357 w 10000"/>
                <a:gd name="connsiteY76" fmla="*/ 7173 h 10000"/>
                <a:gd name="connsiteX77" fmla="*/ 4813 w 10000"/>
                <a:gd name="connsiteY77"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3400 w 10000"/>
                <a:gd name="connsiteY9" fmla="*/ 1520 h 10000"/>
                <a:gd name="connsiteX10" fmla="*/ 3459 w 10000"/>
                <a:gd name="connsiteY10" fmla="*/ 1414 h 10000"/>
                <a:gd name="connsiteX11" fmla="*/ 3804 w 10000"/>
                <a:gd name="connsiteY11" fmla="*/ 1414 h 10000"/>
                <a:gd name="connsiteX12" fmla="*/ 3862 w 10000"/>
                <a:gd name="connsiteY12" fmla="*/ 1237 h 10000"/>
                <a:gd name="connsiteX13" fmla="*/ 3949 w 10000"/>
                <a:gd name="connsiteY13" fmla="*/ 1237 h 10000"/>
                <a:gd name="connsiteX14" fmla="*/ 4293 w 10000"/>
                <a:gd name="connsiteY14" fmla="*/ 1166 h 10000"/>
                <a:gd name="connsiteX15" fmla="*/ 4409 w 10000"/>
                <a:gd name="connsiteY15" fmla="*/ 1166 h 10000"/>
                <a:gd name="connsiteX16" fmla="*/ 4611 w 10000"/>
                <a:gd name="connsiteY16" fmla="*/ 989 h 10000"/>
                <a:gd name="connsiteX17" fmla="*/ 4755 w 10000"/>
                <a:gd name="connsiteY17" fmla="*/ 989 h 10000"/>
                <a:gd name="connsiteX18" fmla="*/ 4813 w 10000"/>
                <a:gd name="connsiteY18" fmla="*/ 919 h 10000"/>
                <a:gd name="connsiteX19" fmla="*/ 5447 w 10000"/>
                <a:gd name="connsiteY19" fmla="*/ 671 h 10000"/>
                <a:gd name="connsiteX20" fmla="*/ 5561 w 10000"/>
                <a:gd name="connsiteY20" fmla="*/ 671 h 10000"/>
                <a:gd name="connsiteX21" fmla="*/ 5707 w 10000"/>
                <a:gd name="connsiteY21" fmla="*/ 600 h 10000"/>
                <a:gd name="connsiteX22" fmla="*/ 6053 w 10000"/>
                <a:gd name="connsiteY22" fmla="*/ 423 h 10000"/>
                <a:gd name="connsiteX23" fmla="*/ 7407 w 10000"/>
                <a:gd name="connsiteY23" fmla="*/ 0 h 10000"/>
                <a:gd name="connsiteX24" fmla="*/ 7551 w 10000"/>
                <a:gd name="connsiteY24" fmla="*/ 0 h 10000"/>
                <a:gd name="connsiteX25" fmla="*/ 7608 w 10000"/>
                <a:gd name="connsiteY25" fmla="*/ 71 h 10000"/>
                <a:gd name="connsiteX26" fmla="*/ 7896 w 10000"/>
                <a:gd name="connsiteY26" fmla="*/ 248 h 10000"/>
                <a:gd name="connsiteX27" fmla="*/ 8040 w 10000"/>
                <a:gd name="connsiteY27" fmla="*/ 248 h 10000"/>
                <a:gd name="connsiteX28" fmla="*/ 8099 w 10000"/>
                <a:gd name="connsiteY28" fmla="*/ 317 h 10000"/>
                <a:gd name="connsiteX29" fmla="*/ 8243 w 10000"/>
                <a:gd name="connsiteY29" fmla="*/ 423 h 10000"/>
                <a:gd name="connsiteX30" fmla="*/ 8243 w 10000"/>
                <a:gd name="connsiteY30" fmla="*/ 600 h 10000"/>
                <a:gd name="connsiteX31" fmla="*/ 8300 w 10000"/>
                <a:gd name="connsiteY31" fmla="*/ 848 h 10000"/>
                <a:gd name="connsiteX32" fmla="*/ 8300 w 10000"/>
                <a:gd name="connsiteY32" fmla="*/ 919 h 10000"/>
                <a:gd name="connsiteX33" fmla="*/ 8357 w 10000"/>
                <a:gd name="connsiteY33" fmla="*/ 1166 h 10000"/>
                <a:gd name="connsiteX34" fmla="*/ 8501 w 10000"/>
                <a:gd name="connsiteY34" fmla="*/ 1166 h 10000"/>
                <a:gd name="connsiteX35" fmla="*/ 8501 w 10000"/>
                <a:gd name="connsiteY35" fmla="*/ 1237 h 10000"/>
                <a:gd name="connsiteX36" fmla="*/ 8992 w 10000"/>
                <a:gd name="connsiteY36" fmla="*/ 1237 h 10000"/>
                <a:gd name="connsiteX37" fmla="*/ 9193 w 10000"/>
                <a:gd name="connsiteY37" fmla="*/ 1414 h 10000"/>
                <a:gd name="connsiteX38" fmla="*/ 9193 w 10000"/>
                <a:gd name="connsiteY38" fmla="*/ 1520 h 10000"/>
                <a:gd name="connsiteX39" fmla="*/ 9050 w 10000"/>
                <a:gd name="connsiteY39" fmla="*/ 1520 h 10000"/>
                <a:gd name="connsiteX40" fmla="*/ 8992 w 10000"/>
                <a:gd name="connsiteY40" fmla="*/ 1660 h 10000"/>
                <a:gd name="connsiteX41" fmla="*/ 8992 w 10000"/>
                <a:gd name="connsiteY41" fmla="*/ 2084 h 10000"/>
                <a:gd name="connsiteX42" fmla="*/ 8905 w 10000"/>
                <a:gd name="connsiteY42" fmla="*/ 2403 h 10000"/>
                <a:gd name="connsiteX43" fmla="*/ 8789 w 10000"/>
                <a:gd name="connsiteY43" fmla="*/ 2686 h 10000"/>
                <a:gd name="connsiteX44" fmla="*/ 8703 w 10000"/>
                <a:gd name="connsiteY44" fmla="*/ 2827 h 10000"/>
                <a:gd name="connsiteX45" fmla="*/ 8703 w 10000"/>
                <a:gd name="connsiteY45" fmla="*/ 3074 h 10000"/>
                <a:gd name="connsiteX46" fmla="*/ 8789 w 10000"/>
                <a:gd name="connsiteY46" fmla="*/ 3074 h 10000"/>
                <a:gd name="connsiteX47" fmla="*/ 8905 w 10000"/>
                <a:gd name="connsiteY47" fmla="*/ 3180 h 10000"/>
                <a:gd name="connsiteX48" fmla="*/ 8905 w 10000"/>
                <a:gd name="connsiteY48" fmla="*/ 3251 h 10000"/>
                <a:gd name="connsiteX49" fmla="*/ 8789 w 10000"/>
                <a:gd name="connsiteY49" fmla="*/ 3499 h 10000"/>
                <a:gd name="connsiteX50" fmla="*/ 8703 w 10000"/>
                <a:gd name="connsiteY50" fmla="*/ 3676 h 10000"/>
                <a:gd name="connsiteX51" fmla="*/ 8703 w 10000"/>
                <a:gd name="connsiteY51" fmla="*/ 3852 h 10000"/>
                <a:gd name="connsiteX52" fmla="*/ 8789 w 10000"/>
                <a:gd name="connsiteY52" fmla="*/ 3993 h 10000"/>
                <a:gd name="connsiteX53" fmla="*/ 8905 w 10000"/>
                <a:gd name="connsiteY53" fmla="*/ 4241 h 10000"/>
                <a:gd name="connsiteX54" fmla="*/ 9050 w 10000"/>
                <a:gd name="connsiteY54" fmla="*/ 4347 h 10000"/>
                <a:gd name="connsiteX55" fmla="*/ 9251 w 10000"/>
                <a:gd name="connsiteY55" fmla="*/ 4593 h 10000"/>
                <a:gd name="connsiteX56" fmla="*/ 9653 w 10000"/>
                <a:gd name="connsiteY56" fmla="*/ 4841 h 10000"/>
                <a:gd name="connsiteX57" fmla="*/ 9856 w 10000"/>
                <a:gd name="connsiteY57" fmla="*/ 5088 h 10000"/>
                <a:gd name="connsiteX58" fmla="*/ 10000 w 10000"/>
                <a:gd name="connsiteY58" fmla="*/ 5159 h 10000"/>
                <a:gd name="connsiteX59" fmla="*/ 9653 w 10000"/>
                <a:gd name="connsiteY59" fmla="*/ 5690 h 10000"/>
                <a:gd name="connsiteX60" fmla="*/ 9511 w 10000"/>
                <a:gd name="connsiteY60" fmla="*/ 5759 h 10000"/>
                <a:gd name="connsiteX61" fmla="*/ 9454 w 10000"/>
                <a:gd name="connsiteY61" fmla="*/ 5830 h 10000"/>
                <a:gd name="connsiteX62" fmla="*/ 9454 w 10000"/>
                <a:gd name="connsiteY62" fmla="*/ 6007 h 10000"/>
                <a:gd name="connsiteX63" fmla="*/ 9395 w 10000"/>
                <a:gd name="connsiteY63" fmla="*/ 6007 h 10000"/>
                <a:gd name="connsiteX64" fmla="*/ 9395 w 10000"/>
                <a:gd name="connsiteY64" fmla="*/ 6254 h 10000"/>
                <a:gd name="connsiteX65" fmla="*/ 9251 w 10000"/>
                <a:gd name="connsiteY65" fmla="*/ 6361 h 10000"/>
                <a:gd name="connsiteX66" fmla="*/ 9193 w 10000"/>
                <a:gd name="connsiteY66" fmla="*/ 6502 h 10000"/>
                <a:gd name="connsiteX67" fmla="*/ 9050 w 10000"/>
                <a:gd name="connsiteY67" fmla="*/ 6607 h 10000"/>
                <a:gd name="connsiteX68" fmla="*/ 8992 w 10000"/>
                <a:gd name="connsiteY68" fmla="*/ 6679 h 10000"/>
                <a:gd name="connsiteX69" fmla="*/ 8905 w 10000"/>
                <a:gd name="connsiteY69" fmla="*/ 6679 h 10000"/>
                <a:gd name="connsiteX70" fmla="*/ 8789 w 10000"/>
                <a:gd name="connsiteY70" fmla="*/ 6607 h 10000"/>
                <a:gd name="connsiteX71" fmla="*/ 8789 w 10000"/>
                <a:gd name="connsiteY71" fmla="*/ 6679 h 10000"/>
                <a:gd name="connsiteX72" fmla="*/ 8501 w 10000"/>
                <a:gd name="connsiteY72" fmla="*/ 6679 h 10000"/>
                <a:gd name="connsiteX73" fmla="*/ 8501 w 10000"/>
                <a:gd name="connsiteY73" fmla="*/ 6856 h 10000"/>
                <a:gd name="connsiteX74" fmla="*/ 8357 w 10000"/>
                <a:gd name="connsiteY74" fmla="*/ 6926 h 10000"/>
                <a:gd name="connsiteX75" fmla="*/ 8357 w 10000"/>
                <a:gd name="connsiteY75" fmla="*/ 7173 h 10000"/>
                <a:gd name="connsiteX76" fmla="*/ 4813 w 10000"/>
                <a:gd name="connsiteY76"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3400 w 10000"/>
                <a:gd name="connsiteY9" fmla="*/ 1520 h 10000"/>
                <a:gd name="connsiteX10" fmla="*/ 3459 w 10000"/>
                <a:gd name="connsiteY10" fmla="*/ 1414 h 10000"/>
                <a:gd name="connsiteX11" fmla="*/ 3804 w 10000"/>
                <a:gd name="connsiteY11" fmla="*/ 1414 h 10000"/>
                <a:gd name="connsiteX12" fmla="*/ 3862 w 10000"/>
                <a:gd name="connsiteY12" fmla="*/ 1237 h 10000"/>
                <a:gd name="connsiteX13" fmla="*/ 3949 w 10000"/>
                <a:gd name="connsiteY13" fmla="*/ 1237 h 10000"/>
                <a:gd name="connsiteX14" fmla="*/ 4409 w 10000"/>
                <a:gd name="connsiteY14" fmla="*/ 1166 h 10000"/>
                <a:gd name="connsiteX15" fmla="*/ 4611 w 10000"/>
                <a:gd name="connsiteY15" fmla="*/ 989 h 10000"/>
                <a:gd name="connsiteX16" fmla="*/ 4755 w 10000"/>
                <a:gd name="connsiteY16" fmla="*/ 989 h 10000"/>
                <a:gd name="connsiteX17" fmla="*/ 4813 w 10000"/>
                <a:gd name="connsiteY17" fmla="*/ 919 h 10000"/>
                <a:gd name="connsiteX18" fmla="*/ 5447 w 10000"/>
                <a:gd name="connsiteY18" fmla="*/ 671 h 10000"/>
                <a:gd name="connsiteX19" fmla="*/ 5561 w 10000"/>
                <a:gd name="connsiteY19" fmla="*/ 671 h 10000"/>
                <a:gd name="connsiteX20" fmla="*/ 5707 w 10000"/>
                <a:gd name="connsiteY20" fmla="*/ 600 h 10000"/>
                <a:gd name="connsiteX21" fmla="*/ 6053 w 10000"/>
                <a:gd name="connsiteY21" fmla="*/ 423 h 10000"/>
                <a:gd name="connsiteX22" fmla="*/ 7407 w 10000"/>
                <a:gd name="connsiteY22" fmla="*/ 0 h 10000"/>
                <a:gd name="connsiteX23" fmla="*/ 7551 w 10000"/>
                <a:gd name="connsiteY23" fmla="*/ 0 h 10000"/>
                <a:gd name="connsiteX24" fmla="*/ 7608 w 10000"/>
                <a:gd name="connsiteY24" fmla="*/ 71 h 10000"/>
                <a:gd name="connsiteX25" fmla="*/ 7896 w 10000"/>
                <a:gd name="connsiteY25" fmla="*/ 248 h 10000"/>
                <a:gd name="connsiteX26" fmla="*/ 8040 w 10000"/>
                <a:gd name="connsiteY26" fmla="*/ 248 h 10000"/>
                <a:gd name="connsiteX27" fmla="*/ 8099 w 10000"/>
                <a:gd name="connsiteY27" fmla="*/ 317 h 10000"/>
                <a:gd name="connsiteX28" fmla="*/ 8243 w 10000"/>
                <a:gd name="connsiteY28" fmla="*/ 423 h 10000"/>
                <a:gd name="connsiteX29" fmla="*/ 8243 w 10000"/>
                <a:gd name="connsiteY29" fmla="*/ 600 h 10000"/>
                <a:gd name="connsiteX30" fmla="*/ 8300 w 10000"/>
                <a:gd name="connsiteY30" fmla="*/ 848 h 10000"/>
                <a:gd name="connsiteX31" fmla="*/ 8300 w 10000"/>
                <a:gd name="connsiteY31" fmla="*/ 919 h 10000"/>
                <a:gd name="connsiteX32" fmla="*/ 8357 w 10000"/>
                <a:gd name="connsiteY32" fmla="*/ 1166 h 10000"/>
                <a:gd name="connsiteX33" fmla="*/ 8501 w 10000"/>
                <a:gd name="connsiteY33" fmla="*/ 1166 h 10000"/>
                <a:gd name="connsiteX34" fmla="*/ 8501 w 10000"/>
                <a:gd name="connsiteY34" fmla="*/ 1237 h 10000"/>
                <a:gd name="connsiteX35" fmla="*/ 8992 w 10000"/>
                <a:gd name="connsiteY35" fmla="*/ 1237 h 10000"/>
                <a:gd name="connsiteX36" fmla="*/ 9193 w 10000"/>
                <a:gd name="connsiteY36" fmla="*/ 1414 h 10000"/>
                <a:gd name="connsiteX37" fmla="*/ 9193 w 10000"/>
                <a:gd name="connsiteY37" fmla="*/ 1520 h 10000"/>
                <a:gd name="connsiteX38" fmla="*/ 9050 w 10000"/>
                <a:gd name="connsiteY38" fmla="*/ 1520 h 10000"/>
                <a:gd name="connsiteX39" fmla="*/ 8992 w 10000"/>
                <a:gd name="connsiteY39" fmla="*/ 1660 h 10000"/>
                <a:gd name="connsiteX40" fmla="*/ 8992 w 10000"/>
                <a:gd name="connsiteY40" fmla="*/ 2084 h 10000"/>
                <a:gd name="connsiteX41" fmla="*/ 8905 w 10000"/>
                <a:gd name="connsiteY41" fmla="*/ 2403 h 10000"/>
                <a:gd name="connsiteX42" fmla="*/ 8789 w 10000"/>
                <a:gd name="connsiteY42" fmla="*/ 2686 h 10000"/>
                <a:gd name="connsiteX43" fmla="*/ 8703 w 10000"/>
                <a:gd name="connsiteY43" fmla="*/ 2827 h 10000"/>
                <a:gd name="connsiteX44" fmla="*/ 8703 w 10000"/>
                <a:gd name="connsiteY44" fmla="*/ 3074 h 10000"/>
                <a:gd name="connsiteX45" fmla="*/ 8789 w 10000"/>
                <a:gd name="connsiteY45" fmla="*/ 3074 h 10000"/>
                <a:gd name="connsiteX46" fmla="*/ 8905 w 10000"/>
                <a:gd name="connsiteY46" fmla="*/ 3180 h 10000"/>
                <a:gd name="connsiteX47" fmla="*/ 8905 w 10000"/>
                <a:gd name="connsiteY47" fmla="*/ 3251 h 10000"/>
                <a:gd name="connsiteX48" fmla="*/ 8789 w 10000"/>
                <a:gd name="connsiteY48" fmla="*/ 3499 h 10000"/>
                <a:gd name="connsiteX49" fmla="*/ 8703 w 10000"/>
                <a:gd name="connsiteY49" fmla="*/ 3676 h 10000"/>
                <a:gd name="connsiteX50" fmla="*/ 8703 w 10000"/>
                <a:gd name="connsiteY50" fmla="*/ 3852 h 10000"/>
                <a:gd name="connsiteX51" fmla="*/ 8789 w 10000"/>
                <a:gd name="connsiteY51" fmla="*/ 3993 h 10000"/>
                <a:gd name="connsiteX52" fmla="*/ 8905 w 10000"/>
                <a:gd name="connsiteY52" fmla="*/ 4241 h 10000"/>
                <a:gd name="connsiteX53" fmla="*/ 9050 w 10000"/>
                <a:gd name="connsiteY53" fmla="*/ 4347 h 10000"/>
                <a:gd name="connsiteX54" fmla="*/ 9251 w 10000"/>
                <a:gd name="connsiteY54" fmla="*/ 4593 h 10000"/>
                <a:gd name="connsiteX55" fmla="*/ 9653 w 10000"/>
                <a:gd name="connsiteY55" fmla="*/ 4841 h 10000"/>
                <a:gd name="connsiteX56" fmla="*/ 9856 w 10000"/>
                <a:gd name="connsiteY56" fmla="*/ 5088 h 10000"/>
                <a:gd name="connsiteX57" fmla="*/ 10000 w 10000"/>
                <a:gd name="connsiteY57" fmla="*/ 5159 h 10000"/>
                <a:gd name="connsiteX58" fmla="*/ 9653 w 10000"/>
                <a:gd name="connsiteY58" fmla="*/ 5690 h 10000"/>
                <a:gd name="connsiteX59" fmla="*/ 9511 w 10000"/>
                <a:gd name="connsiteY59" fmla="*/ 5759 h 10000"/>
                <a:gd name="connsiteX60" fmla="*/ 9454 w 10000"/>
                <a:gd name="connsiteY60" fmla="*/ 5830 h 10000"/>
                <a:gd name="connsiteX61" fmla="*/ 9454 w 10000"/>
                <a:gd name="connsiteY61" fmla="*/ 6007 h 10000"/>
                <a:gd name="connsiteX62" fmla="*/ 9395 w 10000"/>
                <a:gd name="connsiteY62" fmla="*/ 6007 h 10000"/>
                <a:gd name="connsiteX63" fmla="*/ 9395 w 10000"/>
                <a:gd name="connsiteY63" fmla="*/ 6254 h 10000"/>
                <a:gd name="connsiteX64" fmla="*/ 9251 w 10000"/>
                <a:gd name="connsiteY64" fmla="*/ 6361 h 10000"/>
                <a:gd name="connsiteX65" fmla="*/ 9193 w 10000"/>
                <a:gd name="connsiteY65" fmla="*/ 6502 h 10000"/>
                <a:gd name="connsiteX66" fmla="*/ 9050 w 10000"/>
                <a:gd name="connsiteY66" fmla="*/ 6607 h 10000"/>
                <a:gd name="connsiteX67" fmla="*/ 8992 w 10000"/>
                <a:gd name="connsiteY67" fmla="*/ 6679 h 10000"/>
                <a:gd name="connsiteX68" fmla="*/ 8905 w 10000"/>
                <a:gd name="connsiteY68" fmla="*/ 6679 h 10000"/>
                <a:gd name="connsiteX69" fmla="*/ 8789 w 10000"/>
                <a:gd name="connsiteY69" fmla="*/ 6607 h 10000"/>
                <a:gd name="connsiteX70" fmla="*/ 8789 w 10000"/>
                <a:gd name="connsiteY70" fmla="*/ 6679 h 10000"/>
                <a:gd name="connsiteX71" fmla="*/ 8501 w 10000"/>
                <a:gd name="connsiteY71" fmla="*/ 6679 h 10000"/>
                <a:gd name="connsiteX72" fmla="*/ 8501 w 10000"/>
                <a:gd name="connsiteY72" fmla="*/ 6856 h 10000"/>
                <a:gd name="connsiteX73" fmla="*/ 8357 w 10000"/>
                <a:gd name="connsiteY73" fmla="*/ 6926 h 10000"/>
                <a:gd name="connsiteX74" fmla="*/ 8357 w 10000"/>
                <a:gd name="connsiteY74" fmla="*/ 7173 h 10000"/>
                <a:gd name="connsiteX75" fmla="*/ 4813 w 10000"/>
                <a:gd name="connsiteY75"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3400 w 10000"/>
                <a:gd name="connsiteY9" fmla="*/ 1520 h 10000"/>
                <a:gd name="connsiteX10" fmla="*/ 3459 w 10000"/>
                <a:gd name="connsiteY10" fmla="*/ 1414 h 10000"/>
                <a:gd name="connsiteX11" fmla="*/ 3804 w 10000"/>
                <a:gd name="connsiteY11" fmla="*/ 1414 h 10000"/>
                <a:gd name="connsiteX12" fmla="*/ 3862 w 10000"/>
                <a:gd name="connsiteY12" fmla="*/ 1237 h 10000"/>
                <a:gd name="connsiteX13" fmla="*/ 4409 w 10000"/>
                <a:gd name="connsiteY13" fmla="*/ 1166 h 10000"/>
                <a:gd name="connsiteX14" fmla="*/ 4611 w 10000"/>
                <a:gd name="connsiteY14" fmla="*/ 989 h 10000"/>
                <a:gd name="connsiteX15" fmla="*/ 4755 w 10000"/>
                <a:gd name="connsiteY15" fmla="*/ 989 h 10000"/>
                <a:gd name="connsiteX16" fmla="*/ 4813 w 10000"/>
                <a:gd name="connsiteY16" fmla="*/ 919 h 10000"/>
                <a:gd name="connsiteX17" fmla="*/ 5447 w 10000"/>
                <a:gd name="connsiteY17" fmla="*/ 671 h 10000"/>
                <a:gd name="connsiteX18" fmla="*/ 5561 w 10000"/>
                <a:gd name="connsiteY18" fmla="*/ 671 h 10000"/>
                <a:gd name="connsiteX19" fmla="*/ 5707 w 10000"/>
                <a:gd name="connsiteY19" fmla="*/ 600 h 10000"/>
                <a:gd name="connsiteX20" fmla="*/ 6053 w 10000"/>
                <a:gd name="connsiteY20" fmla="*/ 423 h 10000"/>
                <a:gd name="connsiteX21" fmla="*/ 7407 w 10000"/>
                <a:gd name="connsiteY21" fmla="*/ 0 h 10000"/>
                <a:gd name="connsiteX22" fmla="*/ 7551 w 10000"/>
                <a:gd name="connsiteY22" fmla="*/ 0 h 10000"/>
                <a:gd name="connsiteX23" fmla="*/ 7608 w 10000"/>
                <a:gd name="connsiteY23" fmla="*/ 71 h 10000"/>
                <a:gd name="connsiteX24" fmla="*/ 7896 w 10000"/>
                <a:gd name="connsiteY24" fmla="*/ 248 h 10000"/>
                <a:gd name="connsiteX25" fmla="*/ 8040 w 10000"/>
                <a:gd name="connsiteY25" fmla="*/ 248 h 10000"/>
                <a:gd name="connsiteX26" fmla="*/ 8099 w 10000"/>
                <a:gd name="connsiteY26" fmla="*/ 317 h 10000"/>
                <a:gd name="connsiteX27" fmla="*/ 8243 w 10000"/>
                <a:gd name="connsiteY27" fmla="*/ 423 h 10000"/>
                <a:gd name="connsiteX28" fmla="*/ 8243 w 10000"/>
                <a:gd name="connsiteY28" fmla="*/ 600 h 10000"/>
                <a:gd name="connsiteX29" fmla="*/ 8300 w 10000"/>
                <a:gd name="connsiteY29" fmla="*/ 848 h 10000"/>
                <a:gd name="connsiteX30" fmla="*/ 8300 w 10000"/>
                <a:gd name="connsiteY30" fmla="*/ 919 h 10000"/>
                <a:gd name="connsiteX31" fmla="*/ 8357 w 10000"/>
                <a:gd name="connsiteY31" fmla="*/ 1166 h 10000"/>
                <a:gd name="connsiteX32" fmla="*/ 8501 w 10000"/>
                <a:gd name="connsiteY32" fmla="*/ 1166 h 10000"/>
                <a:gd name="connsiteX33" fmla="*/ 8501 w 10000"/>
                <a:gd name="connsiteY33" fmla="*/ 1237 h 10000"/>
                <a:gd name="connsiteX34" fmla="*/ 8992 w 10000"/>
                <a:gd name="connsiteY34" fmla="*/ 1237 h 10000"/>
                <a:gd name="connsiteX35" fmla="*/ 9193 w 10000"/>
                <a:gd name="connsiteY35" fmla="*/ 1414 h 10000"/>
                <a:gd name="connsiteX36" fmla="*/ 9193 w 10000"/>
                <a:gd name="connsiteY36" fmla="*/ 1520 h 10000"/>
                <a:gd name="connsiteX37" fmla="*/ 9050 w 10000"/>
                <a:gd name="connsiteY37" fmla="*/ 1520 h 10000"/>
                <a:gd name="connsiteX38" fmla="*/ 8992 w 10000"/>
                <a:gd name="connsiteY38" fmla="*/ 1660 h 10000"/>
                <a:gd name="connsiteX39" fmla="*/ 8992 w 10000"/>
                <a:gd name="connsiteY39" fmla="*/ 2084 h 10000"/>
                <a:gd name="connsiteX40" fmla="*/ 8905 w 10000"/>
                <a:gd name="connsiteY40" fmla="*/ 2403 h 10000"/>
                <a:gd name="connsiteX41" fmla="*/ 8789 w 10000"/>
                <a:gd name="connsiteY41" fmla="*/ 2686 h 10000"/>
                <a:gd name="connsiteX42" fmla="*/ 8703 w 10000"/>
                <a:gd name="connsiteY42" fmla="*/ 2827 h 10000"/>
                <a:gd name="connsiteX43" fmla="*/ 8703 w 10000"/>
                <a:gd name="connsiteY43" fmla="*/ 3074 h 10000"/>
                <a:gd name="connsiteX44" fmla="*/ 8789 w 10000"/>
                <a:gd name="connsiteY44" fmla="*/ 3074 h 10000"/>
                <a:gd name="connsiteX45" fmla="*/ 8905 w 10000"/>
                <a:gd name="connsiteY45" fmla="*/ 3180 h 10000"/>
                <a:gd name="connsiteX46" fmla="*/ 8905 w 10000"/>
                <a:gd name="connsiteY46" fmla="*/ 3251 h 10000"/>
                <a:gd name="connsiteX47" fmla="*/ 8789 w 10000"/>
                <a:gd name="connsiteY47" fmla="*/ 3499 h 10000"/>
                <a:gd name="connsiteX48" fmla="*/ 8703 w 10000"/>
                <a:gd name="connsiteY48" fmla="*/ 3676 h 10000"/>
                <a:gd name="connsiteX49" fmla="*/ 8703 w 10000"/>
                <a:gd name="connsiteY49" fmla="*/ 3852 h 10000"/>
                <a:gd name="connsiteX50" fmla="*/ 8789 w 10000"/>
                <a:gd name="connsiteY50" fmla="*/ 3993 h 10000"/>
                <a:gd name="connsiteX51" fmla="*/ 8905 w 10000"/>
                <a:gd name="connsiteY51" fmla="*/ 4241 h 10000"/>
                <a:gd name="connsiteX52" fmla="*/ 9050 w 10000"/>
                <a:gd name="connsiteY52" fmla="*/ 4347 h 10000"/>
                <a:gd name="connsiteX53" fmla="*/ 9251 w 10000"/>
                <a:gd name="connsiteY53" fmla="*/ 4593 h 10000"/>
                <a:gd name="connsiteX54" fmla="*/ 9653 w 10000"/>
                <a:gd name="connsiteY54" fmla="*/ 4841 h 10000"/>
                <a:gd name="connsiteX55" fmla="*/ 9856 w 10000"/>
                <a:gd name="connsiteY55" fmla="*/ 5088 h 10000"/>
                <a:gd name="connsiteX56" fmla="*/ 10000 w 10000"/>
                <a:gd name="connsiteY56" fmla="*/ 5159 h 10000"/>
                <a:gd name="connsiteX57" fmla="*/ 9653 w 10000"/>
                <a:gd name="connsiteY57" fmla="*/ 5690 h 10000"/>
                <a:gd name="connsiteX58" fmla="*/ 9511 w 10000"/>
                <a:gd name="connsiteY58" fmla="*/ 5759 h 10000"/>
                <a:gd name="connsiteX59" fmla="*/ 9454 w 10000"/>
                <a:gd name="connsiteY59" fmla="*/ 5830 h 10000"/>
                <a:gd name="connsiteX60" fmla="*/ 9454 w 10000"/>
                <a:gd name="connsiteY60" fmla="*/ 6007 h 10000"/>
                <a:gd name="connsiteX61" fmla="*/ 9395 w 10000"/>
                <a:gd name="connsiteY61" fmla="*/ 6007 h 10000"/>
                <a:gd name="connsiteX62" fmla="*/ 9395 w 10000"/>
                <a:gd name="connsiteY62" fmla="*/ 6254 h 10000"/>
                <a:gd name="connsiteX63" fmla="*/ 9251 w 10000"/>
                <a:gd name="connsiteY63" fmla="*/ 6361 h 10000"/>
                <a:gd name="connsiteX64" fmla="*/ 9193 w 10000"/>
                <a:gd name="connsiteY64" fmla="*/ 6502 h 10000"/>
                <a:gd name="connsiteX65" fmla="*/ 9050 w 10000"/>
                <a:gd name="connsiteY65" fmla="*/ 6607 h 10000"/>
                <a:gd name="connsiteX66" fmla="*/ 8992 w 10000"/>
                <a:gd name="connsiteY66" fmla="*/ 6679 h 10000"/>
                <a:gd name="connsiteX67" fmla="*/ 8905 w 10000"/>
                <a:gd name="connsiteY67" fmla="*/ 6679 h 10000"/>
                <a:gd name="connsiteX68" fmla="*/ 8789 w 10000"/>
                <a:gd name="connsiteY68" fmla="*/ 6607 h 10000"/>
                <a:gd name="connsiteX69" fmla="*/ 8789 w 10000"/>
                <a:gd name="connsiteY69" fmla="*/ 6679 h 10000"/>
                <a:gd name="connsiteX70" fmla="*/ 8501 w 10000"/>
                <a:gd name="connsiteY70" fmla="*/ 6679 h 10000"/>
                <a:gd name="connsiteX71" fmla="*/ 8501 w 10000"/>
                <a:gd name="connsiteY71" fmla="*/ 6856 h 10000"/>
                <a:gd name="connsiteX72" fmla="*/ 8357 w 10000"/>
                <a:gd name="connsiteY72" fmla="*/ 6926 h 10000"/>
                <a:gd name="connsiteX73" fmla="*/ 8357 w 10000"/>
                <a:gd name="connsiteY73" fmla="*/ 7173 h 10000"/>
                <a:gd name="connsiteX74" fmla="*/ 4813 w 10000"/>
                <a:gd name="connsiteY74"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3400 w 10000"/>
                <a:gd name="connsiteY9" fmla="*/ 1520 h 10000"/>
                <a:gd name="connsiteX10" fmla="*/ 3459 w 10000"/>
                <a:gd name="connsiteY10" fmla="*/ 1414 h 10000"/>
                <a:gd name="connsiteX11" fmla="*/ 3804 w 10000"/>
                <a:gd name="connsiteY11" fmla="*/ 1414 h 10000"/>
                <a:gd name="connsiteX12" fmla="*/ 4409 w 10000"/>
                <a:gd name="connsiteY12" fmla="*/ 1166 h 10000"/>
                <a:gd name="connsiteX13" fmla="*/ 4611 w 10000"/>
                <a:gd name="connsiteY13" fmla="*/ 989 h 10000"/>
                <a:gd name="connsiteX14" fmla="*/ 4755 w 10000"/>
                <a:gd name="connsiteY14" fmla="*/ 989 h 10000"/>
                <a:gd name="connsiteX15" fmla="*/ 4813 w 10000"/>
                <a:gd name="connsiteY15" fmla="*/ 919 h 10000"/>
                <a:gd name="connsiteX16" fmla="*/ 5447 w 10000"/>
                <a:gd name="connsiteY16" fmla="*/ 671 h 10000"/>
                <a:gd name="connsiteX17" fmla="*/ 5561 w 10000"/>
                <a:gd name="connsiteY17" fmla="*/ 671 h 10000"/>
                <a:gd name="connsiteX18" fmla="*/ 5707 w 10000"/>
                <a:gd name="connsiteY18" fmla="*/ 600 h 10000"/>
                <a:gd name="connsiteX19" fmla="*/ 6053 w 10000"/>
                <a:gd name="connsiteY19" fmla="*/ 423 h 10000"/>
                <a:gd name="connsiteX20" fmla="*/ 7407 w 10000"/>
                <a:gd name="connsiteY20" fmla="*/ 0 h 10000"/>
                <a:gd name="connsiteX21" fmla="*/ 7551 w 10000"/>
                <a:gd name="connsiteY21" fmla="*/ 0 h 10000"/>
                <a:gd name="connsiteX22" fmla="*/ 7608 w 10000"/>
                <a:gd name="connsiteY22" fmla="*/ 71 h 10000"/>
                <a:gd name="connsiteX23" fmla="*/ 7896 w 10000"/>
                <a:gd name="connsiteY23" fmla="*/ 248 h 10000"/>
                <a:gd name="connsiteX24" fmla="*/ 8040 w 10000"/>
                <a:gd name="connsiteY24" fmla="*/ 248 h 10000"/>
                <a:gd name="connsiteX25" fmla="*/ 8099 w 10000"/>
                <a:gd name="connsiteY25" fmla="*/ 317 h 10000"/>
                <a:gd name="connsiteX26" fmla="*/ 8243 w 10000"/>
                <a:gd name="connsiteY26" fmla="*/ 423 h 10000"/>
                <a:gd name="connsiteX27" fmla="*/ 8243 w 10000"/>
                <a:gd name="connsiteY27" fmla="*/ 600 h 10000"/>
                <a:gd name="connsiteX28" fmla="*/ 8300 w 10000"/>
                <a:gd name="connsiteY28" fmla="*/ 848 h 10000"/>
                <a:gd name="connsiteX29" fmla="*/ 8300 w 10000"/>
                <a:gd name="connsiteY29" fmla="*/ 919 h 10000"/>
                <a:gd name="connsiteX30" fmla="*/ 8357 w 10000"/>
                <a:gd name="connsiteY30" fmla="*/ 1166 h 10000"/>
                <a:gd name="connsiteX31" fmla="*/ 8501 w 10000"/>
                <a:gd name="connsiteY31" fmla="*/ 1166 h 10000"/>
                <a:gd name="connsiteX32" fmla="*/ 8501 w 10000"/>
                <a:gd name="connsiteY32" fmla="*/ 1237 h 10000"/>
                <a:gd name="connsiteX33" fmla="*/ 8992 w 10000"/>
                <a:gd name="connsiteY33" fmla="*/ 1237 h 10000"/>
                <a:gd name="connsiteX34" fmla="*/ 9193 w 10000"/>
                <a:gd name="connsiteY34" fmla="*/ 1414 h 10000"/>
                <a:gd name="connsiteX35" fmla="*/ 9193 w 10000"/>
                <a:gd name="connsiteY35" fmla="*/ 1520 h 10000"/>
                <a:gd name="connsiteX36" fmla="*/ 9050 w 10000"/>
                <a:gd name="connsiteY36" fmla="*/ 1520 h 10000"/>
                <a:gd name="connsiteX37" fmla="*/ 8992 w 10000"/>
                <a:gd name="connsiteY37" fmla="*/ 1660 h 10000"/>
                <a:gd name="connsiteX38" fmla="*/ 8992 w 10000"/>
                <a:gd name="connsiteY38" fmla="*/ 2084 h 10000"/>
                <a:gd name="connsiteX39" fmla="*/ 8905 w 10000"/>
                <a:gd name="connsiteY39" fmla="*/ 2403 h 10000"/>
                <a:gd name="connsiteX40" fmla="*/ 8789 w 10000"/>
                <a:gd name="connsiteY40" fmla="*/ 2686 h 10000"/>
                <a:gd name="connsiteX41" fmla="*/ 8703 w 10000"/>
                <a:gd name="connsiteY41" fmla="*/ 2827 h 10000"/>
                <a:gd name="connsiteX42" fmla="*/ 8703 w 10000"/>
                <a:gd name="connsiteY42" fmla="*/ 3074 h 10000"/>
                <a:gd name="connsiteX43" fmla="*/ 8789 w 10000"/>
                <a:gd name="connsiteY43" fmla="*/ 3074 h 10000"/>
                <a:gd name="connsiteX44" fmla="*/ 8905 w 10000"/>
                <a:gd name="connsiteY44" fmla="*/ 3180 h 10000"/>
                <a:gd name="connsiteX45" fmla="*/ 8905 w 10000"/>
                <a:gd name="connsiteY45" fmla="*/ 3251 h 10000"/>
                <a:gd name="connsiteX46" fmla="*/ 8789 w 10000"/>
                <a:gd name="connsiteY46" fmla="*/ 3499 h 10000"/>
                <a:gd name="connsiteX47" fmla="*/ 8703 w 10000"/>
                <a:gd name="connsiteY47" fmla="*/ 3676 h 10000"/>
                <a:gd name="connsiteX48" fmla="*/ 8703 w 10000"/>
                <a:gd name="connsiteY48" fmla="*/ 3852 h 10000"/>
                <a:gd name="connsiteX49" fmla="*/ 8789 w 10000"/>
                <a:gd name="connsiteY49" fmla="*/ 3993 h 10000"/>
                <a:gd name="connsiteX50" fmla="*/ 8905 w 10000"/>
                <a:gd name="connsiteY50" fmla="*/ 4241 h 10000"/>
                <a:gd name="connsiteX51" fmla="*/ 9050 w 10000"/>
                <a:gd name="connsiteY51" fmla="*/ 4347 h 10000"/>
                <a:gd name="connsiteX52" fmla="*/ 9251 w 10000"/>
                <a:gd name="connsiteY52" fmla="*/ 4593 h 10000"/>
                <a:gd name="connsiteX53" fmla="*/ 9653 w 10000"/>
                <a:gd name="connsiteY53" fmla="*/ 4841 h 10000"/>
                <a:gd name="connsiteX54" fmla="*/ 9856 w 10000"/>
                <a:gd name="connsiteY54" fmla="*/ 5088 h 10000"/>
                <a:gd name="connsiteX55" fmla="*/ 10000 w 10000"/>
                <a:gd name="connsiteY55" fmla="*/ 5159 h 10000"/>
                <a:gd name="connsiteX56" fmla="*/ 9653 w 10000"/>
                <a:gd name="connsiteY56" fmla="*/ 5690 h 10000"/>
                <a:gd name="connsiteX57" fmla="*/ 9511 w 10000"/>
                <a:gd name="connsiteY57" fmla="*/ 5759 h 10000"/>
                <a:gd name="connsiteX58" fmla="*/ 9454 w 10000"/>
                <a:gd name="connsiteY58" fmla="*/ 5830 h 10000"/>
                <a:gd name="connsiteX59" fmla="*/ 9454 w 10000"/>
                <a:gd name="connsiteY59" fmla="*/ 6007 h 10000"/>
                <a:gd name="connsiteX60" fmla="*/ 9395 w 10000"/>
                <a:gd name="connsiteY60" fmla="*/ 6007 h 10000"/>
                <a:gd name="connsiteX61" fmla="*/ 9395 w 10000"/>
                <a:gd name="connsiteY61" fmla="*/ 6254 h 10000"/>
                <a:gd name="connsiteX62" fmla="*/ 9251 w 10000"/>
                <a:gd name="connsiteY62" fmla="*/ 6361 h 10000"/>
                <a:gd name="connsiteX63" fmla="*/ 9193 w 10000"/>
                <a:gd name="connsiteY63" fmla="*/ 6502 h 10000"/>
                <a:gd name="connsiteX64" fmla="*/ 9050 w 10000"/>
                <a:gd name="connsiteY64" fmla="*/ 6607 h 10000"/>
                <a:gd name="connsiteX65" fmla="*/ 8992 w 10000"/>
                <a:gd name="connsiteY65" fmla="*/ 6679 h 10000"/>
                <a:gd name="connsiteX66" fmla="*/ 8905 w 10000"/>
                <a:gd name="connsiteY66" fmla="*/ 6679 h 10000"/>
                <a:gd name="connsiteX67" fmla="*/ 8789 w 10000"/>
                <a:gd name="connsiteY67" fmla="*/ 6607 h 10000"/>
                <a:gd name="connsiteX68" fmla="*/ 8789 w 10000"/>
                <a:gd name="connsiteY68" fmla="*/ 6679 h 10000"/>
                <a:gd name="connsiteX69" fmla="*/ 8501 w 10000"/>
                <a:gd name="connsiteY69" fmla="*/ 6679 h 10000"/>
                <a:gd name="connsiteX70" fmla="*/ 8501 w 10000"/>
                <a:gd name="connsiteY70" fmla="*/ 6856 h 10000"/>
                <a:gd name="connsiteX71" fmla="*/ 8357 w 10000"/>
                <a:gd name="connsiteY71" fmla="*/ 6926 h 10000"/>
                <a:gd name="connsiteX72" fmla="*/ 8357 w 10000"/>
                <a:gd name="connsiteY72" fmla="*/ 7173 h 10000"/>
                <a:gd name="connsiteX73" fmla="*/ 4813 w 10000"/>
                <a:gd name="connsiteY73"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3400 w 10000"/>
                <a:gd name="connsiteY9" fmla="*/ 1520 h 10000"/>
                <a:gd name="connsiteX10" fmla="*/ 3459 w 10000"/>
                <a:gd name="connsiteY10" fmla="*/ 1414 h 10000"/>
                <a:gd name="connsiteX11" fmla="*/ 4409 w 10000"/>
                <a:gd name="connsiteY11" fmla="*/ 1166 h 10000"/>
                <a:gd name="connsiteX12" fmla="*/ 4611 w 10000"/>
                <a:gd name="connsiteY12" fmla="*/ 989 h 10000"/>
                <a:gd name="connsiteX13" fmla="*/ 4755 w 10000"/>
                <a:gd name="connsiteY13" fmla="*/ 989 h 10000"/>
                <a:gd name="connsiteX14" fmla="*/ 4813 w 10000"/>
                <a:gd name="connsiteY14" fmla="*/ 919 h 10000"/>
                <a:gd name="connsiteX15" fmla="*/ 5447 w 10000"/>
                <a:gd name="connsiteY15" fmla="*/ 671 h 10000"/>
                <a:gd name="connsiteX16" fmla="*/ 5561 w 10000"/>
                <a:gd name="connsiteY16" fmla="*/ 671 h 10000"/>
                <a:gd name="connsiteX17" fmla="*/ 5707 w 10000"/>
                <a:gd name="connsiteY17" fmla="*/ 600 h 10000"/>
                <a:gd name="connsiteX18" fmla="*/ 6053 w 10000"/>
                <a:gd name="connsiteY18" fmla="*/ 423 h 10000"/>
                <a:gd name="connsiteX19" fmla="*/ 7407 w 10000"/>
                <a:gd name="connsiteY19" fmla="*/ 0 h 10000"/>
                <a:gd name="connsiteX20" fmla="*/ 7551 w 10000"/>
                <a:gd name="connsiteY20" fmla="*/ 0 h 10000"/>
                <a:gd name="connsiteX21" fmla="*/ 7608 w 10000"/>
                <a:gd name="connsiteY21" fmla="*/ 71 h 10000"/>
                <a:gd name="connsiteX22" fmla="*/ 7896 w 10000"/>
                <a:gd name="connsiteY22" fmla="*/ 248 h 10000"/>
                <a:gd name="connsiteX23" fmla="*/ 8040 w 10000"/>
                <a:gd name="connsiteY23" fmla="*/ 248 h 10000"/>
                <a:gd name="connsiteX24" fmla="*/ 8099 w 10000"/>
                <a:gd name="connsiteY24" fmla="*/ 317 h 10000"/>
                <a:gd name="connsiteX25" fmla="*/ 8243 w 10000"/>
                <a:gd name="connsiteY25" fmla="*/ 423 h 10000"/>
                <a:gd name="connsiteX26" fmla="*/ 8243 w 10000"/>
                <a:gd name="connsiteY26" fmla="*/ 600 h 10000"/>
                <a:gd name="connsiteX27" fmla="*/ 8300 w 10000"/>
                <a:gd name="connsiteY27" fmla="*/ 848 h 10000"/>
                <a:gd name="connsiteX28" fmla="*/ 8300 w 10000"/>
                <a:gd name="connsiteY28" fmla="*/ 919 h 10000"/>
                <a:gd name="connsiteX29" fmla="*/ 8357 w 10000"/>
                <a:gd name="connsiteY29" fmla="*/ 1166 h 10000"/>
                <a:gd name="connsiteX30" fmla="*/ 8501 w 10000"/>
                <a:gd name="connsiteY30" fmla="*/ 1166 h 10000"/>
                <a:gd name="connsiteX31" fmla="*/ 8501 w 10000"/>
                <a:gd name="connsiteY31" fmla="*/ 1237 h 10000"/>
                <a:gd name="connsiteX32" fmla="*/ 8992 w 10000"/>
                <a:gd name="connsiteY32" fmla="*/ 1237 h 10000"/>
                <a:gd name="connsiteX33" fmla="*/ 9193 w 10000"/>
                <a:gd name="connsiteY33" fmla="*/ 1414 h 10000"/>
                <a:gd name="connsiteX34" fmla="*/ 9193 w 10000"/>
                <a:gd name="connsiteY34" fmla="*/ 1520 h 10000"/>
                <a:gd name="connsiteX35" fmla="*/ 9050 w 10000"/>
                <a:gd name="connsiteY35" fmla="*/ 1520 h 10000"/>
                <a:gd name="connsiteX36" fmla="*/ 8992 w 10000"/>
                <a:gd name="connsiteY36" fmla="*/ 1660 h 10000"/>
                <a:gd name="connsiteX37" fmla="*/ 8992 w 10000"/>
                <a:gd name="connsiteY37" fmla="*/ 2084 h 10000"/>
                <a:gd name="connsiteX38" fmla="*/ 8905 w 10000"/>
                <a:gd name="connsiteY38" fmla="*/ 2403 h 10000"/>
                <a:gd name="connsiteX39" fmla="*/ 8789 w 10000"/>
                <a:gd name="connsiteY39" fmla="*/ 2686 h 10000"/>
                <a:gd name="connsiteX40" fmla="*/ 8703 w 10000"/>
                <a:gd name="connsiteY40" fmla="*/ 2827 h 10000"/>
                <a:gd name="connsiteX41" fmla="*/ 8703 w 10000"/>
                <a:gd name="connsiteY41" fmla="*/ 3074 h 10000"/>
                <a:gd name="connsiteX42" fmla="*/ 8789 w 10000"/>
                <a:gd name="connsiteY42" fmla="*/ 3074 h 10000"/>
                <a:gd name="connsiteX43" fmla="*/ 8905 w 10000"/>
                <a:gd name="connsiteY43" fmla="*/ 3180 h 10000"/>
                <a:gd name="connsiteX44" fmla="*/ 8905 w 10000"/>
                <a:gd name="connsiteY44" fmla="*/ 3251 h 10000"/>
                <a:gd name="connsiteX45" fmla="*/ 8789 w 10000"/>
                <a:gd name="connsiteY45" fmla="*/ 3499 h 10000"/>
                <a:gd name="connsiteX46" fmla="*/ 8703 w 10000"/>
                <a:gd name="connsiteY46" fmla="*/ 3676 h 10000"/>
                <a:gd name="connsiteX47" fmla="*/ 8703 w 10000"/>
                <a:gd name="connsiteY47" fmla="*/ 3852 h 10000"/>
                <a:gd name="connsiteX48" fmla="*/ 8789 w 10000"/>
                <a:gd name="connsiteY48" fmla="*/ 3993 h 10000"/>
                <a:gd name="connsiteX49" fmla="*/ 8905 w 10000"/>
                <a:gd name="connsiteY49" fmla="*/ 4241 h 10000"/>
                <a:gd name="connsiteX50" fmla="*/ 9050 w 10000"/>
                <a:gd name="connsiteY50" fmla="*/ 4347 h 10000"/>
                <a:gd name="connsiteX51" fmla="*/ 9251 w 10000"/>
                <a:gd name="connsiteY51" fmla="*/ 4593 h 10000"/>
                <a:gd name="connsiteX52" fmla="*/ 9653 w 10000"/>
                <a:gd name="connsiteY52" fmla="*/ 4841 h 10000"/>
                <a:gd name="connsiteX53" fmla="*/ 9856 w 10000"/>
                <a:gd name="connsiteY53" fmla="*/ 5088 h 10000"/>
                <a:gd name="connsiteX54" fmla="*/ 10000 w 10000"/>
                <a:gd name="connsiteY54" fmla="*/ 5159 h 10000"/>
                <a:gd name="connsiteX55" fmla="*/ 9653 w 10000"/>
                <a:gd name="connsiteY55" fmla="*/ 5690 h 10000"/>
                <a:gd name="connsiteX56" fmla="*/ 9511 w 10000"/>
                <a:gd name="connsiteY56" fmla="*/ 5759 h 10000"/>
                <a:gd name="connsiteX57" fmla="*/ 9454 w 10000"/>
                <a:gd name="connsiteY57" fmla="*/ 5830 h 10000"/>
                <a:gd name="connsiteX58" fmla="*/ 9454 w 10000"/>
                <a:gd name="connsiteY58" fmla="*/ 6007 h 10000"/>
                <a:gd name="connsiteX59" fmla="*/ 9395 w 10000"/>
                <a:gd name="connsiteY59" fmla="*/ 6007 h 10000"/>
                <a:gd name="connsiteX60" fmla="*/ 9395 w 10000"/>
                <a:gd name="connsiteY60" fmla="*/ 6254 h 10000"/>
                <a:gd name="connsiteX61" fmla="*/ 9251 w 10000"/>
                <a:gd name="connsiteY61" fmla="*/ 6361 h 10000"/>
                <a:gd name="connsiteX62" fmla="*/ 9193 w 10000"/>
                <a:gd name="connsiteY62" fmla="*/ 6502 h 10000"/>
                <a:gd name="connsiteX63" fmla="*/ 9050 w 10000"/>
                <a:gd name="connsiteY63" fmla="*/ 6607 h 10000"/>
                <a:gd name="connsiteX64" fmla="*/ 8992 w 10000"/>
                <a:gd name="connsiteY64" fmla="*/ 6679 h 10000"/>
                <a:gd name="connsiteX65" fmla="*/ 8905 w 10000"/>
                <a:gd name="connsiteY65" fmla="*/ 6679 h 10000"/>
                <a:gd name="connsiteX66" fmla="*/ 8789 w 10000"/>
                <a:gd name="connsiteY66" fmla="*/ 6607 h 10000"/>
                <a:gd name="connsiteX67" fmla="*/ 8789 w 10000"/>
                <a:gd name="connsiteY67" fmla="*/ 6679 h 10000"/>
                <a:gd name="connsiteX68" fmla="*/ 8501 w 10000"/>
                <a:gd name="connsiteY68" fmla="*/ 6679 h 10000"/>
                <a:gd name="connsiteX69" fmla="*/ 8501 w 10000"/>
                <a:gd name="connsiteY69" fmla="*/ 6856 h 10000"/>
                <a:gd name="connsiteX70" fmla="*/ 8357 w 10000"/>
                <a:gd name="connsiteY70" fmla="*/ 6926 h 10000"/>
                <a:gd name="connsiteX71" fmla="*/ 8357 w 10000"/>
                <a:gd name="connsiteY71" fmla="*/ 7173 h 10000"/>
                <a:gd name="connsiteX72" fmla="*/ 4813 w 10000"/>
                <a:gd name="connsiteY72"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3400 w 10000"/>
                <a:gd name="connsiteY9" fmla="*/ 1520 h 10000"/>
                <a:gd name="connsiteX10" fmla="*/ 4409 w 10000"/>
                <a:gd name="connsiteY10" fmla="*/ 1166 h 10000"/>
                <a:gd name="connsiteX11" fmla="*/ 4611 w 10000"/>
                <a:gd name="connsiteY11" fmla="*/ 989 h 10000"/>
                <a:gd name="connsiteX12" fmla="*/ 4755 w 10000"/>
                <a:gd name="connsiteY12" fmla="*/ 989 h 10000"/>
                <a:gd name="connsiteX13" fmla="*/ 4813 w 10000"/>
                <a:gd name="connsiteY13" fmla="*/ 919 h 10000"/>
                <a:gd name="connsiteX14" fmla="*/ 5447 w 10000"/>
                <a:gd name="connsiteY14" fmla="*/ 671 h 10000"/>
                <a:gd name="connsiteX15" fmla="*/ 5561 w 10000"/>
                <a:gd name="connsiteY15" fmla="*/ 671 h 10000"/>
                <a:gd name="connsiteX16" fmla="*/ 5707 w 10000"/>
                <a:gd name="connsiteY16" fmla="*/ 600 h 10000"/>
                <a:gd name="connsiteX17" fmla="*/ 6053 w 10000"/>
                <a:gd name="connsiteY17" fmla="*/ 423 h 10000"/>
                <a:gd name="connsiteX18" fmla="*/ 7407 w 10000"/>
                <a:gd name="connsiteY18" fmla="*/ 0 h 10000"/>
                <a:gd name="connsiteX19" fmla="*/ 7551 w 10000"/>
                <a:gd name="connsiteY19" fmla="*/ 0 h 10000"/>
                <a:gd name="connsiteX20" fmla="*/ 7608 w 10000"/>
                <a:gd name="connsiteY20" fmla="*/ 71 h 10000"/>
                <a:gd name="connsiteX21" fmla="*/ 7896 w 10000"/>
                <a:gd name="connsiteY21" fmla="*/ 248 h 10000"/>
                <a:gd name="connsiteX22" fmla="*/ 8040 w 10000"/>
                <a:gd name="connsiteY22" fmla="*/ 248 h 10000"/>
                <a:gd name="connsiteX23" fmla="*/ 8099 w 10000"/>
                <a:gd name="connsiteY23" fmla="*/ 317 h 10000"/>
                <a:gd name="connsiteX24" fmla="*/ 8243 w 10000"/>
                <a:gd name="connsiteY24" fmla="*/ 423 h 10000"/>
                <a:gd name="connsiteX25" fmla="*/ 8243 w 10000"/>
                <a:gd name="connsiteY25" fmla="*/ 600 h 10000"/>
                <a:gd name="connsiteX26" fmla="*/ 8300 w 10000"/>
                <a:gd name="connsiteY26" fmla="*/ 848 h 10000"/>
                <a:gd name="connsiteX27" fmla="*/ 8300 w 10000"/>
                <a:gd name="connsiteY27" fmla="*/ 919 h 10000"/>
                <a:gd name="connsiteX28" fmla="*/ 8357 w 10000"/>
                <a:gd name="connsiteY28" fmla="*/ 1166 h 10000"/>
                <a:gd name="connsiteX29" fmla="*/ 8501 w 10000"/>
                <a:gd name="connsiteY29" fmla="*/ 1166 h 10000"/>
                <a:gd name="connsiteX30" fmla="*/ 8501 w 10000"/>
                <a:gd name="connsiteY30" fmla="*/ 1237 h 10000"/>
                <a:gd name="connsiteX31" fmla="*/ 8992 w 10000"/>
                <a:gd name="connsiteY31" fmla="*/ 1237 h 10000"/>
                <a:gd name="connsiteX32" fmla="*/ 9193 w 10000"/>
                <a:gd name="connsiteY32" fmla="*/ 1414 h 10000"/>
                <a:gd name="connsiteX33" fmla="*/ 9193 w 10000"/>
                <a:gd name="connsiteY33" fmla="*/ 1520 h 10000"/>
                <a:gd name="connsiteX34" fmla="*/ 9050 w 10000"/>
                <a:gd name="connsiteY34" fmla="*/ 1520 h 10000"/>
                <a:gd name="connsiteX35" fmla="*/ 8992 w 10000"/>
                <a:gd name="connsiteY35" fmla="*/ 1660 h 10000"/>
                <a:gd name="connsiteX36" fmla="*/ 8992 w 10000"/>
                <a:gd name="connsiteY36" fmla="*/ 2084 h 10000"/>
                <a:gd name="connsiteX37" fmla="*/ 8905 w 10000"/>
                <a:gd name="connsiteY37" fmla="*/ 2403 h 10000"/>
                <a:gd name="connsiteX38" fmla="*/ 8789 w 10000"/>
                <a:gd name="connsiteY38" fmla="*/ 2686 h 10000"/>
                <a:gd name="connsiteX39" fmla="*/ 8703 w 10000"/>
                <a:gd name="connsiteY39" fmla="*/ 2827 h 10000"/>
                <a:gd name="connsiteX40" fmla="*/ 8703 w 10000"/>
                <a:gd name="connsiteY40" fmla="*/ 3074 h 10000"/>
                <a:gd name="connsiteX41" fmla="*/ 8789 w 10000"/>
                <a:gd name="connsiteY41" fmla="*/ 3074 h 10000"/>
                <a:gd name="connsiteX42" fmla="*/ 8905 w 10000"/>
                <a:gd name="connsiteY42" fmla="*/ 3180 h 10000"/>
                <a:gd name="connsiteX43" fmla="*/ 8905 w 10000"/>
                <a:gd name="connsiteY43" fmla="*/ 3251 h 10000"/>
                <a:gd name="connsiteX44" fmla="*/ 8789 w 10000"/>
                <a:gd name="connsiteY44" fmla="*/ 3499 h 10000"/>
                <a:gd name="connsiteX45" fmla="*/ 8703 w 10000"/>
                <a:gd name="connsiteY45" fmla="*/ 3676 h 10000"/>
                <a:gd name="connsiteX46" fmla="*/ 8703 w 10000"/>
                <a:gd name="connsiteY46" fmla="*/ 3852 h 10000"/>
                <a:gd name="connsiteX47" fmla="*/ 8789 w 10000"/>
                <a:gd name="connsiteY47" fmla="*/ 3993 h 10000"/>
                <a:gd name="connsiteX48" fmla="*/ 8905 w 10000"/>
                <a:gd name="connsiteY48" fmla="*/ 4241 h 10000"/>
                <a:gd name="connsiteX49" fmla="*/ 9050 w 10000"/>
                <a:gd name="connsiteY49" fmla="*/ 4347 h 10000"/>
                <a:gd name="connsiteX50" fmla="*/ 9251 w 10000"/>
                <a:gd name="connsiteY50" fmla="*/ 4593 h 10000"/>
                <a:gd name="connsiteX51" fmla="*/ 9653 w 10000"/>
                <a:gd name="connsiteY51" fmla="*/ 4841 h 10000"/>
                <a:gd name="connsiteX52" fmla="*/ 9856 w 10000"/>
                <a:gd name="connsiteY52" fmla="*/ 5088 h 10000"/>
                <a:gd name="connsiteX53" fmla="*/ 10000 w 10000"/>
                <a:gd name="connsiteY53" fmla="*/ 5159 h 10000"/>
                <a:gd name="connsiteX54" fmla="*/ 9653 w 10000"/>
                <a:gd name="connsiteY54" fmla="*/ 5690 h 10000"/>
                <a:gd name="connsiteX55" fmla="*/ 9511 w 10000"/>
                <a:gd name="connsiteY55" fmla="*/ 5759 h 10000"/>
                <a:gd name="connsiteX56" fmla="*/ 9454 w 10000"/>
                <a:gd name="connsiteY56" fmla="*/ 5830 h 10000"/>
                <a:gd name="connsiteX57" fmla="*/ 9454 w 10000"/>
                <a:gd name="connsiteY57" fmla="*/ 6007 h 10000"/>
                <a:gd name="connsiteX58" fmla="*/ 9395 w 10000"/>
                <a:gd name="connsiteY58" fmla="*/ 6007 h 10000"/>
                <a:gd name="connsiteX59" fmla="*/ 9395 w 10000"/>
                <a:gd name="connsiteY59" fmla="*/ 6254 h 10000"/>
                <a:gd name="connsiteX60" fmla="*/ 9251 w 10000"/>
                <a:gd name="connsiteY60" fmla="*/ 6361 h 10000"/>
                <a:gd name="connsiteX61" fmla="*/ 9193 w 10000"/>
                <a:gd name="connsiteY61" fmla="*/ 6502 h 10000"/>
                <a:gd name="connsiteX62" fmla="*/ 9050 w 10000"/>
                <a:gd name="connsiteY62" fmla="*/ 6607 h 10000"/>
                <a:gd name="connsiteX63" fmla="*/ 8992 w 10000"/>
                <a:gd name="connsiteY63" fmla="*/ 6679 h 10000"/>
                <a:gd name="connsiteX64" fmla="*/ 8905 w 10000"/>
                <a:gd name="connsiteY64" fmla="*/ 6679 h 10000"/>
                <a:gd name="connsiteX65" fmla="*/ 8789 w 10000"/>
                <a:gd name="connsiteY65" fmla="*/ 6607 h 10000"/>
                <a:gd name="connsiteX66" fmla="*/ 8789 w 10000"/>
                <a:gd name="connsiteY66" fmla="*/ 6679 h 10000"/>
                <a:gd name="connsiteX67" fmla="*/ 8501 w 10000"/>
                <a:gd name="connsiteY67" fmla="*/ 6679 h 10000"/>
                <a:gd name="connsiteX68" fmla="*/ 8501 w 10000"/>
                <a:gd name="connsiteY68" fmla="*/ 6856 h 10000"/>
                <a:gd name="connsiteX69" fmla="*/ 8357 w 10000"/>
                <a:gd name="connsiteY69" fmla="*/ 6926 h 10000"/>
                <a:gd name="connsiteX70" fmla="*/ 8357 w 10000"/>
                <a:gd name="connsiteY70" fmla="*/ 7173 h 10000"/>
                <a:gd name="connsiteX71" fmla="*/ 4813 w 10000"/>
                <a:gd name="connsiteY71"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3199 w 10000"/>
                <a:gd name="connsiteY8" fmla="*/ 1520 h 10000"/>
                <a:gd name="connsiteX9" fmla="*/ 4409 w 10000"/>
                <a:gd name="connsiteY9" fmla="*/ 1166 h 10000"/>
                <a:gd name="connsiteX10" fmla="*/ 4611 w 10000"/>
                <a:gd name="connsiteY10" fmla="*/ 989 h 10000"/>
                <a:gd name="connsiteX11" fmla="*/ 4755 w 10000"/>
                <a:gd name="connsiteY11" fmla="*/ 989 h 10000"/>
                <a:gd name="connsiteX12" fmla="*/ 4813 w 10000"/>
                <a:gd name="connsiteY12" fmla="*/ 919 h 10000"/>
                <a:gd name="connsiteX13" fmla="*/ 5447 w 10000"/>
                <a:gd name="connsiteY13" fmla="*/ 671 h 10000"/>
                <a:gd name="connsiteX14" fmla="*/ 5561 w 10000"/>
                <a:gd name="connsiteY14" fmla="*/ 671 h 10000"/>
                <a:gd name="connsiteX15" fmla="*/ 5707 w 10000"/>
                <a:gd name="connsiteY15" fmla="*/ 600 h 10000"/>
                <a:gd name="connsiteX16" fmla="*/ 6053 w 10000"/>
                <a:gd name="connsiteY16" fmla="*/ 423 h 10000"/>
                <a:gd name="connsiteX17" fmla="*/ 7407 w 10000"/>
                <a:gd name="connsiteY17" fmla="*/ 0 h 10000"/>
                <a:gd name="connsiteX18" fmla="*/ 7551 w 10000"/>
                <a:gd name="connsiteY18" fmla="*/ 0 h 10000"/>
                <a:gd name="connsiteX19" fmla="*/ 7608 w 10000"/>
                <a:gd name="connsiteY19" fmla="*/ 71 h 10000"/>
                <a:gd name="connsiteX20" fmla="*/ 7896 w 10000"/>
                <a:gd name="connsiteY20" fmla="*/ 248 h 10000"/>
                <a:gd name="connsiteX21" fmla="*/ 8040 w 10000"/>
                <a:gd name="connsiteY21" fmla="*/ 248 h 10000"/>
                <a:gd name="connsiteX22" fmla="*/ 8099 w 10000"/>
                <a:gd name="connsiteY22" fmla="*/ 317 h 10000"/>
                <a:gd name="connsiteX23" fmla="*/ 8243 w 10000"/>
                <a:gd name="connsiteY23" fmla="*/ 423 h 10000"/>
                <a:gd name="connsiteX24" fmla="*/ 8243 w 10000"/>
                <a:gd name="connsiteY24" fmla="*/ 600 h 10000"/>
                <a:gd name="connsiteX25" fmla="*/ 8300 w 10000"/>
                <a:gd name="connsiteY25" fmla="*/ 848 h 10000"/>
                <a:gd name="connsiteX26" fmla="*/ 8300 w 10000"/>
                <a:gd name="connsiteY26" fmla="*/ 919 h 10000"/>
                <a:gd name="connsiteX27" fmla="*/ 8357 w 10000"/>
                <a:gd name="connsiteY27" fmla="*/ 1166 h 10000"/>
                <a:gd name="connsiteX28" fmla="*/ 8501 w 10000"/>
                <a:gd name="connsiteY28" fmla="*/ 1166 h 10000"/>
                <a:gd name="connsiteX29" fmla="*/ 8501 w 10000"/>
                <a:gd name="connsiteY29" fmla="*/ 1237 h 10000"/>
                <a:gd name="connsiteX30" fmla="*/ 8992 w 10000"/>
                <a:gd name="connsiteY30" fmla="*/ 1237 h 10000"/>
                <a:gd name="connsiteX31" fmla="*/ 9193 w 10000"/>
                <a:gd name="connsiteY31" fmla="*/ 1414 h 10000"/>
                <a:gd name="connsiteX32" fmla="*/ 9193 w 10000"/>
                <a:gd name="connsiteY32" fmla="*/ 1520 h 10000"/>
                <a:gd name="connsiteX33" fmla="*/ 9050 w 10000"/>
                <a:gd name="connsiteY33" fmla="*/ 1520 h 10000"/>
                <a:gd name="connsiteX34" fmla="*/ 8992 w 10000"/>
                <a:gd name="connsiteY34" fmla="*/ 1660 h 10000"/>
                <a:gd name="connsiteX35" fmla="*/ 8992 w 10000"/>
                <a:gd name="connsiteY35" fmla="*/ 2084 h 10000"/>
                <a:gd name="connsiteX36" fmla="*/ 8905 w 10000"/>
                <a:gd name="connsiteY36" fmla="*/ 2403 h 10000"/>
                <a:gd name="connsiteX37" fmla="*/ 8789 w 10000"/>
                <a:gd name="connsiteY37" fmla="*/ 2686 h 10000"/>
                <a:gd name="connsiteX38" fmla="*/ 8703 w 10000"/>
                <a:gd name="connsiteY38" fmla="*/ 2827 h 10000"/>
                <a:gd name="connsiteX39" fmla="*/ 8703 w 10000"/>
                <a:gd name="connsiteY39" fmla="*/ 3074 h 10000"/>
                <a:gd name="connsiteX40" fmla="*/ 8789 w 10000"/>
                <a:gd name="connsiteY40" fmla="*/ 3074 h 10000"/>
                <a:gd name="connsiteX41" fmla="*/ 8905 w 10000"/>
                <a:gd name="connsiteY41" fmla="*/ 3180 h 10000"/>
                <a:gd name="connsiteX42" fmla="*/ 8905 w 10000"/>
                <a:gd name="connsiteY42" fmla="*/ 3251 h 10000"/>
                <a:gd name="connsiteX43" fmla="*/ 8789 w 10000"/>
                <a:gd name="connsiteY43" fmla="*/ 3499 h 10000"/>
                <a:gd name="connsiteX44" fmla="*/ 8703 w 10000"/>
                <a:gd name="connsiteY44" fmla="*/ 3676 h 10000"/>
                <a:gd name="connsiteX45" fmla="*/ 8703 w 10000"/>
                <a:gd name="connsiteY45" fmla="*/ 3852 h 10000"/>
                <a:gd name="connsiteX46" fmla="*/ 8789 w 10000"/>
                <a:gd name="connsiteY46" fmla="*/ 3993 h 10000"/>
                <a:gd name="connsiteX47" fmla="*/ 8905 w 10000"/>
                <a:gd name="connsiteY47" fmla="*/ 4241 h 10000"/>
                <a:gd name="connsiteX48" fmla="*/ 9050 w 10000"/>
                <a:gd name="connsiteY48" fmla="*/ 4347 h 10000"/>
                <a:gd name="connsiteX49" fmla="*/ 9251 w 10000"/>
                <a:gd name="connsiteY49" fmla="*/ 4593 h 10000"/>
                <a:gd name="connsiteX50" fmla="*/ 9653 w 10000"/>
                <a:gd name="connsiteY50" fmla="*/ 4841 h 10000"/>
                <a:gd name="connsiteX51" fmla="*/ 9856 w 10000"/>
                <a:gd name="connsiteY51" fmla="*/ 5088 h 10000"/>
                <a:gd name="connsiteX52" fmla="*/ 10000 w 10000"/>
                <a:gd name="connsiteY52" fmla="*/ 5159 h 10000"/>
                <a:gd name="connsiteX53" fmla="*/ 9653 w 10000"/>
                <a:gd name="connsiteY53" fmla="*/ 5690 h 10000"/>
                <a:gd name="connsiteX54" fmla="*/ 9511 w 10000"/>
                <a:gd name="connsiteY54" fmla="*/ 5759 h 10000"/>
                <a:gd name="connsiteX55" fmla="*/ 9454 w 10000"/>
                <a:gd name="connsiteY55" fmla="*/ 5830 h 10000"/>
                <a:gd name="connsiteX56" fmla="*/ 9454 w 10000"/>
                <a:gd name="connsiteY56" fmla="*/ 6007 h 10000"/>
                <a:gd name="connsiteX57" fmla="*/ 9395 w 10000"/>
                <a:gd name="connsiteY57" fmla="*/ 6007 h 10000"/>
                <a:gd name="connsiteX58" fmla="*/ 9395 w 10000"/>
                <a:gd name="connsiteY58" fmla="*/ 6254 h 10000"/>
                <a:gd name="connsiteX59" fmla="*/ 9251 w 10000"/>
                <a:gd name="connsiteY59" fmla="*/ 6361 h 10000"/>
                <a:gd name="connsiteX60" fmla="*/ 9193 w 10000"/>
                <a:gd name="connsiteY60" fmla="*/ 6502 h 10000"/>
                <a:gd name="connsiteX61" fmla="*/ 9050 w 10000"/>
                <a:gd name="connsiteY61" fmla="*/ 6607 h 10000"/>
                <a:gd name="connsiteX62" fmla="*/ 8992 w 10000"/>
                <a:gd name="connsiteY62" fmla="*/ 6679 h 10000"/>
                <a:gd name="connsiteX63" fmla="*/ 8905 w 10000"/>
                <a:gd name="connsiteY63" fmla="*/ 6679 h 10000"/>
                <a:gd name="connsiteX64" fmla="*/ 8789 w 10000"/>
                <a:gd name="connsiteY64" fmla="*/ 6607 h 10000"/>
                <a:gd name="connsiteX65" fmla="*/ 8789 w 10000"/>
                <a:gd name="connsiteY65" fmla="*/ 6679 h 10000"/>
                <a:gd name="connsiteX66" fmla="*/ 8501 w 10000"/>
                <a:gd name="connsiteY66" fmla="*/ 6679 h 10000"/>
                <a:gd name="connsiteX67" fmla="*/ 8501 w 10000"/>
                <a:gd name="connsiteY67" fmla="*/ 6856 h 10000"/>
                <a:gd name="connsiteX68" fmla="*/ 8357 w 10000"/>
                <a:gd name="connsiteY68" fmla="*/ 6926 h 10000"/>
                <a:gd name="connsiteX69" fmla="*/ 8357 w 10000"/>
                <a:gd name="connsiteY69" fmla="*/ 7173 h 10000"/>
                <a:gd name="connsiteX70" fmla="*/ 4813 w 10000"/>
                <a:gd name="connsiteY70"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2997 w 10000"/>
                <a:gd name="connsiteY7" fmla="*/ 1660 h 10000"/>
                <a:gd name="connsiteX8" fmla="*/ 4409 w 10000"/>
                <a:gd name="connsiteY8" fmla="*/ 1166 h 10000"/>
                <a:gd name="connsiteX9" fmla="*/ 4611 w 10000"/>
                <a:gd name="connsiteY9" fmla="*/ 989 h 10000"/>
                <a:gd name="connsiteX10" fmla="*/ 4755 w 10000"/>
                <a:gd name="connsiteY10" fmla="*/ 989 h 10000"/>
                <a:gd name="connsiteX11" fmla="*/ 4813 w 10000"/>
                <a:gd name="connsiteY11" fmla="*/ 919 h 10000"/>
                <a:gd name="connsiteX12" fmla="*/ 5447 w 10000"/>
                <a:gd name="connsiteY12" fmla="*/ 671 h 10000"/>
                <a:gd name="connsiteX13" fmla="*/ 5561 w 10000"/>
                <a:gd name="connsiteY13" fmla="*/ 671 h 10000"/>
                <a:gd name="connsiteX14" fmla="*/ 5707 w 10000"/>
                <a:gd name="connsiteY14" fmla="*/ 600 h 10000"/>
                <a:gd name="connsiteX15" fmla="*/ 6053 w 10000"/>
                <a:gd name="connsiteY15" fmla="*/ 423 h 10000"/>
                <a:gd name="connsiteX16" fmla="*/ 7407 w 10000"/>
                <a:gd name="connsiteY16" fmla="*/ 0 h 10000"/>
                <a:gd name="connsiteX17" fmla="*/ 7551 w 10000"/>
                <a:gd name="connsiteY17" fmla="*/ 0 h 10000"/>
                <a:gd name="connsiteX18" fmla="*/ 7608 w 10000"/>
                <a:gd name="connsiteY18" fmla="*/ 71 h 10000"/>
                <a:gd name="connsiteX19" fmla="*/ 7896 w 10000"/>
                <a:gd name="connsiteY19" fmla="*/ 248 h 10000"/>
                <a:gd name="connsiteX20" fmla="*/ 8040 w 10000"/>
                <a:gd name="connsiteY20" fmla="*/ 248 h 10000"/>
                <a:gd name="connsiteX21" fmla="*/ 8099 w 10000"/>
                <a:gd name="connsiteY21" fmla="*/ 317 h 10000"/>
                <a:gd name="connsiteX22" fmla="*/ 8243 w 10000"/>
                <a:gd name="connsiteY22" fmla="*/ 423 h 10000"/>
                <a:gd name="connsiteX23" fmla="*/ 8243 w 10000"/>
                <a:gd name="connsiteY23" fmla="*/ 600 h 10000"/>
                <a:gd name="connsiteX24" fmla="*/ 8300 w 10000"/>
                <a:gd name="connsiteY24" fmla="*/ 848 h 10000"/>
                <a:gd name="connsiteX25" fmla="*/ 8300 w 10000"/>
                <a:gd name="connsiteY25" fmla="*/ 919 h 10000"/>
                <a:gd name="connsiteX26" fmla="*/ 8357 w 10000"/>
                <a:gd name="connsiteY26" fmla="*/ 1166 h 10000"/>
                <a:gd name="connsiteX27" fmla="*/ 8501 w 10000"/>
                <a:gd name="connsiteY27" fmla="*/ 1166 h 10000"/>
                <a:gd name="connsiteX28" fmla="*/ 8501 w 10000"/>
                <a:gd name="connsiteY28" fmla="*/ 1237 h 10000"/>
                <a:gd name="connsiteX29" fmla="*/ 8992 w 10000"/>
                <a:gd name="connsiteY29" fmla="*/ 1237 h 10000"/>
                <a:gd name="connsiteX30" fmla="*/ 9193 w 10000"/>
                <a:gd name="connsiteY30" fmla="*/ 1414 h 10000"/>
                <a:gd name="connsiteX31" fmla="*/ 9193 w 10000"/>
                <a:gd name="connsiteY31" fmla="*/ 1520 h 10000"/>
                <a:gd name="connsiteX32" fmla="*/ 9050 w 10000"/>
                <a:gd name="connsiteY32" fmla="*/ 1520 h 10000"/>
                <a:gd name="connsiteX33" fmla="*/ 8992 w 10000"/>
                <a:gd name="connsiteY33" fmla="*/ 1660 h 10000"/>
                <a:gd name="connsiteX34" fmla="*/ 8992 w 10000"/>
                <a:gd name="connsiteY34" fmla="*/ 2084 h 10000"/>
                <a:gd name="connsiteX35" fmla="*/ 8905 w 10000"/>
                <a:gd name="connsiteY35" fmla="*/ 2403 h 10000"/>
                <a:gd name="connsiteX36" fmla="*/ 8789 w 10000"/>
                <a:gd name="connsiteY36" fmla="*/ 2686 h 10000"/>
                <a:gd name="connsiteX37" fmla="*/ 8703 w 10000"/>
                <a:gd name="connsiteY37" fmla="*/ 2827 h 10000"/>
                <a:gd name="connsiteX38" fmla="*/ 8703 w 10000"/>
                <a:gd name="connsiteY38" fmla="*/ 3074 h 10000"/>
                <a:gd name="connsiteX39" fmla="*/ 8789 w 10000"/>
                <a:gd name="connsiteY39" fmla="*/ 3074 h 10000"/>
                <a:gd name="connsiteX40" fmla="*/ 8905 w 10000"/>
                <a:gd name="connsiteY40" fmla="*/ 3180 h 10000"/>
                <a:gd name="connsiteX41" fmla="*/ 8905 w 10000"/>
                <a:gd name="connsiteY41" fmla="*/ 3251 h 10000"/>
                <a:gd name="connsiteX42" fmla="*/ 8789 w 10000"/>
                <a:gd name="connsiteY42" fmla="*/ 3499 h 10000"/>
                <a:gd name="connsiteX43" fmla="*/ 8703 w 10000"/>
                <a:gd name="connsiteY43" fmla="*/ 3676 h 10000"/>
                <a:gd name="connsiteX44" fmla="*/ 8703 w 10000"/>
                <a:gd name="connsiteY44" fmla="*/ 3852 h 10000"/>
                <a:gd name="connsiteX45" fmla="*/ 8789 w 10000"/>
                <a:gd name="connsiteY45" fmla="*/ 3993 h 10000"/>
                <a:gd name="connsiteX46" fmla="*/ 8905 w 10000"/>
                <a:gd name="connsiteY46" fmla="*/ 4241 h 10000"/>
                <a:gd name="connsiteX47" fmla="*/ 9050 w 10000"/>
                <a:gd name="connsiteY47" fmla="*/ 4347 h 10000"/>
                <a:gd name="connsiteX48" fmla="*/ 9251 w 10000"/>
                <a:gd name="connsiteY48" fmla="*/ 4593 h 10000"/>
                <a:gd name="connsiteX49" fmla="*/ 9653 w 10000"/>
                <a:gd name="connsiteY49" fmla="*/ 4841 h 10000"/>
                <a:gd name="connsiteX50" fmla="*/ 9856 w 10000"/>
                <a:gd name="connsiteY50" fmla="*/ 5088 h 10000"/>
                <a:gd name="connsiteX51" fmla="*/ 10000 w 10000"/>
                <a:gd name="connsiteY51" fmla="*/ 5159 h 10000"/>
                <a:gd name="connsiteX52" fmla="*/ 9653 w 10000"/>
                <a:gd name="connsiteY52" fmla="*/ 5690 h 10000"/>
                <a:gd name="connsiteX53" fmla="*/ 9511 w 10000"/>
                <a:gd name="connsiteY53" fmla="*/ 5759 h 10000"/>
                <a:gd name="connsiteX54" fmla="*/ 9454 w 10000"/>
                <a:gd name="connsiteY54" fmla="*/ 5830 h 10000"/>
                <a:gd name="connsiteX55" fmla="*/ 9454 w 10000"/>
                <a:gd name="connsiteY55" fmla="*/ 6007 h 10000"/>
                <a:gd name="connsiteX56" fmla="*/ 9395 w 10000"/>
                <a:gd name="connsiteY56" fmla="*/ 6007 h 10000"/>
                <a:gd name="connsiteX57" fmla="*/ 9395 w 10000"/>
                <a:gd name="connsiteY57" fmla="*/ 6254 h 10000"/>
                <a:gd name="connsiteX58" fmla="*/ 9251 w 10000"/>
                <a:gd name="connsiteY58" fmla="*/ 6361 h 10000"/>
                <a:gd name="connsiteX59" fmla="*/ 9193 w 10000"/>
                <a:gd name="connsiteY59" fmla="*/ 6502 h 10000"/>
                <a:gd name="connsiteX60" fmla="*/ 9050 w 10000"/>
                <a:gd name="connsiteY60" fmla="*/ 6607 h 10000"/>
                <a:gd name="connsiteX61" fmla="*/ 8992 w 10000"/>
                <a:gd name="connsiteY61" fmla="*/ 6679 h 10000"/>
                <a:gd name="connsiteX62" fmla="*/ 8905 w 10000"/>
                <a:gd name="connsiteY62" fmla="*/ 6679 h 10000"/>
                <a:gd name="connsiteX63" fmla="*/ 8789 w 10000"/>
                <a:gd name="connsiteY63" fmla="*/ 6607 h 10000"/>
                <a:gd name="connsiteX64" fmla="*/ 8789 w 10000"/>
                <a:gd name="connsiteY64" fmla="*/ 6679 h 10000"/>
                <a:gd name="connsiteX65" fmla="*/ 8501 w 10000"/>
                <a:gd name="connsiteY65" fmla="*/ 6679 h 10000"/>
                <a:gd name="connsiteX66" fmla="*/ 8501 w 10000"/>
                <a:gd name="connsiteY66" fmla="*/ 6856 h 10000"/>
                <a:gd name="connsiteX67" fmla="*/ 8357 w 10000"/>
                <a:gd name="connsiteY67" fmla="*/ 6926 h 10000"/>
                <a:gd name="connsiteX68" fmla="*/ 8357 w 10000"/>
                <a:gd name="connsiteY68" fmla="*/ 7173 h 10000"/>
                <a:gd name="connsiteX69" fmla="*/ 4813 w 10000"/>
                <a:gd name="connsiteY69"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2797 w 10000"/>
                <a:gd name="connsiteY6" fmla="*/ 1660 h 10000"/>
                <a:gd name="connsiteX7" fmla="*/ 4409 w 10000"/>
                <a:gd name="connsiteY7" fmla="*/ 1166 h 10000"/>
                <a:gd name="connsiteX8" fmla="*/ 4611 w 10000"/>
                <a:gd name="connsiteY8" fmla="*/ 989 h 10000"/>
                <a:gd name="connsiteX9" fmla="*/ 4755 w 10000"/>
                <a:gd name="connsiteY9" fmla="*/ 989 h 10000"/>
                <a:gd name="connsiteX10" fmla="*/ 4813 w 10000"/>
                <a:gd name="connsiteY10" fmla="*/ 919 h 10000"/>
                <a:gd name="connsiteX11" fmla="*/ 5447 w 10000"/>
                <a:gd name="connsiteY11" fmla="*/ 671 h 10000"/>
                <a:gd name="connsiteX12" fmla="*/ 5561 w 10000"/>
                <a:gd name="connsiteY12" fmla="*/ 671 h 10000"/>
                <a:gd name="connsiteX13" fmla="*/ 5707 w 10000"/>
                <a:gd name="connsiteY13" fmla="*/ 600 h 10000"/>
                <a:gd name="connsiteX14" fmla="*/ 6053 w 10000"/>
                <a:gd name="connsiteY14" fmla="*/ 423 h 10000"/>
                <a:gd name="connsiteX15" fmla="*/ 7407 w 10000"/>
                <a:gd name="connsiteY15" fmla="*/ 0 h 10000"/>
                <a:gd name="connsiteX16" fmla="*/ 7551 w 10000"/>
                <a:gd name="connsiteY16" fmla="*/ 0 h 10000"/>
                <a:gd name="connsiteX17" fmla="*/ 7608 w 10000"/>
                <a:gd name="connsiteY17" fmla="*/ 71 h 10000"/>
                <a:gd name="connsiteX18" fmla="*/ 7896 w 10000"/>
                <a:gd name="connsiteY18" fmla="*/ 248 h 10000"/>
                <a:gd name="connsiteX19" fmla="*/ 8040 w 10000"/>
                <a:gd name="connsiteY19" fmla="*/ 248 h 10000"/>
                <a:gd name="connsiteX20" fmla="*/ 8099 w 10000"/>
                <a:gd name="connsiteY20" fmla="*/ 317 h 10000"/>
                <a:gd name="connsiteX21" fmla="*/ 8243 w 10000"/>
                <a:gd name="connsiteY21" fmla="*/ 423 h 10000"/>
                <a:gd name="connsiteX22" fmla="*/ 8243 w 10000"/>
                <a:gd name="connsiteY22" fmla="*/ 600 h 10000"/>
                <a:gd name="connsiteX23" fmla="*/ 8300 w 10000"/>
                <a:gd name="connsiteY23" fmla="*/ 848 h 10000"/>
                <a:gd name="connsiteX24" fmla="*/ 8300 w 10000"/>
                <a:gd name="connsiteY24" fmla="*/ 919 h 10000"/>
                <a:gd name="connsiteX25" fmla="*/ 8357 w 10000"/>
                <a:gd name="connsiteY25" fmla="*/ 1166 h 10000"/>
                <a:gd name="connsiteX26" fmla="*/ 8501 w 10000"/>
                <a:gd name="connsiteY26" fmla="*/ 1166 h 10000"/>
                <a:gd name="connsiteX27" fmla="*/ 8501 w 10000"/>
                <a:gd name="connsiteY27" fmla="*/ 1237 h 10000"/>
                <a:gd name="connsiteX28" fmla="*/ 8992 w 10000"/>
                <a:gd name="connsiteY28" fmla="*/ 1237 h 10000"/>
                <a:gd name="connsiteX29" fmla="*/ 9193 w 10000"/>
                <a:gd name="connsiteY29" fmla="*/ 1414 h 10000"/>
                <a:gd name="connsiteX30" fmla="*/ 9193 w 10000"/>
                <a:gd name="connsiteY30" fmla="*/ 1520 h 10000"/>
                <a:gd name="connsiteX31" fmla="*/ 9050 w 10000"/>
                <a:gd name="connsiteY31" fmla="*/ 1520 h 10000"/>
                <a:gd name="connsiteX32" fmla="*/ 8992 w 10000"/>
                <a:gd name="connsiteY32" fmla="*/ 1660 h 10000"/>
                <a:gd name="connsiteX33" fmla="*/ 8992 w 10000"/>
                <a:gd name="connsiteY33" fmla="*/ 2084 h 10000"/>
                <a:gd name="connsiteX34" fmla="*/ 8905 w 10000"/>
                <a:gd name="connsiteY34" fmla="*/ 2403 h 10000"/>
                <a:gd name="connsiteX35" fmla="*/ 8789 w 10000"/>
                <a:gd name="connsiteY35" fmla="*/ 2686 h 10000"/>
                <a:gd name="connsiteX36" fmla="*/ 8703 w 10000"/>
                <a:gd name="connsiteY36" fmla="*/ 2827 h 10000"/>
                <a:gd name="connsiteX37" fmla="*/ 8703 w 10000"/>
                <a:gd name="connsiteY37" fmla="*/ 3074 h 10000"/>
                <a:gd name="connsiteX38" fmla="*/ 8789 w 10000"/>
                <a:gd name="connsiteY38" fmla="*/ 3074 h 10000"/>
                <a:gd name="connsiteX39" fmla="*/ 8905 w 10000"/>
                <a:gd name="connsiteY39" fmla="*/ 3180 h 10000"/>
                <a:gd name="connsiteX40" fmla="*/ 8905 w 10000"/>
                <a:gd name="connsiteY40" fmla="*/ 3251 h 10000"/>
                <a:gd name="connsiteX41" fmla="*/ 8789 w 10000"/>
                <a:gd name="connsiteY41" fmla="*/ 3499 h 10000"/>
                <a:gd name="connsiteX42" fmla="*/ 8703 w 10000"/>
                <a:gd name="connsiteY42" fmla="*/ 3676 h 10000"/>
                <a:gd name="connsiteX43" fmla="*/ 8703 w 10000"/>
                <a:gd name="connsiteY43" fmla="*/ 3852 h 10000"/>
                <a:gd name="connsiteX44" fmla="*/ 8789 w 10000"/>
                <a:gd name="connsiteY44" fmla="*/ 3993 h 10000"/>
                <a:gd name="connsiteX45" fmla="*/ 8905 w 10000"/>
                <a:gd name="connsiteY45" fmla="*/ 4241 h 10000"/>
                <a:gd name="connsiteX46" fmla="*/ 9050 w 10000"/>
                <a:gd name="connsiteY46" fmla="*/ 4347 h 10000"/>
                <a:gd name="connsiteX47" fmla="*/ 9251 w 10000"/>
                <a:gd name="connsiteY47" fmla="*/ 4593 h 10000"/>
                <a:gd name="connsiteX48" fmla="*/ 9653 w 10000"/>
                <a:gd name="connsiteY48" fmla="*/ 4841 h 10000"/>
                <a:gd name="connsiteX49" fmla="*/ 9856 w 10000"/>
                <a:gd name="connsiteY49" fmla="*/ 5088 h 10000"/>
                <a:gd name="connsiteX50" fmla="*/ 10000 w 10000"/>
                <a:gd name="connsiteY50" fmla="*/ 5159 h 10000"/>
                <a:gd name="connsiteX51" fmla="*/ 9653 w 10000"/>
                <a:gd name="connsiteY51" fmla="*/ 5690 h 10000"/>
                <a:gd name="connsiteX52" fmla="*/ 9511 w 10000"/>
                <a:gd name="connsiteY52" fmla="*/ 5759 h 10000"/>
                <a:gd name="connsiteX53" fmla="*/ 9454 w 10000"/>
                <a:gd name="connsiteY53" fmla="*/ 5830 h 10000"/>
                <a:gd name="connsiteX54" fmla="*/ 9454 w 10000"/>
                <a:gd name="connsiteY54" fmla="*/ 6007 h 10000"/>
                <a:gd name="connsiteX55" fmla="*/ 9395 w 10000"/>
                <a:gd name="connsiteY55" fmla="*/ 6007 h 10000"/>
                <a:gd name="connsiteX56" fmla="*/ 9395 w 10000"/>
                <a:gd name="connsiteY56" fmla="*/ 6254 h 10000"/>
                <a:gd name="connsiteX57" fmla="*/ 9251 w 10000"/>
                <a:gd name="connsiteY57" fmla="*/ 6361 h 10000"/>
                <a:gd name="connsiteX58" fmla="*/ 9193 w 10000"/>
                <a:gd name="connsiteY58" fmla="*/ 6502 h 10000"/>
                <a:gd name="connsiteX59" fmla="*/ 9050 w 10000"/>
                <a:gd name="connsiteY59" fmla="*/ 6607 h 10000"/>
                <a:gd name="connsiteX60" fmla="*/ 8992 w 10000"/>
                <a:gd name="connsiteY60" fmla="*/ 6679 h 10000"/>
                <a:gd name="connsiteX61" fmla="*/ 8905 w 10000"/>
                <a:gd name="connsiteY61" fmla="*/ 6679 h 10000"/>
                <a:gd name="connsiteX62" fmla="*/ 8789 w 10000"/>
                <a:gd name="connsiteY62" fmla="*/ 6607 h 10000"/>
                <a:gd name="connsiteX63" fmla="*/ 8789 w 10000"/>
                <a:gd name="connsiteY63" fmla="*/ 6679 h 10000"/>
                <a:gd name="connsiteX64" fmla="*/ 8501 w 10000"/>
                <a:gd name="connsiteY64" fmla="*/ 6679 h 10000"/>
                <a:gd name="connsiteX65" fmla="*/ 8501 w 10000"/>
                <a:gd name="connsiteY65" fmla="*/ 6856 h 10000"/>
                <a:gd name="connsiteX66" fmla="*/ 8357 w 10000"/>
                <a:gd name="connsiteY66" fmla="*/ 6926 h 10000"/>
                <a:gd name="connsiteX67" fmla="*/ 8357 w 10000"/>
                <a:gd name="connsiteY67" fmla="*/ 7173 h 10000"/>
                <a:gd name="connsiteX68" fmla="*/ 4813 w 10000"/>
                <a:gd name="connsiteY68"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1846 w 10000"/>
                <a:gd name="connsiteY5" fmla="*/ 2014 h 10000"/>
                <a:gd name="connsiteX6" fmla="*/ 4409 w 10000"/>
                <a:gd name="connsiteY6" fmla="*/ 1166 h 10000"/>
                <a:gd name="connsiteX7" fmla="*/ 4611 w 10000"/>
                <a:gd name="connsiteY7" fmla="*/ 989 h 10000"/>
                <a:gd name="connsiteX8" fmla="*/ 4755 w 10000"/>
                <a:gd name="connsiteY8" fmla="*/ 989 h 10000"/>
                <a:gd name="connsiteX9" fmla="*/ 4813 w 10000"/>
                <a:gd name="connsiteY9" fmla="*/ 919 h 10000"/>
                <a:gd name="connsiteX10" fmla="*/ 5447 w 10000"/>
                <a:gd name="connsiteY10" fmla="*/ 671 h 10000"/>
                <a:gd name="connsiteX11" fmla="*/ 5561 w 10000"/>
                <a:gd name="connsiteY11" fmla="*/ 671 h 10000"/>
                <a:gd name="connsiteX12" fmla="*/ 5707 w 10000"/>
                <a:gd name="connsiteY12" fmla="*/ 600 h 10000"/>
                <a:gd name="connsiteX13" fmla="*/ 6053 w 10000"/>
                <a:gd name="connsiteY13" fmla="*/ 423 h 10000"/>
                <a:gd name="connsiteX14" fmla="*/ 7407 w 10000"/>
                <a:gd name="connsiteY14" fmla="*/ 0 h 10000"/>
                <a:gd name="connsiteX15" fmla="*/ 7551 w 10000"/>
                <a:gd name="connsiteY15" fmla="*/ 0 h 10000"/>
                <a:gd name="connsiteX16" fmla="*/ 7608 w 10000"/>
                <a:gd name="connsiteY16" fmla="*/ 71 h 10000"/>
                <a:gd name="connsiteX17" fmla="*/ 7896 w 10000"/>
                <a:gd name="connsiteY17" fmla="*/ 248 h 10000"/>
                <a:gd name="connsiteX18" fmla="*/ 8040 w 10000"/>
                <a:gd name="connsiteY18" fmla="*/ 248 h 10000"/>
                <a:gd name="connsiteX19" fmla="*/ 8099 w 10000"/>
                <a:gd name="connsiteY19" fmla="*/ 317 h 10000"/>
                <a:gd name="connsiteX20" fmla="*/ 8243 w 10000"/>
                <a:gd name="connsiteY20" fmla="*/ 423 h 10000"/>
                <a:gd name="connsiteX21" fmla="*/ 8243 w 10000"/>
                <a:gd name="connsiteY21" fmla="*/ 600 h 10000"/>
                <a:gd name="connsiteX22" fmla="*/ 8300 w 10000"/>
                <a:gd name="connsiteY22" fmla="*/ 848 h 10000"/>
                <a:gd name="connsiteX23" fmla="*/ 8300 w 10000"/>
                <a:gd name="connsiteY23" fmla="*/ 919 h 10000"/>
                <a:gd name="connsiteX24" fmla="*/ 8357 w 10000"/>
                <a:gd name="connsiteY24" fmla="*/ 1166 h 10000"/>
                <a:gd name="connsiteX25" fmla="*/ 8501 w 10000"/>
                <a:gd name="connsiteY25" fmla="*/ 1166 h 10000"/>
                <a:gd name="connsiteX26" fmla="*/ 8501 w 10000"/>
                <a:gd name="connsiteY26" fmla="*/ 1237 h 10000"/>
                <a:gd name="connsiteX27" fmla="*/ 8992 w 10000"/>
                <a:gd name="connsiteY27" fmla="*/ 1237 h 10000"/>
                <a:gd name="connsiteX28" fmla="*/ 9193 w 10000"/>
                <a:gd name="connsiteY28" fmla="*/ 1414 h 10000"/>
                <a:gd name="connsiteX29" fmla="*/ 9193 w 10000"/>
                <a:gd name="connsiteY29" fmla="*/ 1520 h 10000"/>
                <a:gd name="connsiteX30" fmla="*/ 9050 w 10000"/>
                <a:gd name="connsiteY30" fmla="*/ 1520 h 10000"/>
                <a:gd name="connsiteX31" fmla="*/ 8992 w 10000"/>
                <a:gd name="connsiteY31" fmla="*/ 1660 h 10000"/>
                <a:gd name="connsiteX32" fmla="*/ 8992 w 10000"/>
                <a:gd name="connsiteY32" fmla="*/ 2084 h 10000"/>
                <a:gd name="connsiteX33" fmla="*/ 8905 w 10000"/>
                <a:gd name="connsiteY33" fmla="*/ 2403 h 10000"/>
                <a:gd name="connsiteX34" fmla="*/ 8789 w 10000"/>
                <a:gd name="connsiteY34" fmla="*/ 2686 h 10000"/>
                <a:gd name="connsiteX35" fmla="*/ 8703 w 10000"/>
                <a:gd name="connsiteY35" fmla="*/ 2827 h 10000"/>
                <a:gd name="connsiteX36" fmla="*/ 8703 w 10000"/>
                <a:gd name="connsiteY36" fmla="*/ 3074 h 10000"/>
                <a:gd name="connsiteX37" fmla="*/ 8789 w 10000"/>
                <a:gd name="connsiteY37" fmla="*/ 3074 h 10000"/>
                <a:gd name="connsiteX38" fmla="*/ 8905 w 10000"/>
                <a:gd name="connsiteY38" fmla="*/ 3180 h 10000"/>
                <a:gd name="connsiteX39" fmla="*/ 8905 w 10000"/>
                <a:gd name="connsiteY39" fmla="*/ 3251 h 10000"/>
                <a:gd name="connsiteX40" fmla="*/ 8789 w 10000"/>
                <a:gd name="connsiteY40" fmla="*/ 3499 h 10000"/>
                <a:gd name="connsiteX41" fmla="*/ 8703 w 10000"/>
                <a:gd name="connsiteY41" fmla="*/ 3676 h 10000"/>
                <a:gd name="connsiteX42" fmla="*/ 8703 w 10000"/>
                <a:gd name="connsiteY42" fmla="*/ 3852 h 10000"/>
                <a:gd name="connsiteX43" fmla="*/ 8789 w 10000"/>
                <a:gd name="connsiteY43" fmla="*/ 3993 h 10000"/>
                <a:gd name="connsiteX44" fmla="*/ 8905 w 10000"/>
                <a:gd name="connsiteY44" fmla="*/ 4241 h 10000"/>
                <a:gd name="connsiteX45" fmla="*/ 9050 w 10000"/>
                <a:gd name="connsiteY45" fmla="*/ 4347 h 10000"/>
                <a:gd name="connsiteX46" fmla="*/ 9251 w 10000"/>
                <a:gd name="connsiteY46" fmla="*/ 4593 h 10000"/>
                <a:gd name="connsiteX47" fmla="*/ 9653 w 10000"/>
                <a:gd name="connsiteY47" fmla="*/ 4841 h 10000"/>
                <a:gd name="connsiteX48" fmla="*/ 9856 w 10000"/>
                <a:gd name="connsiteY48" fmla="*/ 5088 h 10000"/>
                <a:gd name="connsiteX49" fmla="*/ 10000 w 10000"/>
                <a:gd name="connsiteY49" fmla="*/ 5159 h 10000"/>
                <a:gd name="connsiteX50" fmla="*/ 9653 w 10000"/>
                <a:gd name="connsiteY50" fmla="*/ 5690 h 10000"/>
                <a:gd name="connsiteX51" fmla="*/ 9511 w 10000"/>
                <a:gd name="connsiteY51" fmla="*/ 5759 h 10000"/>
                <a:gd name="connsiteX52" fmla="*/ 9454 w 10000"/>
                <a:gd name="connsiteY52" fmla="*/ 5830 h 10000"/>
                <a:gd name="connsiteX53" fmla="*/ 9454 w 10000"/>
                <a:gd name="connsiteY53" fmla="*/ 6007 h 10000"/>
                <a:gd name="connsiteX54" fmla="*/ 9395 w 10000"/>
                <a:gd name="connsiteY54" fmla="*/ 6007 h 10000"/>
                <a:gd name="connsiteX55" fmla="*/ 9395 w 10000"/>
                <a:gd name="connsiteY55" fmla="*/ 6254 h 10000"/>
                <a:gd name="connsiteX56" fmla="*/ 9251 w 10000"/>
                <a:gd name="connsiteY56" fmla="*/ 6361 h 10000"/>
                <a:gd name="connsiteX57" fmla="*/ 9193 w 10000"/>
                <a:gd name="connsiteY57" fmla="*/ 6502 h 10000"/>
                <a:gd name="connsiteX58" fmla="*/ 9050 w 10000"/>
                <a:gd name="connsiteY58" fmla="*/ 6607 h 10000"/>
                <a:gd name="connsiteX59" fmla="*/ 8992 w 10000"/>
                <a:gd name="connsiteY59" fmla="*/ 6679 h 10000"/>
                <a:gd name="connsiteX60" fmla="*/ 8905 w 10000"/>
                <a:gd name="connsiteY60" fmla="*/ 6679 h 10000"/>
                <a:gd name="connsiteX61" fmla="*/ 8789 w 10000"/>
                <a:gd name="connsiteY61" fmla="*/ 6607 h 10000"/>
                <a:gd name="connsiteX62" fmla="*/ 8789 w 10000"/>
                <a:gd name="connsiteY62" fmla="*/ 6679 h 10000"/>
                <a:gd name="connsiteX63" fmla="*/ 8501 w 10000"/>
                <a:gd name="connsiteY63" fmla="*/ 6679 h 10000"/>
                <a:gd name="connsiteX64" fmla="*/ 8501 w 10000"/>
                <a:gd name="connsiteY64" fmla="*/ 6856 h 10000"/>
                <a:gd name="connsiteX65" fmla="*/ 8357 w 10000"/>
                <a:gd name="connsiteY65" fmla="*/ 6926 h 10000"/>
                <a:gd name="connsiteX66" fmla="*/ 8357 w 10000"/>
                <a:gd name="connsiteY66" fmla="*/ 7173 h 10000"/>
                <a:gd name="connsiteX67" fmla="*/ 4813 w 10000"/>
                <a:gd name="connsiteY67"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0 w 10000"/>
                <a:gd name="connsiteY4" fmla="*/ 2580 h 10000"/>
                <a:gd name="connsiteX5" fmla="*/ 4409 w 10000"/>
                <a:gd name="connsiteY5" fmla="*/ 1166 h 10000"/>
                <a:gd name="connsiteX6" fmla="*/ 4611 w 10000"/>
                <a:gd name="connsiteY6" fmla="*/ 989 h 10000"/>
                <a:gd name="connsiteX7" fmla="*/ 4755 w 10000"/>
                <a:gd name="connsiteY7" fmla="*/ 989 h 10000"/>
                <a:gd name="connsiteX8" fmla="*/ 4813 w 10000"/>
                <a:gd name="connsiteY8" fmla="*/ 919 h 10000"/>
                <a:gd name="connsiteX9" fmla="*/ 5447 w 10000"/>
                <a:gd name="connsiteY9" fmla="*/ 671 h 10000"/>
                <a:gd name="connsiteX10" fmla="*/ 5561 w 10000"/>
                <a:gd name="connsiteY10" fmla="*/ 671 h 10000"/>
                <a:gd name="connsiteX11" fmla="*/ 5707 w 10000"/>
                <a:gd name="connsiteY11" fmla="*/ 600 h 10000"/>
                <a:gd name="connsiteX12" fmla="*/ 6053 w 10000"/>
                <a:gd name="connsiteY12" fmla="*/ 423 h 10000"/>
                <a:gd name="connsiteX13" fmla="*/ 7407 w 10000"/>
                <a:gd name="connsiteY13" fmla="*/ 0 h 10000"/>
                <a:gd name="connsiteX14" fmla="*/ 7551 w 10000"/>
                <a:gd name="connsiteY14" fmla="*/ 0 h 10000"/>
                <a:gd name="connsiteX15" fmla="*/ 7608 w 10000"/>
                <a:gd name="connsiteY15" fmla="*/ 71 h 10000"/>
                <a:gd name="connsiteX16" fmla="*/ 7896 w 10000"/>
                <a:gd name="connsiteY16" fmla="*/ 248 h 10000"/>
                <a:gd name="connsiteX17" fmla="*/ 8040 w 10000"/>
                <a:gd name="connsiteY17" fmla="*/ 248 h 10000"/>
                <a:gd name="connsiteX18" fmla="*/ 8099 w 10000"/>
                <a:gd name="connsiteY18" fmla="*/ 317 h 10000"/>
                <a:gd name="connsiteX19" fmla="*/ 8243 w 10000"/>
                <a:gd name="connsiteY19" fmla="*/ 423 h 10000"/>
                <a:gd name="connsiteX20" fmla="*/ 8243 w 10000"/>
                <a:gd name="connsiteY20" fmla="*/ 600 h 10000"/>
                <a:gd name="connsiteX21" fmla="*/ 8300 w 10000"/>
                <a:gd name="connsiteY21" fmla="*/ 848 h 10000"/>
                <a:gd name="connsiteX22" fmla="*/ 8300 w 10000"/>
                <a:gd name="connsiteY22" fmla="*/ 919 h 10000"/>
                <a:gd name="connsiteX23" fmla="*/ 8357 w 10000"/>
                <a:gd name="connsiteY23" fmla="*/ 1166 h 10000"/>
                <a:gd name="connsiteX24" fmla="*/ 8501 w 10000"/>
                <a:gd name="connsiteY24" fmla="*/ 1166 h 10000"/>
                <a:gd name="connsiteX25" fmla="*/ 8501 w 10000"/>
                <a:gd name="connsiteY25" fmla="*/ 1237 h 10000"/>
                <a:gd name="connsiteX26" fmla="*/ 8992 w 10000"/>
                <a:gd name="connsiteY26" fmla="*/ 1237 h 10000"/>
                <a:gd name="connsiteX27" fmla="*/ 9193 w 10000"/>
                <a:gd name="connsiteY27" fmla="*/ 1414 h 10000"/>
                <a:gd name="connsiteX28" fmla="*/ 9193 w 10000"/>
                <a:gd name="connsiteY28" fmla="*/ 1520 h 10000"/>
                <a:gd name="connsiteX29" fmla="*/ 9050 w 10000"/>
                <a:gd name="connsiteY29" fmla="*/ 1520 h 10000"/>
                <a:gd name="connsiteX30" fmla="*/ 8992 w 10000"/>
                <a:gd name="connsiteY30" fmla="*/ 1660 h 10000"/>
                <a:gd name="connsiteX31" fmla="*/ 8992 w 10000"/>
                <a:gd name="connsiteY31" fmla="*/ 2084 h 10000"/>
                <a:gd name="connsiteX32" fmla="*/ 8905 w 10000"/>
                <a:gd name="connsiteY32" fmla="*/ 2403 h 10000"/>
                <a:gd name="connsiteX33" fmla="*/ 8789 w 10000"/>
                <a:gd name="connsiteY33" fmla="*/ 2686 h 10000"/>
                <a:gd name="connsiteX34" fmla="*/ 8703 w 10000"/>
                <a:gd name="connsiteY34" fmla="*/ 2827 h 10000"/>
                <a:gd name="connsiteX35" fmla="*/ 8703 w 10000"/>
                <a:gd name="connsiteY35" fmla="*/ 3074 h 10000"/>
                <a:gd name="connsiteX36" fmla="*/ 8789 w 10000"/>
                <a:gd name="connsiteY36" fmla="*/ 3074 h 10000"/>
                <a:gd name="connsiteX37" fmla="*/ 8905 w 10000"/>
                <a:gd name="connsiteY37" fmla="*/ 3180 h 10000"/>
                <a:gd name="connsiteX38" fmla="*/ 8905 w 10000"/>
                <a:gd name="connsiteY38" fmla="*/ 3251 h 10000"/>
                <a:gd name="connsiteX39" fmla="*/ 8789 w 10000"/>
                <a:gd name="connsiteY39" fmla="*/ 3499 h 10000"/>
                <a:gd name="connsiteX40" fmla="*/ 8703 w 10000"/>
                <a:gd name="connsiteY40" fmla="*/ 3676 h 10000"/>
                <a:gd name="connsiteX41" fmla="*/ 8703 w 10000"/>
                <a:gd name="connsiteY41" fmla="*/ 3852 h 10000"/>
                <a:gd name="connsiteX42" fmla="*/ 8789 w 10000"/>
                <a:gd name="connsiteY42" fmla="*/ 3993 h 10000"/>
                <a:gd name="connsiteX43" fmla="*/ 8905 w 10000"/>
                <a:gd name="connsiteY43" fmla="*/ 4241 h 10000"/>
                <a:gd name="connsiteX44" fmla="*/ 9050 w 10000"/>
                <a:gd name="connsiteY44" fmla="*/ 4347 h 10000"/>
                <a:gd name="connsiteX45" fmla="*/ 9251 w 10000"/>
                <a:gd name="connsiteY45" fmla="*/ 4593 h 10000"/>
                <a:gd name="connsiteX46" fmla="*/ 9653 w 10000"/>
                <a:gd name="connsiteY46" fmla="*/ 4841 h 10000"/>
                <a:gd name="connsiteX47" fmla="*/ 9856 w 10000"/>
                <a:gd name="connsiteY47" fmla="*/ 5088 h 10000"/>
                <a:gd name="connsiteX48" fmla="*/ 10000 w 10000"/>
                <a:gd name="connsiteY48" fmla="*/ 5159 h 10000"/>
                <a:gd name="connsiteX49" fmla="*/ 9653 w 10000"/>
                <a:gd name="connsiteY49" fmla="*/ 5690 h 10000"/>
                <a:gd name="connsiteX50" fmla="*/ 9511 w 10000"/>
                <a:gd name="connsiteY50" fmla="*/ 5759 h 10000"/>
                <a:gd name="connsiteX51" fmla="*/ 9454 w 10000"/>
                <a:gd name="connsiteY51" fmla="*/ 5830 h 10000"/>
                <a:gd name="connsiteX52" fmla="*/ 9454 w 10000"/>
                <a:gd name="connsiteY52" fmla="*/ 6007 h 10000"/>
                <a:gd name="connsiteX53" fmla="*/ 9395 w 10000"/>
                <a:gd name="connsiteY53" fmla="*/ 6007 h 10000"/>
                <a:gd name="connsiteX54" fmla="*/ 9395 w 10000"/>
                <a:gd name="connsiteY54" fmla="*/ 6254 h 10000"/>
                <a:gd name="connsiteX55" fmla="*/ 9251 w 10000"/>
                <a:gd name="connsiteY55" fmla="*/ 6361 h 10000"/>
                <a:gd name="connsiteX56" fmla="*/ 9193 w 10000"/>
                <a:gd name="connsiteY56" fmla="*/ 6502 h 10000"/>
                <a:gd name="connsiteX57" fmla="*/ 9050 w 10000"/>
                <a:gd name="connsiteY57" fmla="*/ 6607 h 10000"/>
                <a:gd name="connsiteX58" fmla="*/ 8992 w 10000"/>
                <a:gd name="connsiteY58" fmla="*/ 6679 h 10000"/>
                <a:gd name="connsiteX59" fmla="*/ 8905 w 10000"/>
                <a:gd name="connsiteY59" fmla="*/ 6679 h 10000"/>
                <a:gd name="connsiteX60" fmla="*/ 8789 w 10000"/>
                <a:gd name="connsiteY60" fmla="*/ 6607 h 10000"/>
                <a:gd name="connsiteX61" fmla="*/ 8789 w 10000"/>
                <a:gd name="connsiteY61" fmla="*/ 6679 h 10000"/>
                <a:gd name="connsiteX62" fmla="*/ 8501 w 10000"/>
                <a:gd name="connsiteY62" fmla="*/ 6679 h 10000"/>
                <a:gd name="connsiteX63" fmla="*/ 8501 w 10000"/>
                <a:gd name="connsiteY63" fmla="*/ 6856 h 10000"/>
                <a:gd name="connsiteX64" fmla="*/ 8357 w 10000"/>
                <a:gd name="connsiteY64" fmla="*/ 6926 h 10000"/>
                <a:gd name="connsiteX65" fmla="*/ 8357 w 10000"/>
                <a:gd name="connsiteY65" fmla="*/ 7173 h 10000"/>
                <a:gd name="connsiteX66" fmla="*/ 4813 w 10000"/>
                <a:gd name="connsiteY66" fmla="*/ 8516 h 10000"/>
                <a:gd name="connsiteX0" fmla="*/ 4813 w 10000"/>
                <a:gd name="connsiteY0" fmla="*/ 8516 h 10000"/>
                <a:gd name="connsiteX1" fmla="*/ 1355 w 10000"/>
                <a:gd name="connsiteY1" fmla="*/ 9683 h 10000"/>
                <a:gd name="connsiteX2" fmla="*/ 201 w 10000"/>
                <a:gd name="connsiteY2" fmla="*/ 10000 h 10000"/>
                <a:gd name="connsiteX3" fmla="*/ 0 w 10000"/>
                <a:gd name="connsiteY3" fmla="*/ 10000 h 10000"/>
                <a:gd name="connsiteX4" fmla="*/ 4409 w 10000"/>
                <a:gd name="connsiteY4" fmla="*/ 1166 h 10000"/>
                <a:gd name="connsiteX5" fmla="*/ 4611 w 10000"/>
                <a:gd name="connsiteY5" fmla="*/ 989 h 10000"/>
                <a:gd name="connsiteX6" fmla="*/ 4755 w 10000"/>
                <a:gd name="connsiteY6" fmla="*/ 989 h 10000"/>
                <a:gd name="connsiteX7" fmla="*/ 4813 w 10000"/>
                <a:gd name="connsiteY7" fmla="*/ 919 h 10000"/>
                <a:gd name="connsiteX8" fmla="*/ 5447 w 10000"/>
                <a:gd name="connsiteY8" fmla="*/ 671 h 10000"/>
                <a:gd name="connsiteX9" fmla="*/ 5561 w 10000"/>
                <a:gd name="connsiteY9" fmla="*/ 671 h 10000"/>
                <a:gd name="connsiteX10" fmla="*/ 5707 w 10000"/>
                <a:gd name="connsiteY10" fmla="*/ 600 h 10000"/>
                <a:gd name="connsiteX11" fmla="*/ 6053 w 10000"/>
                <a:gd name="connsiteY11" fmla="*/ 423 h 10000"/>
                <a:gd name="connsiteX12" fmla="*/ 7407 w 10000"/>
                <a:gd name="connsiteY12" fmla="*/ 0 h 10000"/>
                <a:gd name="connsiteX13" fmla="*/ 7551 w 10000"/>
                <a:gd name="connsiteY13" fmla="*/ 0 h 10000"/>
                <a:gd name="connsiteX14" fmla="*/ 7608 w 10000"/>
                <a:gd name="connsiteY14" fmla="*/ 71 h 10000"/>
                <a:gd name="connsiteX15" fmla="*/ 7896 w 10000"/>
                <a:gd name="connsiteY15" fmla="*/ 248 h 10000"/>
                <a:gd name="connsiteX16" fmla="*/ 8040 w 10000"/>
                <a:gd name="connsiteY16" fmla="*/ 248 h 10000"/>
                <a:gd name="connsiteX17" fmla="*/ 8099 w 10000"/>
                <a:gd name="connsiteY17" fmla="*/ 317 h 10000"/>
                <a:gd name="connsiteX18" fmla="*/ 8243 w 10000"/>
                <a:gd name="connsiteY18" fmla="*/ 423 h 10000"/>
                <a:gd name="connsiteX19" fmla="*/ 8243 w 10000"/>
                <a:gd name="connsiteY19" fmla="*/ 600 h 10000"/>
                <a:gd name="connsiteX20" fmla="*/ 8300 w 10000"/>
                <a:gd name="connsiteY20" fmla="*/ 848 h 10000"/>
                <a:gd name="connsiteX21" fmla="*/ 8300 w 10000"/>
                <a:gd name="connsiteY21" fmla="*/ 919 h 10000"/>
                <a:gd name="connsiteX22" fmla="*/ 8357 w 10000"/>
                <a:gd name="connsiteY22" fmla="*/ 1166 h 10000"/>
                <a:gd name="connsiteX23" fmla="*/ 8501 w 10000"/>
                <a:gd name="connsiteY23" fmla="*/ 1166 h 10000"/>
                <a:gd name="connsiteX24" fmla="*/ 8501 w 10000"/>
                <a:gd name="connsiteY24" fmla="*/ 1237 h 10000"/>
                <a:gd name="connsiteX25" fmla="*/ 8992 w 10000"/>
                <a:gd name="connsiteY25" fmla="*/ 1237 h 10000"/>
                <a:gd name="connsiteX26" fmla="*/ 9193 w 10000"/>
                <a:gd name="connsiteY26" fmla="*/ 1414 h 10000"/>
                <a:gd name="connsiteX27" fmla="*/ 9193 w 10000"/>
                <a:gd name="connsiteY27" fmla="*/ 1520 h 10000"/>
                <a:gd name="connsiteX28" fmla="*/ 9050 w 10000"/>
                <a:gd name="connsiteY28" fmla="*/ 1520 h 10000"/>
                <a:gd name="connsiteX29" fmla="*/ 8992 w 10000"/>
                <a:gd name="connsiteY29" fmla="*/ 1660 h 10000"/>
                <a:gd name="connsiteX30" fmla="*/ 8992 w 10000"/>
                <a:gd name="connsiteY30" fmla="*/ 2084 h 10000"/>
                <a:gd name="connsiteX31" fmla="*/ 8905 w 10000"/>
                <a:gd name="connsiteY31" fmla="*/ 2403 h 10000"/>
                <a:gd name="connsiteX32" fmla="*/ 8789 w 10000"/>
                <a:gd name="connsiteY32" fmla="*/ 2686 h 10000"/>
                <a:gd name="connsiteX33" fmla="*/ 8703 w 10000"/>
                <a:gd name="connsiteY33" fmla="*/ 2827 h 10000"/>
                <a:gd name="connsiteX34" fmla="*/ 8703 w 10000"/>
                <a:gd name="connsiteY34" fmla="*/ 3074 h 10000"/>
                <a:gd name="connsiteX35" fmla="*/ 8789 w 10000"/>
                <a:gd name="connsiteY35" fmla="*/ 3074 h 10000"/>
                <a:gd name="connsiteX36" fmla="*/ 8905 w 10000"/>
                <a:gd name="connsiteY36" fmla="*/ 3180 h 10000"/>
                <a:gd name="connsiteX37" fmla="*/ 8905 w 10000"/>
                <a:gd name="connsiteY37" fmla="*/ 3251 h 10000"/>
                <a:gd name="connsiteX38" fmla="*/ 8789 w 10000"/>
                <a:gd name="connsiteY38" fmla="*/ 3499 h 10000"/>
                <a:gd name="connsiteX39" fmla="*/ 8703 w 10000"/>
                <a:gd name="connsiteY39" fmla="*/ 3676 h 10000"/>
                <a:gd name="connsiteX40" fmla="*/ 8703 w 10000"/>
                <a:gd name="connsiteY40" fmla="*/ 3852 h 10000"/>
                <a:gd name="connsiteX41" fmla="*/ 8789 w 10000"/>
                <a:gd name="connsiteY41" fmla="*/ 3993 h 10000"/>
                <a:gd name="connsiteX42" fmla="*/ 8905 w 10000"/>
                <a:gd name="connsiteY42" fmla="*/ 4241 h 10000"/>
                <a:gd name="connsiteX43" fmla="*/ 9050 w 10000"/>
                <a:gd name="connsiteY43" fmla="*/ 4347 h 10000"/>
                <a:gd name="connsiteX44" fmla="*/ 9251 w 10000"/>
                <a:gd name="connsiteY44" fmla="*/ 4593 h 10000"/>
                <a:gd name="connsiteX45" fmla="*/ 9653 w 10000"/>
                <a:gd name="connsiteY45" fmla="*/ 4841 h 10000"/>
                <a:gd name="connsiteX46" fmla="*/ 9856 w 10000"/>
                <a:gd name="connsiteY46" fmla="*/ 5088 h 10000"/>
                <a:gd name="connsiteX47" fmla="*/ 10000 w 10000"/>
                <a:gd name="connsiteY47" fmla="*/ 5159 h 10000"/>
                <a:gd name="connsiteX48" fmla="*/ 9653 w 10000"/>
                <a:gd name="connsiteY48" fmla="*/ 5690 h 10000"/>
                <a:gd name="connsiteX49" fmla="*/ 9511 w 10000"/>
                <a:gd name="connsiteY49" fmla="*/ 5759 h 10000"/>
                <a:gd name="connsiteX50" fmla="*/ 9454 w 10000"/>
                <a:gd name="connsiteY50" fmla="*/ 5830 h 10000"/>
                <a:gd name="connsiteX51" fmla="*/ 9454 w 10000"/>
                <a:gd name="connsiteY51" fmla="*/ 6007 h 10000"/>
                <a:gd name="connsiteX52" fmla="*/ 9395 w 10000"/>
                <a:gd name="connsiteY52" fmla="*/ 6007 h 10000"/>
                <a:gd name="connsiteX53" fmla="*/ 9395 w 10000"/>
                <a:gd name="connsiteY53" fmla="*/ 6254 h 10000"/>
                <a:gd name="connsiteX54" fmla="*/ 9251 w 10000"/>
                <a:gd name="connsiteY54" fmla="*/ 6361 h 10000"/>
                <a:gd name="connsiteX55" fmla="*/ 9193 w 10000"/>
                <a:gd name="connsiteY55" fmla="*/ 6502 h 10000"/>
                <a:gd name="connsiteX56" fmla="*/ 9050 w 10000"/>
                <a:gd name="connsiteY56" fmla="*/ 6607 h 10000"/>
                <a:gd name="connsiteX57" fmla="*/ 8992 w 10000"/>
                <a:gd name="connsiteY57" fmla="*/ 6679 h 10000"/>
                <a:gd name="connsiteX58" fmla="*/ 8905 w 10000"/>
                <a:gd name="connsiteY58" fmla="*/ 6679 h 10000"/>
                <a:gd name="connsiteX59" fmla="*/ 8789 w 10000"/>
                <a:gd name="connsiteY59" fmla="*/ 6607 h 10000"/>
                <a:gd name="connsiteX60" fmla="*/ 8789 w 10000"/>
                <a:gd name="connsiteY60" fmla="*/ 6679 h 10000"/>
                <a:gd name="connsiteX61" fmla="*/ 8501 w 10000"/>
                <a:gd name="connsiteY61" fmla="*/ 6679 h 10000"/>
                <a:gd name="connsiteX62" fmla="*/ 8501 w 10000"/>
                <a:gd name="connsiteY62" fmla="*/ 6856 h 10000"/>
                <a:gd name="connsiteX63" fmla="*/ 8357 w 10000"/>
                <a:gd name="connsiteY63" fmla="*/ 6926 h 10000"/>
                <a:gd name="connsiteX64" fmla="*/ 8357 w 10000"/>
                <a:gd name="connsiteY64" fmla="*/ 7173 h 10000"/>
                <a:gd name="connsiteX65" fmla="*/ 4813 w 10000"/>
                <a:gd name="connsiteY65" fmla="*/ 8516 h 10000"/>
                <a:gd name="connsiteX0" fmla="*/ 4612 w 9799"/>
                <a:gd name="connsiteY0" fmla="*/ 8516 h 10000"/>
                <a:gd name="connsiteX1" fmla="*/ 1154 w 9799"/>
                <a:gd name="connsiteY1" fmla="*/ 9683 h 10000"/>
                <a:gd name="connsiteX2" fmla="*/ 0 w 9799"/>
                <a:gd name="connsiteY2" fmla="*/ 10000 h 10000"/>
                <a:gd name="connsiteX3" fmla="*/ 4208 w 9799"/>
                <a:gd name="connsiteY3" fmla="*/ 1166 h 10000"/>
                <a:gd name="connsiteX4" fmla="*/ 4410 w 9799"/>
                <a:gd name="connsiteY4" fmla="*/ 989 h 10000"/>
                <a:gd name="connsiteX5" fmla="*/ 4554 w 9799"/>
                <a:gd name="connsiteY5" fmla="*/ 989 h 10000"/>
                <a:gd name="connsiteX6" fmla="*/ 4612 w 9799"/>
                <a:gd name="connsiteY6" fmla="*/ 919 h 10000"/>
                <a:gd name="connsiteX7" fmla="*/ 5246 w 9799"/>
                <a:gd name="connsiteY7" fmla="*/ 671 h 10000"/>
                <a:gd name="connsiteX8" fmla="*/ 5360 w 9799"/>
                <a:gd name="connsiteY8" fmla="*/ 671 h 10000"/>
                <a:gd name="connsiteX9" fmla="*/ 5506 w 9799"/>
                <a:gd name="connsiteY9" fmla="*/ 600 h 10000"/>
                <a:gd name="connsiteX10" fmla="*/ 5852 w 9799"/>
                <a:gd name="connsiteY10" fmla="*/ 423 h 10000"/>
                <a:gd name="connsiteX11" fmla="*/ 7206 w 9799"/>
                <a:gd name="connsiteY11" fmla="*/ 0 h 10000"/>
                <a:gd name="connsiteX12" fmla="*/ 7350 w 9799"/>
                <a:gd name="connsiteY12" fmla="*/ 0 h 10000"/>
                <a:gd name="connsiteX13" fmla="*/ 7407 w 9799"/>
                <a:gd name="connsiteY13" fmla="*/ 71 h 10000"/>
                <a:gd name="connsiteX14" fmla="*/ 7695 w 9799"/>
                <a:gd name="connsiteY14" fmla="*/ 248 h 10000"/>
                <a:gd name="connsiteX15" fmla="*/ 7839 w 9799"/>
                <a:gd name="connsiteY15" fmla="*/ 248 h 10000"/>
                <a:gd name="connsiteX16" fmla="*/ 7898 w 9799"/>
                <a:gd name="connsiteY16" fmla="*/ 317 h 10000"/>
                <a:gd name="connsiteX17" fmla="*/ 8042 w 9799"/>
                <a:gd name="connsiteY17" fmla="*/ 423 h 10000"/>
                <a:gd name="connsiteX18" fmla="*/ 8042 w 9799"/>
                <a:gd name="connsiteY18" fmla="*/ 600 h 10000"/>
                <a:gd name="connsiteX19" fmla="*/ 8099 w 9799"/>
                <a:gd name="connsiteY19" fmla="*/ 848 h 10000"/>
                <a:gd name="connsiteX20" fmla="*/ 8099 w 9799"/>
                <a:gd name="connsiteY20" fmla="*/ 919 h 10000"/>
                <a:gd name="connsiteX21" fmla="*/ 8156 w 9799"/>
                <a:gd name="connsiteY21" fmla="*/ 1166 h 10000"/>
                <a:gd name="connsiteX22" fmla="*/ 8300 w 9799"/>
                <a:gd name="connsiteY22" fmla="*/ 1166 h 10000"/>
                <a:gd name="connsiteX23" fmla="*/ 8300 w 9799"/>
                <a:gd name="connsiteY23" fmla="*/ 1237 h 10000"/>
                <a:gd name="connsiteX24" fmla="*/ 8791 w 9799"/>
                <a:gd name="connsiteY24" fmla="*/ 1237 h 10000"/>
                <a:gd name="connsiteX25" fmla="*/ 8992 w 9799"/>
                <a:gd name="connsiteY25" fmla="*/ 1414 h 10000"/>
                <a:gd name="connsiteX26" fmla="*/ 8992 w 9799"/>
                <a:gd name="connsiteY26" fmla="*/ 1520 h 10000"/>
                <a:gd name="connsiteX27" fmla="*/ 8849 w 9799"/>
                <a:gd name="connsiteY27" fmla="*/ 1520 h 10000"/>
                <a:gd name="connsiteX28" fmla="*/ 8791 w 9799"/>
                <a:gd name="connsiteY28" fmla="*/ 1660 h 10000"/>
                <a:gd name="connsiteX29" fmla="*/ 8791 w 9799"/>
                <a:gd name="connsiteY29" fmla="*/ 2084 h 10000"/>
                <a:gd name="connsiteX30" fmla="*/ 8704 w 9799"/>
                <a:gd name="connsiteY30" fmla="*/ 2403 h 10000"/>
                <a:gd name="connsiteX31" fmla="*/ 8588 w 9799"/>
                <a:gd name="connsiteY31" fmla="*/ 2686 h 10000"/>
                <a:gd name="connsiteX32" fmla="*/ 8502 w 9799"/>
                <a:gd name="connsiteY32" fmla="*/ 2827 h 10000"/>
                <a:gd name="connsiteX33" fmla="*/ 8502 w 9799"/>
                <a:gd name="connsiteY33" fmla="*/ 3074 h 10000"/>
                <a:gd name="connsiteX34" fmla="*/ 8588 w 9799"/>
                <a:gd name="connsiteY34" fmla="*/ 3074 h 10000"/>
                <a:gd name="connsiteX35" fmla="*/ 8704 w 9799"/>
                <a:gd name="connsiteY35" fmla="*/ 3180 h 10000"/>
                <a:gd name="connsiteX36" fmla="*/ 8704 w 9799"/>
                <a:gd name="connsiteY36" fmla="*/ 3251 h 10000"/>
                <a:gd name="connsiteX37" fmla="*/ 8588 w 9799"/>
                <a:gd name="connsiteY37" fmla="*/ 3499 h 10000"/>
                <a:gd name="connsiteX38" fmla="*/ 8502 w 9799"/>
                <a:gd name="connsiteY38" fmla="*/ 3676 h 10000"/>
                <a:gd name="connsiteX39" fmla="*/ 8502 w 9799"/>
                <a:gd name="connsiteY39" fmla="*/ 3852 h 10000"/>
                <a:gd name="connsiteX40" fmla="*/ 8588 w 9799"/>
                <a:gd name="connsiteY40" fmla="*/ 3993 h 10000"/>
                <a:gd name="connsiteX41" fmla="*/ 8704 w 9799"/>
                <a:gd name="connsiteY41" fmla="*/ 4241 h 10000"/>
                <a:gd name="connsiteX42" fmla="*/ 8849 w 9799"/>
                <a:gd name="connsiteY42" fmla="*/ 4347 h 10000"/>
                <a:gd name="connsiteX43" fmla="*/ 9050 w 9799"/>
                <a:gd name="connsiteY43" fmla="*/ 4593 h 10000"/>
                <a:gd name="connsiteX44" fmla="*/ 9452 w 9799"/>
                <a:gd name="connsiteY44" fmla="*/ 4841 h 10000"/>
                <a:gd name="connsiteX45" fmla="*/ 9655 w 9799"/>
                <a:gd name="connsiteY45" fmla="*/ 5088 h 10000"/>
                <a:gd name="connsiteX46" fmla="*/ 9799 w 9799"/>
                <a:gd name="connsiteY46" fmla="*/ 5159 h 10000"/>
                <a:gd name="connsiteX47" fmla="*/ 9452 w 9799"/>
                <a:gd name="connsiteY47" fmla="*/ 5690 h 10000"/>
                <a:gd name="connsiteX48" fmla="*/ 9310 w 9799"/>
                <a:gd name="connsiteY48" fmla="*/ 5759 h 10000"/>
                <a:gd name="connsiteX49" fmla="*/ 9253 w 9799"/>
                <a:gd name="connsiteY49" fmla="*/ 5830 h 10000"/>
                <a:gd name="connsiteX50" fmla="*/ 9253 w 9799"/>
                <a:gd name="connsiteY50" fmla="*/ 6007 h 10000"/>
                <a:gd name="connsiteX51" fmla="*/ 9194 w 9799"/>
                <a:gd name="connsiteY51" fmla="*/ 6007 h 10000"/>
                <a:gd name="connsiteX52" fmla="*/ 9194 w 9799"/>
                <a:gd name="connsiteY52" fmla="*/ 6254 h 10000"/>
                <a:gd name="connsiteX53" fmla="*/ 9050 w 9799"/>
                <a:gd name="connsiteY53" fmla="*/ 6361 h 10000"/>
                <a:gd name="connsiteX54" fmla="*/ 8992 w 9799"/>
                <a:gd name="connsiteY54" fmla="*/ 6502 h 10000"/>
                <a:gd name="connsiteX55" fmla="*/ 8849 w 9799"/>
                <a:gd name="connsiteY55" fmla="*/ 6607 h 10000"/>
                <a:gd name="connsiteX56" fmla="*/ 8791 w 9799"/>
                <a:gd name="connsiteY56" fmla="*/ 6679 h 10000"/>
                <a:gd name="connsiteX57" fmla="*/ 8704 w 9799"/>
                <a:gd name="connsiteY57" fmla="*/ 6679 h 10000"/>
                <a:gd name="connsiteX58" fmla="*/ 8588 w 9799"/>
                <a:gd name="connsiteY58" fmla="*/ 6607 h 10000"/>
                <a:gd name="connsiteX59" fmla="*/ 8588 w 9799"/>
                <a:gd name="connsiteY59" fmla="*/ 6679 h 10000"/>
                <a:gd name="connsiteX60" fmla="*/ 8300 w 9799"/>
                <a:gd name="connsiteY60" fmla="*/ 6679 h 10000"/>
                <a:gd name="connsiteX61" fmla="*/ 8300 w 9799"/>
                <a:gd name="connsiteY61" fmla="*/ 6856 h 10000"/>
                <a:gd name="connsiteX62" fmla="*/ 8156 w 9799"/>
                <a:gd name="connsiteY62" fmla="*/ 6926 h 10000"/>
                <a:gd name="connsiteX63" fmla="*/ 8156 w 9799"/>
                <a:gd name="connsiteY63" fmla="*/ 7173 h 10000"/>
                <a:gd name="connsiteX64" fmla="*/ 4612 w 9799"/>
                <a:gd name="connsiteY64" fmla="*/ 8516 h 10000"/>
                <a:gd name="connsiteX0" fmla="*/ 3529 w 8822"/>
                <a:gd name="connsiteY0" fmla="*/ 8516 h 9683"/>
                <a:gd name="connsiteX1" fmla="*/ 0 w 8822"/>
                <a:gd name="connsiteY1" fmla="*/ 9683 h 9683"/>
                <a:gd name="connsiteX2" fmla="*/ 3116 w 8822"/>
                <a:gd name="connsiteY2" fmla="*/ 1166 h 9683"/>
                <a:gd name="connsiteX3" fmla="*/ 3322 w 8822"/>
                <a:gd name="connsiteY3" fmla="*/ 989 h 9683"/>
                <a:gd name="connsiteX4" fmla="*/ 3469 w 8822"/>
                <a:gd name="connsiteY4" fmla="*/ 989 h 9683"/>
                <a:gd name="connsiteX5" fmla="*/ 3529 w 8822"/>
                <a:gd name="connsiteY5" fmla="*/ 919 h 9683"/>
                <a:gd name="connsiteX6" fmla="*/ 4176 w 8822"/>
                <a:gd name="connsiteY6" fmla="*/ 671 h 9683"/>
                <a:gd name="connsiteX7" fmla="*/ 4292 w 8822"/>
                <a:gd name="connsiteY7" fmla="*/ 671 h 9683"/>
                <a:gd name="connsiteX8" fmla="*/ 4441 w 8822"/>
                <a:gd name="connsiteY8" fmla="*/ 600 h 9683"/>
                <a:gd name="connsiteX9" fmla="*/ 4794 w 8822"/>
                <a:gd name="connsiteY9" fmla="*/ 423 h 9683"/>
                <a:gd name="connsiteX10" fmla="*/ 6176 w 8822"/>
                <a:gd name="connsiteY10" fmla="*/ 0 h 9683"/>
                <a:gd name="connsiteX11" fmla="*/ 6323 w 8822"/>
                <a:gd name="connsiteY11" fmla="*/ 0 h 9683"/>
                <a:gd name="connsiteX12" fmla="*/ 6381 w 8822"/>
                <a:gd name="connsiteY12" fmla="*/ 71 h 9683"/>
                <a:gd name="connsiteX13" fmla="*/ 6675 w 8822"/>
                <a:gd name="connsiteY13" fmla="*/ 248 h 9683"/>
                <a:gd name="connsiteX14" fmla="*/ 6822 w 8822"/>
                <a:gd name="connsiteY14" fmla="*/ 248 h 9683"/>
                <a:gd name="connsiteX15" fmla="*/ 6882 w 8822"/>
                <a:gd name="connsiteY15" fmla="*/ 317 h 9683"/>
                <a:gd name="connsiteX16" fmla="*/ 7029 w 8822"/>
                <a:gd name="connsiteY16" fmla="*/ 423 h 9683"/>
                <a:gd name="connsiteX17" fmla="*/ 7029 w 8822"/>
                <a:gd name="connsiteY17" fmla="*/ 600 h 9683"/>
                <a:gd name="connsiteX18" fmla="*/ 7087 w 8822"/>
                <a:gd name="connsiteY18" fmla="*/ 848 h 9683"/>
                <a:gd name="connsiteX19" fmla="*/ 7087 w 8822"/>
                <a:gd name="connsiteY19" fmla="*/ 919 h 9683"/>
                <a:gd name="connsiteX20" fmla="*/ 7145 w 8822"/>
                <a:gd name="connsiteY20" fmla="*/ 1166 h 9683"/>
                <a:gd name="connsiteX21" fmla="*/ 7292 w 8822"/>
                <a:gd name="connsiteY21" fmla="*/ 1166 h 9683"/>
                <a:gd name="connsiteX22" fmla="*/ 7292 w 8822"/>
                <a:gd name="connsiteY22" fmla="*/ 1237 h 9683"/>
                <a:gd name="connsiteX23" fmla="*/ 7793 w 8822"/>
                <a:gd name="connsiteY23" fmla="*/ 1237 h 9683"/>
                <a:gd name="connsiteX24" fmla="*/ 7998 w 8822"/>
                <a:gd name="connsiteY24" fmla="*/ 1414 h 9683"/>
                <a:gd name="connsiteX25" fmla="*/ 7998 w 8822"/>
                <a:gd name="connsiteY25" fmla="*/ 1520 h 9683"/>
                <a:gd name="connsiteX26" fmla="*/ 7853 w 8822"/>
                <a:gd name="connsiteY26" fmla="*/ 1520 h 9683"/>
                <a:gd name="connsiteX27" fmla="*/ 7793 w 8822"/>
                <a:gd name="connsiteY27" fmla="*/ 1660 h 9683"/>
                <a:gd name="connsiteX28" fmla="*/ 7793 w 8822"/>
                <a:gd name="connsiteY28" fmla="*/ 2084 h 9683"/>
                <a:gd name="connsiteX29" fmla="*/ 7705 w 8822"/>
                <a:gd name="connsiteY29" fmla="*/ 2403 h 9683"/>
                <a:gd name="connsiteX30" fmla="*/ 7586 w 8822"/>
                <a:gd name="connsiteY30" fmla="*/ 2686 h 9683"/>
                <a:gd name="connsiteX31" fmla="*/ 7498 w 8822"/>
                <a:gd name="connsiteY31" fmla="*/ 2827 h 9683"/>
                <a:gd name="connsiteX32" fmla="*/ 7498 w 8822"/>
                <a:gd name="connsiteY32" fmla="*/ 3074 h 9683"/>
                <a:gd name="connsiteX33" fmla="*/ 7586 w 8822"/>
                <a:gd name="connsiteY33" fmla="*/ 3074 h 9683"/>
                <a:gd name="connsiteX34" fmla="*/ 7705 w 8822"/>
                <a:gd name="connsiteY34" fmla="*/ 3180 h 9683"/>
                <a:gd name="connsiteX35" fmla="*/ 7705 w 8822"/>
                <a:gd name="connsiteY35" fmla="*/ 3251 h 9683"/>
                <a:gd name="connsiteX36" fmla="*/ 7586 w 8822"/>
                <a:gd name="connsiteY36" fmla="*/ 3499 h 9683"/>
                <a:gd name="connsiteX37" fmla="*/ 7498 w 8822"/>
                <a:gd name="connsiteY37" fmla="*/ 3676 h 9683"/>
                <a:gd name="connsiteX38" fmla="*/ 7498 w 8822"/>
                <a:gd name="connsiteY38" fmla="*/ 3852 h 9683"/>
                <a:gd name="connsiteX39" fmla="*/ 7586 w 8822"/>
                <a:gd name="connsiteY39" fmla="*/ 3993 h 9683"/>
                <a:gd name="connsiteX40" fmla="*/ 7705 w 8822"/>
                <a:gd name="connsiteY40" fmla="*/ 4241 h 9683"/>
                <a:gd name="connsiteX41" fmla="*/ 7853 w 8822"/>
                <a:gd name="connsiteY41" fmla="*/ 4347 h 9683"/>
                <a:gd name="connsiteX42" fmla="*/ 8058 w 8822"/>
                <a:gd name="connsiteY42" fmla="*/ 4593 h 9683"/>
                <a:gd name="connsiteX43" fmla="*/ 8468 w 8822"/>
                <a:gd name="connsiteY43" fmla="*/ 4841 h 9683"/>
                <a:gd name="connsiteX44" fmla="*/ 8675 w 8822"/>
                <a:gd name="connsiteY44" fmla="*/ 5088 h 9683"/>
                <a:gd name="connsiteX45" fmla="*/ 8822 w 8822"/>
                <a:gd name="connsiteY45" fmla="*/ 5159 h 9683"/>
                <a:gd name="connsiteX46" fmla="*/ 8468 w 8822"/>
                <a:gd name="connsiteY46" fmla="*/ 5690 h 9683"/>
                <a:gd name="connsiteX47" fmla="*/ 8323 w 8822"/>
                <a:gd name="connsiteY47" fmla="*/ 5759 h 9683"/>
                <a:gd name="connsiteX48" fmla="*/ 8265 w 8822"/>
                <a:gd name="connsiteY48" fmla="*/ 5830 h 9683"/>
                <a:gd name="connsiteX49" fmla="*/ 8265 w 8822"/>
                <a:gd name="connsiteY49" fmla="*/ 6007 h 9683"/>
                <a:gd name="connsiteX50" fmla="*/ 8205 w 8822"/>
                <a:gd name="connsiteY50" fmla="*/ 6007 h 9683"/>
                <a:gd name="connsiteX51" fmla="*/ 8205 w 8822"/>
                <a:gd name="connsiteY51" fmla="*/ 6254 h 9683"/>
                <a:gd name="connsiteX52" fmla="*/ 8058 w 8822"/>
                <a:gd name="connsiteY52" fmla="*/ 6361 h 9683"/>
                <a:gd name="connsiteX53" fmla="*/ 7998 w 8822"/>
                <a:gd name="connsiteY53" fmla="*/ 6502 h 9683"/>
                <a:gd name="connsiteX54" fmla="*/ 7853 w 8822"/>
                <a:gd name="connsiteY54" fmla="*/ 6607 h 9683"/>
                <a:gd name="connsiteX55" fmla="*/ 7793 w 8822"/>
                <a:gd name="connsiteY55" fmla="*/ 6679 h 9683"/>
                <a:gd name="connsiteX56" fmla="*/ 7705 w 8822"/>
                <a:gd name="connsiteY56" fmla="*/ 6679 h 9683"/>
                <a:gd name="connsiteX57" fmla="*/ 7586 w 8822"/>
                <a:gd name="connsiteY57" fmla="*/ 6607 h 9683"/>
                <a:gd name="connsiteX58" fmla="*/ 7586 w 8822"/>
                <a:gd name="connsiteY58" fmla="*/ 6679 h 9683"/>
                <a:gd name="connsiteX59" fmla="*/ 7292 w 8822"/>
                <a:gd name="connsiteY59" fmla="*/ 6679 h 9683"/>
                <a:gd name="connsiteX60" fmla="*/ 7292 w 8822"/>
                <a:gd name="connsiteY60" fmla="*/ 6856 h 9683"/>
                <a:gd name="connsiteX61" fmla="*/ 7145 w 8822"/>
                <a:gd name="connsiteY61" fmla="*/ 6926 h 9683"/>
                <a:gd name="connsiteX62" fmla="*/ 7145 w 8822"/>
                <a:gd name="connsiteY62" fmla="*/ 7173 h 9683"/>
                <a:gd name="connsiteX63" fmla="*/ 3529 w 8822"/>
                <a:gd name="connsiteY63" fmla="*/ 8516 h 9683"/>
                <a:gd name="connsiteX0" fmla="*/ 468 w 6468"/>
                <a:gd name="connsiteY0" fmla="*/ 8795 h 8795"/>
                <a:gd name="connsiteX1" fmla="*/ 0 w 6468"/>
                <a:gd name="connsiteY1" fmla="*/ 1204 h 8795"/>
                <a:gd name="connsiteX2" fmla="*/ 234 w 6468"/>
                <a:gd name="connsiteY2" fmla="*/ 1021 h 8795"/>
                <a:gd name="connsiteX3" fmla="*/ 400 w 6468"/>
                <a:gd name="connsiteY3" fmla="*/ 1021 h 8795"/>
                <a:gd name="connsiteX4" fmla="*/ 468 w 6468"/>
                <a:gd name="connsiteY4" fmla="*/ 949 h 8795"/>
                <a:gd name="connsiteX5" fmla="*/ 1202 w 6468"/>
                <a:gd name="connsiteY5" fmla="*/ 693 h 8795"/>
                <a:gd name="connsiteX6" fmla="*/ 1333 w 6468"/>
                <a:gd name="connsiteY6" fmla="*/ 693 h 8795"/>
                <a:gd name="connsiteX7" fmla="*/ 1502 w 6468"/>
                <a:gd name="connsiteY7" fmla="*/ 620 h 8795"/>
                <a:gd name="connsiteX8" fmla="*/ 1902 w 6468"/>
                <a:gd name="connsiteY8" fmla="*/ 437 h 8795"/>
                <a:gd name="connsiteX9" fmla="*/ 3469 w 6468"/>
                <a:gd name="connsiteY9" fmla="*/ 0 h 8795"/>
                <a:gd name="connsiteX10" fmla="*/ 3635 w 6468"/>
                <a:gd name="connsiteY10" fmla="*/ 0 h 8795"/>
                <a:gd name="connsiteX11" fmla="*/ 3701 w 6468"/>
                <a:gd name="connsiteY11" fmla="*/ 73 h 8795"/>
                <a:gd name="connsiteX12" fmla="*/ 4034 w 6468"/>
                <a:gd name="connsiteY12" fmla="*/ 256 h 8795"/>
                <a:gd name="connsiteX13" fmla="*/ 4201 w 6468"/>
                <a:gd name="connsiteY13" fmla="*/ 256 h 8795"/>
                <a:gd name="connsiteX14" fmla="*/ 4269 w 6468"/>
                <a:gd name="connsiteY14" fmla="*/ 327 h 8795"/>
                <a:gd name="connsiteX15" fmla="*/ 4436 w 6468"/>
                <a:gd name="connsiteY15" fmla="*/ 437 h 8795"/>
                <a:gd name="connsiteX16" fmla="*/ 4436 w 6468"/>
                <a:gd name="connsiteY16" fmla="*/ 620 h 8795"/>
                <a:gd name="connsiteX17" fmla="*/ 4501 w 6468"/>
                <a:gd name="connsiteY17" fmla="*/ 876 h 8795"/>
                <a:gd name="connsiteX18" fmla="*/ 4501 w 6468"/>
                <a:gd name="connsiteY18" fmla="*/ 949 h 8795"/>
                <a:gd name="connsiteX19" fmla="*/ 4567 w 6468"/>
                <a:gd name="connsiteY19" fmla="*/ 1204 h 8795"/>
                <a:gd name="connsiteX20" fmla="*/ 4734 w 6468"/>
                <a:gd name="connsiteY20" fmla="*/ 1204 h 8795"/>
                <a:gd name="connsiteX21" fmla="*/ 4734 w 6468"/>
                <a:gd name="connsiteY21" fmla="*/ 1277 h 8795"/>
                <a:gd name="connsiteX22" fmla="*/ 5302 w 6468"/>
                <a:gd name="connsiteY22" fmla="*/ 1277 h 8795"/>
                <a:gd name="connsiteX23" fmla="*/ 5534 w 6468"/>
                <a:gd name="connsiteY23" fmla="*/ 1460 h 8795"/>
                <a:gd name="connsiteX24" fmla="*/ 5534 w 6468"/>
                <a:gd name="connsiteY24" fmla="*/ 1570 h 8795"/>
                <a:gd name="connsiteX25" fmla="*/ 5370 w 6468"/>
                <a:gd name="connsiteY25" fmla="*/ 1570 h 8795"/>
                <a:gd name="connsiteX26" fmla="*/ 5302 w 6468"/>
                <a:gd name="connsiteY26" fmla="*/ 1714 h 8795"/>
                <a:gd name="connsiteX27" fmla="*/ 5302 w 6468"/>
                <a:gd name="connsiteY27" fmla="*/ 2152 h 8795"/>
                <a:gd name="connsiteX28" fmla="*/ 5202 w 6468"/>
                <a:gd name="connsiteY28" fmla="*/ 2482 h 8795"/>
                <a:gd name="connsiteX29" fmla="*/ 5067 w 6468"/>
                <a:gd name="connsiteY29" fmla="*/ 2774 h 8795"/>
                <a:gd name="connsiteX30" fmla="*/ 4967 w 6468"/>
                <a:gd name="connsiteY30" fmla="*/ 2920 h 8795"/>
                <a:gd name="connsiteX31" fmla="*/ 4967 w 6468"/>
                <a:gd name="connsiteY31" fmla="*/ 3175 h 8795"/>
                <a:gd name="connsiteX32" fmla="*/ 5067 w 6468"/>
                <a:gd name="connsiteY32" fmla="*/ 3175 h 8795"/>
                <a:gd name="connsiteX33" fmla="*/ 5202 w 6468"/>
                <a:gd name="connsiteY33" fmla="*/ 3284 h 8795"/>
                <a:gd name="connsiteX34" fmla="*/ 5202 w 6468"/>
                <a:gd name="connsiteY34" fmla="*/ 3357 h 8795"/>
                <a:gd name="connsiteX35" fmla="*/ 5067 w 6468"/>
                <a:gd name="connsiteY35" fmla="*/ 3614 h 8795"/>
                <a:gd name="connsiteX36" fmla="*/ 4967 w 6468"/>
                <a:gd name="connsiteY36" fmla="*/ 3796 h 8795"/>
                <a:gd name="connsiteX37" fmla="*/ 4967 w 6468"/>
                <a:gd name="connsiteY37" fmla="*/ 3978 h 8795"/>
                <a:gd name="connsiteX38" fmla="*/ 5067 w 6468"/>
                <a:gd name="connsiteY38" fmla="*/ 4124 h 8795"/>
                <a:gd name="connsiteX39" fmla="*/ 5202 w 6468"/>
                <a:gd name="connsiteY39" fmla="*/ 4380 h 8795"/>
                <a:gd name="connsiteX40" fmla="*/ 5370 w 6468"/>
                <a:gd name="connsiteY40" fmla="*/ 4489 h 8795"/>
                <a:gd name="connsiteX41" fmla="*/ 5602 w 6468"/>
                <a:gd name="connsiteY41" fmla="*/ 4743 h 8795"/>
                <a:gd name="connsiteX42" fmla="*/ 6067 w 6468"/>
                <a:gd name="connsiteY42" fmla="*/ 4999 h 8795"/>
                <a:gd name="connsiteX43" fmla="*/ 6301 w 6468"/>
                <a:gd name="connsiteY43" fmla="*/ 5255 h 8795"/>
                <a:gd name="connsiteX44" fmla="*/ 6468 w 6468"/>
                <a:gd name="connsiteY44" fmla="*/ 5328 h 8795"/>
                <a:gd name="connsiteX45" fmla="*/ 6067 w 6468"/>
                <a:gd name="connsiteY45" fmla="*/ 5876 h 8795"/>
                <a:gd name="connsiteX46" fmla="*/ 5902 w 6468"/>
                <a:gd name="connsiteY46" fmla="*/ 5948 h 8795"/>
                <a:gd name="connsiteX47" fmla="*/ 5837 w 6468"/>
                <a:gd name="connsiteY47" fmla="*/ 6021 h 8795"/>
                <a:gd name="connsiteX48" fmla="*/ 5837 w 6468"/>
                <a:gd name="connsiteY48" fmla="*/ 6204 h 8795"/>
                <a:gd name="connsiteX49" fmla="*/ 5769 w 6468"/>
                <a:gd name="connsiteY49" fmla="*/ 6204 h 8795"/>
                <a:gd name="connsiteX50" fmla="*/ 5769 w 6468"/>
                <a:gd name="connsiteY50" fmla="*/ 6459 h 8795"/>
                <a:gd name="connsiteX51" fmla="*/ 5602 w 6468"/>
                <a:gd name="connsiteY51" fmla="*/ 6569 h 8795"/>
                <a:gd name="connsiteX52" fmla="*/ 5534 w 6468"/>
                <a:gd name="connsiteY52" fmla="*/ 6715 h 8795"/>
                <a:gd name="connsiteX53" fmla="*/ 5370 w 6468"/>
                <a:gd name="connsiteY53" fmla="*/ 6823 h 8795"/>
                <a:gd name="connsiteX54" fmla="*/ 5302 w 6468"/>
                <a:gd name="connsiteY54" fmla="*/ 6898 h 8795"/>
                <a:gd name="connsiteX55" fmla="*/ 5202 w 6468"/>
                <a:gd name="connsiteY55" fmla="*/ 6898 h 8795"/>
                <a:gd name="connsiteX56" fmla="*/ 5067 w 6468"/>
                <a:gd name="connsiteY56" fmla="*/ 6823 h 8795"/>
                <a:gd name="connsiteX57" fmla="*/ 5067 w 6468"/>
                <a:gd name="connsiteY57" fmla="*/ 6898 h 8795"/>
                <a:gd name="connsiteX58" fmla="*/ 4734 w 6468"/>
                <a:gd name="connsiteY58" fmla="*/ 6898 h 8795"/>
                <a:gd name="connsiteX59" fmla="*/ 4734 w 6468"/>
                <a:gd name="connsiteY59" fmla="*/ 7080 h 8795"/>
                <a:gd name="connsiteX60" fmla="*/ 4567 w 6468"/>
                <a:gd name="connsiteY60" fmla="*/ 7153 h 8795"/>
                <a:gd name="connsiteX61" fmla="*/ 4567 w 6468"/>
                <a:gd name="connsiteY61" fmla="*/ 7408 h 8795"/>
                <a:gd name="connsiteX62" fmla="*/ 468 w 6468"/>
                <a:gd name="connsiteY62" fmla="*/ 8795 h 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468" h="8795">
                  <a:moveTo>
                    <a:pt x="468" y="8795"/>
                  </a:moveTo>
                  <a:lnTo>
                    <a:pt x="0" y="1204"/>
                  </a:lnTo>
                  <a:lnTo>
                    <a:pt x="234" y="1021"/>
                  </a:lnTo>
                  <a:lnTo>
                    <a:pt x="400" y="1021"/>
                  </a:lnTo>
                  <a:cubicBezTo>
                    <a:pt x="423" y="998"/>
                    <a:pt x="444" y="973"/>
                    <a:pt x="468" y="949"/>
                  </a:cubicBezTo>
                  <a:lnTo>
                    <a:pt x="1202" y="693"/>
                  </a:lnTo>
                  <a:lnTo>
                    <a:pt x="1333" y="693"/>
                  </a:lnTo>
                  <a:cubicBezTo>
                    <a:pt x="1391" y="669"/>
                    <a:pt x="1446" y="644"/>
                    <a:pt x="1502" y="620"/>
                  </a:cubicBezTo>
                  <a:lnTo>
                    <a:pt x="1902" y="437"/>
                  </a:lnTo>
                  <a:lnTo>
                    <a:pt x="3469" y="0"/>
                  </a:lnTo>
                  <a:lnTo>
                    <a:pt x="3635" y="0"/>
                  </a:lnTo>
                  <a:cubicBezTo>
                    <a:pt x="3657" y="24"/>
                    <a:pt x="3678" y="49"/>
                    <a:pt x="3701" y="73"/>
                  </a:cubicBezTo>
                  <a:lnTo>
                    <a:pt x="4034" y="256"/>
                  </a:lnTo>
                  <a:lnTo>
                    <a:pt x="4201" y="256"/>
                  </a:lnTo>
                  <a:cubicBezTo>
                    <a:pt x="4222" y="281"/>
                    <a:pt x="4247" y="304"/>
                    <a:pt x="4269" y="327"/>
                  </a:cubicBezTo>
                  <a:cubicBezTo>
                    <a:pt x="4324" y="364"/>
                    <a:pt x="4379" y="401"/>
                    <a:pt x="4436" y="437"/>
                  </a:cubicBezTo>
                  <a:lnTo>
                    <a:pt x="4436" y="620"/>
                  </a:lnTo>
                  <a:cubicBezTo>
                    <a:pt x="4457" y="705"/>
                    <a:pt x="4480" y="791"/>
                    <a:pt x="4501" y="876"/>
                  </a:cubicBezTo>
                  <a:lnTo>
                    <a:pt x="4501" y="949"/>
                  </a:lnTo>
                  <a:cubicBezTo>
                    <a:pt x="4525" y="1034"/>
                    <a:pt x="4546" y="1118"/>
                    <a:pt x="4567" y="1204"/>
                  </a:cubicBezTo>
                  <a:lnTo>
                    <a:pt x="4734" y="1204"/>
                  </a:lnTo>
                  <a:lnTo>
                    <a:pt x="4734" y="1277"/>
                  </a:lnTo>
                  <a:lnTo>
                    <a:pt x="5302" y="1277"/>
                  </a:lnTo>
                  <a:lnTo>
                    <a:pt x="5534" y="1460"/>
                  </a:lnTo>
                  <a:lnTo>
                    <a:pt x="5534" y="1570"/>
                  </a:lnTo>
                  <a:lnTo>
                    <a:pt x="5370" y="1570"/>
                  </a:lnTo>
                  <a:cubicBezTo>
                    <a:pt x="5346" y="1618"/>
                    <a:pt x="5325" y="1666"/>
                    <a:pt x="5302" y="1714"/>
                  </a:cubicBezTo>
                  <a:lnTo>
                    <a:pt x="5302" y="2152"/>
                  </a:lnTo>
                  <a:cubicBezTo>
                    <a:pt x="5268" y="2262"/>
                    <a:pt x="5236" y="2372"/>
                    <a:pt x="5202" y="2482"/>
                  </a:cubicBezTo>
                  <a:lnTo>
                    <a:pt x="5067" y="2774"/>
                  </a:lnTo>
                  <a:lnTo>
                    <a:pt x="4967" y="2920"/>
                  </a:lnTo>
                  <a:lnTo>
                    <a:pt x="4967" y="3175"/>
                  </a:lnTo>
                  <a:lnTo>
                    <a:pt x="5067" y="3175"/>
                  </a:lnTo>
                  <a:cubicBezTo>
                    <a:pt x="5112" y="3212"/>
                    <a:pt x="5157" y="3249"/>
                    <a:pt x="5202" y="3284"/>
                  </a:cubicBezTo>
                  <a:lnTo>
                    <a:pt x="5202" y="3357"/>
                  </a:lnTo>
                  <a:lnTo>
                    <a:pt x="5067" y="3614"/>
                  </a:lnTo>
                  <a:cubicBezTo>
                    <a:pt x="5034" y="3673"/>
                    <a:pt x="5001" y="3735"/>
                    <a:pt x="4967" y="3796"/>
                  </a:cubicBezTo>
                  <a:lnTo>
                    <a:pt x="4967" y="3978"/>
                  </a:lnTo>
                  <a:cubicBezTo>
                    <a:pt x="5001" y="4027"/>
                    <a:pt x="5034" y="4074"/>
                    <a:pt x="5067" y="4124"/>
                  </a:cubicBezTo>
                  <a:cubicBezTo>
                    <a:pt x="5112" y="4208"/>
                    <a:pt x="5157" y="4295"/>
                    <a:pt x="5202" y="4380"/>
                  </a:cubicBezTo>
                  <a:cubicBezTo>
                    <a:pt x="5259" y="4416"/>
                    <a:pt x="5313" y="4453"/>
                    <a:pt x="5370" y="4489"/>
                  </a:cubicBezTo>
                  <a:lnTo>
                    <a:pt x="5602" y="4743"/>
                  </a:lnTo>
                  <a:lnTo>
                    <a:pt x="6067" y="4999"/>
                  </a:lnTo>
                  <a:lnTo>
                    <a:pt x="6301" y="5255"/>
                  </a:lnTo>
                  <a:lnTo>
                    <a:pt x="6468" y="5328"/>
                  </a:lnTo>
                  <a:lnTo>
                    <a:pt x="6067" y="5876"/>
                  </a:lnTo>
                  <a:lnTo>
                    <a:pt x="5902" y="5948"/>
                  </a:lnTo>
                  <a:cubicBezTo>
                    <a:pt x="5880" y="5972"/>
                    <a:pt x="5858" y="5997"/>
                    <a:pt x="5837" y="6021"/>
                  </a:cubicBezTo>
                  <a:lnTo>
                    <a:pt x="5837" y="6204"/>
                  </a:lnTo>
                  <a:lnTo>
                    <a:pt x="5769" y="6204"/>
                  </a:lnTo>
                  <a:lnTo>
                    <a:pt x="5769" y="6459"/>
                  </a:lnTo>
                  <a:lnTo>
                    <a:pt x="5602" y="6569"/>
                  </a:lnTo>
                  <a:cubicBezTo>
                    <a:pt x="5578" y="6618"/>
                    <a:pt x="5558" y="6666"/>
                    <a:pt x="5534" y="6715"/>
                  </a:cubicBezTo>
                  <a:cubicBezTo>
                    <a:pt x="5480" y="6752"/>
                    <a:pt x="5422" y="6787"/>
                    <a:pt x="5370" y="6823"/>
                  </a:cubicBezTo>
                  <a:cubicBezTo>
                    <a:pt x="5346" y="6849"/>
                    <a:pt x="5325" y="6873"/>
                    <a:pt x="5302" y="6898"/>
                  </a:cubicBezTo>
                  <a:lnTo>
                    <a:pt x="5202" y="6898"/>
                  </a:lnTo>
                  <a:lnTo>
                    <a:pt x="5067" y="6823"/>
                  </a:lnTo>
                  <a:lnTo>
                    <a:pt x="5067" y="6898"/>
                  </a:lnTo>
                  <a:lnTo>
                    <a:pt x="4734" y="6898"/>
                  </a:lnTo>
                  <a:lnTo>
                    <a:pt x="4734" y="7080"/>
                  </a:lnTo>
                  <a:lnTo>
                    <a:pt x="4567" y="7153"/>
                  </a:lnTo>
                  <a:lnTo>
                    <a:pt x="4567" y="7408"/>
                  </a:lnTo>
                  <a:lnTo>
                    <a:pt x="468" y="8795"/>
                  </a:lnTo>
                </a:path>
              </a:pathLst>
            </a:custGeom>
            <a:grpFill/>
            <a:ln w="3175" cap="flat" cmpd="sng">
              <a:solidFill>
                <a:srgbClr val="FFFFFF"/>
              </a:solidFill>
              <a:prstDash val="solid"/>
              <a:miter lim="800000"/>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nvGrpSpPr>
            <p:cNvPr id="5442" name="Group 5441">
              <a:extLst>
                <a:ext uri="{FF2B5EF4-FFF2-40B4-BE49-F238E27FC236}">
                  <a16:creationId xmlns:a16="http://schemas.microsoft.com/office/drawing/2014/main" id="{F2E7A034-4049-4540-9A8F-CFA34A43CE3B}"/>
                </a:ext>
              </a:extLst>
            </p:cNvPr>
            <p:cNvGrpSpPr/>
            <p:nvPr/>
          </p:nvGrpSpPr>
          <p:grpSpPr>
            <a:xfrm rot="648302">
              <a:off x="2236681" y="3735310"/>
              <a:ext cx="141397" cy="133503"/>
              <a:chOff x="2878138" y="3852863"/>
              <a:chExt cx="171450" cy="176213"/>
            </a:xfrm>
            <a:grpFill/>
          </p:grpSpPr>
          <p:sp>
            <p:nvSpPr>
              <p:cNvPr id="5443" name="Freeform 332">
                <a:extLst>
                  <a:ext uri="{FF2B5EF4-FFF2-40B4-BE49-F238E27FC236}">
                    <a16:creationId xmlns:a16="http://schemas.microsoft.com/office/drawing/2014/main" id="{01D1F7C7-FC3C-4123-AFD9-086865056B49}"/>
                  </a:ext>
                </a:extLst>
              </p:cNvPr>
              <p:cNvSpPr>
                <a:spLocks/>
              </p:cNvSpPr>
              <p:nvPr/>
            </p:nvSpPr>
            <p:spPr bwMode="auto">
              <a:xfrm>
                <a:off x="2878138" y="3852863"/>
                <a:ext cx="25400" cy="6350"/>
              </a:xfrm>
              <a:custGeom>
                <a:avLst/>
                <a:gdLst>
                  <a:gd name="T0" fmla="*/ 14 w 16"/>
                  <a:gd name="T1" fmla="*/ 0 h 4"/>
                  <a:gd name="T2" fmla="*/ 14 w 16"/>
                  <a:gd name="T3" fmla="*/ 0 h 4"/>
                  <a:gd name="T4" fmla="*/ 14 w 16"/>
                  <a:gd name="T5" fmla="*/ 0 h 4"/>
                  <a:gd name="T6" fmla="*/ 16 w 16"/>
                  <a:gd name="T7" fmla="*/ 0 h 4"/>
                  <a:gd name="T8" fmla="*/ 16 w 16"/>
                  <a:gd name="T9" fmla="*/ 2 h 4"/>
                  <a:gd name="T10" fmla="*/ 16 w 16"/>
                  <a:gd name="T11" fmla="*/ 4 h 4"/>
                  <a:gd name="T12" fmla="*/ 16 w 16"/>
                  <a:gd name="T13" fmla="*/ 2 h 4"/>
                  <a:gd name="T14" fmla="*/ 14 w 16"/>
                  <a:gd name="T15" fmla="*/ 2 h 4"/>
                  <a:gd name="T16" fmla="*/ 12 w 16"/>
                  <a:gd name="T17" fmla="*/ 2 h 4"/>
                  <a:gd name="T18" fmla="*/ 4 w 16"/>
                  <a:gd name="T19" fmla="*/ 4 h 4"/>
                  <a:gd name="T20" fmla="*/ 0 w 16"/>
                  <a:gd name="T21" fmla="*/ 4 h 4"/>
                  <a:gd name="T22" fmla="*/ 0 w 16"/>
                  <a:gd name="T23" fmla="*/ 2 h 4"/>
                  <a:gd name="T24" fmla="*/ 4 w 16"/>
                  <a:gd name="T25" fmla="*/ 2 h 4"/>
                  <a:gd name="T26" fmla="*/ 9 w 16"/>
                  <a:gd name="T27" fmla="*/ 0 h 4"/>
                  <a:gd name="T28" fmla="*/ 14 w 16"/>
                  <a:gd name="T29" fmla="*/ 0 h 4"/>
                  <a:gd name="T30" fmla="*/ 14 w 1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4">
                    <a:moveTo>
                      <a:pt x="14" y="0"/>
                    </a:moveTo>
                    <a:lnTo>
                      <a:pt x="14" y="0"/>
                    </a:lnTo>
                    <a:lnTo>
                      <a:pt x="14" y="0"/>
                    </a:lnTo>
                    <a:lnTo>
                      <a:pt x="16" y="0"/>
                    </a:lnTo>
                    <a:lnTo>
                      <a:pt x="16" y="2"/>
                    </a:lnTo>
                    <a:lnTo>
                      <a:pt x="16" y="4"/>
                    </a:lnTo>
                    <a:lnTo>
                      <a:pt x="16" y="2"/>
                    </a:lnTo>
                    <a:lnTo>
                      <a:pt x="14" y="2"/>
                    </a:lnTo>
                    <a:lnTo>
                      <a:pt x="12" y="2"/>
                    </a:lnTo>
                    <a:lnTo>
                      <a:pt x="4" y="4"/>
                    </a:lnTo>
                    <a:lnTo>
                      <a:pt x="0" y="4"/>
                    </a:lnTo>
                    <a:lnTo>
                      <a:pt x="0" y="2"/>
                    </a:lnTo>
                    <a:lnTo>
                      <a:pt x="4" y="2"/>
                    </a:lnTo>
                    <a:lnTo>
                      <a:pt x="9" y="0"/>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4" name="Freeform 333">
                <a:extLst>
                  <a:ext uri="{FF2B5EF4-FFF2-40B4-BE49-F238E27FC236}">
                    <a16:creationId xmlns:a16="http://schemas.microsoft.com/office/drawing/2014/main" id="{C3CAB50D-188F-418A-A036-A5049A17D754}"/>
                  </a:ext>
                </a:extLst>
              </p:cNvPr>
              <p:cNvSpPr>
                <a:spLocks/>
              </p:cNvSpPr>
              <p:nvPr/>
            </p:nvSpPr>
            <p:spPr bwMode="auto">
              <a:xfrm>
                <a:off x="2878138" y="3852863"/>
                <a:ext cx="25400" cy="6350"/>
              </a:xfrm>
              <a:custGeom>
                <a:avLst/>
                <a:gdLst>
                  <a:gd name="T0" fmla="*/ 14 w 16"/>
                  <a:gd name="T1" fmla="*/ 0 h 4"/>
                  <a:gd name="T2" fmla="*/ 14 w 16"/>
                  <a:gd name="T3" fmla="*/ 0 h 4"/>
                  <a:gd name="T4" fmla="*/ 14 w 16"/>
                  <a:gd name="T5" fmla="*/ 0 h 4"/>
                  <a:gd name="T6" fmla="*/ 16 w 16"/>
                  <a:gd name="T7" fmla="*/ 0 h 4"/>
                  <a:gd name="T8" fmla="*/ 16 w 16"/>
                  <a:gd name="T9" fmla="*/ 2 h 4"/>
                  <a:gd name="T10" fmla="*/ 16 w 16"/>
                  <a:gd name="T11" fmla="*/ 4 h 4"/>
                  <a:gd name="T12" fmla="*/ 16 w 16"/>
                  <a:gd name="T13" fmla="*/ 2 h 4"/>
                  <a:gd name="T14" fmla="*/ 14 w 16"/>
                  <a:gd name="T15" fmla="*/ 2 h 4"/>
                  <a:gd name="T16" fmla="*/ 12 w 16"/>
                  <a:gd name="T17" fmla="*/ 2 h 4"/>
                  <a:gd name="T18" fmla="*/ 4 w 16"/>
                  <a:gd name="T19" fmla="*/ 4 h 4"/>
                  <a:gd name="T20" fmla="*/ 0 w 16"/>
                  <a:gd name="T21" fmla="*/ 4 h 4"/>
                  <a:gd name="T22" fmla="*/ 0 w 16"/>
                  <a:gd name="T23" fmla="*/ 2 h 4"/>
                  <a:gd name="T24" fmla="*/ 4 w 16"/>
                  <a:gd name="T25" fmla="*/ 2 h 4"/>
                  <a:gd name="T26" fmla="*/ 9 w 16"/>
                  <a:gd name="T27" fmla="*/ 0 h 4"/>
                  <a:gd name="T28" fmla="*/ 14 w 16"/>
                  <a:gd name="T29" fmla="*/ 0 h 4"/>
                  <a:gd name="T30" fmla="*/ 14 w 1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4">
                    <a:moveTo>
                      <a:pt x="14" y="0"/>
                    </a:moveTo>
                    <a:lnTo>
                      <a:pt x="14" y="0"/>
                    </a:lnTo>
                    <a:lnTo>
                      <a:pt x="14" y="0"/>
                    </a:lnTo>
                    <a:lnTo>
                      <a:pt x="16" y="0"/>
                    </a:lnTo>
                    <a:lnTo>
                      <a:pt x="16" y="2"/>
                    </a:lnTo>
                    <a:lnTo>
                      <a:pt x="16" y="4"/>
                    </a:lnTo>
                    <a:lnTo>
                      <a:pt x="16" y="2"/>
                    </a:lnTo>
                    <a:lnTo>
                      <a:pt x="14" y="2"/>
                    </a:lnTo>
                    <a:lnTo>
                      <a:pt x="12" y="2"/>
                    </a:lnTo>
                    <a:lnTo>
                      <a:pt x="4" y="4"/>
                    </a:lnTo>
                    <a:lnTo>
                      <a:pt x="0" y="4"/>
                    </a:lnTo>
                    <a:lnTo>
                      <a:pt x="0" y="2"/>
                    </a:lnTo>
                    <a:lnTo>
                      <a:pt x="4" y="2"/>
                    </a:lnTo>
                    <a:lnTo>
                      <a:pt x="9" y="0"/>
                    </a:lnTo>
                    <a:lnTo>
                      <a:pt x="14" y="0"/>
                    </a:lnTo>
                    <a:lnTo>
                      <a:pt x="1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5" name="Freeform 334">
                <a:extLst>
                  <a:ext uri="{FF2B5EF4-FFF2-40B4-BE49-F238E27FC236}">
                    <a16:creationId xmlns:a16="http://schemas.microsoft.com/office/drawing/2014/main" id="{5853CDB6-6BDC-4605-88F3-80FB6005F5FF}"/>
                  </a:ext>
                </a:extLst>
              </p:cNvPr>
              <p:cNvSpPr>
                <a:spLocks/>
              </p:cNvSpPr>
              <p:nvPr/>
            </p:nvSpPr>
            <p:spPr bwMode="auto">
              <a:xfrm>
                <a:off x="2922588" y="3859213"/>
                <a:ext cx="7938" cy="19050"/>
              </a:xfrm>
              <a:custGeom>
                <a:avLst/>
                <a:gdLst>
                  <a:gd name="T0" fmla="*/ 2 w 5"/>
                  <a:gd name="T1" fmla="*/ 5 h 12"/>
                  <a:gd name="T2" fmla="*/ 5 w 5"/>
                  <a:gd name="T3" fmla="*/ 0 h 12"/>
                  <a:gd name="T4" fmla="*/ 5 w 5"/>
                  <a:gd name="T5" fmla="*/ 3 h 12"/>
                  <a:gd name="T6" fmla="*/ 2 w 5"/>
                  <a:gd name="T7" fmla="*/ 7 h 12"/>
                  <a:gd name="T8" fmla="*/ 2 w 5"/>
                  <a:gd name="T9" fmla="*/ 12 h 12"/>
                  <a:gd name="T10" fmla="*/ 0 w 5"/>
                  <a:gd name="T11" fmla="*/ 10 h 12"/>
                  <a:gd name="T12" fmla="*/ 0 w 5"/>
                  <a:gd name="T13" fmla="*/ 7 h 12"/>
                  <a:gd name="T14" fmla="*/ 0 w 5"/>
                  <a:gd name="T15" fmla="*/ 7 h 12"/>
                  <a:gd name="T16" fmla="*/ 0 w 5"/>
                  <a:gd name="T17" fmla="*/ 5 h 12"/>
                  <a:gd name="T18" fmla="*/ 2 w 5"/>
                  <a:gd name="T19" fmla="*/ 0 h 12"/>
                  <a:gd name="T20" fmla="*/ 2 w 5"/>
                  <a:gd name="T21" fmla="*/ 0 h 12"/>
                  <a:gd name="T22" fmla="*/ 2 w 5"/>
                  <a:gd name="T23" fmla="*/ 3 h 12"/>
                  <a:gd name="T24" fmla="*/ 2 w 5"/>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2">
                    <a:moveTo>
                      <a:pt x="2" y="5"/>
                    </a:moveTo>
                    <a:lnTo>
                      <a:pt x="5" y="0"/>
                    </a:lnTo>
                    <a:lnTo>
                      <a:pt x="5" y="3"/>
                    </a:lnTo>
                    <a:lnTo>
                      <a:pt x="2" y="7"/>
                    </a:lnTo>
                    <a:lnTo>
                      <a:pt x="2" y="12"/>
                    </a:lnTo>
                    <a:lnTo>
                      <a:pt x="0" y="10"/>
                    </a:lnTo>
                    <a:lnTo>
                      <a:pt x="0" y="7"/>
                    </a:lnTo>
                    <a:lnTo>
                      <a:pt x="0" y="7"/>
                    </a:lnTo>
                    <a:lnTo>
                      <a:pt x="0" y="5"/>
                    </a:lnTo>
                    <a:lnTo>
                      <a:pt x="2" y="0"/>
                    </a:lnTo>
                    <a:lnTo>
                      <a:pt x="2" y="0"/>
                    </a:lnTo>
                    <a:lnTo>
                      <a:pt x="2" y="3"/>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6" name="Freeform 335">
                <a:extLst>
                  <a:ext uri="{FF2B5EF4-FFF2-40B4-BE49-F238E27FC236}">
                    <a16:creationId xmlns:a16="http://schemas.microsoft.com/office/drawing/2014/main" id="{D71C06E6-C2E1-4D25-87B5-A27CC7824BED}"/>
                  </a:ext>
                </a:extLst>
              </p:cNvPr>
              <p:cNvSpPr>
                <a:spLocks/>
              </p:cNvSpPr>
              <p:nvPr/>
            </p:nvSpPr>
            <p:spPr bwMode="auto">
              <a:xfrm>
                <a:off x="2922588" y="3859213"/>
                <a:ext cx="7938" cy="19050"/>
              </a:xfrm>
              <a:custGeom>
                <a:avLst/>
                <a:gdLst>
                  <a:gd name="T0" fmla="*/ 2 w 5"/>
                  <a:gd name="T1" fmla="*/ 5 h 12"/>
                  <a:gd name="T2" fmla="*/ 5 w 5"/>
                  <a:gd name="T3" fmla="*/ 0 h 12"/>
                  <a:gd name="T4" fmla="*/ 5 w 5"/>
                  <a:gd name="T5" fmla="*/ 3 h 12"/>
                  <a:gd name="T6" fmla="*/ 2 w 5"/>
                  <a:gd name="T7" fmla="*/ 7 h 12"/>
                  <a:gd name="T8" fmla="*/ 2 w 5"/>
                  <a:gd name="T9" fmla="*/ 12 h 12"/>
                  <a:gd name="T10" fmla="*/ 0 w 5"/>
                  <a:gd name="T11" fmla="*/ 10 h 12"/>
                  <a:gd name="T12" fmla="*/ 0 w 5"/>
                  <a:gd name="T13" fmla="*/ 7 h 12"/>
                  <a:gd name="T14" fmla="*/ 0 w 5"/>
                  <a:gd name="T15" fmla="*/ 7 h 12"/>
                  <a:gd name="T16" fmla="*/ 0 w 5"/>
                  <a:gd name="T17" fmla="*/ 5 h 12"/>
                  <a:gd name="T18" fmla="*/ 2 w 5"/>
                  <a:gd name="T19" fmla="*/ 0 h 12"/>
                  <a:gd name="T20" fmla="*/ 2 w 5"/>
                  <a:gd name="T21" fmla="*/ 0 h 12"/>
                  <a:gd name="T22" fmla="*/ 2 w 5"/>
                  <a:gd name="T23" fmla="*/ 3 h 12"/>
                  <a:gd name="T24" fmla="*/ 2 w 5"/>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2">
                    <a:moveTo>
                      <a:pt x="2" y="5"/>
                    </a:moveTo>
                    <a:lnTo>
                      <a:pt x="5" y="0"/>
                    </a:lnTo>
                    <a:lnTo>
                      <a:pt x="5" y="3"/>
                    </a:lnTo>
                    <a:lnTo>
                      <a:pt x="2" y="7"/>
                    </a:lnTo>
                    <a:lnTo>
                      <a:pt x="2" y="12"/>
                    </a:lnTo>
                    <a:lnTo>
                      <a:pt x="0" y="10"/>
                    </a:lnTo>
                    <a:lnTo>
                      <a:pt x="0" y="7"/>
                    </a:lnTo>
                    <a:lnTo>
                      <a:pt x="0" y="7"/>
                    </a:lnTo>
                    <a:lnTo>
                      <a:pt x="0" y="5"/>
                    </a:lnTo>
                    <a:lnTo>
                      <a:pt x="2" y="0"/>
                    </a:lnTo>
                    <a:lnTo>
                      <a:pt x="2" y="0"/>
                    </a:lnTo>
                    <a:lnTo>
                      <a:pt x="2" y="3"/>
                    </a:lnTo>
                    <a:lnTo>
                      <a:pt x="2"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7" name="Freeform 336">
                <a:extLst>
                  <a:ext uri="{FF2B5EF4-FFF2-40B4-BE49-F238E27FC236}">
                    <a16:creationId xmlns:a16="http://schemas.microsoft.com/office/drawing/2014/main" id="{6CACB473-181F-4742-8FA3-3F9F0305981C}"/>
                  </a:ext>
                </a:extLst>
              </p:cNvPr>
              <p:cNvSpPr>
                <a:spLocks/>
              </p:cNvSpPr>
              <p:nvPr/>
            </p:nvSpPr>
            <p:spPr bwMode="auto">
              <a:xfrm>
                <a:off x="2914650" y="3905251"/>
                <a:ext cx="7938" cy="0"/>
              </a:xfrm>
              <a:custGeom>
                <a:avLst/>
                <a:gdLst>
                  <a:gd name="T0" fmla="*/ 5 w 5"/>
                  <a:gd name="T1" fmla="*/ 5 w 5"/>
                  <a:gd name="T2" fmla="*/ 5 w 5"/>
                  <a:gd name="T3" fmla="*/ 3 w 5"/>
                  <a:gd name="T4" fmla="*/ 0 w 5"/>
                  <a:gd name="T5" fmla="*/ 0 w 5"/>
                  <a:gd name="T6" fmla="*/ 5 w 5"/>
                </a:gdLst>
                <a:ahLst/>
                <a:cxnLst>
                  <a:cxn ang="0">
                    <a:pos x="T0" y="0"/>
                  </a:cxn>
                  <a:cxn ang="0">
                    <a:pos x="T1" y="0"/>
                  </a:cxn>
                  <a:cxn ang="0">
                    <a:pos x="T2" y="0"/>
                  </a:cxn>
                  <a:cxn ang="0">
                    <a:pos x="T3" y="0"/>
                  </a:cxn>
                  <a:cxn ang="0">
                    <a:pos x="T4" y="0"/>
                  </a:cxn>
                  <a:cxn ang="0">
                    <a:pos x="T5" y="0"/>
                  </a:cxn>
                  <a:cxn ang="0">
                    <a:pos x="T6" y="0"/>
                  </a:cxn>
                </a:cxnLst>
                <a:rect l="0" t="0" r="r" b="b"/>
                <a:pathLst>
                  <a:path w="5">
                    <a:moveTo>
                      <a:pt x="5" y="0"/>
                    </a:moveTo>
                    <a:lnTo>
                      <a:pt x="5" y="0"/>
                    </a:lnTo>
                    <a:lnTo>
                      <a:pt x="5" y="0"/>
                    </a:lnTo>
                    <a:lnTo>
                      <a:pt x="3" y="0"/>
                    </a:lnTo>
                    <a:lnTo>
                      <a:pt x="0" y="0"/>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8" name="Freeform 337">
                <a:extLst>
                  <a:ext uri="{FF2B5EF4-FFF2-40B4-BE49-F238E27FC236}">
                    <a16:creationId xmlns:a16="http://schemas.microsoft.com/office/drawing/2014/main" id="{5B256648-3198-4265-96E0-B51BCCDF02A6}"/>
                  </a:ext>
                </a:extLst>
              </p:cNvPr>
              <p:cNvSpPr>
                <a:spLocks/>
              </p:cNvSpPr>
              <p:nvPr/>
            </p:nvSpPr>
            <p:spPr bwMode="auto">
              <a:xfrm>
                <a:off x="2914650" y="3905251"/>
                <a:ext cx="7938" cy="0"/>
              </a:xfrm>
              <a:custGeom>
                <a:avLst/>
                <a:gdLst>
                  <a:gd name="T0" fmla="*/ 5 w 5"/>
                  <a:gd name="T1" fmla="*/ 5 w 5"/>
                  <a:gd name="T2" fmla="*/ 5 w 5"/>
                  <a:gd name="T3" fmla="*/ 3 w 5"/>
                  <a:gd name="T4" fmla="*/ 0 w 5"/>
                  <a:gd name="T5" fmla="*/ 0 w 5"/>
                  <a:gd name="T6" fmla="*/ 5 w 5"/>
                </a:gdLst>
                <a:ahLst/>
                <a:cxnLst>
                  <a:cxn ang="0">
                    <a:pos x="T0" y="0"/>
                  </a:cxn>
                  <a:cxn ang="0">
                    <a:pos x="T1" y="0"/>
                  </a:cxn>
                  <a:cxn ang="0">
                    <a:pos x="T2" y="0"/>
                  </a:cxn>
                  <a:cxn ang="0">
                    <a:pos x="T3" y="0"/>
                  </a:cxn>
                  <a:cxn ang="0">
                    <a:pos x="T4" y="0"/>
                  </a:cxn>
                  <a:cxn ang="0">
                    <a:pos x="T5" y="0"/>
                  </a:cxn>
                  <a:cxn ang="0">
                    <a:pos x="T6" y="0"/>
                  </a:cxn>
                </a:cxnLst>
                <a:rect l="0" t="0" r="r" b="b"/>
                <a:pathLst>
                  <a:path w="5">
                    <a:moveTo>
                      <a:pt x="5" y="0"/>
                    </a:moveTo>
                    <a:lnTo>
                      <a:pt x="5" y="0"/>
                    </a:lnTo>
                    <a:lnTo>
                      <a:pt x="5" y="0"/>
                    </a:lnTo>
                    <a:lnTo>
                      <a:pt x="3" y="0"/>
                    </a:lnTo>
                    <a:lnTo>
                      <a:pt x="0" y="0"/>
                    </a:lnTo>
                    <a:lnTo>
                      <a:pt x="0"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49" name="Freeform 338">
                <a:extLst>
                  <a:ext uri="{FF2B5EF4-FFF2-40B4-BE49-F238E27FC236}">
                    <a16:creationId xmlns:a16="http://schemas.microsoft.com/office/drawing/2014/main" id="{89355798-A822-4F26-908C-7EF22E639DB4}"/>
                  </a:ext>
                </a:extLst>
              </p:cNvPr>
              <p:cNvSpPr>
                <a:spLocks/>
              </p:cNvSpPr>
              <p:nvPr/>
            </p:nvSpPr>
            <p:spPr bwMode="auto">
              <a:xfrm>
                <a:off x="2892425" y="3900488"/>
                <a:ext cx="15875" cy="26988"/>
              </a:xfrm>
              <a:custGeom>
                <a:avLst/>
                <a:gdLst>
                  <a:gd name="T0" fmla="*/ 5 w 10"/>
                  <a:gd name="T1" fmla="*/ 3 h 17"/>
                  <a:gd name="T2" fmla="*/ 7 w 10"/>
                  <a:gd name="T3" fmla="*/ 3 h 17"/>
                  <a:gd name="T4" fmla="*/ 7 w 10"/>
                  <a:gd name="T5" fmla="*/ 5 h 17"/>
                  <a:gd name="T6" fmla="*/ 10 w 10"/>
                  <a:gd name="T7" fmla="*/ 10 h 17"/>
                  <a:gd name="T8" fmla="*/ 10 w 10"/>
                  <a:gd name="T9" fmla="*/ 15 h 17"/>
                  <a:gd name="T10" fmla="*/ 10 w 10"/>
                  <a:gd name="T11" fmla="*/ 15 h 17"/>
                  <a:gd name="T12" fmla="*/ 7 w 10"/>
                  <a:gd name="T13" fmla="*/ 17 h 17"/>
                  <a:gd name="T14" fmla="*/ 5 w 10"/>
                  <a:gd name="T15" fmla="*/ 17 h 17"/>
                  <a:gd name="T16" fmla="*/ 3 w 10"/>
                  <a:gd name="T17" fmla="*/ 15 h 17"/>
                  <a:gd name="T18" fmla="*/ 0 w 10"/>
                  <a:gd name="T19" fmla="*/ 12 h 17"/>
                  <a:gd name="T20" fmla="*/ 0 w 10"/>
                  <a:gd name="T21" fmla="*/ 10 h 17"/>
                  <a:gd name="T22" fmla="*/ 3 w 10"/>
                  <a:gd name="T23" fmla="*/ 5 h 17"/>
                  <a:gd name="T24" fmla="*/ 3 w 10"/>
                  <a:gd name="T25" fmla="*/ 3 h 17"/>
                  <a:gd name="T26" fmla="*/ 3 w 10"/>
                  <a:gd name="T27" fmla="*/ 0 h 17"/>
                  <a:gd name="T28" fmla="*/ 5 w 10"/>
                  <a:gd name="T29" fmla="*/ 0 h 17"/>
                  <a:gd name="T30" fmla="*/ 5 w 10"/>
                  <a:gd name="T3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7">
                    <a:moveTo>
                      <a:pt x="5" y="3"/>
                    </a:moveTo>
                    <a:lnTo>
                      <a:pt x="7" y="3"/>
                    </a:lnTo>
                    <a:lnTo>
                      <a:pt x="7" y="5"/>
                    </a:lnTo>
                    <a:lnTo>
                      <a:pt x="10" y="10"/>
                    </a:lnTo>
                    <a:lnTo>
                      <a:pt x="10" y="15"/>
                    </a:lnTo>
                    <a:lnTo>
                      <a:pt x="10" y="15"/>
                    </a:lnTo>
                    <a:lnTo>
                      <a:pt x="7" y="17"/>
                    </a:lnTo>
                    <a:lnTo>
                      <a:pt x="5" y="17"/>
                    </a:lnTo>
                    <a:lnTo>
                      <a:pt x="3" y="15"/>
                    </a:lnTo>
                    <a:lnTo>
                      <a:pt x="0" y="12"/>
                    </a:lnTo>
                    <a:lnTo>
                      <a:pt x="0" y="10"/>
                    </a:lnTo>
                    <a:lnTo>
                      <a:pt x="3" y="5"/>
                    </a:lnTo>
                    <a:lnTo>
                      <a:pt x="3" y="3"/>
                    </a:lnTo>
                    <a:lnTo>
                      <a:pt x="3" y="0"/>
                    </a:lnTo>
                    <a:lnTo>
                      <a:pt x="5" y="0"/>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0" name="Freeform 339">
                <a:extLst>
                  <a:ext uri="{FF2B5EF4-FFF2-40B4-BE49-F238E27FC236}">
                    <a16:creationId xmlns:a16="http://schemas.microsoft.com/office/drawing/2014/main" id="{50BB2917-6D5E-4E92-A40F-5A5090294B99}"/>
                  </a:ext>
                </a:extLst>
              </p:cNvPr>
              <p:cNvSpPr>
                <a:spLocks/>
              </p:cNvSpPr>
              <p:nvPr/>
            </p:nvSpPr>
            <p:spPr bwMode="auto">
              <a:xfrm>
                <a:off x="2892425" y="3900488"/>
                <a:ext cx="15875" cy="26988"/>
              </a:xfrm>
              <a:custGeom>
                <a:avLst/>
                <a:gdLst>
                  <a:gd name="T0" fmla="*/ 5 w 10"/>
                  <a:gd name="T1" fmla="*/ 3 h 17"/>
                  <a:gd name="T2" fmla="*/ 7 w 10"/>
                  <a:gd name="T3" fmla="*/ 3 h 17"/>
                  <a:gd name="T4" fmla="*/ 7 w 10"/>
                  <a:gd name="T5" fmla="*/ 5 h 17"/>
                  <a:gd name="T6" fmla="*/ 10 w 10"/>
                  <a:gd name="T7" fmla="*/ 10 h 17"/>
                  <a:gd name="T8" fmla="*/ 10 w 10"/>
                  <a:gd name="T9" fmla="*/ 15 h 17"/>
                  <a:gd name="T10" fmla="*/ 10 w 10"/>
                  <a:gd name="T11" fmla="*/ 15 h 17"/>
                  <a:gd name="T12" fmla="*/ 7 w 10"/>
                  <a:gd name="T13" fmla="*/ 17 h 17"/>
                  <a:gd name="T14" fmla="*/ 5 w 10"/>
                  <a:gd name="T15" fmla="*/ 17 h 17"/>
                  <a:gd name="T16" fmla="*/ 3 w 10"/>
                  <a:gd name="T17" fmla="*/ 15 h 17"/>
                  <a:gd name="T18" fmla="*/ 0 w 10"/>
                  <a:gd name="T19" fmla="*/ 12 h 17"/>
                  <a:gd name="T20" fmla="*/ 0 w 10"/>
                  <a:gd name="T21" fmla="*/ 10 h 17"/>
                  <a:gd name="T22" fmla="*/ 3 w 10"/>
                  <a:gd name="T23" fmla="*/ 5 h 17"/>
                  <a:gd name="T24" fmla="*/ 3 w 10"/>
                  <a:gd name="T25" fmla="*/ 3 h 17"/>
                  <a:gd name="T26" fmla="*/ 3 w 10"/>
                  <a:gd name="T27" fmla="*/ 0 h 17"/>
                  <a:gd name="T28" fmla="*/ 5 w 10"/>
                  <a:gd name="T29" fmla="*/ 0 h 17"/>
                  <a:gd name="T30" fmla="*/ 5 w 10"/>
                  <a:gd name="T3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7">
                    <a:moveTo>
                      <a:pt x="5" y="3"/>
                    </a:moveTo>
                    <a:lnTo>
                      <a:pt x="7" y="3"/>
                    </a:lnTo>
                    <a:lnTo>
                      <a:pt x="7" y="5"/>
                    </a:lnTo>
                    <a:lnTo>
                      <a:pt x="10" y="10"/>
                    </a:lnTo>
                    <a:lnTo>
                      <a:pt x="10" y="15"/>
                    </a:lnTo>
                    <a:lnTo>
                      <a:pt x="10" y="15"/>
                    </a:lnTo>
                    <a:lnTo>
                      <a:pt x="7" y="17"/>
                    </a:lnTo>
                    <a:lnTo>
                      <a:pt x="5" y="17"/>
                    </a:lnTo>
                    <a:lnTo>
                      <a:pt x="3" y="15"/>
                    </a:lnTo>
                    <a:lnTo>
                      <a:pt x="0" y="12"/>
                    </a:lnTo>
                    <a:lnTo>
                      <a:pt x="0" y="10"/>
                    </a:lnTo>
                    <a:lnTo>
                      <a:pt x="3" y="5"/>
                    </a:lnTo>
                    <a:lnTo>
                      <a:pt x="3" y="3"/>
                    </a:lnTo>
                    <a:lnTo>
                      <a:pt x="3" y="0"/>
                    </a:lnTo>
                    <a:lnTo>
                      <a:pt x="5" y="0"/>
                    </a:lnTo>
                    <a:lnTo>
                      <a:pt x="5"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1" name="Freeform 340">
                <a:extLst>
                  <a:ext uri="{FF2B5EF4-FFF2-40B4-BE49-F238E27FC236}">
                    <a16:creationId xmlns:a16="http://schemas.microsoft.com/office/drawing/2014/main" id="{84353B5D-4523-4A15-82C5-ADD63BAB26D6}"/>
                  </a:ext>
                </a:extLst>
              </p:cNvPr>
              <p:cNvSpPr>
                <a:spLocks/>
              </p:cNvSpPr>
              <p:nvPr/>
            </p:nvSpPr>
            <p:spPr bwMode="auto">
              <a:xfrm>
                <a:off x="2908300" y="3930651"/>
                <a:ext cx="6350" cy="11113"/>
              </a:xfrm>
              <a:custGeom>
                <a:avLst/>
                <a:gdLst>
                  <a:gd name="T0" fmla="*/ 0 w 4"/>
                  <a:gd name="T1" fmla="*/ 5 h 7"/>
                  <a:gd name="T2" fmla="*/ 2 w 4"/>
                  <a:gd name="T3" fmla="*/ 0 h 7"/>
                  <a:gd name="T4" fmla="*/ 4 w 4"/>
                  <a:gd name="T5" fmla="*/ 7 h 7"/>
                  <a:gd name="T6" fmla="*/ 4 w 4"/>
                  <a:gd name="T7" fmla="*/ 7 h 7"/>
                  <a:gd name="T8" fmla="*/ 2 w 4"/>
                  <a:gd name="T9" fmla="*/ 7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lnTo>
                      <a:pt x="2" y="0"/>
                    </a:lnTo>
                    <a:lnTo>
                      <a:pt x="4" y="7"/>
                    </a:lnTo>
                    <a:lnTo>
                      <a:pt x="4" y="7"/>
                    </a:lnTo>
                    <a:lnTo>
                      <a:pt x="2" y="7"/>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2" name="Freeform 341">
                <a:extLst>
                  <a:ext uri="{FF2B5EF4-FFF2-40B4-BE49-F238E27FC236}">
                    <a16:creationId xmlns:a16="http://schemas.microsoft.com/office/drawing/2014/main" id="{D4B9EC43-BDFA-47AB-8E66-A7E9CC174A80}"/>
                  </a:ext>
                </a:extLst>
              </p:cNvPr>
              <p:cNvSpPr>
                <a:spLocks/>
              </p:cNvSpPr>
              <p:nvPr/>
            </p:nvSpPr>
            <p:spPr bwMode="auto">
              <a:xfrm>
                <a:off x="2908300" y="3930651"/>
                <a:ext cx="6350" cy="11113"/>
              </a:xfrm>
              <a:custGeom>
                <a:avLst/>
                <a:gdLst>
                  <a:gd name="T0" fmla="*/ 0 w 4"/>
                  <a:gd name="T1" fmla="*/ 5 h 7"/>
                  <a:gd name="T2" fmla="*/ 2 w 4"/>
                  <a:gd name="T3" fmla="*/ 0 h 7"/>
                  <a:gd name="T4" fmla="*/ 4 w 4"/>
                  <a:gd name="T5" fmla="*/ 7 h 7"/>
                  <a:gd name="T6" fmla="*/ 4 w 4"/>
                  <a:gd name="T7" fmla="*/ 7 h 7"/>
                  <a:gd name="T8" fmla="*/ 2 w 4"/>
                  <a:gd name="T9" fmla="*/ 7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lnTo>
                      <a:pt x="2" y="0"/>
                    </a:lnTo>
                    <a:lnTo>
                      <a:pt x="4" y="7"/>
                    </a:lnTo>
                    <a:lnTo>
                      <a:pt x="4" y="7"/>
                    </a:lnTo>
                    <a:lnTo>
                      <a:pt x="2" y="7"/>
                    </a:lnTo>
                    <a:lnTo>
                      <a:pt x="0"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3" name="Freeform 342">
                <a:extLst>
                  <a:ext uri="{FF2B5EF4-FFF2-40B4-BE49-F238E27FC236}">
                    <a16:creationId xmlns:a16="http://schemas.microsoft.com/office/drawing/2014/main" id="{47EF3D44-4EE6-4692-9BEF-B316DC6A2446}"/>
                  </a:ext>
                </a:extLst>
              </p:cNvPr>
              <p:cNvSpPr>
                <a:spLocks/>
              </p:cNvSpPr>
              <p:nvPr/>
            </p:nvSpPr>
            <p:spPr bwMode="auto">
              <a:xfrm>
                <a:off x="2949575" y="3900488"/>
                <a:ext cx="3175" cy="15875"/>
              </a:xfrm>
              <a:custGeom>
                <a:avLst/>
                <a:gdLst>
                  <a:gd name="T0" fmla="*/ 2 w 2"/>
                  <a:gd name="T1" fmla="*/ 0 h 10"/>
                  <a:gd name="T2" fmla="*/ 2 w 2"/>
                  <a:gd name="T3" fmla="*/ 0 h 10"/>
                  <a:gd name="T4" fmla="*/ 2 w 2"/>
                  <a:gd name="T5" fmla="*/ 3 h 10"/>
                  <a:gd name="T6" fmla="*/ 2 w 2"/>
                  <a:gd name="T7" fmla="*/ 10 h 10"/>
                  <a:gd name="T8" fmla="*/ 0 w 2"/>
                  <a:gd name="T9" fmla="*/ 7 h 10"/>
                  <a:gd name="T10" fmla="*/ 0 w 2"/>
                  <a:gd name="T11" fmla="*/ 5 h 10"/>
                  <a:gd name="T12" fmla="*/ 2 w 2"/>
                  <a:gd name="T13" fmla="*/ 5 h 10"/>
                  <a:gd name="T14" fmla="*/ 2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0"/>
                    </a:moveTo>
                    <a:lnTo>
                      <a:pt x="2" y="0"/>
                    </a:lnTo>
                    <a:lnTo>
                      <a:pt x="2" y="3"/>
                    </a:lnTo>
                    <a:lnTo>
                      <a:pt x="2" y="10"/>
                    </a:lnTo>
                    <a:lnTo>
                      <a:pt x="0" y="7"/>
                    </a:lnTo>
                    <a:lnTo>
                      <a:pt x="0" y="5"/>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4" name="Freeform 343">
                <a:extLst>
                  <a:ext uri="{FF2B5EF4-FFF2-40B4-BE49-F238E27FC236}">
                    <a16:creationId xmlns:a16="http://schemas.microsoft.com/office/drawing/2014/main" id="{5FADA374-F460-4C51-BF3C-06DF3F79406D}"/>
                  </a:ext>
                </a:extLst>
              </p:cNvPr>
              <p:cNvSpPr>
                <a:spLocks/>
              </p:cNvSpPr>
              <p:nvPr/>
            </p:nvSpPr>
            <p:spPr bwMode="auto">
              <a:xfrm>
                <a:off x="2949575" y="3900488"/>
                <a:ext cx="3175" cy="15875"/>
              </a:xfrm>
              <a:custGeom>
                <a:avLst/>
                <a:gdLst>
                  <a:gd name="T0" fmla="*/ 2 w 2"/>
                  <a:gd name="T1" fmla="*/ 0 h 10"/>
                  <a:gd name="T2" fmla="*/ 2 w 2"/>
                  <a:gd name="T3" fmla="*/ 0 h 10"/>
                  <a:gd name="T4" fmla="*/ 2 w 2"/>
                  <a:gd name="T5" fmla="*/ 3 h 10"/>
                  <a:gd name="T6" fmla="*/ 2 w 2"/>
                  <a:gd name="T7" fmla="*/ 10 h 10"/>
                  <a:gd name="T8" fmla="*/ 0 w 2"/>
                  <a:gd name="T9" fmla="*/ 7 h 10"/>
                  <a:gd name="T10" fmla="*/ 0 w 2"/>
                  <a:gd name="T11" fmla="*/ 5 h 10"/>
                  <a:gd name="T12" fmla="*/ 2 w 2"/>
                  <a:gd name="T13" fmla="*/ 5 h 10"/>
                  <a:gd name="T14" fmla="*/ 2 w 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0"/>
                    </a:moveTo>
                    <a:lnTo>
                      <a:pt x="2" y="0"/>
                    </a:lnTo>
                    <a:lnTo>
                      <a:pt x="2" y="3"/>
                    </a:lnTo>
                    <a:lnTo>
                      <a:pt x="2" y="10"/>
                    </a:lnTo>
                    <a:lnTo>
                      <a:pt x="0" y="7"/>
                    </a:lnTo>
                    <a:lnTo>
                      <a:pt x="0" y="5"/>
                    </a:lnTo>
                    <a:lnTo>
                      <a:pt x="2" y="5"/>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5" name="Freeform 344">
                <a:extLst>
                  <a:ext uri="{FF2B5EF4-FFF2-40B4-BE49-F238E27FC236}">
                    <a16:creationId xmlns:a16="http://schemas.microsoft.com/office/drawing/2014/main" id="{EDBB567D-E7BC-4697-8E44-671B5974B524}"/>
                  </a:ext>
                </a:extLst>
              </p:cNvPr>
              <p:cNvSpPr>
                <a:spLocks/>
              </p:cNvSpPr>
              <p:nvPr/>
            </p:nvSpPr>
            <p:spPr bwMode="auto">
              <a:xfrm>
                <a:off x="2963863" y="3916363"/>
                <a:ext cx="14288" cy="19050"/>
              </a:xfrm>
              <a:custGeom>
                <a:avLst/>
                <a:gdLst>
                  <a:gd name="T0" fmla="*/ 7 w 9"/>
                  <a:gd name="T1" fmla="*/ 7 h 12"/>
                  <a:gd name="T2" fmla="*/ 7 w 9"/>
                  <a:gd name="T3" fmla="*/ 7 h 12"/>
                  <a:gd name="T4" fmla="*/ 9 w 9"/>
                  <a:gd name="T5" fmla="*/ 9 h 12"/>
                  <a:gd name="T6" fmla="*/ 7 w 9"/>
                  <a:gd name="T7" fmla="*/ 12 h 12"/>
                  <a:gd name="T8" fmla="*/ 5 w 9"/>
                  <a:gd name="T9" fmla="*/ 9 h 12"/>
                  <a:gd name="T10" fmla="*/ 7 w 9"/>
                  <a:gd name="T11" fmla="*/ 7 h 12"/>
                  <a:gd name="T12" fmla="*/ 2 w 9"/>
                  <a:gd name="T13" fmla="*/ 2 h 12"/>
                  <a:gd name="T14" fmla="*/ 0 w 9"/>
                  <a:gd name="T15" fmla="*/ 0 h 12"/>
                  <a:gd name="T16" fmla="*/ 2 w 9"/>
                  <a:gd name="T17" fmla="*/ 0 h 12"/>
                  <a:gd name="T18" fmla="*/ 2 w 9"/>
                  <a:gd name="T19" fmla="*/ 0 h 12"/>
                  <a:gd name="T20" fmla="*/ 7 w 9"/>
                  <a:gd name="T21"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7" y="7"/>
                    </a:moveTo>
                    <a:lnTo>
                      <a:pt x="7" y="7"/>
                    </a:lnTo>
                    <a:lnTo>
                      <a:pt x="9" y="9"/>
                    </a:lnTo>
                    <a:lnTo>
                      <a:pt x="7" y="12"/>
                    </a:lnTo>
                    <a:lnTo>
                      <a:pt x="5" y="9"/>
                    </a:lnTo>
                    <a:lnTo>
                      <a:pt x="7" y="7"/>
                    </a:lnTo>
                    <a:lnTo>
                      <a:pt x="2" y="2"/>
                    </a:lnTo>
                    <a:lnTo>
                      <a:pt x="0" y="0"/>
                    </a:lnTo>
                    <a:lnTo>
                      <a:pt x="2" y="0"/>
                    </a:lnTo>
                    <a:lnTo>
                      <a:pt x="2" y="0"/>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6" name="Freeform 345">
                <a:extLst>
                  <a:ext uri="{FF2B5EF4-FFF2-40B4-BE49-F238E27FC236}">
                    <a16:creationId xmlns:a16="http://schemas.microsoft.com/office/drawing/2014/main" id="{6ACFF7E6-A56E-437B-B231-BE77233692C5}"/>
                  </a:ext>
                </a:extLst>
              </p:cNvPr>
              <p:cNvSpPr>
                <a:spLocks/>
              </p:cNvSpPr>
              <p:nvPr/>
            </p:nvSpPr>
            <p:spPr bwMode="auto">
              <a:xfrm>
                <a:off x="2963863" y="3916363"/>
                <a:ext cx="14288" cy="19050"/>
              </a:xfrm>
              <a:custGeom>
                <a:avLst/>
                <a:gdLst>
                  <a:gd name="T0" fmla="*/ 7 w 9"/>
                  <a:gd name="T1" fmla="*/ 7 h 12"/>
                  <a:gd name="T2" fmla="*/ 7 w 9"/>
                  <a:gd name="T3" fmla="*/ 7 h 12"/>
                  <a:gd name="T4" fmla="*/ 9 w 9"/>
                  <a:gd name="T5" fmla="*/ 9 h 12"/>
                  <a:gd name="T6" fmla="*/ 7 w 9"/>
                  <a:gd name="T7" fmla="*/ 12 h 12"/>
                  <a:gd name="T8" fmla="*/ 5 w 9"/>
                  <a:gd name="T9" fmla="*/ 9 h 12"/>
                  <a:gd name="T10" fmla="*/ 7 w 9"/>
                  <a:gd name="T11" fmla="*/ 7 h 12"/>
                  <a:gd name="T12" fmla="*/ 2 w 9"/>
                  <a:gd name="T13" fmla="*/ 2 h 12"/>
                  <a:gd name="T14" fmla="*/ 0 w 9"/>
                  <a:gd name="T15" fmla="*/ 0 h 12"/>
                  <a:gd name="T16" fmla="*/ 2 w 9"/>
                  <a:gd name="T17" fmla="*/ 0 h 12"/>
                  <a:gd name="T18" fmla="*/ 2 w 9"/>
                  <a:gd name="T19" fmla="*/ 0 h 12"/>
                  <a:gd name="T20" fmla="*/ 7 w 9"/>
                  <a:gd name="T21"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7" y="7"/>
                    </a:moveTo>
                    <a:lnTo>
                      <a:pt x="7" y="7"/>
                    </a:lnTo>
                    <a:lnTo>
                      <a:pt x="9" y="9"/>
                    </a:lnTo>
                    <a:lnTo>
                      <a:pt x="7" y="12"/>
                    </a:lnTo>
                    <a:lnTo>
                      <a:pt x="5" y="9"/>
                    </a:lnTo>
                    <a:lnTo>
                      <a:pt x="7" y="7"/>
                    </a:lnTo>
                    <a:lnTo>
                      <a:pt x="2" y="2"/>
                    </a:lnTo>
                    <a:lnTo>
                      <a:pt x="0" y="0"/>
                    </a:lnTo>
                    <a:lnTo>
                      <a:pt x="2" y="0"/>
                    </a:lnTo>
                    <a:lnTo>
                      <a:pt x="2" y="0"/>
                    </a:lnTo>
                    <a:lnTo>
                      <a:pt x="7" y="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7" name="Freeform 346">
                <a:extLst>
                  <a:ext uri="{FF2B5EF4-FFF2-40B4-BE49-F238E27FC236}">
                    <a16:creationId xmlns:a16="http://schemas.microsoft.com/office/drawing/2014/main" id="{D3C89D8E-F061-41F8-82DF-EAD47EE808D0}"/>
                  </a:ext>
                </a:extLst>
              </p:cNvPr>
              <p:cNvSpPr>
                <a:spLocks/>
              </p:cNvSpPr>
              <p:nvPr/>
            </p:nvSpPr>
            <p:spPr bwMode="auto">
              <a:xfrm>
                <a:off x="2997200" y="3930651"/>
                <a:ext cx="4763" cy="7938"/>
              </a:xfrm>
              <a:custGeom>
                <a:avLst/>
                <a:gdLst>
                  <a:gd name="T0" fmla="*/ 3 w 3"/>
                  <a:gd name="T1" fmla="*/ 0 h 5"/>
                  <a:gd name="T2" fmla="*/ 0 w 3"/>
                  <a:gd name="T3" fmla="*/ 3 h 5"/>
                  <a:gd name="T4" fmla="*/ 0 w 3"/>
                  <a:gd name="T5" fmla="*/ 5 h 5"/>
                  <a:gd name="T6" fmla="*/ 3 w 3"/>
                  <a:gd name="T7" fmla="*/ 5 h 5"/>
                  <a:gd name="T8" fmla="*/ 3 w 3"/>
                  <a:gd name="T9" fmla="*/ 0 h 5"/>
                  <a:gd name="T10" fmla="*/ 3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3" y="0"/>
                    </a:moveTo>
                    <a:lnTo>
                      <a:pt x="0" y="3"/>
                    </a:lnTo>
                    <a:lnTo>
                      <a:pt x="0" y="5"/>
                    </a:lnTo>
                    <a:lnTo>
                      <a:pt x="3" y="5"/>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8" name="Freeform 347">
                <a:extLst>
                  <a:ext uri="{FF2B5EF4-FFF2-40B4-BE49-F238E27FC236}">
                    <a16:creationId xmlns:a16="http://schemas.microsoft.com/office/drawing/2014/main" id="{ABCC0DA0-5C27-4B26-8B13-352CAE1FED8C}"/>
                  </a:ext>
                </a:extLst>
              </p:cNvPr>
              <p:cNvSpPr>
                <a:spLocks/>
              </p:cNvSpPr>
              <p:nvPr/>
            </p:nvSpPr>
            <p:spPr bwMode="auto">
              <a:xfrm>
                <a:off x="2997200" y="3930651"/>
                <a:ext cx="4763" cy="7938"/>
              </a:xfrm>
              <a:custGeom>
                <a:avLst/>
                <a:gdLst>
                  <a:gd name="T0" fmla="*/ 3 w 3"/>
                  <a:gd name="T1" fmla="*/ 0 h 5"/>
                  <a:gd name="T2" fmla="*/ 0 w 3"/>
                  <a:gd name="T3" fmla="*/ 3 h 5"/>
                  <a:gd name="T4" fmla="*/ 0 w 3"/>
                  <a:gd name="T5" fmla="*/ 5 h 5"/>
                  <a:gd name="T6" fmla="*/ 3 w 3"/>
                  <a:gd name="T7" fmla="*/ 5 h 5"/>
                  <a:gd name="T8" fmla="*/ 3 w 3"/>
                  <a:gd name="T9" fmla="*/ 0 h 5"/>
                  <a:gd name="T10" fmla="*/ 3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3" y="0"/>
                    </a:moveTo>
                    <a:lnTo>
                      <a:pt x="0" y="3"/>
                    </a:lnTo>
                    <a:lnTo>
                      <a:pt x="0" y="5"/>
                    </a:lnTo>
                    <a:lnTo>
                      <a:pt x="3" y="5"/>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59" name="Freeform 348">
                <a:extLst>
                  <a:ext uri="{FF2B5EF4-FFF2-40B4-BE49-F238E27FC236}">
                    <a16:creationId xmlns:a16="http://schemas.microsoft.com/office/drawing/2014/main" id="{088F8D66-96AF-42F9-A5AB-684A5849AE7C}"/>
                  </a:ext>
                </a:extLst>
              </p:cNvPr>
              <p:cNvSpPr>
                <a:spLocks/>
              </p:cNvSpPr>
              <p:nvPr/>
            </p:nvSpPr>
            <p:spPr bwMode="auto">
              <a:xfrm>
                <a:off x="2978150" y="3949701"/>
                <a:ext cx="12700" cy="19050"/>
              </a:xfrm>
              <a:custGeom>
                <a:avLst/>
                <a:gdLst>
                  <a:gd name="T0" fmla="*/ 0 w 8"/>
                  <a:gd name="T1" fmla="*/ 0 h 12"/>
                  <a:gd name="T2" fmla="*/ 0 w 8"/>
                  <a:gd name="T3" fmla="*/ 0 h 12"/>
                  <a:gd name="T4" fmla="*/ 3 w 8"/>
                  <a:gd name="T5" fmla="*/ 5 h 12"/>
                  <a:gd name="T6" fmla="*/ 3 w 8"/>
                  <a:gd name="T7" fmla="*/ 7 h 12"/>
                  <a:gd name="T8" fmla="*/ 5 w 8"/>
                  <a:gd name="T9" fmla="*/ 7 h 12"/>
                  <a:gd name="T10" fmla="*/ 8 w 8"/>
                  <a:gd name="T11" fmla="*/ 12 h 12"/>
                  <a:gd name="T12" fmla="*/ 8 w 8"/>
                  <a:gd name="T13" fmla="*/ 12 h 12"/>
                  <a:gd name="T14" fmla="*/ 5 w 8"/>
                  <a:gd name="T15" fmla="*/ 10 h 12"/>
                  <a:gd name="T16" fmla="*/ 3 w 8"/>
                  <a:gd name="T17" fmla="*/ 10 h 12"/>
                  <a:gd name="T18" fmla="*/ 3 w 8"/>
                  <a:gd name="T19" fmla="*/ 7 h 12"/>
                  <a:gd name="T20" fmla="*/ 0 w 8"/>
                  <a:gd name="T21" fmla="*/ 2 h 12"/>
                  <a:gd name="T22" fmla="*/ 0 w 8"/>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2">
                    <a:moveTo>
                      <a:pt x="0" y="0"/>
                    </a:moveTo>
                    <a:lnTo>
                      <a:pt x="0" y="0"/>
                    </a:lnTo>
                    <a:lnTo>
                      <a:pt x="3" y="5"/>
                    </a:lnTo>
                    <a:lnTo>
                      <a:pt x="3" y="7"/>
                    </a:lnTo>
                    <a:lnTo>
                      <a:pt x="5" y="7"/>
                    </a:lnTo>
                    <a:lnTo>
                      <a:pt x="8" y="12"/>
                    </a:lnTo>
                    <a:lnTo>
                      <a:pt x="8" y="12"/>
                    </a:lnTo>
                    <a:lnTo>
                      <a:pt x="5" y="10"/>
                    </a:lnTo>
                    <a:lnTo>
                      <a:pt x="3" y="10"/>
                    </a:lnTo>
                    <a:lnTo>
                      <a:pt x="3" y="7"/>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0" name="Freeform 349">
                <a:extLst>
                  <a:ext uri="{FF2B5EF4-FFF2-40B4-BE49-F238E27FC236}">
                    <a16:creationId xmlns:a16="http://schemas.microsoft.com/office/drawing/2014/main" id="{4C168066-D030-4F46-B2ED-9605714D6239}"/>
                  </a:ext>
                </a:extLst>
              </p:cNvPr>
              <p:cNvSpPr>
                <a:spLocks/>
              </p:cNvSpPr>
              <p:nvPr/>
            </p:nvSpPr>
            <p:spPr bwMode="auto">
              <a:xfrm>
                <a:off x="2978150" y="3949701"/>
                <a:ext cx="12700" cy="19050"/>
              </a:xfrm>
              <a:custGeom>
                <a:avLst/>
                <a:gdLst>
                  <a:gd name="T0" fmla="*/ 0 w 8"/>
                  <a:gd name="T1" fmla="*/ 0 h 12"/>
                  <a:gd name="T2" fmla="*/ 0 w 8"/>
                  <a:gd name="T3" fmla="*/ 0 h 12"/>
                  <a:gd name="T4" fmla="*/ 3 w 8"/>
                  <a:gd name="T5" fmla="*/ 5 h 12"/>
                  <a:gd name="T6" fmla="*/ 3 w 8"/>
                  <a:gd name="T7" fmla="*/ 7 h 12"/>
                  <a:gd name="T8" fmla="*/ 5 w 8"/>
                  <a:gd name="T9" fmla="*/ 7 h 12"/>
                  <a:gd name="T10" fmla="*/ 8 w 8"/>
                  <a:gd name="T11" fmla="*/ 12 h 12"/>
                  <a:gd name="T12" fmla="*/ 8 w 8"/>
                  <a:gd name="T13" fmla="*/ 12 h 12"/>
                  <a:gd name="T14" fmla="*/ 5 w 8"/>
                  <a:gd name="T15" fmla="*/ 10 h 12"/>
                  <a:gd name="T16" fmla="*/ 3 w 8"/>
                  <a:gd name="T17" fmla="*/ 10 h 12"/>
                  <a:gd name="T18" fmla="*/ 3 w 8"/>
                  <a:gd name="T19" fmla="*/ 7 h 12"/>
                  <a:gd name="T20" fmla="*/ 0 w 8"/>
                  <a:gd name="T21" fmla="*/ 2 h 12"/>
                  <a:gd name="T22" fmla="*/ 0 w 8"/>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2">
                    <a:moveTo>
                      <a:pt x="0" y="0"/>
                    </a:moveTo>
                    <a:lnTo>
                      <a:pt x="0" y="0"/>
                    </a:lnTo>
                    <a:lnTo>
                      <a:pt x="3" y="5"/>
                    </a:lnTo>
                    <a:lnTo>
                      <a:pt x="3" y="7"/>
                    </a:lnTo>
                    <a:lnTo>
                      <a:pt x="5" y="7"/>
                    </a:lnTo>
                    <a:lnTo>
                      <a:pt x="8" y="12"/>
                    </a:lnTo>
                    <a:lnTo>
                      <a:pt x="8" y="12"/>
                    </a:lnTo>
                    <a:lnTo>
                      <a:pt x="5" y="10"/>
                    </a:lnTo>
                    <a:lnTo>
                      <a:pt x="3" y="10"/>
                    </a:lnTo>
                    <a:lnTo>
                      <a:pt x="3" y="7"/>
                    </a:lnTo>
                    <a:lnTo>
                      <a:pt x="0" y="2"/>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1" name="Freeform 350">
                <a:extLst>
                  <a:ext uri="{FF2B5EF4-FFF2-40B4-BE49-F238E27FC236}">
                    <a16:creationId xmlns:a16="http://schemas.microsoft.com/office/drawing/2014/main" id="{114E0CF0-FF92-4868-87AC-1083B7B7F6F4}"/>
                  </a:ext>
                </a:extLst>
              </p:cNvPr>
              <p:cNvSpPr>
                <a:spLocks/>
              </p:cNvSpPr>
              <p:nvPr/>
            </p:nvSpPr>
            <p:spPr bwMode="auto">
              <a:xfrm>
                <a:off x="3001963" y="3971926"/>
                <a:ext cx="14288" cy="19050"/>
              </a:xfrm>
              <a:custGeom>
                <a:avLst/>
                <a:gdLst>
                  <a:gd name="T0" fmla="*/ 7 w 9"/>
                  <a:gd name="T1" fmla="*/ 3 h 12"/>
                  <a:gd name="T2" fmla="*/ 7 w 9"/>
                  <a:gd name="T3" fmla="*/ 3 h 12"/>
                  <a:gd name="T4" fmla="*/ 7 w 9"/>
                  <a:gd name="T5" fmla="*/ 3 h 12"/>
                  <a:gd name="T6" fmla="*/ 7 w 9"/>
                  <a:gd name="T7" fmla="*/ 3 h 12"/>
                  <a:gd name="T8" fmla="*/ 2 w 9"/>
                  <a:gd name="T9" fmla="*/ 3 h 12"/>
                  <a:gd name="T10" fmla="*/ 0 w 9"/>
                  <a:gd name="T11" fmla="*/ 0 h 12"/>
                  <a:gd name="T12" fmla="*/ 0 w 9"/>
                  <a:gd name="T13" fmla="*/ 0 h 12"/>
                  <a:gd name="T14" fmla="*/ 2 w 9"/>
                  <a:gd name="T15" fmla="*/ 0 h 12"/>
                  <a:gd name="T16" fmla="*/ 2 w 9"/>
                  <a:gd name="T17" fmla="*/ 0 h 12"/>
                  <a:gd name="T18" fmla="*/ 4 w 9"/>
                  <a:gd name="T19" fmla="*/ 3 h 12"/>
                  <a:gd name="T20" fmla="*/ 7 w 9"/>
                  <a:gd name="T21" fmla="*/ 3 h 12"/>
                  <a:gd name="T22" fmla="*/ 9 w 9"/>
                  <a:gd name="T23" fmla="*/ 3 h 12"/>
                  <a:gd name="T24" fmla="*/ 9 w 9"/>
                  <a:gd name="T25" fmla="*/ 5 h 12"/>
                  <a:gd name="T26" fmla="*/ 7 w 9"/>
                  <a:gd name="T27" fmla="*/ 10 h 12"/>
                  <a:gd name="T28" fmla="*/ 4 w 9"/>
                  <a:gd name="T29" fmla="*/ 12 h 12"/>
                  <a:gd name="T30" fmla="*/ 2 w 9"/>
                  <a:gd name="T31" fmla="*/ 10 h 12"/>
                  <a:gd name="T32" fmla="*/ 7 w 9"/>
                  <a:gd name="T33" fmla="*/ 5 h 12"/>
                  <a:gd name="T34" fmla="*/ 7 w 9"/>
                  <a:gd name="T3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2">
                    <a:moveTo>
                      <a:pt x="7" y="3"/>
                    </a:moveTo>
                    <a:lnTo>
                      <a:pt x="7" y="3"/>
                    </a:lnTo>
                    <a:lnTo>
                      <a:pt x="7" y="3"/>
                    </a:lnTo>
                    <a:lnTo>
                      <a:pt x="7" y="3"/>
                    </a:lnTo>
                    <a:lnTo>
                      <a:pt x="2" y="3"/>
                    </a:lnTo>
                    <a:lnTo>
                      <a:pt x="0" y="0"/>
                    </a:lnTo>
                    <a:lnTo>
                      <a:pt x="0" y="0"/>
                    </a:lnTo>
                    <a:lnTo>
                      <a:pt x="2" y="0"/>
                    </a:lnTo>
                    <a:lnTo>
                      <a:pt x="2" y="0"/>
                    </a:lnTo>
                    <a:lnTo>
                      <a:pt x="4" y="3"/>
                    </a:lnTo>
                    <a:lnTo>
                      <a:pt x="7" y="3"/>
                    </a:lnTo>
                    <a:lnTo>
                      <a:pt x="9" y="3"/>
                    </a:lnTo>
                    <a:lnTo>
                      <a:pt x="9" y="5"/>
                    </a:lnTo>
                    <a:lnTo>
                      <a:pt x="7" y="10"/>
                    </a:lnTo>
                    <a:lnTo>
                      <a:pt x="4" y="12"/>
                    </a:lnTo>
                    <a:lnTo>
                      <a:pt x="2" y="10"/>
                    </a:lnTo>
                    <a:lnTo>
                      <a:pt x="7" y="5"/>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2" name="Freeform 351">
                <a:extLst>
                  <a:ext uri="{FF2B5EF4-FFF2-40B4-BE49-F238E27FC236}">
                    <a16:creationId xmlns:a16="http://schemas.microsoft.com/office/drawing/2014/main" id="{7F484DA2-8854-47C1-B946-E43C29384FD7}"/>
                  </a:ext>
                </a:extLst>
              </p:cNvPr>
              <p:cNvSpPr>
                <a:spLocks/>
              </p:cNvSpPr>
              <p:nvPr/>
            </p:nvSpPr>
            <p:spPr bwMode="auto">
              <a:xfrm>
                <a:off x="3001963" y="3971926"/>
                <a:ext cx="14288" cy="19050"/>
              </a:xfrm>
              <a:custGeom>
                <a:avLst/>
                <a:gdLst>
                  <a:gd name="T0" fmla="*/ 7 w 9"/>
                  <a:gd name="T1" fmla="*/ 3 h 12"/>
                  <a:gd name="T2" fmla="*/ 7 w 9"/>
                  <a:gd name="T3" fmla="*/ 3 h 12"/>
                  <a:gd name="T4" fmla="*/ 7 w 9"/>
                  <a:gd name="T5" fmla="*/ 3 h 12"/>
                  <a:gd name="T6" fmla="*/ 7 w 9"/>
                  <a:gd name="T7" fmla="*/ 3 h 12"/>
                  <a:gd name="T8" fmla="*/ 2 w 9"/>
                  <a:gd name="T9" fmla="*/ 3 h 12"/>
                  <a:gd name="T10" fmla="*/ 0 w 9"/>
                  <a:gd name="T11" fmla="*/ 0 h 12"/>
                  <a:gd name="T12" fmla="*/ 0 w 9"/>
                  <a:gd name="T13" fmla="*/ 0 h 12"/>
                  <a:gd name="T14" fmla="*/ 2 w 9"/>
                  <a:gd name="T15" fmla="*/ 0 h 12"/>
                  <a:gd name="T16" fmla="*/ 2 w 9"/>
                  <a:gd name="T17" fmla="*/ 0 h 12"/>
                  <a:gd name="T18" fmla="*/ 4 w 9"/>
                  <a:gd name="T19" fmla="*/ 3 h 12"/>
                  <a:gd name="T20" fmla="*/ 7 w 9"/>
                  <a:gd name="T21" fmla="*/ 3 h 12"/>
                  <a:gd name="T22" fmla="*/ 9 w 9"/>
                  <a:gd name="T23" fmla="*/ 3 h 12"/>
                  <a:gd name="T24" fmla="*/ 9 w 9"/>
                  <a:gd name="T25" fmla="*/ 5 h 12"/>
                  <a:gd name="T26" fmla="*/ 7 w 9"/>
                  <a:gd name="T27" fmla="*/ 10 h 12"/>
                  <a:gd name="T28" fmla="*/ 4 w 9"/>
                  <a:gd name="T29" fmla="*/ 12 h 12"/>
                  <a:gd name="T30" fmla="*/ 2 w 9"/>
                  <a:gd name="T31" fmla="*/ 10 h 12"/>
                  <a:gd name="T32" fmla="*/ 7 w 9"/>
                  <a:gd name="T33" fmla="*/ 5 h 12"/>
                  <a:gd name="T34" fmla="*/ 7 w 9"/>
                  <a:gd name="T3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2">
                    <a:moveTo>
                      <a:pt x="7" y="3"/>
                    </a:moveTo>
                    <a:lnTo>
                      <a:pt x="7" y="3"/>
                    </a:lnTo>
                    <a:lnTo>
                      <a:pt x="7" y="3"/>
                    </a:lnTo>
                    <a:lnTo>
                      <a:pt x="7" y="3"/>
                    </a:lnTo>
                    <a:lnTo>
                      <a:pt x="2" y="3"/>
                    </a:lnTo>
                    <a:lnTo>
                      <a:pt x="0" y="0"/>
                    </a:lnTo>
                    <a:lnTo>
                      <a:pt x="0" y="0"/>
                    </a:lnTo>
                    <a:lnTo>
                      <a:pt x="2" y="0"/>
                    </a:lnTo>
                    <a:lnTo>
                      <a:pt x="2" y="0"/>
                    </a:lnTo>
                    <a:lnTo>
                      <a:pt x="4" y="3"/>
                    </a:lnTo>
                    <a:lnTo>
                      <a:pt x="7" y="3"/>
                    </a:lnTo>
                    <a:lnTo>
                      <a:pt x="9" y="3"/>
                    </a:lnTo>
                    <a:lnTo>
                      <a:pt x="9" y="5"/>
                    </a:lnTo>
                    <a:lnTo>
                      <a:pt x="7" y="10"/>
                    </a:lnTo>
                    <a:lnTo>
                      <a:pt x="4" y="12"/>
                    </a:lnTo>
                    <a:lnTo>
                      <a:pt x="2" y="10"/>
                    </a:lnTo>
                    <a:lnTo>
                      <a:pt x="7" y="5"/>
                    </a:lnTo>
                    <a:lnTo>
                      <a:pt x="7"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3" name="Freeform 352">
                <a:extLst>
                  <a:ext uri="{FF2B5EF4-FFF2-40B4-BE49-F238E27FC236}">
                    <a16:creationId xmlns:a16="http://schemas.microsoft.com/office/drawing/2014/main" id="{0D5C6F1A-B419-4A2F-9F05-4FD62D8905C4}"/>
                  </a:ext>
                </a:extLst>
              </p:cNvPr>
              <p:cNvSpPr>
                <a:spLocks/>
              </p:cNvSpPr>
              <p:nvPr/>
            </p:nvSpPr>
            <p:spPr bwMode="auto">
              <a:xfrm>
                <a:off x="3038475" y="3983038"/>
                <a:ext cx="11113" cy="4763"/>
              </a:xfrm>
              <a:custGeom>
                <a:avLst/>
                <a:gdLst>
                  <a:gd name="T0" fmla="*/ 7 w 7"/>
                  <a:gd name="T1" fmla="*/ 3 h 3"/>
                  <a:gd name="T2" fmla="*/ 5 w 7"/>
                  <a:gd name="T3" fmla="*/ 0 h 3"/>
                  <a:gd name="T4" fmla="*/ 3 w 7"/>
                  <a:gd name="T5" fmla="*/ 0 h 3"/>
                  <a:gd name="T6" fmla="*/ 0 w 7"/>
                  <a:gd name="T7" fmla="*/ 3 h 3"/>
                  <a:gd name="T8" fmla="*/ 3 w 7"/>
                  <a:gd name="T9" fmla="*/ 3 h 3"/>
                  <a:gd name="T10" fmla="*/ 5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5" y="0"/>
                    </a:lnTo>
                    <a:lnTo>
                      <a:pt x="3" y="0"/>
                    </a:lnTo>
                    <a:lnTo>
                      <a:pt x="0" y="3"/>
                    </a:lnTo>
                    <a:lnTo>
                      <a:pt x="3" y="3"/>
                    </a:lnTo>
                    <a:lnTo>
                      <a:pt x="5"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4" name="Freeform 353">
                <a:extLst>
                  <a:ext uri="{FF2B5EF4-FFF2-40B4-BE49-F238E27FC236}">
                    <a16:creationId xmlns:a16="http://schemas.microsoft.com/office/drawing/2014/main" id="{930D2D8D-F2BC-4973-9F32-96CEB1B5DBD6}"/>
                  </a:ext>
                </a:extLst>
              </p:cNvPr>
              <p:cNvSpPr>
                <a:spLocks/>
              </p:cNvSpPr>
              <p:nvPr/>
            </p:nvSpPr>
            <p:spPr bwMode="auto">
              <a:xfrm>
                <a:off x="3038475" y="3983038"/>
                <a:ext cx="11113" cy="4763"/>
              </a:xfrm>
              <a:custGeom>
                <a:avLst/>
                <a:gdLst>
                  <a:gd name="T0" fmla="*/ 7 w 7"/>
                  <a:gd name="T1" fmla="*/ 3 h 3"/>
                  <a:gd name="T2" fmla="*/ 5 w 7"/>
                  <a:gd name="T3" fmla="*/ 0 h 3"/>
                  <a:gd name="T4" fmla="*/ 3 w 7"/>
                  <a:gd name="T5" fmla="*/ 0 h 3"/>
                  <a:gd name="T6" fmla="*/ 0 w 7"/>
                  <a:gd name="T7" fmla="*/ 3 h 3"/>
                  <a:gd name="T8" fmla="*/ 3 w 7"/>
                  <a:gd name="T9" fmla="*/ 3 h 3"/>
                  <a:gd name="T10" fmla="*/ 5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5" y="0"/>
                    </a:lnTo>
                    <a:lnTo>
                      <a:pt x="3" y="0"/>
                    </a:lnTo>
                    <a:lnTo>
                      <a:pt x="0" y="3"/>
                    </a:lnTo>
                    <a:lnTo>
                      <a:pt x="3" y="3"/>
                    </a:lnTo>
                    <a:lnTo>
                      <a:pt x="5" y="3"/>
                    </a:lnTo>
                    <a:lnTo>
                      <a:pt x="7"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5" name="Freeform 356">
                <a:extLst>
                  <a:ext uri="{FF2B5EF4-FFF2-40B4-BE49-F238E27FC236}">
                    <a16:creationId xmlns:a16="http://schemas.microsoft.com/office/drawing/2014/main" id="{60B90A43-CCC5-4320-9444-AE24A26203DD}"/>
                  </a:ext>
                </a:extLst>
              </p:cNvPr>
              <p:cNvSpPr>
                <a:spLocks/>
              </p:cNvSpPr>
              <p:nvPr/>
            </p:nvSpPr>
            <p:spPr bwMode="auto">
              <a:xfrm>
                <a:off x="3024188" y="4013201"/>
                <a:ext cx="19050" cy="15875"/>
              </a:xfrm>
              <a:custGeom>
                <a:avLst/>
                <a:gdLst>
                  <a:gd name="T0" fmla="*/ 12 w 12"/>
                  <a:gd name="T1" fmla="*/ 0 h 10"/>
                  <a:gd name="T2" fmla="*/ 9 w 12"/>
                  <a:gd name="T3" fmla="*/ 0 h 10"/>
                  <a:gd name="T4" fmla="*/ 9 w 12"/>
                  <a:gd name="T5" fmla="*/ 5 h 10"/>
                  <a:gd name="T6" fmla="*/ 9 w 12"/>
                  <a:gd name="T7" fmla="*/ 7 h 10"/>
                  <a:gd name="T8" fmla="*/ 7 w 12"/>
                  <a:gd name="T9" fmla="*/ 10 h 10"/>
                  <a:gd name="T10" fmla="*/ 0 w 12"/>
                  <a:gd name="T11" fmla="*/ 10 h 10"/>
                  <a:gd name="T12" fmla="*/ 0 w 12"/>
                  <a:gd name="T13" fmla="*/ 5 h 10"/>
                  <a:gd name="T14" fmla="*/ 2 w 12"/>
                  <a:gd name="T15" fmla="*/ 5 h 10"/>
                  <a:gd name="T16" fmla="*/ 7 w 12"/>
                  <a:gd name="T17" fmla="*/ 5 h 10"/>
                  <a:gd name="T18" fmla="*/ 12 w 1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2" y="0"/>
                    </a:moveTo>
                    <a:lnTo>
                      <a:pt x="9" y="0"/>
                    </a:lnTo>
                    <a:lnTo>
                      <a:pt x="9" y="5"/>
                    </a:lnTo>
                    <a:lnTo>
                      <a:pt x="9" y="7"/>
                    </a:lnTo>
                    <a:lnTo>
                      <a:pt x="7" y="10"/>
                    </a:lnTo>
                    <a:lnTo>
                      <a:pt x="0" y="10"/>
                    </a:lnTo>
                    <a:lnTo>
                      <a:pt x="0" y="5"/>
                    </a:lnTo>
                    <a:lnTo>
                      <a:pt x="2" y="5"/>
                    </a:lnTo>
                    <a:lnTo>
                      <a:pt x="7"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6" name="Freeform 357">
                <a:extLst>
                  <a:ext uri="{FF2B5EF4-FFF2-40B4-BE49-F238E27FC236}">
                    <a16:creationId xmlns:a16="http://schemas.microsoft.com/office/drawing/2014/main" id="{A09EB51D-2A1A-40FB-B290-86EA4DEC08F9}"/>
                  </a:ext>
                </a:extLst>
              </p:cNvPr>
              <p:cNvSpPr>
                <a:spLocks/>
              </p:cNvSpPr>
              <p:nvPr/>
            </p:nvSpPr>
            <p:spPr bwMode="auto">
              <a:xfrm>
                <a:off x="3024188" y="4013201"/>
                <a:ext cx="19050" cy="15875"/>
              </a:xfrm>
              <a:custGeom>
                <a:avLst/>
                <a:gdLst>
                  <a:gd name="T0" fmla="*/ 12 w 12"/>
                  <a:gd name="T1" fmla="*/ 0 h 10"/>
                  <a:gd name="T2" fmla="*/ 9 w 12"/>
                  <a:gd name="T3" fmla="*/ 0 h 10"/>
                  <a:gd name="T4" fmla="*/ 9 w 12"/>
                  <a:gd name="T5" fmla="*/ 5 h 10"/>
                  <a:gd name="T6" fmla="*/ 9 w 12"/>
                  <a:gd name="T7" fmla="*/ 7 h 10"/>
                  <a:gd name="T8" fmla="*/ 7 w 12"/>
                  <a:gd name="T9" fmla="*/ 10 h 10"/>
                  <a:gd name="T10" fmla="*/ 0 w 12"/>
                  <a:gd name="T11" fmla="*/ 10 h 10"/>
                  <a:gd name="T12" fmla="*/ 0 w 12"/>
                  <a:gd name="T13" fmla="*/ 5 h 10"/>
                  <a:gd name="T14" fmla="*/ 2 w 12"/>
                  <a:gd name="T15" fmla="*/ 5 h 10"/>
                  <a:gd name="T16" fmla="*/ 7 w 12"/>
                  <a:gd name="T17" fmla="*/ 5 h 10"/>
                  <a:gd name="T18" fmla="*/ 12 w 1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2" y="0"/>
                    </a:moveTo>
                    <a:lnTo>
                      <a:pt x="9" y="0"/>
                    </a:lnTo>
                    <a:lnTo>
                      <a:pt x="9" y="5"/>
                    </a:lnTo>
                    <a:lnTo>
                      <a:pt x="9" y="7"/>
                    </a:lnTo>
                    <a:lnTo>
                      <a:pt x="7" y="10"/>
                    </a:lnTo>
                    <a:lnTo>
                      <a:pt x="0" y="10"/>
                    </a:lnTo>
                    <a:lnTo>
                      <a:pt x="0" y="5"/>
                    </a:lnTo>
                    <a:lnTo>
                      <a:pt x="2" y="5"/>
                    </a:lnTo>
                    <a:lnTo>
                      <a:pt x="7" y="5"/>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7" name="Freeform 358">
                <a:extLst>
                  <a:ext uri="{FF2B5EF4-FFF2-40B4-BE49-F238E27FC236}">
                    <a16:creationId xmlns:a16="http://schemas.microsoft.com/office/drawing/2014/main" id="{C58E95F9-2D70-4B80-88CA-EE4BD8C4C55E}"/>
                  </a:ext>
                </a:extLst>
              </p:cNvPr>
              <p:cNvSpPr>
                <a:spLocks/>
              </p:cNvSpPr>
              <p:nvPr/>
            </p:nvSpPr>
            <p:spPr bwMode="auto">
              <a:xfrm>
                <a:off x="2908300" y="3927476"/>
                <a:ext cx="3175" cy="7938"/>
              </a:xfrm>
              <a:custGeom>
                <a:avLst/>
                <a:gdLst>
                  <a:gd name="T0" fmla="*/ 2 w 2"/>
                  <a:gd name="T1" fmla="*/ 0 h 5"/>
                  <a:gd name="T2" fmla="*/ 0 w 2"/>
                  <a:gd name="T3" fmla="*/ 5 h 5"/>
                  <a:gd name="T4" fmla="*/ 0 w 2"/>
                  <a:gd name="T5" fmla="*/ 5 h 5"/>
                  <a:gd name="T6" fmla="*/ 2 w 2"/>
                  <a:gd name="T7" fmla="*/ 5 h 5"/>
                  <a:gd name="T8" fmla="*/ 2 w 2"/>
                  <a:gd name="T9" fmla="*/ 0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0" y="5"/>
                    </a:lnTo>
                    <a:lnTo>
                      <a:pt x="0" y="5"/>
                    </a:lnTo>
                    <a:lnTo>
                      <a:pt x="2" y="5"/>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8" name="Freeform 359">
                <a:extLst>
                  <a:ext uri="{FF2B5EF4-FFF2-40B4-BE49-F238E27FC236}">
                    <a16:creationId xmlns:a16="http://schemas.microsoft.com/office/drawing/2014/main" id="{A742AA3A-F934-45E8-BC6E-C56526524870}"/>
                  </a:ext>
                </a:extLst>
              </p:cNvPr>
              <p:cNvSpPr>
                <a:spLocks/>
              </p:cNvSpPr>
              <p:nvPr/>
            </p:nvSpPr>
            <p:spPr bwMode="auto">
              <a:xfrm>
                <a:off x="2908300" y="3927476"/>
                <a:ext cx="3175" cy="7938"/>
              </a:xfrm>
              <a:custGeom>
                <a:avLst/>
                <a:gdLst>
                  <a:gd name="T0" fmla="*/ 2 w 2"/>
                  <a:gd name="T1" fmla="*/ 0 h 5"/>
                  <a:gd name="T2" fmla="*/ 0 w 2"/>
                  <a:gd name="T3" fmla="*/ 5 h 5"/>
                  <a:gd name="T4" fmla="*/ 0 w 2"/>
                  <a:gd name="T5" fmla="*/ 5 h 5"/>
                  <a:gd name="T6" fmla="*/ 2 w 2"/>
                  <a:gd name="T7" fmla="*/ 5 h 5"/>
                  <a:gd name="T8" fmla="*/ 2 w 2"/>
                  <a:gd name="T9" fmla="*/ 0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0" y="5"/>
                    </a:lnTo>
                    <a:lnTo>
                      <a:pt x="0" y="5"/>
                    </a:lnTo>
                    <a:lnTo>
                      <a:pt x="2" y="5"/>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69" name="Freeform 1070">
                <a:extLst>
                  <a:ext uri="{FF2B5EF4-FFF2-40B4-BE49-F238E27FC236}">
                    <a16:creationId xmlns:a16="http://schemas.microsoft.com/office/drawing/2014/main" id="{479B7C4F-7452-4400-B04E-04CB32022A54}"/>
                  </a:ext>
                </a:extLst>
              </p:cNvPr>
              <p:cNvSpPr>
                <a:spLocks/>
              </p:cNvSpPr>
              <p:nvPr/>
            </p:nvSpPr>
            <p:spPr bwMode="auto">
              <a:xfrm>
                <a:off x="2884488" y="3979863"/>
                <a:ext cx="26988" cy="19050"/>
              </a:xfrm>
              <a:custGeom>
                <a:avLst/>
                <a:gdLst>
                  <a:gd name="T0" fmla="*/ 12 w 17"/>
                  <a:gd name="T1" fmla="*/ 5 h 12"/>
                  <a:gd name="T2" fmla="*/ 15 w 17"/>
                  <a:gd name="T3" fmla="*/ 7 h 12"/>
                  <a:gd name="T4" fmla="*/ 17 w 17"/>
                  <a:gd name="T5" fmla="*/ 9 h 12"/>
                  <a:gd name="T6" fmla="*/ 17 w 17"/>
                  <a:gd name="T7" fmla="*/ 12 h 12"/>
                  <a:gd name="T8" fmla="*/ 15 w 17"/>
                  <a:gd name="T9" fmla="*/ 12 h 12"/>
                  <a:gd name="T10" fmla="*/ 12 w 17"/>
                  <a:gd name="T11" fmla="*/ 9 h 12"/>
                  <a:gd name="T12" fmla="*/ 10 w 17"/>
                  <a:gd name="T13" fmla="*/ 7 h 12"/>
                  <a:gd name="T14" fmla="*/ 8 w 17"/>
                  <a:gd name="T15" fmla="*/ 5 h 12"/>
                  <a:gd name="T16" fmla="*/ 3 w 17"/>
                  <a:gd name="T17" fmla="*/ 5 h 12"/>
                  <a:gd name="T18" fmla="*/ 3 w 17"/>
                  <a:gd name="T19" fmla="*/ 5 h 12"/>
                  <a:gd name="T20" fmla="*/ 0 w 17"/>
                  <a:gd name="T21" fmla="*/ 2 h 12"/>
                  <a:gd name="T22" fmla="*/ 0 w 17"/>
                  <a:gd name="T23" fmla="*/ 2 h 12"/>
                  <a:gd name="T24" fmla="*/ 0 w 17"/>
                  <a:gd name="T25" fmla="*/ 0 h 12"/>
                  <a:gd name="T26" fmla="*/ 5 w 17"/>
                  <a:gd name="T27" fmla="*/ 0 h 12"/>
                  <a:gd name="T28" fmla="*/ 12 w 17"/>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2">
                    <a:moveTo>
                      <a:pt x="12" y="5"/>
                    </a:moveTo>
                    <a:lnTo>
                      <a:pt x="15" y="7"/>
                    </a:lnTo>
                    <a:lnTo>
                      <a:pt x="17" y="9"/>
                    </a:lnTo>
                    <a:lnTo>
                      <a:pt x="17" y="12"/>
                    </a:lnTo>
                    <a:lnTo>
                      <a:pt x="15" y="12"/>
                    </a:lnTo>
                    <a:lnTo>
                      <a:pt x="12" y="9"/>
                    </a:lnTo>
                    <a:lnTo>
                      <a:pt x="10" y="7"/>
                    </a:lnTo>
                    <a:lnTo>
                      <a:pt x="8" y="5"/>
                    </a:lnTo>
                    <a:lnTo>
                      <a:pt x="3" y="5"/>
                    </a:lnTo>
                    <a:lnTo>
                      <a:pt x="3" y="5"/>
                    </a:lnTo>
                    <a:lnTo>
                      <a:pt x="0" y="2"/>
                    </a:lnTo>
                    <a:lnTo>
                      <a:pt x="0" y="2"/>
                    </a:lnTo>
                    <a:lnTo>
                      <a:pt x="0" y="0"/>
                    </a:lnTo>
                    <a:lnTo>
                      <a:pt x="5" y="0"/>
                    </a:lnTo>
                    <a:lnTo>
                      <a:pt x="1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5470" name="Freeform 1071">
                <a:extLst>
                  <a:ext uri="{FF2B5EF4-FFF2-40B4-BE49-F238E27FC236}">
                    <a16:creationId xmlns:a16="http://schemas.microsoft.com/office/drawing/2014/main" id="{5AFE1071-36F7-4B82-AC5D-4208B87B4B84}"/>
                  </a:ext>
                </a:extLst>
              </p:cNvPr>
              <p:cNvSpPr>
                <a:spLocks/>
              </p:cNvSpPr>
              <p:nvPr/>
            </p:nvSpPr>
            <p:spPr bwMode="auto">
              <a:xfrm>
                <a:off x="2884488" y="3979863"/>
                <a:ext cx="26988" cy="19050"/>
              </a:xfrm>
              <a:custGeom>
                <a:avLst/>
                <a:gdLst>
                  <a:gd name="T0" fmla="*/ 12 w 17"/>
                  <a:gd name="T1" fmla="*/ 5 h 12"/>
                  <a:gd name="T2" fmla="*/ 15 w 17"/>
                  <a:gd name="T3" fmla="*/ 7 h 12"/>
                  <a:gd name="T4" fmla="*/ 17 w 17"/>
                  <a:gd name="T5" fmla="*/ 9 h 12"/>
                  <a:gd name="T6" fmla="*/ 17 w 17"/>
                  <a:gd name="T7" fmla="*/ 12 h 12"/>
                  <a:gd name="T8" fmla="*/ 15 w 17"/>
                  <a:gd name="T9" fmla="*/ 12 h 12"/>
                  <a:gd name="T10" fmla="*/ 12 w 17"/>
                  <a:gd name="T11" fmla="*/ 9 h 12"/>
                  <a:gd name="T12" fmla="*/ 10 w 17"/>
                  <a:gd name="T13" fmla="*/ 7 h 12"/>
                  <a:gd name="T14" fmla="*/ 8 w 17"/>
                  <a:gd name="T15" fmla="*/ 5 h 12"/>
                  <a:gd name="T16" fmla="*/ 3 w 17"/>
                  <a:gd name="T17" fmla="*/ 5 h 12"/>
                  <a:gd name="T18" fmla="*/ 3 w 17"/>
                  <a:gd name="T19" fmla="*/ 5 h 12"/>
                  <a:gd name="T20" fmla="*/ 0 w 17"/>
                  <a:gd name="T21" fmla="*/ 2 h 12"/>
                  <a:gd name="T22" fmla="*/ 0 w 17"/>
                  <a:gd name="T23" fmla="*/ 2 h 12"/>
                  <a:gd name="T24" fmla="*/ 0 w 17"/>
                  <a:gd name="T25" fmla="*/ 0 h 12"/>
                  <a:gd name="T26" fmla="*/ 5 w 17"/>
                  <a:gd name="T27" fmla="*/ 0 h 12"/>
                  <a:gd name="T28" fmla="*/ 12 w 17"/>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2">
                    <a:moveTo>
                      <a:pt x="12" y="5"/>
                    </a:moveTo>
                    <a:lnTo>
                      <a:pt x="15" y="7"/>
                    </a:lnTo>
                    <a:lnTo>
                      <a:pt x="17" y="9"/>
                    </a:lnTo>
                    <a:lnTo>
                      <a:pt x="17" y="12"/>
                    </a:lnTo>
                    <a:lnTo>
                      <a:pt x="15" y="12"/>
                    </a:lnTo>
                    <a:lnTo>
                      <a:pt x="12" y="9"/>
                    </a:lnTo>
                    <a:lnTo>
                      <a:pt x="10" y="7"/>
                    </a:lnTo>
                    <a:lnTo>
                      <a:pt x="8" y="5"/>
                    </a:lnTo>
                    <a:lnTo>
                      <a:pt x="3" y="5"/>
                    </a:lnTo>
                    <a:lnTo>
                      <a:pt x="3" y="5"/>
                    </a:lnTo>
                    <a:lnTo>
                      <a:pt x="0" y="2"/>
                    </a:lnTo>
                    <a:lnTo>
                      <a:pt x="0" y="2"/>
                    </a:lnTo>
                    <a:lnTo>
                      <a:pt x="0" y="0"/>
                    </a:lnTo>
                    <a:lnTo>
                      <a:pt x="5" y="0"/>
                    </a:lnTo>
                    <a:lnTo>
                      <a:pt x="12" y="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grpSp>
      <p:grpSp>
        <p:nvGrpSpPr>
          <p:cNvPr id="5495" name="Group 5494">
            <a:extLst>
              <a:ext uri="{FF2B5EF4-FFF2-40B4-BE49-F238E27FC236}">
                <a16:creationId xmlns:a16="http://schemas.microsoft.com/office/drawing/2014/main" id="{1A0B53E4-7FD8-487D-9A00-7B12BFBE2F09}"/>
              </a:ext>
            </a:extLst>
          </p:cNvPr>
          <p:cNvGrpSpPr/>
          <p:nvPr/>
        </p:nvGrpSpPr>
        <p:grpSpPr>
          <a:xfrm>
            <a:off x="5110124" y="835637"/>
            <a:ext cx="5708343" cy="4579482"/>
            <a:chOff x="599330" y="1009613"/>
            <a:chExt cx="5659428" cy="4540255"/>
          </a:xfrm>
          <a:solidFill>
            <a:srgbClr val="95CB89"/>
          </a:solidFill>
        </p:grpSpPr>
        <p:sp>
          <p:nvSpPr>
            <p:cNvPr id="5496" name="Freeform 10">
              <a:extLst>
                <a:ext uri="{FF2B5EF4-FFF2-40B4-BE49-F238E27FC236}">
                  <a16:creationId xmlns:a16="http://schemas.microsoft.com/office/drawing/2014/main" id="{3AB8CD62-0442-44C4-BBCF-62996DD71E2D}"/>
                </a:ext>
              </a:extLst>
            </p:cNvPr>
            <p:cNvSpPr>
              <a:spLocks/>
            </p:cNvSpPr>
            <p:nvPr/>
          </p:nvSpPr>
          <p:spPr bwMode="auto">
            <a:xfrm>
              <a:off x="2242390" y="3581366"/>
              <a:ext cx="14288" cy="41275"/>
            </a:xfrm>
            <a:custGeom>
              <a:avLst/>
              <a:gdLst>
                <a:gd name="T0" fmla="*/ 9 w 9"/>
                <a:gd name="T1" fmla="*/ 21 h 26"/>
                <a:gd name="T2" fmla="*/ 9 w 9"/>
                <a:gd name="T3" fmla="*/ 21 h 26"/>
                <a:gd name="T4" fmla="*/ 9 w 9"/>
                <a:gd name="T5" fmla="*/ 19 h 26"/>
                <a:gd name="T6" fmla="*/ 9 w 9"/>
                <a:gd name="T7" fmla="*/ 16 h 26"/>
                <a:gd name="T8" fmla="*/ 9 w 9"/>
                <a:gd name="T9" fmla="*/ 14 h 26"/>
                <a:gd name="T10" fmla="*/ 9 w 9"/>
                <a:gd name="T11" fmla="*/ 9 h 26"/>
                <a:gd name="T12" fmla="*/ 9 w 9"/>
                <a:gd name="T13" fmla="*/ 7 h 26"/>
                <a:gd name="T14" fmla="*/ 9 w 9"/>
                <a:gd name="T15" fmla="*/ 5 h 26"/>
                <a:gd name="T16" fmla="*/ 9 w 9"/>
                <a:gd name="T17" fmla="*/ 5 h 26"/>
                <a:gd name="T18" fmla="*/ 9 w 9"/>
                <a:gd name="T19" fmla="*/ 5 h 26"/>
                <a:gd name="T20" fmla="*/ 9 w 9"/>
                <a:gd name="T21" fmla="*/ 5 h 26"/>
                <a:gd name="T22" fmla="*/ 7 w 9"/>
                <a:gd name="T23" fmla="*/ 2 h 26"/>
                <a:gd name="T24" fmla="*/ 7 w 9"/>
                <a:gd name="T25" fmla="*/ 0 h 26"/>
                <a:gd name="T26" fmla="*/ 7 w 9"/>
                <a:gd name="T27" fmla="*/ 2 h 26"/>
                <a:gd name="T28" fmla="*/ 5 w 9"/>
                <a:gd name="T29" fmla="*/ 0 h 26"/>
                <a:gd name="T30" fmla="*/ 2 w 9"/>
                <a:gd name="T31" fmla="*/ 2 h 26"/>
                <a:gd name="T32" fmla="*/ 2 w 9"/>
                <a:gd name="T33" fmla="*/ 2 h 26"/>
                <a:gd name="T34" fmla="*/ 2 w 9"/>
                <a:gd name="T35" fmla="*/ 5 h 26"/>
                <a:gd name="T36" fmla="*/ 0 w 9"/>
                <a:gd name="T37" fmla="*/ 7 h 26"/>
                <a:gd name="T38" fmla="*/ 0 w 9"/>
                <a:gd name="T39" fmla="*/ 12 h 26"/>
                <a:gd name="T40" fmla="*/ 0 w 9"/>
                <a:gd name="T41" fmla="*/ 14 h 26"/>
                <a:gd name="T42" fmla="*/ 0 w 9"/>
                <a:gd name="T43" fmla="*/ 14 h 26"/>
                <a:gd name="T44" fmla="*/ 5 w 9"/>
                <a:gd name="T45" fmla="*/ 14 h 26"/>
                <a:gd name="T46" fmla="*/ 5 w 9"/>
                <a:gd name="T47" fmla="*/ 16 h 26"/>
                <a:gd name="T48" fmla="*/ 5 w 9"/>
                <a:gd name="T49" fmla="*/ 16 h 26"/>
                <a:gd name="T50" fmla="*/ 5 w 9"/>
                <a:gd name="T51" fmla="*/ 16 h 26"/>
                <a:gd name="T52" fmla="*/ 2 w 9"/>
                <a:gd name="T53" fmla="*/ 16 h 26"/>
                <a:gd name="T54" fmla="*/ 2 w 9"/>
                <a:gd name="T55" fmla="*/ 19 h 26"/>
                <a:gd name="T56" fmla="*/ 0 w 9"/>
                <a:gd name="T57" fmla="*/ 19 h 26"/>
                <a:gd name="T58" fmla="*/ 0 w 9"/>
                <a:gd name="T59" fmla="*/ 21 h 26"/>
                <a:gd name="T60" fmla="*/ 0 w 9"/>
                <a:gd name="T61" fmla="*/ 24 h 26"/>
                <a:gd name="T62" fmla="*/ 0 w 9"/>
                <a:gd name="T63" fmla="*/ 24 h 26"/>
                <a:gd name="T64" fmla="*/ 0 w 9"/>
                <a:gd name="T65" fmla="*/ 26 h 26"/>
                <a:gd name="T66" fmla="*/ 0 w 9"/>
                <a:gd name="T67" fmla="*/ 26 h 26"/>
                <a:gd name="T68" fmla="*/ 5 w 9"/>
                <a:gd name="T69" fmla="*/ 24 h 26"/>
                <a:gd name="T70" fmla="*/ 7 w 9"/>
                <a:gd name="T71" fmla="*/ 21 h 26"/>
                <a:gd name="T72" fmla="*/ 9 w 9"/>
                <a:gd name="T73"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26">
                  <a:moveTo>
                    <a:pt x="9" y="21"/>
                  </a:moveTo>
                  <a:lnTo>
                    <a:pt x="9" y="21"/>
                  </a:lnTo>
                  <a:lnTo>
                    <a:pt x="9" y="19"/>
                  </a:lnTo>
                  <a:lnTo>
                    <a:pt x="9" y="16"/>
                  </a:lnTo>
                  <a:lnTo>
                    <a:pt x="9" y="14"/>
                  </a:lnTo>
                  <a:lnTo>
                    <a:pt x="9" y="9"/>
                  </a:lnTo>
                  <a:lnTo>
                    <a:pt x="9" y="7"/>
                  </a:lnTo>
                  <a:lnTo>
                    <a:pt x="9" y="5"/>
                  </a:lnTo>
                  <a:lnTo>
                    <a:pt x="9" y="5"/>
                  </a:lnTo>
                  <a:lnTo>
                    <a:pt x="9" y="5"/>
                  </a:lnTo>
                  <a:lnTo>
                    <a:pt x="9" y="5"/>
                  </a:lnTo>
                  <a:lnTo>
                    <a:pt x="7" y="2"/>
                  </a:lnTo>
                  <a:lnTo>
                    <a:pt x="7" y="0"/>
                  </a:lnTo>
                  <a:lnTo>
                    <a:pt x="7" y="2"/>
                  </a:lnTo>
                  <a:lnTo>
                    <a:pt x="5" y="0"/>
                  </a:lnTo>
                  <a:lnTo>
                    <a:pt x="2" y="2"/>
                  </a:lnTo>
                  <a:lnTo>
                    <a:pt x="2" y="2"/>
                  </a:lnTo>
                  <a:lnTo>
                    <a:pt x="2" y="5"/>
                  </a:lnTo>
                  <a:lnTo>
                    <a:pt x="0" y="7"/>
                  </a:lnTo>
                  <a:lnTo>
                    <a:pt x="0" y="12"/>
                  </a:lnTo>
                  <a:lnTo>
                    <a:pt x="0" y="14"/>
                  </a:lnTo>
                  <a:lnTo>
                    <a:pt x="0" y="14"/>
                  </a:lnTo>
                  <a:lnTo>
                    <a:pt x="5" y="14"/>
                  </a:lnTo>
                  <a:lnTo>
                    <a:pt x="5" y="16"/>
                  </a:lnTo>
                  <a:lnTo>
                    <a:pt x="5" y="16"/>
                  </a:lnTo>
                  <a:lnTo>
                    <a:pt x="5" y="16"/>
                  </a:lnTo>
                  <a:lnTo>
                    <a:pt x="2" y="16"/>
                  </a:lnTo>
                  <a:lnTo>
                    <a:pt x="2" y="19"/>
                  </a:lnTo>
                  <a:lnTo>
                    <a:pt x="0" y="19"/>
                  </a:lnTo>
                  <a:lnTo>
                    <a:pt x="0" y="21"/>
                  </a:lnTo>
                  <a:lnTo>
                    <a:pt x="0" y="24"/>
                  </a:lnTo>
                  <a:lnTo>
                    <a:pt x="0" y="24"/>
                  </a:lnTo>
                  <a:lnTo>
                    <a:pt x="0" y="26"/>
                  </a:lnTo>
                  <a:lnTo>
                    <a:pt x="0" y="26"/>
                  </a:lnTo>
                  <a:lnTo>
                    <a:pt x="5" y="24"/>
                  </a:lnTo>
                  <a:lnTo>
                    <a:pt x="7" y="21"/>
                  </a:lnTo>
                  <a:lnTo>
                    <a:pt x="9" y="2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497" name="Freeform 11">
              <a:extLst>
                <a:ext uri="{FF2B5EF4-FFF2-40B4-BE49-F238E27FC236}">
                  <a16:creationId xmlns:a16="http://schemas.microsoft.com/office/drawing/2014/main" id="{61836526-3F6D-404D-9BF5-90E4193700D7}"/>
                </a:ext>
              </a:extLst>
            </p:cNvPr>
            <p:cNvSpPr>
              <a:spLocks/>
            </p:cNvSpPr>
            <p:nvPr/>
          </p:nvSpPr>
          <p:spPr bwMode="auto">
            <a:xfrm>
              <a:off x="2242390" y="3581366"/>
              <a:ext cx="14288" cy="41275"/>
            </a:xfrm>
            <a:custGeom>
              <a:avLst/>
              <a:gdLst>
                <a:gd name="T0" fmla="*/ 9 w 9"/>
                <a:gd name="T1" fmla="*/ 21 h 26"/>
                <a:gd name="T2" fmla="*/ 9 w 9"/>
                <a:gd name="T3" fmla="*/ 21 h 26"/>
                <a:gd name="T4" fmla="*/ 9 w 9"/>
                <a:gd name="T5" fmla="*/ 19 h 26"/>
                <a:gd name="T6" fmla="*/ 9 w 9"/>
                <a:gd name="T7" fmla="*/ 16 h 26"/>
                <a:gd name="T8" fmla="*/ 9 w 9"/>
                <a:gd name="T9" fmla="*/ 14 h 26"/>
                <a:gd name="T10" fmla="*/ 9 w 9"/>
                <a:gd name="T11" fmla="*/ 9 h 26"/>
                <a:gd name="T12" fmla="*/ 9 w 9"/>
                <a:gd name="T13" fmla="*/ 7 h 26"/>
                <a:gd name="T14" fmla="*/ 9 w 9"/>
                <a:gd name="T15" fmla="*/ 5 h 26"/>
                <a:gd name="T16" fmla="*/ 9 w 9"/>
                <a:gd name="T17" fmla="*/ 5 h 26"/>
                <a:gd name="T18" fmla="*/ 9 w 9"/>
                <a:gd name="T19" fmla="*/ 5 h 26"/>
                <a:gd name="T20" fmla="*/ 9 w 9"/>
                <a:gd name="T21" fmla="*/ 5 h 26"/>
                <a:gd name="T22" fmla="*/ 7 w 9"/>
                <a:gd name="T23" fmla="*/ 2 h 26"/>
                <a:gd name="T24" fmla="*/ 7 w 9"/>
                <a:gd name="T25" fmla="*/ 0 h 26"/>
                <a:gd name="T26" fmla="*/ 7 w 9"/>
                <a:gd name="T27" fmla="*/ 2 h 26"/>
                <a:gd name="T28" fmla="*/ 5 w 9"/>
                <a:gd name="T29" fmla="*/ 0 h 26"/>
                <a:gd name="T30" fmla="*/ 2 w 9"/>
                <a:gd name="T31" fmla="*/ 2 h 26"/>
                <a:gd name="T32" fmla="*/ 2 w 9"/>
                <a:gd name="T33" fmla="*/ 2 h 26"/>
                <a:gd name="T34" fmla="*/ 2 w 9"/>
                <a:gd name="T35" fmla="*/ 5 h 26"/>
                <a:gd name="T36" fmla="*/ 0 w 9"/>
                <a:gd name="T37" fmla="*/ 7 h 26"/>
                <a:gd name="T38" fmla="*/ 0 w 9"/>
                <a:gd name="T39" fmla="*/ 12 h 26"/>
                <a:gd name="T40" fmla="*/ 0 w 9"/>
                <a:gd name="T41" fmla="*/ 14 h 26"/>
                <a:gd name="T42" fmla="*/ 0 w 9"/>
                <a:gd name="T43" fmla="*/ 14 h 26"/>
                <a:gd name="T44" fmla="*/ 5 w 9"/>
                <a:gd name="T45" fmla="*/ 14 h 26"/>
                <a:gd name="T46" fmla="*/ 5 w 9"/>
                <a:gd name="T47" fmla="*/ 16 h 26"/>
                <a:gd name="T48" fmla="*/ 5 w 9"/>
                <a:gd name="T49" fmla="*/ 16 h 26"/>
                <a:gd name="T50" fmla="*/ 5 w 9"/>
                <a:gd name="T51" fmla="*/ 16 h 26"/>
                <a:gd name="T52" fmla="*/ 2 w 9"/>
                <a:gd name="T53" fmla="*/ 16 h 26"/>
                <a:gd name="T54" fmla="*/ 2 w 9"/>
                <a:gd name="T55" fmla="*/ 19 h 26"/>
                <a:gd name="T56" fmla="*/ 0 w 9"/>
                <a:gd name="T57" fmla="*/ 19 h 26"/>
                <a:gd name="T58" fmla="*/ 0 w 9"/>
                <a:gd name="T59" fmla="*/ 21 h 26"/>
                <a:gd name="T60" fmla="*/ 0 w 9"/>
                <a:gd name="T61" fmla="*/ 24 h 26"/>
                <a:gd name="T62" fmla="*/ 0 w 9"/>
                <a:gd name="T63" fmla="*/ 24 h 26"/>
                <a:gd name="T64" fmla="*/ 0 w 9"/>
                <a:gd name="T65" fmla="*/ 26 h 26"/>
                <a:gd name="T66" fmla="*/ 0 w 9"/>
                <a:gd name="T67" fmla="*/ 26 h 26"/>
                <a:gd name="T68" fmla="*/ 5 w 9"/>
                <a:gd name="T69" fmla="*/ 24 h 26"/>
                <a:gd name="T70" fmla="*/ 7 w 9"/>
                <a:gd name="T71" fmla="*/ 21 h 26"/>
                <a:gd name="T72" fmla="*/ 9 w 9"/>
                <a:gd name="T73"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26">
                  <a:moveTo>
                    <a:pt x="9" y="21"/>
                  </a:moveTo>
                  <a:lnTo>
                    <a:pt x="9" y="21"/>
                  </a:lnTo>
                  <a:lnTo>
                    <a:pt x="9" y="19"/>
                  </a:lnTo>
                  <a:lnTo>
                    <a:pt x="9" y="16"/>
                  </a:lnTo>
                  <a:lnTo>
                    <a:pt x="9" y="14"/>
                  </a:lnTo>
                  <a:lnTo>
                    <a:pt x="9" y="9"/>
                  </a:lnTo>
                  <a:lnTo>
                    <a:pt x="9" y="7"/>
                  </a:lnTo>
                  <a:lnTo>
                    <a:pt x="9" y="5"/>
                  </a:lnTo>
                  <a:lnTo>
                    <a:pt x="9" y="5"/>
                  </a:lnTo>
                  <a:lnTo>
                    <a:pt x="9" y="5"/>
                  </a:lnTo>
                  <a:lnTo>
                    <a:pt x="9" y="5"/>
                  </a:lnTo>
                  <a:lnTo>
                    <a:pt x="7" y="2"/>
                  </a:lnTo>
                  <a:lnTo>
                    <a:pt x="7" y="0"/>
                  </a:lnTo>
                  <a:lnTo>
                    <a:pt x="7" y="2"/>
                  </a:lnTo>
                  <a:lnTo>
                    <a:pt x="5" y="0"/>
                  </a:lnTo>
                  <a:lnTo>
                    <a:pt x="2" y="2"/>
                  </a:lnTo>
                  <a:lnTo>
                    <a:pt x="2" y="2"/>
                  </a:lnTo>
                  <a:lnTo>
                    <a:pt x="2" y="5"/>
                  </a:lnTo>
                  <a:lnTo>
                    <a:pt x="0" y="7"/>
                  </a:lnTo>
                  <a:lnTo>
                    <a:pt x="0" y="12"/>
                  </a:lnTo>
                  <a:lnTo>
                    <a:pt x="0" y="14"/>
                  </a:lnTo>
                  <a:lnTo>
                    <a:pt x="0" y="14"/>
                  </a:lnTo>
                  <a:lnTo>
                    <a:pt x="5" y="14"/>
                  </a:lnTo>
                  <a:lnTo>
                    <a:pt x="5" y="16"/>
                  </a:lnTo>
                  <a:lnTo>
                    <a:pt x="5" y="16"/>
                  </a:lnTo>
                  <a:lnTo>
                    <a:pt x="5" y="16"/>
                  </a:lnTo>
                  <a:lnTo>
                    <a:pt x="2" y="16"/>
                  </a:lnTo>
                  <a:lnTo>
                    <a:pt x="2" y="19"/>
                  </a:lnTo>
                  <a:lnTo>
                    <a:pt x="0" y="19"/>
                  </a:lnTo>
                  <a:lnTo>
                    <a:pt x="0" y="21"/>
                  </a:lnTo>
                  <a:lnTo>
                    <a:pt x="0" y="24"/>
                  </a:lnTo>
                  <a:lnTo>
                    <a:pt x="0" y="24"/>
                  </a:lnTo>
                  <a:lnTo>
                    <a:pt x="0" y="26"/>
                  </a:lnTo>
                  <a:lnTo>
                    <a:pt x="0" y="26"/>
                  </a:lnTo>
                  <a:lnTo>
                    <a:pt x="5" y="24"/>
                  </a:lnTo>
                  <a:lnTo>
                    <a:pt x="7" y="21"/>
                  </a:lnTo>
                  <a:lnTo>
                    <a:pt x="9" y="2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498" name="Freeform 12">
              <a:extLst>
                <a:ext uri="{FF2B5EF4-FFF2-40B4-BE49-F238E27FC236}">
                  <a16:creationId xmlns:a16="http://schemas.microsoft.com/office/drawing/2014/main" id="{A9311990-4F7F-4192-AEDD-0D1990C28E99}"/>
                </a:ext>
              </a:extLst>
            </p:cNvPr>
            <p:cNvSpPr>
              <a:spLocks/>
            </p:cNvSpPr>
            <p:nvPr/>
          </p:nvSpPr>
          <p:spPr bwMode="auto">
            <a:xfrm>
              <a:off x="2220165" y="3614702"/>
              <a:ext cx="11113" cy="11112"/>
            </a:xfrm>
            <a:custGeom>
              <a:avLst/>
              <a:gdLst>
                <a:gd name="T0" fmla="*/ 0 w 7"/>
                <a:gd name="T1" fmla="*/ 7 h 7"/>
                <a:gd name="T2" fmla="*/ 2 w 7"/>
                <a:gd name="T3" fmla="*/ 7 h 7"/>
                <a:gd name="T4" fmla="*/ 2 w 7"/>
                <a:gd name="T5" fmla="*/ 5 h 7"/>
                <a:gd name="T6" fmla="*/ 7 w 7"/>
                <a:gd name="T7" fmla="*/ 3 h 7"/>
                <a:gd name="T8" fmla="*/ 5 w 7"/>
                <a:gd name="T9" fmla="*/ 0 h 7"/>
                <a:gd name="T10" fmla="*/ 0 w 7"/>
                <a:gd name="T11" fmla="*/ 5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2" y="7"/>
                  </a:lnTo>
                  <a:lnTo>
                    <a:pt x="2" y="5"/>
                  </a:lnTo>
                  <a:lnTo>
                    <a:pt x="7" y="3"/>
                  </a:lnTo>
                  <a:lnTo>
                    <a:pt x="5" y="0"/>
                  </a:lnTo>
                  <a:lnTo>
                    <a:pt x="0" y="5"/>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499" name="Freeform 13">
              <a:extLst>
                <a:ext uri="{FF2B5EF4-FFF2-40B4-BE49-F238E27FC236}">
                  <a16:creationId xmlns:a16="http://schemas.microsoft.com/office/drawing/2014/main" id="{460A8102-80B5-4B7B-9C16-9F7CFF4F49C1}"/>
                </a:ext>
              </a:extLst>
            </p:cNvPr>
            <p:cNvSpPr>
              <a:spLocks/>
            </p:cNvSpPr>
            <p:nvPr/>
          </p:nvSpPr>
          <p:spPr bwMode="auto">
            <a:xfrm>
              <a:off x="2220165" y="3614702"/>
              <a:ext cx="11113" cy="11112"/>
            </a:xfrm>
            <a:custGeom>
              <a:avLst/>
              <a:gdLst>
                <a:gd name="T0" fmla="*/ 0 w 7"/>
                <a:gd name="T1" fmla="*/ 7 h 7"/>
                <a:gd name="T2" fmla="*/ 2 w 7"/>
                <a:gd name="T3" fmla="*/ 7 h 7"/>
                <a:gd name="T4" fmla="*/ 2 w 7"/>
                <a:gd name="T5" fmla="*/ 5 h 7"/>
                <a:gd name="T6" fmla="*/ 7 w 7"/>
                <a:gd name="T7" fmla="*/ 3 h 7"/>
                <a:gd name="T8" fmla="*/ 5 w 7"/>
                <a:gd name="T9" fmla="*/ 0 h 7"/>
                <a:gd name="T10" fmla="*/ 0 w 7"/>
                <a:gd name="T11" fmla="*/ 5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2" y="7"/>
                  </a:lnTo>
                  <a:lnTo>
                    <a:pt x="2" y="5"/>
                  </a:lnTo>
                  <a:lnTo>
                    <a:pt x="7" y="3"/>
                  </a:lnTo>
                  <a:lnTo>
                    <a:pt x="5" y="0"/>
                  </a:lnTo>
                  <a:lnTo>
                    <a:pt x="0" y="5"/>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0" name="Freeform 92">
              <a:extLst>
                <a:ext uri="{FF2B5EF4-FFF2-40B4-BE49-F238E27FC236}">
                  <a16:creationId xmlns:a16="http://schemas.microsoft.com/office/drawing/2014/main" id="{E6926C6B-D9ED-4717-B475-6FCA35AD23E5}"/>
                </a:ext>
              </a:extLst>
            </p:cNvPr>
            <p:cNvSpPr>
              <a:spLocks/>
            </p:cNvSpPr>
            <p:nvPr/>
          </p:nvSpPr>
          <p:spPr bwMode="auto">
            <a:xfrm>
              <a:off x="1818529" y="2425665"/>
              <a:ext cx="15875" cy="23812"/>
            </a:xfrm>
            <a:custGeom>
              <a:avLst/>
              <a:gdLst>
                <a:gd name="T0" fmla="*/ 7 w 10"/>
                <a:gd name="T1" fmla="*/ 3 h 15"/>
                <a:gd name="T2" fmla="*/ 5 w 10"/>
                <a:gd name="T3" fmla="*/ 3 h 15"/>
                <a:gd name="T4" fmla="*/ 5 w 10"/>
                <a:gd name="T5" fmla="*/ 0 h 15"/>
                <a:gd name="T6" fmla="*/ 2 w 10"/>
                <a:gd name="T7" fmla="*/ 3 h 15"/>
                <a:gd name="T8" fmla="*/ 2 w 10"/>
                <a:gd name="T9" fmla="*/ 3 h 15"/>
                <a:gd name="T10" fmla="*/ 2 w 10"/>
                <a:gd name="T11" fmla="*/ 5 h 15"/>
                <a:gd name="T12" fmla="*/ 0 w 10"/>
                <a:gd name="T13" fmla="*/ 5 h 15"/>
                <a:gd name="T14" fmla="*/ 0 w 10"/>
                <a:gd name="T15" fmla="*/ 8 h 15"/>
                <a:gd name="T16" fmla="*/ 0 w 10"/>
                <a:gd name="T17" fmla="*/ 12 h 15"/>
                <a:gd name="T18" fmla="*/ 5 w 10"/>
                <a:gd name="T19" fmla="*/ 12 h 15"/>
                <a:gd name="T20" fmla="*/ 7 w 10"/>
                <a:gd name="T21" fmla="*/ 15 h 15"/>
                <a:gd name="T22" fmla="*/ 10 w 10"/>
                <a:gd name="T23" fmla="*/ 12 h 15"/>
                <a:gd name="T24" fmla="*/ 7 w 10"/>
                <a:gd name="T25" fmla="*/ 12 h 15"/>
                <a:gd name="T26" fmla="*/ 5 w 10"/>
                <a:gd name="T27" fmla="*/ 10 h 15"/>
                <a:gd name="T28" fmla="*/ 7 w 10"/>
                <a:gd name="T29" fmla="*/ 8 h 15"/>
                <a:gd name="T30" fmla="*/ 10 w 10"/>
                <a:gd name="T31" fmla="*/ 5 h 15"/>
                <a:gd name="T32" fmla="*/ 10 w 10"/>
                <a:gd name="T33" fmla="*/ 5 h 15"/>
                <a:gd name="T34" fmla="*/ 7 w 10"/>
                <a:gd name="T3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5">
                  <a:moveTo>
                    <a:pt x="7" y="3"/>
                  </a:moveTo>
                  <a:lnTo>
                    <a:pt x="5" y="3"/>
                  </a:lnTo>
                  <a:lnTo>
                    <a:pt x="5" y="0"/>
                  </a:lnTo>
                  <a:lnTo>
                    <a:pt x="2" y="3"/>
                  </a:lnTo>
                  <a:lnTo>
                    <a:pt x="2" y="3"/>
                  </a:lnTo>
                  <a:lnTo>
                    <a:pt x="2" y="5"/>
                  </a:lnTo>
                  <a:lnTo>
                    <a:pt x="0" y="5"/>
                  </a:lnTo>
                  <a:lnTo>
                    <a:pt x="0" y="8"/>
                  </a:lnTo>
                  <a:lnTo>
                    <a:pt x="0" y="12"/>
                  </a:lnTo>
                  <a:lnTo>
                    <a:pt x="5" y="12"/>
                  </a:lnTo>
                  <a:lnTo>
                    <a:pt x="7" y="15"/>
                  </a:lnTo>
                  <a:lnTo>
                    <a:pt x="10" y="12"/>
                  </a:lnTo>
                  <a:lnTo>
                    <a:pt x="7" y="12"/>
                  </a:lnTo>
                  <a:lnTo>
                    <a:pt x="5" y="10"/>
                  </a:lnTo>
                  <a:lnTo>
                    <a:pt x="7" y="8"/>
                  </a:lnTo>
                  <a:lnTo>
                    <a:pt x="10" y="5"/>
                  </a:lnTo>
                  <a:lnTo>
                    <a:pt x="10" y="5"/>
                  </a:lnTo>
                  <a:lnTo>
                    <a:pt x="7"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1" name="Freeform 93">
              <a:extLst>
                <a:ext uri="{FF2B5EF4-FFF2-40B4-BE49-F238E27FC236}">
                  <a16:creationId xmlns:a16="http://schemas.microsoft.com/office/drawing/2014/main" id="{FA8C7D6B-27E6-455F-BD0C-0850C41F3787}"/>
                </a:ext>
              </a:extLst>
            </p:cNvPr>
            <p:cNvSpPr>
              <a:spLocks/>
            </p:cNvSpPr>
            <p:nvPr/>
          </p:nvSpPr>
          <p:spPr bwMode="auto">
            <a:xfrm>
              <a:off x="1818529" y="2425665"/>
              <a:ext cx="15875" cy="23812"/>
            </a:xfrm>
            <a:custGeom>
              <a:avLst/>
              <a:gdLst>
                <a:gd name="T0" fmla="*/ 7 w 10"/>
                <a:gd name="T1" fmla="*/ 3 h 15"/>
                <a:gd name="T2" fmla="*/ 5 w 10"/>
                <a:gd name="T3" fmla="*/ 3 h 15"/>
                <a:gd name="T4" fmla="*/ 5 w 10"/>
                <a:gd name="T5" fmla="*/ 0 h 15"/>
                <a:gd name="T6" fmla="*/ 2 w 10"/>
                <a:gd name="T7" fmla="*/ 3 h 15"/>
                <a:gd name="T8" fmla="*/ 2 w 10"/>
                <a:gd name="T9" fmla="*/ 3 h 15"/>
                <a:gd name="T10" fmla="*/ 2 w 10"/>
                <a:gd name="T11" fmla="*/ 5 h 15"/>
                <a:gd name="T12" fmla="*/ 0 w 10"/>
                <a:gd name="T13" fmla="*/ 5 h 15"/>
                <a:gd name="T14" fmla="*/ 0 w 10"/>
                <a:gd name="T15" fmla="*/ 8 h 15"/>
                <a:gd name="T16" fmla="*/ 0 w 10"/>
                <a:gd name="T17" fmla="*/ 12 h 15"/>
                <a:gd name="T18" fmla="*/ 5 w 10"/>
                <a:gd name="T19" fmla="*/ 12 h 15"/>
                <a:gd name="T20" fmla="*/ 7 w 10"/>
                <a:gd name="T21" fmla="*/ 15 h 15"/>
                <a:gd name="T22" fmla="*/ 10 w 10"/>
                <a:gd name="T23" fmla="*/ 12 h 15"/>
                <a:gd name="T24" fmla="*/ 7 w 10"/>
                <a:gd name="T25" fmla="*/ 12 h 15"/>
                <a:gd name="T26" fmla="*/ 5 w 10"/>
                <a:gd name="T27" fmla="*/ 10 h 15"/>
                <a:gd name="T28" fmla="*/ 7 w 10"/>
                <a:gd name="T29" fmla="*/ 8 h 15"/>
                <a:gd name="T30" fmla="*/ 10 w 10"/>
                <a:gd name="T31" fmla="*/ 5 h 15"/>
                <a:gd name="T32" fmla="*/ 10 w 10"/>
                <a:gd name="T33" fmla="*/ 5 h 15"/>
                <a:gd name="T34" fmla="*/ 7 w 10"/>
                <a:gd name="T3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5">
                  <a:moveTo>
                    <a:pt x="7" y="3"/>
                  </a:moveTo>
                  <a:lnTo>
                    <a:pt x="5" y="3"/>
                  </a:lnTo>
                  <a:lnTo>
                    <a:pt x="5" y="0"/>
                  </a:lnTo>
                  <a:lnTo>
                    <a:pt x="2" y="3"/>
                  </a:lnTo>
                  <a:lnTo>
                    <a:pt x="2" y="3"/>
                  </a:lnTo>
                  <a:lnTo>
                    <a:pt x="2" y="5"/>
                  </a:lnTo>
                  <a:lnTo>
                    <a:pt x="0" y="5"/>
                  </a:lnTo>
                  <a:lnTo>
                    <a:pt x="0" y="8"/>
                  </a:lnTo>
                  <a:lnTo>
                    <a:pt x="0" y="12"/>
                  </a:lnTo>
                  <a:lnTo>
                    <a:pt x="5" y="12"/>
                  </a:lnTo>
                  <a:lnTo>
                    <a:pt x="7" y="15"/>
                  </a:lnTo>
                  <a:lnTo>
                    <a:pt x="10" y="12"/>
                  </a:lnTo>
                  <a:lnTo>
                    <a:pt x="7" y="12"/>
                  </a:lnTo>
                  <a:lnTo>
                    <a:pt x="5" y="10"/>
                  </a:lnTo>
                  <a:lnTo>
                    <a:pt x="7" y="8"/>
                  </a:lnTo>
                  <a:lnTo>
                    <a:pt x="10" y="5"/>
                  </a:lnTo>
                  <a:lnTo>
                    <a:pt x="10" y="5"/>
                  </a:lnTo>
                  <a:lnTo>
                    <a:pt x="7"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2" name="Freeform 94">
              <a:extLst>
                <a:ext uri="{FF2B5EF4-FFF2-40B4-BE49-F238E27FC236}">
                  <a16:creationId xmlns:a16="http://schemas.microsoft.com/office/drawing/2014/main" id="{29DBBDB0-2CB2-4370-B36F-111FFB5442EF}"/>
                </a:ext>
              </a:extLst>
            </p:cNvPr>
            <p:cNvSpPr>
              <a:spLocks/>
            </p:cNvSpPr>
            <p:nvPr/>
          </p:nvSpPr>
          <p:spPr bwMode="auto">
            <a:xfrm>
              <a:off x="1875678" y="2438365"/>
              <a:ext cx="3175" cy="6350"/>
            </a:xfrm>
            <a:custGeom>
              <a:avLst/>
              <a:gdLst>
                <a:gd name="T0" fmla="*/ 2 w 2"/>
                <a:gd name="T1" fmla="*/ 0 h 4"/>
                <a:gd name="T2" fmla="*/ 2 w 2"/>
                <a:gd name="T3" fmla="*/ 0 h 4"/>
                <a:gd name="T4" fmla="*/ 0 w 2"/>
                <a:gd name="T5" fmla="*/ 0 h 4"/>
                <a:gd name="T6" fmla="*/ 0 w 2"/>
                <a:gd name="T7" fmla="*/ 2 h 4"/>
                <a:gd name="T8" fmla="*/ 2 w 2"/>
                <a:gd name="T9" fmla="*/ 4 h 4"/>
                <a:gd name="T10" fmla="*/ 2 w 2"/>
                <a:gd name="T11" fmla="*/ 4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0"/>
                  </a:lnTo>
                  <a:lnTo>
                    <a:pt x="0" y="0"/>
                  </a:lnTo>
                  <a:lnTo>
                    <a:pt x="0" y="2"/>
                  </a:lnTo>
                  <a:lnTo>
                    <a:pt x="2" y="4"/>
                  </a:lnTo>
                  <a:lnTo>
                    <a:pt x="2" y="4"/>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3" name="Freeform 95">
              <a:extLst>
                <a:ext uri="{FF2B5EF4-FFF2-40B4-BE49-F238E27FC236}">
                  <a16:creationId xmlns:a16="http://schemas.microsoft.com/office/drawing/2014/main" id="{D5D6DFC2-06E4-4746-8860-34515362FD0C}"/>
                </a:ext>
              </a:extLst>
            </p:cNvPr>
            <p:cNvSpPr>
              <a:spLocks/>
            </p:cNvSpPr>
            <p:nvPr/>
          </p:nvSpPr>
          <p:spPr bwMode="auto">
            <a:xfrm>
              <a:off x="1875678" y="2438365"/>
              <a:ext cx="3175" cy="6350"/>
            </a:xfrm>
            <a:custGeom>
              <a:avLst/>
              <a:gdLst>
                <a:gd name="T0" fmla="*/ 2 w 2"/>
                <a:gd name="T1" fmla="*/ 0 h 4"/>
                <a:gd name="T2" fmla="*/ 2 w 2"/>
                <a:gd name="T3" fmla="*/ 0 h 4"/>
                <a:gd name="T4" fmla="*/ 0 w 2"/>
                <a:gd name="T5" fmla="*/ 0 h 4"/>
                <a:gd name="T6" fmla="*/ 0 w 2"/>
                <a:gd name="T7" fmla="*/ 2 h 4"/>
                <a:gd name="T8" fmla="*/ 2 w 2"/>
                <a:gd name="T9" fmla="*/ 4 h 4"/>
                <a:gd name="T10" fmla="*/ 2 w 2"/>
                <a:gd name="T11" fmla="*/ 4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0"/>
                  </a:lnTo>
                  <a:lnTo>
                    <a:pt x="0" y="0"/>
                  </a:lnTo>
                  <a:lnTo>
                    <a:pt x="0" y="2"/>
                  </a:lnTo>
                  <a:lnTo>
                    <a:pt x="2" y="4"/>
                  </a:lnTo>
                  <a:lnTo>
                    <a:pt x="2" y="4"/>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4" name="Freeform 96">
              <a:extLst>
                <a:ext uri="{FF2B5EF4-FFF2-40B4-BE49-F238E27FC236}">
                  <a16:creationId xmlns:a16="http://schemas.microsoft.com/office/drawing/2014/main" id="{93729BBA-91B2-4C54-B7CC-FCC6597B24B9}"/>
                </a:ext>
              </a:extLst>
            </p:cNvPr>
            <p:cNvSpPr>
              <a:spLocks/>
            </p:cNvSpPr>
            <p:nvPr/>
          </p:nvSpPr>
          <p:spPr bwMode="auto">
            <a:xfrm>
              <a:off x="1893140" y="2433602"/>
              <a:ext cx="11113" cy="15875"/>
            </a:xfrm>
            <a:custGeom>
              <a:avLst/>
              <a:gdLst>
                <a:gd name="T0" fmla="*/ 5 w 7"/>
                <a:gd name="T1" fmla="*/ 10 h 10"/>
                <a:gd name="T2" fmla="*/ 7 w 7"/>
                <a:gd name="T3" fmla="*/ 7 h 10"/>
                <a:gd name="T4" fmla="*/ 7 w 7"/>
                <a:gd name="T5" fmla="*/ 5 h 10"/>
                <a:gd name="T6" fmla="*/ 7 w 7"/>
                <a:gd name="T7" fmla="*/ 0 h 10"/>
                <a:gd name="T8" fmla="*/ 7 w 7"/>
                <a:gd name="T9" fmla="*/ 3 h 10"/>
                <a:gd name="T10" fmla="*/ 3 w 7"/>
                <a:gd name="T11" fmla="*/ 3 h 10"/>
                <a:gd name="T12" fmla="*/ 3 w 7"/>
                <a:gd name="T13" fmla="*/ 5 h 10"/>
                <a:gd name="T14" fmla="*/ 0 w 7"/>
                <a:gd name="T15" fmla="*/ 7 h 10"/>
                <a:gd name="T16" fmla="*/ 0 w 7"/>
                <a:gd name="T17" fmla="*/ 10 h 10"/>
                <a:gd name="T18" fmla="*/ 3 w 7"/>
                <a:gd name="T19" fmla="*/ 7 h 10"/>
                <a:gd name="T20" fmla="*/ 5 w 7"/>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5" y="10"/>
                  </a:moveTo>
                  <a:lnTo>
                    <a:pt x="7" y="7"/>
                  </a:lnTo>
                  <a:lnTo>
                    <a:pt x="7" y="5"/>
                  </a:lnTo>
                  <a:lnTo>
                    <a:pt x="7" y="0"/>
                  </a:lnTo>
                  <a:lnTo>
                    <a:pt x="7" y="3"/>
                  </a:lnTo>
                  <a:lnTo>
                    <a:pt x="3" y="3"/>
                  </a:lnTo>
                  <a:lnTo>
                    <a:pt x="3" y="5"/>
                  </a:lnTo>
                  <a:lnTo>
                    <a:pt x="0" y="7"/>
                  </a:lnTo>
                  <a:lnTo>
                    <a:pt x="0" y="10"/>
                  </a:lnTo>
                  <a:lnTo>
                    <a:pt x="3" y="7"/>
                  </a:lnTo>
                  <a:lnTo>
                    <a:pt x="5"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5" name="Freeform 97">
              <a:extLst>
                <a:ext uri="{FF2B5EF4-FFF2-40B4-BE49-F238E27FC236}">
                  <a16:creationId xmlns:a16="http://schemas.microsoft.com/office/drawing/2014/main" id="{023EB307-B4DC-4ED0-9DD6-AA0C9EAA2CE3}"/>
                </a:ext>
              </a:extLst>
            </p:cNvPr>
            <p:cNvSpPr>
              <a:spLocks/>
            </p:cNvSpPr>
            <p:nvPr/>
          </p:nvSpPr>
          <p:spPr bwMode="auto">
            <a:xfrm>
              <a:off x="1893140" y="2433602"/>
              <a:ext cx="11113" cy="15875"/>
            </a:xfrm>
            <a:custGeom>
              <a:avLst/>
              <a:gdLst>
                <a:gd name="T0" fmla="*/ 5 w 7"/>
                <a:gd name="T1" fmla="*/ 10 h 10"/>
                <a:gd name="T2" fmla="*/ 7 w 7"/>
                <a:gd name="T3" fmla="*/ 7 h 10"/>
                <a:gd name="T4" fmla="*/ 7 w 7"/>
                <a:gd name="T5" fmla="*/ 5 h 10"/>
                <a:gd name="T6" fmla="*/ 7 w 7"/>
                <a:gd name="T7" fmla="*/ 0 h 10"/>
                <a:gd name="T8" fmla="*/ 7 w 7"/>
                <a:gd name="T9" fmla="*/ 3 h 10"/>
                <a:gd name="T10" fmla="*/ 3 w 7"/>
                <a:gd name="T11" fmla="*/ 3 h 10"/>
                <a:gd name="T12" fmla="*/ 3 w 7"/>
                <a:gd name="T13" fmla="*/ 5 h 10"/>
                <a:gd name="T14" fmla="*/ 0 w 7"/>
                <a:gd name="T15" fmla="*/ 7 h 10"/>
                <a:gd name="T16" fmla="*/ 0 w 7"/>
                <a:gd name="T17" fmla="*/ 10 h 10"/>
                <a:gd name="T18" fmla="*/ 3 w 7"/>
                <a:gd name="T19" fmla="*/ 7 h 10"/>
                <a:gd name="T20" fmla="*/ 5 w 7"/>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5" y="10"/>
                  </a:moveTo>
                  <a:lnTo>
                    <a:pt x="7" y="7"/>
                  </a:lnTo>
                  <a:lnTo>
                    <a:pt x="7" y="5"/>
                  </a:lnTo>
                  <a:lnTo>
                    <a:pt x="7" y="0"/>
                  </a:lnTo>
                  <a:lnTo>
                    <a:pt x="7" y="3"/>
                  </a:lnTo>
                  <a:lnTo>
                    <a:pt x="3" y="3"/>
                  </a:lnTo>
                  <a:lnTo>
                    <a:pt x="3" y="5"/>
                  </a:lnTo>
                  <a:lnTo>
                    <a:pt x="0" y="7"/>
                  </a:lnTo>
                  <a:lnTo>
                    <a:pt x="0" y="10"/>
                  </a:lnTo>
                  <a:lnTo>
                    <a:pt x="3" y="7"/>
                  </a:lnTo>
                  <a:lnTo>
                    <a:pt x="5"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6" name="Freeform 98">
              <a:extLst>
                <a:ext uri="{FF2B5EF4-FFF2-40B4-BE49-F238E27FC236}">
                  <a16:creationId xmlns:a16="http://schemas.microsoft.com/office/drawing/2014/main" id="{A893CFD0-C6FF-4C01-935E-A2D0C1A24970}"/>
                </a:ext>
              </a:extLst>
            </p:cNvPr>
            <p:cNvSpPr>
              <a:spLocks/>
            </p:cNvSpPr>
            <p:nvPr/>
          </p:nvSpPr>
          <p:spPr bwMode="auto">
            <a:xfrm>
              <a:off x="1623266" y="3386103"/>
              <a:ext cx="87312" cy="57150"/>
            </a:xfrm>
            <a:custGeom>
              <a:avLst/>
              <a:gdLst>
                <a:gd name="T0" fmla="*/ 55 w 55"/>
                <a:gd name="T1" fmla="*/ 0 h 36"/>
                <a:gd name="T2" fmla="*/ 52 w 55"/>
                <a:gd name="T3" fmla="*/ 0 h 36"/>
                <a:gd name="T4" fmla="*/ 55 w 55"/>
                <a:gd name="T5" fmla="*/ 2 h 36"/>
                <a:gd name="T6" fmla="*/ 52 w 55"/>
                <a:gd name="T7" fmla="*/ 5 h 36"/>
                <a:gd name="T8" fmla="*/ 47 w 55"/>
                <a:gd name="T9" fmla="*/ 12 h 36"/>
                <a:gd name="T10" fmla="*/ 45 w 55"/>
                <a:gd name="T11" fmla="*/ 19 h 36"/>
                <a:gd name="T12" fmla="*/ 45 w 55"/>
                <a:gd name="T13" fmla="*/ 21 h 36"/>
                <a:gd name="T14" fmla="*/ 47 w 55"/>
                <a:gd name="T15" fmla="*/ 24 h 36"/>
                <a:gd name="T16" fmla="*/ 47 w 55"/>
                <a:gd name="T17" fmla="*/ 24 h 36"/>
                <a:gd name="T18" fmla="*/ 47 w 55"/>
                <a:gd name="T19" fmla="*/ 28 h 36"/>
                <a:gd name="T20" fmla="*/ 47 w 55"/>
                <a:gd name="T21" fmla="*/ 33 h 36"/>
                <a:gd name="T22" fmla="*/ 45 w 55"/>
                <a:gd name="T23" fmla="*/ 36 h 36"/>
                <a:gd name="T24" fmla="*/ 40 w 55"/>
                <a:gd name="T25" fmla="*/ 36 h 36"/>
                <a:gd name="T26" fmla="*/ 38 w 55"/>
                <a:gd name="T27" fmla="*/ 36 h 36"/>
                <a:gd name="T28" fmla="*/ 33 w 55"/>
                <a:gd name="T29" fmla="*/ 33 h 36"/>
                <a:gd name="T30" fmla="*/ 31 w 55"/>
                <a:gd name="T31" fmla="*/ 28 h 36"/>
                <a:gd name="T32" fmla="*/ 26 w 55"/>
                <a:gd name="T33" fmla="*/ 26 h 36"/>
                <a:gd name="T34" fmla="*/ 24 w 55"/>
                <a:gd name="T35" fmla="*/ 26 h 36"/>
                <a:gd name="T36" fmla="*/ 21 w 55"/>
                <a:gd name="T37" fmla="*/ 26 h 36"/>
                <a:gd name="T38" fmla="*/ 19 w 55"/>
                <a:gd name="T39" fmla="*/ 24 h 36"/>
                <a:gd name="T40" fmla="*/ 14 w 55"/>
                <a:gd name="T41" fmla="*/ 21 h 36"/>
                <a:gd name="T42" fmla="*/ 12 w 55"/>
                <a:gd name="T43" fmla="*/ 19 h 36"/>
                <a:gd name="T44" fmla="*/ 7 w 55"/>
                <a:gd name="T45" fmla="*/ 17 h 36"/>
                <a:gd name="T46" fmla="*/ 3 w 55"/>
                <a:gd name="T47" fmla="*/ 17 h 36"/>
                <a:gd name="T48" fmla="*/ 0 w 55"/>
                <a:gd name="T49" fmla="*/ 14 h 36"/>
                <a:gd name="T50" fmla="*/ 0 w 55"/>
                <a:gd name="T51" fmla="*/ 10 h 36"/>
                <a:gd name="T52" fmla="*/ 0 w 55"/>
                <a:gd name="T53" fmla="*/ 7 h 36"/>
                <a:gd name="T54" fmla="*/ 0 w 55"/>
                <a:gd name="T55" fmla="*/ 5 h 36"/>
                <a:gd name="T56" fmla="*/ 3 w 55"/>
                <a:gd name="T57" fmla="*/ 5 h 36"/>
                <a:gd name="T58" fmla="*/ 3 w 55"/>
                <a:gd name="T59" fmla="*/ 2 h 36"/>
                <a:gd name="T60" fmla="*/ 5 w 55"/>
                <a:gd name="T61" fmla="*/ 5 h 36"/>
                <a:gd name="T62" fmla="*/ 7 w 55"/>
                <a:gd name="T63" fmla="*/ 5 h 36"/>
                <a:gd name="T64" fmla="*/ 12 w 55"/>
                <a:gd name="T65" fmla="*/ 2 h 36"/>
                <a:gd name="T66" fmla="*/ 19 w 55"/>
                <a:gd name="T67" fmla="*/ 5 h 36"/>
                <a:gd name="T68" fmla="*/ 21 w 55"/>
                <a:gd name="T69" fmla="*/ 7 h 36"/>
                <a:gd name="T70" fmla="*/ 24 w 55"/>
                <a:gd name="T71" fmla="*/ 7 h 36"/>
                <a:gd name="T72" fmla="*/ 26 w 55"/>
                <a:gd name="T73" fmla="*/ 7 h 36"/>
                <a:gd name="T74" fmla="*/ 36 w 55"/>
                <a:gd name="T75" fmla="*/ 5 h 36"/>
                <a:gd name="T76" fmla="*/ 38 w 55"/>
                <a:gd name="T77" fmla="*/ 5 h 36"/>
                <a:gd name="T78" fmla="*/ 40 w 55"/>
                <a:gd name="T79" fmla="*/ 2 h 36"/>
                <a:gd name="T80" fmla="*/ 47 w 55"/>
                <a:gd name="T81" fmla="*/ 2 h 36"/>
                <a:gd name="T82" fmla="*/ 47 w 55"/>
                <a:gd name="T83" fmla="*/ 2 h 36"/>
                <a:gd name="T84" fmla="*/ 52 w 55"/>
                <a:gd name="T85" fmla="*/ 2 h 36"/>
                <a:gd name="T86" fmla="*/ 55 w 55"/>
                <a:gd name="T8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 h="36">
                  <a:moveTo>
                    <a:pt x="55" y="0"/>
                  </a:moveTo>
                  <a:lnTo>
                    <a:pt x="52" y="0"/>
                  </a:lnTo>
                  <a:lnTo>
                    <a:pt x="55" y="2"/>
                  </a:lnTo>
                  <a:lnTo>
                    <a:pt x="52" y="5"/>
                  </a:lnTo>
                  <a:lnTo>
                    <a:pt x="47" y="12"/>
                  </a:lnTo>
                  <a:lnTo>
                    <a:pt x="45" y="19"/>
                  </a:lnTo>
                  <a:lnTo>
                    <a:pt x="45" y="21"/>
                  </a:lnTo>
                  <a:lnTo>
                    <a:pt x="47" y="24"/>
                  </a:lnTo>
                  <a:lnTo>
                    <a:pt x="47" y="24"/>
                  </a:lnTo>
                  <a:lnTo>
                    <a:pt x="47" y="28"/>
                  </a:lnTo>
                  <a:lnTo>
                    <a:pt x="47" y="33"/>
                  </a:lnTo>
                  <a:lnTo>
                    <a:pt x="45" y="36"/>
                  </a:lnTo>
                  <a:lnTo>
                    <a:pt x="40" y="36"/>
                  </a:lnTo>
                  <a:lnTo>
                    <a:pt x="38" y="36"/>
                  </a:lnTo>
                  <a:lnTo>
                    <a:pt x="33" y="33"/>
                  </a:lnTo>
                  <a:lnTo>
                    <a:pt x="31" y="28"/>
                  </a:lnTo>
                  <a:lnTo>
                    <a:pt x="26" y="26"/>
                  </a:lnTo>
                  <a:lnTo>
                    <a:pt x="24" y="26"/>
                  </a:lnTo>
                  <a:lnTo>
                    <a:pt x="21" y="26"/>
                  </a:lnTo>
                  <a:lnTo>
                    <a:pt x="19" y="24"/>
                  </a:lnTo>
                  <a:lnTo>
                    <a:pt x="14" y="21"/>
                  </a:lnTo>
                  <a:lnTo>
                    <a:pt x="12" y="19"/>
                  </a:lnTo>
                  <a:lnTo>
                    <a:pt x="7" y="17"/>
                  </a:lnTo>
                  <a:lnTo>
                    <a:pt x="3" y="17"/>
                  </a:lnTo>
                  <a:lnTo>
                    <a:pt x="0" y="14"/>
                  </a:lnTo>
                  <a:lnTo>
                    <a:pt x="0" y="10"/>
                  </a:lnTo>
                  <a:lnTo>
                    <a:pt x="0" y="7"/>
                  </a:lnTo>
                  <a:lnTo>
                    <a:pt x="0" y="5"/>
                  </a:lnTo>
                  <a:lnTo>
                    <a:pt x="3" y="5"/>
                  </a:lnTo>
                  <a:lnTo>
                    <a:pt x="3" y="2"/>
                  </a:lnTo>
                  <a:lnTo>
                    <a:pt x="5" y="5"/>
                  </a:lnTo>
                  <a:lnTo>
                    <a:pt x="7" y="5"/>
                  </a:lnTo>
                  <a:lnTo>
                    <a:pt x="12" y="2"/>
                  </a:lnTo>
                  <a:lnTo>
                    <a:pt x="19" y="5"/>
                  </a:lnTo>
                  <a:lnTo>
                    <a:pt x="21" y="7"/>
                  </a:lnTo>
                  <a:lnTo>
                    <a:pt x="24" y="7"/>
                  </a:lnTo>
                  <a:lnTo>
                    <a:pt x="26" y="7"/>
                  </a:lnTo>
                  <a:lnTo>
                    <a:pt x="36" y="5"/>
                  </a:lnTo>
                  <a:lnTo>
                    <a:pt x="38" y="5"/>
                  </a:lnTo>
                  <a:lnTo>
                    <a:pt x="40" y="2"/>
                  </a:lnTo>
                  <a:lnTo>
                    <a:pt x="47" y="2"/>
                  </a:lnTo>
                  <a:lnTo>
                    <a:pt x="47" y="2"/>
                  </a:lnTo>
                  <a:lnTo>
                    <a:pt x="52" y="2"/>
                  </a:lnTo>
                  <a:lnTo>
                    <a:pt x="5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7" name="Freeform 99">
              <a:extLst>
                <a:ext uri="{FF2B5EF4-FFF2-40B4-BE49-F238E27FC236}">
                  <a16:creationId xmlns:a16="http://schemas.microsoft.com/office/drawing/2014/main" id="{50BFDD0A-FEDD-4B37-9B07-2363DBD7FF73}"/>
                </a:ext>
              </a:extLst>
            </p:cNvPr>
            <p:cNvSpPr>
              <a:spLocks/>
            </p:cNvSpPr>
            <p:nvPr/>
          </p:nvSpPr>
          <p:spPr bwMode="auto">
            <a:xfrm>
              <a:off x="1623266" y="3386103"/>
              <a:ext cx="87312" cy="57150"/>
            </a:xfrm>
            <a:custGeom>
              <a:avLst/>
              <a:gdLst>
                <a:gd name="T0" fmla="*/ 55 w 55"/>
                <a:gd name="T1" fmla="*/ 0 h 36"/>
                <a:gd name="T2" fmla="*/ 52 w 55"/>
                <a:gd name="T3" fmla="*/ 0 h 36"/>
                <a:gd name="T4" fmla="*/ 55 w 55"/>
                <a:gd name="T5" fmla="*/ 2 h 36"/>
                <a:gd name="T6" fmla="*/ 52 w 55"/>
                <a:gd name="T7" fmla="*/ 5 h 36"/>
                <a:gd name="T8" fmla="*/ 47 w 55"/>
                <a:gd name="T9" fmla="*/ 12 h 36"/>
                <a:gd name="T10" fmla="*/ 45 w 55"/>
                <a:gd name="T11" fmla="*/ 19 h 36"/>
                <a:gd name="T12" fmla="*/ 45 w 55"/>
                <a:gd name="T13" fmla="*/ 21 h 36"/>
                <a:gd name="T14" fmla="*/ 47 w 55"/>
                <a:gd name="T15" fmla="*/ 24 h 36"/>
                <a:gd name="T16" fmla="*/ 47 w 55"/>
                <a:gd name="T17" fmla="*/ 24 h 36"/>
                <a:gd name="T18" fmla="*/ 47 w 55"/>
                <a:gd name="T19" fmla="*/ 28 h 36"/>
                <a:gd name="T20" fmla="*/ 47 w 55"/>
                <a:gd name="T21" fmla="*/ 33 h 36"/>
                <a:gd name="T22" fmla="*/ 45 w 55"/>
                <a:gd name="T23" fmla="*/ 36 h 36"/>
                <a:gd name="T24" fmla="*/ 40 w 55"/>
                <a:gd name="T25" fmla="*/ 36 h 36"/>
                <a:gd name="T26" fmla="*/ 38 w 55"/>
                <a:gd name="T27" fmla="*/ 36 h 36"/>
                <a:gd name="T28" fmla="*/ 33 w 55"/>
                <a:gd name="T29" fmla="*/ 33 h 36"/>
                <a:gd name="T30" fmla="*/ 31 w 55"/>
                <a:gd name="T31" fmla="*/ 28 h 36"/>
                <a:gd name="T32" fmla="*/ 26 w 55"/>
                <a:gd name="T33" fmla="*/ 26 h 36"/>
                <a:gd name="T34" fmla="*/ 24 w 55"/>
                <a:gd name="T35" fmla="*/ 26 h 36"/>
                <a:gd name="T36" fmla="*/ 21 w 55"/>
                <a:gd name="T37" fmla="*/ 26 h 36"/>
                <a:gd name="T38" fmla="*/ 19 w 55"/>
                <a:gd name="T39" fmla="*/ 24 h 36"/>
                <a:gd name="T40" fmla="*/ 14 w 55"/>
                <a:gd name="T41" fmla="*/ 21 h 36"/>
                <a:gd name="T42" fmla="*/ 12 w 55"/>
                <a:gd name="T43" fmla="*/ 19 h 36"/>
                <a:gd name="T44" fmla="*/ 7 w 55"/>
                <a:gd name="T45" fmla="*/ 17 h 36"/>
                <a:gd name="T46" fmla="*/ 3 w 55"/>
                <a:gd name="T47" fmla="*/ 17 h 36"/>
                <a:gd name="T48" fmla="*/ 0 w 55"/>
                <a:gd name="T49" fmla="*/ 14 h 36"/>
                <a:gd name="T50" fmla="*/ 0 w 55"/>
                <a:gd name="T51" fmla="*/ 10 h 36"/>
                <a:gd name="T52" fmla="*/ 0 w 55"/>
                <a:gd name="T53" fmla="*/ 7 h 36"/>
                <a:gd name="T54" fmla="*/ 0 w 55"/>
                <a:gd name="T55" fmla="*/ 5 h 36"/>
                <a:gd name="T56" fmla="*/ 3 w 55"/>
                <a:gd name="T57" fmla="*/ 5 h 36"/>
                <a:gd name="T58" fmla="*/ 3 w 55"/>
                <a:gd name="T59" fmla="*/ 2 h 36"/>
                <a:gd name="T60" fmla="*/ 5 w 55"/>
                <a:gd name="T61" fmla="*/ 5 h 36"/>
                <a:gd name="T62" fmla="*/ 7 w 55"/>
                <a:gd name="T63" fmla="*/ 5 h 36"/>
                <a:gd name="T64" fmla="*/ 12 w 55"/>
                <a:gd name="T65" fmla="*/ 2 h 36"/>
                <a:gd name="T66" fmla="*/ 19 w 55"/>
                <a:gd name="T67" fmla="*/ 5 h 36"/>
                <a:gd name="T68" fmla="*/ 21 w 55"/>
                <a:gd name="T69" fmla="*/ 7 h 36"/>
                <a:gd name="T70" fmla="*/ 24 w 55"/>
                <a:gd name="T71" fmla="*/ 7 h 36"/>
                <a:gd name="T72" fmla="*/ 26 w 55"/>
                <a:gd name="T73" fmla="*/ 7 h 36"/>
                <a:gd name="T74" fmla="*/ 36 w 55"/>
                <a:gd name="T75" fmla="*/ 5 h 36"/>
                <a:gd name="T76" fmla="*/ 38 w 55"/>
                <a:gd name="T77" fmla="*/ 5 h 36"/>
                <a:gd name="T78" fmla="*/ 40 w 55"/>
                <a:gd name="T79" fmla="*/ 2 h 36"/>
                <a:gd name="T80" fmla="*/ 47 w 55"/>
                <a:gd name="T81" fmla="*/ 2 h 36"/>
                <a:gd name="T82" fmla="*/ 47 w 55"/>
                <a:gd name="T83" fmla="*/ 2 h 36"/>
                <a:gd name="T84" fmla="*/ 52 w 55"/>
                <a:gd name="T85" fmla="*/ 2 h 36"/>
                <a:gd name="T86" fmla="*/ 55 w 55"/>
                <a:gd name="T8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 h="36">
                  <a:moveTo>
                    <a:pt x="55" y="0"/>
                  </a:moveTo>
                  <a:lnTo>
                    <a:pt x="52" y="0"/>
                  </a:lnTo>
                  <a:lnTo>
                    <a:pt x="55" y="2"/>
                  </a:lnTo>
                  <a:lnTo>
                    <a:pt x="52" y="5"/>
                  </a:lnTo>
                  <a:lnTo>
                    <a:pt x="47" y="12"/>
                  </a:lnTo>
                  <a:lnTo>
                    <a:pt x="45" y="19"/>
                  </a:lnTo>
                  <a:lnTo>
                    <a:pt x="45" y="21"/>
                  </a:lnTo>
                  <a:lnTo>
                    <a:pt x="47" y="24"/>
                  </a:lnTo>
                  <a:lnTo>
                    <a:pt x="47" y="24"/>
                  </a:lnTo>
                  <a:lnTo>
                    <a:pt x="47" y="28"/>
                  </a:lnTo>
                  <a:lnTo>
                    <a:pt x="47" y="33"/>
                  </a:lnTo>
                  <a:lnTo>
                    <a:pt x="45" y="36"/>
                  </a:lnTo>
                  <a:lnTo>
                    <a:pt x="40" y="36"/>
                  </a:lnTo>
                  <a:lnTo>
                    <a:pt x="38" y="36"/>
                  </a:lnTo>
                  <a:lnTo>
                    <a:pt x="33" y="33"/>
                  </a:lnTo>
                  <a:lnTo>
                    <a:pt x="31" y="28"/>
                  </a:lnTo>
                  <a:lnTo>
                    <a:pt x="26" y="26"/>
                  </a:lnTo>
                  <a:lnTo>
                    <a:pt x="24" y="26"/>
                  </a:lnTo>
                  <a:lnTo>
                    <a:pt x="21" y="26"/>
                  </a:lnTo>
                  <a:lnTo>
                    <a:pt x="19" y="24"/>
                  </a:lnTo>
                  <a:lnTo>
                    <a:pt x="14" y="21"/>
                  </a:lnTo>
                  <a:lnTo>
                    <a:pt x="12" y="19"/>
                  </a:lnTo>
                  <a:lnTo>
                    <a:pt x="7" y="17"/>
                  </a:lnTo>
                  <a:lnTo>
                    <a:pt x="3" y="17"/>
                  </a:lnTo>
                  <a:lnTo>
                    <a:pt x="0" y="14"/>
                  </a:lnTo>
                  <a:lnTo>
                    <a:pt x="0" y="10"/>
                  </a:lnTo>
                  <a:lnTo>
                    <a:pt x="0" y="7"/>
                  </a:lnTo>
                  <a:lnTo>
                    <a:pt x="0" y="5"/>
                  </a:lnTo>
                  <a:lnTo>
                    <a:pt x="3" y="5"/>
                  </a:lnTo>
                  <a:lnTo>
                    <a:pt x="3" y="2"/>
                  </a:lnTo>
                  <a:lnTo>
                    <a:pt x="5" y="5"/>
                  </a:lnTo>
                  <a:lnTo>
                    <a:pt x="7" y="5"/>
                  </a:lnTo>
                  <a:lnTo>
                    <a:pt x="12" y="2"/>
                  </a:lnTo>
                  <a:lnTo>
                    <a:pt x="19" y="5"/>
                  </a:lnTo>
                  <a:lnTo>
                    <a:pt x="21" y="7"/>
                  </a:lnTo>
                  <a:lnTo>
                    <a:pt x="24" y="7"/>
                  </a:lnTo>
                  <a:lnTo>
                    <a:pt x="26" y="7"/>
                  </a:lnTo>
                  <a:lnTo>
                    <a:pt x="36" y="5"/>
                  </a:lnTo>
                  <a:lnTo>
                    <a:pt x="38" y="5"/>
                  </a:lnTo>
                  <a:lnTo>
                    <a:pt x="40" y="2"/>
                  </a:lnTo>
                  <a:lnTo>
                    <a:pt x="47" y="2"/>
                  </a:lnTo>
                  <a:lnTo>
                    <a:pt x="47" y="2"/>
                  </a:lnTo>
                  <a:lnTo>
                    <a:pt x="52" y="2"/>
                  </a:lnTo>
                  <a:lnTo>
                    <a:pt x="5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8" name="Freeform 100">
              <a:extLst>
                <a:ext uri="{FF2B5EF4-FFF2-40B4-BE49-F238E27FC236}">
                  <a16:creationId xmlns:a16="http://schemas.microsoft.com/office/drawing/2014/main" id="{E0792F77-CD50-46EA-827D-75E397C8B4D9}"/>
                </a:ext>
              </a:extLst>
            </p:cNvPr>
            <p:cNvSpPr>
              <a:spLocks/>
            </p:cNvSpPr>
            <p:nvPr/>
          </p:nvSpPr>
          <p:spPr bwMode="auto">
            <a:xfrm>
              <a:off x="1504204" y="3281328"/>
              <a:ext cx="41275" cy="85725"/>
            </a:xfrm>
            <a:custGeom>
              <a:avLst/>
              <a:gdLst>
                <a:gd name="T0" fmla="*/ 16 w 26"/>
                <a:gd name="T1" fmla="*/ 0 h 54"/>
                <a:gd name="T2" fmla="*/ 21 w 26"/>
                <a:gd name="T3" fmla="*/ 0 h 54"/>
                <a:gd name="T4" fmla="*/ 21 w 26"/>
                <a:gd name="T5" fmla="*/ 2 h 54"/>
                <a:gd name="T6" fmla="*/ 23 w 26"/>
                <a:gd name="T7" fmla="*/ 2 h 54"/>
                <a:gd name="T8" fmla="*/ 23 w 26"/>
                <a:gd name="T9" fmla="*/ 7 h 54"/>
                <a:gd name="T10" fmla="*/ 26 w 26"/>
                <a:gd name="T11" fmla="*/ 12 h 54"/>
                <a:gd name="T12" fmla="*/ 26 w 26"/>
                <a:gd name="T13" fmla="*/ 19 h 54"/>
                <a:gd name="T14" fmla="*/ 26 w 26"/>
                <a:gd name="T15" fmla="*/ 24 h 54"/>
                <a:gd name="T16" fmla="*/ 26 w 26"/>
                <a:gd name="T17" fmla="*/ 33 h 54"/>
                <a:gd name="T18" fmla="*/ 26 w 26"/>
                <a:gd name="T19" fmla="*/ 43 h 54"/>
                <a:gd name="T20" fmla="*/ 26 w 26"/>
                <a:gd name="T21" fmla="*/ 45 h 54"/>
                <a:gd name="T22" fmla="*/ 23 w 26"/>
                <a:gd name="T23" fmla="*/ 47 h 54"/>
                <a:gd name="T24" fmla="*/ 23 w 26"/>
                <a:gd name="T25" fmla="*/ 47 h 54"/>
                <a:gd name="T26" fmla="*/ 19 w 26"/>
                <a:gd name="T27" fmla="*/ 47 h 54"/>
                <a:gd name="T28" fmla="*/ 16 w 26"/>
                <a:gd name="T29" fmla="*/ 47 h 54"/>
                <a:gd name="T30" fmla="*/ 16 w 26"/>
                <a:gd name="T31" fmla="*/ 52 h 54"/>
                <a:gd name="T32" fmla="*/ 14 w 26"/>
                <a:gd name="T33" fmla="*/ 52 h 54"/>
                <a:gd name="T34" fmla="*/ 9 w 26"/>
                <a:gd name="T35" fmla="*/ 54 h 54"/>
                <a:gd name="T36" fmla="*/ 9 w 26"/>
                <a:gd name="T37" fmla="*/ 52 h 54"/>
                <a:gd name="T38" fmla="*/ 4 w 26"/>
                <a:gd name="T39" fmla="*/ 47 h 54"/>
                <a:gd name="T40" fmla="*/ 4 w 26"/>
                <a:gd name="T41" fmla="*/ 45 h 54"/>
                <a:gd name="T42" fmla="*/ 4 w 26"/>
                <a:gd name="T43" fmla="*/ 43 h 54"/>
                <a:gd name="T44" fmla="*/ 4 w 26"/>
                <a:gd name="T45" fmla="*/ 40 h 54"/>
                <a:gd name="T46" fmla="*/ 4 w 26"/>
                <a:gd name="T47" fmla="*/ 33 h 54"/>
                <a:gd name="T48" fmla="*/ 7 w 26"/>
                <a:gd name="T49" fmla="*/ 33 h 54"/>
                <a:gd name="T50" fmla="*/ 7 w 26"/>
                <a:gd name="T51" fmla="*/ 31 h 54"/>
                <a:gd name="T52" fmla="*/ 4 w 26"/>
                <a:gd name="T53" fmla="*/ 31 h 54"/>
                <a:gd name="T54" fmla="*/ 4 w 26"/>
                <a:gd name="T55" fmla="*/ 26 h 54"/>
                <a:gd name="T56" fmla="*/ 4 w 26"/>
                <a:gd name="T57" fmla="*/ 24 h 54"/>
                <a:gd name="T58" fmla="*/ 4 w 26"/>
                <a:gd name="T59" fmla="*/ 21 h 54"/>
                <a:gd name="T60" fmla="*/ 4 w 26"/>
                <a:gd name="T61" fmla="*/ 19 h 54"/>
                <a:gd name="T62" fmla="*/ 4 w 26"/>
                <a:gd name="T63" fmla="*/ 17 h 54"/>
                <a:gd name="T64" fmla="*/ 2 w 26"/>
                <a:gd name="T65" fmla="*/ 17 h 54"/>
                <a:gd name="T66" fmla="*/ 2 w 26"/>
                <a:gd name="T67" fmla="*/ 17 h 54"/>
                <a:gd name="T68" fmla="*/ 0 w 26"/>
                <a:gd name="T69" fmla="*/ 14 h 54"/>
                <a:gd name="T70" fmla="*/ 0 w 26"/>
                <a:gd name="T71" fmla="*/ 7 h 54"/>
                <a:gd name="T72" fmla="*/ 0 w 26"/>
                <a:gd name="T73" fmla="*/ 7 h 54"/>
                <a:gd name="T74" fmla="*/ 4 w 26"/>
                <a:gd name="T75" fmla="*/ 9 h 54"/>
                <a:gd name="T76" fmla="*/ 7 w 26"/>
                <a:gd name="T77" fmla="*/ 9 h 54"/>
                <a:gd name="T78" fmla="*/ 14 w 26"/>
                <a:gd name="T79" fmla="*/ 2 h 54"/>
                <a:gd name="T80" fmla="*/ 14 w 26"/>
                <a:gd name="T81" fmla="*/ 2 h 54"/>
                <a:gd name="T82" fmla="*/ 16 w 26"/>
                <a:gd name="T8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 h="54">
                  <a:moveTo>
                    <a:pt x="16" y="0"/>
                  </a:moveTo>
                  <a:lnTo>
                    <a:pt x="21" y="0"/>
                  </a:lnTo>
                  <a:lnTo>
                    <a:pt x="21" y="2"/>
                  </a:lnTo>
                  <a:lnTo>
                    <a:pt x="23" y="2"/>
                  </a:lnTo>
                  <a:lnTo>
                    <a:pt x="23" y="7"/>
                  </a:lnTo>
                  <a:lnTo>
                    <a:pt x="26" y="12"/>
                  </a:lnTo>
                  <a:lnTo>
                    <a:pt x="26" y="19"/>
                  </a:lnTo>
                  <a:lnTo>
                    <a:pt x="26" y="24"/>
                  </a:lnTo>
                  <a:lnTo>
                    <a:pt x="26" y="33"/>
                  </a:lnTo>
                  <a:lnTo>
                    <a:pt x="26" y="43"/>
                  </a:lnTo>
                  <a:lnTo>
                    <a:pt x="26" y="45"/>
                  </a:lnTo>
                  <a:lnTo>
                    <a:pt x="23" y="47"/>
                  </a:lnTo>
                  <a:lnTo>
                    <a:pt x="23" y="47"/>
                  </a:lnTo>
                  <a:lnTo>
                    <a:pt x="19" y="47"/>
                  </a:lnTo>
                  <a:lnTo>
                    <a:pt x="16" y="47"/>
                  </a:lnTo>
                  <a:lnTo>
                    <a:pt x="16" y="52"/>
                  </a:lnTo>
                  <a:lnTo>
                    <a:pt x="14" y="52"/>
                  </a:lnTo>
                  <a:lnTo>
                    <a:pt x="9" y="54"/>
                  </a:lnTo>
                  <a:lnTo>
                    <a:pt x="9" y="52"/>
                  </a:lnTo>
                  <a:lnTo>
                    <a:pt x="4" y="47"/>
                  </a:lnTo>
                  <a:lnTo>
                    <a:pt x="4" y="45"/>
                  </a:lnTo>
                  <a:lnTo>
                    <a:pt x="4" y="43"/>
                  </a:lnTo>
                  <a:lnTo>
                    <a:pt x="4" y="40"/>
                  </a:lnTo>
                  <a:lnTo>
                    <a:pt x="4" y="33"/>
                  </a:lnTo>
                  <a:lnTo>
                    <a:pt x="7" y="33"/>
                  </a:lnTo>
                  <a:lnTo>
                    <a:pt x="7" y="31"/>
                  </a:lnTo>
                  <a:lnTo>
                    <a:pt x="4" y="31"/>
                  </a:lnTo>
                  <a:lnTo>
                    <a:pt x="4" y="26"/>
                  </a:lnTo>
                  <a:lnTo>
                    <a:pt x="4" y="24"/>
                  </a:lnTo>
                  <a:lnTo>
                    <a:pt x="4" y="21"/>
                  </a:lnTo>
                  <a:lnTo>
                    <a:pt x="4" y="19"/>
                  </a:lnTo>
                  <a:lnTo>
                    <a:pt x="4" y="17"/>
                  </a:lnTo>
                  <a:lnTo>
                    <a:pt x="2" y="17"/>
                  </a:lnTo>
                  <a:lnTo>
                    <a:pt x="2" y="17"/>
                  </a:lnTo>
                  <a:lnTo>
                    <a:pt x="0" y="14"/>
                  </a:lnTo>
                  <a:lnTo>
                    <a:pt x="0" y="7"/>
                  </a:lnTo>
                  <a:lnTo>
                    <a:pt x="0" y="7"/>
                  </a:lnTo>
                  <a:lnTo>
                    <a:pt x="4" y="9"/>
                  </a:lnTo>
                  <a:lnTo>
                    <a:pt x="7" y="9"/>
                  </a:lnTo>
                  <a:lnTo>
                    <a:pt x="14" y="2"/>
                  </a:lnTo>
                  <a:lnTo>
                    <a:pt x="14" y="2"/>
                  </a:lnTo>
                  <a:lnTo>
                    <a:pt x="16"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09" name="Freeform 101">
              <a:extLst>
                <a:ext uri="{FF2B5EF4-FFF2-40B4-BE49-F238E27FC236}">
                  <a16:creationId xmlns:a16="http://schemas.microsoft.com/office/drawing/2014/main" id="{F797550F-8AD2-4D5B-99FF-B1ACCED2FB77}"/>
                </a:ext>
              </a:extLst>
            </p:cNvPr>
            <p:cNvSpPr>
              <a:spLocks/>
            </p:cNvSpPr>
            <p:nvPr/>
          </p:nvSpPr>
          <p:spPr bwMode="auto">
            <a:xfrm>
              <a:off x="1504204" y="3281328"/>
              <a:ext cx="41275" cy="85725"/>
            </a:xfrm>
            <a:custGeom>
              <a:avLst/>
              <a:gdLst>
                <a:gd name="T0" fmla="*/ 16 w 26"/>
                <a:gd name="T1" fmla="*/ 0 h 54"/>
                <a:gd name="T2" fmla="*/ 21 w 26"/>
                <a:gd name="T3" fmla="*/ 0 h 54"/>
                <a:gd name="T4" fmla="*/ 21 w 26"/>
                <a:gd name="T5" fmla="*/ 2 h 54"/>
                <a:gd name="T6" fmla="*/ 23 w 26"/>
                <a:gd name="T7" fmla="*/ 2 h 54"/>
                <a:gd name="T8" fmla="*/ 23 w 26"/>
                <a:gd name="T9" fmla="*/ 7 h 54"/>
                <a:gd name="T10" fmla="*/ 26 w 26"/>
                <a:gd name="T11" fmla="*/ 12 h 54"/>
                <a:gd name="T12" fmla="*/ 26 w 26"/>
                <a:gd name="T13" fmla="*/ 19 h 54"/>
                <a:gd name="T14" fmla="*/ 26 w 26"/>
                <a:gd name="T15" fmla="*/ 24 h 54"/>
                <a:gd name="T16" fmla="*/ 26 w 26"/>
                <a:gd name="T17" fmla="*/ 33 h 54"/>
                <a:gd name="T18" fmla="*/ 26 w 26"/>
                <a:gd name="T19" fmla="*/ 43 h 54"/>
                <a:gd name="T20" fmla="*/ 26 w 26"/>
                <a:gd name="T21" fmla="*/ 45 h 54"/>
                <a:gd name="T22" fmla="*/ 23 w 26"/>
                <a:gd name="T23" fmla="*/ 47 h 54"/>
                <a:gd name="T24" fmla="*/ 23 w 26"/>
                <a:gd name="T25" fmla="*/ 47 h 54"/>
                <a:gd name="T26" fmla="*/ 19 w 26"/>
                <a:gd name="T27" fmla="*/ 47 h 54"/>
                <a:gd name="T28" fmla="*/ 16 w 26"/>
                <a:gd name="T29" fmla="*/ 47 h 54"/>
                <a:gd name="T30" fmla="*/ 16 w 26"/>
                <a:gd name="T31" fmla="*/ 52 h 54"/>
                <a:gd name="T32" fmla="*/ 14 w 26"/>
                <a:gd name="T33" fmla="*/ 52 h 54"/>
                <a:gd name="T34" fmla="*/ 9 w 26"/>
                <a:gd name="T35" fmla="*/ 54 h 54"/>
                <a:gd name="T36" fmla="*/ 9 w 26"/>
                <a:gd name="T37" fmla="*/ 52 h 54"/>
                <a:gd name="T38" fmla="*/ 4 w 26"/>
                <a:gd name="T39" fmla="*/ 47 h 54"/>
                <a:gd name="T40" fmla="*/ 4 w 26"/>
                <a:gd name="T41" fmla="*/ 45 h 54"/>
                <a:gd name="T42" fmla="*/ 4 w 26"/>
                <a:gd name="T43" fmla="*/ 43 h 54"/>
                <a:gd name="T44" fmla="*/ 4 w 26"/>
                <a:gd name="T45" fmla="*/ 40 h 54"/>
                <a:gd name="T46" fmla="*/ 4 w 26"/>
                <a:gd name="T47" fmla="*/ 33 h 54"/>
                <a:gd name="T48" fmla="*/ 7 w 26"/>
                <a:gd name="T49" fmla="*/ 33 h 54"/>
                <a:gd name="T50" fmla="*/ 7 w 26"/>
                <a:gd name="T51" fmla="*/ 31 h 54"/>
                <a:gd name="T52" fmla="*/ 4 w 26"/>
                <a:gd name="T53" fmla="*/ 31 h 54"/>
                <a:gd name="T54" fmla="*/ 4 w 26"/>
                <a:gd name="T55" fmla="*/ 26 h 54"/>
                <a:gd name="T56" fmla="*/ 4 w 26"/>
                <a:gd name="T57" fmla="*/ 24 h 54"/>
                <a:gd name="T58" fmla="*/ 4 w 26"/>
                <a:gd name="T59" fmla="*/ 21 h 54"/>
                <a:gd name="T60" fmla="*/ 4 w 26"/>
                <a:gd name="T61" fmla="*/ 19 h 54"/>
                <a:gd name="T62" fmla="*/ 4 w 26"/>
                <a:gd name="T63" fmla="*/ 17 h 54"/>
                <a:gd name="T64" fmla="*/ 2 w 26"/>
                <a:gd name="T65" fmla="*/ 17 h 54"/>
                <a:gd name="T66" fmla="*/ 2 w 26"/>
                <a:gd name="T67" fmla="*/ 17 h 54"/>
                <a:gd name="T68" fmla="*/ 0 w 26"/>
                <a:gd name="T69" fmla="*/ 14 h 54"/>
                <a:gd name="T70" fmla="*/ 0 w 26"/>
                <a:gd name="T71" fmla="*/ 7 h 54"/>
                <a:gd name="T72" fmla="*/ 0 w 26"/>
                <a:gd name="T73" fmla="*/ 7 h 54"/>
                <a:gd name="T74" fmla="*/ 4 w 26"/>
                <a:gd name="T75" fmla="*/ 9 h 54"/>
                <a:gd name="T76" fmla="*/ 7 w 26"/>
                <a:gd name="T77" fmla="*/ 9 h 54"/>
                <a:gd name="T78" fmla="*/ 14 w 26"/>
                <a:gd name="T79" fmla="*/ 2 h 54"/>
                <a:gd name="T80" fmla="*/ 14 w 26"/>
                <a:gd name="T81" fmla="*/ 2 h 54"/>
                <a:gd name="T82" fmla="*/ 16 w 26"/>
                <a:gd name="T8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 h="54">
                  <a:moveTo>
                    <a:pt x="16" y="0"/>
                  </a:moveTo>
                  <a:lnTo>
                    <a:pt x="21" y="0"/>
                  </a:lnTo>
                  <a:lnTo>
                    <a:pt x="21" y="2"/>
                  </a:lnTo>
                  <a:lnTo>
                    <a:pt x="23" y="2"/>
                  </a:lnTo>
                  <a:lnTo>
                    <a:pt x="23" y="7"/>
                  </a:lnTo>
                  <a:lnTo>
                    <a:pt x="26" y="12"/>
                  </a:lnTo>
                  <a:lnTo>
                    <a:pt x="26" y="19"/>
                  </a:lnTo>
                  <a:lnTo>
                    <a:pt x="26" y="24"/>
                  </a:lnTo>
                  <a:lnTo>
                    <a:pt x="26" y="33"/>
                  </a:lnTo>
                  <a:lnTo>
                    <a:pt x="26" y="43"/>
                  </a:lnTo>
                  <a:lnTo>
                    <a:pt x="26" y="45"/>
                  </a:lnTo>
                  <a:lnTo>
                    <a:pt x="23" y="47"/>
                  </a:lnTo>
                  <a:lnTo>
                    <a:pt x="23" y="47"/>
                  </a:lnTo>
                  <a:lnTo>
                    <a:pt x="19" y="47"/>
                  </a:lnTo>
                  <a:lnTo>
                    <a:pt x="16" y="47"/>
                  </a:lnTo>
                  <a:lnTo>
                    <a:pt x="16" y="52"/>
                  </a:lnTo>
                  <a:lnTo>
                    <a:pt x="14" y="52"/>
                  </a:lnTo>
                  <a:lnTo>
                    <a:pt x="9" y="54"/>
                  </a:lnTo>
                  <a:lnTo>
                    <a:pt x="9" y="52"/>
                  </a:lnTo>
                  <a:lnTo>
                    <a:pt x="4" y="47"/>
                  </a:lnTo>
                  <a:lnTo>
                    <a:pt x="4" y="45"/>
                  </a:lnTo>
                  <a:lnTo>
                    <a:pt x="4" y="43"/>
                  </a:lnTo>
                  <a:lnTo>
                    <a:pt x="4" y="40"/>
                  </a:lnTo>
                  <a:lnTo>
                    <a:pt x="4" y="33"/>
                  </a:lnTo>
                  <a:lnTo>
                    <a:pt x="7" y="33"/>
                  </a:lnTo>
                  <a:lnTo>
                    <a:pt x="7" y="31"/>
                  </a:lnTo>
                  <a:lnTo>
                    <a:pt x="4" y="31"/>
                  </a:lnTo>
                  <a:lnTo>
                    <a:pt x="4" y="26"/>
                  </a:lnTo>
                  <a:lnTo>
                    <a:pt x="4" y="24"/>
                  </a:lnTo>
                  <a:lnTo>
                    <a:pt x="4" y="21"/>
                  </a:lnTo>
                  <a:lnTo>
                    <a:pt x="4" y="19"/>
                  </a:lnTo>
                  <a:lnTo>
                    <a:pt x="4" y="17"/>
                  </a:lnTo>
                  <a:lnTo>
                    <a:pt x="2" y="17"/>
                  </a:lnTo>
                  <a:lnTo>
                    <a:pt x="2" y="17"/>
                  </a:lnTo>
                  <a:lnTo>
                    <a:pt x="0" y="14"/>
                  </a:lnTo>
                  <a:lnTo>
                    <a:pt x="0" y="7"/>
                  </a:lnTo>
                  <a:lnTo>
                    <a:pt x="0" y="7"/>
                  </a:lnTo>
                  <a:lnTo>
                    <a:pt x="4" y="9"/>
                  </a:lnTo>
                  <a:lnTo>
                    <a:pt x="7" y="9"/>
                  </a:lnTo>
                  <a:lnTo>
                    <a:pt x="14" y="2"/>
                  </a:lnTo>
                  <a:lnTo>
                    <a:pt x="14" y="2"/>
                  </a:lnTo>
                  <a:lnTo>
                    <a:pt x="16"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0" name="Freeform 102">
              <a:extLst>
                <a:ext uri="{FF2B5EF4-FFF2-40B4-BE49-F238E27FC236}">
                  <a16:creationId xmlns:a16="http://schemas.microsoft.com/office/drawing/2014/main" id="{47E6CB74-A93E-432A-A24C-8CC3A29F0FFC}"/>
                </a:ext>
              </a:extLst>
            </p:cNvPr>
            <p:cNvSpPr>
              <a:spLocks/>
            </p:cNvSpPr>
            <p:nvPr/>
          </p:nvSpPr>
          <p:spPr bwMode="auto">
            <a:xfrm>
              <a:off x="1956641" y="3300377"/>
              <a:ext cx="7938" cy="7937"/>
            </a:xfrm>
            <a:custGeom>
              <a:avLst/>
              <a:gdLst>
                <a:gd name="T0" fmla="*/ 3 w 5"/>
                <a:gd name="T1" fmla="*/ 2 h 5"/>
                <a:gd name="T2" fmla="*/ 5 w 5"/>
                <a:gd name="T3" fmla="*/ 2 h 5"/>
                <a:gd name="T4" fmla="*/ 3 w 5"/>
                <a:gd name="T5" fmla="*/ 2 h 5"/>
                <a:gd name="T6" fmla="*/ 3 w 5"/>
                <a:gd name="T7" fmla="*/ 0 h 5"/>
                <a:gd name="T8" fmla="*/ 3 w 5"/>
                <a:gd name="T9" fmla="*/ 0 h 5"/>
                <a:gd name="T10" fmla="*/ 0 w 5"/>
                <a:gd name="T11" fmla="*/ 2 h 5"/>
                <a:gd name="T12" fmla="*/ 0 w 5"/>
                <a:gd name="T13" fmla="*/ 2 h 5"/>
                <a:gd name="T14" fmla="*/ 0 w 5"/>
                <a:gd name="T15" fmla="*/ 5 h 5"/>
                <a:gd name="T16" fmla="*/ 3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3" y="2"/>
                  </a:moveTo>
                  <a:lnTo>
                    <a:pt x="5" y="2"/>
                  </a:lnTo>
                  <a:lnTo>
                    <a:pt x="3" y="2"/>
                  </a:lnTo>
                  <a:lnTo>
                    <a:pt x="3" y="0"/>
                  </a:lnTo>
                  <a:lnTo>
                    <a:pt x="3" y="0"/>
                  </a:lnTo>
                  <a:lnTo>
                    <a:pt x="0" y="2"/>
                  </a:lnTo>
                  <a:lnTo>
                    <a:pt x="0" y="2"/>
                  </a:lnTo>
                  <a:lnTo>
                    <a:pt x="0" y="5"/>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1" name="Freeform 103">
              <a:extLst>
                <a:ext uri="{FF2B5EF4-FFF2-40B4-BE49-F238E27FC236}">
                  <a16:creationId xmlns:a16="http://schemas.microsoft.com/office/drawing/2014/main" id="{A83EE7D0-6557-4B37-9917-F6FB130623FD}"/>
                </a:ext>
              </a:extLst>
            </p:cNvPr>
            <p:cNvSpPr>
              <a:spLocks/>
            </p:cNvSpPr>
            <p:nvPr/>
          </p:nvSpPr>
          <p:spPr bwMode="auto">
            <a:xfrm>
              <a:off x="1956641" y="3300377"/>
              <a:ext cx="7938" cy="7937"/>
            </a:xfrm>
            <a:custGeom>
              <a:avLst/>
              <a:gdLst>
                <a:gd name="T0" fmla="*/ 3 w 5"/>
                <a:gd name="T1" fmla="*/ 2 h 5"/>
                <a:gd name="T2" fmla="*/ 5 w 5"/>
                <a:gd name="T3" fmla="*/ 2 h 5"/>
                <a:gd name="T4" fmla="*/ 3 w 5"/>
                <a:gd name="T5" fmla="*/ 2 h 5"/>
                <a:gd name="T6" fmla="*/ 3 w 5"/>
                <a:gd name="T7" fmla="*/ 0 h 5"/>
                <a:gd name="T8" fmla="*/ 3 w 5"/>
                <a:gd name="T9" fmla="*/ 0 h 5"/>
                <a:gd name="T10" fmla="*/ 0 w 5"/>
                <a:gd name="T11" fmla="*/ 2 h 5"/>
                <a:gd name="T12" fmla="*/ 0 w 5"/>
                <a:gd name="T13" fmla="*/ 2 h 5"/>
                <a:gd name="T14" fmla="*/ 0 w 5"/>
                <a:gd name="T15" fmla="*/ 5 h 5"/>
                <a:gd name="T16" fmla="*/ 3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3" y="2"/>
                  </a:moveTo>
                  <a:lnTo>
                    <a:pt x="5" y="2"/>
                  </a:lnTo>
                  <a:lnTo>
                    <a:pt x="3" y="2"/>
                  </a:lnTo>
                  <a:lnTo>
                    <a:pt x="3" y="0"/>
                  </a:lnTo>
                  <a:lnTo>
                    <a:pt x="3" y="0"/>
                  </a:lnTo>
                  <a:lnTo>
                    <a:pt x="0" y="2"/>
                  </a:lnTo>
                  <a:lnTo>
                    <a:pt x="0" y="2"/>
                  </a:lnTo>
                  <a:lnTo>
                    <a:pt x="0" y="5"/>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2" name="Freeform 104">
              <a:extLst>
                <a:ext uri="{FF2B5EF4-FFF2-40B4-BE49-F238E27FC236}">
                  <a16:creationId xmlns:a16="http://schemas.microsoft.com/office/drawing/2014/main" id="{B5BFF67C-EBAF-47C6-BE5C-8586BC792164}"/>
                </a:ext>
              </a:extLst>
            </p:cNvPr>
            <p:cNvSpPr>
              <a:spLocks/>
            </p:cNvSpPr>
            <p:nvPr/>
          </p:nvSpPr>
          <p:spPr bwMode="auto">
            <a:xfrm>
              <a:off x="1969341" y="3325778"/>
              <a:ext cx="11113" cy="7937"/>
            </a:xfrm>
            <a:custGeom>
              <a:avLst/>
              <a:gdLst>
                <a:gd name="T0" fmla="*/ 7 w 7"/>
                <a:gd name="T1" fmla="*/ 3 h 5"/>
                <a:gd name="T2" fmla="*/ 7 w 7"/>
                <a:gd name="T3" fmla="*/ 3 h 5"/>
                <a:gd name="T4" fmla="*/ 7 w 7"/>
                <a:gd name="T5" fmla="*/ 3 h 5"/>
                <a:gd name="T6" fmla="*/ 4 w 7"/>
                <a:gd name="T7" fmla="*/ 0 h 5"/>
                <a:gd name="T8" fmla="*/ 2 w 7"/>
                <a:gd name="T9" fmla="*/ 3 h 5"/>
                <a:gd name="T10" fmla="*/ 0 w 7"/>
                <a:gd name="T11" fmla="*/ 5 h 5"/>
                <a:gd name="T12" fmla="*/ 2 w 7"/>
                <a:gd name="T13" fmla="*/ 5 h 5"/>
                <a:gd name="T14" fmla="*/ 2 w 7"/>
                <a:gd name="T15" fmla="*/ 5 h 5"/>
                <a:gd name="T16" fmla="*/ 4 w 7"/>
                <a:gd name="T17" fmla="*/ 5 h 5"/>
                <a:gd name="T18" fmla="*/ 7 w 7"/>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3"/>
                  </a:moveTo>
                  <a:lnTo>
                    <a:pt x="7" y="3"/>
                  </a:lnTo>
                  <a:lnTo>
                    <a:pt x="7" y="3"/>
                  </a:lnTo>
                  <a:lnTo>
                    <a:pt x="4" y="0"/>
                  </a:lnTo>
                  <a:lnTo>
                    <a:pt x="2" y="3"/>
                  </a:lnTo>
                  <a:lnTo>
                    <a:pt x="0" y="5"/>
                  </a:lnTo>
                  <a:lnTo>
                    <a:pt x="2" y="5"/>
                  </a:lnTo>
                  <a:lnTo>
                    <a:pt x="2" y="5"/>
                  </a:lnTo>
                  <a:lnTo>
                    <a:pt x="4" y="5"/>
                  </a:lnTo>
                  <a:lnTo>
                    <a:pt x="7"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3" name="Freeform 105">
              <a:extLst>
                <a:ext uri="{FF2B5EF4-FFF2-40B4-BE49-F238E27FC236}">
                  <a16:creationId xmlns:a16="http://schemas.microsoft.com/office/drawing/2014/main" id="{B36CDD93-EDDE-4CCB-B4CA-69193B213169}"/>
                </a:ext>
              </a:extLst>
            </p:cNvPr>
            <p:cNvSpPr>
              <a:spLocks/>
            </p:cNvSpPr>
            <p:nvPr/>
          </p:nvSpPr>
          <p:spPr bwMode="auto">
            <a:xfrm>
              <a:off x="1969341" y="3325778"/>
              <a:ext cx="11113" cy="7937"/>
            </a:xfrm>
            <a:custGeom>
              <a:avLst/>
              <a:gdLst>
                <a:gd name="T0" fmla="*/ 7 w 7"/>
                <a:gd name="T1" fmla="*/ 3 h 5"/>
                <a:gd name="T2" fmla="*/ 7 w 7"/>
                <a:gd name="T3" fmla="*/ 3 h 5"/>
                <a:gd name="T4" fmla="*/ 7 w 7"/>
                <a:gd name="T5" fmla="*/ 3 h 5"/>
                <a:gd name="T6" fmla="*/ 4 w 7"/>
                <a:gd name="T7" fmla="*/ 0 h 5"/>
                <a:gd name="T8" fmla="*/ 2 w 7"/>
                <a:gd name="T9" fmla="*/ 3 h 5"/>
                <a:gd name="T10" fmla="*/ 0 w 7"/>
                <a:gd name="T11" fmla="*/ 5 h 5"/>
                <a:gd name="T12" fmla="*/ 2 w 7"/>
                <a:gd name="T13" fmla="*/ 5 h 5"/>
                <a:gd name="T14" fmla="*/ 2 w 7"/>
                <a:gd name="T15" fmla="*/ 5 h 5"/>
                <a:gd name="T16" fmla="*/ 4 w 7"/>
                <a:gd name="T17" fmla="*/ 5 h 5"/>
                <a:gd name="T18" fmla="*/ 7 w 7"/>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3"/>
                  </a:moveTo>
                  <a:lnTo>
                    <a:pt x="7" y="3"/>
                  </a:lnTo>
                  <a:lnTo>
                    <a:pt x="7" y="3"/>
                  </a:lnTo>
                  <a:lnTo>
                    <a:pt x="4" y="0"/>
                  </a:lnTo>
                  <a:lnTo>
                    <a:pt x="2" y="3"/>
                  </a:lnTo>
                  <a:lnTo>
                    <a:pt x="0" y="5"/>
                  </a:lnTo>
                  <a:lnTo>
                    <a:pt x="2" y="5"/>
                  </a:lnTo>
                  <a:lnTo>
                    <a:pt x="2" y="5"/>
                  </a:lnTo>
                  <a:lnTo>
                    <a:pt x="4" y="5"/>
                  </a:lnTo>
                  <a:lnTo>
                    <a:pt x="7"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4" name="Freeform 106">
              <a:extLst>
                <a:ext uri="{FF2B5EF4-FFF2-40B4-BE49-F238E27FC236}">
                  <a16:creationId xmlns:a16="http://schemas.microsoft.com/office/drawing/2014/main" id="{2BC0C1E9-8C8D-4128-B3E9-485D2A9F0146}"/>
                </a:ext>
              </a:extLst>
            </p:cNvPr>
            <p:cNvSpPr>
              <a:spLocks/>
            </p:cNvSpPr>
            <p:nvPr/>
          </p:nvSpPr>
          <p:spPr bwMode="auto">
            <a:xfrm>
              <a:off x="1994740" y="3349591"/>
              <a:ext cx="19050" cy="14287"/>
            </a:xfrm>
            <a:custGeom>
              <a:avLst/>
              <a:gdLst>
                <a:gd name="T0" fmla="*/ 12 w 12"/>
                <a:gd name="T1" fmla="*/ 7 h 9"/>
                <a:gd name="T2" fmla="*/ 12 w 12"/>
                <a:gd name="T3" fmla="*/ 7 h 9"/>
                <a:gd name="T4" fmla="*/ 12 w 12"/>
                <a:gd name="T5" fmla="*/ 4 h 9"/>
                <a:gd name="T6" fmla="*/ 7 w 12"/>
                <a:gd name="T7" fmla="*/ 0 h 9"/>
                <a:gd name="T8" fmla="*/ 0 w 12"/>
                <a:gd name="T9" fmla="*/ 2 h 9"/>
                <a:gd name="T10" fmla="*/ 0 w 12"/>
                <a:gd name="T11" fmla="*/ 4 h 9"/>
                <a:gd name="T12" fmla="*/ 2 w 12"/>
                <a:gd name="T13" fmla="*/ 4 h 9"/>
                <a:gd name="T14" fmla="*/ 5 w 12"/>
                <a:gd name="T15" fmla="*/ 4 h 9"/>
                <a:gd name="T16" fmla="*/ 5 w 12"/>
                <a:gd name="T17" fmla="*/ 4 h 9"/>
                <a:gd name="T18" fmla="*/ 5 w 12"/>
                <a:gd name="T19" fmla="*/ 7 h 9"/>
                <a:gd name="T20" fmla="*/ 7 w 12"/>
                <a:gd name="T21" fmla="*/ 9 h 9"/>
                <a:gd name="T22" fmla="*/ 10 w 12"/>
                <a:gd name="T23" fmla="*/ 7 h 9"/>
                <a:gd name="T24" fmla="*/ 10 w 12"/>
                <a:gd name="T25" fmla="*/ 7 h 9"/>
                <a:gd name="T26" fmla="*/ 12 w 12"/>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12" y="7"/>
                  </a:moveTo>
                  <a:lnTo>
                    <a:pt x="12" y="7"/>
                  </a:lnTo>
                  <a:lnTo>
                    <a:pt x="12" y="4"/>
                  </a:lnTo>
                  <a:lnTo>
                    <a:pt x="7" y="0"/>
                  </a:lnTo>
                  <a:lnTo>
                    <a:pt x="0" y="2"/>
                  </a:lnTo>
                  <a:lnTo>
                    <a:pt x="0" y="4"/>
                  </a:lnTo>
                  <a:lnTo>
                    <a:pt x="2" y="4"/>
                  </a:lnTo>
                  <a:lnTo>
                    <a:pt x="5" y="4"/>
                  </a:lnTo>
                  <a:lnTo>
                    <a:pt x="5" y="4"/>
                  </a:lnTo>
                  <a:lnTo>
                    <a:pt x="5" y="7"/>
                  </a:lnTo>
                  <a:lnTo>
                    <a:pt x="7" y="9"/>
                  </a:lnTo>
                  <a:lnTo>
                    <a:pt x="10" y="7"/>
                  </a:lnTo>
                  <a:lnTo>
                    <a:pt x="10" y="7"/>
                  </a:lnTo>
                  <a:lnTo>
                    <a:pt x="12"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5" name="Freeform 107">
              <a:extLst>
                <a:ext uri="{FF2B5EF4-FFF2-40B4-BE49-F238E27FC236}">
                  <a16:creationId xmlns:a16="http://schemas.microsoft.com/office/drawing/2014/main" id="{5ED50E46-3736-4851-8A08-EA3B043BFDAA}"/>
                </a:ext>
              </a:extLst>
            </p:cNvPr>
            <p:cNvSpPr>
              <a:spLocks/>
            </p:cNvSpPr>
            <p:nvPr/>
          </p:nvSpPr>
          <p:spPr bwMode="auto">
            <a:xfrm>
              <a:off x="1994740" y="3349591"/>
              <a:ext cx="19050" cy="14287"/>
            </a:xfrm>
            <a:custGeom>
              <a:avLst/>
              <a:gdLst>
                <a:gd name="T0" fmla="*/ 12 w 12"/>
                <a:gd name="T1" fmla="*/ 7 h 9"/>
                <a:gd name="T2" fmla="*/ 12 w 12"/>
                <a:gd name="T3" fmla="*/ 7 h 9"/>
                <a:gd name="T4" fmla="*/ 12 w 12"/>
                <a:gd name="T5" fmla="*/ 4 h 9"/>
                <a:gd name="T6" fmla="*/ 7 w 12"/>
                <a:gd name="T7" fmla="*/ 0 h 9"/>
                <a:gd name="T8" fmla="*/ 0 w 12"/>
                <a:gd name="T9" fmla="*/ 2 h 9"/>
                <a:gd name="T10" fmla="*/ 0 w 12"/>
                <a:gd name="T11" fmla="*/ 4 h 9"/>
                <a:gd name="T12" fmla="*/ 2 w 12"/>
                <a:gd name="T13" fmla="*/ 4 h 9"/>
                <a:gd name="T14" fmla="*/ 5 w 12"/>
                <a:gd name="T15" fmla="*/ 4 h 9"/>
                <a:gd name="T16" fmla="*/ 5 w 12"/>
                <a:gd name="T17" fmla="*/ 4 h 9"/>
                <a:gd name="T18" fmla="*/ 5 w 12"/>
                <a:gd name="T19" fmla="*/ 7 h 9"/>
                <a:gd name="T20" fmla="*/ 7 w 12"/>
                <a:gd name="T21" fmla="*/ 9 h 9"/>
                <a:gd name="T22" fmla="*/ 10 w 12"/>
                <a:gd name="T23" fmla="*/ 7 h 9"/>
                <a:gd name="T24" fmla="*/ 10 w 12"/>
                <a:gd name="T25" fmla="*/ 7 h 9"/>
                <a:gd name="T26" fmla="*/ 12 w 12"/>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12" y="7"/>
                  </a:moveTo>
                  <a:lnTo>
                    <a:pt x="12" y="7"/>
                  </a:lnTo>
                  <a:lnTo>
                    <a:pt x="12" y="4"/>
                  </a:lnTo>
                  <a:lnTo>
                    <a:pt x="7" y="0"/>
                  </a:lnTo>
                  <a:lnTo>
                    <a:pt x="0" y="2"/>
                  </a:lnTo>
                  <a:lnTo>
                    <a:pt x="0" y="4"/>
                  </a:lnTo>
                  <a:lnTo>
                    <a:pt x="2" y="4"/>
                  </a:lnTo>
                  <a:lnTo>
                    <a:pt x="5" y="4"/>
                  </a:lnTo>
                  <a:lnTo>
                    <a:pt x="5" y="4"/>
                  </a:lnTo>
                  <a:lnTo>
                    <a:pt x="5" y="7"/>
                  </a:lnTo>
                  <a:lnTo>
                    <a:pt x="7" y="9"/>
                  </a:lnTo>
                  <a:lnTo>
                    <a:pt x="10" y="7"/>
                  </a:lnTo>
                  <a:lnTo>
                    <a:pt x="10" y="7"/>
                  </a:lnTo>
                  <a:lnTo>
                    <a:pt x="12"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6" name="Freeform 108">
              <a:extLst>
                <a:ext uri="{FF2B5EF4-FFF2-40B4-BE49-F238E27FC236}">
                  <a16:creationId xmlns:a16="http://schemas.microsoft.com/office/drawing/2014/main" id="{73EA0F55-F759-4367-95CC-B9B46F238F2E}"/>
                </a:ext>
              </a:extLst>
            </p:cNvPr>
            <p:cNvSpPr>
              <a:spLocks/>
            </p:cNvSpPr>
            <p:nvPr/>
          </p:nvSpPr>
          <p:spPr bwMode="auto">
            <a:xfrm>
              <a:off x="1994740" y="3374991"/>
              <a:ext cx="7938" cy="14287"/>
            </a:xfrm>
            <a:custGeom>
              <a:avLst/>
              <a:gdLst>
                <a:gd name="T0" fmla="*/ 0 w 5"/>
                <a:gd name="T1" fmla="*/ 9 h 9"/>
                <a:gd name="T2" fmla="*/ 2 w 5"/>
                <a:gd name="T3" fmla="*/ 7 h 9"/>
                <a:gd name="T4" fmla="*/ 5 w 5"/>
                <a:gd name="T5" fmla="*/ 2 h 9"/>
                <a:gd name="T6" fmla="*/ 2 w 5"/>
                <a:gd name="T7" fmla="*/ 0 h 9"/>
                <a:gd name="T8" fmla="*/ 0 w 5"/>
                <a:gd name="T9" fmla="*/ 0 h 9"/>
                <a:gd name="T10" fmla="*/ 0 w 5"/>
                <a:gd name="T11" fmla="*/ 2 h 9"/>
                <a:gd name="T12" fmla="*/ 2 w 5"/>
                <a:gd name="T13" fmla="*/ 5 h 9"/>
                <a:gd name="T14" fmla="*/ 0 w 5"/>
                <a:gd name="T15" fmla="*/ 7 h 9"/>
                <a:gd name="T16" fmla="*/ 0 w 5"/>
                <a:gd name="T17" fmla="*/ 9 h 9"/>
                <a:gd name="T18" fmla="*/ 0 w 5"/>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9"/>
                  </a:moveTo>
                  <a:lnTo>
                    <a:pt x="2" y="7"/>
                  </a:lnTo>
                  <a:lnTo>
                    <a:pt x="5" y="2"/>
                  </a:lnTo>
                  <a:lnTo>
                    <a:pt x="2" y="0"/>
                  </a:lnTo>
                  <a:lnTo>
                    <a:pt x="0" y="0"/>
                  </a:lnTo>
                  <a:lnTo>
                    <a:pt x="0" y="2"/>
                  </a:lnTo>
                  <a:lnTo>
                    <a:pt x="2" y="5"/>
                  </a:lnTo>
                  <a:lnTo>
                    <a:pt x="0" y="7"/>
                  </a:lnTo>
                  <a:lnTo>
                    <a:pt x="0" y="9"/>
                  </a:lnTo>
                  <a:lnTo>
                    <a:pt x="0"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7" name="Freeform 109">
              <a:extLst>
                <a:ext uri="{FF2B5EF4-FFF2-40B4-BE49-F238E27FC236}">
                  <a16:creationId xmlns:a16="http://schemas.microsoft.com/office/drawing/2014/main" id="{A9CC8A5E-B890-449E-AE72-567D85AF11CB}"/>
                </a:ext>
              </a:extLst>
            </p:cNvPr>
            <p:cNvSpPr>
              <a:spLocks/>
            </p:cNvSpPr>
            <p:nvPr/>
          </p:nvSpPr>
          <p:spPr bwMode="auto">
            <a:xfrm>
              <a:off x="1994740" y="3374991"/>
              <a:ext cx="7938" cy="14287"/>
            </a:xfrm>
            <a:custGeom>
              <a:avLst/>
              <a:gdLst>
                <a:gd name="T0" fmla="*/ 0 w 5"/>
                <a:gd name="T1" fmla="*/ 9 h 9"/>
                <a:gd name="T2" fmla="*/ 2 w 5"/>
                <a:gd name="T3" fmla="*/ 7 h 9"/>
                <a:gd name="T4" fmla="*/ 5 w 5"/>
                <a:gd name="T5" fmla="*/ 2 h 9"/>
                <a:gd name="T6" fmla="*/ 2 w 5"/>
                <a:gd name="T7" fmla="*/ 0 h 9"/>
                <a:gd name="T8" fmla="*/ 0 w 5"/>
                <a:gd name="T9" fmla="*/ 0 h 9"/>
                <a:gd name="T10" fmla="*/ 0 w 5"/>
                <a:gd name="T11" fmla="*/ 2 h 9"/>
                <a:gd name="T12" fmla="*/ 2 w 5"/>
                <a:gd name="T13" fmla="*/ 5 h 9"/>
                <a:gd name="T14" fmla="*/ 0 w 5"/>
                <a:gd name="T15" fmla="*/ 7 h 9"/>
                <a:gd name="T16" fmla="*/ 0 w 5"/>
                <a:gd name="T17" fmla="*/ 9 h 9"/>
                <a:gd name="T18" fmla="*/ 0 w 5"/>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9"/>
                  </a:moveTo>
                  <a:lnTo>
                    <a:pt x="2" y="7"/>
                  </a:lnTo>
                  <a:lnTo>
                    <a:pt x="5" y="2"/>
                  </a:lnTo>
                  <a:lnTo>
                    <a:pt x="2" y="0"/>
                  </a:lnTo>
                  <a:lnTo>
                    <a:pt x="0" y="0"/>
                  </a:lnTo>
                  <a:lnTo>
                    <a:pt x="0" y="2"/>
                  </a:lnTo>
                  <a:lnTo>
                    <a:pt x="2" y="5"/>
                  </a:lnTo>
                  <a:lnTo>
                    <a:pt x="0" y="7"/>
                  </a:lnTo>
                  <a:lnTo>
                    <a:pt x="0" y="9"/>
                  </a:lnTo>
                  <a:lnTo>
                    <a:pt x="0" y="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8" name="Freeform 110">
              <a:extLst>
                <a:ext uri="{FF2B5EF4-FFF2-40B4-BE49-F238E27FC236}">
                  <a16:creationId xmlns:a16="http://schemas.microsoft.com/office/drawing/2014/main" id="{E0FDAD9B-67E7-4F0C-ADFC-712B1C43E4DA}"/>
                </a:ext>
              </a:extLst>
            </p:cNvPr>
            <p:cNvSpPr>
              <a:spLocks/>
            </p:cNvSpPr>
            <p:nvPr/>
          </p:nvSpPr>
          <p:spPr bwMode="auto">
            <a:xfrm>
              <a:off x="2047129" y="3454366"/>
              <a:ext cx="15875" cy="14287"/>
            </a:xfrm>
            <a:custGeom>
              <a:avLst/>
              <a:gdLst>
                <a:gd name="T0" fmla="*/ 5 w 10"/>
                <a:gd name="T1" fmla="*/ 7 h 9"/>
                <a:gd name="T2" fmla="*/ 7 w 10"/>
                <a:gd name="T3" fmla="*/ 7 h 9"/>
                <a:gd name="T4" fmla="*/ 7 w 10"/>
                <a:gd name="T5" fmla="*/ 4 h 9"/>
                <a:gd name="T6" fmla="*/ 7 w 10"/>
                <a:gd name="T7" fmla="*/ 2 h 9"/>
                <a:gd name="T8" fmla="*/ 10 w 10"/>
                <a:gd name="T9" fmla="*/ 0 h 9"/>
                <a:gd name="T10" fmla="*/ 5 w 10"/>
                <a:gd name="T11" fmla="*/ 0 h 9"/>
                <a:gd name="T12" fmla="*/ 0 w 10"/>
                <a:gd name="T13" fmla="*/ 4 h 9"/>
                <a:gd name="T14" fmla="*/ 0 w 10"/>
                <a:gd name="T15" fmla="*/ 7 h 9"/>
                <a:gd name="T16" fmla="*/ 0 w 10"/>
                <a:gd name="T17" fmla="*/ 9 h 9"/>
                <a:gd name="T18" fmla="*/ 5 w 10"/>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5" y="7"/>
                  </a:moveTo>
                  <a:lnTo>
                    <a:pt x="7" y="7"/>
                  </a:lnTo>
                  <a:lnTo>
                    <a:pt x="7" y="4"/>
                  </a:lnTo>
                  <a:lnTo>
                    <a:pt x="7" y="2"/>
                  </a:lnTo>
                  <a:lnTo>
                    <a:pt x="10" y="0"/>
                  </a:lnTo>
                  <a:lnTo>
                    <a:pt x="5" y="0"/>
                  </a:lnTo>
                  <a:lnTo>
                    <a:pt x="0" y="4"/>
                  </a:lnTo>
                  <a:lnTo>
                    <a:pt x="0" y="7"/>
                  </a:lnTo>
                  <a:lnTo>
                    <a:pt x="0" y="9"/>
                  </a:lnTo>
                  <a:lnTo>
                    <a:pt x="5"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19" name="Freeform 111">
              <a:extLst>
                <a:ext uri="{FF2B5EF4-FFF2-40B4-BE49-F238E27FC236}">
                  <a16:creationId xmlns:a16="http://schemas.microsoft.com/office/drawing/2014/main" id="{0587FAD1-066B-4A5A-81B9-C7A45CB5196D}"/>
                </a:ext>
              </a:extLst>
            </p:cNvPr>
            <p:cNvSpPr>
              <a:spLocks/>
            </p:cNvSpPr>
            <p:nvPr/>
          </p:nvSpPr>
          <p:spPr bwMode="auto">
            <a:xfrm>
              <a:off x="2047129" y="3454366"/>
              <a:ext cx="15875" cy="14287"/>
            </a:xfrm>
            <a:custGeom>
              <a:avLst/>
              <a:gdLst>
                <a:gd name="T0" fmla="*/ 5 w 10"/>
                <a:gd name="T1" fmla="*/ 7 h 9"/>
                <a:gd name="T2" fmla="*/ 7 w 10"/>
                <a:gd name="T3" fmla="*/ 7 h 9"/>
                <a:gd name="T4" fmla="*/ 7 w 10"/>
                <a:gd name="T5" fmla="*/ 4 h 9"/>
                <a:gd name="T6" fmla="*/ 7 w 10"/>
                <a:gd name="T7" fmla="*/ 2 h 9"/>
                <a:gd name="T8" fmla="*/ 10 w 10"/>
                <a:gd name="T9" fmla="*/ 0 h 9"/>
                <a:gd name="T10" fmla="*/ 5 w 10"/>
                <a:gd name="T11" fmla="*/ 0 h 9"/>
                <a:gd name="T12" fmla="*/ 0 w 10"/>
                <a:gd name="T13" fmla="*/ 4 h 9"/>
                <a:gd name="T14" fmla="*/ 0 w 10"/>
                <a:gd name="T15" fmla="*/ 7 h 9"/>
                <a:gd name="T16" fmla="*/ 0 w 10"/>
                <a:gd name="T17" fmla="*/ 9 h 9"/>
                <a:gd name="T18" fmla="*/ 5 w 10"/>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5" y="7"/>
                  </a:moveTo>
                  <a:lnTo>
                    <a:pt x="7" y="7"/>
                  </a:lnTo>
                  <a:lnTo>
                    <a:pt x="7" y="4"/>
                  </a:lnTo>
                  <a:lnTo>
                    <a:pt x="7" y="2"/>
                  </a:lnTo>
                  <a:lnTo>
                    <a:pt x="10" y="0"/>
                  </a:lnTo>
                  <a:lnTo>
                    <a:pt x="5" y="0"/>
                  </a:lnTo>
                  <a:lnTo>
                    <a:pt x="0" y="4"/>
                  </a:lnTo>
                  <a:lnTo>
                    <a:pt x="0" y="7"/>
                  </a:lnTo>
                  <a:lnTo>
                    <a:pt x="0" y="9"/>
                  </a:lnTo>
                  <a:lnTo>
                    <a:pt x="5"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0" name="Freeform 112">
              <a:extLst>
                <a:ext uri="{FF2B5EF4-FFF2-40B4-BE49-F238E27FC236}">
                  <a16:creationId xmlns:a16="http://schemas.microsoft.com/office/drawing/2014/main" id="{50B5C711-6D91-407E-BBDC-35EE164182AD}"/>
                </a:ext>
              </a:extLst>
            </p:cNvPr>
            <p:cNvSpPr>
              <a:spLocks/>
            </p:cNvSpPr>
            <p:nvPr/>
          </p:nvSpPr>
          <p:spPr bwMode="auto">
            <a:xfrm>
              <a:off x="1928066" y="3479765"/>
              <a:ext cx="77788" cy="26987"/>
            </a:xfrm>
            <a:custGeom>
              <a:avLst/>
              <a:gdLst>
                <a:gd name="T0" fmla="*/ 28 w 49"/>
                <a:gd name="T1" fmla="*/ 5 h 17"/>
                <a:gd name="T2" fmla="*/ 26 w 49"/>
                <a:gd name="T3" fmla="*/ 5 h 17"/>
                <a:gd name="T4" fmla="*/ 16 w 49"/>
                <a:gd name="T5" fmla="*/ 7 h 17"/>
                <a:gd name="T6" fmla="*/ 14 w 49"/>
                <a:gd name="T7" fmla="*/ 5 h 17"/>
                <a:gd name="T8" fmla="*/ 11 w 49"/>
                <a:gd name="T9" fmla="*/ 5 h 17"/>
                <a:gd name="T10" fmla="*/ 11 w 49"/>
                <a:gd name="T11" fmla="*/ 3 h 17"/>
                <a:gd name="T12" fmla="*/ 11 w 49"/>
                <a:gd name="T13" fmla="*/ 0 h 17"/>
                <a:gd name="T14" fmla="*/ 9 w 49"/>
                <a:gd name="T15" fmla="*/ 3 h 17"/>
                <a:gd name="T16" fmla="*/ 4 w 49"/>
                <a:gd name="T17" fmla="*/ 0 h 17"/>
                <a:gd name="T18" fmla="*/ 4 w 49"/>
                <a:gd name="T19" fmla="*/ 0 h 17"/>
                <a:gd name="T20" fmla="*/ 4 w 49"/>
                <a:gd name="T21" fmla="*/ 3 h 17"/>
                <a:gd name="T22" fmla="*/ 2 w 49"/>
                <a:gd name="T23" fmla="*/ 3 h 17"/>
                <a:gd name="T24" fmla="*/ 0 w 49"/>
                <a:gd name="T25" fmla="*/ 10 h 17"/>
                <a:gd name="T26" fmla="*/ 2 w 49"/>
                <a:gd name="T27" fmla="*/ 10 h 17"/>
                <a:gd name="T28" fmla="*/ 4 w 49"/>
                <a:gd name="T29" fmla="*/ 10 h 17"/>
                <a:gd name="T30" fmla="*/ 9 w 49"/>
                <a:gd name="T31" fmla="*/ 10 h 17"/>
                <a:gd name="T32" fmla="*/ 11 w 49"/>
                <a:gd name="T33" fmla="*/ 10 h 17"/>
                <a:gd name="T34" fmla="*/ 16 w 49"/>
                <a:gd name="T35" fmla="*/ 10 h 17"/>
                <a:gd name="T36" fmla="*/ 18 w 49"/>
                <a:gd name="T37" fmla="*/ 12 h 17"/>
                <a:gd name="T38" fmla="*/ 21 w 49"/>
                <a:gd name="T39" fmla="*/ 12 h 17"/>
                <a:gd name="T40" fmla="*/ 23 w 49"/>
                <a:gd name="T41" fmla="*/ 17 h 17"/>
                <a:gd name="T42" fmla="*/ 28 w 49"/>
                <a:gd name="T43" fmla="*/ 14 h 17"/>
                <a:gd name="T44" fmla="*/ 30 w 49"/>
                <a:gd name="T45" fmla="*/ 14 h 17"/>
                <a:gd name="T46" fmla="*/ 35 w 49"/>
                <a:gd name="T47" fmla="*/ 14 h 17"/>
                <a:gd name="T48" fmla="*/ 37 w 49"/>
                <a:gd name="T49" fmla="*/ 14 h 17"/>
                <a:gd name="T50" fmla="*/ 40 w 49"/>
                <a:gd name="T51" fmla="*/ 14 h 17"/>
                <a:gd name="T52" fmla="*/ 42 w 49"/>
                <a:gd name="T53" fmla="*/ 12 h 17"/>
                <a:gd name="T54" fmla="*/ 47 w 49"/>
                <a:gd name="T55" fmla="*/ 14 h 17"/>
                <a:gd name="T56" fmla="*/ 49 w 49"/>
                <a:gd name="T57" fmla="*/ 10 h 17"/>
                <a:gd name="T58" fmla="*/ 49 w 49"/>
                <a:gd name="T59" fmla="*/ 7 h 17"/>
                <a:gd name="T60" fmla="*/ 47 w 49"/>
                <a:gd name="T61" fmla="*/ 10 h 17"/>
                <a:gd name="T62" fmla="*/ 44 w 49"/>
                <a:gd name="T63" fmla="*/ 10 h 17"/>
                <a:gd name="T64" fmla="*/ 42 w 49"/>
                <a:gd name="T65" fmla="*/ 10 h 17"/>
                <a:gd name="T66" fmla="*/ 40 w 49"/>
                <a:gd name="T67" fmla="*/ 10 h 17"/>
                <a:gd name="T68" fmla="*/ 37 w 49"/>
                <a:gd name="T69" fmla="*/ 7 h 17"/>
                <a:gd name="T70" fmla="*/ 35 w 49"/>
                <a:gd name="T71" fmla="*/ 7 h 17"/>
                <a:gd name="T72" fmla="*/ 30 w 49"/>
                <a:gd name="T73" fmla="*/ 7 h 17"/>
                <a:gd name="T74" fmla="*/ 28 w 49"/>
                <a:gd name="T75" fmla="*/ 7 h 17"/>
                <a:gd name="T76" fmla="*/ 28 w 49"/>
                <a:gd name="T7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 h="17">
                  <a:moveTo>
                    <a:pt x="28" y="5"/>
                  </a:moveTo>
                  <a:lnTo>
                    <a:pt x="26" y="5"/>
                  </a:lnTo>
                  <a:lnTo>
                    <a:pt x="16" y="7"/>
                  </a:lnTo>
                  <a:lnTo>
                    <a:pt x="14" y="5"/>
                  </a:lnTo>
                  <a:lnTo>
                    <a:pt x="11" y="5"/>
                  </a:lnTo>
                  <a:lnTo>
                    <a:pt x="11" y="3"/>
                  </a:lnTo>
                  <a:lnTo>
                    <a:pt x="11" y="0"/>
                  </a:lnTo>
                  <a:lnTo>
                    <a:pt x="9" y="3"/>
                  </a:lnTo>
                  <a:lnTo>
                    <a:pt x="4" y="0"/>
                  </a:lnTo>
                  <a:lnTo>
                    <a:pt x="4" y="0"/>
                  </a:lnTo>
                  <a:lnTo>
                    <a:pt x="4" y="3"/>
                  </a:lnTo>
                  <a:lnTo>
                    <a:pt x="2" y="3"/>
                  </a:lnTo>
                  <a:lnTo>
                    <a:pt x="0" y="10"/>
                  </a:lnTo>
                  <a:lnTo>
                    <a:pt x="2" y="10"/>
                  </a:lnTo>
                  <a:lnTo>
                    <a:pt x="4" y="10"/>
                  </a:lnTo>
                  <a:lnTo>
                    <a:pt x="9" y="10"/>
                  </a:lnTo>
                  <a:lnTo>
                    <a:pt x="11" y="10"/>
                  </a:lnTo>
                  <a:lnTo>
                    <a:pt x="16" y="10"/>
                  </a:lnTo>
                  <a:lnTo>
                    <a:pt x="18" y="12"/>
                  </a:lnTo>
                  <a:lnTo>
                    <a:pt x="21" y="12"/>
                  </a:lnTo>
                  <a:lnTo>
                    <a:pt x="23" y="17"/>
                  </a:lnTo>
                  <a:lnTo>
                    <a:pt x="28" y="14"/>
                  </a:lnTo>
                  <a:lnTo>
                    <a:pt x="30" y="14"/>
                  </a:lnTo>
                  <a:lnTo>
                    <a:pt x="35" y="14"/>
                  </a:lnTo>
                  <a:lnTo>
                    <a:pt x="37" y="14"/>
                  </a:lnTo>
                  <a:lnTo>
                    <a:pt x="40" y="14"/>
                  </a:lnTo>
                  <a:lnTo>
                    <a:pt x="42" y="12"/>
                  </a:lnTo>
                  <a:lnTo>
                    <a:pt x="47" y="14"/>
                  </a:lnTo>
                  <a:lnTo>
                    <a:pt x="49" y="10"/>
                  </a:lnTo>
                  <a:lnTo>
                    <a:pt x="49" y="7"/>
                  </a:lnTo>
                  <a:lnTo>
                    <a:pt x="47" y="10"/>
                  </a:lnTo>
                  <a:lnTo>
                    <a:pt x="44" y="10"/>
                  </a:lnTo>
                  <a:lnTo>
                    <a:pt x="42" y="10"/>
                  </a:lnTo>
                  <a:lnTo>
                    <a:pt x="40" y="10"/>
                  </a:lnTo>
                  <a:lnTo>
                    <a:pt x="37" y="7"/>
                  </a:lnTo>
                  <a:lnTo>
                    <a:pt x="35" y="7"/>
                  </a:lnTo>
                  <a:lnTo>
                    <a:pt x="30" y="7"/>
                  </a:lnTo>
                  <a:lnTo>
                    <a:pt x="28" y="7"/>
                  </a:lnTo>
                  <a:lnTo>
                    <a:pt x="28"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1" name="Freeform 113">
              <a:extLst>
                <a:ext uri="{FF2B5EF4-FFF2-40B4-BE49-F238E27FC236}">
                  <a16:creationId xmlns:a16="http://schemas.microsoft.com/office/drawing/2014/main" id="{9CE987B7-67C9-49A7-B45F-7568C362054F}"/>
                </a:ext>
              </a:extLst>
            </p:cNvPr>
            <p:cNvSpPr>
              <a:spLocks/>
            </p:cNvSpPr>
            <p:nvPr/>
          </p:nvSpPr>
          <p:spPr bwMode="auto">
            <a:xfrm>
              <a:off x="1928066" y="3479765"/>
              <a:ext cx="77788" cy="26987"/>
            </a:xfrm>
            <a:custGeom>
              <a:avLst/>
              <a:gdLst>
                <a:gd name="T0" fmla="*/ 28 w 49"/>
                <a:gd name="T1" fmla="*/ 5 h 17"/>
                <a:gd name="T2" fmla="*/ 26 w 49"/>
                <a:gd name="T3" fmla="*/ 5 h 17"/>
                <a:gd name="T4" fmla="*/ 16 w 49"/>
                <a:gd name="T5" fmla="*/ 7 h 17"/>
                <a:gd name="T6" fmla="*/ 14 w 49"/>
                <a:gd name="T7" fmla="*/ 5 h 17"/>
                <a:gd name="T8" fmla="*/ 11 w 49"/>
                <a:gd name="T9" fmla="*/ 5 h 17"/>
                <a:gd name="T10" fmla="*/ 11 w 49"/>
                <a:gd name="T11" fmla="*/ 3 h 17"/>
                <a:gd name="T12" fmla="*/ 11 w 49"/>
                <a:gd name="T13" fmla="*/ 0 h 17"/>
                <a:gd name="T14" fmla="*/ 9 w 49"/>
                <a:gd name="T15" fmla="*/ 3 h 17"/>
                <a:gd name="T16" fmla="*/ 4 w 49"/>
                <a:gd name="T17" fmla="*/ 0 h 17"/>
                <a:gd name="T18" fmla="*/ 4 w 49"/>
                <a:gd name="T19" fmla="*/ 0 h 17"/>
                <a:gd name="T20" fmla="*/ 4 w 49"/>
                <a:gd name="T21" fmla="*/ 3 h 17"/>
                <a:gd name="T22" fmla="*/ 2 w 49"/>
                <a:gd name="T23" fmla="*/ 3 h 17"/>
                <a:gd name="T24" fmla="*/ 0 w 49"/>
                <a:gd name="T25" fmla="*/ 10 h 17"/>
                <a:gd name="T26" fmla="*/ 2 w 49"/>
                <a:gd name="T27" fmla="*/ 10 h 17"/>
                <a:gd name="T28" fmla="*/ 4 w 49"/>
                <a:gd name="T29" fmla="*/ 10 h 17"/>
                <a:gd name="T30" fmla="*/ 9 w 49"/>
                <a:gd name="T31" fmla="*/ 10 h 17"/>
                <a:gd name="T32" fmla="*/ 11 w 49"/>
                <a:gd name="T33" fmla="*/ 10 h 17"/>
                <a:gd name="T34" fmla="*/ 16 w 49"/>
                <a:gd name="T35" fmla="*/ 10 h 17"/>
                <a:gd name="T36" fmla="*/ 18 w 49"/>
                <a:gd name="T37" fmla="*/ 12 h 17"/>
                <a:gd name="T38" fmla="*/ 21 w 49"/>
                <a:gd name="T39" fmla="*/ 12 h 17"/>
                <a:gd name="T40" fmla="*/ 23 w 49"/>
                <a:gd name="T41" fmla="*/ 17 h 17"/>
                <a:gd name="T42" fmla="*/ 28 w 49"/>
                <a:gd name="T43" fmla="*/ 14 h 17"/>
                <a:gd name="T44" fmla="*/ 30 w 49"/>
                <a:gd name="T45" fmla="*/ 14 h 17"/>
                <a:gd name="T46" fmla="*/ 35 w 49"/>
                <a:gd name="T47" fmla="*/ 14 h 17"/>
                <a:gd name="T48" fmla="*/ 37 w 49"/>
                <a:gd name="T49" fmla="*/ 14 h 17"/>
                <a:gd name="T50" fmla="*/ 40 w 49"/>
                <a:gd name="T51" fmla="*/ 14 h 17"/>
                <a:gd name="T52" fmla="*/ 42 w 49"/>
                <a:gd name="T53" fmla="*/ 12 h 17"/>
                <a:gd name="T54" fmla="*/ 47 w 49"/>
                <a:gd name="T55" fmla="*/ 14 h 17"/>
                <a:gd name="T56" fmla="*/ 49 w 49"/>
                <a:gd name="T57" fmla="*/ 10 h 17"/>
                <a:gd name="T58" fmla="*/ 49 w 49"/>
                <a:gd name="T59" fmla="*/ 7 h 17"/>
                <a:gd name="T60" fmla="*/ 47 w 49"/>
                <a:gd name="T61" fmla="*/ 10 h 17"/>
                <a:gd name="T62" fmla="*/ 44 w 49"/>
                <a:gd name="T63" fmla="*/ 10 h 17"/>
                <a:gd name="T64" fmla="*/ 42 w 49"/>
                <a:gd name="T65" fmla="*/ 10 h 17"/>
                <a:gd name="T66" fmla="*/ 40 w 49"/>
                <a:gd name="T67" fmla="*/ 10 h 17"/>
                <a:gd name="T68" fmla="*/ 37 w 49"/>
                <a:gd name="T69" fmla="*/ 7 h 17"/>
                <a:gd name="T70" fmla="*/ 35 w 49"/>
                <a:gd name="T71" fmla="*/ 7 h 17"/>
                <a:gd name="T72" fmla="*/ 30 w 49"/>
                <a:gd name="T73" fmla="*/ 7 h 17"/>
                <a:gd name="T74" fmla="*/ 28 w 49"/>
                <a:gd name="T75" fmla="*/ 7 h 17"/>
                <a:gd name="T76" fmla="*/ 28 w 49"/>
                <a:gd name="T7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 h="17">
                  <a:moveTo>
                    <a:pt x="28" y="5"/>
                  </a:moveTo>
                  <a:lnTo>
                    <a:pt x="26" y="5"/>
                  </a:lnTo>
                  <a:lnTo>
                    <a:pt x="16" y="7"/>
                  </a:lnTo>
                  <a:lnTo>
                    <a:pt x="14" y="5"/>
                  </a:lnTo>
                  <a:lnTo>
                    <a:pt x="11" y="5"/>
                  </a:lnTo>
                  <a:lnTo>
                    <a:pt x="11" y="3"/>
                  </a:lnTo>
                  <a:lnTo>
                    <a:pt x="11" y="0"/>
                  </a:lnTo>
                  <a:lnTo>
                    <a:pt x="9" y="3"/>
                  </a:lnTo>
                  <a:lnTo>
                    <a:pt x="4" y="0"/>
                  </a:lnTo>
                  <a:lnTo>
                    <a:pt x="4" y="0"/>
                  </a:lnTo>
                  <a:lnTo>
                    <a:pt x="4" y="3"/>
                  </a:lnTo>
                  <a:lnTo>
                    <a:pt x="2" y="3"/>
                  </a:lnTo>
                  <a:lnTo>
                    <a:pt x="0" y="10"/>
                  </a:lnTo>
                  <a:lnTo>
                    <a:pt x="2" y="10"/>
                  </a:lnTo>
                  <a:lnTo>
                    <a:pt x="4" y="10"/>
                  </a:lnTo>
                  <a:lnTo>
                    <a:pt x="9" y="10"/>
                  </a:lnTo>
                  <a:lnTo>
                    <a:pt x="11" y="10"/>
                  </a:lnTo>
                  <a:lnTo>
                    <a:pt x="16" y="10"/>
                  </a:lnTo>
                  <a:lnTo>
                    <a:pt x="18" y="12"/>
                  </a:lnTo>
                  <a:lnTo>
                    <a:pt x="21" y="12"/>
                  </a:lnTo>
                  <a:lnTo>
                    <a:pt x="23" y="17"/>
                  </a:lnTo>
                  <a:lnTo>
                    <a:pt x="28" y="14"/>
                  </a:lnTo>
                  <a:lnTo>
                    <a:pt x="30" y="14"/>
                  </a:lnTo>
                  <a:lnTo>
                    <a:pt x="35" y="14"/>
                  </a:lnTo>
                  <a:lnTo>
                    <a:pt x="37" y="14"/>
                  </a:lnTo>
                  <a:lnTo>
                    <a:pt x="40" y="14"/>
                  </a:lnTo>
                  <a:lnTo>
                    <a:pt x="42" y="12"/>
                  </a:lnTo>
                  <a:lnTo>
                    <a:pt x="47" y="14"/>
                  </a:lnTo>
                  <a:lnTo>
                    <a:pt x="49" y="10"/>
                  </a:lnTo>
                  <a:lnTo>
                    <a:pt x="49" y="7"/>
                  </a:lnTo>
                  <a:lnTo>
                    <a:pt x="47" y="10"/>
                  </a:lnTo>
                  <a:lnTo>
                    <a:pt x="44" y="10"/>
                  </a:lnTo>
                  <a:lnTo>
                    <a:pt x="42" y="10"/>
                  </a:lnTo>
                  <a:lnTo>
                    <a:pt x="40" y="10"/>
                  </a:lnTo>
                  <a:lnTo>
                    <a:pt x="37" y="7"/>
                  </a:lnTo>
                  <a:lnTo>
                    <a:pt x="35" y="7"/>
                  </a:lnTo>
                  <a:lnTo>
                    <a:pt x="30" y="7"/>
                  </a:lnTo>
                  <a:lnTo>
                    <a:pt x="28" y="7"/>
                  </a:lnTo>
                  <a:lnTo>
                    <a:pt x="28"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2" name="Freeform 114">
              <a:extLst>
                <a:ext uri="{FF2B5EF4-FFF2-40B4-BE49-F238E27FC236}">
                  <a16:creationId xmlns:a16="http://schemas.microsoft.com/office/drawing/2014/main" id="{6D0E1F9D-19BF-4C64-989E-7D3223959831}"/>
                </a:ext>
              </a:extLst>
            </p:cNvPr>
            <p:cNvSpPr>
              <a:spLocks/>
            </p:cNvSpPr>
            <p:nvPr/>
          </p:nvSpPr>
          <p:spPr bwMode="auto">
            <a:xfrm>
              <a:off x="1961403" y="3401977"/>
              <a:ext cx="7938" cy="6350"/>
            </a:xfrm>
            <a:custGeom>
              <a:avLst/>
              <a:gdLst>
                <a:gd name="T0" fmla="*/ 5 w 5"/>
                <a:gd name="T1" fmla="*/ 4 h 4"/>
                <a:gd name="T2" fmla="*/ 5 w 5"/>
                <a:gd name="T3" fmla="*/ 4 h 4"/>
                <a:gd name="T4" fmla="*/ 5 w 5"/>
                <a:gd name="T5" fmla="*/ 2 h 4"/>
                <a:gd name="T6" fmla="*/ 5 w 5"/>
                <a:gd name="T7" fmla="*/ 0 h 4"/>
                <a:gd name="T8" fmla="*/ 2 w 5"/>
                <a:gd name="T9" fmla="*/ 0 h 4"/>
                <a:gd name="T10" fmla="*/ 0 w 5"/>
                <a:gd name="T11" fmla="*/ 0 h 4"/>
                <a:gd name="T12" fmla="*/ 0 w 5"/>
                <a:gd name="T13" fmla="*/ 0 h 4"/>
                <a:gd name="T14" fmla="*/ 2 w 5"/>
                <a:gd name="T15" fmla="*/ 2 h 4"/>
                <a:gd name="T16" fmla="*/ 2 w 5"/>
                <a:gd name="T17" fmla="*/ 4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5" y="4"/>
                  </a:lnTo>
                  <a:lnTo>
                    <a:pt x="5" y="2"/>
                  </a:lnTo>
                  <a:lnTo>
                    <a:pt x="5" y="0"/>
                  </a:lnTo>
                  <a:lnTo>
                    <a:pt x="2" y="0"/>
                  </a:lnTo>
                  <a:lnTo>
                    <a:pt x="0" y="0"/>
                  </a:lnTo>
                  <a:lnTo>
                    <a:pt x="0" y="0"/>
                  </a:lnTo>
                  <a:lnTo>
                    <a:pt x="2" y="2"/>
                  </a:lnTo>
                  <a:lnTo>
                    <a:pt x="2" y="4"/>
                  </a:lnTo>
                  <a:lnTo>
                    <a:pt x="5" y="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3" name="Freeform 115">
              <a:extLst>
                <a:ext uri="{FF2B5EF4-FFF2-40B4-BE49-F238E27FC236}">
                  <a16:creationId xmlns:a16="http://schemas.microsoft.com/office/drawing/2014/main" id="{35896066-E07F-476A-969F-F19EA9C4D694}"/>
                </a:ext>
              </a:extLst>
            </p:cNvPr>
            <p:cNvSpPr>
              <a:spLocks/>
            </p:cNvSpPr>
            <p:nvPr/>
          </p:nvSpPr>
          <p:spPr bwMode="auto">
            <a:xfrm>
              <a:off x="1961403" y="3401977"/>
              <a:ext cx="7938" cy="6350"/>
            </a:xfrm>
            <a:custGeom>
              <a:avLst/>
              <a:gdLst>
                <a:gd name="T0" fmla="*/ 5 w 5"/>
                <a:gd name="T1" fmla="*/ 4 h 4"/>
                <a:gd name="T2" fmla="*/ 5 w 5"/>
                <a:gd name="T3" fmla="*/ 4 h 4"/>
                <a:gd name="T4" fmla="*/ 5 w 5"/>
                <a:gd name="T5" fmla="*/ 2 h 4"/>
                <a:gd name="T6" fmla="*/ 5 w 5"/>
                <a:gd name="T7" fmla="*/ 0 h 4"/>
                <a:gd name="T8" fmla="*/ 2 w 5"/>
                <a:gd name="T9" fmla="*/ 0 h 4"/>
                <a:gd name="T10" fmla="*/ 0 w 5"/>
                <a:gd name="T11" fmla="*/ 0 h 4"/>
                <a:gd name="T12" fmla="*/ 0 w 5"/>
                <a:gd name="T13" fmla="*/ 0 h 4"/>
                <a:gd name="T14" fmla="*/ 2 w 5"/>
                <a:gd name="T15" fmla="*/ 2 h 4"/>
                <a:gd name="T16" fmla="*/ 2 w 5"/>
                <a:gd name="T17" fmla="*/ 4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5" y="4"/>
                  </a:lnTo>
                  <a:lnTo>
                    <a:pt x="5" y="2"/>
                  </a:lnTo>
                  <a:lnTo>
                    <a:pt x="5" y="0"/>
                  </a:lnTo>
                  <a:lnTo>
                    <a:pt x="2" y="0"/>
                  </a:lnTo>
                  <a:lnTo>
                    <a:pt x="0" y="0"/>
                  </a:lnTo>
                  <a:lnTo>
                    <a:pt x="0" y="0"/>
                  </a:lnTo>
                  <a:lnTo>
                    <a:pt x="2" y="2"/>
                  </a:lnTo>
                  <a:lnTo>
                    <a:pt x="2" y="4"/>
                  </a:lnTo>
                  <a:lnTo>
                    <a:pt x="5" y="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4" name="Freeform 116">
              <a:extLst>
                <a:ext uri="{FF2B5EF4-FFF2-40B4-BE49-F238E27FC236}">
                  <a16:creationId xmlns:a16="http://schemas.microsoft.com/office/drawing/2014/main" id="{BC79ED2F-C26F-4832-BA01-38991661D61A}"/>
                </a:ext>
              </a:extLst>
            </p:cNvPr>
            <p:cNvSpPr>
              <a:spLocks/>
            </p:cNvSpPr>
            <p:nvPr/>
          </p:nvSpPr>
          <p:spPr bwMode="auto">
            <a:xfrm>
              <a:off x="1980454" y="3427378"/>
              <a:ext cx="3175" cy="7937"/>
            </a:xfrm>
            <a:custGeom>
              <a:avLst/>
              <a:gdLst>
                <a:gd name="T0" fmla="*/ 0 w 2"/>
                <a:gd name="T1" fmla="*/ 5 h 5"/>
                <a:gd name="T2" fmla="*/ 2 w 2"/>
                <a:gd name="T3" fmla="*/ 5 h 5"/>
                <a:gd name="T4" fmla="*/ 2 w 2"/>
                <a:gd name="T5" fmla="*/ 0 h 5"/>
                <a:gd name="T6" fmla="*/ 2 w 2"/>
                <a:gd name="T7" fmla="*/ 0 h 5"/>
                <a:gd name="T8" fmla="*/ 0 w 2"/>
                <a:gd name="T9" fmla="*/ 2 h 5"/>
                <a:gd name="T10" fmla="*/ 0 w 2"/>
                <a:gd name="T11" fmla="*/ 5 h 5"/>
                <a:gd name="T12" fmla="*/ 0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5"/>
                  </a:moveTo>
                  <a:lnTo>
                    <a:pt x="2" y="5"/>
                  </a:lnTo>
                  <a:lnTo>
                    <a:pt x="2" y="0"/>
                  </a:lnTo>
                  <a:lnTo>
                    <a:pt x="2" y="0"/>
                  </a:lnTo>
                  <a:lnTo>
                    <a:pt x="0" y="2"/>
                  </a:lnTo>
                  <a:lnTo>
                    <a:pt x="0" y="5"/>
                  </a:lnTo>
                  <a:lnTo>
                    <a:pt x="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5" name="Freeform 117">
              <a:extLst>
                <a:ext uri="{FF2B5EF4-FFF2-40B4-BE49-F238E27FC236}">
                  <a16:creationId xmlns:a16="http://schemas.microsoft.com/office/drawing/2014/main" id="{540C52C1-54E5-4B4D-9ACB-9662A9715762}"/>
                </a:ext>
              </a:extLst>
            </p:cNvPr>
            <p:cNvSpPr>
              <a:spLocks/>
            </p:cNvSpPr>
            <p:nvPr/>
          </p:nvSpPr>
          <p:spPr bwMode="auto">
            <a:xfrm>
              <a:off x="1980454" y="3427378"/>
              <a:ext cx="3175" cy="7937"/>
            </a:xfrm>
            <a:custGeom>
              <a:avLst/>
              <a:gdLst>
                <a:gd name="T0" fmla="*/ 0 w 2"/>
                <a:gd name="T1" fmla="*/ 5 h 5"/>
                <a:gd name="T2" fmla="*/ 2 w 2"/>
                <a:gd name="T3" fmla="*/ 5 h 5"/>
                <a:gd name="T4" fmla="*/ 2 w 2"/>
                <a:gd name="T5" fmla="*/ 0 h 5"/>
                <a:gd name="T6" fmla="*/ 2 w 2"/>
                <a:gd name="T7" fmla="*/ 0 h 5"/>
                <a:gd name="T8" fmla="*/ 0 w 2"/>
                <a:gd name="T9" fmla="*/ 2 h 5"/>
                <a:gd name="T10" fmla="*/ 0 w 2"/>
                <a:gd name="T11" fmla="*/ 5 h 5"/>
                <a:gd name="T12" fmla="*/ 0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5"/>
                  </a:moveTo>
                  <a:lnTo>
                    <a:pt x="2" y="5"/>
                  </a:lnTo>
                  <a:lnTo>
                    <a:pt x="2" y="0"/>
                  </a:lnTo>
                  <a:lnTo>
                    <a:pt x="2" y="0"/>
                  </a:lnTo>
                  <a:lnTo>
                    <a:pt x="0" y="2"/>
                  </a:lnTo>
                  <a:lnTo>
                    <a:pt x="0" y="5"/>
                  </a:lnTo>
                  <a:lnTo>
                    <a:pt x="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6" name="Freeform 118">
              <a:extLst>
                <a:ext uri="{FF2B5EF4-FFF2-40B4-BE49-F238E27FC236}">
                  <a16:creationId xmlns:a16="http://schemas.microsoft.com/office/drawing/2014/main" id="{2684F9D6-D173-4D41-B6A2-30779EA4D198}"/>
                </a:ext>
              </a:extLst>
            </p:cNvPr>
            <p:cNvSpPr>
              <a:spLocks/>
            </p:cNvSpPr>
            <p:nvPr/>
          </p:nvSpPr>
          <p:spPr bwMode="auto">
            <a:xfrm>
              <a:off x="1862979" y="3386103"/>
              <a:ext cx="65087" cy="68262"/>
            </a:xfrm>
            <a:custGeom>
              <a:avLst/>
              <a:gdLst>
                <a:gd name="T0" fmla="*/ 15 w 41"/>
                <a:gd name="T1" fmla="*/ 0 h 43"/>
                <a:gd name="T2" fmla="*/ 12 w 41"/>
                <a:gd name="T3" fmla="*/ 2 h 43"/>
                <a:gd name="T4" fmla="*/ 8 w 41"/>
                <a:gd name="T5" fmla="*/ 5 h 43"/>
                <a:gd name="T6" fmla="*/ 3 w 41"/>
                <a:gd name="T7" fmla="*/ 2 h 43"/>
                <a:gd name="T8" fmla="*/ 0 w 41"/>
                <a:gd name="T9" fmla="*/ 10 h 43"/>
                <a:gd name="T10" fmla="*/ 0 w 41"/>
                <a:gd name="T11" fmla="*/ 12 h 43"/>
                <a:gd name="T12" fmla="*/ 3 w 41"/>
                <a:gd name="T13" fmla="*/ 17 h 43"/>
                <a:gd name="T14" fmla="*/ 8 w 41"/>
                <a:gd name="T15" fmla="*/ 19 h 43"/>
                <a:gd name="T16" fmla="*/ 10 w 41"/>
                <a:gd name="T17" fmla="*/ 24 h 43"/>
                <a:gd name="T18" fmla="*/ 8 w 41"/>
                <a:gd name="T19" fmla="*/ 28 h 43"/>
                <a:gd name="T20" fmla="*/ 8 w 41"/>
                <a:gd name="T21" fmla="*/ 33 h 43"/>
                <a:gd name="T22" fmla="*/ 10 w 41"/>
                <a:gd name="T23" fmla="*/ 33 h 43"/>
                <a:gd name="T24" fmla="*/ 12 w 41"/>
                <a:gd name="T25" fmla="*/ 36 h 43"/>
                <a:gd name="T26" fmla="*/ 12 w 41"/>
                <a:gd name="T27" fmla="*/ 31 h 43"/>
                <a:gd name="T28" fmla="*/ 15 w 41"/>
                <a:gd name="T29" fmla="*/ 28 h 43"/>
                <a:gd name="T30" fmla="*/ 17 w 41"/>
                <a:gd name="T31" fmla="*/ 31 h 43"/>
                <a:gd name="T32" fmla="*/ 19 w 41"/>
                <a:gd name="T33" fmla="*/ 33 h 43"/>
                <a:gd name="T34" fmla="*/ 19 w 41"/>
                <a:gd name="T35" fmla="*/ 38 h 43"/>
                <a:gd name="T36" fmla="*/ 22 w 41"/>
                <a:gd name="T37" fmla="*/ 43 h 43"/>
                <a:gd name="T38" fmla="*/ 22 w 41"/>
                <a:gd name="T39" fmla="*/ 43 h 43"/>
                <a:gd name="T40" fmla="*/ 24 w 41"/>
                <a:gd name="T41" fmla="*/ 36 h 43"/>
                <a:gd name="T42" fmla="*/ 26 w 41"/>
                <a:gd name="T43" fmla="*/ 36 h 43"/>
                <a:gd name="T44" fmla="*/ 29 w 41"/>
                <a:gd name="T45" fmla="*/ 38 h 43"/>
                <a:gd name="T46" fmla="*/ 31 w 41"/>
                <a:gd name="T47" fmla="*/ 40 h 43"/>
                <a:gd name="T48" fmla="*/ 33 w 41"/>
                <a:gd name="T49" fmla="*/ 43 h 43"/>
                <a:gd name="T50" fmla="*/ 33 w 41"/>
                <a:gd name="T51" fmla="*/ 36 h 43"/>
                <a:gd name="T52" fmla="*/ 31 w 41"/>
                <a:gd name="T53" fmla="*/ 26 h 43"/>
                <a:gd name="T54" fmla="*/ 29 w 41"/>
                <a:gd name="T55" fmla="*/ 21 h 43"/>
                <a:gd name="T56" fmla="*/ 26 w 41"/>
                <a:gd name="T57" fmla="*/ 19 h 43"/>
                <a:gd name="T58" fmla="*/ 33 w 41"/>
                <a:gd name="T59" fmla="*/ 21 h 43"/>
                <a:gd name="T60" fmla="*/ 33 w 41"/>
                <a:gd name="T61" fmla="*/ 24 h 43"/>
                <a:gd name="T62" fmla="*/ 36 w 41"/>
                <a:gd name="T63" fmla="*/ 24 h 43"/>
                <a:gd name="T64" fmla="*/ 38 w 41"/>
                <a:gd name="T65" fmla="*/ 21 h 43"/>
                <a:gd name="T66" fmla="*/ 41 w 41"/>
                <a:gd name="T67" fmla="*/ 21 h 43"/>
                <a:gd name="T68" fmla="*/ 41 w 41"/>
                <a:gd name="T69" fmla="*/ 19 h 43"/>
                <a:gd name="T70" fmla="*/ 36 w 41"/>
                <a:gd name="T71" fmla="*/ 17 h 43"/>
                <a:gd name="T72" fmla="*/ 33 w 41"/>
                <a:gd name="T73" fmla="*/ 12 h 43"/>
                <a:gd name="T74" fmla="*/ 33 w 41"/>
                <a:gd name="T75" fmla="*/ 10 h 43"/>
                <a:gd name="T76" fmla="*/ 31 w 41"/>
                <a:gd name="T77" fmla="*/ 7 h 43"/>
                <a:gd name="T78" fmla="*/ 24 w 41"/>
                <a:gd name="T79" fmla="*/ 5 h 43"/>
                <a:gd name="T80" fmla="*/ 19 w 41"/>
                <a:gd name="T81" fmla="*/ 2 h 43"/>
                <a:gd name="T82" fmla="*/ 17 w 41"/>
                <a:gd name="T83" fmla="*/ 2 h 43"/>
                <a:gd name="T84" fmla="*/ 15 w 41"/>
                <a:gd name="T8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 h="43">
                  <a:moveTo>
                    <a:pt x="15" y="0"/>
                  </a:moveTo>
                  <a:lnTo>
                    <a:pt x="12" y="2"/>
                  </a:lnTo>
                  <a:lnTo>
                    <a:pt x="8" y="5"/>
                  </a:lnTo>
                  <a:lnTo>
                    <a:pt x="3" y="2"/>
                  </a:lnTo>
                  <a:lnTo>
                    <a:pt x="0" y="10"/>
                  </a:lnTo>
                  <a:lnTo>
                    <a:pt x="0" y="12"/>
                  </a:lnTo>
                  <a:lnTo>
                    <a:pt x="3" y="17"/>
                  </a:lnTo>
                  <a:lnTo>
                    <a:pt x="8" y="19"/>
                  </a:lnTo>
                  <a:lnTo>
                    <a:pt x="10" y="24"/>
                  </a:lnTo>
                  <a:lnTo>
                    <a:pt x="8" y="28"/>
                  </a:lnTo>
                  <a:lnTo>
                    <a:pt x="8" y="33"/>
                  </a:lnTo>
                  <a:lnTo>
                    <a:pt x="10" y="33"/>
                  </a:lnTo>
                  <a:lnTo>
                    <a:pt x="12" y="36"/>
                  </a:lnTo>
                  <a:lnTo>
                    <a:pt x="12" y="31"/>
                  </a:lnTo>
                  <a:lnTo>
                    <a:pt x="15" y="28"/>
                  </a:lnTo>
                  <a:lnTo>
                    <a:pt x="17" y="31"/>
                  </a:lnTo>
                  <a:lnTo>
                    <a:pt x="19" y="33"/>
                  </a:lnTo>
                  <a:lnTo>
                    <a:pt x="19" y="38"/>
                  </a:lnTo>
                  <a:lnTo>
                    <a:pt x="22" y="43"/>
                  </a:lnTo>
                  <a:lnTo>
                    <a:pt x="22" y="43"/>
                  </a:lnTo>
                  <a:lnTo>
                    <a:pt x="24" y="36"/>
                  </a:lnTo>
                  <a:lnTo>
                    <a:pt x="26" y="36"/>
                  </a:lnTo>
                  <a:lnTo>
                    <a:pt x="29" y="38"/>
                  </a:lnTo>
                  <a:lnTo>
                    <a:pt x="31" y="40"/>
                  </a:lnTo>
                  <a:lnTo>
                    <a:pt x="33" y="43"/>
                  </a:lnTo>
                  <a:lnTo>
                    <a:pt x="33" y="36"/>
                  </a:lnTo>
                  <a:lnTo>
                    <a:pt x="31" y="26"/>
                  </a:lnTo>
                  <a:lnTo>
                    <a:pt x="29" y="21"/>
                  </a:lnTo>
                  <a:lnTo>
                    <a:pt x="26" y="19"/>
                  </a:lnTo>
                  <a:lnTo>
                    <a:pt x="33" y="21"/>
                  </a:lnTo>
                  <a:lnTo>
                    <a:pt x="33" y="24"/>
                  </a:lnTo>
                  <a:lnTo>
                    <a:pt x="36" y="24"/>
                  </a:lnTo>
                  <a:lnTo>
                    <a:pt x="38" y="21"/>
                  </a:lnTo>
                  <a:lnTo>
                    <a:pt x="41" y="21"/>
                  </a:lnTo>
                  <a:lnTo>
                    <a:pt x="41" y="19"/>
                  </a:lnTo>
                  <a:lnTo>
                    <a:pt x="36" y="17"/>
                  </a:lnTo>
                  <a:lnTo>
                    <a:pt x="33" y="12"/>
                  </a:lnTo>
                  <a:lnTo>
                    <a:pt x="33" y="10"/>
                  </a:lnTo>
                  <a:lnTo>
                    <a:pt x="31" y="7"/>
                  </a:lnTo>
                  <a:lnTo>
                    <a:pt x="24" y="5"/>
                  </a:lnTo>
                  <a:lnTo>
                    <a:pt x="19" y="2"/>
                  </a:lnTo>
                  <a:lnTo>
                    <a:pt x="17" y="2"/>
                  </a:lnTo>
                  <a:lnTo>
                    <a:pt x="1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7" name="Freeform 119">
              <a:extLst>
                <a:ext uri="{FF2B5EF4-FFF2-40B4-BE49-F238E27FC236}">
                  <a16:creationId xmlns:a16="http://schemas.microsoft.com/office/drawing/2014/main" id="{954DD88B-544D-4F6F-B4A6-9D9DBB8A0B88}"/>
                </a:ext>
              </a:extLst>
            </p:cNvPr>
            <p:cNvSpPr>
              <a:spLocks/>
            </p:cNvSpPr>
            <p:nvPr/>
          </p:nvSpPr>
          <p:spPr bwMode="auto">
            <a:xfrm>
              <a:off x="1862979" y="3386103"/>
              <a:ext cx="65087" cy="68262"/>
            </a:xfrm>
            <a:custGeom>
              <a:avLst/>
              <a:gdLst>
                <a:gd name="T0" fmla="*/ 15 w 41"/>
                <a:gd name="T1" fmla="*/ 0 h 43"/>
                <a:gd name="T2" fmla="*/ 12 w 41"/>
                <a:gd name="T3" fmla="*/ 2 h 43"/>
                <a:gd name="T4" fmla="*/ 8 w 41"/>
                <a:gd name="T5" fmla="*/ 5 h 43"/>
                <a:gd name="T6" fmla="*/ 3 w 41"/>
                <a:gd name="T7" fmla="*/ 2 h 43"/>
                <a:gd name="T8" fmla="*/ 0 w 41"/>
                <a:gd name="T9" fmla="*/ 10 h 43"/>
                <a:gd name="T10" fmla="*/ 0 w 41"/>
                <a:gd name="T11" fmla="*/ 12 h 43"/>
                <a:gd name="T12" fmla="*/ 3 w 41"/>
                <a:gd name="T13" fmla="*/ 17 h 43"/>
                <a:gd name="T14" fmla="*/ 8 w 41"/>
                <a:gd name="T15" fmla="*/ 19 h 43"/>
                <a:gd name="T16" fmla="*/ 10 w 41"/>
                <a:gd name="T17" fmla="*/ 24 h 43"/>
                <a:gd name="T18" fmla="*/ 8 w 41"/>
                <a:gd name="T19" fmla="*/ 28 h 43"/>
                <a:gd name="T20" fmla="*/ 8 w 41"/>
                <a:gd name="T21" fmla="*/ 33 h 43"/>
                <a:gd name="T22" fmla="*/ 10 w 41"/>
                <a:gd name="T23" fmla="*/ 33 h 43"/>
                <a:gd name="T24" fmla="*/ 12 w 41"/>
                <a:gd name="T25" fmla="*/ 36 h 43"/>
                <a:gd name="T26" fmla="*/ 12 w 41"/>
                <a:gd name="T27" fmla="*/ 31 h 43"/>
                <a:gd name="T28" fmla="*/ 15 w 41"/>
                <a:gd name="T29" fmla="*/ 28 h 43"/>
                <a:gd name="T30" fmla="*/ 17 w 41"/>
                <a:gd name="T31" fmla="*/ 31 h 43"/>
                <a:gd name="T32" fmla="*/ 19 w 41"/>
                <a:gd name="T33" fmla="*/ 33 h 43"/>
                <a:gd name="T34" fmla="*/ 19 w 41"/>
                <a:gd name="T35" fmla="*/ 38 h 43"/>
                <a:gd name="T36" fmla="*/ 22 w 41"/>
                <a:gd name="T37" fmla="*/ 43 h 43"/>
                <a:gd name="T38" fmla="*/ 22 w 41"/>
                <a:gd name="T39" fmla="*/ 43 h 43"/>
                <a:gd name="T40" fmla="*/ 24 w 41"/>
                <a:gd name="T41" fmla="*/ 36 h 43"/>
                <a:gd name="T42" fmla="*/ 26 w 41"/>
                <a:gd name="T43" fmla="*/ 36 h 43"/>
                <a:gd name="T44" fmla="*/ 29 w 41"/>
                <a:gd name="T45" fmla="*/ 38 h 43"/>
                <a:gd name="T46" fmla="*/ 31 w 41"/>
                <a:gd name="T47" fmla="*/ 40 h 43"/>
                <a:gd name="T48" fmla="*/ 33 w 41"/>
                <a:gd name="T49" fmla="*/ 43 h 43"/>
                <a:gd name="T50" fmla="*/ 33 w 41"/>
                <a:gd name="T51" fmla="*/ 36 h 43"/>
                <a:gd name="T52" fmla="*/ 31 w 41"/>
                <a:gd name="T53" fmla="*/ 26 h 43"/>
                <a:gd name="T54" fmla="*/ 29 w 41"/>
                <a:gd name="T55" fmla="*/ 21 h 43"/>
                <a:gd name="T56" fmla="*/ 26 w 41"/>
                <a:gd name="T57" fmla="*/ 19 h 43"/>
                <a:gd name="T58" fmla="*/ 33 w 41"/>
                <a:gd name="T59" fmla="*/ 21 h 43"/>
                <a:gd name="T60" fmla="*/ 33 w 41"/>
                <a:gd name="T61" fmla="*/ 24 h 43"/>
                <a:gd name="T62" fmla="*/ 36 w 41"/>
                <a:gd name="T63" fmla="*/ 24 h 43"/>
                <a:gd name="T64" fmla="*/ 38 w 41"/>
                <a:gd name="T65" fmla="*/ 21 h 43"/>
                <a:gd name="T66" fmla="*/ 41 w 41"/>
                <a:gd name="T67" fmla="*/ 21 h 43"/>
                <a:gd name="T68" fmla="*/ 41 w 41"/>
                <a:gd name="T69" fmla="*/ 19 h 43"/>
                <a:gd name="T70" fmla="*/ 36 w 41"/>
                <a:gd name="T71" fmla="*/ 17 h 43"/>
                <a:gd name="T72" fmla="*/ 33 w 41"/>
                <a:gd name="T73" fmla="*/ 12 h 43"/>
                <a:gd name="T74" fmla="*/ 33 w 41"/>
                <a:gd name="T75" fmla="*/ 10 h 43"/>
                <a:gd name="T76" fmla="*/ 31 w 41"/>
                <a:gd name="T77" fmla="*/ 7 h 43"/>
                <a:gd name="T78" fmla="*/ 24 w 41"/>
                <a:gd name="T79" fmla="*/ 5 h 43"/>
                <a:gd name="T80" fmla="*/ 19 w 41"/>
                <a:gd name="T81" fmla="*/ 2 h 43"/>
                <a:gd name="T82" fmla="*/ 17 w 41"/>
                <a:gd name="T83" fmla="*/ 2 h 43"/>
                <a:gd name="T84" fmla="*/ 15 w 41"/>
                <a:gd name="T8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 h="43">
                  <a:moveTo>
                    <a:pt x="15" y="0"/>
                  </a:moveTo>
                  <a:lnTo>
                    <a:pt x="12" y="2"/>
                  </a:lnTo>
                  <a:lnTo>
                    <a:pt x="8" y="5"/>
                  </a:lnTo>
                  <a:lnTo>
                    <a:pt x="3" y="2"/>
                  </a:lnTo>
                  <a:lnTo>
                    <a:pt x="0" y="10"/>
                  </a:lnTo>
                  <a:lnTo>
                    <a:pt x="0" y="12"/>
                  </a:lnTo>
                  <a:lnTo>
                    <a:pt x="3" y="17"/>
                  </a:lnTo>
                  <a:lnTo>
                    <a:pt x="8" y="19"/>
                  </a:lnTo>
                  <a:lnTo>
                    <a:pt x="10" y="24"/>
                  </a:lnTo>
                  <a:lnTo>
                    <a:pt x="8" y="28"/>
                  </a:lnTo>
                  <a:lnTo>
                    <a:pt x="8" y="33"/>
                  </a:lnTo>
                  <a:lnTo>
                    <a:pt x="10" y="33"/>
                  </a:lnTo>
                  <a:lnTo>
                    <a:pt x="12" y="36"/>
                  </a:lnTo>
                  <a:lnTo>
                    <a:pt x="12" y="31"/>
                  </a:lnTo>
                  <a:lnTo>
                    <a:pt x="15" y="28"/>
                  </a:lnTo>
                  <a:lnTo>
                    <a:pt x="17" y="31"/>
                  </a:lnTo>
                  <a:lnTo>
                    <a:pt x="19" y="33"/>
                  </a:lnTo>
                  <a:lnTo>
                    <a:pt x="19" y="38"/>
                  </a:lnTo>
                  <a:lnTo>
                    <a:pt x="22" y="43"/>
                  </a:lnTo>
                  <a:lnTo>
                    <a:pt x="22" y="43"/>
                  </a:lnTo>
                  <a:lnTo>
                    <a:pt x="24" y="36"/>
                  </a:lnTo>
                  <a:lnTo>
                    <a:pt x="26" y="36"/>
                  </a:lnTo>
                  <a:lnTo>
                    <a:pt x="29" y="38"/>
                  </a:lnTo>
                  <a:lnTo>
                    <a:pt x="31" y="40"/>
                  </a:lnTo>
                  <a:lnTo>
                    <a:pt x="33" y="43"/>
                  </a:lnTo>
                  <a:lnTo>
                    <a:pt x="33" y="36"/>
                  </a:lnTo>
                  <a:lnTo>
                    <a:pt x="31" y="26"/>
                  </a:lnTo>
                  <a:lnTo>
                    <a:pt x="29" y="21"/>
                  </a:lnTo>
                  <a:lnTo>
                    <a:pt x="26" y="19"/>
                  </a:lnTo>
                  <a:lnTo>
                    <a:pt x="33" y="21"/>
                  </a:lnTo>
                  <a:lnTo>
                    <a:pt x="33" y="24"/>
                  </a:lnTo>
                  <a:lnTo>
                    <a:pt x="36" y="24"/>
                  </a:lnTo>
                  <a:lnTo>
                    <a:pt x="38" y="21"/>
                  </a:lnTo>
                  <a:lnTo>
                    <a:pt x="41" y="21"/>
                  </a:lnTo>
                  <a:lnTo>
                    <a:pt x="41" y="19"/>
                  </a:lnTo>
                  <a:lnTo>
                    <a:pt x="36" y="17"/>
                  </a:lnTo>
                  <a:lnTo>
                    <a:pt x="33" y="12"/>
                  </a:lnTo>
                  <a:lnTo>
                    <a:pt x="33" y="10"/>
                  </a:lnTo>
                  <a:lnTo>
                    <a:pt x="31" y="7"/>
                  </a:lnTo>
                  <a:lnTo>
                    <a:pt x="24" y="5"/>
                  </a:lnTo>
                  <a:lnTo>
                    <a:pt x="19" y="2"/>
                  </a:lnTo>
                  <a:lnTo>
                    <a:pt x="17" y="2"/>
                  </a:lnTo>
                  <a:lnTo>
                    <a:pt x="1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8" name="Freeform 120">
              <a:extLst>
                <a:ext uri="{FF2B5EF4-FFF2-40B4-BE49-F238E27FC236}">
                  <a16:creationId xmlns:a16="http://schemas.microsoft.com/office/drawing/2014/main" id="{81CBB5BA-3C4F-402A-AA36-3C11D5A0BFCF}"/>
                </a:ext>
              </a:extLst>
            </p:cNvPr>
            <p:cNvSpPr>
              <a:spLocks/>
            </p:cNvSpPr>
            <p:nvPr/>
          </p:nvSpPr>
          <p:spPr bwMode="auto">
            <a:xfrm>
              <a:off x="1840754" y="3382928"/>
              <a:ext cx="11113" cy="14287"/>
            </a:xfrm>
            <a:custGeom>
              <a:avLst/>
              <a:gdLst>
                <a:gd name="T0" fmla="*/ 7 w 7"/>
                <a:gd name="T1" fmla="*/ 9 h 9"/>
                <a:gd name="T2" fmla="*/ 7 w 7"/>
                <a:gd name="T3" fmla="*/ 4 h 9"/>
                <a:gd name="T4" fmla="*/ 5 w 7"/>
                <a:gd name="T5" fmla="*/ 4 h 9"/>
                <a:gd name="T6" fmla="*/ 5 w 7"/>
                <a:gd name="T7" fmla="*/ 0 h 9"/>
                <a:gd name="T8" fmla="*/ 3 w 7"/>
                <a:gd name="T9" fmla="*/ 2 h 9"/>
                <a:gd name="T10" fmla="*/ 0 w 7"/>
                <a:gd name="T11" fmla="*/ 4 h 9"/>
                <a:gd name="T12" fmla="*/ 3 w 7"/>
                <a:gd name="T13" fmla="*/ 7 h 9"/>
                <a:gd name="T14" fmla="*/ 5 w 7"/>
                <a:gd name="T15" fmla="*/ 7 h 9"/>
                <a:gd name="T16" fmla="*/ 7 w 7"/>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9"/>
                  </a:moveTo>
                  <a:lnTo>
                    <a:pt x="7" y="4"/>
                  </a:lnTo>
                  <a:lnTo>
                    <a:pt x="5" y="4"/>
                  </a:lnTo>
                  <a:lnTo>
                    <a:pt x="5" y="0"/>
                  </a:lnTo>
                  <a:lnTo>
                    <a:pt x="3" y="2"/>
                  </a:lnTo>
                  <a:lnTo>
                    <a:pt x="0" y="4"/>
                  </a:lnTo>
                  <a:lnTo>
                    <a:pt x="3" y="7"/>
                  </a:lnTo>
                  <a:lnTo>
                    <a:pt x="5" y="7"/>
                  </a:lnTo>
                  <a:lnTo>
                    <a:pt x="7"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29" name="Freeform 121">
              <a:extLst>
                <a:ext uri="{FF2B5EF4-FFF2-40B4-BE49-F238E27FC236}">
                  <a16:creationId xmlns:a16="http://schemas.microsoft.com/office/drawing/2014/main" id="{92C1968F-9304-437C-B84D-E0D777572F5F}"/>
                </a:ext>
              </a:extLst>
            </p:cNvPr>
            <p:cNvSpPr>
              <a:spLocks/>
            </p:cNvSpPr>
            <p:nvPr/>
          </p:nvSpPr>
          <p:spPr bwMode="auto">
            <a:xfrm>
              <a:off x="1840754" y="3382928"/>
              <a:ext cx="11113" cy="14287"/>
            </a:xfrm>
            <a:custGeom>
              <a:avLst/>
              <a:gdLst>
                <a:gd name="T0" fmla="*/ 7 w 7"/>
                <a:gd name="T1" fmla="*/ 9 h 9"/>
                <a:gd name="T2" fmla="*/ 7 w 7"/>
                <a:gd name="T3" fmla="*/ 4 h 9"/>
                <a:gd name="T4" fmla="*/ 5 w 7"/>
                <a:gd name="T5" fmla="*/ 4 h 9"/>
                <a:gd name="T6" fmla="*/ 5 w 7"/>
                <a:gd name="T7" fmla="*/ 0 h 9"/>
                <a:gd name="T8" fmla="*/ 3 w 7"/>
                <a:gd name="T9" fmla="*/ 2 h 9"/>
                <a:gd name="T10" fmla="*/ 0 w 7"/>
                <a:gd name="T11" fmla="*/ 4 h 9"/>
                <a:gd name="T12" fmla="*/ 3 w 7"/>
                <a:gd name="T13" fmla="*/ 7 h 9"/>
                <a:gd name="T14" fmla="*/ 5 w 7"/>
                <a:gd name="T15" fmla="*/ 7 h 9"/>
                <a:gd name="T16" fmla="*/ 7 w 7"/>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7" y="9"/>
                  </a:moveTo>
                  <a:lnTo>
                    <a:pt x="7" y="4"/>
                  </a:lnTo>
                  <a:lnTo>
                    <a:pt x="5" y="4"/>
                  </a:lnTo>
                  <a:lnTo>
                    <a:pt x="5" y="0"/>
                  </a:lnTo>
                  <a:lnTo>
                    <a:pt x="3" y="2"/>
                  </a:lnTo>
                  <a:lnTo>
                    <a:pt x="0" y="4"/>
                  </a:lnTo>
                  <a:lnTo>
                    <a:pt x="3" y="7"/>
                  </a:lnTo>
                  <a:lnTo>
                    <a:pt x="5" y="7"/>
                  </a:lnTo>
                  <a:lnTo>
                    <a:pt x="7" y="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0" name="Freeform 122">
              <a:extLst>
                <a:ext uri="{FF2B5EF4-FFF2-40B4-BE49-F238E27FC236}">
                  <a16:creationId xmlns:a16="http://schemas.microsoft.com/office/drawing/2014/main" id="{9738F73D-3BAA-4C54-9338-4BEF0B86447B}"/>
                </a:ext>
              </a:extLst>
            </p:cNvPr>
            <p:cNvSpPr>
              <a:spLocks/>
            </p:cNvSpPr>
            <p:nvPr/>
          </p:nvSpPr>
          <p:spPr bwMode="auto">
            <a:xfrm>
              <a:off x="1912191" y="3363878"/>
              <a:ext cx="44450" cy="38100"/>
            </a:xfrm>
            <a:custGeom>
              <a:avLst/>
              <a:gdLst>
                <a:gd name="T0" fmla="*/ 28 w 28"/>
                <a:gd name="T1" fmla="*/ 21 h 24"/>
                <a:gd name="T2" fmla="*/ 28 w 28"/>
                <a:gd name="T3" fmla="*/ 21 h 24"/>
                <a:gd name="T4" fmla="*/ 28 w 28"/>
                <a:gd name="T5" fmla="*/ 19 h 24"/>
                <a:gd name="T6" fmla="*/ 24 w 28"/>
                <a:gd name="T7" fmla="*/ 16 h 24"/>
                <a:gd name="T8" fmla="*/ 21 w 28"/>
                <a:gd name="T9" fmla="*/ 12 h 24"/>
                <a:gd name="T10" fmla="*/ 21 w 28"/>
                <a:gd name="T11" fmla="*/ 9 h 24"/>
                <a:gd name="T12" fmla="*/ 21 w 28"/>
                <a:gd name="T13" fmla="*/ 7 h 24"/>
                <a:gd name="T14" fmla="*/ 17 w 28"/>
                <a:gd name="T15" fmla="*/ 7 h 24"/>
                <a:gd name="T16" fmla="*/ 12 w 28"/>
                <a:gd name="T17" fmla="*/ 5 h 24"/>
                <a:gd name="T18" fmla="*/ 7 w 28"/>
                <a:gd name="T19" fmla="*/ 0 h 24"/>
                <a:gd name="T20" fmla="*/ 7 w 28"/>
                <a:gd name="T21" fmla="*/ 0 h 24"/>
                <a:gd name="T22" fmla="*/ 5 w 28"/>
                <a:gd name="T23" fmla="*/ 0 h 24"/>
                <a:gd name="T24" fmla="*/ 2 w 28"/>
                <a:gd name="T25" fmla="*/ 2 h 24"/>
                <a:gd name="T26" fmla="*/ 0 w 28"/>
                <a:gd name="T27" fmla="*/ 2 h 24"/>
                <a:gd name="T28" fmla="*/ 5 w 28"/>
                <a:gd name="T29" fmla="*/ 2 h 24"/>
                <a:gd name="T30" fmla="*/ 7 w 28"/>
                <a:gd name="T31" fmla="*/ 7 h 24"/>
                <a:gd name="T32" fmla="*/ 10 w 28"/>
                <a:gd name="T33" fmla="*/ 9 h 24"/>
                <a:gd name="T34" fmla="*/ 12 w 28"/>
                <a:gd name="T35" fmla="*/ 12 h 24"/>
                <a:gd name="T36" fmla="*/ 14 w 28"/>
                <a:gd name="T37" fmla="*/ 14 h 24"/>
                <a:gd name="T38" fmla="*/ 17 w 28"/>
                <a:gd name="T39" fmla="*/ 14 h 24"/>
                <a:gd name="T40" fmla="*/ 21 w 28"/>
                <a:gd name="T41" fmla="*/ 16 h 24"/>
                <a:gd name="T42" fmla="*/ 21 w 28"/>
                <a:gd name="T43" fmla="*/ 19 h 24"/>
                <a:gd name="T44" fmla="*/ 24 w 28"/>
                <a:gd name="T45" fmla="*/ 21 h 24"/>
                <a:gd name="T46" fmla="*/ 24 w 28"/>
                <a:gd name="T47" fmla="*/ 24 h 24"/>
                <a:gd name="T48" fmla="*/ 28 w 28"/>
                <a:gd name="T49" fmla="*/ 24 h 24"/>
                <a:gd name="T50" fmla="*/ 28 w 28"/>
                <a:gd name="T51"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24">
                  <a:moveTo>
                    <a:pt x="28" y="21"/>
                  </a:moveTo>
                  <a:lnTo>
                    <a:pt x="28" y="21"/>
                  </a:lnTo>
                  <a:lnTo>
                    <a:pt x="28" y="19"/>
                  </a:lnTo>
                  <a:lnTo>
                    <a:pt x="24" y="16"/>
                  </a:lnTo>
                  <a:lnTo>
                    <a:pt x="21" y="12"/>
                  </a:lnTo>
                  <a:lnTo>
                    <a:pt x="21" y="9"/>
                  </a:lnTo>
                  <a:lnTo>
                    <a:pt x="21" y="7"/>
                  </a:lnTo>
                  <a:lnTo>
                    <a:pt x="17" y="7"/>
                  </a:lnTo>
                  <a:lnTo>
                    <a:pt x="12" y="5"/>
                  </a:lnTo>
                  <a:lnTo>
                    <a:pt x="7" y="0"/>
                  </a:lnTo>
                  <a:lnTo>
                    <a:pt x="7" y="0"/>
                  </a:lnTo>
                  <a:lnTo>
                    <a:pt x="5" y="0"/>
                  </a:lnTo>
                  <a:lnTo>
                    <a:pt x="2" y="2"/>
                  </a:lnTo>
                  <a:lnTo>
                    <a:pt x="0" y="2"/>
                  </a:lnTo>
                  <a:lnTo>
                    <a:pt x="5" y="2"/>
                  </a:lnTo>
                  <a:lnTo>
                    <a:pt x="7" y="7"/>
                  </a:lnTo>
                  <a:lnTo>
                    <a:pt x="10" y="9"/>
                  </a:lnTo>
                  <a:lnTo>
                    <a:pt x="12" y="12"/>
                  </a:lnTo>
                  <a:lnTo>
                    <a:pt x="14" y="14"/>
                  </a:lnTo>
                  <a:lnTo>
                    <a:pt x="17" y="14"/>
                  </a:lnTo>
                  <a:lnTo>
                    <a:pt x="21" y="16"/>
                  </a:lnTo>
                  <a:lnTo>
                    <a:pt x="21" y="19"/>
                  </a:lnTo>
                  <a:lnTo>
                    <a:pt x="24" y="21"/>
                  </a:lnTo>
                  <a:lnTo>
                    <a:pt x="24" y="24"/>
                  </a:lnTo>
                  <a:lnTo>
                    <a:pt x="28" y="24"/>
                  </a:lnTo>
                  <a:lnTo>
                    <a:pt x="28" y="2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1" name="Freeform 123">
              <a:extLst>
                <a:ext uri="{FF2B5EF4-FFF2-40B4-BE49-F238E27FC236}">
                  <a16:creationId xmlns:a16="http://schemas.microsoft.com/office/drawing/2014/main" id="{E825192F-1E52-4C4C-9DF5-1D9028CD6F63}"/>
                </a:ext>
              </a:extLst>
            </p:cNvPr>
            <p:cNvSpPr>
              <a:spLocks/>
            </p:cNvSpPr>
            <p:nvPr/>
          </p:nvSpPr>
          <p:spPr bwMode="auto">
            <a:xfrm>
              <a:off x="1912191" y="3363878"/>
              <a:ext cx="44450" cy="38100"/>
            </a:xfrm>
            <a:custGeom>
              <a:avLst/>
              <a:gdLst>
                <a:gd name="T0" fmla="*/ 28 w 28"/>
                <a:gd name="T1" fmla="*/ 21 h 24"/>
                <a:gd name="T2" fmla="*/ 28 w 28"/>
                <a:gd name="T3" fmla="*/ 21 h 24"/>
                <a:gd name="T4" fmla="*/ 28 w 28"/>
                <a:gd name="T5" fmla="*/ 19 h 24"/>
                <a:gd name="T6" fmla="*/ 24 w 28"/>
                <a:gd name="T7" fmla="*/ 16 h 24"/>
                <a:gd name="T8" fmla="*/ 21 w 28"/>
                <a:gd name="T9" fmla="*/ 12 h 24"/>
                <a:gd name="T10" fmla="*/ 21 w 28"/>
                <a:gd name="T11" fmla="*/ 9 h 24"/>
                <a:gd name="T12" fmla="*/ 21 w 28"/>
                <a:gd name="T13" fmla="*/ 7 h 24"/>
                <a:gd name="T14" fmla="*/ 17 w 28"/>
                <a:gd name="T15" fmla="*/ 7 h 24"/>
                <a:gd name="T16" fmla="*/ 12 w 28"/>
                <a:gd name="T17" fmla="*/ 5 h 24"/>
                <a:gd name="T18" fmla="*/ 7 w 28"/>
                <a:gd name="T19" fmla="*/ 0 h 24"/>
                <a:gd name="T20" fmla="*/ 7 w 28"/>
                <a:gd name="T21" fmla="*/ 0 h 24"/>
                <a:gd name="T22" fmla="*/ 5 w 28"/>
                <a:gd name="T23" fmla="*/ 0 h 24"/>
                <a:gd name="T24" fmla="*/ 2 w 28"/>
                <a:gd name="T25" fmla="*/ 2 h 24"/>
                <a:gd name="T26" fmla="*/ 0 w 28"/>
                <a:gd name="T27" fmla="*/ 2 h 24"/>
                <a:gd name="T28" fmla="*/ 5 w 28"/>
                <a:gd name="T29" fmla="*/ 2 h 24"/>
                <a:gd name="T30" fmla="*/ 7 w 28"/>
                <a:gd name="T31" fmla="*/ 7 h 24"/>
                <a:gd name="T32" fmla="*/ 10 w 28"/>
                <a:gd name="T33" fmla="*/ 9 h 24"/>
                <a:gd name="T34" fmla="*/ 12 w 28"/>
                <a:gd name="T35" fmla="*/ 12 h 24"/>
                <a:gd name="T36" fmla="*/ 14 w 28"/>
                <a:gd name="T37" fmla="*/ 14 h 24"/>
                <a:gd name="T38" fmla="*/ 17 w 28"/>
                <a:gd name="T39" fmla="*/ 14 h 24"/>
                <a:gd name="T40" fmla="*/ 21 w 28"/>
                <a:gd name="T41" fmla="*/ 16 h 24"/>
                <a:gd name="T42" fmla="*/ 21 w 28"/>
                <a:gd name="T43" fmla="*/ 19 h 24"/>
                <a:gd name="T44" fmla="*/ 24 w 28"/>
                <a:gd name="T45" fmla="*/ 21 h 24"/>
                <a:gd name="T46" fmla="*/ 24 w 28"/>
                <a:gd name="T47" fmla="*/ 24 h 24"/>
                <a:gd name="T48" fmla="*/ 28 w 28"/>
                <a:gd name="T49" fmla="*/ 24 h 24"/>
                <a:gd name="T50" fmla="*/ 28 w 28"/>
                <a:gd name="T51"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24">
                  <a:moveTo>
                    <a:pt x="28" y="21"/>
                  </a:moveTo>
                  <a:lnTo>
                    <a:pt x="28" y="21"/>
                  </a:lnTo>
                  <a:lnTo>
                    <a:pt x="28" y="19"/>
                  </a:lnTo>
                  <a:lnTo>
                    <a:pt x="24" y="16"/>
                  </a:lnTo>
                  <a:lnTo>
                    <a:pt x="21" y="12"/>
                  </a:lnTo>
                  <a:lnTo>
                    <a:pt x="21" y="9"/>
                  </a:lnTo>
                  <a:lnTo>
                    <a:pt x="21" y="7"/>
                  </a:lnTo>
                  <a:lnTo>
                    <a:pt x="17" y="7"/>
                  </a:lnTo>
                  <a:lnTo>
                    <a:pt x="12" y="5"/>
                  </a:lnTo>
                  <a:lnTo>
                    <a:pt x="7" y="0"/>
                  </a:lnTo>
                  <a:lnTo>
                    <a:pt x="7" y="0"/>
                  </a:lnTo>
                  <a:lnTo>
                    <a:pt x="5" y="0"/>
                  </a:lnTo>
                  <a:lnTo>
                    <a:pt x="2" y="2"/>
                  </a:lnTo>
                  <a:lnTo>
                    <a:pt x="0" y="2"/>
                  </a:lnTo>
                  <a:lnTo>
                    <a:pt x="5" y="2"/>
                  </a:lnTo>
                  <a:lnTo>
                    <a:pt x="7" y="7"/>
                  </a:lnTo>
                  <a:lnTo>
                    <a:pt x="10" y="9"/>
                  </a:lnTo>
                  <a:lnTo>
                    <a:pt x="12" y="12"/>
                  </a:lnTo>
                  <a:lnTo>
                    <a:pt x="14" y="14"/>
                  </a:lnTo>
                  <a:lnTo>
                    <a:pt x="17" y="14"/>
                  </a:lnTo>
                  <a:lnTo>
                    <a:pt x="21" y="16"/>
                  </a:lnTo>
                  <a:lnTo>
                    <a:pt x="21" y="19"/>
                  </a:lnTo>
                  <a:lnTo>
                    <a:pt x="24" y="21"/>
                  </a:lnTo>
                  <a:lnTo>
                    <a:pt x="24" y="24"/>
                  </a:lnTo>
                  <a:lnTo>
                    <a:pt x="28" y="24"/>
                  </a:lnTo>
                  <a:lnTo>
                    <a:pt x="28" y="2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2" name="Freeform 124">
              <a:extLst>
                <a:ext uri="{FF2B5EF4-FFF2-40B4-BE49-F238E27FC236}">
                  <a16:creationId xmlns:a16="http://schemas.microsoft.com/office/drawing/2014/main" id="{C1E9AD60-1647-45E4-A9D6-DD2B472DF376}"/>
                </a:ext>
              </a:extLst>
            </p:cNvPr>
            <p:cNvSpPr>
              <a:spLocks/>
            </p:cNvSpPr>
            <p:nvPr/>
          </p:nvSpPr>
          <p:spPr bwMode="auto">
            <a:xfrm>
              <a:off x="1821704" y="3333715"/>
              <a:ext cx="12700" cy="15875"/>
            </a:xfrm>
            <a:custGeom>
              <a:avLst/>
              <a:gdLst>
                <a:gd name="T0" fmla="*/ 8 w 8"/>
                <a:gd name="T1" fmla="*/ 10 h 10"/>
                <a:gd name="T2" fmla="*/ 8 w 8"/>
                <a:gd name="T3" fmla="*/ 10 h 10"/>
                <a:gd name="T4" fmla="*/ 3 w 8"/>
                <a:gd name="T5" fmla="*/ 2 h 10"/>
                <a:gd name="T6" fmla="*/ 3 w 8"/>
                <a:gd name="T7" fmla="*/ 0 h 10"/>
                <a:gd name="T8" fmla="*/ 0 w 8"/>
                <a:gd name="T9" fmla="*/ 2 h 10"/>
                <a:gd name="T10" fmla="*/ 3 w 8"/>
                <a:gd name="T11" fmla="*/ 7 h 10"/>
                <a:gd name="T12" fmla="*/ 5 w 8"/>
                <a:gd name="T13" fmla="*/ 10 h 10"/>
                <a:gd name="T14" fmla="*/ 8 w 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8" y="10"/>
                  </a:moveTo>
                  <a:lnTo>
                    <a:pt x="8" y="10"/>
                  </a:lnTo>
                  <a:lnTo>
                    <a:pt x="3" y="2"/>
                  </a:lnTo>
                  <a:lnTo>
                    <a:pt x="3" y="0"/>
                  </a:lnTo>
                  <a:lnTo>
                    <a:pt x="0" y="2"/>
                  </a:lnTo>
                  <a:lnTo>
                    <a:pt x="3" y="7"/>
                  </a:lnTo>
                  <a:lnTo>
                    <a:pt x="5" y="10"/>
                  </a:lnTo>
                  <a:lnTo>
                    <a:pt x="8"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3" name="Freeform 125">
              <a:extLst>
                <a:ext uri="{FF2B5EF4-FFF2-40B4-BE49-F238E27FC236}">
                  <a16:creationId xmlns:a16="http://schemas.microsoft.com/office/drawing/2014/main" id="{4F004A72-8EBE-432F-A247-8179A75356F9}"/>
                </a:ext>
              </a:extLst>
            </p:cNvPr>
            <p:cNvSpPr>
              <a:spLocks/>
            </p:cNvSpPr>
            <p:nvPr/>
          </p:nvSpPr>
          <p:spPr bwMode="auto">
            <a:xfrm>
              <a:off x="1821704" y="3333715"/>
              <a:ext cx="12700" cy="15875"/>
            </a:xfrm>
            <a:custGeom>
              <a:avLst/>
              <a:gdLst>
                <a:gd name="T0" fmla="*/ 8 w 8"/>
                <a:gd name="T1" fmla="*/ 10 h 10"/>
                <a:gd name="T2" fmla="*/ 8 w 8"/>
                <a:gd name="T3" fmla="*/ 10 h 10"/>
                <a:gd name="T4" fmla="*/ 3 w 8"/>
                <a:gd name="T5" fmla="*/ 2 h 10"/>
                <a:gd name="T6" fmla="*/ 3 w 8"/>
                <a:gd name="T7" fmla="*/ 0 h 10"/>
                <a:gd name="T8" fmla="*/ 0 w 8"/>
                <a:gd name="T9" fmla="*/ 2 h 10"/>
                <a:gd name="T10" fmla="*/ 3 w 8"/>
                <a:gd name="T11" fmla="*/ 7 h 10"/>
                <a:gd name="T12" fmla="*/ 5 w 8"/>
                <a:gd name="T13" fmla="*/ 10 h 10"/>
                <a:gd name="T14" fmla="*/ 8 w 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8" y="10"/>
                  </a:moveTo>
                  <a:lnTo>
                    <a:pt x="8" y="10"/>
                  </a:lnTo>
                  <a:lnTo>
                    <a:pt x="3" y="2"/>
                  </a:lnTo>
                  <a:lnTo>
                    <a:pt x="3" y="0"/>
                  </a:lnTo>
                  <a:lnTo>
                    <a:pt x="0" y="2"/>
                  </a:lnTo>
                  <a:lnTo>
                    <a:pt x="3" y="7"/>
                  </a:lnTo>
                  <a:lnTo>
                    <a:pt x="5" y="10"/>
                  </a:lnTo>
                  <a:lnTo>
                    <a:pt x="8"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4" name="Freeform 126">
              <a:extLst>
                <a:ext uri="{FF2B5EF4-FFF2-40B4-BE49-F238E27FC236}">
                  <a16:creationId xmlns:a16="http://schemas.microsoft.com/office/drawing/2014/main" id="{7862D3D9-2DCF-4989-9BD8-DF9CAF7DDC71}"/>
                </a:ext>
              </a:extLst>
            </p:cNvPr>
            <p:cNvSpPr>
              <a:spLocks/>
            </p:cNvSpPr>
            <p:nvPr/>
          </p:nvSpPr>
          <p:spPr bwMode="auto">
            <a:xfrm>
              <a:off x="2804364" y="3760753"/>
              <a:ext cx="26988" cy="11112"/>
            </a:xfrm>
            <a:custGeom>
              <a:avLst/>
              <a:gdLst>
                <a:gd name="T0" fmla="*/ 17 w 17"/>
                <a:gd name="T1" fmla="*/ 0 h 7"/>
                <a:gd name="T2" fmla="*/ 17 w 17"/>
                <a:gd name="T3" fmla="*/ 0 h 7"/>
                <a:gd name="T4" fmla="*/ 10 w 17"/>
                <a:gd name="T5" fmla="*/ 0 h 7"/>
                <a:gd name="T6" fmla="*/ 10 w 17"/>
                <a:gd name="T7" fmla="*/ 3 h 7"/>
                <a:gd name="T8" fmla="*/ 5 w 17"/>
                <a:gd name="T9" fmla="*/ 5 h 7"/>
                <a:gd name="T10" fmla="*/ 0 w 17"/>
                <a:gd name="T11" fmla="*/ 7 h 7"/>
                <a:gd name="T12" fmla="*/ 3 w 17"/>
                <a:gd name="T13" fmla="*/ 7 h 7"/>
                <a:gd name="T14" fmla="*/ 10 w 17"/>
                <a:gd name="T15" fmla="*/ 5 h 7"/>
                <a:gd name="T16" fmla="*/ 17 w 1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7" y="0"/>
                  </a:moveTo>
                  <a:lnTo>
                    <a:pt x="17" y="0"/>
                  </a:lnTo>
                  <a:lnTo>
                    <a:pt x="10" y="0"/>
                  </a:lnTo>
                  <a:lnTo>
                    <a:pt x="10" y="3"/>
                  </a:lnTo>
                  <a:lnTo>
                    <a:pt x="5" y="5"/>
                  </a:lnTo>
                  <a:lnTo>
                    <a:pt x="0" y="7"/>
                  </a:lnTo>
                  <a:lnTo>
                    <a:pt x="3" y="7"/>
                  </a:lnTo>
                  <a:lnTo>
                    <a:pt x="10" y="5"/>
                  </a:lnTo>
                  <a:lnTo>
                    <a:pt x="1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5" name="Freeform 127">
              <a:extLst>
                <a:ext uri="{FF2B5EF4-FFF2-40B4-BE49-F238E27FC236}">
                  <a16:creationId xmlns:a16="http://schemas.microsoft.com/office/drawing/2014/main" id="{2C29EC2D-7DF3-488D-81AC-0BA9EA82A9A9}"/>
                </a:ext>
              </a:extLst>
            </p:cNvPr>
            <p:cNvSpPr>
              <a:spLocks/>
            </p:cNvSpPr>
            <p:nvPr/>
          </p:nvSpPr>
          <p:spPr bwMode="auto">
            <a:xfrm>
              <a:off x="2804364" y="3760753"/>
              <a:ext cx="26988" cy="11112"/>
            </a:xfrm>
            <a:custGeom>
              <a:avLst/>
              <a:gdLst>
                <a:gd name="T0" fmla="*/ 17 w 17"/>
                <a:gd name="T1" fmla="*/ 0 h 7"/>
                <a:gd name="T2" fmla="*/ 17 w 17"/>
                <a:gd name="T3" fmla="*/ 0 h 7"/>
                <a:gd name="T4" fmla="*/ 10 w 17"/>
                <a:gd name="T5" fmla="*/ 0 h 7"/>
                <a:gd name="T6" fmla="*/ 10 w 17"/>
                <a:gd name="T7" fmla="*/ 3 h 7"/>
                <a:gd name="T8" fmla="*/ 5 w 17"/>
                <a:gd name="T9" fmla="*/ 5 h 7"/>
                <a:gd name="T10" fmla="*/ 0 w 17"/>
                <a:gd name="T11" fmla="*/ 7 h 7"/>
                <a:gd name="T12" fmla="*/ 3 w 17"/>
                <a:gd name="T13" fmla="*/ 7 h 7"/>
                <a:gd name="T14" fmla="*/ 10 w 17"/>
                <a:gd name="T15" fmla="*/ 5 h 7"/>
                <a:gd name="T16" fmla="*/ 17 w 1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7" y="0"/>
                  </a:moveTo>
                  <a:lnTo>
                    <a:pt x="17" y="0"/>
                  </a:lnTo>
                  <a:lnTo>
                    <a:pt x="10" y="0"/>
                  </a:lnTo>
                  <a:lnTo>
                    <a:pt x="10" y="3"/>
                  </a:lnTo>
                  <a:lnTo>
                    <a:pt x="5" y="5"/>
                  </a:lnTo>
                  <a:lnTo>
                    <a:pt x="0" y="7"/>
                  </a:lnTo>
                  <a:lnTo>
                    <a:pt x="3" y="7"/>
                  </a:lnTo>
                  <a:lnTo>
                    <a:pt x="10" y="5"/>
                  </a:lnTo>
                  <a:lnTo>
                    <a:pt x="1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6" name="Freeform 128">
              <a:extLst>
                <a:ext uri="{FF2B5EF4-FFF2-40B4-BE49-F238E27FC236}">
                  <a16:creationId xmlns:a16="http://schemas.microsoft.com/office/drawing/2014/main" id="{071AED9B-CD8C-4308-96EB-1132610F96FC}"/>
                </a:ext>
              </a:extLst>
            </p:cNvPr>
            <p:cNvSpPr>
              <a:spLocks/>
            </p:cNvSpPr>
            <p:nvPr/>
          </p:nvSpPr>
          <p:spPr bwMode="auto">
            <a:xfrm>
              <a:off x="2898027" y="3948078"/>
              <a:ext cx="7938" cy="15875"/>
            </a:xfrm>
            <a:custGeom>
              <a:avLst/>
              <a:gdLst>
                <a:gd name="T0" fmla="*/ 0 w 5"/>
                <a:gd name="T1" fmla="*/ 10 h 10"/>
                <a:gd name="T2" fmla="*/ 0 w 5"/>
                <a:gd name="T3" fmla="*/ 8 h 10"/>
                <a:gd name="T4" fmla="*/ 3 w 5"/>
                <a:gd name="T5" fmla="*/ 8 h 10"/>
                <a:gd name="T6" fmla="*/ 3 w 5"/>
                <a:gd name="T7" fmla="*/ 8 h 10"/>
                <a:gd name="T8" fmla="*/ 3 w 5"/>
                <a:gd name="T9" fmla="*/ 5 h 10"/>
                <a:gd name="T10" fmla="*/ 3 w 5"/>
                <a:gd name="T11" fmla="*/ 5 h 10"/>
                <a:gd name="T12" fmla="*/ 5 w 5"/>
                <a:gd name="T13" fmla="*/ 3 h 10"/>
                <a:gd name="T14" fmla="*/ 5 w 5"/>
                <a:gd name="T15" fmla="*/ 3 h 10"/>
                <a:gd name="T16" fmla="*/ 5 w 5"/>
                <a:gd name="T17" fmla="*/ 3 h 10"/>
                <a:gd name="T18" fmla="*/ 5 w 5"/>
                <a:gd name="T19" fmla="*/ 0 h 10"/>
                <a:gd name="T20" fmla="*/ 5 w 5"/>
                <a:gd name="T21" fmla="*/ 0 h 10"/>
                <a:gd name="T22" fmla="*/ 5 w 5"/>
                <a:gd name="T23" fmla="*/ 0 h 10"/>
                <a:gd name="T24" fmla="*/ 3 w 5"/>
                <a:gd name="T25" fmla="*/ 3 h 10"/>
                <a:gd name="T26" fmla="*/ 3 w 5"/>
                <a:gd name="T27" fmla="*/ 5 h 10"/>
                <a:gd name="T28" fmla="*/ 0 w 5"/>
                <a:gd name="T29" fmla="*/ 5 h 10"/>
                <a:gd name="T30" fmla="*/ 0 w 5"/>
                <a:gd name="T31" fmla="*/ 8 h 10"/>
                <a:gd name="T32" fmla="*/ 0 w 5"/>
                <a:gd name="T33" fmla="*/ 8 h 10"/>
                <a:gd name="T34" fmla="*/ 0 w 5"/>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0" y="10"/>
                  </a:moveTo>
                  <a:lnTo>
                    <a:pt x="0" y="8"/>
                  </a:lnTo>
                  <a:lnTo>
                    <a:pt x="3" y="8"/>
                  </a:lnTo>
                  <a:lnTo>
                    <a:pt x="3" y="8"/>
                  </a:lnTo>
                  <a:lnTo>
                    <a:pt x="3" y="5"/>
                  </a:lnTo>
                  <a:lnTo>
                    <a:pt x="3" y="5"/>
                  </a:lnTo>
                  <a:lnTo>
                    <a:pt x="5" y="3"/>
                  </a:lnTo>
                  <a:lnTo>
                    <a:pt x="5" y="3"/>
                  </a:lnTo>
                  <a:lnTo>
                    <a:pt x="5" y="3"/>
                  </a:lnTo>
                  <a:lnTo>
                    <a:pt x="5" y="0"/>
                  </a:lnTo>
                  <a:lnTo>
                    <a:pt x="5" y="0"/>
                  </a:lnTo>
                  <a:lnTo>
                    <a:pt x="5" y="0"/>
                  </a:lnTo>
                  <a:lnTo>
                    <a:pt x="3" y="3"/>
                  </a:lnTo>
                  <a:lnTo>
                    <a:pt x="3" y="5"/>
                  </a:lnTo>
                  <a:lnTo>
                    <a:pt x="0" y="5"/>
                  </a:lnTo>
                  <a:lnTo>
                    <a:pt x="0" y="8"/>
                  </a:lnTo>
                  <a:lnTo>
                    <a:pt x="0" y="8"/>
                  </a:lnTo>
                  <a:lnTo>
                    <a:pt x="0"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7" name="Freeform 129">
              <a:extLst>
                <a:ext uri="{FF2B5EF4-FFF2-40B4-BE49-F238E27FC236}">
                  <a16:creationId xmlns:a16="http://schemas.microsoft.com/office/drawing/2014/main" id="{2A61574E-BEF9-428D-95F7-55C661574D4C}"/>
                </a:ext>
              </a:extLst>
            </p:cNvPr>
            <p:cNvSpPr>
              <a:spLocks/>
            </p:cNvSpPr>
            <p:nvPr/>
          </p:nvSpPr>
          <p:spPr bwMode="auto">
            <a:xfrm>
              <a:off x="2898027" y="3948078"/>
              <a:ext cx="7938" cy="15875"/>
            </a:xfrm>
            <a:custGeom>
              <a:avLst/>
              <a:gdLst>
                <a:gd name="T0" fmla="*/ 0 w 5"/>
                <a:gd name="T1" fmla="*/ 10 h 10"/>
                <a:gd name="T2" fmla="*/ 0 w 5"/>
                <a:gd name="T3" fmla="*/ 8 h 10"/>
                <a:gd name="T4" fmla="*/ 3 w 5"/>
                <a:gd name="T5" fmla="*/ 8 h 10"/>
                <a:gd name="T6" fmla="*/ 3 w 5"/>
                <a:gd name="T7" fmla="*/ 8 h 10"/>
                <a:gd name="T8" fmla="*/ 3 w 5"/>
                <a:gd name="T9" fmla="*/ 5 h 10"/>
                <a:gd name="T10" fmla="*/ 3 w 5"/>
                <a:gd name="T11" fmla="*/ 5 h 10"/>
                <a:gd name="T12" fmla="*/ 5 w 5"/>
                <a:gd name="T13" fmla="*/ 3 h 10"/>
                <a:gd name="T14" fmla="*/ 5 w 5"/>
                <a:gd name="T15" fmla="*/ 3 h 10"/>
                <a:gd name="T16" fmla="*/ 5 w 5"/>
                <a:gd name="T17" fmla="*/ 3 h 10"/>
                <a:gd name="T18" fmla="*/ 5 w 5"/>
                <a:gd name="T19" fmla="*/ 0 h 10"/>
                <a:gd name="T20" fmla="*/ 5 w 5"/>
                <a:gd name="T21" fmla="*/ 0 h 10"/>
                <a:gd name="T22" fmla="*/ 5 w 5"/>
                <a:gd name="T23" fmla="*/ 0 h 10"/>
                <a:gd name="T24" fmla="*/ 3 w 5"/>
                <a:gd name="T25" fmla="*/ 3 h 10"/>
                <a:gd name="T26" fmla="*/ 3 w 5"/>
                <a:gd name="T27" fmla="*/ 5 h 10"/>
                <a:gd name="T28" fmla="*/ 0 w 5"/>
                <a:gd name="T29" fmla="*/ 5 h 10"/>
                <a:gd name="T30" fmla="*/ 0 w 5"/>
                <a:gd name="T31" fmla="*/ 8 h 10"/>
                <a:gd name="T32" fmla="*/ 0 w 5"/>
                <a:gd name="T33" fmla="*/ 8 h 10"/>
                <a:gd name="T34" fmla="*/ 0 w 5"/>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0">
                  <a:moveTo>
                    <a:pt x="0" y="10"/>
                  </a:moveTo>
                  <a:lnTo>
                    <a:pt x="0" y="8"/>
                  </a:lnTo>
                  <a:lnTo>
                    <a:pt x="3" y="8"/>
                  </a:lnTo>
                  <a:lnTo>
                    <a:pt x="3" y="8"/>
                  </a:lnTo>
                  <a:lnTo>
                    <a:pt x="3" y="5"/>
                  </a:lnTo>
                  <a:lnTo>
                    <a:pt x="3" y="5"/>
                  </a:lnTo>
                  <a:lnTo>
                    <a:pt x="5" y="3"/>
                  </a:lnTo>
                  <a:lnTo>
                    <a:pt x="5" y="3"/>
                  </a:lnTo>
                  <a:lnTo>
                    <a:pt x="5" y="3"/>
                  </a:lnTo>
                  <a:lnTo>
                    <a:pt x="5" y="0"/>
                  </a:lnTo>
                  <a:lnTo>
                    <a:pt x="5" y="0"/>
                  </a:lnTo>
                  <a:lnTo>
                    <a:pt x="5" y="0"/>
                  </a:lnTo>
                  <a:lnTo>
                    <a:pt x="3" y="3"/>
                  </a:lnTo>
                  <a:lnTo>
                    <a:pt x="3" y="5"/>
                  </a:lnTo>
                  <a:lnTo>
                    <a:pt x="0" y="5"/>
                  </a:lnTo>
                  <a:lnTo>
                    <a:pt x="0" y="8"/>
                  </a:lnTo>
                  <a:lnTo>
                    <a:pt x="0" y="8"/>
                  </a:lnTo>
                  <a:lnTo>
                    <a:pt x="0"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8" name="Freeform 130">
              <a:extLst>
                <a:ext uri="{FF2B5EF4-FFF2-40B4-BE49-F238E27FC236}">
                  <a16:creationId xmlns:a16="http://schemas.microsoft.com/office/drawing/2014/main" id="{7310DC1A-73C7-4109-9338-2AB3BDEF103E}"/>
                </a:ext>
              </a:extLst>
            </p:cNvPr>
            <p:cNvSpPr>
              <a:spLocks/>
            </p:cNvSpPr>
            <p:nvPr/>
          </p:nvSpPr>
          <p:spPr bwMode="auto">
            <a:xfrm>
              <a:off x="3839413" y="4154453"/>
              <a:ext cx="11113" cy="57150"/>
            </a:xfrm>
            <a:custGeom>
              <a:avLst/>
              <a:gdLst>
                <a:gd name="T0" fmla="*/ 7 w 7"/>
                <a:gd name="T1" fmla="*/ 0 h 36"/>
                <a:gd name="T2" fmla="*/ 5 w 7"/>
                <a:gd name="T3" fmla="*/ 0 h 36"/>
                <a:gd name="T4" fmla="*/ 5 w 7"/>
                <a:gd name="T5" fmla="*/ 7 h 36"/>
                <a:gd name="T6" fmla="*/ 3 w 7"/>
                <a:gd name="T7" fmla="*/ 19 h 36"/>
                <a:gd name="T8" fmla="*/ 3 w 7"/>
                <a:gd name="T9" fmla="*/ 24 h 36"/>
                <a:gd name="T10" fmla="*/ 3 w 7"/>
                <a:gd name="T11" fmla="*/ 26 h 36"/>
                <a:gd name="T12" fmla="*/ 0 w 7"/>
                <a:gd name="T13" fmla="*/ 29 h 36"/>
                <a:gd name="T14" fmla="*/ 0 w 7"/>
                <a:gd name="T15" fmla="*/ 33 h 36"/>
                <a:gd name="T16" fmla="*/ 3 w 7"/>
                <a:gd name="T17" fmla="*/ 36 h 36"/>
                <a:gd name="T18" fmla="*/ 3 w 7"/>
                <a:gd name="T19" fmla="*/ 36 h 36"/>
                <a:gd name="T20" fmla="*/ 3 w 7"/>
                <a:gd name="T21" fmla="*/ 33 h 36"/>
                <a:gd name="T22" fmla="*/ 3 w 7"/>
                <a:gd name="T23" fmla="*/ 26 h 36"/>
                <a:gd name="T24" fmla="*/ 5 w 7"/>
                <a:gd name="T25" fmla="*/ 24 h 36"/>
                <a:gd name="T26" fmla="*/ 5 w 7"/>
                <a:gd name="T27" fmla="*/ 22 h 36"/>
                <a:gd name="T28" fmla="*/ 5 w 7"/>
                <a:gd name="T29" fmla="*/ 17 h 36"/>
                <a:gd name="T30" fmla="*/ 7 w 7"/>
                <a:gd name="T31" fmla="*/ 15 h 36"/>
                <a:gd name="T32" fmla="*/ 5 w 7"/>
                <a:gd name="T33" fmla="*/ 12 h 36"/>
                <a:gd name="T34" fmla="*/ 5 w 7"/>
                <a:gd name="T35" fmla="*/ 10 h 36"/>
                <a:gd name="T36" fmla="*/ 7 w 7"/>
                <a:gd name="T37" fmla="*/ 7 h 36"/>
                <a:gd name="T38" fmla="*/ 7 w 7"/>
                <a:gd name="T39" fmla="*/ 0 h 36"/>
                <a:gd name="T40" fmla="*/ 7 w 7"/>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36">
                  <a:moveTo>
                    <a:pt x="7" y="0"/>
                  </a:moveTo>
                  <a:lnTo>
                    <a:pt x="5" y="0"/>
                  </a:lnTo>
                  <a:lnTo>
                    <a:pt x="5" y="7"/>
                  </a:lnTo>
                  <a:lnTo>
                    <a:pt x="3" y="19"/>
                  </a:lnTo>
                  <a:lnTo>
                    <a:pt x="3" y="24"/>
                  </a:lnTo>
                  <a:lnTo>
                    <a:pt x="3" y="26"/>
                  </a:lnTo>
                  <a:lnTo>
                    <a:pt x="0" y="29"/>
                  </a:lnTo>
                  <a:lnTo>
                    <a:pt x="0" y="33"/>
                  </a:lnTo>
                  <a:lnTo>
                    <a:pt x="3" y="36"/>
                  </a:lnTo>
                  <a:lnTo>
                    <a:pt x="3" y="36"/>
                  </a:lnTo>
                  <a:lnTo>
                    <a:pt x="3" y="33"/>
                  </a:lnTo>
                  <a:lnTo>
                    <a:pt x="3" y="26"/>
                  </a:lnTo>
                  <a:lnTo>
                    <a:pt x="5" y="24"/>
                  </a:lnTo>
                  <a:lnTo>
                    <a:pt x="5" y="22"/>
                  </a:lnTo>
                  <a:lnTo>
                    <a:pt x="5" y="17"/>
                  </a:lnTo>
                  <a:lnTo>
                    <a:pt x="7" y="15"/>
                  </a:lnTo>
                  <a:lnTo>
                    <a:pt x="5" y="12"/>
                  </a:lnTo>
                  <a:lnTo>
                    <a:pt x="5" y="10"/>
                  </a:lnTo>
                  <a:lnTo>
                    <a:pt x="7" y="7"/>
                  </a:lnTo>
                  <a:lnTo>
                    <a:pt x="7" y="0"/>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39" name="Freeform 131">
              <a:extLst>
                <a:ext uri="{FF2B5EF4-FFF2-40B4-BE49-F238E27FC236}">
                  <a16:creationId xmlns:a16="http://schemas.microsoft.com/office/drawing/2014/main" id="{6C4027CD-F67F-4F2E-935D-98AAE830B807}"/>
                </a:ext>
              </a:extLst>
            </p:cNvPr>
            <p:cNvSpPr>
              <a:spLocks/>
            </p:cNvSpPr>
            <p:nvPr/>
          </p:nvSpPr>
          <p:spPr bwMode="auto">
            <a:xfrm>
              <a:off x="3839413" y="4154453"/>
              <a:ext cx="11113" cy="57150"/>
            </a:xfrm>
            <a:custGeom>
              <a:avLst/>
              <a:gdLst>
                <a:gd name="T0" fmla="*/ 7 w 7"/>
                <a:gd name="T1" fmla="*/ 0 h 36"/>
                <a:gd name="T2" fmla="*/ 5 w 7"/>
                <a:gd name="T3" fmla="*/ 0 h 36"/>
                <a:gd name="T4" fmla="*/ 5 w 7"/>
                <a:gd name="T5" fmla="*/ 7 h 36"/>
                <a:gd name="T6" fmla="*/ 3 w 7"/>
                <a:gd name="T7" fmla="*/ 19 h 36"/>
                <a:gd name="T8" fmla="*/ 3 w 7"/>
                <a:gd name="T9" fmla="*/ 24 h 36"/>
                <a:gd name="T10" fmla="*/ 3 w 7"/>
                <a:gd name="T11" fmla="*/ 26 h 36"/>
                <a:gd name="T12" fmla="*/ 0 w 7"/>
                <a:gd name="T13" fmla="*/ 29 h 36"/>
                <a:gd name="T14" fmla="*/ 0 w 7"/>
                <a:gd name="T15" fmla="*/ 33 h 36"/>
                <a:gd name="T16" fmla="*/ 3 w 7"/>
                <a:gd name="T17" fmla="*/ 36 h 36"/>
                <a:gd name="T18" fmla="*/ 3 w 7"/>
                <a:gd name="T19" fmla="*/ 36 h 36"/>
                <a:gd name="T20" fmla="*/ 3 w 7"/>
                <a:gd name="T21" fmla="*/ 33 h 36"/>
                <a:gd name="T22" fmla="*/ 3 w 7"/>
                <a:gd name="T23" fmla="*/ 26 h 36"/>
                <a:gd name="T24" fmla="*/ 5 w 7"/>
                <a:gd name="T25" fmla="*/ 24 h 36"/>
                <a:gd name="T26" fmla="*/ 5 w 7"/>
                <a:gd name="T27" fmla="*/ 22 h 36"/>
                <a:gd name="T28" fmla="*/ 5 w 7"/>
                <a:gd name="T29" fmla="*/ 17 h 36"/>
                <a:gd name="T30" fmla="*/ 7 w 7"/>
                <a:gd name="T31" fmla="*/ 15 h 36"/>
                <a:gd name="T32" fmla="*/ 5 w 7"/>
                <a:gd name="T33" fmla="*/ 12 h 36"/>
                <a:gd name="T34" fmla="*/ 5 w 7"/>
                <a:gd name="T35" fmla="*/ 10 h 36"/>
                <a:gd name="T36" fmla="*/ 7 w 7"/>
                <a:gd name="T37" fmla="*/ 7 h 36"/>
                <a:gd name="T38" fmla="*/ 7 w 7"/>
                <a:gd name="T39" fmla="*/ 0 h 36"/>
                <a:gd name="T40" fmla="*/ 7 w 7"/>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36">
                  <a:moveTo>
                    <a:pt x="7" y="0"/>
                  </a:moveTo>
                  <a:lnTo>
                    <a:pt x="5" y="0"/>
                  </a:lnTo>
                  <a:lnTo>
                    <a:pt x="5" y="7"/>
                  </a:lnTo>
                  <a:lnTo>
                    <a:pt x="3" y="19"/>
                  </a:lnTo>
                  <a:lnTo>
                    <a:pt x="3" y="24"/>
                  </a:lnTo>
                  <a:lnTo>
                    <a:pt x="3" y="26"/>
                  </a:lnTo>
                  <a:lnTo>
                    <a:pt x="0" y="29"/>
                  </a:lnTo>
                  <a:lnTo>
                    <a:pt x="0" y="33"/>
                  </a:lnTo>
                  <a:lnTo>
                    <a:pt x="3" y="36"/>
                  </a:lnTo>
                  <a:lnTo>
                    <a:pt x="3" y="36"/>
                  </a:lnTo>
                  <a:lnTo>
                    <a:pt x="3" y="33"/>
                  </a:lnTo>
                  <a:lnTo>
                    <a:pt x="3" y="26"/>
                  </a:lnTo>
                  <a:lnTo>
                    <a:pt x="5" y="24"/>
                  </a:lnTo>
                  <a:lnTo>
                    <a:pt x="5" y="22"/>
                  </a:lnTo>
                  <a:lnTo>
                    <a:pt x="5" y="17"/>
                  </a:lnTo>
                  <a:lnTo>
                    <a:pt x="7" y="15"/>
                  </a:lnTo>
                  <a:lnTo>
                    <a:pt x="5" y="12"/>
                  </a:lnTo>
                  <a:lnTo>
                    <a:pt x="5" y="10"/>
                  </a:lnTo>
                  <a:lnTo>
                    <a:pt x="7" y="7"/>
                  </a:lnTo>
                  <a:lnTo>
                    <a:pt x="7" y="0"/>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0" name="Freeform 132">
              <a:extLst>
                <a:ext uri="{FF2B5EF4-FFF2-40B4-BE49-F238E27FC236}">
                  <a16:creationId xmlns:a16="http://schemas.microsoft.com/office/drawing/2014/main" id="{14B49E7D-ED4E-459D-AAFA-0D731B6661ED}"/>
                </a:ext>
              </a:extLst>
            </p:cNvPr>
            <p:cNvSpPr>
              <a:spLocks/>
            </p:cNvSpPr>
            <p:nvPr/>
          </p:nvSpPr>
          <p:spPr bwMode="auto">
            <a:xfrm>
              <a:off x="3869575" y="4327492"/>
              <a:ext cx="7938" cy="14287"/>
            </a:xfrm>
            <a:custGeom>
              <a:avLst/>
              <a:gdLst>
                <a:gd name="T0" fmla="*/ 3 w 5"/>
                <a:gd name="T1" fmla="*/ 2 h 9"/>
                <a:gd name="T2" fmla="*/ 3 w 5"/>
                <a:gd name="T3" fmla="*/ 0 h 9"/>
                <a:gd name="T4" fmla="*/ 0 w 5"/>
                <a:gd name="T5" fmla="*/ 2 h 9"/>
                <a:gd name="T6" fmla="*/ 0 w 5"/>
                <a:gd name="T7" fmla="*/ 5 h 9"/>
                <a:gd name="T8" fmla="*/ 3 w 5"/>
                <a:gd name="T9" fmla="*/ 9 h 9"/>
                <a:gd name="T10" fmla="*/ 3 w 5"/>
                <a:gd name="T11" fmla="*/ 7 h 9"/>
                <a:gd name="T12" fmla="*/ 5 w 5"/>
                <a:gd name="T13" fmla="*/ 2 h 9"/>
                <a:gd name="T14" fmla="*/ 3 w 5"/>
                <a:gd name="T15" fmla="*/ 0 h 9"/>
                <a:gd name="T16" fmla="*/ 3 w 5"/>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2"/>
                  </a:moveTo>
                  <a:lnTo>
                    <a:pt x="3" y="0"/>
                  </a:lnTo>
                  <a:lnTo>
                    <a:pt x="0" y="2"/>
                  </a:lnTo>
                  <a:lnTo>
                    <a:pt x="0" y="5"/>
                  </a:lnTo>
                  <a:lnTo>
                    <a:pt x="3" y="9"/>
                  </a:lnTo>
                  <a:lnTo>
                    <a:pt x="3" y="7"/>
                  </a:lnTo>
                  <a:lnTo>
                    <a:pt x="5" y="2"/>
                  </a:lnTo>
                  <a:lnTo>
                    <a:pt x="3" y="0"/>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1" name="Freeform 133">
              <a:extLst>
                <a:ext uri="{FF2B5EF4-FFF2-40B4-BE49-F238E27FC236}">
                  <a16:creationId xmlns:a16="http://schemas.microsoft.com/office/drawing/2014/main" id="{1B17CFF4-EDC6-40FA-B18E-4DEF70E986FE}"/>
                </a:ext>
              </a:extLst>
            </p:cNvPr>
            <p:cNvSpPr>
              <a:spLocks/>
            </p:cNvSpPr>
            <p:nvPr/>
          </p:nvSpPr>
          <p:spPr bwMode="auto">
            <a:xfrm>
              <a:off x="3869575" y="4327492"/>
              <a:ext cx="7938" cy="14287"/>
            </a:xfrm>
            <a:custGeom>
              <a:avLst/>
              <a:gdLst>
                <a:gd name="T0" fmla="*/ 3 w 5"/>
                <a:gd name="T1" fmla="*/ 2 h 9"/>
                <a:gd name="T2" fmla="*/ 3 w 5"/>
                <a:gd name="T3" fmla="*/ 0 h 9"/>
                <a:gd name="T4" fmla="*/ 0 w 5"/>
                <a:gd name="T5" fmla="*/ 2 h 9"/>
                <a:gd name="T6" fmla="*/ 0 w 5"/>
                <a:gd name="T7" fmla="*/ 5 h 9"/>
                <a:gd name="T8" fmla="*/ 3 w 5"/>
                <a:gd name="T9" fmla="*/ 9 h 9"/>
                <a:gd name="T10" fmla="*/ 3 w 5"/>
                <a:gd name="T11" fmla="*/ 7 h 9"/>
                <a:gd name="T12" fmla="*/ 5 w 5"/>
                <a:gd name="T13" fmla="*/ 2 h 9"/>
                <a:gd name="T14" fmla="*/ 3 w 5"/>
                <a:gd name="T15" fmla="*/ 0 h 9"/>
                <a:gd name="T16" fmla="*/ 3 w 5"/>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2"/>
                  </a:moveTo>
                  <a:lnTo>
                    <a:pt x="3" y="0"/>
                  </a:lnTo>
                  <a:lnTo>
                    <a:pt x="0" y="2"/>
                  </a:lnTo>
                  <a:lnTo>
                    <a:pt x="0" y="5"/>
                  </a:lnTo>
                  <a:lnTo>
                    <a:pt x="3" y="9"/>
                  </a:lnTo>
                  <a:lnTo>
                    <a:pt x="3" y="7"/>
                  </a:lnTo>
                  <a:lnTo>
                    <a:pt x="5" y="2"/>
                  </a:lnTo>
                  <a:lnTo>
                    <a:pt x="3" y="0"/>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2" name="Freeform 168">
              <a:extLst>
                <a:ext uri="{FF2B5EF4-FFF2-40B4-BE49-F238E27FC236}">
                  <a16:creationId xmlns:a16="http://schemas.microsoft.com/office/drawing/2014/main" id="{43BAE4F7-313D-4B1F-87AE-C6E4F7750157}"/>
                </a:ext>
              </a:extLst>
            </p:cNvPr>
            <p:cNvSpPr>
              <a:spLocks/>
            </p:cNvSpPr>
            <p:nvPr/>
          </p:nvSpPr>
          <p:spPr bwMode="auto">
            <a:xfrm>
              <a:off x="2474165" y="4845017"/>
              <a:ext cx="7938" cy="14287"/>
            </a:xfrm>
            <a:custGeom>
              <a:avLst/>
              <a:gdLst>
                <a:gd name="T0" fmla="*/ 3 w 5"/>
                <a:gd name="T1" fmla="*/ 0 h 9"/>
                <a:gd name="T2" fmla="*/ 3 w 5"/>
                <a:gd name="T3" fmla="*/ 0 h 9"/>
                <a:gd name="T4" fmla="*/ 3 w 5"/>
                <a:gd name="T5" fmla="*/ 5 h 9"/>
                <a:gd name="T6" fmla="*/ 5 w 5"/>
                <a:gd name="T7" fmla="*/ 7 h 9"/>
                <a:gd name="T8" fmla="*/ 5 w 5"/>
                <a:gd name="T9" fmla="*/ 9 h 9"/>
                <a:gd name="T10" fmla="*/ 3 w 5"/>
                <a:gd name="T11" fmla="*/ 9 h 9"/>
                <a:gd name="T12" fmla="*/ 3 w 5"/>
                <a:gd name="T13" fmla="*/ 9 h 9"/>
                <a:gd name="T14" fmla="*/ 0 w 5"/>
                <a:gd name="T15" fmla="*/ 7 h 9"/>
                <a:gd name="T16" fmla="*/ 0 w 5"/>
                <a:gd name="T17" fmla="*/ 7 h 9"/>
                <a:gd name="T18" fmla="*/ 0 w 5"/>
                <a:gd name="T19" fmla="*/ 5 h 9"/>
                <a:gd name="T20" fmla="*/ 0 w 5"/>
                <a:gd name="T21" fmla="*/ 5 h 9"/>
                <a:gd name="T22" fmla="*/ 0 w 5"/>
                <a:gd name="T23" fmla="*/ 0 h 9"/>
                <a:gd name="T24" fmla="*/ 0 w 5"/>
                <a:gd name="T25" fmla="*/ 0 h 9"/>
                <a:gd name="T26" fmla="*/ 3 w 5"/>
                <a:gd name="T27" fmla="*/ 0 h 9"/>
                <a:gd name="T28" fmla="*/ 3 w 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3" y="0"/>
                  </a:moveTo>
                  <a:lnTo>
                    <a:pt x="3" y="0"/>
                  </a:lnTo>
                  <a:lnTo>
                    <a:pt x="3" y="5"/>
                  </a:lnTo>
                  <a:lnTo>
                    <a:pt x="5" y="7"/>
                  </a:lnTo>
                  <a:lnTo>
                    <a:pt x="5" y="9"/>
                  </a:lnTo>
                  <a:lnTo>
                    <a:pt x="3" y="9"/>
                  </a:lnTo>
                  <a:lnTo>
                    <a:pt x="3" y="9"/>
                  </a:lnTo>
                  <a:lnTo>
                    <a:pt x="0" y="7"/>
                  </a:lnTo>
                  <a:lnTo>
                    <a:pt x="0" y="7"/>
                  </a:lnTo>
                  <a:lnTo>
                    <a:pt x="0" y="5"/>
                  </a:lnTo>
                  <a:lnTo>
                    <a:pt x="0" y="5"/>
                  </a:lnTo>
                  <a:lnTo>
                    <a:pt x="0" y="0"/>
                  </a:lnTo>
                  <a:lnTo>
                    <a:pt x="0" y="0"/>
                  </a:lnTo>
                  <a:lnTo>
                    <a:pt x="3"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3" name="Freeform 169">
              <a:extLst>
                <a:ext uri="{FF2B5EF4-FFF2-40B4-BE49-F238E27FC236}">
                  <a16:creationId xmlns:a16="http://schemas.microsoft.com/office/drawing/2014/main" id="{B9B1FA5E-435B-4A2C-BB76-DA88A0155F8C}"/>
                </a:ext>
              </a:extLst>
            </p:cNvPr>
            <p:cNvSpPr>
              <a:spLocks/>
            </p:cNvSpPr>
            <p:nvPr/>
          </p:nvSpPr>
          <p:spPr bwMode="auto">
            <a:xfrm>
              <a:off x="2474165" y="4845017"/>
              <a:ext cx="7938" cy="14287"/>
            </a:xfrm>
            <a:custGeom>
              <a:avLst/>
              <a:gdLst>
                <a:gd name="T0" fmla="*/ 3 w 5"/>
                <a:gd name="T1" fmla="*/ 0 h 9"/>
                <a:gd name="T2" fmla="*/ 3 w 5"/>
                <a:gd name="T3" fmla="*/ 0 h 9"/>
                <a:gd name="T4" fmla="*/ 3 w 5"/>
                <a:gd name="T5" fmla="*/ 5 h 9"/>
                <a:gd name="T6" fmla="*/ 5 w 5"/>
                <a:gd name="T7" fmla="*/ 7 h 9"/>
                <a:gd name="T8" fmla="*/ 5 w 5"/>
                <a:gd name="T9" fmla="*/ 9 h 9"/>
                <a:gd name="T10" fmla="*/ 3 w 5"/>
                <a:gd name="T11" fmla="*/ 9 h 9"/>
                <a:gd name="T12" fmla="*/ 3 w 5"/>
                <a:gd name="T13" fmla="*/ 9 h 9"/>
                <a:gd name="T14" fmla="*/ 0 w 5"/>
                <a:gd name="T15" fmla="*/ 7 h 9"/>
                <a:gd name="T16" fmla="*/ 0 w 5"/>
                <a:gd name="T17" fmla="*/ 7 h 9"/>
                <a:gd name="T18" fmla="*/ 0 w 5"/>
                <a:gd name="T19" fmla="*/ 5 h 9"/>
                <a:gd name="T20" fmla="*/ 0 w 5"/>
                <a:gd name="T21" fmla="*/ 5 h 9"/>
                <a:gd name="T22" fmla="*/ 0 w 5"/>
                <a:gd name="T23" fmla="*/ 0 h 9"/>
                <a:gd name="T24" fmla="*/ 0 w 5"/>
                <a:gd name="T25" fmla="*/ 0 h 9"/>
                <a:gd name="T26" fmla="*/ 3 w 5"/>
                <a:gd name="T27" fmla="*/ 0 h 9"/>
                <a:gd name="T28" fmla="*/ 3 w 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9">
                  <a:moveTo>
                    <a:pt x="3" y="0"/>
                  </a:moveTo>
                  <a:lnTo>
                    <a:pt x="3" y="0"/>
                  </a:lnTo>
                  <a:lnTo>
                    <a:pt x="3" y="5"/>
                  </a:lnTo>
                  <a:lnTo>
                    <a:pt x="5" y="7"/>
                  </a:lnTo>
                  <a:lnTo>
                    <a:pt x="5" y="9"/>
                  </a:lnTo>
                  <a:lnTo>
                    <a:pt x="3" y="9"/>
                  </a:lnTo>
                  <a:lnTo>
                    <a:pt x="3" y="9"/>
                  </a:lnTo>
                  <a:lnTo>
                    <a:pt x="0" y="7"/>
                  </a:lnTo>
                  <a:lnTo>
                    <a:pt x="0" y="7"/>
                  </a:lnTo>
                  <a:lnTo>
                    <a:pt x="0" y="5"/>
                  </a:lnTo>
                  <a:lnTo>
                    <a:pt x="0" y="5"/>
                  </a:lnTo>
                  <a:lnTo>
                    <a:pt x="0" y="0"/>
                  </a:lnTo>
                  <a:lnTo>
                    <a:pt x="0" y="0"/>
                  </a:lnTo>
                  <a:lnTo>
                    <a:pt x="3"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4" name="Freeform 170">
              <a:extLst>
                <a:ext uri="{FF2B5EF4-FFF2-40B4-BE49-F238E27FC236}">
                  <a16:creationId xmlns:a16="http://schemas.microsoft.com/office/drawing/2014/main" id="{8F6231F1-0292-46C1-B69D-59C5FF993141}"/>
                </a:ext>
              </a:extLst>
            </p:cNvPr>
            <p:cNvSpPr>
              <a:spLocks/>
            </p:cNvSpPr>
            <p:nvPr/>
          </p:nvSpPr>
          <p:spPr bwMode="auto">
            <a:xfrm>
              <a:off x="2486865" y="4870417"/>
              <a:ext cx="6350" cy="4762"/>
            </a:xfrm>
            <a:custGeom>
              <a:avLst/>
              <a:gdLst>
                <a:gd name="T0" fmla="*/ 4 w 4"/>
                <a:gd name="T1" fmla="*/ 3 h 3"/>
                <a:gd name="T2" fmla="*/ 2 w 4"/>
                <a:gd name="T3" fmla="*/ 3 h 3"/>
                <a:gd name="T4" fmla="*/ 2 w 4"/>
                <a:gd name="T5" fmla="*/ 3 h 3"/>
                <a:gd name="T6" fmla="*/ 0 w 4"/>
                <a:gd name="T7" fmla="*/ 3 h 3"/>
                <a:gd name="T8" fmla="*/ 0 w 4"/>
                <a:gd name="T9" fmla="*/ 0 h 3"/>
                <a:gd name="T10" fmla="*/ 0 w 4"/>
                <a:gd name="T11" fmla="*/ 0 h 3"/>
                <a:gd name="T12" fmla="*/ 0 w 4"/>
                <a:gd name="T13" fmla="*/ 0 h 3"/>
                <a:gd name="T14" fmla="*/ 0 w 4"/>
                <a:gd name="T15" fmla="*/ 0 h 3"/>
                <a:gd name="T16" fmla="*/ 2 w 4"/>
                <a:gd name="T17" fmla="*/ 0 h 3"/>
                <a:gd name="T18" fmla="*/ 4 w 4"/>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4" y="3"/>
                  </a:moveTo>
                  <a:lnTo>
                    <a:pt x="2" y="3"/>
                  </a:lnTo>
                  <a:lnTo>
                    <a:pt x="2" y="3"/>
                  </a:lnTo>
                  <a:lnTo>
                    <a:pt x="0" y="3"/>
                  </a:lnTo>
                  <a:lnTo>
                    <a:pt x="0" y="0"/>
                  </a:lnTo>
                  <a:lnTo>
                    <a:pt x="0" y="0"/>
                  </a:lnTo>
                  <a:lnTo>
                    <a:pt x="0" y="0"/>
                  </a:lnTo>
                  <a:lnTo>
                    <a:pt x="0" y="0"/>
                  </a:lnTo>
                  <a:lnTo>
                    <a:pt x="2" y="0"/>
                  </a:lnTo>
                  <a:lnTo>
                    <a:pt x="4"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5" name="Freeform 171">
              <a:extLst>
                <a:ext uri="{FF2B5EF4-FFF2-40B4-BE49-F238E27FC236}">
                  <a16:creationId xmlns:a16="http://schemas.microsoft.com/office/drawing/2014/main" id="{AF0DE245-AF99-40B3-9315-EB1EBC237FF4}"/>
                </a:ext>
              </a:extLst>
            </p:cNvPr>
            <p:cNvSpPr>
              <a:spLocks/>
            </p:cNvSpPr>
            <p:nvPr/>
          </p:nvSpPr>
          <p:spPr bwMode="auto">
            <a:xfrm>
              <a:off x="2486865" y="4870417"/>
              <a:ext cx="6350" cy="4762"/>
            </a:xfrm>
            <a:custGeom>
              <a:avLst/>
              <a:gdLst>
                <a:gd name="T0" fmla="*/ 4 w 4"/>
                <a:gd name="T1" fmla="*/ 3 h 3"/>
                <a:gd name="T2" fmla="*/ 2 w 4"/>
                <a:gd name="T3" fmla="*/ 3 h 3"/>
                <a:gd name="T4" fmla="*/ 2 w 4"/>
                <a:gd name="T5" fmla="*/ 3 h 3"/>
                <a:gd name="T6" fmla="*/ 0 w 4"/>
                <a:gd name="T7" fmla="*/ 3 h 3"/>
                <a:gd name="T8" fmla="*/ 0 w 4"/>
                <a:gd name="T9" fmla="*/ 0 h 3"/>
                <a:gd name="T10" fmla="*/ 0 w 4"/>
                <a:gd name="T11" fmla="*/ 0 h 3"/>
                <a:gd name="T12" fmla="*/ 0 w 4"/>
                <a:gd name="T13" fmla="*/ 0 h 3"/>
                <a:gd name="T14" fmla="*/ 0 w 4"/>
                <a:gd name="T15" fmla="*/ 0 h 3"/>
                <a:gd name="T16" fmla="*/ 2 w 4"/>
                <a:gd name="T17" fmla="*/ 0 h 3"/>
                <a:gd name="T18" fmla="*/ 4 w 4"/>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4" y="3"/>
                  </a:moveTo>
                  <a:lnTo>
                    <a:pt x="2" y="3"/>
                  </a:lnTo>
                  <a:lnTo>
                    <a:pt x="2" y="3"/>
                  </a:lnTo>
                  <a:lnTo>
                    <a:pt x="0" y="3"/>
                  </a:lnTo>
                  <a:lnTo>
                    <a:pt x="0" y="0"/>
                  </a:lnTo>
                  <a:lnTo>
                    <a:pt x="0" y="0"/>
                  </a:lnTo>
                  <a:lnTo>
                    <a:pt x="0" y="0"/>
                  </a:lnTo>
                  <a:lnTo>
                    <a:pt x="0" y="0"/>
                  </a:lnTo>
                  <a:lnTo>
                    <a:pt x="2" y="0"/>
                  </a:lnTo>
                  <a:lnTo>
                    <a:pt x="4"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6" name="Freeform 172">
              <a:extLst>
                <a:ext uri="{FF2B5EF4-FFF2-40B4-BE49-F238E27FC236}">
                  <a16:creationId xmlns:a16="http://schemas.microsoft.com/office/drawing/2014/main" id="{4E6CF7DA-7742-4839-8223-EB22117EAF73}"/>
                </a:ext>
              </a:extLst>
            </p:cNvPr>
            <p:cNvSpPr>
              <a:spLocks/>
            </p:cNvSpPr>
            <p:nvPr/>
          </p:nvSpPr>
          <p:spPr bwMode="auto">
            <a:xfrm>
              <a:off x="2501152" y="4867242"/>
              <a:ext cx="7938" cy="7937"/>
            </a:xfrm>
            <a:custGeom>
              <a:avLst/>
              <a:gdLst>
                <a:gd name="T0" fmla="*/ 5 w 5"/>
                <a:gd name="T1" fmla="*/ 0 h 5"/>
                <a:gd name="T2" fmla="*/ 5 w 5"/>
                <a:gd name="T3" fmla="*/ 0 h 5"/>
                <a:gd name="T4" fmla="*/ 5 w 5"/>
                <a:gd name="T5" fmla="*/ 2 h 5"/>
                <a:gd name="T6" fmla="*/ 5 w 5"/>
                <a:gd name="T7" fmla="*/ 2 h 5"/>
                <a:gd name="T8" fmla="*/ 5 w 5"/>
                <a:gd name="T9" fmla="*/ 5 h 5"/>
                <a:gd name="T10" fmla="*/ 5 w 5"/>
                <a:gd name="T11" fmla="*/ 5 h 5"/>
                <a:gd name="T12" fmla="*/ 5 w 5"/>
                <a:gd name="T13" fmla="*/ 2 h 5"/>
                <a:gd name="T14" fmla="*/ 2 w 5"/>
                <a:gd name="T15" fmla="*/ 2 h 5"/>
                <a:gd name="T16" fmla="*/ 2 w 5"/>
                <a:gd name="T17" fmla="*/ 2 h 5"/>
                <a:gd name="T18" fmla="*/ 0 w 5"/>
                <a:gd name="T19" fmla="*/ 0 h 5"/>
                <a:gd name="T20" fmla="*/ 2 w 5"/>
                <a:gd name="T21" fmla="*/ 0 h 5"/>
                <a:gd name="T22" fmla="*/ 5 w 5"/>
                <a:gd name="T23" fmla="*/ 0 h 5"/>
                <a:gd name="T24" fmla="*/ 5 w 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5" y="0"/>
                  </a:moveTo>
                  <a:lnTo>
                    <a:pt x="5" y="0"/>
                  </a:lnTo>
                  <a:lnTo>
                    <a:pt x="5" y="2"/>
                  </a:lnTo>
                  <a:lnTo>
                    <a:pt x="5" y="2"/>
                  </a:lnTo>
                  <a:lnTo>
                    <a:pt x="5" y="5"/>
                  </a:lnTo>
                  <a:lnTo>
                    <a:pt x="5" y="5"/>
                  </a:lnTo>
                  <a:lnTo>
                    <a:pt x="5" y="2"/>
                  </a:lnTo>
                  <a:lnTo>
                    <a:pt x="2" y="2"/>
                  </a:lnTo>
                  <a:lnTo>
                    <a:pt x="2" y="2"/>
                  </a:lnTo>
                  <a:lnTo>
                    <a:pt x="0" y="0"/>
                  </a:lnTo>
                  <a:lnTo>
                    <a:pt x="2" y="0"/>
                  </a:lnTo>
                  <a:lnTo>
                    <a:pt x="5" y="0"/>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7" name="Freeform 173">
              <a:extLst>
                <a:ext uri="{FF2B5EF4-FFF2-40B4-BE49-F238E27FC236}">
                  <a16:creationId xmlns:a16="http://schemas.microsoft.com/office/drawing/2014/main" id="{B447F4F2-3CEC-4449-944F-FC64823C6AE4}"/>
                </a:ext>
              </a:extLst>
            </p:cNvPr>
            <p:cNvSpPr>
              <a:spLocks/>
            </p:cNvSpPr>
            <p:nvPr/>
          </p:nvSpPr>
          <p:spPr bwMode="auto">
            <a:xfrm>
              <a:off x="2501152" y="4867242"/>
              <a:ext cx="7938" cy="7937"/>
            </a:xfrm>
            <a:custGeom>
              <a:avLst/>
              <a:gdLst>
                <a:gd name="T0" fmla="*/ 5 w 5"/>
                <a:gd name="T1" fmla="*/ 0 h 5"/>
                <a:gd name="T2" fmla="*/ 5 w 5"/>
                <a:gd name="T3" fmla="*/ 0 h 5"/>
                <a:gd name="T4" fmla="*/ 5 w 5"/>
                <a:gd name="T5" fmla="*/ 2 h 5"/>
                <a:gd name="T6" fmla="*/ 5 w 5"/>
                <a:gd name="T7" fmla="*/ 2 h 5"/>
                <a:gd name="T8" fmla="*/ 5 w 5"/>
                <a:gd name="T9" fmla="*/ 5 h 5"/>
                <a:gd name="T10" fmla="*/ 5 w 5"/>
                <a:gd name="T11" fmla="*/ 5 h 5"/>
                <a:gd name="T12" fmla="*/ 5 w 5"/>
                <a:gd name="T13" fmla="*/ 2 h 5"/>
                <a:gd name="T14" fmla="*/ 2 w 5"/>
                <a:gd name="T15" fmla="*/ 2 h 5"/>
                <a:gd name="T16" fmla="*/ 2 w 5"/>
                <a:gd name="T17" fmla="*/ 2 h 5"/>
                <a:gd name="T18" fmla="*/ 0 w 5"/>
                <a:gd name="T19" fmla="*/ 0 h 5"/>
                <a:gd name="T20" fmla="*/ 2 w 5"/>
                <a:gd name="T21" fmla="*/ 0 h 5"/>
                <a:gd name="T22" fmla="*/ 5 w 5"/>
                <a:gd name="T23" fmla="*/ 0 h 5"/>
                <a:gd name="T24" fmla="*/ 5 w 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5" y="0"/>
                  </a:moveTo>
                  <a:lnTo>
                    <a:pt x="5" y="0"/>
                  </a:lnTo>
                  <a:lnTo>
                    <a:pt x="5" y="2"/>
                  </a:lnTo>
                  <a:lnTo>
                    <a:pt x="5" y="2"/>
                  </a:lnTo>
                  <a:lnTo>
                    <a:pt x="5" y="5"/>
                  </a:lnTo>
                  <a:lnTo>
                    <a:pt x="5" y="5"/>
                  </a:lnTo>
                  <a:lnTo>
                    <a:pt x="5" y="2"/>
                  </a:lnTo>
                  <a:lnTo>
                    <a:pt x="2" y="2"/>
                  </a:lnTo>
                  <a:lnTo>
                    <a:pt x="2" y="2"/>
                  </a:lnTo>
                  <a:lnTo>
                    <a:pt x="0" y="0"/>
                  </a:lnTo>
                  <a:lnTo>
                    <a:pt x="2" y="0"/>
                  </a:lnTo>
                  <a:lnTo>
                    <a:pt x="5"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8" name="Freeform 174">
              <a:extLst>
                <a:ext uri="{FF2B5EF4-FFF2-40B4-BE49-F238E27FC236}">
                  <a16:creationId xmlns:a16="http://schemas.microsoft.com/office/drawing/2014/main" id="{313C40AE-FBE7-4B09-9334-F4F33EE87402}"/>
                </a:ext>
              </a:extLst>
            </p:cNvPr>
            <p:cNvSpPr>
              <a:spLocks/>
            </p:cNvSpPr>
            <p:nvPr/>
          </p:nvSpPr>
          <p:spPr bwMode="auto">
            <a:xfrm>
              <a:off x="2523377" y="4883118"/>
              <a:ext cx="7938" cy="11112"/>
            </a:xfrm>
            <a:custGeom>
              <a:avLst/>
              <a:gdLst>
                <a:gd name="T0" fmla="*/ 5 w 5"/>
                <a:gd name="T1" fmla="*/ 2 h 7"/>
                <a:gd name="T2" fmla="*/ 3 w 5"/>
                <a:gd name="T3" fmla="*/ 4 h 7"/>
                <a:gd name="T4" fmla="*/ 5 w 5"/>
                <a:gd name="T5" fmla="*/ 4 h 7"/>
                <a:gd name="T6" fmla="*/ 5 w 5"/>
                <a:gd name="T7" fmla="*/ 4 h 7"/>
                <a:gd name="T8" fmla="*/ 3 w 5"/>
                <a:gd name="T9" fmla="*/ 7 h 7"/>
                <a:gd name="T10" fmla="*/ 3 w 5"/>
                <a:gd name="T11" fmla="*/ 4 h 7"/>
                <a:gd name="T12" fmla="*/ 3 w 5"/>
                <a:gd name="T13" fmla="*/ 2 h 7"/>
                <a:gd name="T14" fmla="*/ 3 w 5"/>
                <a:gd name="T15" fmla="*/ 2 h 7"/>
                <a:gd name="T16" fmla="*/ 0 w 5"/>
                <a:gd name="T17" fmla="*/ 2 h 7"/>
                <a:gd name="T18" fmla="*/ 0 w 5"/>
                <a:gd name="T19" fmla="*/ 0 h 7"/>
                <a:gd name="T20" fmla="*/ 3 w 5"/>
                <a:gd name="T21" fmla="*/ 0 h 7"/>
                <a:gd name="T22" fmla="*/ 5 w 5"/>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5" y="2"/>
                  </a:moveTo>
                  <a:lnTo>
                    <a:pt x="3" y="4"/>
                  </a:lnTo>
                  <a:lnTo>
                    <a:pt x="5" y="4"/>
                  </a:lnTo>
                  <a:lnTo>
                    <a:pt x="5" y="4"/>
                  </a:lnTo>
                  <a:lnTo>
                    <a:pt x="3" y="7"/>
                  </a:lnTo>
                  <a:lnTo>
                    <a:pt x="3" y="4"/>
                  </a:lnTo>
                  <a:lnTo>
                    <a:pt x="3" y="2"/>
                  </a:lnTo>
                  <a:lnTo>
                    <a:pt x="3" y="2"/>
                  </a:lnTo>
                  <a:lnTo>
                    <a:pt x="0" y="2"/>
                  </a:lnTo>
                  <a:lnTo>
                    <a:pt x="0" y="0"/>
                  </a:lnTo>
                  <a:lnTo>
                    <a:pt x="3" y="0"/>
                  </a:lnTo>
                  <a:lnTo>
                    <a:pt x="5"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49" name="Freeform 175">
              <a:extLst>
                <a:ext uri="{FF2B5EF4-FFF2-40B4-BE49-F238E27FC236}">
                  <a16:creationId xmlns:a16="http://schemas.microsoft.com/office/drawing/2014/main" id="{5FEA3ACA-E755-4DB8-8DB9-9F18B67DEE49}"/>
                </a:ext>
              </a:extLst>
            </p:cNvPr>
            <p:cNvSpPr>
              <a:spLocks/>
            </p:cNvSpPr>
            <p:nvPr/>
          </p:nvSpPr>
          <p:spPr bwMode="auto">
            <a:xfrm>
              <a:off x="2523377" y="4883118"/>
              <a:ext cx="7938" cy="11112"/>
            </a:xfrm>
            <a:custGeom>
              <a:avLst/>
              <a:gdLst>
                <a:gd name="T0" fmla="*/ 5 w 5"/>
                <a:gd name="T1" fmla="*/ 2 h 7"/>
                <a:gd name="T2" fmla="*/ 3 w 5"/>
                <a:gd name="T3" fmla="*/ 4 h 7"/>
                <a:gd name="T4" fmla="*/ 5 w 5"/>
                <a:gd name="T5" fmla="*/ 4 h 7"/>
                <a:gd name="T6" fmla="*/ 5 w 5"/>
                <a:gd name="T7" fmla="*/ 4 h 7"/>
                <a:gd name="T8" fmla="*/ 3 w 5"/>
                <a:gd name="T9" fmla="*/ 7 h 7"/>
                <a:gd name="T10" fmla="*/ 3 w 5"/>
                <a:gd name="T11" fmla="*/ 4 h 7"/>
                <a:gd name="T12" fmla="*/ 3 w 5"/>
                <a:gd name="T13" fmla="*/ 2 h 7"/>
                <a:gd name="T14" fmla="*/ 3 w 5"/>
                <a:gd name="T15" fmla="*/ 2 h 7"/>
                <a:gd name="T16" fmla="*/ 0 w 5"/>
                <a:gd name="T17" fmla="*/ 2 h 7"/>
                <a:gd name="T18" fmla="*/ 0 w 5"/>
                <a:gd name="T19" fmla="*/ 0 h 7"/>
                <a:gd name="T20" fmla="*/ 3 w 5"/>
                <a:gd name="T21" fmla="*/ 0 h 7"/>
                <a:gd name="T22" fmla="*/ 5 w 5"/>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5" y="2"/>
                  </a:moveTo>
                  <a:lnTo>
                    <a:pt x="3" y="4"/>
                  </a:lnTo>
                  <a:lnTo>
                    <a:pt x="5" y="4"/>
                  </a:lnTo>
                  <a:lnTo>
                    <a:pt x="5" y="4"/>
                  </a:lnTo>
                  <a:lnTo>
                    <a:pt x="3" y="7"/>
                  </a:lnTo>
                  <a:lnTo>
                    <a:pt x="3" y="4"/>
                  </a:lnTo>
                  <a:lnTo>
                    <a:pt x="3" y="2"/>
                  </a:lnTo>
                  <a:lnTo>
                    <a:pt x="3" y="2"/>
                  </a:lnTo>
                  <a:lnTo>
                    <a:pt x="0" y="2"/>
                  </a:lnTo>
                  <a:lnTo>
                    <a:pt x="0" y="0"/>
                  </a:lnTo>
                  <a:lnTo>
                    <a:pt x="3" y="0"/>
                  </a:lnTo>
                  <a:lnTo>
                    <a:pt x="5"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0" name="Freeform 176">
              <a:extLst>
                <a:ext uri="{FF2B5EF4-FFF2-40B4-BE49-F238E27FC236}">
                  <a16:creationId xmlns:a16="http://schemas.microsoft.com/office/drawing/2014/main" id="{275E1C41-46DD-48F2-A133-DD607277D8FA}"/>
                </a:ext>
              </a:extLst>
            </p:cNvPr>
            <p:cNvSpPr>
              <a:spLocks/>
            </p:cNvSpPr>
            <p:nvPr/>
          </p:nvSpPr>
          <p:spPr bwMode="auto">
            <a:xfrm>
              <a:off x="832693" y="4222716"/>
              <a:ext cx="3175" cy="3175"/>
            </a:xfrm>
            <a:custGeom>
              <a:avLst/>
              <a:gdLst>
                <a:gd name="T0" fmla="*/ 2 w 2"/>
                <a:gd name="T1" fmla="*/ 0 h 2"/>
                <a:gd name="T2" fmla="*/ 2 w 2"/>
                <a:gd name="T3" fmla="*/ 0 h 2"/>
                <a:gd name="T4" fmla="*/ 0 w 2"/>
                <a:gd name="T5" fmla="*/ 2 h 2"/>
                <a:gd name="T6" fmla="*/ 0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0" y="2"/>
                  </a:lnTo>
                  <a:lnTo>
                    <a:pt x="2"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1" name="Freeform 177">
              <a:extLst>
                <a:ext uri="{FF2B5EF4-FFF2-40B4-BE49-F238E27FC236}">
                  <a16:creationId xmlns:a16="http://schemas.microsoft.com/office/drawing/2014/main" id="{2C480060-2568-4B3A-AA00-C95F4CECF1E7}"/>
                </a:ext>
              </a:extLst>
            </p:cNvPr>
            <p:cNvSpPr>
              <a:spLocks/>
            </p:cNvSpPr>
            <p:nvPr/>
          </p:nvSpPr>
          <p:spPr bwMode="auto">
            <a:xfrm>
              <a:off x="832693" y="4222716"/>
              <a:ext cx="3175" cy="3175"/>
            </a:xfrm>
            <a:custGeom>
              <a:avLst/>
              <a:gdLst>
                <a:gd name="T0" fmla="*/ 2 w 2"/>
                <a:gd name="T1" fmla="*/ 0 h 2"/>
                <a:gd name="T2" fmla="*/ 2 w 2"/>
                <a:gd name="T3" fmla="*/ 0 h 2"/>
                <a:gd name="T4" fmla="*/ 0 w 2"/>
                <a:gd name="T5" fmla="*/ 2 h 2"/>
                <a:gd name="T6" fmla="*/ 0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0" y="2"/>
                  </a:lnTo>
                  <a:lnTo>
                    <a:pt x="2" y="2"/>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2" name="Freeform 178">
              <a:extLst>
                <a:ext uri="{FF2B5EF4-FFF2-40B4-BE49-F238E27FC236}">
                  <a16:creationId xmlns:a16="http://schemas.microsoft.com/office/drawing/2014/main" id="{4E2B9132-156B-418A-9145-8B6F09F9FD0E}"/>
                </a:ext>
              </a:extLst>
            </p:cNvPr>
            <p:cNvSpPr>
              <a:spLocks/>
            </p:cNvSpPr>
            <p:nvPr/>
          </p:nvSpPr>
          <p:spPr bwMode="auto">
            <a:xfrm>
              <a:off x="1510554" y="4424328"/>
              <a:ext cx="11113" cy="15875"/>
            </a:xfrm>
            <a:custGeom>
              <a:avLst/>
              <a:gdLst>
                <a:gd name="T0" fmla="*/ 7 w 7"/>
                <a:gd name="T1" fmla="*/ 3 h 10"/>
                <a:gd name="T2" fmla="*/ 7 w 7"/>
                <a:gd name="T3" fmla="*/ 5 h 10"/>
                <a:gd name="T4" fmla="*/ 7 w 7"/>
                <a:gd name="T5" fmla="*/ 7 h 10"/>
                <a:gd name="T6" fmla="*/ 7 w 7"/>
                <a:gd name="T7" fmla="*/ 10 h 10"/>
                <a:gd name="T8" fmla="*/ 5 w 7"/>
                <a:gd name="T9" fmla="*/ 10 h 10"/>
                <a:gd name="T10" fmla="*/ 5 w 7"/>
                <a:gd name="T11" fmla="*/ 10 h 10"/>
                <a:gd name="T12" fmla="*/ 3 w 7"/>
                <a:gd name="T13" fmla="*/ 10 h 10"/>
                <a:gd name="T14" fmla="*/ 3 w 7"/>
                <a:gd name="T15" fmla="*/ 10 h 10"/>
                <a:gd name="T16" fmla="*/ 0 w 7"/>
                <a:gd name="T17" fmla="*/ 10 h 10"/>
                <a:gd name="T18" fmla="*/ 0 w 7"/>
                <a:gd name="T19" fmla="*/ 7 h 10"/>
                <a:gd name="T20" fmla="*/ 0 w 7"/>
                <a:gd name="T21" fmla="*/ 7 h 10"/>
                <a:gd name="T22" fmla="*/ 0 w 7"/>
                <a:gd name="T23" fmla="*/ 5 h 10"/>
                <a:gd name="T24" fmla="*/ 3 w 7"/>
                <a:gd name="T25" fmla="*/ 0 h 10"/>
                <a:gd name="T26" fmla="*/ 5 w 7"/>
                <a:gd name="T27" fmla="*/ 0 h 10"/>
                <a:gd name="T28" fmla="*/ 7 w 7"/>
                <a:gd name="T2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0">
                  <a:moveTo>
                    <a:pt x="7" y="3"/>
                  </a:moveTo>
                  <a:lnTo>
                    <a:pt x="7" y="5"/>
                  </a:lnTo>
                  <a:lnTo>
                    <a:pt x="7" y="7"/>
                  </a:lnTo>
                  <a:lnTo>
                    <a:pt x="7" y="10"/>
                  </a:lnTo>
                  <a:lnTo>
                    <a:pt x="5" y="10"/>
                  </a:lnTo>
                  <a:lnTo>
                    <a:pt x="5" y="10"/>
                  </a:lnTo>
                  <a:lnTo>
                    <a:pt x="3" y="10"/>
                  </a:lnTo>
                  <a:lnTo>
                    <a:pt x="3" y="10"/>
                  </a:lnTo>
                  <a:lnTo>
                    <a:pt x="0" y="10"/>
                  </a:lnTo>
                  <a:lnTo>
                    <a:pt x="0" y="7"/>
                  </a:lnTo>
                  <a:lnTo>
                    <a:pt x="0" y="7"/>
                  </a:lnTo>
                  <a:lnTo>
                    <a:pt x="0" y="5"/>
                  </a:lnTo>
                  <a:lnTo>
                    <a:pt x="3" y="0"/>
                  </a:lnTo>
                  <a:lnTo>
                    <a:pt x="5" y="0"/>
                  </a:lnTo>
                  <a:lnTo>
                    <a:pt x="7"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3" name="Freeform 179">
              <a:extLst>
                <a:ext uri="{FF2B5EF4-FFF2-40B4-BE49-F238E27FC236}">
                  <a16:creationId xmlns:a16="http://schemas.microsoft.com/office/drawing/2014/main" id="{26AA8DE4-81B1-49CD-B640-450E2A49013A}"/>
                </a:ext>
              </a:extLst>
            </p:cNvPr>
            <p:cNvSpPr>
              <a:spLocks/>
            </p:cNvSpPr>
            <p:nvPr/>
          </p:nvSpPr>
          <p:spPr bwMode="auto">
            <a:xfrm>
              <a:off x="1510554" y="4424328"/>
              <a:ext cx="11113" cy="15875"/>
            </a:xfrm>
            <a:custGeom>
              <a:avLst/>
              <a:gdLst>
                <a:gd name="T0" fmla="*/ 7 w 7"/>
                <a:gd name="T1" fmla="*/ 3 h 10"/>
                <a:gd name="T2" fmla="*/ 7 w 7"/>
                <a:gd name="T3" fmla="*/ 5 h 10"/>
                <a:gd name="T4" fmla="*/ 7 w 7"/>
                <a:gd name="T5" fmla="*/ 7 h 10"/>
                <a:gd name="T6" fmla="*/ 7 w 7"/>
                <a:gd name="T7" fmla="*/ 10 h 10"/>
                <a:gd name="T8" fmla="*/ 5 w 7"/>
                <a:gd name="T9" fmla="*/ 10 h 10"/>
                <a:gd name="T10" fmla="*/ 5 w 7"/>
                <a:gd name="T11" fmla="*/ 10 h 10"/>
                <a:gd name="T12" fmla="*/ 3 w 7"/>
                <a:gd name="T13" fmla="*/ 10 h 10"/>
                <a:gd name="T14" fmla="*/ 3 w 7"/>
                <a:gd name="T15" fmla="*/ 10 h 10"/>
                <a:gd name="T16" fmla="*/ 0 w 7"/>
                <a:gd name="T17" fmla="*/ 10 h 10"/>
                <a:gd name="T18" fmla="*/ 0 w 7"/>
                <a:gd name="T19" fmla="*/ 7 h 10"/>
                <a:gd name="T20" fmla="*/ 0 w 7"/>
                <a:gd name="T21" fmla="*/ 7 h 10"/>
                <a:gd name="T22" fmla="*/ 0 w 7"/>
                <a:gd name="T23" fmla="*/ 5 h 10"/>
                <a:gd name="T24" fmla="*/ 3 w 7"/>
                <a:gd name="T25" fmla="*/ 0 h 10"/>
                <a:gd name="T26" fmla="*/ 5 w 7"/>
                <a:gd name="T27" fmla="*/ 0 h 10"/>
                <a:gd name="T28" fmla="*/ 7 w 7"/>
                <a:gd name="T2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0">
                  <a:moveTo>
                    <a:pt x="7" y="3"/>
                  </a:moveTo>
                  <a:lnTo>
                    <a:pt x="7" y="5"/>
                  </a:lnTo>
                  <a:lnTo>
                    <a:pt x="7" y="7"/>
                  </a:lnTo>
                  <a:lnTo>
                    <a:pt x="7" y="10"/>
                  </a:lnTo>
                  <a:lnTo>
                    <a:pt x="5" y="10"/>
                  </a:lnTo>
                  <a:lnTo>
                    <a:pt x="5" y="10"/>
                  </a:lnTo>
                  <a:lnTo>
                    <a:pt x="3" y="10"/>
                  </a:lnTo>
                  <a:lnTo>
                    <a:pt x="3" y="10"/>
                  </a:lnTo>
                  <a:lnTo>
                    <a:pt x="0" y="10"/>
                  </a:lnTo>
                  <a:lnTo>
                    <a:pt x="0" y="7"/>
                  </a:lnTo>
                  <a:lnTo>
                    <a:pt x="0" y="7"/>
                  </a:lnTo>
                  <a:lnTo>
                    <a:pt x="0" y="5"/>
                  </a:lnTo>
                  <a:lnTo>
                    <a:pt x="3" y="0"/>
                  </a:lnTo>
                  <a:lnTo>
                    <a:pt x="5" y="0"/>
                  </a:lnTo>
                  <a:lnTo>
                    <a:pt x="7"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4" name="Freeform 180">
              <a:extLst>
                <a:ext uri="{FF2B5EF4-FFF2-40B4-BE49-F238E27FC236}">
                  <a16:creationId xmlns:a16="http://schemas.microsoft.com/office/drawing/2014/main" id="{54A3619C-F7BD-4EAF-88B1-2E7B9383242E}"/>
                </a:ext>
              </a:extLst>
            </p:cNvPr>
            <p:cNvSpPr>
              <a:spLocks/>
            </p:cNvSpPr>
            <p:nvPr/>
          </p:nvSpPr>
          <p:spPr bwMode="auto">
            <a:xfrm>
              <a:off x="1432767" y="4567204"/>
              <a:ext cx="0" cy="4762"/>
            </a:xfrm>
            <a:custGeom>
              <a:avLst/>
              <a:gdLst>
                <a:gd name="T0" fmla="*/ 0 h 3"/>
                <a:gd name="T1" fmla="*/ 0 h 3"/>
                <a:gd name="T2" fmla="*/ 0 h 3"/>
                <a:gd name="T3" fmla="*/ 3 h 3"/>
                <a:gd name="T4" fmla="*/ 3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0"/>
                  </a:lnTo>
                  <a:lnTo>
                    <a:pt x="0" y="3"/>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5" name="Freeform 181">
              <a:extLst>
                <a:ext uri="{FF2B5EF4-FFF2-40B4-BE49-F238E27FC236}">
                  <a16:creationId xmlns:a16="http://schemas.microsoft.com/office/drawing/2014/main" id="{B7C865B3-E79E-4605-8F3A-A11DCF93BF4F}"/>
                </a:ext>
              </a:extLst>
            </p:cNvPr>
            <p:cNvSpPr>
              <a:spLocks/>
            </p:cNvSpPr>
            <p:nvPr/>
          </p:nvSpPr>
          <p:spPr bwMode="auto">
            <a:xfrm>
              <a:off x="1432767" y="4567204"/>
              <a:ext cx="0" cy="4762"/>
            </a:xfrm>
            <a:custGeom>
              <a:avLst/>
              <a:gdLst>
                <a:gd name="T0" fmla="*/ 0 h 3"/>
                <a:gd name="T1" fmla="*/ 0 h 3"/>
                <a:gd name="T2" fmla="*/ 0 h 3"/>
                <a:gd name="T3" fmla="*/ 3 h 3"/>
                <a:gd name="T4" fmla="*/ 3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0"/>
                  </a:lnTo>
                  <a:lnTo>
                    <a:pt x="0" y="0"/>
                  </a:lnTo>
                  <a:lnTo>
                    <a:pt x="0" y="3"/>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6" name="Freeform 182">
              <a:extLst>
                <a:ext uri="{FF2B5EF4-FFF2-40B4-BE49-F238E27FC236}">
                  <a16:creationId xmlns:a16="http://schemas.microsoft.com/office/drawing/2014/main" id="{F27AA4CC-EBE4-4ECC-9D38-F01428390406}"/>
                </a:ext>
              </a:extLst>
            </p:cNvPr>
            <p:cNvSpPr>
              <a:spLocks/>
            </p:cNvSpPr>
            <p:nvPr/>
          </p:nvSpPr>
          <p:spPr bwMode="auto">
            <a:xfrm>
              <a:off x="2380503" y="4079842"/>
              <a:ext cx="4763" cy="7937"/>
            </a:xfrm>
            <a:custGeom>
              <a:avLst/>
              <a:gdLst>
                <a:gd name="T0" fmla="*/ 3 w 3"/>
                <a:gd name="T1" fmla="*/ 2 h 5"/>
                <a:gd name="T2" fmla="*/ 3 w 3"/>
                <a:gd name="T3" fmla="*/ 2 h 5"/>
                <a:gd name="T4" fmla="*/ 3 w 3"/>
                <a:gd name="T5" fmla="*/ 2 h 5"/>
                <a:gd name="T6" fmla="*/ 0 w 3"/>
                <a:gd name="T7" fmla="*/ 2 h 5"/>
                <a:gd name="T8" fmla="*/ 0 w 3"/>
                <a:gd name="T9" fmla="*/ 2 h 5"/>
                <a:gd name="T10" fmla="*/ 3 w 3"/>
                <a:gd name="T11" fmla="*/ 2 h 5"/>
                <a:gd name="T12" fmla="*/ 3 w 3"/>
                <a:gd name="T13" fmla="*/ 5 h 5"/>
                <a:gd name="T14" fmla="*/ 3 w 3"/>
                <a:gd name="T15" fmla="*/ 5 h 5"/>
                <a:gd name="T16" fmla="*/ 3 w 3"/>
                <a:gd name="T17" fmla="*/ 2 h 5"/>
                <a:gd name="T18" fmla="*/ 3 w 3"/>
                <a:gd name="T19" fmla="*/ 2 h 5"/>
                <a:gd name="T20" fmla="*/ 3 w 3"/>
                <a:gd name="T21" fmla="*/ 0 h 5"/>
                <a:gd name="T22" fmla="*/ 3 w 3"/>
                <a:gd name="T23" fmla="*/ 2 h 5"/>
                <a:gd name="T24" fmla="*/ 3 w 3"/>
                <a:gd name="T2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5">
                  <a:moveTo>
                    <a:pt x="3" y="2"/>
                  </a:moveTo>
                  <a:lnTo>
                    <a:pt x="3" y="2"/>
                  </a:lnTo>
                  <a:lnTo>
                    <a:pt x="3" y="2"/>
                  </a:lnTo>
                  <a:lnTo>
                    <a:pt x="0" y="2"/>
                  </a:lnTo>
                  <a:lnTo>
                    <a:pt x="0" y="2"/>
                  </a:lnTo>
                  <a:lnTo>
                    <a:pt x="3" y="2"/>
                  </a:lnTo>
                  <a:lnTo>
                    <a:pt x="3" y="5"/>
                  </a:lnTo>
                  <a:lnTo>
                    <a:pt x="3" y="5"/>
                  </a:lnTo>
                  <a:lnTo>
                    <a:pt x="3" y="2"/>
                  </a:lnTo>
                  <a:lnTo>
                    <a:pt x="3" y="2"/>
                  </a:lnTo>
                  <a:lnTo>
                    <a:pt x="3" y="0"/>
                  </a:lnTo>
                  <a:lnTo>
                    <a:pt x="3" y="2"/>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7" name="Freeform 183">
              <a:extLst>
                <a:ext uri="{FF2B5EF4-FFF2-40B4-BE49-F238E27FC236}">
                  <a16:creationId xmlns:a16="http://schemas.microsoft.com/office/drawing/2014/main" id="{C3820459-AC75-4C1A-9BD9-C17DBD0E7D57}"/>
                </a:ext>
              </a:extLst>
            </p:cNvPr>
            <p:cNvSpPr>
              <a:spLocks/>
            </p:cNvSpPr>
            <p:nvPr/>
          </p:nvSpPr>
          <p:spPr bwMode="auto">
            <a:xfrm>
              <a:off x="2380503" y="4079842"/>
              <a:ext cx="4763" cy="7937"/>
            </a:xfrm>
            <a:custGeom>
              <a:avLst/>
              <a:gdLst>
                <a:gd name="T0" fmla="*/ 3 w 3"/>
                <a:gd name="T1" fmla="*/ 2 h 5"/>
                <a:gd name="T2" fmla="*/ 3 w 3"/>
                <a:gd name="T3" fmla="*/ 2 h 5"/>
                <a:gd name="T4" fmla="*/ 3 w 3"/>
                <a:gd name="T5" fmla="*/ 2 h 5"/>
                <a:gd name="T6" fmla="*/ 0 w 3"/>
                <a:gd name="T7" fmla="*/ 2 h 5"/>
                <a:gd name="T8" fmla="*/ 0 w 3"/>
                <a:gd name="T9" fmla="*/ 2 h 5"/>
                <a:gd name="T10" fmla="*/ 3 w 3"/>
                <a:gd name="T11" fmla="*/ 2 h 5"/>
                <a:gd name="T12" fmla="*/ 3 w 3"/>
                <a:gd name="T13" fmla="*/ 5 h 5"/>
                <a:gd name="T14" fmla="*/ 3 w 3"/>
                <a:gd name="T15" fmla="*/ 5 h 5"/>
                <a:gd name="T16" fmla="*/ 3 w 3"/>
                <a:gd name="T17" fmla="*/ 2 h 5"/>
                <a:gd name="T18" fmla="*/ 3 w 3"/>
                <a:gd name="T19" fmla="*/ 2 h 5"/>
                <a:gd name="T20" fmla="*/ 3 w 3"/>
                <a:gd name="T21" fmla="*/ 0 h 5"/>
                <a:gd name="T22" fmla="*/ 3 w 3"/>
                <a:gd name="T23" fmla="*/ 2 h 5"/>
                <a:gd name="T24" fmla="*/ 3 w 3"/>
                <a:gd name="T2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5">
                  <a:moveTo>
                    <a:pt x="3" y="2"/>
                  </a:moveTo>
                  <a:lnTo>
                    <a:pt x="3" y="2"/>
                  </a:lnTo>
                  <a:lnTo>
                    <a:pt x="3" y="2"/>
                  </a:lnTo>
                  <a:lnTo>
                    <a:pt x="0" y="2"/>
                  </a:lnTo>
                  <a:lnTo>
                    <a:pt x="0" y="2"/>
                  </a:lnTo>
                  <a:lnTo>
                    <a:pt x="3" y="2"/>
                  </a:lnTo>
                  <a:lnTo>
                    <a:pt x="3" y="5"/>
                  </a:lnTo>
                  <a:lnTo>
                    <a:pt x="3" y="5"/>
                  </a:lnTo>
                  <a:lnTo>
                    <a:pt x="3" y="2"/>
                  </a:lnTo>
                  <a:lnTo>
                    <a:pt x="3" y="2"/>
                  </a:lnTo>
                  <a:lnTo>
                    <a:pt x="3" y="0"/>
                  </a:lnTo>
                  <a:lnTo>
                    <a:pt x="3" y="2"/>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8" name="Freeform 184">
              <a:extLst>
                <a:ext uri="{FF2B5EF4-FFF2-40B4-BE49-F238E27FC236}">
                  <a16:creationId xmlns:a16="http://schemas.microsoft.com/office/drawing/2014/main" id="{41D9C35E-8799-4E51-A856-99A595E6D25A}"/>
                </a:ext>
              </a:extLst>
            </p:cNvPr>
            <p:cNvSpPr>
              <a:spLocks/>
            </p:cNvSpPr>
            <p:nvPr/>
          </p:nvSpPr>
          <p:spPr bwMode="auto">
            <a:xfrm>
              <a:off x="2380503" y="4087778"/>
              <a:ext cx="15875" cy="11112"/>
            </a:xfrm>
            <a:custGeom>
              <a:avLst/>
              <a:gdLst>
                <a:gd name="T0" fmla="*/ 5 w 10"/>
                <a:gd name="T1" fmla="*/ 5 h 7"/>
                <a:gd name="T2" fmla="*/ 5 w 10"/>
                <a:gd name="T3" fmla="*/ 5 h 7"/>
                <a:gd name="T4" fmla="*/ 5 w 10"/>
                <a:gd name="T5" fmla="*/ 5 h 7"/>
                <a:gd name="T6" fmla="*/ 5 w 10"/>
                <a:gd name="T7" fmla="*/ 5 h 7"/>
                <a:gd name="T8" fmla="*/ 5 w 10"/>
                <a:gd name="T9" fmla="*/ 2 h 7"/>
                <a:gd name="T10" fmla="*/ 3 w 10"/>
                <a:gd name="T11" fmla="*/ 0 h 7"/>
                <a:gd name="T12" fmla="*/ 3 w 10"/>
                <a:gd name="T13" fmla="*/ 0 h 7"/>
                <a:gd name="T14" fmla="*/ 0 w 10"/>
                <a:gd name="T15" fmla="*/ 2 h 7"/>
                <a:gd name="T16" fmla="*/ 0 w 10"/>
                <a:gd name="T17" fmla="*/ 2 h 7"/>
                <a:gd name="T18" fmla="*/ 0 w 10"/>
                <a:gd name="T19" fmla="*/ 2 h 7"/>
                <a:gd name="T20" fmla="*/ 3 w 10"/>
                <a:gd name="T21" fmla="*/ 2 h 7"/>
                <a:gd name="T22" fmla="*/ 3 w 10"/>
                <a:gd name="T23" fmla="*/ 2 h 7"/>
                <a:gd name="T24" fmla="*/ 3 w 10"/>
                <a:gd name="T25" fmla="*/ 5 h 7"/>
                <a:gd name="T26" fmla="*/ 3 w 10"/>
                <a:gd name="T27" fmla="*/ 5 h 7"/>
                <a:gd name="T28" fmla="*/ 0 w 10"/>
                <a:gd name="T29" fmla="*/ 5 h 7"/>
                <a:gd name="T30" fmla="*/ 0 w 10"/>
                <a:gd name="T31" fmla="*/ 5 h 7"/>
                <a:gd name="T32" fmla="*/ 3 w 10"/>
                <a:gd name="T33" fmla="*/ 5 h 7"/>
                <a:gd name="T34" fmla="*/ 5 w 10"/>
                <a:gd name="T35" fmla="*/ 7 h 7"/>
                <a:gd name="T36" fmla="*/ 5 w 10"/>
                <a:gd name="T37" fmla="*/ 7 h 7"/>
                <a:gd name="T38" fmla="*/ 7 w 10"/>
                <a:gd name="T39" fmla="*/ 7 h 7"/>
                <a:gd name="T40" fmla="*/ 7 w 10"/>
                <a:gd name="T41" fmla="*/ 7 h 7"/>
                <a:gd name="T42" fmla="*/ 10 w 10"/>
                <a:gd name="T43" fmla="*/ 5 h 7"/>
                <a:gd name="T44" fmla="*/ 7 w 10"/>
                <a:gd name="T45" fmla="*/ 5 h 7"/>
                <a:gd name="T46" fmla="*/ 7 w 10"/>
                <a:gd name="T47" fmla="*/ 5 h 7"/>
                <a:gd name="T48" fmla="*/ 7 w 10"/>
                <a:gd name="T49" fmla="*/ 5 h 7"/>
                <a:gd name="T50" fmla="*/ 5 w 10"/>
                <a:gd name="T51" fmla="*/ 5 h 7"/>
                <a:gd name="T52" fmla="*/ 5 w 10"/>
                <a:gd name="T5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7">
                  <a:moveTo>
                    <a:pt x="5" y="5"/>
                  </a:moveTo>
                  <a:lnTo>
                    <a:pt x="5" y="5"/>
                  </a:lnTo>
                  <a:lnTo>
                    <a:pt x="5" y="5"/>
                  </a:lnTo>
                  <a:lnTo>
                    <a:pt x="5" y="5"/>
                  </a:lnTo>
                  <a:lnTo>
                    <a:pt x="5" y="2"/>
                  </a:lnTo>
                  <a:lnTo>
                    <a:pt x="3" y="0"/>
                  </a:lnTo>
                  <a:lnTo>
                    <a:pt x="3" y="0"/>
                  </a:lnTo>
                  <a:lnTo>
                    <a:pt x="0" y="2"/>
                  </a:lnTo>
                  <a:lnTo>
                    <a:pt x="0" y="2"/>
                  </a:lnTo>
                  <a:lnTo>
                    <a:pt x="0" y="2"/>
                  </a:lnTo>
                  <a:lnTo>
                    <a:pt x="3" y="2"/>
                  </a:lnTo>
                  <a:lnTo>
                    <a:pt x="3" y="2"/>
                  </a:lnTo>
                  <a:lnTo>
                    <a:pt x="3" y="5"/>
                  </a:lnTo>
                  <a:lnTo>
                    <a:pt x="3" y="5"/>
                  </a:lnTo>
                  <a:lnTo>
                    <a:pt x="0" y="5"/>
                  </a:lnTo>
                  <a:lnTo>
                    <a:pt x="0" y="5"/>
                  </a:lnTo>
                  <a:lnTo>
                    <a:pt x="3" y="5"/>
                  </a:lnTo>
                  <a:lnTo>
                    <a:pt x="5" y="7"/>
                  </a:lnTo>
                  <a:lnTo>
                    <a:pt x="5" y="7"/>
                  </a:lnTo>
                  <a:lnTo>
                    <a:pt x="7" y="7"/>
                  </a:lnTo>
                  <a:lnTo>
                    <a:pt x="7" y="7"/>
                  </a:lnTo>
                  <a:lnTo>
                    <a:pt x="10" y="5"/>
                  </a:lnTo>
                  <a:lnTo>
                    <a:pt x="7" y="5"/>
                  </a:lnTo>
                  <a:lnTo>
                    <a:pt x="7" y="5"/>
                  </a:lnTo>
                  <a:lnTo>
                    <a:pt x="7" y="5"/>
                  </a:lnTo>
                  <a:lnTo>
                    <a:pt x="5" y="5"/>
                  </a:lnTo>
                  <a:lnTo>
                    <a:pt x="5"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59" name="Freeform 185">
              <a:extLst>
                <a:ext uri="{FF2B5EF4-FFF2-40B4-BE49-F238E27FC236}">
                  <a16:creationId xmlns:a16="http://schemas.microsoft.com/office/drawing/2014/main" id="{DF038D63-D29C-49A9-B748-E6345C3108A8}"/>
                </a:ext>
              </a:extLst>
            </p:cNvPr>
            <p:cNvSpPr>
              <a:spLocks/>
            </p:cNvSpPr>
            <p:nvPr/>
          </p:nvSpPr>
          <p:spPr bwMode="auto">
            <a:xfrm>
              <a:off x="2380503" y="4087778"/>
              <a:ext cx="15875" cy="11112"/>
            </a:xfrm>
            <a:custGeom>
              <a:avLst/>
              <a:gdLst>
                <a:gd name="T0" fmla="*/ 5 w 10"/>
                <a:gd name="T1" fmla="*/ 5 h 7"/>
                <a:gd name="T2" fmla="*/ 5 w 10"/>
                <a:gd name="T3" fmla="*/ 5 h 7"/>
                <a:gd name="T4" fmla="*/ 5 w 10"/>
                <a:gd name="T5" fmla="*/ 5 h 7"/>
                <a:gd name="T6" fmla="*/ 5 w 10"/>
                <a:gd name="T7" fmla="*/ 5 h 7"/>
                <a:gd name="T8" fmla="*/ 5 w 10"/>
                <a:gd name="T9" fmla="*/ 2 h 7"/>
                <a:gd name="T10" fmla="*/ 3 w 10"/>
                <a:gd name="T11" fmla="*/ 0 h 7"/>
                <a:gd name="T12" fmla="*/ 3 w 10"/>
                <a:gd name="T13" fmla="*/ 0 h 7"/>
                <a:gd name="T14" fmla="*/ 0 w 10"/>
                <a:gd name="T15" fmla="*/ 2 h 7"/>
                <a:gd name="T16" fmla="*/ 0 w 10"/>
                <a:gd name="T17" fmla="*/ 2 h 7"/>
                <a:gd name="T18" fmla="*/ 0 w 10"/>
                <a:gd name="T19" fmla="*/ 2 h 7"/>
                <a:gd name="T20" fmla="*/ 3 w 10"/>
                <a:gd name="T21" fmla="*/ 2 h 7"/>
                <a:gd name="T22" fmla="*/ 3 w 10"/>
                <a:gd name="T23" fmla="*/ 2 h 7"/>
                <a:gd name="T24" fmla="*/ 3 w 10"/>
                <a:gd name="T25" fmla="*/ 5 h 7"/>
                <a:gd name="T26" fmla="*/ 3 w 10"/>
                <a:gd name="T27" fmla="*/ 5 h 7"/>
                <a:gd name="T28" fmla="*/ 0 w 10"/>
                <a:gd name="T29" fmla="*/ 5 h 7"/>
                <a:gd name="T30" fmla="*/ 0 w 10"/>
                <a:gd name="T31" fmla="*/ 5 h 7"/>
                <a:gd name="T32" fmla="*/ 3 w 10"/>
                <a:gd name="T33" fmla="*/ 5 h 7"/>
                <a:gd name="T34" fmla="*/ 5 w 10"/>
                <a:gd name="T35" fmla="*/ 7 h 7"/>
                <a:gd name="T36" fmla="*/ 5 w 10"/>
                <a:gd name="T37" fmla="*/ 7 h 7"/>
                <a:gd name="T38" fmla="*/ 7 w 10"/>
                <a:gd name="T39" fmla="*/ 7 h 7"/>
                <a:gd name="T40" fmla="*/ 7 w 10"/>
                <a:gd name="T41" fmla="*/ 7 h 7"/>
                <a:gd name="T42" fmla="*/ 10 w 10"/>
                <a:gd name="T43" fmla="*/ 5 h 7"/>
                <a:gd name="T44" fmla="*/ 7 w 10"/>
                <a:gd name="T45" fmla="*/ 5 h 7"/>
                <a:gd name="T46" fmla="*/ 7 w 10"/>
                <a:gd name="T47" fmla="*/ 5 h 7"/>
                <a:gd name="T48" fmla="*/ 7 w 10"/>
                <a:gd name="T49" fmla="*/ 5 h 7"/>
                <a:gd name="T50" fmla="*/ 5 w 10"/>
                <a:gd name="T51" fmla="*/ 5 h 7"/>
                <a:gd name="T52" fmla="*/ 5 w 10"/>
                <a:gd name="T5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7">
                  <a:moveTo>
                    <a:pt x="5" y="5"/>
                  </a:moveTo>
                  <a:lnTo>
                    <a:pt x="5" y="5"/>
                  </a:lnTo>
                  <a:lnTo>
                    <a:pt x="5" y="5"/>
                  </a:lnTo>
                  <a:lnTo>
                    <a:pt x="5" y="5"/>
                  </a:lnTo>
                  <a:lnTo>
                    <a:pt x="5" y="2"/>
                  </a:lnTo>
                  <a:lnTo>
                    <a:pt x="3" y="0"/>
                  </a:lnTo>
                  <a:lnTo>
                    <a:pt x="3" y="0"/>
                  </a:lnTo>
                  <a:lnTo>
                    <a:pt x="0" y="2"/>
                  </a:lnTo>
                  <a:lnTo>
                    <a:pt x="0" y="2"/>
                  </a:lnTo>
                  <a:lnTo>
                    <a:pt x="0" y="2"/>
                  </a:lnTo>
                  <a:lnTo>
                    <a:pt x="3" y="2"/>
                  </a:lnTo>
                  <a:lnTo>
                    <a:pt x="3" y="2"/>
                  </a:lnTo>
                  <a:lnTo>
                    <a:pt x="3" y="5"/>
                  </a:lnTo>
                  <a:lnTo>
                    <a:pt x="3" y="5"/>
                  </a:lnTo>
                  <a:lnTo>
                    <a:pt x="0" y="5"/>
                  </a:lnTo>
                  <a:lnTo>
                    <a:pt x="0" y="5"/>
                  </a:lnTo>
                  <a:lnTo>
                    <a:pt x="3" y="5"/>
                  </a:lnTo>
                  <a:lnTo>
                    <a:pt x="5" y="7"/>
                  </a:lnTo>
                  <a:lnTo>
                    <a:pt x="5" y="7"/>
                  </a:lnTo>
                  <a:lnTo>
                    <a:pt x="7" y="7"/>
                  </a:lnTo>
                  <a:lnTo>
                    <a:pt x="7" y="7"/>
                  </a:lnTo>
                  <a:lnTo>
                    <a:pt x="10" y="5"/>
                  </a:lnTo>
                  <a:lnTo>
                    <a:pt x="7" y="5"/>
                  </a:lnTo>
                  <a:lnTo>
                    <a:pt x="7" y="5"/>
                  </a:lnTo>
                  <a:lnTo>
                    <a:pt x="7" y="5"/>
                  </a:lnTo>
                  <a:lnTo>
                    <a:pt x="5" y="5"/>
                  </a:lnTo>
                  <a:lnTo>
                    <a:pt x="5"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0" name="Freeform 186">
              <a:extLst>
                <a:ext uri="{FF2B5EF4-FFF2-40B4-BE49-F238E27FC236}">
                  <a16:creationId xmlns:a16="http://schemas.microsoft.com/office/drawing/2014/main" id="{7CB6CF17-9953-4B29-89C7-224D8BC35011}"/>
                </a:ext>
              </a:extLst>
            </p:cNvPr>
            <p:cNvSpPr>
              <a:spLocks/>
            </p:cNvSpPr>
            <p:nvPr/>
          </p:nvSpPr>
          <p:spPr bwMode="auto">
            <a:xfrm>
              <a:off x="2556714" y="4789454"/>
              <a:ext cx="7938" cy="3175"/>
            </a:xfrm>
            <a:custGeom>
              <a:avLst/>
              <a:gdLst>
                <a:gd name="T0" fmla="*/ 3 w 5"/>
                <a:gd name="T1" fmla="*/ 2 h 2"/>
                <a:gd name="T2" fmla="*/ 5 w 5"/>
                <a:gd name="T3" fmla="*/ 0 h 2"/>
                <a:gd name="T4" fmla="*/ 3 w 5"/>
                <a:gd name="T5" fmla="*/ 0 h 2"/>
                <a:gd name="T6" fmla="*/ 0 w 5"/>
                <a:gd name="T7" fmla="*/ 2 h 2"/>
                <a:gd name="T8" fmla="*/ 3 w 5"/>
                <a:gd name="T9" fmla="*/ 2 h 2"/>
                <a:gd name="T10" fmla="*/ 5 w 5"/>
                <a:gd name="T11" fmla="*/ 0 h 2"/>
                <a:gd name="T12" fmla="*/ 3 w 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3" y="2"/>
                  </a:moveTo>
                  <a:lnTo>
                    <a:pt x="5" y="0"/>
                  </a:lnTo>
                  <a:lnTo>
                    <a:pt x="3" y="0"/>
                  </a:lnTo>
                  <a:lnTo>
                    <a:pt x="0" y="2"/>
                  </a:lnTo>
                  <a:lnTo>
                    <a:pt x="3" y="2"/>
                  </a:lnTo>
                  <a:lnTo>
                    <a:pt x="5" y="0"/>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1" name="Freeform 187">
              <a:extLst>
                <a:ext uri="{FF2B5EF4-FFF2-40B4-BE49-F238E27FC236}">
                  <a16:creationId xmlns:a16="http://schemas.microsoft.com/office/drawing/2014/main" id="{A4CEDABE-C0DD-4074-B7CF-9D9D69B14C08}"/>
                </a:ext>
              </a:extLst>
            </p:cNvPr>
            <p:cNvSpPr>
              <a:spLocks/>
            </p:cNvSpPr>
            <p:nvPr/>
          </p:nvSpPr>
          <p:spPr bwMode="auto">
            <a:xfrm>
              <a:off x="2556714" y="4789454"/>
              <a:ext cx="7938" cy="3175"/>
            </a:xfrm>
            <a:custGeom>
              <a:avLst/>
              <a:gdLst>
                <a:gd name="T0" fmla="*/ 3 w 5"/>
                <a:gd name="T1" fmla="*/ 2 h 2"/>
                <a:gd name="T2" fmla="*/ 5 w 5"/>
                <a:gd name="T3" fmla="*/ 0 h 2"/>
                <a:gd name="T4" fmla="*/ 3 w 5"/>
                <a:gd name="T5" fmla="*/ 0 h 2"/>
                <a:gd name="T6" fmla="*/ 0 w 5"/>
                <a:gd name="T7" fmla="*/ 2 h 2"/>
                <a:gd name="T8" fmla="*/ 3 w 5"/>
                <a:gd name="T9" fmla="*/ 2 h 2"/>
                <a:gd name="T10" fmla="*/ 5 w 5"/>
                <a:gd name="T11" fmla="*/ 0 h 2"/>
                <a:gd name="T12" fmla="*/ 3 w 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3" y="2"/>
                  </a:moveTo>
                  <a:lnTo>
                    <a:pt x="5" y="0"/>
                  </a:lnTo>
                  <a:lnTo>
                    <a:pt x="3" y="0"/>
                  </a:lnTo>
                  <a:lnTo>
                    <a:pt x="0" y="2"/>
                  </a:lnTo>
                  <a:lnTo>
                    <a:pt x="3" y="2"/>
                  </a:lnTo>
                  <a:lnTo>
                    <a:pt x="5" y="0"/>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2" name="Freeform 188">
              <a:extLst>
                <a:ext uri="{FF2B5EF4-FFF2-40B4-BE49-F238E27FC236}">
                  <a16:creationId xmlns:a16="http://schemas.microsoft.com/office/drawing/2014/main" id="{D0916B7D-83E7-43A7-9C56-2AF4BBC09BA3}"/>
                </a:ext>
              </a:extLst>
            </p:cNvPr>
            <p:cNvSpPr>
              <a:spLocks/>
            </p:cNvSpPr>
            <p:nvPr/>
          </p:nvSpPr>
          <p:spPr bwMode="auto">
            <a:xfrm>
              <a:off x="1732804" y="5152993"/>
              <a:ext cx="454024" cy="396875"/>
            </a:xfrm>
            <a:custGeom>
              <a:avLst/>
              <a:gdLst>
                <a:gd name="T0" fmla="*/ 59 w 286"/>
                <a:gd name="T1" fmla="*/ 106 h 250"/>
                <a:gd name="T2" fmla="*/ 49 w 286"/>
                <a:gd name="T3" fmla="*/ 130 h 250"/>
                <a:gd name="T4" fmla="*/ 33 w 286"/>
                <a:gd name="T5" fmla="*/ 132 h 250"/>
                <a:gd name="T6" fmla="*/ 19 w 286"/>
                <a:gd name="T7" fmla="*/ 125 h 250"/>
                <a:gd name="T8" fmla="*/ 2 w 286"/>
                <a:gd name="T9" fmla="*/ 125 h 250"/>
                <a:gd name="T10" fmla="*/ 0 w 286"/>
                <a:gd name="T11" fmla="*/ 130 h 250"/>
                <a:gd name="T12" fmla="*/ 12 w 286"/>
                <a:gd name="T13" fmla="*/ 156 h 250"/>
                <a:gd name="T14" fmla="*/ 21 w 286"/>
                <a:gd name="T15" fmla="*/ 179 h 250"/>
                <a:gd name="T16" fmla="*/ 28 w 286"/>
                <a:gd name="T17" fmla="*/ 210 h 250"/>
                <a:gd name="T18" fmla="*/ 23 w 286"/>
                <a:gd name="T19" fmla="*/ 215 h 250"/>
                <a:gd name="T20" fmla="*/ 28 w 286"/>
                <a:gd name="T21" fmla="*/ 222 h 250"/>
                <a:gd name="T22" fmla="*/ 33 w 286"/>
                <a:gd name="T23" fmla="*/ 233 h 250"/>
                <a:gd name="T24" fmla="*/ 35 w 286"/>
                <a:gd name="T25" fmla="*/ 243 h 250"/>
                <a:gd name="T26" fmla="*/ 35 w 286"/>
                <a:gd name="T27" fmla="*/ 238 h 250"/>
                <a:gd name="T28" fmla="*/ 40 w 286"/>
                <a:gd name="T29" fmla="*/ 243 h 250"/>
                <a:gd name="T30" fmla="*/ 49 w 286"/>
                <a:gd name="T31" fmla="*/ 248 h 250"/>
                <a:gd name="T32" fmla="*/ 61 w 286"/>
                <a:gd name="T33" fmla="*/ 250 h 250"/>
                <a:gd name="T34" fmla="*/ 75 w 286"/>
                <a:gd name="T35" fmla="*/ 245 h 250"/>
                <a:gd name="T36" fmla="*/ 92 w 286"/>
                <a:gd name="T37" fmla="*/ 245 h 250"/>
                <a:gd name="T38" fmla="*/ 99 w 286"/>
                <a:gd name="T39" fmla="*/ 238 h 250"/>
                <a:gd name="T40" fmla="*/ 115 w 286"/>
                <a:gd name="T41" fmla="*/ 238 h 250"/>
                <a:gd name="T42" fmla="*/ 130 w 286"/>
                <a:gd name="T43" fmla="*/ 236 h 250"/>
                <a:gd name="T44" fmla="*/ 151 w 286"/>
                <a:gd name="T45" fmla="*/ 236 h 250"/>
                <a:gd name="T46" fmla="*/ 160 w 286"/>
                <a:gd name="T47" fmla="*/ 233 h 250"/>
                <a:gd name="T48" fmla="*/ 175 w 286"/>
                <a:gd name="T49" fmla="*/ 231 h 250"/>
                <a:gd name="T50" fmla="*/ 201 w 286"/>
                <a:gd name="T51" fmla="*/ 215 h 250"/>
                <a:gd name="T52" fmla="*/ 224 w 286"/>
                <a:gd name="T53" fmla="*/ 191 h 250"/>
                <a:gd name="T54" fmla="*/ 243 w 286"/>
                <a:gd name="T55" fmla="*/ 170 h 250"/>
                <a:gd name="T56" fmla="*/ 255 w 286"/>
                <a:gd name="T57" fmla="*/ 146 h 250"/>
                <a:gd name="T58" fmla="*/ 267 w 286"/>
                <a:gd name="T59" fmla="*/ 132 h 250"/>
                <a:gd name="T60" fmla="*/ 278 w 286"/>
                <a:gd name="T61" fmla="*/ 113 h 250"/>
                <a:gd name="T62" fmla="*/ 283 w 286"/>
                <a:gd name="T63" fmla="*/ 96 h 250"/>
                <a:gd name="T64" fmla="*/ 271 w 286"/>
                <a:gd name="T65" fmla="*/ 89 h 250"/>
                <a:gd name="T66" fmla="*/ 262 w 286"/>
                <a:gd name="T67" fmla="*/ 96 h 250"/>
                <a:gd name="T68" fmla="*/ 252 w 286"/>
                <a:gd name="T69" fmla="*/ 80 h 250"/>
                <a:gd name="T70" fmla="*/ 269 w 286"/>
                <a:gd name="T71" fmla="*/ 73 h 250"/>
                <a:gd name="T72" fmla="*/ 264 w 286"/>
                <a:gd name="T73" fmla="*/ 16 h 250"/>
                <a:gd name="T74" fmla="*/ 257 w 286"/>
                <a:gd name="T75" fmla="*/ 4 h 250"/>
                <a:gd name="T76" fmla="*/ 238 w 286"/>
                <a:gd name="T77" fmla="*/ 2 h 250"/>
                <a:gd name="T78" fmla="*/ 224 w 286"/>
                <a:gd name="T79" fmla="*/ 2 h 250"/>
                <a:gd name="T80" fmla="*/ 198 w 286"/>
                <a:gd name="T81" fmla="*/ 19 h 250"/>
                <a:gd name="T82" fmla="*/ 177 w 286"/>
                <a:gd name="T83" fmla="*/ 40 h 250"/>
                <a:gd name="T84" fmla="*/ 158 w 286"/>
                <a:gd name="T85" fmla="*/ 66 h 250"/>
                <a:gd name="T86" fmla="*/ 139 w 286"/>
                <a:gd name="T87" fmla="*/ 68 h 250"/>
                <a:gd name="T88" fmla="*/ 120 w 286"/>
                <a:gd name="T89" fmla="*/ 63 h 250"/>
                <a:gd name="T90" fmla="*/ 108 w 286"/>
                <a:gd name="T91" fmla="*/ 78 h 250"/>
                <a:gd name="T92" fmla="*/ 87 w 286"/>
                <a:gd name="T93" fmla="*/ 89 h 250"/>
                <a:gd name="T94" fmla="*/ 73 w 286"/>
                <a:gd name="T95" fmla="*/ 85 h 250"/>
                <a:gd name="T96" fmla="*/ 75 w 286"/>
                <a:gd name="T97" fmla="*/ 68 h 250"/>
                <a:gd name="T98" fmla="*/ 64 w 286"/>
                <a:gd name="T99" fmla="*/ 5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6" h="250">
                  <a:moveTo>
                    <a:pt x="59" y="52"/>
                  </a:moveTo>
                  <a:lnTo>
                    <a:pt x="59" y="68"/>
                  </a:lnTo>
                  <a:lnTo>
                    <a:pt x="59" y="87"/>
                  </a:lnTo>
                  <a:lnTo>
                    <a:pt x="59" y="106"/>
                  </a:lnTo>
                  <a:lnTo>
                    <a:pt x="59" y="125"/>
                  </a:lnTo>
                  <a:lnTo>
                    <a:pt x="56" y="125"/>
                  </a:lnTo>
                  <a:lnTo>
                    <a:pt x="54" y="125"/>
                  </a:lnTo>
                  <a:lnTo>
                    <a:pt x="49" y="130"/>
                  </a:lnTo>
                  <a:lnTo>
                    <a:pt x="45" y="134"/>
                  </a:lnTo>
                  <a:lnTo>
                    <a:pt x="40" y="134"/>
                  </a:lnTo>
                  <a:lnTo>
                    <a:pt x="38" y="132"/>
                  </a:lnTo>
                  <a:lnTo>
                    <a:pt x="33" y="132"/>
                  </a:lnTo>
                  <a:lnTo>
                    <a:pt x="28" y="134"/>
                  </a:lnTo>
                  <a:lnTo>
                    <a:pt x="21" y="134"/>
                  </a:lnTo>
                  <a:lnTo>
                    <a:pt x="19" y="130"/>
                  </a:lnTo>
                  <a:lnTo>
                    <a:pt x="19" y="125"/>
                  </a:lnTo>
                  <a:lnTo>
                    <a:pt x="9" y="120"/>
                  </a:lnTo>
                  <a:lnTo>
                    <a:pt x="7" y="120"/>
                  </a:lnTo>
                  <a:lnTo>
                    <a:pt x="4" y="125"/>
                  </a:lnTo>
                  <a:lnTo>
                    <a:pt x="2" y="125"/>
                  </a:lnTo>
                  <a:lnTo>
                    <a:pt x="2" y="127"/>
                  </a:lnTo>
                  <a:lnTo>
                    <a:pt x="0" y="127"/>
                  </a:lnTo>
                  <a:lnTo>
                    <a:pt x="0" y="127"/>
                  </a:lnTo>
                  <a:lnTo>
                    <a:pt x="0" y="130"/>
                  </a:lnTo>
                  <a:lnTo>
                    <a:pt x="2" y="132"/>
                  </a:lnTo>
                  <a:lnTo>
                    <a:pt x="4" y="134"/>
                  </a:lnTo>
                  <a:lnTo>
                    <a:pt x="9" y="146"/>
                  </a:lnTo>
                  <a:lnTo>
                    <a:pt x="12" y="156"/>
                  </a:lnTo>
                  <a:lnTo>
                    <a:pt x="16" y="167"/>
                  </a:lnTo>
                  <a:lnTo>
                    <a:pt x="19" y="170"/>
                  </a:lnTo>
                  <a:lnTo>
                    <a:pt x="21" y="174"/>
                  </a:lnTo>
                  <a:lnTo>
                    <a:pt x="21" y="179"/>
                  </a:lnTo>
                  <a:lnTo>
                    <a:pt x="28" y="189"/>
                  </a:lnTo>
                  <a:lnTo>
                    <a:pt x="30" y="193"/>
                  </a:lnTo>
                  <a:lnTo>
                    <a:pt x="30" y="205"/>
                  </a:lnTo>
                  <a:lnTo>
                    <a:pt x="28" y="210"/>
                  </a:lnTo>
                  <a:lnTo>
                    <a:pt x="26" y="210"/>
                  </a:lnTo>
                  <a:lnTo>
                    <a:pt x="23" y="212"/>
                  </a:lnTo>
                  <a:lnTo>
                    <a:pt x="23" y="215"/>
                  </a:lnTo>
                  <a:lnTo>
                    <a:pt x="23" y="215"/>
                  </a:lnTo>
                  <a:lnTo>
                    <a:pt x="26" y="217"/>
                  </a:lnTo>
                  <a:lnTo>
                    <a:pt x="28" y="219"/>
                  </a:lnTo>
                  <a:lnTo>
                    <a:pt x="26" y="219"/>
                  </a:lnTo>
                  <a:lnTo>
                    <a:pt x="28" y="222"/>
                  </a:lnTo>
                  <a:lnTo>
                    <a:pt x="28" y="224"/>
                  </a:lnTo>
                  <a:lnTo>
                    <a:pt x="30" y="226"/>
                  </a:lnTo>
                  <a:lnTo>
                    <a:pt x="33" y="231"/>
                  </a:lnTo>
                  <a:lnTo>
                    <a:pt x="33" y="233"/>
                  </a:lnTo>
                  <a:lnTo>
                    <a:pt x="33" y="236"/>
                  </a:lnTo>
                  <a:lnTo>
                    <a:pt x="33" y="238"/>
                  </a:lnTo>
                  <a:lnTo>
                    <a:pt x="33" y="241"/>
                  </a:lnTo>
                  <a:lnTo>
                    <a:pt x="35" y="243"/>
                  </a:lnTo>
                  <a:lnTo>
                    <a:pt x="35" y="243"/>
                  </a:lnTo>
                  <a:lnTo>
                    <a:pt x="35" y="241"/>
                  </a:lnTo>
                  <a:lnTo>
                    <a:pt x="35" y="238"/>
                  </a:lnTo>
                  <a:lnTo>
                    <a:pt x="35" y="238"/>
                  </a:lnTo>
                  <a:lnTo>
                    <a:pt x="38" y="238"/>
                  </a:lnTo>
                  <a:lnTo>
                    <a:pt x="40" y="238"/>
                  </a:lnTo>
                  <a:lnTo>
                    <a:pt x="40" y="243"/>
                  </a:lnTo>
                  <a:lnTo>
                    <a:pt x="40" y="243"/>
                  </a:lnTo>
                  <a:lnTo>
                    <a:pt x="42" y="245"/>
                  </a:lnTo>
                  <a:lnTo>
                    <a:pt x="47" y="245"/>
                  </a:lnTo>
                  <a:lnTo>
                    <a:pt x="49" y="245"/>
                  </a:lnTo>
                  <a:lnTo>
                    <a:pt x="49" y="248"/>
                  </a:lnTo>
                  <a:lnTo>
                    <a:pt x="52" y="250"/>
                  </a:lnTo>
                  <a:lnTo>
                    <a:pt x="54" y="250"/>
                  </a:lnTo>
                  <a:lnTo>
                    <a:pt x="59" y="250"/>
                  </a:lnTo>
                  <a:lnTo>
                    <a:pt x="61" y="250"/>
                  </a:lnTo>
                  <a:lnTo>
                    <a:pt x="64" y="250"/>
                  </a:lnTo>
                  <a:lnTo>
                    <a:pt x="68" y="245"/>
                  </a:lnTo>
                  <a:lnTo>
                    <a:pt x="73" y="245"/>
                  </a:lnTo>
                  <a:lnTo>
                    <a:pt x="75" y="245"/>
                  </a:lnTo>
                  <a:lnTo>
                    <a:pt x="78" y="243"/>
                  </a:lnTo>
                  <a:lnTo>
                    <a:pt x="82" y="245"/>
                  </a:lnTo>
                  <a:lnTo>
                    <a:pt x="85" y="243"/>
                  </a:lnTo>
                  <a:lnTo>
                    <a:pt x="92" y="245"/>
                  </a:lnTo>
                  <a:lnTo>
                    <a:pt x="94" y="243"/>
                  </a:lnTo>
                  <a:lnTo>
                    <a:pt x="94" y="241"/>
                  </a:lnTo>
                  <a:lnTo>
                    <a:pt x="97" y="241"/>
                  </a:lnTo>
                  <a:lnTo>
                    <a:pt x="99" y="238"/>
                  </a:lnTo>
                  <a:lnTo>
                    <a:pt x="99" y="238"/>
                  </a:lnTo>
                  <a:lnTo>
                    <a:pt x="106" y="236"/>
                  </a:lnTo>
                  <a:lnTo>
                    <a:pt x="108" y="236"/>
                  </a:lnTo>
                  <a:lnTo>
                    <a:pt x="115" y="238"/>
                  </a:lnTo>
                  <a:lnTo>
                    <a:pt x="118" y="238"/>
                  </a:lnTo>
                  <a:lnTo>
                    <a:pt x="120" y="236"/>
                  </a:lnTo>
                  <a:lnTo>
                    <a:pt x="125" y="236"/>
                  </a:lnTo>
                  <a:lnTo>
                    <a:pt x="130" y="236"/>
                  </a:lnTo>
                  <a:lnTo>
                    <a:pt x="141" y="241"/>
                  </a:lnTo>
                  <a:lnTo>
                    <a:pt x="146" y="241"/>
                  </a:lnTo>
                  <a:lnTo>
                    <a:pt x="149" y="236"/>
                  </a:lnTo>
                  <a:lnTo>
                    <a:pt x="151" y="236"/>
                  </a:lnTo>
                  <a:lnTo>
                    <a:pt x="156" y="236"/>
                  </a:lnTo>
                  <a:lnTo>
                    <a:pt x="160" y="238"/>
                  </a:lnTo>
                  <a:lnTo>
                    <a:pt x="160" y="236"/>
                  </a:lnTo>
                  <a:lnTo>
                    <a:pt x="160" y="233"/>
                  </a:lnTo>
                  <a:lnTo>
                    <a:pt x="163" y="231"/>
                  </a:lnTo>
                  <a:lnTo>
                    <a:pt x="165" y="231"/>
                  </a:lnTo>
                  <a:lnTo>
                    <a:pt x="170" y="231"/>
                  </a:lnTo>
                  <a:lnTo>
                    <a:pt x="175" y="231"/>
                  </a:lnTo>
                  <a:lnTo>
                    <a:pt x="179" y="231"/>
                  </a:lnTo>
                  <a:lnTo>
                    <a:pt x="186" y="226"/>
                  </a:lnTo>
                  <a:lnTo>
                    <a:pt x="198" y="219"/>
                  </a:lnTo>
                  <a:lnTo>
                    <a:pt x="201" y="215"/>
                  </a:lnTo>
                  <a:lnTo>
                    <a:pt x="203" y="212"/>
                  </a:lnTo>
                  <a:lnTo>
                    <a:pt x="210" y="207"/>
                  </a:lnTo>
                  <a:lnTo>
                    <a:pt x="219" y="198"/>
                  </a:lnTo>
                  <a:lnTo>
                    <a:pt x="224" y="191"/>
                  </a:lnTo>
                  <a:lnTo>
                    <a:pt x="227" y="186"/>
                  </a:lnTo>
                  <a:lnTo>
                    <a:pt x="229" y="184"/>
                  </a:lnTo>
                  <a:lnTo>
                    <a:pt x="238" y="177"/>
                  </a:lnTo>
                  <a:lnTo>
                    <a:pt x="243" y="170"/>
                  </a:lnTo>
                  <a:lnTo>
                    <a:pt x="245" y="165"/>
                  </a:lnTo>
                  <a:lnTo>
                    <a:pt x="252" y="153"/>
                  </a:lnTo>
                  <a:lnTo>
                    <a:pt x="255" y="148"/>
                  </a:lnTo>
                  <a:lnTo>
                    <a:pt x="255" y="146"/>
                  </a:lnTo>
                  <a:lnTo>
                    <a:pt x="257" y="144"/>
                  </a:lnTo>
                  <a:lnTo>
                    <a:pt x="260" y="139"/>
                  </a:lnTo>
                  <a:lnTo>
                    <a:pt x="262" y="134"/>
                  </a:lnTo>
                  <a:lnTo>
                    <a:pt x="267" y="132"/>
                  </a:lnTo>
                  <a:lnTo>
                    <a:pt x="269" y="132"/>
                  </a:lnTo>
                  <a:lnTo>
                    <a:pt x="274" y="127"/>
                  </a:lnTo>
                  <a:lnTo>
                    <a:pt x="278" y="122"/>
                  </a:lnTo>
                  <a:lnTo>
                    <a:pt x="278" y="113"/>
                  </a:lnTo>
                  <a:lnTo>
                    <a:pt x="281" y="108"/>
                  </a:lnTo>
                  <a:lnTo>
                    <a:pt x="281" y="106"/>
                  </a:lnTo>
                  <a:lnTo>
                    <a:pt x="283" y="101"/>
                  </a:lnTo>
                  <a:lnTo>
                    <a:pt x="283" y="96"/>
                  </a:lnTo>
                  <a:lnTo>
                    <a:pt x="286" y="94"/>
                  </a:lnTo>
                  <a:lnTo>
                    <a:pt x="286" y="89"/>
                  </a:lnTo>
                  <a:lnTo>
                    <a:pt x="283" y="89"/>
                  </a:lnTo>
                  <a:lnTo>
                    <a:pt x="271" y="89"/>
                  </a:lnTo>
                  <a:lnTo>
                    <a:pt x="269" y="89"/>
                  </a:lnTo>
                  <a:lnTo>
                    <a:pt x="269" y="94"/>
                  </a:lnTo>
                  <a:lnTo>
                    <a:pt x="267" y="96"/>
                  </a:lnTo>
                  <a:lnTo>
                    <a:pt x="262" y="96"/>
                  </a:lnTo>
                  <a:lnTo>
                    <a:pt x="255" y="96"/>
                  </a:lnTo>
                  <a:lnTo>
                    <a:pt x="250" y="89"/>
                  </a:lnTo>
                  <a:lnTo>
                    <a:pt x="250" y="87"/>
                  </a:lnTo>
                  <a:lnTo>
                    <a:pt x="252" y="80"/>
                  </a:lnTo>
                  <a:lnTo>
                    <a:pt x="255" y="75"/>
                  </a:lnTo>
                  <a:lnTo>
                    <a:pt x="257" y="70"/>
                  </a:lnTo>
                  <a:lnTo>
                    <a:pt x="262" y="68"/>
                  </a:lnTo>
                  <a:lnTo>
                    <a:pt x="269" y="73"/>
                  </a:lnTo>
                  <a:lnTo>
                    <a:pt x="271" y="70"/>
                  </a:lnTo>
                  <a:lnTo>
                    <a:pt x="269" y="42"/>
                  </a:lnTo>
                  <a:lnTo>
                    <a:pt x="267" y="28"/>
                  </a:lnTo>
                  <a:lnTo>
                    <a:pt x="264" y="16"/>
                  </a:lnTo>
                  <a:lnTo>
                    <a:pt x="262" y="11"/>
                  </a:lnTo>
                  <a:lnTo>
                    <a:pt x="262" y="9"/>
                  </a:lnTo>
                  <a:lnTo>
                    <a:pt x="262" y="9"/>
                  </a:lnTo>
                  <a:lnTo>
                    <a:pt x="257" y="4"/>
                  </a:lnTo>
                  <a:lnTo>
                    <a:pt x="250" y="2"/>
                  </a:lnTo>
                  <a:lnTo>
                    <a:pt x="245" y="2"/>
                  </a:lnTo>
                  <a:lnTo>
                    <a:pt x="243" y="2"/>
                  </a:lnTo>
                  <a:lnTo>
                    <a:pt x="238" y="2"/>
                  </a:lnTo>
                  <a:lnTo>
                    <a:pt x="231" y="0"/>
                  </a:lnTo>
                  <a:lnTo>
                    <a:pt x="227" y="0"/>
                  </a:lnTo>
                  <a:lnTo>
                    <a:pt x="224" y="0"/>
                  </a:lnTo>
                  <a:lnTo>
                    <a:pt x="224" y="2"/>
                  </a:lnTo>
                  <a:lnTo>
                    <a:pt x="219" y="4"/>
                  </a:lnTo>
                  <a:lnTo>
                    <a:pt x="215" y="7"/>
                  </a:lnTo>
                  <a:lnTo>
                    <a:pt x="203" y="11"/>
                  </a:lnTo>
                  <a:lnTo>
                    <a:pt x="198" y="19"/>
                  </a:lnTo>
                  <a:lnTo>
                    <a:pt x="191" y="21"/>
                  </a:lnTo>
                  <a:lnTo>
                    <a:pt x="186" y="28"/>
                  </a:lnTo>
                  <a:lnTo>
                    <a:pt x="182" y="33"/>
                  </a:lnTo>
                  <a:lnTo>
                    <a:pt x="177" y="40"/>
                  </a:lnTo>
                  <a:lnTo>
                    <a:pt x="167" y="47"/>
                  </a:lnTo>
                  <a:lnTo>
                    <a:pt x="163" y="52"/>
                  </a:lnTo>
                  <a:lnTo>
                    <a:pt x="158" y="63"/>
                  </a:lnTo>
                  <a:lnTo>
                    <a:pt x="158" y="66"/>
                  </a:lnTo>
                  <a:lnTo>
                    <a:pt x="156" y="66"/>
                  </a:lnTo>
                  <a:lnTo>
                    <a:pt x="151" y="66"/>
                  </a:lnTo>
                  <a:lnTo>
                    <a:pt x="144" y="68"/>
                  </a:lnTo>
                  <a:lnTo>
                    <a:pt x="139" y="68"/>
                  </a:lnTo>
                  <a:lnTo>
                    <a:pt x="132" y="63"/>
                  </a:lnTo>
                  <a:lnTo>
                    <a:pt x="127" y="63"/>
                  </a:lnTo>
                  <a:lnTo>
                    <a:pt x="123" y="61"/>
                  </a:lnTo>
                  <a:lnTo>
                    <a:pt x="120" y="63"/>
                  </a:lnTo>
                  <a:lnTo>
                    <a:pt x="113" y="70"/>
                  </a:lnTo>
                  <a:lnTo>
                    <a:pt x="111" y="73"/>
                  </a:lnTo>
                  <a:lnTo>
                    <a:pt x="111" y="75"/>
                  </a:lnTo>
                  <a:lnTo>
                    <a:pt x="108" y="78"/>
                  </a:lnTo>
                  <a:lnTo>
                    <a:pt x="104" y="80"/>
                  </a:lnTo>
                  <a:lnTo>
                    <a:pt x="101" y="82"/>
                  </a:lnTo>
                  <a:lnTo>
                    <a:pt x="99" y="87"/>
                  </a:lnTo>
                  <a:lnTo>
                    <a:pt x="87" y="89"/>
                  </a:lnTo>
                  <a:lnTo>
                    <a:pt x="82" y="89"/>
                  </a:lnTo>
                  <a:lnTo>
                    <a:pt x="78" y="89"/>
                  </a:lnTo>
                  <a:lnTo>
                    <a:pt x="73" y="89"/>
                  </a:lnTo>
                  <a:lnTo>
                    <a:pt x="73" y="85"/>
                  </a:lnTo>
                  <a:lnTo>
                    <a:pt x="75" y="80"/>
                  </a:lnTo>
                  <a:lnTo>
                    <a:pt x="75" y="75"/>
                  </a:lnTo>
                  <a:lnTo>
                    <a:pt x="75" y="73"/>
                  </a:lnTo>
                  <a:lnTo>
                    <a:pt x="75" y="68"/>
                  </a:lnTo>
                  <a:lnTo>
                    <a:pt x="73" y="63"/>
                  </a:lnTo>
                  <a:lnTo>
                    <a:pt x="68" y="59"/>
                  </a:lnTo>
                  <a:lnTo>
                    <a:pt x="68" y="56"/>
                  </a:lnTo>
                  <a:lnTo>
                    <a:pt x="64" y="54"/>
                  </a:lnTo>
                  <a:lnTo>
                    <a:pt x="64" y="52"/>
                  </a:lnTo>
                  <a:lnTo>
                    <a:pt x="61" y="52"/>
                  </a:lnTo>
                  <a:lnTo>
                    <a:pt x="59" y="5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3" name="Freeform 189">
              <a:extLst>
                <a:ext uri="{FF2B5EF4-FFF2-40B4-BE49-F238E27FC236}">
                  <a16:creationId xmlns:a16="http://schemas.microsoft.com/office/drawing/2014/main" id="{EBB09C03-5B81-4AB2-B49D-F66A7B0A4502}"/>
                </a:ext>
              </a:extLst>
            </p:cNvPr>
            <p:cNvSpPr>
              <a:spLocks/>
            </p:cNvSpPr>
            <p:nvPr/>
          </p:nvSpPr>
          <p:spPr bwMode="auto">
            <a:xfrm>
              <a:off x="1732804" y="5152993"/>
              <a:ext cx="454024" cy="396875"/>
            </a:xfrm>
            <a:custGeom>
              <a:avLst/>
              <a:gdLst>
                <a:gd name="T0" fmla="*/ 59 w 286"/>
                <a:gd name="T1" fmla="*/ 106 h 250"/>
                <a:gd name="T2" fmla="*/ 49 w 286"/>
                <a:gd name="T3" fmla="*/ 130 h 250"/>
                <a:gd name="T4" fmla="*/ 33 w 286"/>
                <a:gd name="T5" fmla="*/ 132 h 250"/>
                <a:gd name="T6" fmla="*/ 19 w 286"/>
                <a:gd name="T7" fmla="*/ 125 h 250"/>
                <a:gd name="T8" fmla="*/ 2 w 286"/>
                <a:gd name="T9" fmla="*/ 125 h 250"/>
                <a:gd name="T10" fmla="*/ 0 w 286"/>
                <a:gd name="T11" fmla="*/ 130 h 250"/>
                <a:gd name="T12" fmla="*/ 12 w 286"/>
                <a:gd name="T13" fmla="*/ 156 h 250"/>
                <a:gd name="T14" fmla="*/ 21 w 286"/>
                <a:gd name="T15" fmla="*/ 179 h 250"/>
                <a:gd name="T16" fmla="*/ 28 w 286"/>
                <a:gd name="T17" fmla="*/ 210 h 250"/>
                <a:gd name="T18" fmla="*/ 23 w 286"/>
                <a:gd name="T19" fmla="*/ 215 h 250"/>
                <a:gd name="T20" fmla="*/ 28 w 286"/>
                <a:gd name="T21" fmla="*/ 222 h 250"/>
                <a:gd name="T22" fmla="*/ 33 w 286"/>
                <a:gd name="T23" fmla="*/ 233 h 250"/>
                <a:gd name="T24" fmla="*/ 35 w 286"/>
                <a:gd name="T25" fmla="*/ 243 h 250"/>
                <a:gd name="T26" fmla="*/ 35 w 286"/>
                <a:gd name="T27" fmla="*/ 238 h 250"/>
                <a:gd name="T28" fmla="*/ 40 w 286"/>
                <a:gd name="T29" fmla="*/ 243 h 250"/>
                <a:gd name="T30" fmla="*/ 49 w 286"/>
                <a:gd name="T31" fmla="*/ 248 h 250"/>
                <a:gd name="T32" fmla="*/ 61 w 286"/>
                <a:gd name="T33" fmla="*/ 250 h 250"/>
                <a:gd name="T34" fmla="*/ 75 w 286"/>
                <a:gd name="T35" fmla="*/ 245 h 250"/>
                <a:gd name="T36" fmla="*/ 92 w 286"/>
                <a:gd name="T37" fmla="*/ 245 h 250"/>
                <a:gd name="T38" fmla="*/ 99 w 286"/>
                <a:gd name="T39" fmla="*/ 238 h 250"/>
                <a:gd name="T40" fmla="*/ 115 w 286"/>
                <a:gd name="T41" fmla="*/ 238 h 250"/>
                <a:gd name="T42" fmla="*/ 130 w 286"/>
                <a:gd name="T43" fmla="*/ 236 h 250"/>
                <a:gd name="T44" fmla="*/ 151 w 286"/>
                <a:gd name="T45" fmla="*/ 236 h 250"/>
                <a:gd name="T46" fmla="*/ 160 w 286"/>
                <a:gd name="T47" fmla="*/ 233 h 250"/>
                <a:gd name="T48" fmla="*/ 175 w 286"/>
                <a:gd name="T49" fmla="*/ 231 h 250"/>
                <a:gd name="T50" fmla="*/ 201 w 286"/>
                <a:gd name="T51" fmla="*/ 215 h 250"/>
                <a:gd name="T52" fmla="*/ 224 w 286"/>
                <a:gd name="T53" fmla="*/ 191 h 250"/>
                <a:gd name="T54" fmla="*/ 243 w 286"/>
                <a:gd name="T55" fmla="*/ 170 h 250"/>
                <a:gd name="T56" fmla="*/ 255 w 286"/>
                <a:gd name="T57" fmla="*/ 146 h 250"/>
                <a:gd name="T58" fmla="*/ 267 w 286"/>
                <a:gd name="T59" fmla="*/ 132 h 250"/>
                <a:gd name="T60" fmla="*/ 278 w 286"/>
                <a:gd name="T61" fmla="*/ 113 h 250"/>
                <a:gd name="T62" fmla="*/ 283 w 286"/>
                <a:gd name="T63" fmla="*/ 96 h 250"/>
                <a:gd name="T64" fmla="*/ 271 w 286"/>
                <a:gd name="T65" fmla="*/ 89 h 250"/>
                <a:gd name="T66" fmla="*/ 262 w 286"/>
                <a:gd name="T67" fmla="*/ 96 h 250"/>
                <a:gd name="T68" fmla="*/ 252 w 286"/>
                <a:gd name="T69" fmla="*/ 80 h 250"/>
                <a:gd name="T70" fmla="*/ 269 w 286"/>
                <a:gd name="T71" fmla="*/ 73 h 250"/>
                <a:gd name="T72" fmla="*/ 264 w 286"/>
                <a:gd name="T73" fmla="*/ 16 h 250"/>
                <a:gd name="T74" fmla="*/ 257 w 286"/>
                <a:gd name="T75" fmla="*/ 4 h 250"/>
                <a:gd name="T76" fmla="*/ 238 w 286"/>
                <a:gd name="T77" fmla="*/ 2 h 250"/>
                <a:gd name="T78" fmla="*/ 224 w 286"/>
                <a:gd name="T79" fmla="*/ 2 h 250"/>
                <a:gd name="T80" fmla="*/ 198 w 286"/>
                <a:gd name="T81" fmla="*/ 19 h 250"/>
                <a:gd name="T82" fmla="*/ 177 w 286"/>
                <a:gd name="T83" fmla="*/ 40 h 250"/>
                <a:gd name="T84" fmla="*/ 158 w 286"/>
                <a:gd name="T85" fmla="*/ 66 h 250"/>
                <a:gd name="T86" fmla="*/ 139 w 286"/>
                <a:gd name="T87" fmla="*/ 68 h 250"/>
                <a:gd name="T88" fmla="*/ 120 w 286"/>
                <a:gd name="T89" fmla="*/ 63 h 250"/>
                <a:gd name="T90" fmla="*/ 108 w 286"/>
                <a:gd name="T91" fmla="*/ 78 h 250"/>
                <a:gd name="T92" fmla="*/ 87 w 286"/>
                <a:gd name="T93" fmla="*/ 89 h 250"/>
                <a:gd name="T94" fmla="*/ 73 w 286"/>
                <a:gd name="T95" fmla="*/ 85 h 250"/>
                <a:gd name="T96" fmla="*/ 75 w 286"/>
                <a:gd name="T97" fmla="*/ 68 h 250"/>
                <a:gd name="T98" fmla="*/ 64 w 286"/>
                <a:gd name="T99" fmla="*/ 5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6" h="250">
                  <a:moveTo>
                    <a:pt x="59" y="52"/>
                  </a:moveTo>
                  <a:lnTo>
                    <a:pt x="59" y="68"/>
                  </a:lnTo>
                  <a:lnTo>
                    <a:pt x="59" y="87"/>
                  </a:lnTo>
                  <a:lnTo>
                    <a:pt x="59" y="106"/>
                  </a:lnTo>
                  <a:lnTo>
                    <a:pt x="59" y="125"/>
                  </a:lnTo>
                  <a:lnTo>
                    <a:pt x="56" y="125"/>
                  </a:lnTo>
                  <a:lnTo>
                    <a:pt x="54" y="125"/>
                  </a:lnTo>
                  <a:lnTo>
                    <a:pt x="49" y="130"/>
                  </a:lnTo>
                  <a:lnTo>
                    <a:pt x="45" y="134"/>
                  </a:lnTo>
                  <a:lnTo>
                    <a:pt x="40" y="134"/>
                  </a:lnTo>
                  <a:lnTo>
                    <a:pt x="38" y="132"/>
                  </a:lnTo>
                  <a:lnTo>
                    <a:pt x="33" y="132"/>
                  </a:lnTo>
                  <a:lnTo>
                    <a:pt x="28" y="134"/>
                  </a:lnTo>
                  <a:lnTo>
                    <a:pt x="21" y="134"/>
                  </a:lnTo>
                  <a:lnTo>
                    <a:pt x="19" y="130"/>
                  </a:lnTo>
                  <a:lnTo>
                    <a:pt x="19" y="125"/>
                  </a:lnTo>
                  <a:lnTo>
                    <a:pt x="9" y="120"/>
                  </a:lnTo>
                  <a:lnTo>
                    <a:pt x="7" y="120"/>
                  </a:lnTo>
                  <a:lnTo>
                    <a:pt x="4" y="125"/>
                  </a:lnTo>
                  <a:lnTo>
                    <a:pt x="2" y="125"/>
                  </a:lnTo>
                  <a:lnTo>
                    <a:pt x="2" y="127"/>
                  </a:lnTo>
                  <a:lnTo>
                    <a:pt x="0" y="127"/>
                  </a:lnTo>
                  <a:lnTo>
                    <a:pt x="0" y="127"/>
                  </a:lnTo>
                  <a:lnTo>
                    <a:pt x="0" y="130"/>
                  </a:lnTo>
                  <a:lnTo>
                    <a:pt x="2" y="132"/>
                  </a:lnTo>
                  <a:lnTo>
                    <a:pt x="4" y="134"/>
                  </a:lnTo>
                  <a:lnTo>
                    <a:pt x="9" y="146"/>
                  </a:lnTo>
                  <a:lnTo>
                    <a:pt x="12" y="156"/>
                  </a:lnTo>
                  <a:lnTo>
                    <a:pt x="16" y="167"/>
                  </a:lnTo>
                  <a:lnTo>
                    <a:pt x="19" y="170"/>
                  </a:lnTo>
                  <a:lnTo>
                    <a:pt x="21" y="174"/>
                  </a:lnTo>
                  <a:lnTo>
                    <a:pt x="21" y="179"/>
                  </a:lnTo>
                  <a:lnTo>
                    <a:pt x="28" y="189"/>
                  </a:lnTo>
                  <a:lnTo>
                    <a:pt x="30" y="193"/>
                  </a:lnTo>
                  <a:lnTo>
                    <a:pt x="30" y="205"/>
                  </a:lnTo>
                  <a:lnTo>
                    <a:pt x="28" y="210"/>
                  </a:lnTo>
                  <a:lnTo>
                    <a:pt x="26" y="210"/>
                  </a:lnTo>
                  <a:lnTo>
                    <a:pt x="23" y="212"/>
                  </a:lnTo>
                  <a:lnTo>
                    <a:pt x="23" y="215"/>
                  </a:lnTo>
                  <a:lnTo>
                    <a:pt x="23" y="215"/>
                  </a:lnTo>
                  <a:lnTo>
                    <a:pt x="26" y="217"/>
                  </a:lnTo>
                  <a:lnTo>
                    <a:pt x="28" y="219"/>
                  </a:lnTo>
                  <a:lnTo>
                    <a:pt x="26" y="219"/>
                  </a:lnTo>
                  <a:lnTo>
                    <a:pt x="28" y="222"/>
                  </a:lnTo>
                  <a:lnTo>
                    <a:pt x="28" y="224"/>
                  </a:lnTo>
                  <a:lnTo>
                    <a:pt x="30" y="226"/>
                  </a:lnTo>
                  <a:lnTo>
                    <a:pt x="33" y="231"/>
                  </a:lnTo>
                  <a:lnTo>
                    <a:pt x="33" y="233"/>
                  </a:lnTo>
                  <a:lnTo>
                    <a:pt x="33" y="236"/>
                  </a:lnTo>
                  <a:lnTo>
                    <a:pt x="33" y="238"/>
                  </a:lnTo>
                  <a:lnTo>
                    <a:pt x="33" y="241"/>
                  </a:lnTo>
                  <a:lnTo>
                    <a:pt x="35" y="243"/>
                  </a:lnTo>
                  <a:lnTo>
                    <a:pt x="35" y="243"/>
                  </a:lnTo>
                  <a:lnTo>
                    <a:pt x="35" y="241"/>
                  </a:lnTo>
                  <a:lnTo>
                    <a:pt x="35" y="238"/>
                  </a:lnTo>
                  <a:lnTo>
                    <a:pt x="35" y="238"/>
                  </a:lnTo>
                  <a:lnTo>
                    <a:pt x="38" y="238"/>
                  </a:lnTo>
                  <a:lnTo>
                    <a:pt x="40" y="238"/>
                  </a:lnTo>
                  <a:lnTo>
                    <a:pt x="40" y="243"/>
                  </a:lnTo>
                  <a:lnTo>
                    <a:pt x="40" y="243"/>
                  </a:lnTo>
                  <a:lnTo>
                    <a:pt x="42" y="245"/>
                  </a:lnTo>
                  <a:lnTo>
                    <a:pt x="47" y="245"/>
                  </a:lnTo>
                  <a:lnTo>
                    <a:pt x="49" y="245"/>
                  </a:lnTo>
                  <a:lnTo>
                    <a:pt x="49" y="248"/>
                  </a:lnTo>
                  <a:lnTo>
                    <a:pt x="52" y="250"/>
                  </a:lnTo>
                  <a:lnTo>
                    <a:pt x="54" y="250"/>
                  </a:lnTo>
                  <a:lnTo>
                    <a:pt x="59" y="250"/>
                  </a:lnTo>
                  <a:lnTo>
                    <a:pt x="61" y="250"/>
                  </a:lnTo>
                  <a:lnTo>
                    <a:pt x="64" y="250"/>
                  </a:lnTo>
                  <a:lnTo>
                    <a:pt x="68" y="245"/>
                  </a:lnTo>
                  <a:lnTo>
                    <a:pt x="73" y="245"/>
                  </a:lnTo>
                  <a:lnTo>
                    <a:pt x="75" y="245"/>
                  </a:lnTo>
                  <a:lnTo>
                    <a:pt x="78" y="243"/>
                  </a:lnTo>
                  <a:lnTo>
                    <a:pt x="82" y="245"/>
                  </a:lnTo>
                  <a:lnTo>
                    <a:pt x="85" y="243"/>
                  </a:lnTo>
                  <a:lnTo>
                    <a:pt x="92" y="245"/>
                  </a:lnTo>
                  <a:lnTo>
                    <a:pt x="94" y="243"/>
                  </a:lnTo>
                  <a:lnTo>
                    <a:pt x="94" y="241"/>
                  </a:lnTo>
                  <a:lnTo>
                    <a:pt x="97" y="241"/>
                  </a:lnTo>
                  <a:lnTo>
                    <a:pt x="99" y="238"/>
                  </a:lnTo>
                  <a:lnTo>
                    <a:pt x="99" y="238"/>
                  </a:lnTo>
                  <a:lnTo>
                    <a:pt x="106" y="236"/>
                  </a:lnTo>
                  <a:lnTo>
                    <a:pt x="108" y="236"/>
                  </a:lnTo>
                  <a:lnTo>
                    <a:pt x="115" y="238"/>
                  </a:lnTo>
                  <a:lnTo>
                    <a:pt x="118" y="238"/>
                  </a:lnTo>
                  <a:lnTo>
                    <a:pt x="120" y="236"/>
                  </a:lnTo>
                  <a:lnTo>
                    <a:pt x="125" y="236"/>
                  </a:lnTo>
                  <a:lnTo>
                    <a:pt x="130" y="236"/>
                  </a:lnTo>
                  <a:lnTo>
                    <a:pt x="141" y="241"/>
                  </a:lnTo>
                  <a:lnTo>
                    <a:pt x="146" y="241"/>
                  </a:lnTo>
                  <a:lnTo>
                    <a:pt x="149" y="236"/>
                  </a:lnTo>
                  <a:lnTo>
                    <a:pt x="151" y="236"/>
                  </a:lnTo>
                  <a:lnTo>
                    <a:pt x="156" y="236"/>
                  </a:lnTo>
                  <a:lnTo>
                    <a:pt x="160" y="238"/>
                  </a:lnTo>
                  <a:lnTo>
                    <a:pt x="160" y="236"/>
                  </a:lnTo>
                  <a:lnTo>
                    <a:pt x="160" y="233"/>
                  </a:lnTo>
                  <a:lnTo>
                    <a:pt x="163" y="231"/>
                  </a:lnTo>
                  <a:lnTo>
                    <a:pt x="165" y="231"/>
                  </a:lnTo>
                  <a:lnTo>
                    <a:pt x="170" y="231"/>
                  </a:lnTo>
                  <a:lnTo>
                    <a:pt x="175" y="231"/>
                  </a:lnTo>
                  <a:lnTo>
                    <a:pt x="179" y="231"/>
                  </a:lnTo>
                  <a:lnTo>
                    <a:pt x="186" y="226"/>
                  </a:lnTo>
                  <a:lnTo>
                    <a:pt x="198" y="219"/>
                  </a:lnTo>
                  <a:lnTo>
                    <a:pt x="201" y="215"/>
                  </a:lnTo>
                  <a:lnTo>
                    <a:pt x="203" y="212"/>
                  </a:lnTo>
                  <a:lnTo>
                    <a:pt x="210" y="207"/>
                  </a:lnTo>
                  <a:lnTo>
                    <a:pt x="219" y="198"/>
                  </a:lnTo>
                  <a:lnTo>
                    <a:pt x="224" y="191"/>
                  </a:lnTo>
                  <a:lnTo>
                    <a:pt x="227" y="186"/>
                  </a:lnTo>
                  <a:lnTo>
                    <a:pt x="229" y="184"/>
                  </a:lnTo>
                  <a:lnTo>
                    <a:pt x="238" y="177"/>
                  </a:lnTo>
                  <a:lnTo>
                    <a:pt x="243" y="170"/>
                  </a:lnTo>
                  <a:lnTo>
                    <a:pt x="245" y="165"/>
                  </a:lnTo>
                  <a:lnTo>
                    <a:pt x="252" y="153"/>
                  </a:lnTo>
                  <a:lnTo>
                    <a:pt x="255" y="148"/>
                  </a:lnTo>
                  <a:lnTo>
                    <a:pt x="255" y="146"/>
                  </a:lnTo>
                  <a:lnTo>
                    <a:pt x="257" y="144"/>
                  </a:lnTo>
                  <a:lnTo>
                    <a:pt x="260" y="139"/>
                  </a:lnTo>
                  <a:lnTo>
                    <a:pt x="262" y="134"/>
                  </a:lnTo>
                  <a:lnTo>
                    <a:pt x="267" y="132"/>
                  </a:lnTo>
                  <a:lnTo>
                    <a:pt x="269" y="132"/>
                  </a:lnTo>
                  <a:lnTo>
                    <a:pt x="274" y="127"/>
                  </a:lnTo>
                  <a:lnTo>
                    <a:pt x="278" y="122"/>
                  </a:lnTo>
                  <a:lnTo>
                    <a:pt x="278" y="113"/>
                  </a:lnTo>
                  <a:lnTo>
                    <a:pt x="281" y="108"/>
                  </a:lnTo>
                  <a:lnTo>
                    <a:pt x="281" y="106"/>
                  </a:lnTo>
                  <a:lnTo>
                    <a:pt x="283" y="101"/>
                  </a:lnTo>
                  <a:lnTo>
                    <a:pt x="283" y="96"/>
                  </a:lnTo>
                  <a:lnTo>
                    <a:pt x="286" y="94"/>
                  </a:lnTo>
                  <a:lnTo>
                    <a:pt x="286" y="89"/>
                  </a:lnTo>
                  <a:lnTo>
                    <a:pt x="283" y="89"/>
                  </a:lnTo>
                  <a:lnTo>
                    <a:pt x="271" y="89"/>
                  </a:lnTo>
                  <a:lnTo>
                    <a:pt x="269" y="89"/>
                  </a:lnTo>
                  <a:lnTo>
                    <a:pt x="269" y="94"/>
                  </a:lnTo>
                  <a:lnTo>
                    <a:pt x="267" y="96"/>
                  </a:lnTo>
                  <a:lnTo>
                    <a:pt x="262" y="96"/>
                  </a:lnTo>
                  <a:lnTo>
                    <a:pt x="255" y="96"/>
                  </a:lnTo>
                  <a:lnTo>
                    <a:pt x="250" y="89"/>
                  </a:lnTo>
                  <a:lnTo>
                    <a:pt x="250" y="87"/>
                  </a:lnTo>
                  <a:lnTo>
                    <a:pt x="252" y="80"/>
                  </a:lnTo>
                  <a:lnTo>
                    <a:pt x="255" y="75"/>
                  </a:lnTo>
                  <a:lnTo>
                    <a:pt x="257" y="70"/>
                  </a:lnTo>
                  <a:lnTo>
                    <a:pt x="262" y="68"/>
                  </a:lnTo>
                  <a:lnTo>
                    <a:pt x="269" y="73"/>
                  </a:lnTo>
                  <a:lnTo>
                    <a:pt x="271" y="70"/>
                  </a:lnTo>
                  <a:lnTo>
                    <a:pt x="269" y="42"/>
                  </a:lnTo>
                  <a:lnTo>
                    <a:pt x="267" y="28"/>
                  </a:lnTo>
                  <a:lnTo>
                    <a:pt x="264" y="16"/>
                  </a:lnTo>
                  <a:lnTo>
                    <a:pt x="262" y="11"/>
                  </a:lnTo>
                  <a:lnTo>
                    <a:pt x="262" y="9"/>
                  </a:lnTo>
                  <a:lnTo>
                    <a:pt x="262" y="9"/>
                  </a:lnTo>
                  <a:lnTo>
                    <a:pt x="257" y="4"/>
                  </a:lnTo>
                  <a:lnTo>
                    <a:pt x="250" y="2"/>
                  </a:lnTo>
                  <a:lnTo>
                    <a:pt x="245" y="2"/>
                  </a:lnTo>
                  <a:lnTo>
                    <a:pt x="243" y="2"/>
                  </a:lnTo>
                  <a:lnTo>
                    <a:pt x="238" y="2"/>
                  </a:lnTo>
                  <a:lnTo>
                    <a:pt x="231" y="0"/>
                  </a:lnTo>
                  <a:lnTo>
                    <a:pt x="227" y="0"/>
                  </a:lnTo>
                  <a:lnTo>
                    <a:pt x="224" y="0"/>
                  </a:lnTo>
                  <a:lnTo>
                    <a:pt x="224" y="2"/>
                  </a:lnTo>
                  <a:lnTo>
                    <a:pt x="219" y="4"/>
                  </a:lnTo>
                  <a:lnTo>
                    <a:pt x="215" y="7"/>
                  </a:lnTo>
                  <a:lnTo>
                    <a:pt x="203" y="11"/>
                  </a:lnTo>
                  <a:lnTo>
                    <a:pt x="198" y="19"/>
                  </a:lnTo>
                  <a:lnTo>
                    <a:pt x="191" y="21"/>
                  </a:lnTo>
                  <a:lnTo>
                    <a:pt x="186" y="28"/>
                  </a:lnTo>
                  <a:lnTo>
                    <a:pt x="182" y="33"/>
                  </a:lnTo>
                  <a:lnTo>
                    <a:pt x="177" y="40"/>
                  </a:lnTo>
                  <a:lnTo>
                    <a:pt x="167" y="47"/>
                  </a:lnTo>
                  <a:lnTo>
                    <a:pt x="163" y="52"/>
                  </a:lnTo>
                  <a:lnTo>
                    <a:pt x="158" y="63"/>
                  </a:lnTo>
                  <a:lnTo>
                    <a:pt x="158" y="66"/>
                  </a:lnTo>
                  <a:lnTo>
                    <a:pt x="156" y="66"/>
                  </a:lnTo>
                  <a:lnTo>
                    <a:pt x="151" y="66"/>
                  </a:lnTo>
                  <a:lnTo>
                    <a:pt x="144" y="68"/>
                  </a:lnTo>
                  <a:lnTo>
                    <a:pt x="139" y="68"/>
                  </a:lnTo>
                  <a:lnTo>
                    <a:pt x="132" y="63"/>
                  </a:lnTo>
                  <a:lnTo>
                    <a:pt x="127" y="63"/>
                  </a:lnTo>
                  <a:lnTo>
                    <a:pt x="123" y="61"/>
                  </a:lnTo>
                  <a:lnTo>
                    <a:pt x="120" y="63"/>
                  </a:lnTo>
                  <a:lnTo>
                    <a:pt x="113" y="70"/>
                  </a:lnTo>
                  <a:lnTo>
                    <a:pt x="111" y="73"/>
                  </a:lnTo>
                  <a:lnTo>
                    <a:pt x="111" y="75"/>
                  </a:lnTo>
                  <a:lnTo>
                    <a:pt x="108" y="78"/>
                  </a:lnTo>
                  <a:lnTo>
                    <a:pt x="104" y="80"/>
                  </a:lnTo>
                  <a:lnTo>
                    <a:pt x="101" y="82"/>
                  </a:lnTo>
                  <a:lnTo>
                    <a:pt x="99" y="87"/>
                  </a:lnTo>
                  <a:lnTo>
                    <a:pt x="87" y="89"/>
                  </a:lnTo>
                  <a:lnTo>
                    <a:pt x="82" y="89"/>
                  </a:lnTo>
                  <a:lnTo>
                    <a:pt x="78" y="89"/>
                  </a:lnTo>
                  <a:lnTo>
                    <a:pt x="73" y="89"/>
                  </a:lnTo>
                  <a:lnTo>
                    <a:pt x="73" y="85"/>
                  </a:lnTo>
                  <a:lnTo>
                    <a:pt x="75" y="80"/>
                  </a:lnTo>
                  <a:lnTo>
                    <a:pt x="75" y="75"/>
                  </a:lnTo>
                  <a:lnTo>
                    <a:pt x="75" y="73"/>
                  </a:lnTo>
                  <a:lnTo>
                    <a:pt x="75" y="68"/>
                  </a:lnTo>
                  <a:lnTo>
                    <a:pt x="73" y="63"/>
                  </a:lnTo>
                  <a:lnTo>
                    <a:pt x="68" y="59"/>
                  </a:lnTo>
                  <a:lnTo>
                    <a:pt x="68" y="56"/>
                  </a:lnTo>
                  <a:lnTo>
                    <a:pt x="64" y="54"/>
                  </a:lnTo>
                  <a:lnTo>
                    <a:pt x="64" y="52"/>
                  </a:lnTo>
                  <a:lnTo>
                    <a:pt x="61" y="52"/>
                  </a:lnTo>
                  <a:lnTo>
                    <a:pt x="59" y="5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4" name="Freeform 190">
              <a:extLst>
                <a:ext uri="{FF2B5EF4-FFF2-40B4-BE49-F238E27FC236}">
                  <a16:creationId xmlns:a16="http://schemas.microsoft.com/office/drawing/2014/main" id="{382940D0-9373-4365-8A17-85C12A91C025}"/>
                </a:ext>
              </a:extLst>
            </p:cNvPr>
            <p:cNvSpPr>
              <a:spLocks/>
            </p:cNvSpPr>
            <p:nvPr/>
          </p:nvSpPr>
          <p:spPr bwMode="auto">
            <a:xfrm>
              <a:off x="1645491" y="3870291"/>
              <a:ext cx="296862" cy="454025"/>
            </a:xfrm>
            <a:custGeom>
              <a:avLst/>
              <a:gdLst>
                <a:gd name="T0" fmla="*/ 31 w 187"/>
                <a:gd name="T1" fmla="*/ 38 h 286"/>
                <a:gd name="T2" fmla="*/ 33 w 187"/>
                <a:gd name="T3" fmla="*/ 45 h 286"/>
                <a:gd name="T4" fmla="*/ 41 w 187"/>
                <a:gd name="T5" fmla="*/ 49 h 286"/>
                <a:gd name="T6" fmla="*/ 38 w 187"/>
                <a:gd name="T7" fmla="*/ 87 h 286"/>
                <a:gd name="T8" fmla="*/ 7 w 187"/>
                <a:gd name="T9" fmla="*/ 151 h 286"/>
                <a:gd name="T10" fmla="*/ 5 w 187"/>
                <a:gd name="T11" fmla="*/ 158 h 286"/>
                <a:gd name="T12" fmla="*/ 0 w 187"/>
                <a:gd name="T13" fmla="*/ 163 h 286"/>
                <a:gd name="T14" fmla="*/ 10 w 187"/>
                <a:gd name="T15" fmla="*/ 170 h 286"/>
                <a:gd name="T16" fmla="*/ 19 w 187"/>
                <a:gd name="T17" fmla="*/ 179 h 286"/>
                <a:gd name="T18" fmla="*/ 26 w 187"/>
                <a:gd name="T19" fmla="*/ 179 h 286"/>
                <a:gd name="T20" fmla="*/ 31 w 187"/>
                <a:gd name="T21" fmla="*/ 186 h 286"/>
                <a:gd name="T22" fmla="*/ 22 w 187"/>
                <a:gd name="T23" fmla="*/ 191 h 286"/>
                <a:gd name="T24" fmla="*/ 24 w 187"/>
                <a:gd name="T25" fmla="*/ 203 h 286"/>
                <a:gd name="T26" fmla="*/ 26 w 187"/>
                <a:gd name="T27" fmla="*/ 215 h 286"/>
                <a:gd name="T28" fmla="*/ 26 w 187"/>
                <a:gd name="T29" fmla="*/ 224 h 286"/>
                <a:gd name="T30" fmla="*/ 33 w 187"/>
                <a:gd name="T31" fmla="*/ 238 h 286"/>
                <a:gd name="T32" fmla="*/ 33 w 187"/>
                <a:gd name="T33" fmla="*/ 243 h 286"/>
                <a:gd name="T34" fmla="*/ 17 w 187"/>
                <a:gd name="T35" fmla="*/ 241 h 286"/>
                <a:gd name="T36" fmla="*/ 12 w 187"/>
                <a:gd name="T37" fmla="*/ 245 h 286"/>
                <a:gd name="T38" fmla="*/ 17 w 187"/>
                <a:gd name="T39" fmla="*/ 257 h 286"/>
                <a:gd name="T40" fmla="*/ 26 w 187"/>
                <a:gd name="T41" fmla="*/ 262 h 286"/>
                <a:gd name="T42" fmla="*/ 33 w 187"/>
                <a:gd name="T43" fmla="*/ 274 h 286"/>
                <a:gd name="T44" fmla="*/ 36 w 187"/>
                <a:gd name="T45" fmla="*/ 286 h 286"/>
                <a:gd name="T46" fmla="*/ 38 w 187"/>
                <a:gd name="T47" fmla="*/ 286 h 286"/>
                <a:gd name="T48" fmla="*/ 45 w 187"/>
                <a:gd name="T49" fmla="*/ 286 h 286"/>
                <a:gd name="T50" fmla="*/ 55 w 187"/>
                <a:gd name="T51" fmla="*/ 283 h 286"/>
                <a:gd name="T52" fmla="*/ 57 w 187"/>
                <a:gd name="T53" fmla="*/ 279 h 286"/>
                <a:gd name="T54" fmla="*/ 59 w 187"/>
                <a:gd name="T55" fmla="*/ 281 h 286"/>
                <a:gd name="T56" fmla="*/ 64 w 187"/>
                <a:gd name="T57" fmla="*/ 283 h 286"/>
                <a:gd name="T58" fmla="*/ 69 w 187"/>
                <a:gd name="T59" fmla="*/ 281 h 286"/>
                <a:gd name="T60" fmla="*/ 78 w 187"/>
                <a:gd name="T61" fmla="*/ 276 h 286"/>
                <a:gd name="T62" fmla="*/ 85 w 187"/>
                <a:gd name="T63" fmla="*/ 276 h 286"/>
                <a:gd name="T64" fmla="*/ 95 w 187"/>
                <a:gd name="T65" fmla="*/ 274 h 286"/>
                <a:gd name="T66" fmla="*/ 97 w 187"/>
                <a:gd name="T67" fmla="*/ 271 h 286"/>
                <a:gd name="T68" fmla="*/ 102 w 187"/>
                <a:gd name="T69" fmla="*/ 267 h 286"/>
                <a:gd name="T70" fmla="*/ 97 w 187"/>
                <a:gd name="T71" fmla="*/ 262 h 286"/>
                <a:gd name="T72" fmla="*/ 102 w 187"/>
                <a:gd name="T73" fmla="*/ 260 h 286"/>
                <a:gd name="T74" fmla="*/ 114 w 187"/>
                <a:gd name="T75" fmla="*/ 257 h 286"/>
                <a:gd name="T76" fmla="*/ 121 w 187"/>
                <a:gd name="T77" fmla="*/ 257 h 286"/>
                <a:gd name="T78" fmla="*/ 126 w 187"/>
                <a:gd name="T79" fmla="*/ 255 h 286"/>
                <a:gd name="T80" fmla="*/ 133 w 187"/>
                <a:gd name="T81" fmla="*/ 250 h 286"/>
                <a:gd name="T82" fmla="*/ 140 w 187"/>
                <a:gd name="T83" fmla="*/ 241 h 286"/>
                <a:gd name="T84" fmla="*/ 145 w 187"/>
                <a:gd name="T85" fmla="*/ 236 h 286"/>
                <a:gd name="T86" fmla="*/ 149 w 187"/>
                <a:gd name="T87" fmla="*/ 229 h 286"/>
                <a:gd name="T88" fmla="*/ 159 w 187"/>
                <a:gd name="T89" fmla="*/ 224 h 286"/>
                <a:gd name="T90" fmla="*/ 168 w 187"/>
                <a:gd name="T91" fmla="*/ 222 h 286"/>
                <a:gd name="T92" fmla="*/ 166 w 187"/>
                <a:gd name="T93" fmla="*/ 215 h 286"/>
                <a:gd name="T94" fmla="*/ 159 w 187"/>
                <a:gd name="T95" fmla="*/ 203 h 286"/>
                <a:gd name="T96" fmla="*/ 152 w 187"/>
                <a:gd name="T97" fmla="*/ 194 h 286"/>
                <a:gd name="T98" fmla="*/ 149 w 187"/>
                <a:gd name="T99" fmla="*/ 189 h 286"/>
                <a:gd name="T100" fmla="*/ 154 w 187"/>
                <a:gd name="T101" fmla="*/ 182 h 286"/>
                <a:gd name="T102" fmla="*/ 154 w 187"/>
                <a:gd name="T103" fmla="*/ 172 h 286"/>
                <a:gd name="T104" fmla="*/ 159 w 187"/>
                <a:gd name="T105" fmla="*/ 168 h 286"/>
                <a:gd name="T106" fmla="*/ 163 w 187"/>
                <a:gd name="T107" fmla="*/ 156 h 286"/>
                <a:gd name="T108" fmla="*/ 168 w 187"/>
                <a:gd name="T109" fmla="*/ 144 h 286"/>
                <a:gd name="T110" fmla="*/ 173 w 187"/>
                <a:gd name="T111" fmla="*/ 139 h 286"/>
                <a:gd name="T112" fmla="*/ 187 w 187"/>
                <a:gd name="T113" fmla="*/ 139 h 286"/>
                <a:gd name="T114" fmla="*/ 187 w 187"/>
                <a:gd name="T115" fmla="*/ 90 h 286"/>
                <a:gd name="T116" fmla="*/ 170 w 187"/>
                <a:gd name="T117" fmla="*/ 64 h 286"/>
                <a:gd name="T118" fmla="*/ 126 w 187"/>
                <a:gd name="T119" fmla="*/ 40 h 286"/>
                <a:gd name="T120" fmla="*/ 81 w 187"/>
                <a:gd name="T121" fmla="*/ 16 h 286"/>
                <a:gd name="T122" fmla="*/ 48 w 187"/>
                <a:gd name="T123" fmla="*/ 0 h 286"/>
                <a:gd name="T124" fmla="*/ 29 w 187"/>
                <a:gd name="T125" fmla="*/ 3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286">
                  <a:moveTo>
                    <a:pt x="29" y="33"/>
                  </a:moveTo>
                  <a:lnTo>
                    <a:pt x="31" y="35"/>
                  </a:lnTo>
                  <a:lnTo>
                    <a:pt x="31" y="38"/>
                  </a:lnTo>
                  <a:lnTo>
                    <a:pt x="31" y="38"/>
                  </a:lnTo>
                  <a:lnTo>
                    <a:pt x="33" y="40"/>
                  </a:lnTo>
                  <a:lnTo>
                    <a:pt x="33" y="45"/>
                  </a:lnTo>
                  <a:lnTo>
                    <a:pt x="36" y="47"/>
                  </a:lnTo>
                  <a:lnTo>
                    <a:pt x="38" y="47"/>
                  </a:lnTo>
                  <a:lnTo>
                    <a:pt x="41" y="49"/>
                  </a:lnTo>
                  <a:lnTo>
                    <a:pt x="48" y="54"/>
                  </a:lnTo>
                  <a:lnTo>
                    <a:pt x="43" y="61"/>
                  </a:lnTo>
                  <a:lnTo>
                    <a:pt x="38" y="87"/>
                  </a:lnTo>
                  <a:lnTo>
                    <a:pt x="36" y="118"/>
                  </a:lnTo>
                  <a:lnTo>
                    <a:pt x="36" y="120"/>
                  </a:lnTo>
                  <a:lnTo>
                    <a:pt x="7" y="151"/>
                  </a:lnTo>
                  <a:lnTo>
                    <a:pt x="7" y="153"/>
                  </a:lnTo>
                  <a:lnTo>
                    <a:pt x="5" y="156"/>
                  </a:lnTo>
                  <a:lnTo>
                    <a:pt x="5" y="158"/>
                  </a:lnTo>
                  <a:lnTo>
                    <a:pt x="3" y="158"/>
                  </a:lnTo>
                  <a:lnTo>
                    <a:pt x="0" y="160"/>
                  </a:lnTo>
                  <a:lnTo>
                    <a:pt x="0" y="163"/>
                  </a:lnTo>
                  <a:lnTo>
                    <a:pt x="7" y="165"/>
                  </a:lnTo>
                  <a:lnTo>
                    <a:pt x="7" y="168"/>
                  </a:lnTo>
                  <a:lnTo>
                    <a:pt x="10" y="170"/>
                  </a:lnTo>
                  <a:lnTo>
                    <a:pt x="12" y="172"/>
                  </a:lnTo>
                  <a:lnTo>
                    <a:pt x="12" y="179"/>
                  </a:lnTo>
                  <a:lnTo>
                    <a:pt x="19" y="179"/>
                  </a:lnTo>
                  <a:lnTo>
                    <a:pt x="22" y="179"/>
                  </a:lnTo>
                  <a:lnTo>
                    <a:pt x="24" y="179"/>
                  </a:lnTo>
                  <a:lnTo>
                    <a:pt x="26" y="179"/>
                  </a:lnTo>
                  <a:lnTo>
                    <a:pt x="29" y="179"/>
                  </a:lnTo>
                  <a:lnTo>
                    <a:pt x="31" y="184"/>
                  </a:lnTo>
                  <a:lnTo>
                    <a:pt x="31" y="186"/>
                  </a:lnTo>
                  <a:lnTo>
                    <a:pt x="31" y="189"/>
                  </a:lnTo>
                  <a:lnTo>
                    <a:pt x="26" y="191"/>
                  </a:lnTo>
                  <a:lnTo>
                    <a:pt x="22" y="191"/>
                  </a:lnTo>
                  <a:lnTo>
                    <a:pt x="22" y="194"/>
                  </a:lnTo>
                  <a:lnTo>
                    <a:pt x="24" y="194"/>
                  </a:lnTo>
                  <a:lnTo>
                    <a:pt x="24" y="203"/>
                  </a:lnTo>
                  <a:lnTo>
                    <a:pt x="26" y="205"/>
                  </a:lnTo>
                  <a:lnTo>
                    <a:pt x="29" y="208"/>
                  </a:lnTo>
                  <a:lnTo>
                    <a:pt x="26" y="215"/>
                  </a:lnTo>
                  <a:lnTo>
                    <a:pt x="26" y="217"/>
                  </a:lnTo>
                  <a:lnTo>
                    <a:pt x="26" y="222"/>
                  </a:lnTo>
                  <a:lnTo>
                    <a:pt x="26" y="224"/>
                  </a:lnTo>
                  <a:lnTo>
                    <a:pt x="29" y="229"/>
                  </a:lnTo>
                  <a:lnTo>
                    <a:pt x="33" y="236"/>
                  </a:lnTo>
                  <a:lnTo>
                    <a:pt x="33" y="238"/>
                  </a:lnTo>
                  <a:lnTo>
                    <a:pt x="36" y="241"/>
                  </a:lnTo>
                  <a:lnTo>
                    <a:pt x="33" y="243"/>
                  </a:lnTo>
                  <a:lnTo>
                    <a:pt x="33" y="243"/>
                  </a:lnTo>
                  <a:lnTo>
                    <a:pt x="26" y="241"/>
                  </a:lnTo>
                  <a:lnTo>
                    <a:pt x="22" y="241"/>
                  </a:lnTo>
                  <a:lnTo>
                    <a:pt x="17" y="241"/>
                  </a:lnTo>
                  <a:lnTo>
                    <a:pt x="17" y="241"/>
                  </a:lnTo>
                  <a:lnTo>
                    <a:pt x="15" y="243"/>
                  </a:lnTo>
                  <a:lnTo>
                    <a:pt x="12" y="245"/>
                  </a:lnTo>
                  <a:lnTo>
                    <a:pt x="12" y="250"/>
                  </a:lnTo>
                  <a:lnTo>
                    <a:pt x="15" y="253"/>
                  </a:lnTo>
                  <a:lnTo>
                    <a:pt x="17" y="257"/>
                  </a:lnTo>
                  <a:lnTo>
                    <a:pt x="19" y="260"/>
                  </a:lnTo>
                  <a:lnTo>
                    <a:pt x="22" y="260"/>
                  </a:lnTo>
                  <a:lnTo>
                    <a:pt x="26" y="262"/>
                  </a:lnTo>
                  <a:lnTo>
                    <a:pt x="26" y="262"/>
                  </a:lnTo>
                  <a:lnTo>
                    <a:pt x="29" y="264"/>
                  </a:lnTo>
                  <a:lnTo>
                    <a:pt x="33" y="274"/>
                  </a:lnTo>
                  <a:lnTo>
                    <a:pt x="33" y="279"/>
                  </a:lnTo>
                  <a:lnTo>
                    <a:pt x="33" y="286"/>
                  </a:lnTo>
                  <a:lnTo>
                    <a:pt x="36" y="286"/>
                  </a:lnTo>
                  <a:lnTo>
                    <a:pt x="36" y="286"/>
                  </a:lnTo>
                  <a:lnTo>
                    <a:pt x="36" y="286"/>
                  </a:lnTo>
                  <a:lnTo>
                    <a:pt x="38" y="286"/>
                  </a:lnTo>
                  <a:lnTo>
                    <a:pt x="41" y="286"/>
                  </a:lnTo>
                  <a:lnTo>
                    <a:pt x="43" y="286"/>
                  </a:lnTo>
                  <a:lnTo>
                    <a:pt x="45" y="286"/>
                  </a:lnTo>
                  <a:lnTo>
                    <a:pt x="48" y="286"/>
                  </a:lnTo>
                  <a:lnTo>
                    <a:pt x="50" y="283"/>
                  </a:lnTo>
                  <a:lnTo>
                    <a:pt x="55" y="283"/>
                  </a:lnTo>
                  <a:lnTo>
                    <a:pt x="55" y="281"/>
                  </a:lnTo>
                  <a:lnTo>
                    <a:pt x="55" y="281"/>
                  </a:lnTo>
                  <a:lnTo>
                    <a:pt x="57" y="279"/>
                  </a:lnTo>
                  <a:lnTo>
                    <a:pt x="57" y="279"/>
                  </a:lnTo>
                  <a:lnTo>
                    <a:pt x="57" y="279"/>
                  </a:lnTo>
                  <a:lnTo>
                    <a:pt x="59" y="281"/>
                  </a:lnTo>
                  <a:lnTo>
                    <a:pt x="59" y="283"/>
                  </a:lnTo>
                  <a:lnTo>
                    <a:pt x="62" y="286"/>
                  </a:lnTo>
                  <a:lnTo>
                    <a:pt x="64" y="283"/>
                  </a:lnTo>
                  <a:lnTo>
                    <a:pt x="64" y="283"/>
                  </a:lnTo>
                  <a:lnTo>
                    <a:pt x="67" y="283"/>
                  </a:lnTo>
                  <a:lnTo>
                    <a:pt x="69" y="281"/>
                  </a:lnTo>
                  <a:lnTo>
                    <a:pt x="69" y="281"/>
                  </a:lnTo>
                  <a:lnTo>
                    <a:pt x="71" y="279"/>
                  </a:lnTo>
                  <a:lnTo>
                    <a:pt x="78" y="276"/>
                  </a:lnTo>
                  <a:lnTo>
                    <a:pt x="81" y="276"/>
                  </a:lnTo>
                  <a:lnTo>
                    <a:pt x="83" y="276"/>
                  </a:lnTo>
                  <a:lnTo>
                    <a:pt x="85" y="276"/>
                  </a:lnTo>
                  <a:lnTo>
                    <a:pt x="93" y="276"/>
                  </a:lnTo>
                  <a:lnTo>
                    <a:pt x="93" y="276"/>
                  </a:lnTo>
                  <a:lnTo>
                    <a:pt x="95" y="274"/>
                  </a:lnTo>
                  <a:lnTo>
                    <a:pt x="95" y="271"/>
                  </a:lnTo>
                  <a:lnTo>
                    <a:pt x="97" y="271"/>
                  </a:lnTo>
                  <a:lnTo>
                    <a:pt x="97" y="271"/>
                  </a:lnTo>
                  <a:lnTo>
                    <a:pt x="100" y="269"/>
                  </a:lnTo>
                  <a:lnTo>
                    <a:pt x="100" y="267"/>
                  </a:lnTo>
                  <a:lnTo>
                    <a:pt x="102" y="267"/>
                  </a:lnTo>
                  <a:lnTo>
                    <a:pt x="100" y="264"/>
                  </a:lnTo>
                  <a:lnTo>
                    <a:pt x="100" y="262"/>
                  </a:lnTo>
                  <a:lnTo>
                    <a:pt x="97" y="262"/>
                  </a:lnTo>
                  <a:lnTo>
                    <a:pt x="100" y="260"/>
                  </a:lnTo>
                  <a:lnTo>
                    <a:pt x="100" y="260"/>
                  </a:lnTo>
                  <a:lnTo>
                    <a:pt x="102" y="260"/>
                  </a:lnTo>
                  <a:lnTo>
                    <a:pt x="107" y="257"/>
                  </a:lnTo>
                  <a:lnTo>
                    <a:pt x="111" y="257"/>
                  </a:lnTo>
                  <a:lnTo>
                    <a:pt x="114" y="257"/>
                  </a:lnTo>
                  <a:lnTo>
                    <a:pt x="116" y="257"/>
                  </a:lnTo>
                  <a:lnTo>
                    <a:pt x="119" y="257"/>
                  </a:lnTo>
                  <a:lnTo>
                    <a:pt x="121" y="257"/>
                  </a:lnTo>
                  <a:lnTo>
                    <a:pt x="123" y="257"/>
                  </a:lnTo>
                  <a:lnTo>
                    <a:pt x="126" y="257"/>
                  </a:lnTo>
                  <a:lnTo>
                    <a:pt x="126" y="255"/>
                  </a:lnTo>
                  <a:lnTo>
                    <a:pt x="128" y="253"/>
                  </a:lnTo>
                  <a:lnTo>
                    <a:pt x="130" y="253"/>
                  </a:lnTo>
                  <a:lnTo>
                    <a:pt x="133" y="250"/>
                  </a:lnTo>
                  <a:lnTo>
                    <a:pt x="135" y="250"/>
                  </a:lnTo>
                  <a:lnTo>
                    <a:pt x="135" y="245"/>
                  </a:lnTo>
                  <a:lnTo>
                    <a:pt x="140" y="241"/>
                  </a:lnTo>
                  <a:lnTo>
                    <a:pt x="142" y="241"/>
                  </a:lnTo>
                  <a:lnTo>
                    <a:pt x="142" y="241"/>
                  </a:lnTo>
                  <a:lnTo>
                    <a:pt x="145" y="236"/>
                  </a:lnTo>
                  <a:lnTo>
                    <a:pt x="147" y="236"/>
                  </a:lnTo>
                  <a:lnTo>
                    <a:pt x="147" y="231"/>
                  </a:lnTo>
                  <a:lnTo>
                    <a:pt x="149" y="229"/>
                  </a:lnTo>
                  <a:lnTo>
                    <a:pt x="152" y="227"/>
                  </a:lnTo>
                  <a:lnTo>
                    <a:pt x="154" y="224"/>
                  </a:lnTo>
                  <a:lnTo>
                    <a:pt x="159" y="224"/>
                  </a:lnTo>
                  <a:lnTo>
                    <a:pt x="161" y="224"/>
                  </a:lnTo>
                  <a:lnTo>
                    <a:pt x="163" y="224"/>
                  </a:lnTo>
                  <a:lnTo>
                    <a:pt x="168" y="222"/>
                  </a:lnTo>
                  <a:lnTo>
                    <a:pt x="168" y="219"/>
                  </a:lnTo>
                  <a:lnTo>
                    <a:pt x="166" y="217"/>
                  </a:lnTo>
                  <a:lnTo>
                    <a:pt x="166" y="215"/>
                  </a:lnTo>
                  <a:lnTo>
                    <a:pt x="163" y="215"/>
                  </a:lnTo>
                  <a:lnTo>
                    <a:pt x="163" y="212"/>
                  </a:lnTo>
                  <a:lnTo>
                    <a:pt x="159" y="203"/>
                  </a:lnTo>
                  <a:lnTo>
                    <a:pt x="156" y="198"/>
                  </a:lnTo>
                  <a:lnTo>
                    <a:pt x="159" y="191"/>
                  </a:lnTo>
                  <a:lnTo>
                    <a:pt x="152" y="194"/>
                  </a:lnTo>
                  <a:lnTo>
                    <a:pt x="152" y="194"/>
                  </a:lnTo>
                  <a:lnTo>
                    <a:pt x="149" y="194"/>
                  </a:lnTo>
                  <a:lnTo>
                    <a:pt x="149" y="189"/>
                  </a:lnTo>
                  <a:lnTo>
                    <a:pt x="149" y="186"/>
                  </a:lnTo>
                  <a:lnTo>
                    <a:pt x="152" y="184"/>
                  </a:lnTo>
                  <a:lnTo>
                    <a:pt x="154" y="182"/>
                  </a:lnTo>
                  <a:lnTo>
                    <a:pt x="154" y="177"/>
                  </a:lnTo>
                  <a:lnTo>
                    <a:pt x="154" y="172"/>
                  </a:lnTo>
                  <a:lnTo>
                    <a:pt x="154" y="172"/>
                  </a:lnTo>
                  <a:lnTo>
                    <a:pt x="156" y="170"/>
                  </a:lnTo>
                  <a:lnTo>
                    <a:pt x="156" y="170"/>
                  </a:lnTo>
                  <a:lnTo>
                    <a:pt x="159" y="168"/>
                  </a:lnTo>
                  <a:lnTo>
                    <a:pt x="156" y="165"/>
                  </a:lnTo>
                  <a:lnTo>
                    <a:pt x="156" y="163"/>
                  </a:lnTo>
                  <a:lnTo>
                    <a:pt x="163" y="156"/>
                  </a:lnTo>
                  <a:lnTo>
                    <a:pt x="166" y="151"/>
                  </a:lnTo>
                  <a:lnTo>
                    <a:pt x="168" y="146"/>
                  </a:lnTo>
                  <a:lnTo>
                    <a:pt x="168" y="144"/>
                  </a:lnTo>
                  <a:lnTo>
                    <a:pt x="168" y="142"/>
                  </a:lnTo>
                  <a:lnTo>
                    <a:pt x="168" y="139"/>
                  </a:lnTo>
                  <a:lnTo>
                    <a:pt x="173" y="139"/>
                  </a:lnTo>
                  <a:lnTo>
                    <a:pt x="175" y="139"/>
                  </a:lnTo>
                  <a:lnTo>
                    <a:pt x="185" y="139"/>
                  </a:lnTo>
                  <a:lnTo>
                    <a:pt x="187" y="139"/>
                  </a:lnTo>
                  <a:lnTo>
                    <a:pt x="187" y="123"/>
                  </a:lnTo>
                  <a:lnTo>
                    <a:pt x="187" y="106"/>
                  </a:lnTo>
                  <a:lnTo>
                    <a:pt x="187" y="90"/>
                  </a:lnTo>
                  <a:lnTo>
                    <a:pt x="187" y="71"/>
                  </a:lnTo>
                  <a:lnTo>
                    <a:pt x="185" y="71"/>
                  </a:lnTo>
                  <a:lnTo>
                    <a:pt x="170" y="64"/>
                  </a:lnTo>
                  <a:lnTo>
                    <a:pt x="154" y="54"/>
                  </a:lnTo>
                  <a:lnTo>
                    <a:pt x="140" y="47"/>
                  </a:lnTo>
                  <a:lnTo>
                    <a:pt x="126" y="40"/>
                  </a:lnTo>
                  <a:lnTo>
                    <a:pt x="109" y="33"/>
                  </a:lnTo>
                  <a:lnTo>
                    <a:pt x="95" y="23"/>
                  </a:lnTo>
                  <a:lnTo>
                    <a:pt x="81" y="16"/>
                  </a:lnTo>
                  <a:lnTo>
                    <a:pt x="67" y="9"/>
                  </a:lnTo>
                  <a:lnTo>
                    <a:pt x="50" y="0"/>
                  </a:lnTo>
                  <a:lnTo>
                    <a:pt x="48" y="0"/>
                  </a:lnTo>
                  <a:lnTo>
                    <a:pt x="31" y="5"/>
                  </a:lnTo>
                  <a:lnTo>
                    <a:pt x="29" y="5"/>
                  </a:lnTo>
                  <a:lnTo>
                    <a:pt x="29" y="3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5" name="Freeform 191">
              <a:extLst>
                <a:ext uri="{FF2B5EF4-FFF2-40B4-BE49-F238E27FC236}">
                  <a16:creationId xmlns:a16="http://schemas.microsoft.com/office/drawing/2014/main" id="{518489BF-C30D-4513-B474-CE5EFAF920D0}"/>
                </a:ext>
              </a:extLst>
            </p:cNvPr>
            <p:cNvSpPr>
              <a:spLocks/>
            </p:cNvSpPr>
            <p:nvPr/>
          </p:nvSpPr>
          <p:spPr bwMode="auto">
            <a:xfrm>
              <a:off x="1645491" y="3870291"/>
              <a:ext cx="296862" cy="454025"/>
            </a:xfrm>
            <a:custGeom>
              <a:avLst/>
              <a:gdLst>
                <a:gd name="T0" fmla="*/ 31 w 187"/>
                <a:gd name="T1" fmla="*/ 38 h 286"/>
                <a:gd name="T2" fmla="*/ 33 w 187"/>
                <a:gd name="T3" fmla="*/ 45 h 286"/>
                <a:gd name="T4" fmla="*/ 41 w 187"/>
                <a:gd name="T5" fmla="*/ 49 h 286"/>
                <a:gd name="T6" fmla="*/ 38 w 187"/>
                <a:gd name="T7" fmla="*/ 87 h 286"/>
                <a:gd name="T8" fmla="*/ 7 w 187"/>
                <a:gd name="T9" fmla="*/ 151 h 286"/>
                <a:gd name="T10" fmla="*/ 5 w 187"/>
                <a:gd name="T11" fmla="*/ 158 h 286"/>
                <a:gd name="T12" fmla="*/ 0 w 187"/>
                <a:gd name="T13" fmla="*/ 163 h 286"/>
                <a:gd name="T14" fmla="*/ 10 w 187"/>
                <a:gd name="T15" fmla="*/ 170 h 286"/>
                <a:gd name="T16" fmla="*/ 19 w 187"/>
                <a:gd name="T17" fmla="*/ 179 h 286"/>
                <a:gd name="T18" fmla="*/ 26 w 187"/>
                <a:gd name="T19" fmla="*/ 179 h 286"/>
                <a:gd name="T20" fmla="*/ 31 w 187"/>
                <a:gd name="T21" fmla="*/ 186 h 286"/>
                <a:gd name="T22" fmla="*/ 22 w 187"/>
                <a:gd name="T23" fmla="*/ 191 h 286"/>
                <a:gd name="T24" fmla="*/ 24 w 187"/>
                <a:gd name="T25" fmla="*/ 203 h 286"/>
                <a:gd name="T26" fmla="*/ 26 w 187"/>
                <a:gd name="T27" fmla="*/ 215 h 286"/>
                <a:gd name="T28" fmla="*/ 26 w 187"/>
                <a:gd name="T29" fmla="*/ 224 h 286"/>
                <a:gd name="T30" fmla="*/ 33 w 187"/>
                <a:gd name="T31" fmla="*/ 238 h 286"/>
                <a:gd name="T32" fmla="*/ 33 w 187"/>
                <a:gd name="T33" fmla="*/ 243 h 286"/>
                <a:gd name="T34" fmla="*/ 17 w 187"/>
                <a:gd name="T35" fmla="*/ 241 h 286"/>
                <a:gd name="T36" fmla="*/ 12 w 187"/>
                <a:gd name="T37" fmla="*/ 245 h 286"/>
                <a:gd name="T38" fmla="*/ 17 w 187"/>
                <a:gd name="T39" fmla="*/ 257 h 286"/>
                <a:gd name="T40" fmla="*/ 26 w 187"/>
                <a:gd name="T41" fmla="*/ 262 h 286"/>
                <a:gd name="T42" fmla="*/ 33 w 187"/>
                <a:gd name="T43" fmla="*/ 274 h 286"/>
                <a:gd name="T44" fmla="*/ 36 w 187"/>
                <a:gd name="T45" fmla="*/ 286 h 286"/>
                <a:gd name="T46" fmla="*/ 38 w 187"/>
                <a:gd name="T47" fmla="*/ 286 h 286"/>
                <a:gd name="T48" fmla="*/ 45 w 187"/>
                <a:gd name="T49" fmla="*/ 286 h 286"/>
                <a:gd name="T50" fmla="*/ 55 w 187"/>
                <a:gd name="T51" fmla="*/ 283 h 286"/>
                <a:gd name="T52" fmla="*/ 57 w 187"/>
                <a:gd name="T53" fmla="*/ 279 h 286"/>
                <a:gd name="T54" fmla="*/ 59 w 187"/>
                <a:gd name="T55" fmla="*/ 281 h 286"/>
                <a:gd name="T56" fmla="*/ 64 w 187"/>
                <a:gd name="T57" fmla="*/ 283 h 286"/>
                <a:gd name="T58" fmla="*/ 69 w 187"/>
                <a:gd name="T59" fmla="*/ 281 h 286"/>
                <a:gd name="T60" fmla="*/ 78 w 187"/>
                <a:gd name="T61" fmla="*/ 276 h 286"/>
                <a:gd name="T62" fmla="*/ 85 w 187"/>
                <a:gd name="T63" fmla="*/ 276 h 286"/>
                <a:gd name="T64" fmla="*/ 95 w 187"/>
                <a:gd name="T65" fmla="*/ 274 h 286"/>
                <a:gd name="T66" fmla="*/ 97 w 187"/>
                <a:gd name="T67" fmla="*/ 271 h 286"/>
                <a:gd name="T68" fmla="*/ 102 w 187"/>
                <a:gd name="T69" fmla="*/ 267 h 286"/>
                <a:gd name="T70" fmla="*/ 97 w 187"/>
                <a:gd name="T71" fmla="*/ 262 h 286"/>
                <a:gd name="T72" fmla="*/ 102 w 187"/>
                <a:gd name="T73" fmla="*/ 260 h 286"/>
                <a:gd name="T74" fmla="*/ 114 w 187"/>
                <a:gd name="T75" fmla="*/ 257 h 286"/>
                <a:gd name="T76" fmla="*/ 121 w 187"/>
                <a:gd name="T77" fmla="*/ 257 h 286"/>
                <a:gd name="T78" fmla="*/ 126 w 187"/>
                <a:gd name="T79" fmla="*/ 255 h 286"/>
                <a:gd name="T80" fmla="*/ 133 w 187"/>
                <a:gd name="T81" fmla="*/ 250 h 286"/>
                <a:gd name="T82" fmla="*/ 140 w 187"/>
                <a:gd name="T83" fmla="*/ 241 h 286"/>
                <a:gd name="T84" fmla="*/ 145 w 187"/>
                <a:gd name="T85" fmla="*/ 236 h 286"/>
                <a:gd name="T86" fmla="*/ 149 w 187"/>
                <a:gd name="T87" fmla="*/ 229 h 286"/>
                <a:gd name="T88" fmla="*/ 159 w 187"/>
                <a:gd name="T89" fmla="*/ 224 h 286"/>
                <a:gd name="T90" fmla="*/ 168 w 187"/>
                <a:gd name="T91" fmla="*/ 222 h 286"/>
                <a:gd name="T92" fmla="*/ 166 w 187"/>
                <a:gd name="T93" fmla="*/ 215 h 286"/>
                <a:gd name="T94" fmla="*/ 159 w 187"/>
                <a:gd name="T95" fmla="*/ 203 h 286"/>
                <a:gd name="T96" fmla="*/ 152 w 187"/>
                <a:gd name="T97" fmla="*/ 194 h 286"/>
                <a:gd name="T98" fmla="*/ 149 w 187"/>
                <a:gd name="T99" fmla="*/ 189 h 286"/>
                <a:gd name="T100" fmla="*/ 154 w 187"/>
                <a:gd name="T101" fmla="*/ 182 h 286"/>
                <a:gd name="T102" fmla="*/ 154 w 187"/>
                <a:gd name="T103" fmla="*/ 172 h 286"/>
                <a:gd name="T104" fmla="*/ 159 w 187"/>
                <a:gd name="T105" fmla="*/ 168 h 286"/>
                <a:gd name="T106" fmla="*/ 163 w 187"/>
                <a:gd name="T107" fmla="*/ 156 h 286"/>
                <a:gd name="T108" fmla="*/ 168 w 187"/>
                <a:gd name="T109" fmla="*/ 144 h 286"/>
                <a:gd name="T110" fmla="*/ 173 w 187"/>
                <a:gd name="T111" fmla="*/ 139 h 286"/>
                <a:gd name="T112" fmla="*/ 187 w 187"/>
                <a:gd name="T113" fmla="*/ 139 h 286"/>
                <a:gd name="T114" fmla="*/ 187 w 187"/>
                <a:gd name="T115" fmla="*/ 90 h 286"/>
                <a:gd name="T116" fmla="*/ 170 w 187"/>
                <a:gd name="T117" fmla="*/ 64 h 286"/>
                <a:gd name="T118" fmla="*/ 126 w 187"/>
                <a:gd name="T119" fmla="*/ 40 h 286"/>
                <a:gd name="T120" fmla="*/ 81 w 187"/>
                <a:gd name="T121" fmla="*/ 16 h 286"/>
                <a:gd name="T122" fmla="*/ 48 w 187"/>
                <a:gd name="T123" fmla="*/ 0 h 286"/>
                <a:gd name="T124" fmla="*/ 29 w 187"/>
                <a:gd name="T125" fmla="*/ 3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286">
                  <a:moveTo>
                    <a:pt x="29" y="33"/>
                  </a:moveTo>
                  <a:lnTo>
                    <a:pt x="31" y="35"/>
                  </a:lnTo>
                  <a:lnTo>
                    <a:pt x="31" y="38"/>
                  </a:lnTo>
                  <a:lnTo>
                    <a:pt x="31" y="38"/>
                  </a:lnTo>
                  <a:lnTo>
                    <a:pt x="33" y="40"/>
                  </a:lnTo>
                  <a:lnTo>
                    <a:pt x="33" y="45"/>
                  </a:lnTo>
                  <a:lnTo>
                    <a:pt x="36" y="47"/>
                  </a:lnTo>
                  <a:lnTo>
                    <a:pt x="38" y="47"/>
                  </a:lnTo>
                  <a:lnTo>
                    <a:pt x="41" y="49"/>
                  </a:lnTo>
                  <a:lnTo>
                    <a:pt x="48" y="54"/>
                  </a:lnTo>
                  <a:lnTo>
                    <a:pt x="43" y="61"/>
                  </a:lnTo>
                  <a:lnTo>
                    <a:pt x="38" y="87"/>
                  </a:lnTo>
                  <a:lnTo>
                    <a:pt x="36" y="118"/>
                  </a:lnTo>
                  <a:lnTo>
                    <a:pt x="36" y="120"/>
                  </a:lnTo>
                  <a:lnTo>
                    <a:pt x="7" y="151"/>
                  </a:lnTo>
                  <a:lnTo>
                    <a:pt x="7" y="153"/>
                  </a:lnTo>
                  <a:lnTo>
                    <a:pt x="5" y="156"/>
                  </a:lnTo>
                  <a:lnTo>
                    <a:pt x="5" y="158"/>
                  </a:lnTo>
                  <a:lnTo>
                    <a:pt x="3" y="158"/>
                  </a:lnTo>
                  <a:lnTo>
                    <a:pt x="0" y="160"/>
                  </a:lnTo>
                  <a:lnTo>
                    <a:pt x="0" y="163"/>
                  </a:lnTo>
                  <a:lnTo>
                    <a:pt x="7" y="165"/>
                  </a:lnTo>
                  <a:lnTo>
                    <a:pt x="7" y="168"/>
                  </a:lnTo>
                  <a:lnTo>
                    <a:pt x="10" y="170"/>
                  </a:lnTo>
                  <a:lnTo>
                    <a:pt x="12" y="172"/>
                  </a:lnTo>
                  <a:lnTo>
                    <a:pt x="12" y="179"/>
                  </a:lnTo>
                  <a:lnTo>
                    <a:pt x="19" y="179"/>
                  </a:lnTo>
                  <a:lnTo>
                    <a:pt x="22" y="179"/>
                  </a:lnTo>
                  <a:lnTo>
                    <a:pt x="24" y="179"/>
                  </a:lnTo>
                  <a:lnTo>
                    <a:pt x="26" y="179"/>
                  </a:lnTo>
                  <a:lnTo>
                    <a:pt x="29" y="179"/>
                  </a:lnTo>
                  <a:lnTo>
                    <a:pt x="31" y="184"/>
                  </a:lnTo>
                  <a:lnTo>
                    <a:pt x="31" y="186"/>
                  </a:lnTo>
                  <a:lnTo>
                    <a:pt x="31" y="189"/>
                  </a:lnTo>
                  <a:lnTo>
                    <a:pt x="26" y="191"/>
                  </a:lnTo>
                  <a:lnTo>
                    <a:pt x="22" y="191"/>
                  </a:lnTo>
                  <a:lnTo>
                    <a:pt x="22" y="194"/>
                  </a:lnTo>
                  <a:lnTo>
                    <a:pt x="24" y="194"/>
                  </a:lnTo>
                  <a:lnTo>
                    <a:pt x="24" y="203"/>
                  </a:lnTo>
                  <a:lnTo>
                    <a:pt x="26" y="205"/>
                  </a:lnTo>
                  <a:lnTo>
                    <a:pt x="29" y="208"/>
                  </a:lnTo>
                  <a:lnTo>
                    <a:pt x="26" y="215"/>
                  </a:lnTo>
                  <a:lnTo>
                    <a:pt x="26" y="217"/>
                  </a:lnTo>
                  <a:lnTo>
                    <a:pt x="26" y="222"/>
                  </a:lnTo>
                  <a:lnTo>
                    <a:pt x="26" y="224"/>
                  </a:lnTo>
                  <a:lnTo>
                    <a:pt x="29" y="229"/>
                  </a:lnTo>
                  <a:lnTo>
                    <a:pt x="33" y="236"/>
                  </a:lnTo>
                  <a:lnTo>
                    <a:pt x="33" y="238"/>
                  </a:lnTo>
                  <a:lnTo>
                    <a:pt x="36" y="241"/>
                  </a:lnTo>
                  <a:lnTo>
                    <a:pt x="33" y="243"/>
                  </a:lnTo>
                  <a:lnTo>
                    <a:pt x="33" y="243"/>
                  </a:lnTo>
                  <a:lnTo>
                    <a:pt x="26" y="241"/>
                  </a:lnTo>
                  <a:lnTo>
                    <a:pt x="22" y="241"/>
                  </a:lnTo>
                  <a:lnTo>
                    <a:pt x="17" y="241"/>
                  </a:lnTo>
                  <a:lnTo>
                    <a:pt x="17" y="241"/>
                  </a:lnTo>
                  <a:lnTo>
                    <a:pt x="15" y="243"/>
                  </a:lnTo>
                  <a:lnTo>
                    <a:pt x="12" y="245"/>
                  </a:lnTo>
                  <a:lnTo>
                    <a:pt x="12" y="250"/>
                  </a:lnTo>
                  <a:lnTo>
                    <a:pt x="15" y="253"/>
                  </a:lnTo>
                  <a:lnTo>
                    <a:pt x="17" y="257"/>
                  </a:lnTo>
                  <a:lnTo>
                    <a:pt x="19" y="260"/>
                  </a:lnTo>
                  <a:lnTo>
                    <a:pt x="22" y="260"/>
                  </a:lnTo>
                  <a:lnTo>
                    <a:pt x="26" y="262"/>
                  </a:lnTo>
                  <a:lnTo>
                    <a:pt x="26" y="262"/>
                  </a:lnTo>
                  <a:lnTo>
                    <a:pt x="29" y="264"/>
                  </a:lnTo>
                  <a:lnTo>
                    <a:pt x="33" y="274"/>
                  </a:lnTo>
                  <a:lnTo>
                    <a:pt x="33" y="279"/>
                  </a:lnTo>
                  <a:lnTo>
                    <a:pt x="33" y="286"/>
                  </a:lnTo>
                  <a:lnTo>
                    <a:pt x="36" y="286"/>
                  </a:lnTo>
                  <a:lnTo>
                    <a:pt x="36" y="286"/>
                  </a:lnTo>
                  <a:lnTo>
                    <a:pt x="36" y="286"/>
                  </a:lnTo>
                  <a:lnTo>
                    <a:pt x="38" y="286"/>
                  </a:lnTo>
                  <a:lnTo>
                    <a:pt x="41" y="286"/>
                  </a:lnTo>
                  <a:lnTo>
                    <a:pt x="43" y="286"/>
                  </a:lnTo>
                  <a:lnTo>
                    <a:pt x="45" y="286"/>
                  </a:lnTo>
                  <a:lnTo>
                    <a:pt x="48" y="286"/>
                  </a:lnTo>
                  <a:lnTo>
                    <a:pt x="50" y="283"/>
                  </a:lnTo>
                  <a:lnTo>
                    <a:pt x="55" y="283"/>
                  </a:lnTo>
                  <a:lnTo>
                    <a:pt x="55" y="281"/>
                  </a:lnTo>
                  <a:lnTo>
                    <a:pt x="55" y="281"/>
                  </a:lnTo>
                  <a:lnTo>
                    <a:pt x="57" y="279"/>
                  </a:lnTo>
                  <a:lnTo>
                    <a:pt x="57" y="279"/>
                  </a:lnTo>
                  <a:lnTo>
                    <a:pt x="57" y="279"/>
                  </a:lnTo>
                  <a:lnTo>
                    <a:pt x="59" y="281"/>
                  </a:lnTo>
                  <a:lnTo>
                    <a:pt x="59" y="283"/>
                  </a:lnTo>
                  <a:lnTo>
                    <a:pt x="62" y="286"/>
                  </a:lnTo>
                  <a:lnTo>
                    <a:pt x="64" y="283"/>
                  </a:lnTo>
                  <a:lnTo>
                    <a:pt x="64" y="283"/>
                  </a:lnTo>
                  <a:lnTo>
                    <a:pt x="67" y="283"/>
                  </a:lnTo>
                  <a:lnTo>
                    <a:pt x="69" y="281"/>
                  </a:lnTo>
                  <a:lnTo>
                    <a:pt x="69" y="281"/>
                  </a:lnTo>
                  <a:lnTo>
                    <a:pt x="71" y="279"/>
                  </a:lnTo>
                  <a:lnTo>
                    <a:pt x="78" y="276"/>
                  </a:lnTo>
                  <a:lnTo>
                    <a:pt x="81" y="276"/>
                  </a:lnTo>
                  <a:lnTo>
                    <a:pt x="83" y="276"/>
                  </a:lnTo>
                  <a:lnTo>
                    <a:pt x="85" y="276"/>
                  </a:lnTo>
                  <a:lnTo>
                    <a:pt x="93" y="276"/>
                  </a:lnTo>
                  <a:lnTo>
                    <a:pt x="93" y="276"/>
                  </a:lnTo>
                  <a:lnTo>
                    <a:pt x="95" y="274"/>
                  </a:lnTo>
                  <a:lnTo>
                    <a:pt x="95" y="271"/>
                  </a:lnTo>
                  <a:lnTo>
                    <a:pt x="97" y="271"/>
                  </a:lnTo>
                  <a:lnTo>
                    <a:pt x="97" y="271"/>
                  </a:lnTo>
                  <a:lnTo>
                    <a:pt x="100" y="269"/>
                  </a:lnTo>
                  <a:lnTo>
                    <a:pt x="100" y="267"/>
                  </a:lnTo>
                  <a:lnTo>
                    <a:pt x="102" y="267"/>
                  </a:lnTo>
                  <a:lnTo>
                    <a:pt x="100" y="264"/>
                  </a:lnTo>
                  <a:lnTo>
                    <a:pt x="100" y="262"/>
                  </a:lnTo>
                  <a:lnTo>
                    <a:pt x="97" y="262"/>
                  </a:lnTo>
                  <a:lnTo>
                    <a:pt x="100" y="260"/>
                  </a:lnTo>
                  <a:lnTo>
                    <a:pt x="100" y="260"/>
                  </a:lnTo>
                  <a:lnTo>
                    <a:pt x="102" y="260"/>
                  </a:lnTo>
                  <a:lnTo>
                    <a:pt x="107" y="257"/>
                  </a:lnTo>
                  <a:lnTo>
                    <a:pt x="111" y="257"/>
                  </a:lnTo>
                  <a:lnTo>
                    <a:pt x="114" y="257"/>
                  </a:lnTo>
                  <a:lnTo>
                    <a:pt x="116" y="257"/>
                  </a:lnTo>
                  <a:lnTo>
                    <a:pt x="119" y="257"/>
                  </a:lnTo>
                  <a:lnTo>
                    <a:pt x="121" y="257"/>
                  </a:lnTo>
                  <a:lnTo>
                    <a:pt x="123" y="257"/>
                  </a:lnTo>
                  <a:lnTo>
                    <a:pt x="126" y="257"/>
                  </a:lnTo>
                  <a:lnTo>
                    <a:pt x="126" y="255"/>
                  </a:lnTo>
                  <a:lnTo>
                    <a:pt x="128" y="253"/>
                  </a:lnTo>
                  <a:lnTo>
                    <a:pt x="130" y="253"/>
                  </a:lnTo>
                  <a:lnTo>
                    <a:pt x="133" y="250"/>
                  </a:lnTo>
                  <a:lnTo>
                    <a:pt x="135" y="250"/>
                  </a:lnTo>
                  <a:lnTo>
                    <a:pt x="135" y="245"/>
                  </a:lnTo>
                  <a:lnTo>
                    <a:pt x="140" y="241"/>
                  </a:lnTo>
                  <a:lnTo>
                    <a:pt x="142" y="241"/>
                  </a:lnTo>
                  <a:lnTo>
                    <a:pt x="142" y="241"/>
                  </a:lnTo>
                  <a:lnTo>
                    <a:pt x="145" y="236"/>
                  </a:lnTo>
                  <a:lnTo>
                    <a:pt x="147" y="236"/>
                  </a:lnTo>
                  <a:lnTo>
                    <a:pt x="147" y="231"/>
                  </a:lnTo>
                  <a:lnTo>
                    <a:pt x="149" y="229"/>
                  </a:lnTo>
                  <a:lnTo>
                    <a:pt x="152" y="227"/>
                  </a:lnTo>
                  <a:lnTo>
                    <a:pt x="154" y="224"/>
                  </a:lnTo>
                  <a:lnTo>
                    <a:pt x="159" y="224"/>
                  </a:lnTo>
                  <a:lnTo>
                    <a:pt x="161" y="224"/>
                  </a:lnTo>
                  <a:lnTo>
                    <a:pt x="163" y="224"/>
                  </a:lnTo>
                  <a:lnTo>
                    <a:pt x="168" y="222"/>
                  </a:lnTo>
                  <a:lnTo>
                    <a:pt x="168" y="219"/>
                  </a:lnTo>
                  <a:lnTo>
                    <a:pt x="166" y="217"/>
                  </a:lnTo>
                  <a:lnTo>
                    <a:pt x="166" y="215"/>
                  </a:lnTo>
                  <a:lnTo>
                    <a:pt x="163" y="215"/>
                  </a:lnTo>
                  <a:lnTo>
                    <a:pt x="163" y="212"/>
                  </a:lnTo>
                  <a:lnTo>
                    <a:pt x="159" y="203"/>
                  </a:lnTo>
                  <a:lnTo>
                    <a:pt x="156" y="198"/>
                  </a:lnTo>
                  <a:lnTo>
                    <a:pt x="159" y="191"/>
                  </a:lnTo>
                  <a:lnTo>
                    <a:pt x="152" y="194"/>
                  </a:lnTo>
                  <a:lnTo>
                    <a:pt x="152" y="194"/>
                  </a:lnTo>
                  <a:lnTo>
                    <a:pt x="149" y="194"/>
                  </a:lnTo>
                  <a:lnTo>
                    <a:pt x="149" y="189"/>
                  </a:lnTo>
                  <a:lnTo>
                    <a:pt x="149" y="186"/>
                  </a:lnTo>
                  <a:lnTo>
                    <a:pt x="152" y="184"/>
                  </a:lnTo>
                  <a:lnTo>
                    <a:pt x="154" y="182"/>
                  </a:lnTo>
                  <a:lnTo>
                    <a:pt x="154" y="177"/>
                  </a:lnTo>
                  <a:lnTo>
                    <a:pt x="154" y="172"/>
                  </a:lnTo>
                  <a:lnTo>
                    <a:pt x="154" y="172"/>
                  </a:lnTo>
                  <a:lnTo>
                    <a:pt x="156" y="170"/>
                  </a:lnTo>
                  <a:lnTo>
                    <a:pt x="156" y="170"/>
                  </a:lnTo>
                  <a:lnTo>
                    <a:pt x="159" y="168"/>
                  </a:lnTo>
                  <a:lnTo>
                    <a:pt x="156" y="165"/>
                  </a:lnTo>
                  <a:lnTo>
                    <a:pt x="156" y="163"/>
                  </a:lnTo>
                  <a:lnTo>
                    <a:pt x="163" y="156"/>
                  </a:lnTo>
                  <a:lnTo>
                    <a:pt x="166" y="151"/>
                  </a:lnTo>
                  <a:lnTo>
                    <a:pt x="168" y="146"/>
                  </a:lnTo>
                  <a:lnTo>
                    <a:pt x="168" y="144"/>
                  </a:lnTo>
                  <a:lnTo>
                    <a:pt x="168" y="142"/>
                  </a:lnTo>
                  <a:lnTo>
                    <a:pt x="168" y="139"/>
                  </a:lnTo>
                  <a:lnTo>
                    <a:pt x="173" y="139"/>
                  </a:lnTo>
                  <a:lnTo>
                    <a:pt x="175" y="139"/>
                  </a:lnTo>
                  <a:lnTo>
                    <a:pt x="185" y="139"/>
                  </a:lnTo>
                  <a:lnTo>
                    <a:pt x="187" y="139"/>
                  </a:lnTo>
                  <a:lnTo>
                    <a:pt x="187" y="123"/>
                  </a:lnTo>
                  <a:lnTo>
                    <a:pt x="187" y="106"/>
                  </a:lnTo>
                  <a:lnTo>
                    <a:pt x="187" y="90"/>
                  </a:lnTo>
                  <a:lnTo>
                    <a:pt x="187" y="71"/>
                  </a:lnTo>
                  <a:lnTo>
                    <a:pt x="185" y="71"/>
                  </a:lnTo>
                  <a:lnTo>
                    <a:pt x="170" y="64"/>
                  </a:lnTo>
                  <a:lnTo>
                    <a:pt x="154" y="54"/>
                  </a:lnTo>
                  <a:lnTo>
                    <a:pt x="140" y="47"/>
                  </a:lnTo>
                  <a:lnTo>
                    <a:pt x="126" y="40"/>
                  </a:lnTo>
                  <a:lnTo>
                    <a:pt x="109" y="33"/>
                  </a:lnTo>
                  <a:lnTo>
                    <a:pt x="95" y="23"/>
                  </a:lnTo>
                  <a:lnTo>
                    <a:pt x="81" y="16"/>
                  </a:lnTo>
                  <a:lnTo>
                    <a:pt x="67" y="9"/>
                  </a:lnTo>
                  <a:lnTo>
                    <a:pt x="50" y="0"/>
                  </a:lnTo>
                  <a:lnTo>
                    <a:pt x="48" y="0"/>
                  </a:lnTo>
                  <a:lnTo>
                    <a:pt x="31" y="5"/>
                  </a:lnTo>
                  <a:lnTo>
                    <a:pt x="29" y="5"/>
                  </a:lnTo>
                  <a:lnTo>
                    <a:pt x="29" y="33"/>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6" name="Freeform 211">
              <a:extLst>
                <a:ext uri="{FF2B5EF4-FFF2-40B4-BE49-F238E27FC236}">
                  <a16:creationId xmlns:a16="http://schemas.microsoft.com/office/drawing/2014/main" id="{E5CAF6FE-A0A3-4BC3-A5FB-26C74027D325}"/>
                </a:ext>
              </a:extLst>
            </p:cNvPr>
            <p:cNvSpPr>
              <a:spLocks/>
            </p:cNvSpPr>
            <p:nvPr/>
          </p:nvSpPr>
          <p:spPr bwMode="auto">
            <a:xfrm>
              <a:off x="1848691" y="1781139"/>
              <a:ext cx="296862" cy="679451"/>
            </a:xfrm>
            <a:custGeom>
              <a:avLst/>
              <a:gdLst>
                <a:gd name="T0" fmla="*/ 14 w 187"/>
                <a:gd name="T1" fmla="*/ 66 h 428"/>
                <a:gd name="T2" fmla="*/ 50 w 187"/>
                <a:gd name="T3" fmla="*/ 104 h 428"/>
                <a:gd name="T4" fmla="*/ 50 w 187"/>
                <a:gd name="T5" fmla="*/ 121 h 428"/>
                <a:gd name="T6" fmla="*/ 50 w 187"/>
                <a:gd name="T7" fmla="*/ 140 h 428"/>
                <a:gd name="T8" fmla="*/ 57 w 187"/>
                <a:gd name="T9" fmla="*/ 166 h 428"/>
                <a:gd name="T10" fmla="*/ 59 w 187"/>
                <a:gd name="T11" fmla="*/ 194 h 428"/>
                <a:gd name="T12" fmla="*/ 66 w 187"/>
                <a:gd name="T13" fmla="*/ 201 h 428"/>
                <a:gd name="T14" fmla="*/ 76 w 187"/>
                <a:gd name="T15" fmla="*/ 208 h 428"/>
                <a:gd name="T16" fmla="*/ 85 w 187"/>
                <a:gd name="T17" fmla="*/ 234 h 428"/>
                <a:gd name="T18" fmla="*/ 78 w 187"/>
                <a:gd name="T19" fmla="*/ 239 h 428"/>
                <a:gd name="T20" fmla="*/ 64 w 187"/>
                <a:gd name="T21" fmla="*/ 255 h 428"/>
                <a:gd name="T22" fmla="*/ 35 w 187"/>
                <a:gd name="T23" fmla="*/ 293 h 428"/>
                <a:gd name="T24" fmla="*/ 28 w 187"/>
                <a:gd name="T25" fmla="*/ 303 h 428"/>
                <a:gd name="T26" fmla="*/ 19 w 187"/>
                <a:gd name="T27" fmla="*/ 310 h 428"/>
                <a:gd name="T28" fmla="*/ 12 w 187"/>
                <a:gd name="T29" fmla="*/ 317 h 428"/>
                <a:gd name="T30" fmla="*/ 5 w 187"/>
                <a:gd name="T31" fmla="*/ 326 h 428"/>
                <a:gd name="T32" fmla="*/ 9 w 187"/>
                <a:gd name="T33" fmla="*/ 340 h 428"/>
                <a:gd name="T34" fmla="*/ 12 w 187"/>
                <a:gd name="T35" fmla="*/ 357 h 428"/>
                <a:gd name="T36" fmla="*/ 17 w 187"/>
                <a:gd name="T37" fmla="*/ 369 h 428"/>
                <a:gd name="T38" fmla="*/ 12 w 187"/>
                <a:gd name="T39" fmla="*/ 369 h 428"/>
                <a:gd name="T40" fmla="*/ 12 w 187"/>
                <a:gd name="T41" fmla="*/ 383 h 428"/>
                <a:gd name="T42" fmla="*/ 12 w 187"/>
                <a:gd name="T43" fmla="*/ 390 h 428"/>
                <a:gd name="T44" fmla="*/ 12 w 187"/>
                <a:gd name="T45" fmla="*/ 397 h 428"/>
                <a:gd name="T46" fmla="*/ 19 w 187"/>
                <a:gd name="T47" fmla="*/ 402 h 428"/>
                <a:gd name="T48" fmla="*/ 31 w 187"/>
                <a:gd name="T49" fmla="*/ 409 h 428"/>
                <a:gd name="T50" fmla="*/ 38 w 187"/>
                <a:gd name="T51" fmla="*/ 411 h 428"/>
                <a:gd name="T52" fmla="*/ 42 w 187"/>
                <a:gd name="T53" fmla="*/ 423 h 428"/>
                <a:gd name="T54" fmla="*/ 42 w 187"/>
                <a:gd name="T55" fmla="*/ 425 h 428"/>
                <a:gd name="T56" fmla="*/ 50 w 187"/>
                <a:gd name="T57" fmla="*/ 423 h 428"/>
                <a:gd name="T58" fmla="*/ 61 w 187"/>
                <a:gd name="T59" fmla="*/ 421 h 428"/>
                <a:gd name="T60" fmla="*/ 71 w 187"/>
                <a:gd name="T61" fmla="*/ 414 h 428"/>
                <a:gd name="T62" fmla="*/ 85 w 187"/>
                <a:gd name="T63" fmla="*/ 406 h 428"/>
                <a:gd name="T64" fmla="*/ 92 w 187"/>
                <a:gd name="T65" fmla="*/ 406 h 428"/>
                <a:gd name="T66" fmla="*/ 104 w 187"/>
                <a:gd name="T67" fmla="*/ 404 h 428"/>
                <a:gd name="T68" fmla="*/ 118 w 187"/>
                <a:gd name="T69" fmla="*/ 404 h 428"/>
                <a:gd name="T70" fmla="*/ 132 w 187"/>
                <a:gd name="T71" fmla="*/ 392 h 428"/>
                <a:gd name="T72" fmla="*/ 182 w 187"/>
                <a:gd name="T73" fmla="*/ 336 h 428"/>
                <a:gd name="T74" fmla="*/ 182 w 187"/>
                <a:gd name="T75" fmla="*/ 307 h 428"/>
                <a:gd name="T76" fmla="*/ 168 w 187"/>
                <a:gd name="T77" fmla="*/ 284 h 428"/>
                <a:gd name="T78" fmla="*/ 172 w 187"/>
                <a:gd name="T79" fmla="*/ 262 h 428"/>
                <a:gd name="T80" fmla="*/ 163 w 187"/>
                <a:gd name="T81" fmla="*/ 241 h 428"/>
                <a:gd name="T82" fmla="*/ 161 w 187"/>
                <a:gd name="T83" fmla="*/ 225 h 428"/>
                <a:gd name="T84" fmla="*/ 165 w 187"/>
                <a:gd name="T85" fmla="*/ 203 h 428"/>
                <a:gd name="T86" fmla="*/ 156 w 187"/>
                <a:gd name="T87" fmla="*/ 175 h 428"/>
                <a:gd name="T88" fmla="*/ 149 w 187"/>
                <a:gd name="T89" fmla="*/ 151 h 428"/>
                <a:gd name="T90" fmla="*/ 163 w 187"/>
                <a:gd name="T91" fmla="*/ 114 h 428"/>
                <a:gd name="T92" fmla="*/ 144 w 187"/>
                <a:gd name="T93" fmla="*/ 95 h 428"/>
                <a:gd name="T94" fmla="*/ 137 w 187"/>
                <a:gd name="T95" fmla="*/ 76 h 428"/>
                <a:gd name="T96" fmla="*/ 137 w 187"/>
                <a:gd name="T97" fmla="*/ 59 h 428"/>
                <a:gd name="T98" fmla="*/ 144 w 187"/>
                <a:gd name="T99" fmla="*/ 40 h 428"/>
                <a:gd name="T100" fmla="*/ 142 w 187"/>
                <a:gd name="T101" fmla="*/ 14 h 428"/>
                <a:gd name="T102" fmla="*/ 130 w 187"/>
                <a:gd name="T103" fmla="*/ 0 h 428"/>
                <a:gd name="T104" fmla="*/ 97 w 187"/>
                <a:gd name="T105" fmla="*/ 12 h 428"/>
                <a:gd name="T106" fmla="*/ 90 w 187"/>
                <a:gd name="T107" fmla="*/ 43 h 428"/>
                <a:gd name="T108" fmla="*/ 78 w 187"/>
                <a:gd name="T109" fmla="*/ 64 h 428"/>
                <a:gd name="T110" fmla="*/ 64 w 187"/>
                <a:gd name="T111" fmla="*/ 66 h 428"/>
                <a:gd name="T112" fmla="*/ 50 w 187"/>
                <a:gd name="T113" fmla="*/ 69 h 428"/>
                <a:gd name="T114" fmla="*/ 31 w 187"/>
                <a:gd name="T115" fmla="*/ 64 h 428"/>
                <a:gd name="T116" fmla="*/ 12 w 187"/>
                <a:gd name="T117" fmla="*/ 38 h 428"/>
                <a:gd name="T118" fmla="*/ 5 w 187"/>
                <a:gd name="T119" fmla="*/ 5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428">
                  <a:moveTo>
                    <a:pt x="0" y="52"/>
                  </a:moveTo>
                  <a:lnTo>
                    <a:pt x="0" y="52"/>
                  </a:lnTo>
                  <a:lnTo>
                    <a:pt x="0" y="52"/>
                  </a:lnTo>
                  <a:lnTo>
                    <a:pt x="14" y="66"/>
                  </a:lnTo>
                  <a:lnTo>
                    <a:pt x="24" y="76"/>
                  </a:lnTo>
                  <a:lnTo>
                    <a:pt x="35" y="80"/>
                  </a:lnTo>
                  <a:lnTo>
                    <a:pt x="40" y="85"/>
                  </a:lnTo>
                  <a:lnTo>
                    <a:pt x="50" y="104"/>
                  </a:lnTo>
                  <a:lnTo>
                    <a:pt x="52" y="106"/>
                  </a:lnTo>
                  <a:lnTo>
                    <a:pt x="50" y="109"/>
                  </a:lnTo>
                  <a:lnTo>
                    <a:pt x="50" y="116"/>
                  </a:lnTo>
                  <a:lnTo>
                    <a:pt x="50" y="121"/>
                  </a:lnTo>
                  <a:lnTo>
                    <a:pt x="50" y="125"/>
                  </a:lnTo>
                  <a:lnTo>
                    <a:pt x="52" y="128"/>
                  </a:lnTo>
                  <a:lnTo>
                    <a:pt x="52" y="132"/>
                  </a:lnTo>
                  <a:lnTo>
                    <a:pt x="50" y="140"/>
                  </a:lnTo>
                  <a:lnTo>
                    <a:pt x="50" y="144"/>
                  </a:lnTo>
                  <a:lnTo>
                    <a:pt x="57" y="158"/>
                  </a:lnTo>
                  <a:lnTo>
                    <a:pt x="57" y="163"/>
                  </a:lnTo>
                  <a:lnTo>
                    <a:pt x="57" y="166"/>
                  </a:lnTo>
                  <a:lnTo>
                    <a:pt x="54" y="170"/>
                  </a:lnTo>
                  <a:lnTo>
                    <a:pt x="52" y="177"/>
                  </a:lnTo>
                  <a:lnTo>
                    <a:pt x="54" y="182"/>
                  </a:lnTo>
                  <a:lnTo>
                    <a:pt x="59" y="194"/>
                  </a:lnTo>
                  <a:lnTo>
                    <a:pt x="61" y="196"/>
                  </a:lnTo>
                  <a:lnTo>
                    <a:pt x="64" y="196"/>
                  </a:lnTo>
                  <a:lnTo>
                    <a:pt x="64" y="199"/>
                  </a:lnTo>
                  <a:lnTo>
                    <a:pt x="66" y="201"/>
                  </a:lnTo>
                  <a:lnTo>
                    <a:pt x="68" y="199"/>
                  </a:lnTo>
                  <a:lnTo>
                    <a:pt x="68" y="199"/>
                  </a:lnTo>
                  <a:lnTo>
                    <a:pt x="71" y="203"/>
                  </a:lnTo>
                  <a:lnTo>
                    <a:pt x="76" y="208"/>
                  </a:lnTo>
                  <a:lnTo>
                    <a:pt x="80" y="215"/>
                  </a:lnTo>
                  <a:lnTo>
                    <a:pt x="83" y="220"/>
                  </a:lnTo>
                  <a:lnTo>
                    <a:pt x="80" y="229"/>
                  </a:lnTo>
                  <a:lnTo>
                    <a:pt x="85" y="234"/>
                  </a:lnTo>
                  <a:lnTo>
                    <a:pt x="83" y="234"/>
                  </a:lnTo>
                  <a:lnTo>
                    <a:pt x="80" y="236"/>
                  </a:lnTo>
                  <a:lnTo>
                    <a:pt x="83" y="239"/>
                  </a:lnTo>
                  <a:lnTo>
                    <a:pt x="78" y="239"/>
                  </a:lnTo>
                  <a:lnTo>
                    <a:pt x="76" y="239"/>
                  </a:lnTo>
                  <a:lnTo>
                    <a:pt x="71" y="241"/>
                  </a:lnTo>
                  <a:lnTo>
                    <a:pt x="66" y="251"/>
                  </a:lnTo>
                  <a:lnTo>
                    <a:pt x="64" y="255"/>
                  </a:lnTo>
                  <a:lnTo>
                    <a:pt x="57" y="265"/>
                  </a:lnTo>
                  <a:lnTo>
                    <a:pt x="50" y="274"/>
                  </a:lnTo>
                  <a:lnTo>
                    <a:pt x="42" y="281"/>
                  </a:lnTo>
                  <a:lnTo>
                    <a:pt x="35" y="293"/>
                  </a:lnTo>
                  <a:lnTo>
                    <a:pt x="33" y="295"/>
                  </a:lnTo>
                  <a:lnTo>
                    <a:pt x="31" y="298"/>
                  </a:lnTo>
                  <a:lnTo>
                    <a:pt x="31" y="300"/>
                  </a:lnTo>
                  <a:lnTo>
                    <a:pt x="28" y="303"/>
                  </a:lnTo>
                  <a:lnTo>
                    <a:pt x="21" y="305"/>
                  </a:lnTo>
                  <a:lnTo>
                    <a:pt x="19" y="303"/>
                  </a:lnTo>
                  <a:lnTo>
                    <a:pt x="17" y="307"/>
                  </a:lnTo>
                  <a:lnTo>
                    <a:pt x="19" y="310"/>
                  </a:lnTo>
                  <a:lnTo>
                    <a:pt x="17" y="312"/>
                  </a:lnTo>
                  <a:lnTo>
                    <a:pt x="12" y="312"/>
                  </a:lnTo>
                  <a:lnTo>
                    <a:pt x="12" y="314"/>
                  </a:lnTo>
                  <a:lnTo>
                    <a:pt x="12" y="317"/>
                  </a:lnTo>
                  <a:lnTo>
                    <a:pt x="9" y="317"/>
                  </a:lnTo>
                  <a:lnTo>
                    <a:pt x="9" y="317"/>
                  </a:lnTo>
                  <a:lnTo>
                    <a:pt x="7" y="319"/>
                  </a:lnTo>
                  <a:lnTo>
                    <a:pt x="5" y="326"/>
                  </a:lnTo>
                  <a:lnTo>
                    <a:pt x="7" y="331"/>
                  </a:lnTo>
                  <a:lnTo>
                    <a:pt x="7" y="333"/>
                  </a:lnTo>
                  <a:lnTo>
                    <a:pt x="9" y="336"/>
                  </a:lnTo>
                  <a:lnTo>
                    <a:pt x="9" y="340"/>
                  </a:lnTo>
                  <a:lnTo>
                    <a:pt x="9" y="347"/>
                  </a:lnTo>
                  <a:lnTo>
                    <a:pt x="9" y="352"/>
                  </a:lnTo>
                  <a:lnTo>
                    <a:pt x="12" y="354"/>
                  </a:lnTo>
                  <a:lnTo>
                    <a:pt x="12" y="357"/>
                  </a:lnTo>
                  <a:lnTo>
                    <a:pt x="14" y="362"/>
                  </a:lnTo>
                  <a:lnTo>
                    <a:pt x="14" y="364"/>
                  </a:lnTo>
                  <a:lnTo>
                    <a:pt x="17" y="366"/>
                  </a:lnTo>
                  <a:lnTo>
                    <a:pt x="17" y="369"/>
                  </a:lnTo>
                  <a:lnTo>
                    <a:pt x="14" y="366"/>
                  </a:lnTo>
                  <a:lnTo>
                    <a:pt x="14" y="366"/>
                  </a:lnTo>
                  <a:lnTo>
                    <a:pt x="12" y="369"/>
                  </a:lnTo>
                  <a:lnTo>
                    <a:pt x="12" y="369"/>
                  </a:lnTo>
                  <a:lnTo>
                    <a:pt x="12" y="371"/>
                  </a:lnTo>
                  <a:lnTo>
                    <a:pt x="12" y="373"/>
                  </a:lnTo>
                  <a:lnTo>
                    <a:pt x="12" y="378"/>
                  </a:lnTo>
                  <a:lnTo>
                    <a:pt x="12" y="383"/>
                  </a:lnTo>
                  <a:lnTo>
                    <a:pt x="9" y="383"/>
                  </a:lnTo>
                  <a:lnTo>
                    <a:pt x="9" y="388"/>
                  </a:lnTo>
                  <a:lnTo>
                    <a:pt x="9" y="388"/>
                  </a:lnTo>
                  <a:lnTo>
                    <a:pt x="12" y="390"/>
                  </a:lnTo>
                  <a:lnTo>
                    <a:pt x="9" y="392"/>
                  </a:lnTo>
                  <a:lnTo>
                    <a:pt x="12" y="395"/>
                  </a:lnTo>
                  <a:lnTo>
                    <a:pt x="12" y="395"/>
                  </a:lnTo>
                  <a:lnTo>
                    <a:pt x="12" y="397"/>
                  </a:lnTo>
                  <a:lnTo>
                    <a:pt x="12" y="397"/>
                  </a:lnTo>
                  <a:lnTo>
                    <a:pt x="12" y="399"/>
                  </a:lnTo>
                  <a:lnTo>
                    <a:pt x="17" y="399"/>
                  </a:lnTo>
                  <a:lnTo>
                    <a:pt x="19" y="402"/>
                  </a:lnTo>
                  <a:lnTo>
                    <a:pt x="21" y="404"/>
                  </a:lnTo>
                  <a:lnTo>
                    <a:pt x="24" y="404"/>
                  </a:lnTo>
                  <a:lnTo>
                    <a:pt x="31" y="406"/>
                  </a:lnTo>
                  <a:lnTo>
                    <a:pt x="31" y="409"/>
                  </a:lnTo>
                  <a:lnTo>
                    <a:pt x="31" y="411"/>
                  </a:lnTo>
                  <a:lnTo>
                    <a:pt x="33" y="411"/>
                  </a:lnTo>
                  <a:lnTo>
                    <a:pt x="38" y="409"/>
                  </a:lnTo>
                  <a:lnTo>
                    <a:pt x="38" y="411"/>
                  </a:lnTo>
                  <a:lnTo>
                    <a:pt x="38" y="414"/>
                  </a:lnTo>
                  <a:lnTo>
                    <a:pt x="40" y="418"/>
                  </a:lnTo>
                  <a:lnTo>
                    <a:pt x="40" y="421"/>
                  </a:lnTo>
                  <a:lnTo>
                    <a:pt x="42" y="423"/>
                  </a:lnTo>
                  <a:lnTo>
                    <a:pt x="42" y="425"/>
                  </a:lnTo>
                  <a:lnTo>
                    <a:pt x="38" y="428"/>
                  </a:lnTo>
                  <a:lnTo>
                    <a:pt x="40" y="428"/>
                  </a:lnTo>
                  <a:lnTo>
                    <a:pt x="42" y="425"/>
                  </a:lnTo>
                  <a:lnTo>
                    <a:pt x="47" y="418"/>
                  </a:lnTo>
                  <a:lnTo>
                    <a:pt x="47" y="421"/>
                  </a:lnTo>
                  <a:lnTo>
                    <a:pt x="47" y="423"/>
                  </a:lnTo>
                  <a:lnTo>
                    <a:pt x="50" y="423"/>
                  </a:lnTo>
                  <a:lnTo>
                    <a:pt x="57" y="418"/>
                  </a:lnTo>
                  <a:lnTo>
                    <a:pt x="59" y="418"/>
                  </a:lnTo>
                  <a:lnTo>
                    <a:pt x="61" y="418"/>
                  </a:lnTo>
                  <a:lnTo>
                    <a:pt x="61" y="421"/>
                  </a:lnTo>
                  <a:lnTo>
                    <a:pt x="64" y="421"/>
                  </a:lnTo>
                  <a:lnTo>
                    <a:pt x="66" y="416"/>
                  </a:lnTo>
                  <a:lnTo>
                    <a:pt x="68" y="414"/>
                  </a:lnTo>
                  <a:lnTo>
                    <a:pt x="71" y="414"/>
                  </a:lnTo>
                  <a:lnTo>
                    <a:pt x="73" y="416"/>
                  </a:lnTo>
                  <a:lnTo>
                    <a:pt x="78" y="411"/>
                  </a:lnTo>
                  <a:lnTo>
                    <a:pt x="83" y="411"/>
                  </a:lnTo>
                  <a:lnTo>
                    <a:pt x="85" y="406"/>
                  </a:lnTo>
                  <a:lnTo>
                    <a:pt x="85" y="411"/>
                  </a:lnTo>
                  <a:lnTo>
                    <a:pt x="92" y="409"/>
                  </a:lnTo>
                  <a:lnTo>
                    <a:pt x="90" y="404"/>
                  </a:lnTo>
                  <a:lnTo>
                    <a:pt x="92" y="406"/>
                  </a:lnTo>
                  <a:lnTo>
                    <a:pt x="94" y="406"/>
                  </a:lnTo>
                  <a:lnTo>
                    <a:pt x="97" y="406"/>
                  </a:lnTo>
                  <a:lnTo>
                    <a:pt x="97" y="404"/>
                  </a:lnTo>
                  <a:lnTo>
                    <a:pt x="104" y="404"/>
                  </a:lnTo>
                  <a:lnTo>
                    <a:pt x="106" y="402"/>
                  </a:lnTo>
                  <a:lnTo>
                    <a:pt x="111" y="402"/>
                  </a:lnTo>
                  <a:lnTo>
                    <a:pt x="113" y="404"/>
                  </a:lnTo>
                  <a:lnTo>
                    <a:pt x="118" y="404"/>
                  </a:lnTo>
                  <a:lnTo>
                    <a:pt x="120" y="402"/>
                  </a:lnTo>
                  <a:lnTo>
                    <a:pt x="120" y="402"/>
                  </a:lnTo>
                  <a:lnTo>
                    <a:pt x="123" y="402"/>
                  </a:lnTo>
                  <a:lnTo>
                    <a:pt x="132" y="392"/>
                  </a:lnTo>
                  <a:lnTo>
                    <a:pt x="149" y="378"/>
                  </a:lnTo>
                  <a:lnTo>
                    <a:pt x="161" y="364"/>
                  </a:lnTo>
                  <a:lnTo>
                    <a:pt x="177" y="340"/>
                  </a:lnTo>
                  <a:lnTo>
                    <a:pt x="182" y="336"/>
                  </a:lnTo>
                  <a:lnTo>
                    <a:pt x="187" y="324"/>
                  </a:lnTo>
                  <a:lnTo>
                    <a:pt x="187" y="312"/>
                  </a:lnTo>
                  <a:lnTo>
                    <a:pt x="187" y="312"/>
                  </a:lnTo>
                  <a:lnTo>
                    <a:pt x="182" y="307"/>
                  </a:lnTo>
                  <a:lnTo>
                    <a:pt x="182" y="303"/>
                  </a:lnTo>
                  <a:lnTo>
                    <a:pt x="172" y="295"/>
                  </a:lnTo>
                  <a:lnTo>
                    <a:pt x="170" y="291"/>
                  </a:lnTo>
                  <a:lnTo>
                    <a:pt x="168" y="284"/>
                  </a:lnTo>
                  <a:lnTo>
                    <a:pt x="168" y="279"/>
                  </a:lnTo>
                  <a:lnTo>
                    <a:pt x="172" y="274"/>
                  </a:lnTo>
                  <a:lnTo>
                    <a:pt x="175" y="269"/>
                  </a:lnTo>
                  <a:lnTo>
                    <a:pt x="172" y="262"/>
                  </a:lnTo>
                  <a:lnTo>
                    <a:pt x="168" y="258"/>
                  </a:lnTo>
                  <a:lnTo>
                    <a:pt x="165" y="253"/>
                  </a:lnTo>
                  <a:lnTo>
                    <a:pt x="168" y="246"/>
                  </a:lnTo>
                  <a:lnTo>
                    <a:pt x="163" y="241"/>
                  </a:lnTo>
                  <a:lnTo>
                    <a:pt x="158" y="239"/>
                  </a:lnTo>
                  <a:lnTo>
                    <a:pt x="158" y="234"/>
                  </a:lnTo>
                  <a:lnTo>
                    <a:pt x="161" y="229"/>
                  </a:lnTo>
                  <a:lnTo>
                    <a:pt x="161" y="225"/>
                  </a:lnTo>
                  <a:lnTo>
                    <a:pt x="158" y="220"/>
                  </a:lnTo>
                  <a:lnTo>
                    <a:pt x="161" y="215"/>
                  </a:lnTo>
                  <a:lnTo>
                    <a:pt x="161" y="208"/>
                  </a:lnTo>
                  <a:lnTo>
                    <a:pt x="165" y="203"/>
                  </a:lnTo>
                  <a:lnTo>
                    <a:pt x="165" y="199"/>
                  </a:lnTo>
                  <a:lnTo>
                    <a:pt x="165" y="194"/>
                  </a:lnTo>
                  <a:lnTo>
                    <a:pt x="161" y="182"/>
                  </a:lnTo>
                  <a:lnTo>
                    <a:pt x="156" y="175"/>
                  </a:lnTo>
                  <a:lnTo>
                    <a:pt x="156" y="168"/>
                  </a:lnTo>
                  <a:lnTo>
                    <a:pt x="154" y="163"/>
                  </a:lnTo>
                  <a:lnTo>
                    <a:pt x="151" y="156"/>
                  </a:lnTo>
                  <a:lnTo>
                    <a:pt x="149" y="151"/>
                  </a:lnTo>
                  <a:lnTo>
                    <a:pt x="151" y="147"/>
                  </a:lnTo>
                  <a:lnTo>
                    <a:pt x="158" y="132"/>
                  </a:lnTo>
                  <a:lnTo>
                    <a:pt x="163" y="121"/>
                  </a:lnTo>
                  <a:lnTo>
                    <a:pt x="163" y="114"/>
                  </a:lnTo>
                  <a:lnTo>
                    <a:pt x="158" y="109"/>
                  </a:lnTo>
                  <a:lnTo>
                    <a:pt x="154" y="97"/>
                  </a:lnTo>
                  <a:lnTo>
                    <a:pt x="149" y="95"/>
                  </a:lnTo>
                  <a:lnTo>
                    <a:pt x="144" y="95"/>
                  </a:lnTo>
                  <a:lnTo>
                    <a:pt x="142" y="92"/>
                  </a:lnTo>
                  <a:lnTo>
                    <a:pt x="139" y="90"/>
                  </a:lnTo>
                  <a:lnTo>
                    <a:pt x="137" y="83"/>
                  </a:lnTo>
                  <a:lnTo>
                    <a:pt x="137" y="76"/>
                  </a:lnTo>
                  <a:lnTo>
                    <a:pt x="137" y="71"/>
                  </a:lnTo>
                  <a:lnTo>
                    <a:pt x="142" y="64"/>
                  </a:lnTo>
                  <a:lnTo>
                    <a:pt x="142" y="62"/>
                  </a:lnTo>
                  <a:lnTo>
                    <a:pt x="137" y="59"/>
                  </a:lnTo>
                  <a:lnTo>
                    <a:pt x="146" y="52"/>
                  </a:lnTo>
                  <a:lnTo>
                    <a:pt x="144" y="50"/>
                  </a:lnTo>
                  <a:lnTo>
                    <a:pt x="144" y="45"/>
                  </a:lnTo>
                  <a:lnTo>
                    <a:pt x="144" y="40"/>
                  </a:lnTo>
                  <a:lnTo>
                    <a:pt x="151" y="33"/>
                  </a:lnTo>
                  <a:lnTo>
                    <a:pt x="151" y="29"/>
                  </a:lnTo>
                  <a:lnTo>
                    <a:pt x="149" y="19"/>
                  </a:lnTo>
                  <a:lnTo>
                    <a:pt x="142" y="14"/>
                  </a:lnTo>
                  <a:lnTo>
                    <a:pt x="137" y="12"/>
                  </a:lnTo>
                  <a:lnTo>
                    <a:pt x="135" y="10"/>
                  </a:lnTo>
                  <a:lnTo>
                    <a:pt x="130" y="3"/>
                  </a:lnTo>
                  <a:lnTo>
                    <a:pt x="130" y="0"/>
                  </a:lnTo>
                  <a:lnTo>
                    <a:pt x="120" y="3"/>
                  </a:lnTo>
                  <a:lnTo>
                    <a:pt x="109" y="7"/>
                  </a:lnTo>
                  <a:lnTo>
                    <a:pt x="102" y="10"/>
                  </a:lnTo>
                  <a:lnTo>
                    <a:pt x="97" y="12"/>
                  </a:lnTo>
                  <a:lnTo>
                    <a:pt x="94" y="14"/>
                  </a:lnTo>
                  <a:lnTo>
                    <a:pt x="90" y="26"/>
                  </a:lnTo>
                  <a:lnTo>
                    <a:pt x="90" y="38"/>
                  </a:lnTo>
                  <a:lnTo>
                    <a:pt x="90" y="43"/>
                  </a:lnTo>
                  <a:lnTo>
                    <a:pt x="90" y="50"/>
                  </a:lnTo>
                  <a:lnTo>
                    <a:pt x="90" y="55"/>
                  </a:lnTo>
                  <a:lnTo>
                    <a:pt x="80" y="62"/>
                  </a:lnTo>
                  <a:lnTo>
                    <a:pt x="78" y="64"/>
                  </a:lnTo>
                  <a:lnTo>
                    <a:pt x="73" y="69"/>
                  </a:lnTo>
                  <a:lnTo>
                    <a:pt x="68" y="71"/>
                  </a:lnTo>
                  <a:lnTo>
                    <a:pt x="66" y="69"/>
                  </a:lnTo>
                  <a:lnTo>
                    <a:pt x="64" y="66"/>
                  </a:lnTo>
                  <a:lnTo>
                    <a:pt x="61" y="62"/>
                  </a:lnTo>
                  <a:lnTo>
                    <a:pt x="59" y="62"/>
                  </a:lnTo>
                  <a:lnTo>
                    <a:pt x="52" y="66"/>
                  </a:lnTo>
                  <a:lnTo>
                    <a:pt x="50" y="69"/>
                  </a:lnTo>
                  <a:lnTo>
                    <a:pt x="45" y="71"/>
                  </a:lnTo>
                  <a:lnTo>
                    <a:pt x="40" y="66"/>
                  </a:lnTo>
                  <a:lnTo>
                    <a:pt x="31" y="66"/>
                  </a:lnTo>
                  <a:lnTo>
                    <a:pt x="31" y="64"/>
                  </a:lnTo>
                  <a:lnTo>
                    <a:pt x="28" y="57"/>
                  </a:lnTo>
                  <a:lnTo>
                    <a:pt x="19" y="43"/>
                  </a:lnTo>
                  <a:lnTo>
                    <a:pt x="14" y="40"/>
                  </a:lnTo>
                  <a:lnTo>
                    <a:pt x="12" y="38"/>
                  </a:lnTo>
                  <a:lnTo>
                    <a:pt x="7" y="40"/>
                  </a:lnTo>
                  <a:lnTo>
                    <a:pt x="7" y="45"/>
                  </a:lnTo>
                  <a:lnTo>
                    <a:pt x="7" y="47"/>
                  </a:lnTo>
                  <a:lnTo>
                    <a:pt x="5" y="50"/>
                  </a:lnTo>
                  <a:lnTo>
                    <a:pt x="2" y="47"/>
                  </a:lnTo>
                  <a:lnTo>
                    <a:pt x="0" y="47"/>
                  </a:lnTo>
                  <a:lnTo>
                    <a:pt x="0" y="52"/>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7" name="Freeform 212">
              <a:extLst>
                <a:ext uri="{FF2B5EF4-FFF2-40B4-BE49-F238E27FC236}">
                  <a16:creationId xmlns:a16="http://schemas.microsoft.com/office/drawing/2014/main" id="{FCC4AF52-16FD-4D6E-A2F0-DF8761AD7C4B}"/>
                </a:ext>
              </a:extLst>
            </p:cNvPr>
            <p:cNvSpPr>
              <a:spLocks/>
            </p:cNvSpPr>
            <p:nvPr/>
          </p:nvSpPr>
          <p:spPr bwMode="auto">
            <a:xfrm>
              <a:off x="1848691" y="1781139"/>
              <a:ext cx="296862" cy="679451"/>
            </a:xfrm>
            <a:custGeom>
              <a:avLst/>
              <a:gdLst>
                <a:gd name="T0" fmla="*/ 14 w 187"/>
                <a:gd name="T1" fmla="*/ 66 h 428"/>
                <a:gd name="T2" fmla="*/ 50 w 187"/>
                <a:gd name="T3" fmla="*/ 104 h 428"/>
                <a:gd name="T4" fmla="*/ 50 w 187"/>
                <a:gd name="T5" fmla="*/ 121 h 428"/>
                <a:gd name="T6" fmla="*/ 50 w 187"/>
                <a:gd name="T7" fmla="*/ 140 h 428"/>
                <a:gd name="T8" fmla="*/ 57 w 187"/>
                <a:gd name="T9" fmla="*/ 166 h 428"/>
                <a:gd name="T10" fmla="*/ 59 w 187"/>
                <a:gd name="T11" fmla="*/ 194 h 428"/>
                <a:gd name="T12" fmla="*/ 66 w 187"/>
                <a:gd name="T13" fmla="*/ 201 h 428"/>
                <a:gd name="T14" fmla="*/ 76 w 187"/>
                <a:gd name="T15" fmla="*/ 208 h 428"/>
                <a:gd name="T16" fmla="*/ 85 w 187"/>
                <a:gd name="T17" fmla="*/ 234 h 428"/>
                <a:gd name="T18" fmla="*/ 78 w 187"/>
                <a:gd name="T19" fmla="*/ 239 h 428"/>
                <a:gd name="T20" fmla="*/ 64 w 187"/>
                <a:gd name="T21" fmla="*/ 255 h 428"/>
                <a:gd name="T22" fmla="*/ 35 w 187"/>
                <a:gd name="T23" fmla="*/ 293 h 428"/>
                <a:gd name="T24" fmla="*/ 28 w 187"/>
                <a:gd name="T25" fmla="*/ 303 h 428"/>
                <a:gd name="T26" fmla="*/ 19 w 187"/>
                <a:gd name="T27" fmla="*/ 310 h 428"/>
                <a:gd name="T28" fmla="*/ 12 w 187"/>
                <a:gd name="T29" fmla="*/ 317 h 428"/>
                <a:gd name="T30" fmla="*/ 5 w 187"/>
                <a:gd name="T31" fmla="*/ 326 h 428"/>
                <a:gd name="T32" fmla="*/ 9 w 187"/>
                <a:gd name="T33" fmla="*/ 340 h 428"/>
                <a:gd name="T34" fmla="*/ 12 w 187"/>
                <a:gd name="T35" fmla="*/ 357 h 428"/>
                <a:gd name="T36" fmla="*/ 17 w 187"/>
                <a:gd name="T37" fmla="*/ 369 h 428"/>
                <a:gd name="T38" fmla="*/ 12 w 187"/>
                <a:gd name="T39" fmla="*/ 369 h 428"/>
                <a:gd name="T40" fmla="*/ 12 w 187"/>
                <a:gd name="T41" fmla="*/ 383 h 428"/>
                <a:gd name="T42" fmla="*/ 12 w 187"/>
                <a:gd name="T43" fmla="*/ 390 h 428"/>
                <a:gd name="T44" fmla="*/ 12 w 187"/>
                <a:gd name="T45" fmla="*/ 397 h 428"/>
                <a:gd name="T46" fmla="*/ 19 w 187"/>
                <a:gd name="T47" fmla="*/ 402 h 428"/>
                <a:gd name="T48" fmla="*/ 31 w 187"/>
                <a:gd name="T49" fmla="*/ 409 h 428"/>
                <a:gd name="T50" fmla="*/ 38 w 187"/>
                <a:gd name="T51" fmla="*/ 411 h 428"/>
                <a:gd name="T52" fmla="*/ 42 w 187"/>
                <a:gd name="T53" fmla="*/ 423 h 428"/>
                <a:gd name="T54" fmla="*/ 42 w 187"/>
                <a:gd name="T55" fmla="*/ 425 h 428"/>
                <a:gd name="T56" fmla="*/ 50 w 187"/>
                <a:gd name="T57" fmla="*/ 423 h 428"/>
                <a:gd name="T58" fmla="*/ 61 w 187"/>
                <a:gd name="T59" fmla="*/ 421 h 428"/>
                <a:gd name="T60" fmla="*/ 71 w 187"/>
                <a:gd name="T61" fmla="*/ 414 h 428"/>
                <a:gd name="T62" fmla="*/ 85 w 187"/>
                <a:gd name="T63" fmla="*/ 406 h 428"/>
                <a:gd name="T64" fmla="*/ 92 w 187"/>
                <a:gd name="T65" fmla="*/ 406 h 428"/>
                <a:gd name="T66" fmla="*/ 104 w 187"/>
                <a:gd name="T67" fmla="*/ 404 h 428"/>
                <a:gd name="T68" fmla="*/ 118 w 187"/>
                <a:gd name="T69" fmla="*/ 404 h 428"/>
                <a:gd name="T70" fmla="*/ 132 w 187"/>
                <a:gd name="T71" fmla="*/ 392 h 428"/>
                <a:gd name="T72" fmla="*/ 182 w 187"/>
                <a:gd name="T73" fmla="*/ 336 h 428"/>
                <a:gd name="T74" fmla="*/ 182 w 187"/>
                <a:gd name="T75" fmla="*/ 307 h 428"/>
                <a:gd name="T76" fmla="*/ 168 w 187"/>
                <a:gd name="T77" fmla="*/ 284 h 428"/>
                <a:gd name="T78" fmla="*/ 172 w 187"/>
                <a:gd name="T79" fmla="*/ 262 h 428"/>
                <a:gd name="T80" fmla="*/ 163 w 187"/>
                <a:gd name="T81" fmla="*/ 241 h 428"/>
                <a:gd name="T82" fmla="*/ 161 w 187"/>
                <a:gd name="T83" fmla="*/ 225 h 428"/>
                <a:gd name="T84" fmla="*/ 165 w 187"/>
                <a:gd name="T85" fmla="*/ 203 h 428"/>
                <a:gd name="T86" fmla="*/ 156 w 187"/>
                <a:gd name="T87" fmla="*/ 175 h 428"/>
                <a:gd name="T88" fmla="*/ 149 w 187"/>
                <a:gd name="T89" fmla="*/ 151 h 428"/>
                <a:gd name="T90" fmla="*/ 163 w 187"/>
                <a:gd name="T91" fmla="*/ 114 h 428"/>
                <a:gd name="T92" fmla="*/ 144 w 187"/>
                <a:gd name="T93" fmla="*/ 95 h 428"/>
                <a:gd name="T94" fmla="*/ 137 w 187"/>
                <a:gd name="T95" fmla="*/ 76 h 428"/>
                <a:gd name="T96" fmla="*/ 137 w 187"/>
                <a:gd name="T97" fmla="*/ 59 h 428"/>
                <a:gd name="T98" fmla="*/ 144 w 187"/>
                <a:gd name="T99" fmla="*/ 40 h 428"/>
                <a:gd name="T100" fmla="*/ 142 w 187"/>
                <a:gd name="T101" fmla="*/ 14 h 428"/>
                <a:gd name="T102" fmla="*/ 130 w 187"/>
                <a:gd name="T103" fmla="*/ 0 h 428"/>
                <a:gd name="T104" fmla="*/ 97 w 187"/>
                <a:gd name="T105" fmla="*/ 12 h 428"/>
                <a:gd name="T106" fmla="*/ 90 w 187"/>
                <a:gd name="T107" fmla="*/ 43 h 428"/>
                <a:gd name="T108" fmla="*/ 78 w 187"/>
                <a:gd name="T109" fmla="*/ 64 h 428"/>
                <a:gd name="T110" fmla="*/ 64 w 187"/>
                <a:gd name="T111" fmla="*/ 66 h 428"/>
                <a:gd name="T112" fmla="*/ 50 w 187"/>
                <a:gd name="T113" fmla="*/ 69 h 428"/>
                <a:gd name="T114" fmla="*/ 31 w 187"/>
                <a:gd name="T115" fmla="*/ 64 h 428"/>
                <a:gd name="T116" fmla="*/ 12 w 187"/>
                <a:gd name="T117" fmla="*/ 38 h 428"/>
                <a:gd name="T118" fmla="*/ 5 w 187"/>
                <a:gd name="T119" fmla="*/ 5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428">
                  <a:moveTo>
                    <a:pt x="0" y="52"/>
                  </a:moveTo>
                  <a:lnTo>
                    <a:pt x="0" y="52"/>
                  </a:lnTo>
                  <a:lnTo>
                    <a:pt x="0" y="52"/>
                  </a:lnTo>
                  <a:lnTo>
                    <a:pt x="14" y="66"/>
                  </a:lnTo>
                  <a:lnTo>
                    <a:pt x="24" y="76"/>
                  </a:lnTo>
                  <a:lnTo>
                    <a:pt x="35" y="80"/>
                  </a:lnTo>
                  <a:lnTo>
                    <a:pt x="40" y="85"/>
                  </a:lnTo>
                  <a:lnTo>
                    <a:pt x="50" y="104"/>
                  </a:lnTo>
                  <a:lnTo>
                    <a:pt x="52" y="106"/>
                  </a:lnTo>
                  <a:lnTo>
                    <a:pt x="50" y="109"/>
                  </a:lnTo>
                  <a:lnTo>
                    <a:pt x="50" y="116"/>
                  </a:lnTo>
                  <a:lnTo>
                    <a:pt x="50" y="121"/>
                  </a:lnTo>
                  <a:lnTo>
                    <a:pt x="50" y="125"/>
                  </a:lnTo>
                  <a:lnTo>
                    <a:pt x="52" y="128"/>
                  </a:lnTo>
                  <a:lnTo>
                    <a:pt x="52" y="132"/>
                  </a:lnTo>
                  <a:lnTo>
                    <a:pt x="50" y="140"/>
                  </a:lnTo>
                  <a:lnTo>
                    <a:pt x="50" y="144"/>
                  </a:lnTo>
                  <a:lnTo>
                    <a:pt x="57" y="158"/>
                  </a:lnTo>
                  <a:lnTo>
                    <a:pt x="57" y="163"/>
                  </a:lnTo>
                  <a:lnTo>
                    <a:pt x="57" y="166"/>
                  </a:lnTo>
                  <a:lnTo>
                    <a:pt x="54" y="170"/>
                  </a:lnTo>
                  <a:lnTo>
                    <a:pt x="52" y="177"/>
                  </a:lnTo>
                  <a:lnTo>
                    <a:pt x="54" y="182"/>
                  </a:lnTo>
                  <a:lnTo>
                    <a:pt x="59" y="194"/>
                  </a:lnTo>
                  <a:lnTo>
                    <a:pt x="61" y="196"/>
                  </a:lnTo>
                  <a:lnTo>
                    <a:pt x="64" y="196"/>
                  </a:lnTo>
                  <a:lnTo>
                    <a:pt x="64" y="199"/>
                  </a:lnTo>
                  <a:lnTo>
                    <a:pt x="66" y="201"/>
                  </a:lnTo>
                  <a:lnTo>
                    <a:pt x="68" y="199"/>
                  </a:lnTo>
                  <a:lnTo>
                    <a:pt x="68" y="199"/>
                  </a:lnTo>
                  <a:lnTo>
                    <a:pt x="71" y="203"/>
                  </a:lnTo>
                  <a:lnTo>
                    <a:pt x="76" y="208"/>
                  </a:lnTo>
                  <a:lnTo>
                    <a:pt x="80" y="215"/>
                  </a:lnTo>
                  <a:lnTo>
                    <a:pt x="83" y="220"/>
                  </a:lnTo>
                  <a:lnTo>
                    <a:pt x="80" y="229"/>
                  </a:lnTo>
                  <a:lnTo>
                    <a:pt x="85" y="234"/>
                  </a:lnTo>
                  <a:lnTo>
                    <a:pt x="83" y="234"/>
                  </a:lnTo>
                  <a:lnTo>
                    <a:pt x="80" y="236"/>
                  </a:lnTo>
                  <a:lnTo>
                    <a:pt x="83" y="239"/>
                  </a:lnTo>
                  <a:lnTo>
                    <a:pt x="78" y="239"/>
                  </a:lnTo>
                  <a:lnTo>
                    <a:pt x="76" y="239"/>
                  </a:lnTo>
                  <a:lnTo>
                    <a:pt x="71" y="241"/>
                  </a:lnTo>
                  <a:lnTo>
                    <a:pt x="66" y="251"/>
                  </a:lnTo>
                  <a:lnTo>
                    <a:pt x="64" y="255"/>
                  </a:lnTo>
                  <a:lnTo>
                    <a:pt x="57" y="265"/>
                  </a:lnTo>
                  <a:lnTo>
                    <a:pt x="50" y="274"/>
                  </a:lnTo>
                  <a:lnTo>
                    <a:pt x="42" y="281"/>
                  </a:lnTo>
                  <a:lnTo>
                    <a:pt x="35" y="293"/>
                  </a:lnTo>
                  <a:lnTo>
                    <a:pt x="33" y="295"/>
                  </a:lnTo>
                  <a:lnTo>
                    <a:pt x="31" y="298"/>
                  </a:lnTo>
                  <a:lnTo>
                    <a:pt x="31" y="300"/>
                  </a:lnTo>
                  <a:lnTo>
                    <a:pt x="28" y="303"/>
                  </a:lnTo>
                  <a:lnTo>
                    <a:pt x="21" y="305"/>
                  </a:lnTo>
                  <a:lnTo>
                    <a:pt x="19" y="303"/>
                  </a:lnTo>
                  <a:lnTo>
                    <a:pt x="17" y="307"/>
                  </a:lnTo>
                  <a:lnTo>
                    <a:pt x="19" y="310"/>
                  </a:lnTo>
                  <a:lnTo>
                    <a:pt x="17" y="312"/>
                  </a:lnTo>
                  <a:lnTo>
                    <a:pt x="12" y="312"/>
                  </a:lnTo>
                  <a:lnTo>
                    <a:pt x="12" y="314"/>
                  </a:lnTo>
                  <a:lnTo>
                    <a:pt x="12" y="317"/>
                  </a:lnTo>
                  <a:lnTo>
                    <a:pt x="9" y="317"/>
                  </a:lnTo>
                  <a:lnTo>
                    <a:pt x="9" y="317"/>
                  </a:lnTo>
                  <a:lnTo>
                    <a:pt x="7" y="319"/>
                  </a:lnTo>
                  <a:lnTo>
                    <a:pt x="5" y="326"/>
                  </a:lnTo>
                  <a:lnTo>
                    <a:pt x="7" y="331"/>
                  </a:lnTo>
                  <a:lnTo>
                    <a:pt x="7" y="333"/>
                  </a:lnTo>
                  <a:lnTo>
                    <a:pt x="9" y="336"/>
                  </a:lnTo>
                  <a:lnTo>
                    <a:pt x="9" y="340"/>
                  </a:lnTo>
                  <a:lnTo>
                    <a:pt x="9" y="347"/>
                  </a:lnTo>
                  <a:lnTo>
                    <a:pt x="9" y="352"/>
                  </a:lnTo>
                  <a:lnTo>
                    <a:pt x="12" y="354"/>
                  </a:lnTo>
                  <a:lnTo>
                    <a:pt x="12" y="357"/>
                  </a:lnTo>
                  <a:lnTo>
                    <a:pt x="14" y="362"/>
                  </a:lnTo>
                  <a:lnTo>
                    <a:pt x="14" y="364"/>
                  </a:lnTo>
                  <a:lnTo>
                    <a:pt x="17" y="366"/>
                  </a:lnTo>
                  <a:lnTo>
                    <a:pt x="17" y="369"/>
                  </a:lnTo>
                  <a:lnTo>
                    <a:pt x="14" y="366"/>
                  </a:lnTo>
                  <a:lnTo>
                    <a:pt x="14" y="366"/>
                  </a:lnTo>
                  <a:lnTo>
                    <a:pt x="12" y="369"/>
                  </a:lnTo>
                  <a:lnTo>
                    <a:pt x="12" y="369"/>
                  </a:lnTo>
                  <a:lnTo>
                    <a:pt x="12" y="371"/>
                  </a:lnTo>
                  <a:lnTo>
                    <a:pt x="12" y="373"/>
                  </a:lnTo>
                  <a:lnTo>
                    <a:pt x="12" y="378"/>
                  </a:lnTo>
                  <a:lnTo>
                    <a:pt x="12" y="383"/>
                  </a:lnTo>
                  <a:lnTo>
                    <a:pt x="9" y="383"/>
                  </a:lnTo>
                  <a:lnTo>
                    <a:pt x="9" y="388"/>
                  </a:lnTo>
                  <a:lnTo>
                    <a:pt x="9" y="388"/>
                  </a:lnTo>
                  <a:lnTo>
                    <a:pt x="12" y="390"/>
                  </a:lnTo>
                  <a:lnTo>
                    <a:pt x="9" y="392"/>
                  </a:lnTo>
                  <a:lnTo>
                    <a:pt x="12" y="395"/>
                  </a:lnTo>
                  <a:lnTo>
                    <a:pt x="12" y="395"/>
                  </a:lnTo>
                  <a:lnTo>
                    <a:pt x="12" y="397"/>
                  </a:lnTo>
                  <a:lnTo>
                    <a:pt x="12" y="397"/>
                  </a:lnTo>
                  <a:lnTo>
                    <a:pt x="12" y="399"/>
                  </a:lnTo>
                  <a:lnTo>
                    <a:pt x="17" y="399"/>
                  </a:lnTo>
                  <a:lnTo>
                    <a:pt x="19" y="402"/>
                  </a:lnTo>
                  <a:lnTo>
                    <a:pt x="21" y="404"/>
                  </a:lnTo>
                  <a:lnTo>
                    <a:pt x="24" y="404"/>
                  </a:lnTo>
                  <a:lnTo>
                    <a:pt x="31" y="406"/>
                  </a:lnTo>
                  <a:lnTo>
                    <a:pt x="31" y="409"/>
                  </a:lnTo>
                  <a:lnTo>
                    <a:pt x="31" y="411"/>
                  </a:lnTo>
                  <a:lnTo>
                    <a:pt x="33" y="411"/>
                  </a:lnTo>
                  <a:lnTo>
                    <a:pt x="38" y="409"/>
                  </a:lnTo>
                  <a:lnTo>
                    <a:pt x="38" y="411"/>
                  </a:lnTo>
                  <a:lnTo>
                    <a:pt x="38" y="414"/>
                  </a:lnTo>
                  <a:lnTo>
                    <a:pt x="40" y="418"/>
                  </a:lnTo>
                  <a:lnTo>
                    <a:pt x="40" y="421"/>
                  </a:lnTo>
                  <a:lnTo>
                    <a:pt x="42" y="423"/>
                  </a:lnTo>
                  <a:lnTo>
                    <a:pt x="42" y="425"/>
                  </a:lnTo>
                  <a:lnTo>
                    <a:pt x="38" y="428"/>
                  </a:lnTo>
                  <a:lnTo>
                    <a:pt x="40" y="428"/>
                  </a:lnTo>
                  <a:lnTo>
                    <a:pt x="42" y="425"/>
                  </a:lnTo>
                  <a:lnTo>
                    <a:pt x="47" y="418"/>
                  </a:lnTo>
                  <a:lnTo>
                    <a:pt x="47" y="421"/>
                  </a:lnTo>
                  <a:lnTo>
                    <a:pt x="47" y="423"/>
                  </a:lnTo>
                  <a:lnTo>
                    <a:pt x="50" y="423"/>
                  </a:lnTo>
                  <a:lnTo>
                    <a:pt x="57" y="418"/>
                  </a:lnTo>
                  <a:lnTo>
                    <a:pt x="59" y="418"/>
                  </a:lnTo>
                  <a:lnTo>
                    <a:pt x="61" y="418"/>
                  </a:lnTo>
                  <a:lnTo>
                    <a:pt x="61" y="421"/>
                  </a:lnTo>
                  <a:lnTo>
                    <a:pt x="64" y="421"/>
                  </a:lnTo>
                  <a:lnTo>
                    <a:pt x="66" y="416"/>
                  </a:lnTo>
                  <a:lnTo>
                    <a:pt x="68" y="414"/>
                  </a:lnTo>
                  <a:lnTo>
                    <a:pt x="71" y="414"/>
                  </a:lnTo>
                  <a:lnTo>
                    <a:pt x="73" y="416"/>
                  </a:lnTo>
                  <a:lnTo>
                    <a:pt x="78" y="411"/>
                  </a:lnTo>
                  <a:lnTo>
                    <a:pt x="83" y="411"/>
                  </a:lnTo>
                  <a:lnTo>
                    <a:pt x="85" y="406"/>
                  </a:lnTo>
                  <a:lnTo>
                    <a:pt x="85" y="411"/>
                  </a:lnTo>
                  <a:lnTo>
                    <a:pt x="92" y="409"/>
                  </a:lnTo>
                  <a:lnTo>
                    <a:pt x="90" y="404"/>
                  </a:lnTo>
                  <a:lnTo>
                    <a:pt x="92" y="406"/>
                  </a:lnTo>
                  <a:lnTo>
                    <a:pt x="94" y="406"/>
                  </a:lnTo>
                  <a:lnTo>
                    <a:pt x="97" y="406"/>
                  </a:lnTo>
                  <a:lnTo>
                    <a:pt x="97" y="404"/>
                  </a:lnTo>
                  <a:lnTo>
                    <a:pt x="104" y="404"/>
                  </a:lnTo>
                  <a:lnTo>
                    <a:pt x="106" y="402"/>
                  </a:lnTo>
                  <a:lnTo>
                    <a:pt x="111" y="402"/>
                  </a:lnTo>
                  <a:lnTo>
                    <a:pt x="113" y="404"/>
                  </a:lnTo>
                  <a:lnTo>
                    <a:pt x="118" y="404"/>
                  </a:lnTo>
                  <a:lnTo>
                    <a:pt x="120" y="402"/>
                  </a:lnTo>
                  <a:lnTo>
                    <a:pt x="120" y="402"/>
                  </a:lnTo>
                  <a:lnTo>
                    <a:pt x="123" y="402"/>
                  </a:lnTo>
                  <a:lnTo>
                    <a:pt x="132" y="392"/>
                  </a:lnTo>
                  <a:lnTo>
                    <a:pt x="149" y="378"/>
                  </a:lnTo>
                  <a:lnTo>
                    <a:pt x="161" y="364"/>
                  </a:lnTo>
                  <a:lnTo>
                    <a:pt x="177" y="340"/>
                  </a:lnTo>
                  <a:lnTo>
                    <a:pt x="182" y="336"/>
                  </a:lnTo>
                  <a:lnTo>
                    <a:pt x="187" y="324"/>
                  </a:lnTo>
                  <a:lnTo>
                    <a:pt x="187" y="312"/>
                  </a:lnTo>
                  <a:lnTo>
                    <a:pt x="187" y="312"/>
                  </a:lnTo>
                  <a:lnTo>
                    <a:pt x="182" y="307"/>
                  </a:lnTo>
                  <a:lnTo>
                    <a:pt x="182" y="303"/>
                  </a:lnTo>
                  <a:lnTo>
                    <a:pt x="172" y="295"/>
                  </a:lnTo>
                  <a:lnTo>
                    <a:pt x="170" y="291"/>
                  </a:lnTo>
                  <a:lnTo>
                    <a:pt x="168" y="284"/>
                  </a:lnTo>
                  <a:lnTo>
                    <a:pt x="168" y="279"/>
                  </a:lnTo>
                  <a:lnTo>
                    <a:pt x="172" y="274"/>
                  </a:lnTo>
                  <a:lnTo>
                    <a:pt x="175" y="269"/>
                  </a:lnTo>
                  <a:lnTo>
                    <a:pt x="172" y="262"/>
                  </a:lnTo>
                  <a:lnTo>
                    <a:pt x="168" y="258"/>
                  </a:lnTo>
                  <a:lnTo>
                    <a:pt x="165" y="253"/>
                  </a:lnTo>
                  <a:lnTo>
                    <a:pt x="168" y="246"/>
                  </a:lnTo>
                  <a:lnTo>
                    <a:pt x="163" y="241"/>
                  </a:lnTo>
                  <a:lnTo>
                    <a:pt x="158" y="239"/>
                  </a:lnTo>
                  <a:lnTo>
                    <a:pt x="158" y="234"/>
                  </a:lnTo>
                  <a:lnTo>
                    <a:pt x="161" y="229"/>
                  </a:lnTo>
                  <a:lnTo>
                    <a:pt x="161" y="225"/>
                  </a:lnTo>
                  <a:lnTo>
                    <a:pt x="158" y="220"/>
                  </a:lnTo>
                  <a:lnTo>
                    <a:pt x="161" y="215"/>
                  </a:lnTo>
                  <a:lnTo>
                    <a:pt x="161" y="208"/>
                  </a:lnTo>
                  <a:lnTo>
                    <a:pt x="165" y="203"/>
                  </a:lnTo>
                  <a:lnTo>
                    <a:pt x="165" y="199"/>
                  </a:lnTo>
                  <a:lnTo>
                    <a:pt x="165" y="194"/>
                  </a:lnTo>
                  <a:lnTo>
                    <a:pt x="161" y="182"/>
                  </a:lnTo>
                  <a:lnTo>
                    <a:pt x="156" y="175"/>
                  </a:lnTo>
                  <a:lnTo>
                    <a:pt x="156" y="168"/>
                  </a:lnTo>
                  <a:lnTo>
                    <a:pt x="154" y="163"/>
                  </a:lnTo>
                  <a:lnTo>
                    <a:pt x="151" y="156"/>
                  </a:lnTo>
                  <a:lnTo>
                    <a:pt x="149" y="151"/>
                  </a:lnTo>
                  <a:lnTo>
                    <a:pt x="151" y="147"/>
                  </a:lnTo>
                  <a:lnTo>
                    <a:pt x="158" y="132"/>
                  </a:lnTo>
                  <a:lnTo>
                    <a:pt x="163" y="121"/>
                  </a:lnTo>
                  <a:lnTo>
                    <a:pt x="163" y="114"/>
                  </a:lnTo>
                  <a:lnTo>
                    <a:pt x="158" y="109"/>
                  </a:lnTo>
                  <a:lnTo>
                    <a:pt x="154" y="97"/>
                  </a:lnTo>
                  <a:lnTo>
                    <a:pt x="149" y="95"/>
                  </a:lnTo>
                  <a:lnTo>
                    <a:pt x="144" y="95"/>
                  </a:lnTo>
                  <a:lnTo>
                    <a:pt x="142" y="92"/>
                  </a:lnTo>
                  <a:lnTo>
                    <a:pt x="139" y="90"/>
                  </a:lnTo>
                  <a:lnTo>
                    <a:pt x="137" y="83"/>
                  </a:lnTo>
                  <a:lnTo>
                    <a:pt x="137" y="76"/>
                  </a:lnTo>
                  <a:lnTo>
                    <a:pt x="137" y="71"/>
                  </a:lnTo>
                  <a:lnTo>
                    <a:pt x="142" y="64"/>
                  </a:lnTo>
                  <a:lnTo>
                    <a:pt x="142" y="62"/>
                  </a:lnTo>
                  <a:lnTo>
                    <a:pt x="137" y="59"/>
                  </a:lnTo>
                  <a:lnTo>
                    <a:pt x="146" y="52"/>
                  </a:lnTo>
                  <a:lnTo>
                    <a:pt x="144" y="50"/>
                  </a:lnTo>
                  <a:lnTo>
                    <a:pt x="144" y="45"/>
                  </a:lnTo>
                  <a:lnTo>
                    <a:pt x="144" y="40"/>
                  </a:lnTo>
                  <a:lnTo>
                    <a:pt x="151" y="33"/>
                  </a:lnTo>
                  <a:lnTo>
                    <a:pt x="151" y="29"/>
                  </a:lnTo>
                  <a:lnTo>
                    <a:pt x="149" y="19"/>
                  </a:lnTo>
                  <a:lnTo>
                    <a:pt x="142" y="14"/>
                  </a:lnTo>
                  <a:lnTo>
                    <a:pt x="137" y="12"/>
                  </a:lnTo>
                  <a:lnTo>
                    <a:pt x="135" y="10"/>
                  </a:lnTo>
                  <a:lnTo>
                    <a:pt x="130" y="3"/>
                  </a:lnTo>
                  <a:lnTo>
                    <a:pt x="130" y="0"/>
                  </a:lnTo>
                  <a:lnTo>
                    <a:pt x="120" y="3"/>
                  </a:lnTo>
                  <a:lnTo>
                    <a:pt x="109" y="7"/>
                  </a:lnTo>
                  <a:lnTo>
                    <a:pt x="102" y="10"/>
                  </a:lnTo>
                  <a:lnTo>
                    <a:pt x="97" y="12"/>
                  </a:lnTo>
                  <a:lnTo>
                    <a:pt x="94" y="14"/>
                  </a:lnTo>
                  <a:lnTo>
                    <a:pt x="90" y="26"/>
                  </a:lnTo>
                  <a:lnTo>
                    <a:pt x="90" y="38"/>
                  </a:lnTo>
                  <a:lnTo>
                    <a:pt x="90" y="43"/>
                  </a:lnTo>
                  <a:lnTo>
                    <a:pt x="90" y="50"/>
                  </a:lnTo>
                  <a:lnTo>
                    <a:pt x="90" y="55"/>
                  </a:lnTo>
                  <a:lnTo>
                    <a:pt x="80" y="62"/>
                  </a:lnTo>
                  <a:lnTo>
                    <a:pt x="78" y="64"/>
                  </a:lnTo>
                  <a:lnTo>
                    <a:pt x="73" y="69"/>
                  </a:lnTo>
                  <a:lnTo>
                    <a:pt x="68" y="71"/>
                  </a:lnTo>
                  <a:lnTo>
                    <a:pt x="66" y="69"/>
                  </a:lnTo>
                  <a:lnTo>
                    <a:pt x="64" y="66"/>
                  </a:lnTo>
                  <a:lnTo>
                    <a:pt x="61" y="62"/>
                  </a:lnTo>
                  <a:lnTo>
                    <a:pt x="59" y="62"/>
                  </a:lnTo>
                  <a:lnTo>
                    <a:pt x="52" y="66"/>
                  </a:lnTo>
                  <a:lnTo>
                    <a:pt x="50" y="69"/>
                  </a:lnTo>
                  <a:lnTo>
                    <a:pt x="45" y="71"/>
                  </a:lnTo>
                  <a:lnTo>
                    <a:pt x="40" y="66"/>
                  </a:lnTo>
                  <a:lnTo>
                    <a:pt x="31" y="66"/>
                  </a:lnTo>
                  <a:lnTo>
                    <a:pt x="31" y="64"/>
                  </a:lnTo>
                  <a:lnTo>
                    <a:pt x="28" y="57"/>
                  </a:lnTo>
                  <a:lnTo>
                    <a:pt x="19" y="43"/>
                  </a:lnTo>
                  <a:lnTo>
                    <a:pt x="14" y="40"/>
                  </a:lnTo>
                  <a:lnTo>
                    <a:pt x="12" y="38"/>
                  </a:lnTo>
                  <a:lnTo>
                    <a:pt x="7" y="40"/>
                  </a:lnTo>
                  <a:lnTo>
                    <a:pt x="7" y="45"/>
                  </a:lnTo>
                  <a:lnTo>
                    <a:pt x="7" y="47"/>
                  </a:lnTo>
                  <a:lnTo>
                    <a:pt x="5" y="50"/>
                  </a:lnTo>
                  <a:lnTo>
                    <a:pt x="2" y="47"/>
                  </a:lnTo>
                  <a:lnTo>
                    <a:pt x="0" y="47"/>
                  </a:lnTo>
                  <a:lnTo>
                    <a:pt x="0" y="5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8" name="Freeform 213">
              <a:extLst>
                <a:ext uri="{FF2B5EF4-FFF2-40B4-BE49-F238E27FC236}">
                  <a16:creationId xmlns:a16="http://schemas.microsoft.com/office/drawing/2014/main" id="{C44DF59E-B375-4CDF-A832-4C21119D5AF6}"/>
                </a:ext>
              </a:extLst>
            </p:cNvPr>
            <p:cNvSpPr>
              <a:spLocks/>
            </p:cNvSpPr>
            <p:nvPr/>
          </p:nvSpPr>
          <p:spPr bwMode="auto">
            <a:xfrm>
              <a:off x="1462929" y="3055903"/>
              <a:ext cx="325437" cy="346075"/>
            </a:xfrm>
            <a:custGeom>
              <a:avLst/>
              <a:gdLst>
                <a:gd name="T0" fmla="*/ 61 w 205"/>
                <a:gd name="T1" fmla="*/ 12 h 218"/>
                <a:gd name="T2" fmla="*/ 59 w 205"/>
                <a:gd name="T3" fmla="*/ 19 h 218"/>
                <a:gd name="T4" fmla="*/ 47 w 205"/>
                <a:gd name="T5" fmla="*/ 17 h 218"/>
                <a:gd name="T6" fmla="*/ 40 w 205"/>
                <a:gd name="T7" fmla="*/ 29 h 218"/>
                <a:gd name="T8" fmla="*/ 30 w 205"/>
                <a:gd name="T9" fmla="*/ 24 h 218"/>
                <a:gd name="T10" fmla="*/ 23 w 205"/>
                <a:gd name="T11" fmla="*/ 24 h 218"/>
                <a:gd name="T12" fmla="*/ 7 w 205"/>
                <a:gd name="T13" fmla="*/ 31 h 218"/>
                <a:gd name="T14" fmla="*/ 2 w 205"/>
                <a:gd name="T15" fmla="*/ 36 h 218"/>
                <a:gd name="T16" fmla="*/ 0 w 205"/>
                <a:gd name="T17" fmla="*/ 50 h 218"/>
                <a:gd name="T18" fmla="*/ 4 w 205"/>
                <a:gd name="T19" fmla="*/ 57 h 218"/>
                <a:gd name="T20" fmla="*/ 4 w 205"/>
                <a:gd name="T21" fmla="*/ 69 h 218"/>
                <a:gd name="T22" fmla="*/ 16 w 205"/>
                <a:gd name="T23" fmla="*/ 78 h 218"/>
                <a:gd name="T24" fmla="*/ 21 w 205"/>
                <a:gd name="T25" fmla="*/ 81 h 218"/>
                <a:gd name="T26" fmla="*/ 30 w 205"/>
                <a:gd name="T27" fmla="*/ 71 h 218"/>
                <a:gd name="T28" fmla="*/ 42 w 205"/>
                <a:gd name="T29" fmla="*/ 69 h 218"/>
                <a:gd name="T30" fmla="*/ 61 w 205"/>
                <a:gd name="T31" fmla="*/ 83 h 218"/>
                <a:gd name="T32" fmla="*/ 73 w 205"/>
                <a:gd name="T33" fmla="*/ 107 h 218"/>
                <a:gd name="T34" fmla="*/ 82 w 205"/>
                <a:gd name="T35" fmla="*/ 114 h 218"/>
                <a:gd name="T36" fmla="*/ 99 w 205"/>
                <a:gd name="T37" fmla="*/ 130 h 218"/>
                <a:gd name="T38" fmla="*/ 120 w 205"/>
                <a:gd name="T39" fmla="*/ 142 h 218"/>
                <a:gd name="T40" fmla="*/ 134 w 205"/>
                <a:gd name="T41" fmla="*/ 154 h 218"/>
                <a:gd name="T42" fmla="*/ 141 w 205"/>
                <a:gd name="T43" fmla="*/ 156 h 218"/>
                <a:gd name="T44" fmla="*/ 146 w 205"/>
                <a:gd name="T45" fmla="*/ 166 h 218"/>
                <a:gd name="T46" fmla="*/ 153 w 205"/>
                <a:gd name="T47" fmla="*/ 168 h 218"/>
                <a:gd name="T48" fmla="*/ 158 w 205"/>
                <a:gd name="T49" fmla="*/ 177 h 218"/>
                <a:gd name="T50" fmla="*/ 163 w 205"/>
                <a:gd name="T51" fmla="*/ 199 h 218"/>
                <a:gd name="T52" fmla="*/ 156 w 205"/>
                <a:gd name="T53" fmla="*/ 210 h 218"/>
                <a:gd name="T54" fmla="*/ 158 w 205"/>
                <a:gd name="T55" fmla="*/ 218 h 218"/>
                <a:gd name="T56" fmla="*/ 165 w 205"/>
                <a:gd name="T57" fmla="*/ 210 h 218"/>
                <a:gd name="T58" fmla="*/ 172 w 205"/>
                <a:gd name="T59" fmla="*/ 206 h 218"/>
                <a:gd name="T60" fmla="*/ 179 w 205"/>
                <a:gd name="T61" fmla="*/ 194 h 218"/>
                <a:gd name="T62" fmla="*/ 182 w 205"/>
                <a:gd name="T63" fmla="*/ 187 h 218"/>
                <a:gd name="T64" fmla="*/ 174 w 205"/>
                <a:gd name="T65" fmla="*/ 177 h 218"/>
                <a:gd name="T66" fmla="*/ 174 w 205"/>
                <a:gd name="T67" fmla="*/ 163 h 218"/>
                <a:gd name="T68" fmla="*/ 193 w 205"/>
                <a:gd name="T69" fmla="*/ 163 h 218"/>
                <a:gd name="T70" fmla="*/ 203 w 205"/>
                <a:gd name="T71" fmla="*/ 173 h 218"/>
                <a:gd name="T72" fmla="*/ 203 w 205"/>
                <a:gd name="T73" fmla="*/ 163 h 218"/>
                <a:gd name="T74" fmla="*/ 182 w 205"/>
                <a:gd name="T75" fmla="*/ 147 h 218"/>
                <a:gd name="T76" fmla="*/ 163 w 205"/>
                <a:gd name="T77" fmla="*/ 137 h 218"/>
                <a:gd name="T78" fmla="*/ 163 w 205"/>
                <a:gd name="T79" fmla="*/ 133 h 218"/>
                <a:gd name="T80" fmla="*/ 160 w 205"/>
                <a:gd name="T81" fmla="*/ 125 h 218"/>
                <a:gd name="T82" fmla="*/ 148 w 205"/>
                <a:gd name="T83" fmla="*/ 125 h 218"/>
                <a:gd name="T84" fmla="*/ 139 w 205"/>
                <a:gd name="T85" fmla="*/ 123 h 218"/>
                <a:gd name="T86" fmla="*/ 130 w 205"/>
                <a:gd name="T87" fmla="*/ 111 h 218"/>
                <a:gd name="T88" fmla="*/ 122 w 205"/>
                <a:gd name="T89" fmla="*/ 92 h 218"/>
                <a:gd name="T90" fmla="*/ 115 w 205"/>
                <a:gd name="T91" fmla="*/ 85 h 218"/>
                <a:gd name="T92" fmla="*/ 99 w 205"/>
                <a:gd name="T93" fmla="*/ 73 h 218"/>
                <a:gd name="T94" fmla="*/ 99 w 205"/>
                <a:gd name="T95" fmla="*/ 57 h 218"/>
                <a:gd name="T96" fmla="*/ 97 w 205"/>
                <a:gd name="T97" fmla="*/ 50 h 218"/>
                <a:gd name="T98" fmla="*/ 101 w 205"/>
                <a:gd name="T99" fmla="*/ 40 h 218"/>
                <a:gd name="T100" fmla="*/ 115 w 205"/>
                <a:gd name="T101" fmla="*/ 36 h 218"/>
                <a:gd name="T102" fmla="*/ 120 w 205"/>
                <a:gd name="T103" fmla="*/ 38 h 218"/>
                <a:gd name="T104" fmla="*/ 125 w 205"/>
                <a:gd name="T105" fmla="*/ 38 h 218"/>
                <a:gd name="T106" fmla="*/ 122 w 205"/>
                <a:gd name="T107" fmla="*/ 33 h 218"/>
                <a:gd name="T108" fmla="*/ 118 w 205"/>
                <a:gd name="T109" fmla="*/ 26 h 218"/>
                <a:gd name="T110" fmla="*/ 118 w 205"/>
                <a:gd name="T111" fmla="*/ 22 h 218"/>
                <a:gd name="T112" fmla="*/ 118 w 205"/>
                <a:gd name="T113" fmla="*/ 14 h 218"/>
                <a:gd name="T114" fmla="*/ 99 w 205"/>
                <a:gd name="T115" fmla="*/ 10 h 218"/>
                <a:gd name="T116" fmla="*/ 94 w 205"/>
                <a:gd name="T117" fmla="*/ 0 h 218"/>
                <a:gd name="T118" fmla="*/ 87 w 205"/>
                <a:gd name="T119" fmla="*/ 3 h 218"/>
                <a:gd name="T120" fmla="*/ 68 w 205"/>
                <a:gd name="T121" fmla="*/ 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 h="218">
                  <a:moveTo>
                    <a:pt x="63" y="7"/>
                  </a:moveTo>
                  <a:lnTo>
                    <a:pt x="63" y="10"/>
                  </a:lnTo>
                  <a:lnTo>
                    <a:pt x="63" y="12"/>
                  </a:lnTo>
                  <a:lnTo>
                    <a:pt x="61" y="12"/>
                  </a:lnTo>
                  <a:lnTo>
                    <a:pt x="59" y="12"/>
                  </a:lnTo>
                  <a:lnTo>
                    <a:pt x="59" y="14"/>
                  </a:lnTo>
                  <a:lnTo>
                    <a:pt x="59" y="17"/>
                  </a:lnTo>
                  <a:lnTo>
                    <a:pt x="59" y="19"/>
                  </a:lnTo>
                  <a:lnTo>
                    <a:pt x="59" y="22"/>
                  </a:lnTo>
                  <a:lnTo>
                    <a:pt x="52" y="19"/>
                  </a:lnTo>
                  <a:lnTo>
                    <a:pt x="49" y="19"/>
                  </a:lnTo>
                  <a:lnTo>
                    <a:pt x="47" y="17"/>
                  </a:lnTo>
                  <a:lnTo>
                    <a:pt x="45" y="17"/>
                  </a:lnTo>
                  <a:lnTo>
                    <a:pt x="45" y="19"/>
                  </a:lnTo>
                  <a:lnTo>
                    <a:pt x="40" y="26"/>
                  </a:lnTo>
                  <a:lnTo>
                    <a:pt x="40" y="29"/>
                  </a:lnTo>
                  <a:lnTo>
                    <a:pt x="40" y="31"/>
                  </a:lnTo>
                  <a:lnTo>
                    <a:pt x="37" y="29"/>
                  </a:lnTo>
                  <a:lnTo>
                    <a:pt x="35" y="26"/>
                  </a:lnTo>
                  <a:lnTo>
                    <a:pt x="30" y="24"/>
                  </a:lnTo>
                  <a:lnTo>
                    <a:pt x="30" y="17"/>
                  </a:lnTo>
                  <a:lnTo>
                    <a:pt x="26" y="19"/>
                  </a:lnTo>
                  <a:lnTo>
                    <a:pt x="23" y="22"/>
                  </a:lnTo>
                  <a:lnTo>
                    <a:pt x="23" y="24"/>
                  </a:lnTo>
                  <a:lnTo>
                    <a:pt x="23" y="26"/>
                  </a:lnTo>
                  <a:lnTo>
                    <a:pt x="19" y="29"/>
                  </a:lnTo>
                  <a:lnTo>
                    <a:pt x="16" y="29"/>
                  </a:lnTo>
                  <a:lnTo>
                    <a:pt x="7" y="31"/>
                  </a:lnTo>
                  <a:lnTo>
                    <a:pt x="4" y="31"/>
                  </a:lnTo>
                  <a:lnTo>
                    <a:pt x="2" y="31"/>
                  </a:lnTo>
                  <a:lnTo>
                    <a:pt x="2" y="33"/>
                  </a:lnTo>
                  <a:lnTo>
                    <a:pt x="2" y="36"/>
                  </a:lnTo>
                  <a:lnTo>
                    <a:pt x="4" y="43"/>
                  </a:lnTo>
                  <a:lnTo>
                    <a:pt x="7" y="45"/>
                  </a:lnTo>
                  <a:lnTo>
                    <a:pt x="2" y="48"/>
                  </a:lnTo>
                  <a:lnTo>
                    <a:pt x="0" y="50"/>
                  </a:lnTo>
                  <a:lnTo>
                    <a:pt x="0" y="52"/>
                  </a:lnTo>
                  <a:lnTo>
                    <a:pt x="0" y="55"/>
                  </a:lnTo>
                  <a:lnTo>
                    <a:pt x="2" y="57"/>
                  </a:lnTo>
                  <a:lnTo>
                    <a:pt x="4" y="57"/>
                  </a:lnTo>
                  <a:lnTo>
                    <a:pt x="4" y="59"/>
                  </a:lnTo>
                  <a:lnTo>
                    <a:pt x="2" y="62"/>
                  </a:lnTo>
                  <a:lnTo>
                    <a:pt x="4" y="66"/>
                  </a:lnTo>
                  <a:lnTo>
                    <a:pt x="4" y="69"/>
                  </a:lnTo>
                  <a:lnTo>
                    <a:pt x="7" y="71"/>
                  </a:lnTo>
                  <a:lnTo>
                    <a:pt x="14" y="73"/>
                  </a:lnTo>
                  <a:lnTo>
                    <a:pt x="16" y="76"/>
                  </a:lnTo>
                  <a:lnTo>
                    <a:pt x="16" y="78"/>
                  </a:lnTo>
                  <a:lnTo>
                    <a:pt x="14" y="81"/>
                  </a:lnTo>
                  <a:lnTo>
                    <a:pt x="14" y="81"/>
                  </a:lnTo>
                  <a:lnTo>
                    <a:pt x="19" y="81"/>
                  </a:lnTo>
                  <a:lnTo>
                    <a:pt x="21" y="81"/>
                  </a:lnTo>
                  <a:lnTo>
                    <a:pt x="26" y="78"/>
                  </a:lnTo>
                  <a:lnTo>
                    <a:pt x="26" y="76"/>
                  </a:lnTo>
                  <a:lnTo>
                    <a:pt x="28" y="73"/>
                  </a:lnTo>
                  <a:lnTo>
                    <a:pt x="30" y="71"/>
                  </a:lnTo>
                  <a:lnTo>
                    <a:pt x="30" y="69"/>
                  </a:lnTo>
                  <a:lnTo>
                    <a:pt x="37" y="66"/>
                  </a:lnTo>
                  <a:lnTo>
                    <a:pt x="40" y="66"/>
                  </a:lnTo>
                  <a:lnTo>
                    <a:pt x="42" y="69"/>
                  </a:lnTo>
                  <a:lnTo>
                    <a:pt x="54" y="76"/>
                  </a:lnTo>
                  <a:lnTo>
                    <a:pt x="61" y="78"/>
                  </a:lnTo>
                  <a:lnTo>
                    <a:pt x="61" y="78"/>
                  </a:lnTo>
                  <a:lnTo>
                    <a:pt x="61" y="83"/>
                  </a:lnTo>
                  <a:lnTo>
                    <a:pt x="66" y="95"/>
                  </a:lnTo>
                  <a:lnTo>
                    <a:pt x="68" y="97"/>
                  </a:lnTo>
                  <a:lnTo>
                    <a:pt x="66" y="99"/>
                  </a:lnTo>
                  <a:lnTo>
                    <a:pt x="73" y="107"/>
                  </a:lnTo>
                  <a:lnTo>
                    <a:pt x="78" y="111"/>
                  </a:lnTo>
                  <a:lnTo>
                    <a:pt x="78" y="116"/>
                  </a:lnTo>
                  <a:lnTo>
                    <a:pt x="80" y="114"/>
                  </a:lnTo>
                  <a:lnTo>
                    <a:pt x="82" y="114"/>
                  </a:lnTo>
                  <a:lnTo>
                    <a:pt x="85" y="116"/>
                  </a:lnTo>
                  <a:lnTo>
                    <a:pt x="89" y="123"/>
                  </a:lnTo>
                  <a:lnTo>
                    <a:pt x="92" y="123"/>
                  </a:lnTo>
                  <a:lnTo>
                    <a:pt x="99" y="130"/>
                  </a:lnTo>
                  <a:lnTo>
                    <a:pt x="104" y="135"/>
                  </a:lnTo>
                  <a:lnTo>
                    <a:pt x="111" y="142"/>
                  </a:lnTo>
                  <a:lnTo>
                    <a:pt x="113" y="142"/>
                  </a:lnTo>
                  <a:lnTo>
                    <a:pt x="120" y="142"/>
                  </a:lnTo>
                  <a:lnTo>
                    <a:pt x="122" y="142"/>
                  </a:lnTo>
                  <a:lnTo>
                    <a:pt x="127" y="147"/>
                  </a:lnTo>
                  <a:lnTo>
                    <a:pt x="130" y="151"/>
                  </a:lnTo>
                  <a:lnTo>
                    <a:pt x="134" y="154"/>
                  </a:lnTo>
                  <a:lnTo>
                    <a:pt x="134" y="154"/>
                  </a:lnTo>
                  <a:lnTo>
                    <a:pt x="134" y="156"/>
                  </a:lnTo>
                  <a:lnTo>
                    <a:pt x="139" y="156"/>
                  </a:lnTo>
                  <a:lnTo>
                    <a:pt x="141" y="156"/>
                  </a:lnTo>
                  <a:lnTo>
                    <a:pt x="144" y="159"/>
                  </a:lnTo>
                  <a:lnTo>
                    <a:pt x="144" y="161"/>
                  </a:lnTo>
                  <a:lnTo>
                    <a:pt x="144" y="163"/>
                  </a:lnTo>
                  <a:lnTo>
                    <a:pt x="146" y="166"/>
                  </a:lnTo>
                  <a:lnTo>
                    <a:pt x="148" y="168"/>
                  </a:lnTo>
                  <a:lnTo>
                    <a:pt x="151" y="168"/>
                  </a:lnTo>
                  <a:lnTo>
                    <a:pt x="151" y="170"/>
                  </a:lnTo>
                  <a:lnTo>
                    <a:pt x="153" y="168"/>
                  </a:lnTo>
                  <a:lnTo>
                    <a:pt x="156" y="168"/>
                  </a:lnTo>
                  <a:lnTo>
                    <a:pt x="158" y="173"/>
                  </a:lnTo>
                  <a:lnTo>
                    <a:pt x="158" y="175"/>
                  </a:lnTo>
                  <a:lnTo>
                    <a:pt x="158" y="177"/>
                  </a:lnTo>
                  <a:lnTo>
                    <a:pt x="163" y="185"/>
                  </a:lnTo>
                  <a:lnTo>
                    <a:pt x="163" y="189"/>
                  </a:lnTo>
                  <a:lnTo>
                    <a:pt x="165" y="196"/>
                  </a:lnTo>
                  <a:lnTo>
                    <a:pt x="163" y="199"/>
                  </a:lnTo>
                  <a:lnTo>
                    <a:pt x="158" y="201"/>
                  </a:lnTo>
                  <a:lnTo>
                    <a:pt x="160" y="203"/>
                  </a:lnTo>
                  <a:lnTo>
                    <a:pt x="158" y="208"/>
                  </a:lnTo>
                  <a:lnTo>
                    <a:pt x="156" y="210"/>
                  </a:lnTo>
                  <a:lnTo>
                    <a:pt x="158" y="215"/>
                  </a:lnTo>
                  <a:lnTo>
                    <a:pt x="158" y="218"/>
                  </a:lnTo>
                  <a:lnTo>
                    <a:pt x="158" y="215"/>
                  </a:lnTo>
                  <a:lnTo>
                    <a:pt x="158" y="218"/>
                  </a:lnTo>
                  <a:lnTo>
                    <a:pt x="160" y="218"/>
                  </a:lnTo>
                  <a:lnTo>
                    <a:pt x="163" y="218"/>
                  </a:lnTo>
                  <a:lnTo>
                    <a:pt x="163" y="215"/>
                  </a:lnTo>
                  <a:lnTo>
                    <a:pt x="165" y="210"/>
                  </a:lnTo>
                  <a:lnTo>
                    <a:pt x="167" y="208"/>
                  </a:lnTo>
                  <a:lnTo>
                    <a:pt x="170" y="208"/>
                  </a:lnTo>
                  <a:lnTo>
                    <a:pt x="172" y="206"/>
                  </a:lnTo>
                  <a:lnTo>
                    <a:pt x="172" y="206"/>
                  </a:lnTo>
                  <a:lnTo>
                    <a:pt x="172" y="199"/>
                  </a:lnTo>
                  <a:lnTo>
                    <a:pt x="172" y="196"/>
                  </a:lnTo>
                  <a:lnTo>
                    <a:pt x="177" y="196"/>
                  </a:lnTo>
                  <a:lnTo>
                    <a:pt x="179" y="194"/>
                  </a:lnTo>
                  <a:lnTo>
                    <a:pt x="182" y="194"/>
                  </a:lnTo>
                  <a:lnTo>
                    <a:pt x="182" y="192"/>
                  </a:lnTo>
                  <a:lnTo>
                    <a:pt x="182" y="187"/>
                  </a:lnTo>
                  <a:lnTo>
                    <a:pt x="182" y="187"/>
                  </a:lnTo>
                  <a:lnTo>
                    <a:pt x="182" y="182"/>
                  </a:lnTo>
                  <a:lnTo>
                    <a:pt x="179" y="182"/>
                  </a:lnTo>
                  <a:lnTo>
                    <a:pt x="177" y="180"/>
                  </a:lnTo>
                  <a:lnTo>
                    <a:pt x="174" y="177"/>
                  </a:lnTo>
                  <a:lnTo>
                    <a:pt x="172" y="177"/>
                  </a:lnTo>
                  <a:lnTo>
                    <a:pt x="172" y="173"/>
                  </a:lnTo>
                  <a:lnTo>
                    <a:pt x="172" y="168"/>
                  </a:lnTo>
                  <a:lnTo>
                    <a:pt x="174" y="163"/>
                  </a:lnTo>
                  <a:lnTo>
                    <a:pt x="179" y="159"/>
                  </a:lnTo>
                  <a:lnTo>
                    <a:pt x="182" y="159"/>
                  </a:lnTo>
                  <a:lnTo>
                    <a:pt x="189" y="163"/>
                  </a:lnTo>
                  <a:lnTo>
                    <a:pt x="193" y="163"/>
                  </a:lnTo>
                  <a:lnTo>
                    <a:pt x="196" y="166"/>
                  </a:lnTo>
                  <a:lnTo>
                    <a:pt x="198" y="168"/>
                  </a:lnTo>
                  <a:lnTo>
                    <a:pt x="198" y="173"/>
                  </a:lnTo>
                  <a:lnTo>
                    <a:pt x="203" y="173"/>
                  </a:lnTo>
                  <a:lnTo>
                    <a:pt x="203" y="173"/>
                  </a:lnTo>
                  <a:lnTo>
                    <a:pt x="205" y="168"/>
                  </a:lnTo>
                  <a:lnTo>
                    <a:pt x="205" y="166"/>
                  </a:lnTo>
                  <a:lnTo>
                    <a:pt x="203" y="163"/>
                  </a:lnTo>
                  <a:lnTo>
                    <a:pt x="198" y="159"/>
                  </a:lnTo>
                  <a:lnTo>
                    <a:pt x="196" y="154"/>
                  </a:lnTo>
                  <a:lnTo>
                    <a:pt x="184" y="149"/>
                  </a:lnTo>
                  <a:lnTo>
                    <a:pt x="182" y="147"/>
                  </a:lnTo>
                  <a:lnTo>
                    <a:pt x="179" y="144"/>
                  </a:lnTo>
                  <a:lnTo>
                    <a:pt x="167" y="140"/>
                  </a:lnTo>
                  <a:lnTo>
                    <a:pt x="165" y="137"/>
                  </a:lnTo>
                  <a:lnTo>
                    <a:pt x="163" y="137"/>
                  </a:lnTo>
                  <a:lnTo>
                    <a:pt x="160" y="137"/>
                  </a:lnTo>
                  <a:lnTo>
                    <a:pt x="160" y="135"/>
                  </a:lnTo>
                  <a:lnTo>
                    <a:pt x="160" y="135"/>
                  </a:lnTo>
                  <a:lnTo>
                    <a:pt x="163" y="133"/>
                  </a:lnTo>
                  <a:lnTo>
                    <a:pt x="165" y="130"/>
                  </a:lnTo>
                  <a:lnTo>
                    <a:pt x="165" y="128"/>
                  </a:lnTo>
                  <a:lnTo>
                    <a:pt x="163" y="125"/>
                  </a:lnTo>
                  <a:lnTo>
                    <a:pt x="160" y="125"/>
                  </a:lnTo>
                  <a:lnTo>
                    <a:pt x="158" y="125"/>
                  </a:lnTo>
                  <a:lnTo>
                    <a:pt x="160" y="125"/>
                  </a:lnTo>
                  <a:lnTo>
                    <a:pt x="158" y="125"/>
                  </a:lnTo>
                  <a:lnTo>
                    <a:pt x="148" y="125"/>
                  </a:lnTo>
                  <a:lnTo>
                    <a:pt x="148" y="128"/>
                  </a:lnTo>
                  <a:lnTo>
                    <a:pt x="144" y="125"/>
                  </a:lnTo>
                  <a:lnTo>
                    <a:pt x="141" y="123"/>
                  </a:lnTo>
                  <a:lnTo>
                    <a:pt x="139" y="123"/>
                  </a:lnTo>
                  <a:lnTo>
                    <a:pt x="139" y="118"/>
                  </a:lnTo>
                  <a:lnTo>
                    <a:pt x="137" y="118"/>
                  </a:lnTo>
                  <a:lnTo>
                    <a:pt x="130" y="114"/>
                  </a:lnTo>
                  <a:lnTo>
                    <a:pt x="130" y="111"/>
                  </a:lnTo>
                  <a:lnTo>
                    <a:pt x="127" y="107"/>
                  </a:lnTo>
                  <a:lnTo>
                    <a:pt x="125" y="99"/>
                  </a:lnTo>
                  <a:lnTo>
                    <a:pt x="122" y="99"/>
                  </a:lnTo>
                  <a:lnTo>
                    <a:pt x="122" y="92"/>
                  </a:lnTo>
                  <a:lnTo>
                    <a:pt x="120" y="85"/>
                  </a:lnTo>
                  <a:lnTo>
                    <a:pt x="118" y="85"/>
                  </a:lnTo>
                  <a:lnTo>
                    <a:pt x="115" y="85"/>
                  </a:lnTo>
                  <a:lnTo>
                    <a:pt x="115" y="85"/>
                  </a:lnTo>
                  <a:lnTo>
                    <a:pt x="111" y="81"/>
                  </a:lnTo>
                  <a:lnTo>
                    <a:pt x="108" y="78"/>
                  </a:lnTo>
                  <a:lnTo>
                    <a:pt x="101" y="76"/>
                  </a:lnTo>
                  <a:lnTo>
                    <a:pt x="99" y="73"/>
                  </a:lnTo>
                  <a:lnTo>
                    <a:pt x="99" y="71"/>
                  </a:lnTo>
                  <a:lnTo>
                    <a:pt x="97" y="69"/>
                  </a:lnTo>
                  <a:lnTo>
                    <a:pt x="97" y="62"/>
                  </a:lnTo>
                  <a:lnTo>
                    <a:pt x="99" y="57"/>
                  </a:lnTo>
                  <a:lnTo>
                    <a:pt x="99" y="55"/>
                  </a:lnTo>
                  <a:lnTo>
                    <a:pt x="101" y="52"/>
                  </a:lnTo>
                  <a:lnTo>
                    <a:pt x="99" y="50"/>
                  </a:lnTo>
                  <a:lnTo>
                    <a:pt x="97" y="50"/>
                  </a:lnTo>
                  <a:lnTo>
                    <a:pt x="97" y="45"/>
                  </a:lnTo>
                  <a:lnTo>
                    <a:pt x="97" y="43"/>
                  </a:lnTo>
                  <a:lnTo>
                    <a:pt x="101" y="40"/>
                  </a:lnTo>
                  <a:lnTo>
                    <a:pt x="101" y="40"/>
                  </a:lnTo>
                  <a:lnTo>
                    <a:pt x="101" y="40"/>
                  </a:lnTo>
                  <a:lnTo>
                    <a:pt x="104" y="40"/>
                  </a:lnTo>
                  <a:lnTo>
                    <a:pt x="113" y="36"/>
                  </a:lnTo>
                  <a:lnTo>
                    <a:pt x="115" y="36"/>
                  </a:lnTo>
                  <a:lnTo>
                    <a:pt x="120" y="33"/>
                  </a:lnTo>
                  <a:lnTo>
                    <a:pt x="122" y="36"/>
                  </a:lnTo>
                  <a:lnTo>
                    <a:pt x="122" y="36"/>
                  </a:lnTo>
                  <a:lnTo>
                    <a:pt x="120" y="38"/>
                  </a:lnTo>
                  <a:lnTo>
                    <a:pt x="120" y="40"/>
                  </a:lnTo>
                  <a:lnTo>
                    <a:pt x="122" y="40"/>
                  </a:lnTo>
                  <a:lnTo>
                    <a:pt x="125" y="40"/>
                  </a:lnTo>
                  <a:lnTo>
                    <a:pt x="125" y="38"/>
                  </a:lnTo>
                  <a:lnTo>
                    <a:pt x="125" y="38"/>
                  </a:lnTo>
                  <a:lnTo>
                    <a:pt x="125" y="36"/>
                  </a:lnTo>
                  <a:lnTo>
                    <a:pt x="122" y="36"/>
                  </a:lnTo>
                  <a:lnTo>
                    <a:pt x="122" y="33"/>
                  </a:lnTo>
                  <a:lnTo>
                    <a:pt x="120" y="33"/>
                  </a:lnTo>
                  <a:lnTo>
                    <a:pt x="120" y="31"/>
                  </a:lnTo>
                  <a:lnTo>
                    <a:pt x="120" y="29"/>
                  </a:lnTo>
                  <a:lnTo>
                    <a:pt x="118" y="26"/>
                  </a:lnTo>
                  <a:lnTo>
                    <a:pt x="118" y="24"/>
                  </a:lnTo>
                  <a:lnTo>
                    <a:pt x="120" y="22"/>
                  </a:lnTo>
                  <a:lnTo>
                    <a:pt x="118" y="24"/>
                  </a:lnTo>
                  <a:lnTo>
                    <a:pt x="118" y="22"/>
                  </a:lnTo>
                  <a:lnTo>
                    <a:pt x="118" y="22"/>
                  </a:lnTo>
                  <a:lnTo>
                    <a:pt x="118" y="19"/>
                  </a:lnTo>
                  <a:lnTo>
                    <a:pt x="120" y="14"/>
                  </a:lnTo>
                  <a:lnTo>
                    <a:pt x="118" y="14"/>
                  </a:lnTo>
                  <a:lnTo>
                    <a:pt x="113" y="14"/>
                  </a:lnTo>
                  <a:lnTo>
                    <a:pt x="104" y="12"/>
                  </a:lnTo>
                  <a:lnTo>
                    <a:pt x="101" y="10"/>
                  </a:lnTo>
                  <a:lnTo>
                    <a:pt x="99" y="10"/>
                  </a:lnTo>
                  <a:lnTo>
                    <a:pt x="97" y="7"/>
                  </a:lnTo>
                  <a:lnTo>
                    <a:pt x="94" y="5"/>
                  </a:lnTo>
                  <a:lnTo>
                    <a:pt x="94" y="3"/>
                  </a:lnTo>
                  <a:lnTo>
                    <a:pt x="94" y="0"/>
                  </a:lnTo>
                  <a:lnTo>
                    <a:pt x="94" y="0"/>
                  </a:lnTo>
                  <a:lnTo>
                    <a:pt x="92" y="0"/>
                  </a:lnTo>
                  <a:lnTo>
                    <a:pt x="89" y="3"/>
                  </a:lnTo>
                  <a:lnTo>
                    <a:pt x="87" y="3"/>
                  </a:lnTo>
                  <a:lnTo>
                    <a:pt x="80" y="3"/>
                  </a:lnTo>
                  <a:lnTo>
                    <a:pt x="75" y="5"/>
                  </a:lnTo>
                  <a:lnTo>
                    <a:pt x="71" y="7"/>
                  </a:lnTo>
                  <a:lnTo>
                    <a:pt x="68" y="7"/>
                  </a:lnTo>
                  <a:lnTo>
                    <a:pt x="63"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69" name="Freeform 214">
              <a:extLst>
                <a:ext uri="{FF2B5EF4-FFF2-40B4-BE49-F238E27FC236}">
                  <a16:creationId xmlns:a16="http://schemas.microsoft.com/office/drawing/2014/main" id="{89B5CB82-5DE2-4657-B27C-939890EA1034}"/>
                </a:ext>
              </a:extLst>
            </p:cNvPr>
            <p:cNvSpPr>
              <a:spLocks/>
            </p:cNvSpPr>
            <p:nvPr/>
          </p:nvSpPr>
          <p:spPr bwMode="auto">
            <a:xfrm>
              <a:off x="1462929" y="3055903"/>
              <a:ext cx="325437" cy="346075"/>
            </a:xfrm>
            <a:custGeom>
              <a:avLst/>
              <a:gdLst>
                <a:gd name="T0" fmla="*/ 61 w 205"/>
                <a:gd name="T1" fmla="*/ 12 h 218"/>
                <a:gd name="T2" fmla="*/ 59 w 205"/>
                <a:gd name="T3" fmla="*/ 19 h 218"/>
                <a:gd name="T4" fmla="*/ 47 w 205"/>
                <a:gd name="T5" fmla="*/ 17 h 218"/>
                <a:gd name="T6" fmla="*/ 40 w 205"/>
                <a:gd name="T7" fmla="*/ 29 h 218"/>
                <a:gd name="T8" fmla="*/ 30 w 205"/>
                <a:gd name="T9" fmla="*/ 24 h 218"/>
                <a:gd name="T10" fmla="*/ 23 w 205"/>
                <a:gd name="T11" fmla="*/ 24 h 218"/>
                <a:gd name="T12" fmla="*/ 7 w 205"/>
                <a:gd name="T13" fmla="*/ 31 h 218"/>
                <a:gd name="T14" fmla="*/ 2 w 205"/>
                <a:gd name="T15" fmla="*/ 36 h 218"/>
                <a:gd name="T16" fmla="*/ 0 w 205"/>
                <a:gd name="T17" fmla="*/ 50 h 218"/>
                <a:gd name="T18" fmla="*/ 4 w 205"/>
                <a:gd name="T19" fmla="*/ 57 h 218"/>
                <a:gd name="T20" fmla="*/ 4 w 205"/>
                <a:gd name="T21" fmla="*/ 69 h 218"/>
                <a:gd name="T22" fmla="*/ 16 w 205"/>
                <a:gd name="T23" fmla="*/ 78 h 218"/>
                <a:gd name="T24" fmla="*/ 21 w 205"/>
                <a:gd name="T25" fmla="*/ 81 h 218"/>
                <a:gd name="T26" fmla="*/ 30 w 205"/>
                <a:gd name="T27" fmla="*/ 71 h 218"/>
                <a:gd name="T28" fmla="*/ 42 w 205"/>
                <a:gd name="T29" fmla="*/ 69 h 218"/>
                <a:gd name="T30" fmla="*/ 61 w 205"/>
                <a:gd name="T31" fmla="*/ 83 h 218"/>
                <a:gd name="T32" fmla="*/ 73 w 205"/>
                <a:gd name="T33" fmla="*/ 107 h 218"/>
                <a:gd name="T34" fmla="*/ 82 w 205"/>
                <a:gd name="T35" fmla="*/ 114 h 218"/>
                <a:gd name="T36" fmla="*/ 99 w 205"/>
                <a:gd name="T37" fmla="*/ 130 h 218"/>
                <a:gd name="T38" fmla="*/ 120 w 205"/>
                <a:gd name="T39" fmla="*/ 142 h 218"/>
                <a:gd name="T40" fmla="*/ 134 w 205"/>
                <a:gd name="T41" fmla="*/ 154 h 218"/>
                <a:gd name="T42" fmla="*/ 141 w 205"/>
                <a:gd name="T43" fmla="*/ 156 h 218"/>
                <a:gd name="T44" fmla="*/ 146 w 205"/>
                <a:gd name="T45" fmla="*/ 166 h 218"/>
                <a:gd name="T46" fmla="*/ 153 w 205"/>
                <a:gd name="T47" fmla="*/ 168 h 218"/>
                <a:gd name="T48" fmla="*/ 158 w 205"/>
                <a:gd name="T49" fmla="*/ 177 h 218"/>
                <a:gd name="T50" fmla="*/ 163 w 205"/>
                <a:gd name="T51" fmla="*/ 199 h 218"/>
                <a:gd name="T52" fmla="*/ 156 w 205"/>
                <a:gd name="T53" fmla="*/ 210 h 218"/>
                <a:gd name="T54" fmla="*/ 158 w 205"/>
                <a:gd name="T55" fmla="*/ 218 h 218"/>
                <a:gd name="T56" fmla="*/ 165 w 205"/>
                <a:gd name="T57" fmla="*/ 210 h 218"/>
                <a:gd name="T58" fmla="*/ 172 w 205"/>
                <a:gd name="T59" fmla="*/ 206 h 218"/>
                <a:gd name="T60" fmla="*/ 179 w 205"/>
                <a:gd name="T61" fmla="*/ 194 h 218"/>
                <a:gd name="T62" fmla="*/ 182 w 205"/>
                <a:gd name="T63" fmla="*/ 187 h 218"/>
                <a:gd name="T64" fmla="*/ 174 w 205"/>
                <a:gd name="T65" fmla="*/ 177 h 218"/>
                <a:gd name="T66" fmla="*/ 174 w 205"/>
                <a:gd name="T67" fmla="*/ 163 h 218"/>
                <a:gd name="T68" fmla="*/ 193 w 205"/>
                <a:gd name="T69" fmla="*/ 163 h 218"/>
                <a:gd name="T70" fmla="*/ 203 w 205"/>
                <a:gd name="T71" fmla="*/ 173 h 218"/>
                <a:gd name="T72" fmla="*/ 203 w 205"/>
                <a:gd name="T73" fmla="*/ 163 h 218"/>
                <a:gd name="T74" fmla="*/ 182 w 205"/>
                <a:gd name="T75" fmla="*/ 147 h 218"/>
                <a:gd name="T76" fmla="*/ 163 w 205"/>
                <a:gd name="T77" fmla="*/ 137 h 218"/>
                <a:gd name="T78" fmla="*/ 163 w 205"/>
                <a:gd name="T79" fmla="*/ 133 h 218"/>
                <a:gd name="T80" fmla="*/ 160 w 205"/>
                <a:gd name="T81" fmla="*/ 125 h 218"/>
                <a:gd name="T82" fmla="*/ 148 w 205"/>
                <a:gd name="T83" fmla="*/ 125 h 218"/>
                <a:gd name="T84" fmla="*/ 139 w 205"/>
                <a:gd name="T85" fmla="*/ 123 h 218"/>
                <a:gd name="T86" fmla="*/ 130 w 205"/>
                <a:gd name="T87" fmla="*/ 111 h 218"/>
                <a:gd name="T88" fmla="*/ 122 w 205"/>
                <a:gd name="T89" fmla="*/ 92 h 218"/>
                <a:gd name="T90" fmla="*/ 115 w 205"/>
                <a:gd name="T91" fmla="*/ 85 h 218"/>
                <a:gd name="T92" fmla="*/ 99 w 205"/>
                <a:gd name="T93" fmla="*/ 73 h 218"/>
                <a:gd name="T94" fmla="*/ 99 w 205"/>
                <a:gd name="T95" fmla="*/ 57 h 218"/>
                <a:gd name="T96" fmla="*/ 97 w 205"/>
                <a:gd name="T97" fmla="*/ 50 h 218"/>
                <a:gd name="T98" fmla="*/ 101 w 205"/>
                <a:gd name="T99" fmla="*/ 40 h 218"/>
                <a:gd name="T100" fmla="*/ 115 w 205"/>
                <a:gd name="T101" fmla="*/ 36 h 218"/>
                <a:gd name="T102" fmla="*/ 120 w 205"/>
                <a:gd name="T103" fmla="*/ 38 h 218"/>
                <a:gd name="T104" fmla="*/ 125 w 205"/>
                <a:gd name="T105" fmla="*/ 38 h 218"/>
                <a:gd name="T106" fmla="*/ 122 w 205"/>
                <a:gd name="T107" fmla="*/ 33 h 218"/>
                <a:gd name="T108" fmla="*/ 118 w 205"/>
                <a:gd name="T109" fmla="*/ 26 h 218"/>
                <a:gd name="T110" fmla="*/ 118 w 205"/>
                <a:gd name="T111" fmla="*/ 22 h 218"/>
                <a:gd name="T112" fmla="*/ 118 w 205"/>
                <a:gd name="T113" fmla="*/ 14 h 218"/>
                <a:gd name="T114" fmla="*/ 99 w 205"/>
                <a:gd name="T115" fmla="*/ 10 h 218"/>
                <a:gd name="T116" fmla="*/ 94 w 205"/>
                <a:gd name="T117" fmla="*/ 0 h 218"/>
                <a:gd name="T118" fmla="*/ 87 w 205"/>
                <a:gd name="T119" fmla="*/ 3 h 218"/>
                <a:gd name="T120" fmla="*/ 68 w 205"/>
                <a:gd name="T121" fmla="*/ 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 h="218">
                  <a:moveTo>
                    <a:pt x="63" y="7"/>
                  </a:moveTo>
                  <a:lnTo>
                    <a:pt x="63" y="10"/>
                  </a:lnTo>
                  <a:lnTo>
                    <a:pt x="63" y="12"/>
                  </a:lnTo>
                  <a:lnTo>
                    <a:pt x="61" y="12"/>
                  </a:lnTo>
                  <a:lnTo>
                    <a:pt x="59" y="12"/>
                  </a:lnTo>
                  <a:lnTo>
                    <a:pt x="59" y="14"/>
                  </a:lnTo>
                  <a:lnTo>
                    <a:pt x="59" y="17"/>
                  </a:lnTo>
                  <a:lnTo>
                    <a:pt x="59" y="19"/>
                  </a:lnTo>
                  <a:lnTo>
                    <a:pt x="59" y="22"/>
                  </a:lnTo>
                  <a:lnTo>
                    <a:pt x="52" y="19"/>
                  </a:lnTo>
                  <a:lnTo>
                    <a:pt x="49" y="19"/>
                  </a:lnTo>
                  <a:lnTo>
                    <a:pt x="47" y="17"/>
                  </a:lnTo>
                  <a:lnTo>
                    <a:pt x="45" y="17"/>
                  </a:lnTo>
                  <a:lnTo>
                    <a:pt x="45" y="19"/>
                  </a:lnTo>
                  <a:lnTo>
                    <a:pt x="40" y="26"/>
                  </a:lnTo>
                  <a:lnTo>
                    <a:pt x="40" y="29"/>
                  </a:lnTo>
                  <a:lnTo>
                    <a:pt x="40" y="31"/>
                  </a:lnTo>
                  <a:lnTo>
                    <a:pt x="37" y="29"/>
                  </a:lnTo>
                  <a:lnTo>
                    <a:pt x="35" y="26"/>
                  </a:lnTo>
                  <a:lnTo>
                    <a:pt x="30" y="24"/>
                  </a:lnTo>
                  <a:lnTo>
                    <a:pt x="30" y="17"/>
                  </a:lnTo>
                  <a:lnTo>
                    <a:pt x="26" y="19"/>
                  </a:lnTo>
                  <a:lnTo>
                    <a:pt x="23" y="22"/>
                  </a:lnTo>
                  <a:lnTo>
                    <a:pt x="23" y="24"/>
                  </a:lnTo>
                  <a:lnTo>
                    <a:pt x="23" y="26"/>
                  </a:lnTo>
                  <a:lnTo>
                    <a:pt x="19" y="29"/>
                  </a:lnTo>
                  <a:lnTo>
                    <a:pt x="16" y="29"/>
                  </a:lnTo>
                  <a:lnTo>
                    <a:pt x="7" y="31"/>
                  </a:lnTo>
                  <a:lnTo>
                    <a:pt x="4" y="31"/>
                  </a:lnTo>
                  <a:lnTo>
                    <a:pt x="2" y="31"/>
                  </a:lnTo>
                  <a:lnTo>
                    <a:pt x="2" y="33"/>
                  </a:lnTo>
                  <a:lnTo>
                    <a:pt x="2" y="36"/>
                  </a:lnTo>
                  <a:lnTo>
                    <a:pt x="4" y="43"/>
                  </a:lnTo>
                  <a:lnTo>
                    <a:pt x="7" y="45"/>
                  </a:lnTo>
                  <a:lnTo>
                    <a:pt x="2" y="48"/>
                  </a:lnTo>
                  <a:lnTo>
                    <a:pt x="0" y="50"/>
                  </a:lnTo>
                  <a:lnTo>
                    <a:pt x="0" y="52"/>
                  </a:lnTo>
                  <a:lnTo>
                    <a:pt x="0" y="55"/>
                  </a:lnTo>
                  <a:lnTo>
                    <a:pt x="2" y="57"/>
                  </a:lnTo>
                  <a:lnTo>
                    <a:pt x="4" y="57"/>
                  </a:lnTo>
                  <a:lnTo>
                    <a:pt x="4" y="59"/>
                  </a:lnTo>
                  <a:lnTo>
                    <a:pt x="2" y="62"/>
                  </a:lnTo>
                  <a:lnTo>
                    <a:pt x="4" y="66"/>
                  </a:lnTo>
                  <a:lnTo>
                    <a:pt x="4" y="69"/>
                  </a:lnTo>
                  <a:lnTo>
                    <a:pt x="7" y="71"/>
                  </a:lnTo>
                  <a:lnTo>
                    <a:pt x="14" y="73"/>
                  </a:lnTo>
                  <a:lnTo>
                    <a:pt x="16" y="76"/>
                  </a:lnTo>
                  <a:lnTo>
                    <a:pt x="16" y="78"/>
                  </a:lnTo>
                  <a:lnTo>
                    <a:pt x="14" y="81"/>
                  </a:lnTo>
                  <a:lnTo>
                    <a:pt x="14" y="81"/>
                  </a:lnTo>
                  <a:lnTo>
                    <a:pt x="19" y="81"/>
                  </a:lnTo>
                  <a:lnTo>
                    <a:pt x="21" y="81"/>
                  </a:lnTo>
                  <a:lnTo>
                    <a:pt x="26" y="78"/>
                  </a:lnTo>
                  <a:lnTo>
                    <a:pt x="26" y="76"/>
                  </a:lnTo>
                  <a:lnTo>
                    <a:pt x="28" y="73"/>
                  </a:lnTo>
                  <a:lnTo>
                    <a:pt x="30" y="71"/>
                  </a:lnTo>
                  <a:lnTo>
                    <a:pt x="30" y="69"/>
                  </a:lnTo>
                  <a:lnTo>
                    <a:pt x="37" y="66"/>
                  </a:lnTo>
                  <a:lnTo>
                    <a:pt x="40" y="66"/>
                  </a:lnTo>
                  <a:lnTo>
                    <a:pt x="42" y="69"/>
                  </a:lnTo>
                  <a:lnTo>
                    <a:pt x="54" y="76"/>
                  </a:lnTo>
                  <a:lnTo>
                    <a:pt x="61" y="78"/>
                  </a:lnTo>
                  <a:lnTo>
                    <a:pt x="61" y="78"/>
                  </a:lnTo>
                  <a:lnTo>
                    <a:pt x="61" y="83"/>
                  </a:lnTo>
                  <a:lnTo>
                    <a:pt x="66" y="95"/>
                  </a:lnTo>
                  <a:lnTo>
                    <a:pt x="68" y="97"/>
                  </a:lnTo>
                  <a:lnTo>
                    <a:pt x="66" y="99"/>
                  </a:lnTo>
                  <a:lnTo>
                    <a:pt x="73" y="107"/>
                  </a:lnTo>
                  <a:lnTo>
                    <a:pt x="78" y="111"/>
                  </a:lnTo>
                  <a:lnTo>
                    <a:pt x="78" y="116"/>
                  </a:lnTo>
                  <a:lnTo>
                    <a:pt x="80" y="114"/>
                  </a:lnTo>
                  <a:lnTo>
                    <a:pt x="82" y="114"/>
                  </a:lnTo>
                  <a:lnTo>
                    <a:pt x="85" y="116"/>
                  </a:lnTo>
                  <a:lnTo>
                    <a:pt x="89" y="123"/>
                  </a:lnTo>
                  <a:lnTo>
                    <a:pt x="92" y="123"/>
                  </a:lnTo>
                  <a:lnTo>
                    <a:pt x="99" y="130"/>
                  </a:lnTo>
                  <a:lnTo>
                    <a:pt x="104" y="135"/>
                  </a:lnTo>
                  <a:lnTo>
                    <a:pt x="111" y="142"/>
                  </a:lnTo>
                  <a:lnTo>
                    <a:pt x="113" y="142"/>
                  </a:lnTo>
                  <a:lnTo>
                    <a:pt x="120" y="142"/>
                  </a:lnTo>
                  <a:lnTo>
                    <a:pt x="122" y="142"/>
                  </a:lnTo>
                  <a:lnTo>
                    <a:pt x="127" y="147"/>
                  </a:lnTo>
                  <a:lnTo>
                    <a:pt x="130" y="151"/>
                  </a:lnTo>
                  <a:lnTo>
                    <a:pt x="134" y="154"/>
                  </a:lnTo>
                  <a:lnTo>
                    <a:pt x="134" y="154"/>
                  </a:lnTo>
                  <a:lnTo>
                    <a:pt x="134" y="156"/>
                  </a:lnTo>
                  <a:lnTo>
                    <a:pt x="139" y="156"/>
                  </a:lnTo>
                  <a:lnTo>
                    <a:pt x="141" y="156"/>
                  </a:lnTo>
                  <a:lnTo>
                    <a:pt x="144" y="159"/>
                  </a:lnTo>
                  <a:lnTo>
                    <a:pt x="144" y="161"/>
                  </a:lnTo>
                  <a:lnTo>
                    <a:pt x="144" y="163"/>
                  </a:lnTo>
                  <a:lnTo>
                    <a:pt x="146" y="166"/>
                  </a:lnTo>
                  <a:lnTo>
                    <a:pt x="148" y="168"/>
                  </a:lnTo>
                  <a:lnTo>
                    <a:pt x="151" y="168"/>
                  </a:lnTo>
                  <a:lnTo>
                    <a:pt x="151" y="170"/>
                  </a:lnTo>
                  <a:lnTo>
                    <a:pt x="153" y="168"/>
                  </a:lnTo>
                  <a:lnTo>
                    <a:pt x="156" y="168"/>
                  </a:lnTo>
                  <a:lnTo>
                    <a:pt x="158" y="173"/>
                  </a:lnTo>
                  <a:lnTo>
                    <a:pt x="158" y="175"/>
                  </a:lnTo>
                  <a:lnTo>
                    <a:pt x="158" y="177"/>
                  </a:lnTo>
                  <a:lnTo>
                    <a:pt x="163" y="185"/>
                  </a:lnTo>
                  <a:lnTo>
                    <a:pt x="163" y="189"/>
                  </a:lnTo>
                  <a:lnTo>
                    <a:pt x="165" y="196"/>
                  </a:lnTo>
                  <a:lnTo>
                    <a:pt x="163" y="199"/>
                  </a:lnTo>
                  <a:lnTo>
                    <a:pt x="158" y="201"/>
                  </a:lnTo>
                  <a:lnTo>
                    <a:pt x="160" y="203"/>
                  </a:lnTo>
                  <a:lnTo>
                    <a:pt x="158" y="208"/>
                  </a:lnTo>
                  <a:lnTo>
                    <a:pt x="156" y="210"/>
                  </a:lnTo>
                  <a:lnTo>
                    <a:pt x="158" y="215"/>
                  </a:lnTo>
                  <a:lnTo>
                    <a:pt x="158" y="218"/>
                  </a:lnTo>
                  <a:lnTo>
                    <a:pt x="158" y="215"/>
                  </a:lnTo>
                  <a:lnTo>
                    <a:pt x="158" y="218"/>
                  </a:lnTo>
                  <a:lnTo>
                    <a:pt x="160" y="218"/>
                  </a:lnTo>
                  <a:lnTo>
                    <a:pt x="163" y="218"/>
                  </a:lnTo>
                  <a:lnTo>
                    <a:pt x="163" y="215"/>
                  </a:lnTo>
                  <a:lnTo>
                    <a:pt x="165" y="210"/>
                  </a:lnTo>
                  <a:lnTo>
                    <a:pt x="167" y="208"/>
                  </a:lnTo>
                  <a:lnTo>
                    <a:pt x="170" y="208"/>
                  </a:lnTo>
                  <a:lnTo>
                    <a:pt x="172" y="206"/>
                  </a:lnTo>
                  <a:lnTo>
                    <a:pt x="172" y="206"/>
                  </a:lnTo>
                  <a:lnTo>
                    <a:pt x="172" y="199"/>
                  </a:lnTo>
                  <a:lnTo>
                    <a:pt x="172" y="196"/>
                  </a:lnTo>
                  <a:lnTo>
                    <a:pt x="177" y="196"/>
                  </a:lnTo>
                  <a:lnTo>
                    <a:pt x="179" y="194"/>
                  </a:lnTo>
                  <a:lnTo>
                    <a:pt x="182" y="194"/>
                  </a:lnTo>
                  <a:lnTo>
                    <a:pt x="182" y="192"/>
                  </a:lnTo>
                  <a:lnTo>
                    <a:pt x="182" y="187"/>
                  </a:lnTo>
                  <a:lnTo>
                    <a:pt x="182" y="187"/>
                  </a:lnTo>
                  <a:lnTo>
                    <a:pt x="182" y="182"/>
                  </a:lnTo>
                  <a:lnTo>
                    <a:pt x="179" y="182"/>
                  </a:lnTo>
                  <a:lnTo>
                    <a:pt x="177" y="180"/>
                  </a:lnTo>
                  <a:lnTo>
                    <a:pt x="174" y="177"/>
                  </a:lnTo>
                  <a:lnTo>
                    <a:pt x="172" y="177"/>
                  </a:lnTo>
                  <a:lnTo>
                    <a:pt x="172" y="173"/>
                  </a:lnTo>
                  <a:lnTo>
                    <a:pt x="172" y="168"/>
                  </a:lnTo>
                  <a:lnTo>
                    <a:pt x="174" y="163"/>
                  </a:lnTo>
                  <a:lnTo>
                    <a:pt x="179" y="159"/>
                  </a:lnTo>
                  <a:lnTo>
                    <a:pt x="182" y="159"/>
                  </a:lnTo>
                  <a:lnTo>
                    <a:pt x="189" y="163"/>
                  </a:lnTo>
                  <a:lnTo>
                    <a:pt x="193" y="163"/>
                  </a:lnTo>
                  <a:lnTo>
                    <a:pt x="196" y="166"/>
                  </a:lnTo>
                  <a:lnTo>
                    <a:pt x="198" y="168"/>
                  </a:lnTo>
                  <a:lnTo>
                    <a:pt x="198" y="173"/>
                  </a:lnTo>
                  <a:lnTo>
                    <a:pt x="203" y="173"/>
                  </a:lnTo>
                  <a:lnTo>
                    <a:pt x="203" y="173"/>
                  </a:lnTo>
                  <a:lnTo>
                    <a:pt x="205" y="168"/>
                  </a:lnTo>
                  <a:lnTo>
                    <a:pt x="205" y="166"/>
                  </a:lnTo>
                  <a:lnTo>
                    <a:pt x="203" y="163"/>
                  </a:lnTo>
                  <a:lnTo>
                    <a:pt x="198" y="159"/>
                  </a:lnTo>
                  <a:lnTo>
                    <a:pt x="196" y="154"/>
                  </a:lnTo>
                  <a:lnTo>
                    <a:pt x="184" y="149"/>
                  </a:lnTo>
                  <a:lnTo>
                    <a:pt x="182" y="147"/>
                  </a:lnTo>
                  <a:lnTo>
                    <a:pt x="179" y="144"/>
                  </a:lnTo>
                  <a:lnTo>
                    <a:pt x="167" y="140"/>
                  </a:lnTo>
                  <a:lnTo>
                    <a:pt x="165" y="137"/>
                  </a:lnTo>
                  <a:lnTo>
                    <a:pt x="163" y="137"/>
                  </a:lnTo>
                  <a:lnTo>
                    <a:pt x="160" y="137"/>
                  </a:lnTo>
                  <a:lnTo>
                    <a:pt x="160" y="135"/>
                  </a:lnTo>
                  <a:lnTo>
                    <a:pt x="160" y="135"/>
                  </a:lnTo>
                  <a:lnTo>
                    <a:pt x="163" y="133"/>
                  </a:lnTo>
                  <a:lnTo>
                    <a:pt x="165" y="130"/>
                  </a:lnTo>
                  <a:lnTo>
                    <a:pt x="165" y="128"/>
                  </a:lnTo>
                  <a:lnTo>
                    <a:pt x="163" y="125"/>
                  </a:lnTo>
                  <a:lnTo>
                    <a:pt x="160" y="125"/>
                  </a:lnTo>
                  <a:lnTo>
                    <a:pt x="158" y="125"/>
                  </a:lnTo>
                  <a:lnTo>
                    <a:pt x="160" y="125"/>
                  </a:lnTo>
                  <a:lnTo>
                    <a:pt x="158" y="125"/>
                  </a:lnTo>
                  <a:lnTo>
                    <a:pt x="148" y="125"/>
                  </a:lnTo>
                  <a:lnTo>
                    <a:pt x="148" y="128"/>
                  </a:lnTo>
                  <a:lnTo>
                    <a:pt x="144" y="125"/>
                  </a:lnTo>
                  <a:lnTo>
                    <a:pt x="141" y="123"/>
                  </a:lnTo>
                  <a:lnTo>
                    <a:pt x="139" y="123"/>
                  </a:lnTo>
                  <a:lnTo>
                    <a:pt x="139" y="118"/>
                  </a:lnTo>
                  <a:lnTo>
                    <a:pt x="137" y="118"/>
                  </a:lnTo>
                  <a:lnTo>
                    <a:pt x="130" y="114"/>
                  </a:lnTo>
                  <a:lnTo>
                    <a:pt x="130" y="111"/>
                  </a:lnTo>
                  <a:lnTo>
                    <a:pt x="127" y="107"/>
                  </a:lnTo>
                  <a:lnTo>
                    <a:pt x="125" y="99"/>
                  </a:lnTo>
                  <a:lnTo>
                    <a:pt x="122" y="99"/>
                  </a:lnTo>
                  <a:lnTo>
                    <a:pt x="122" y="92"/>
                  </a:lnTo>
                  <a:lnTo>
                    <a:pt x="120" y="85"/>
                  </a:lnTo>
                  <a:lnTo>
                    <a:pt x="118" y="85"/>
                  </a:lnTo>
                  <a:lnTo>
                    <a:pt x="115" y="85"/>
                  </a:lnTo>
                  <a:lnTo>
                    <a:pt x="115" y="85"/>
                  </a:lnTo>
                  <a:lnTo>
                    <a:pt x="111" y="81"/>
                  </a:lnTo>
                  <a:lnTo>
                    <a:pt x="108" y="78"/>
                  </a:lnTo>
                  <a:lnTo>
                    <a:pt x="101" y="76"/>
                  </a:lnTo>
                  <a:lnTo>
                    <a:pt x="99" y="73"/>
                  </a:lnTo>
                  <a:lnTo>
                    <a:pt x="99" y="71"/>
                  </a:lnTo>
                  <a:lnTo>
                    <a:pt x="97" y="69"/>
                  </a:lnTo>
                  <a:lnTo>
                    <a:pt x="97" y="62"/>
                  </a:lnTo>
                  <a:lnTo>
                    <a:pt x="99" y="57"/>
                  </a:lnTo>
                  <a:lnTo>
                    <a:pt x="99" y="55"/>
                  </a:lnTo>
                  <a:lnTo>
                    <a:pt x="101" y="52"/>
                  </a:lnTo>
                  <a:lnTo>
                    <a:pt x="99" y="50"/>
                  </a:lnTo>
                  <a:lnTo>
                    <a:pt x="97" y="50"/>
                  </a:lnTo>
                  <a:lnTo>
                    <a:pt x="97" y="45"/>
                  </a:lnTo>
                  <a:lnTo>
                    <a:pt x="97" y="43"/>
                  </a:lnTo>
                  <a:lnTo>
                    <a:pt x="101" y="40"/>
                  </a:lnTo>
                  <a:lnTo>
                    <a:pt x="101" y="40"/>
                  </a:lnTo>
                  <a:lnTo>
                    <a:pt x="101" y="40"/>
                  </a:lnTo>
                  <a:lnTo>
                    <a:pt x="104" y="40"/>
                  </a:lnTo>
                  <a:lnTo>
                    <a:pt x="113" y="36"/>
                  </a:lnTo>
                  <a:lnTo>
                    <a:pt x="115" y="36"/>
                  </a:lnTo>
                  <a:lnTo>
                    <a:pt x="120" y="33"/>
                  </a:lnTo>
                  <a:lnTo>
                    <a:pt x="122" y="36"/>
                  </a:lnTo>
                  <a:lnTo>
                    <a:pt x="122" y="36"/>
                  </a:lnTo>
                  <a:lnTo>
                    <a:pt x="120" y="38"/>
                  </a:lnTo>
                  <a:lnTo>
                    <a:pt x="120" y="40"/>
                  </a:lnTo>
                  <a:lnTo>
                    <a:pt x="122" y="40"/>
                  </a:lnTo>
                  <a:lnTo>
                    <a:pt x="125" y="40"/>
                  </a:lnTo>
                  <a:lnTo>
                    <a:pt x="125" y="38"/>
                  </a:lnTo>
                  <a:lnTo>
                    <a:pt x="125" y="38"/>
                  </a:lnTo>
                  <a:lnTo>
                    <a:pt x="125" y="36"/>
                  </a:lnTo>
                  <a:lnTo>
                    <a:pt x="122" y="36"/>
                  </a:lnTo>
                  <a:lnTo>
                    <a:pt x="122" y="33"/>
                  </a:lnTo>
                  <a:lnTo>
                    <a:pt x="120" y="33"/>
                  </a:lnTo>
                  <a:lnTo>
                    <a:pt x="120" y="31"/>
                  </a:lnTo>
                  <a:lnTo>
                    <a:pt x="120" y="29"/>
                  </a:lnTo>
                  <a:lnTo>
                    <a:pt x="118" y="26"/>
                  </a:lnTo>
                  <a:lnTo>
                    <a:pt x="118" y="24"/>
                  </a:lnTo>
                  <a:lnTo>
                    <a:pt x="120" y="22"/>
                  </a:lnTo>
                  <a:lnTo>
                    <a:pt x="118" y="24"/>
                  </a:lnTo>
                  <a:lnTo>
                    <a:pt x="118" y="22"/>
                  </a:lnTo>
                  <a:lnTo>
                    <a:pt x="118" y="22"/>
                  </a:lnTo>
                  <a:lnTo>
                    <a:pt x="118" y="19"/>
                  </a:lnTo>
                  <a:lnTo>
                    <a:pt x="120" y="14"/>
                  </a:lnTo>
                  <a:lnTo>
                    <a:pt x="118" y="14"/>
                  </a:lnTo>
                  <a:lnTo>
                    <a:pt x="113" y="14"/>
                  </a:lnTo>
                  <a:lnTo>
                    <a:pt x="104" y="12"/>
                  </a:lnTo>
                  <a:lnTo>
                    <a:pt x="101" y="10"/>
                  </a:lnTo>
                  <a:lnTo>
                    <a:pt x="99" y="10"/>
                  </a:lnTo>
                  <a:lnTo>
                    <a:pt x="97" y="7"/>
                  </a:lnTo>
                  <a:lnTo>
                    <a:pt x="94" y="5"/>
                  </a:lnTo>
                  <a:lnTo>
                    <a:pt x="94" y="3"/>
                  </a:lnTo>
                  <a:lnTo>
                    <a:pt x="94" y="0"/>
                  </a:lnTo>
                  <a:lnTo>
                    <a:pt x="94" y="0"/>
                  </a:lnTo>
                  <a:lnTo>
                    <a:pt x="92" y="0"/>
                  </a:lnTo>
                  <a:lnTo>
                    <a:pt x="89" y="3"/>
                  </a:lnTo>
                  <a:lnTo>
                    <a:pt x="87" y="3"/>
                  </a:lnTo>
                  <a:lnTo>
                    <a:pt x="80" y="3"/>
                  </a:lnTo>
                  <a:lnTo>
                    <a:pt x="75" y="5"/>
                  </a:lnTo>
                  <a:lnTo>
                    <a:pt x="71" y="7"/>
                  </a:lnTo>
                  <a:lnTo>
                    <a:pt x="68" y="7"/>
                  </a:lnTo>
                  <a:lnTo>
                    <a:pt x="63" y="7"/>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0" name="Freeform 215">
              <a:extLst>
                <a:ext uri="{FF2B5EF4-FFF2-40B4-BE49-F238E27FC236}">
                  <a16:creationId xmlns:a16="http://schemas.microsoft.com/office/drawing/2014/main" id="{3C702674-E4D3-4CAF-A42C-FB36FDF33F6F}"/>
                </a:ext>
              </a:extLst>
            </p:cNvPr>
            <p:cNvSpPr>
              <a:spLocks/>
            </p:cNvSpPr>
            <p:nvPr/>
          </p:nvSpPr>
          <p:spPr bwMode="auto">
            <a:xfrm>
              <a:off x="1713753" y="3124166"/>
              <a:ext cx="107950" cy="112713"/>
            </a:xfrm>
            <a:custGeom>
              <a:avLst/>
              <a:gdLst>
                <a:gd name="T0" fmla="*/ 45 w 68"/>
                <a:gd name="T1" fmla="*/ 68 h 71"/>
                <a:gd name="T2" fmla="*/ 40 w 68"/>
                <a:gd name="T3" fmla="*/ 61 h 71"/>
                <a:gd name="T4" fmla="*/ 35 w 68"/>
                <a:gd name="T5" fmla="*/ 59 h 71"/>
                <a:gd name="T6" fmla="*/ 31 w 68"/>
                <a:gd name="T7" fmla="*/ 59 h 71"/>
                <a:gd name="T8" fmla="*/ 26 w 68"/>
                <a:gd name="T9" fmla="*/ 45 h 71"/>
                <a:gd name="T10" fmla="*/ 16 w 68"/>
                <a:gd name="T11" fmla="*/ 38 h 71"/>
                <a:gd name="T12" fmla="*/ 9 w 68"/>
                <a:gd name="T13" fmla="*/ 30 h 71"/>
                <a:gd name="T14" fmla="*/ 7 w 68"/>
                <a:gd name="T15" fmla="*/ 23 h 71"/>
                <a:gd name="T16" fmla="*/ 7 w 68"/>
                <a:gd name="T17" fmla="*/ 21 h 71"/>
                <a:gd name="T18" fmla="*/ 2 w 68"/>
                <a:gd name="T19" fmla="*/ 14 h 71"/>
                <a:gd name="T20" fmla="*/ 0 w 68"/>
                <a:gd name="T21" fmla="*/ 9 h 71"/>
                <a:gd name="T22" fmla="*/ 2 w 68"/>
                <a:gd name="T23" fmla="*/ 2 h 71"/>
                <a:gd name="T24" fmla="*/ 9 w 68"/>
                <a:gd name="T25" fmla="*/ 7 h 71"/>
                <a:gd name="T26" fmla="*/ 19 w 68"/>
                <a:gd name="T27" fmla="*/ 2 h 71"/>
                <a:gd name="T28" fmla="*/ 24 w 68"/>
                <a:gd name="T29" fmla="*/ 5 h 71"/>
                <a:gd name="T30" fmla="*/ 28 w 68"/>
                <a:gd name="T31" fmla="*/ 5 h 71"/>
                <a:gd name="T32" fmla="*/ 33 w 68"/>
                <a:gd name="T33" fmla="*/ 5 h 71"/>
                <a:gd name="T34" fmla="*/ 38 w 68"/>
                <a:gd name="T35" fmla="*/ 5 h 71"/>
                <a:gd name="T36" fmla="*/ 42 w 68"/>
                <a:gd name="T37" fmla="*/ 7 h 71"/>
                <a:gd name="T38" fmla="*/ 47 w 68"/>
                <a:gd name="T39" fmla="*/ 7 h 71"/>
                <a:gd name="T40" fmla="*/ 50 w 68"/>
                <a:gd name="T41" fmla="*/ 5 h 71"/>
                <a:gd name="T42" fmla="*/ 52 w 68"/>
                <a:gd name="T43" fmla="*/ 9 h 71"/>
                <a:gd name="T44" fmla="*/ 59 w 68"/>
                <a:gd name="T45" fmla="*/ 9 h 71"/>
                <a:gd name="T46" fmla="*/ 64 w 68"/>
                <a:gd name="T47" fmla="*/ 12 h 71"/>
                <a:gd name="T48" fmla="*/ 59 w 68"/>
                <a:gd name="T49" fmla="*/ 19 h 71"/>
                <a:gd name="T50" fmla="*/ 59 w 68"/>
                <a:gd name="T51" fmla="*/ 21 h 71"/>
                <a:gd name="T52" fmla="*/ 59 w 68"/>
                <a:gd name="T53" fmla="*/ 26 h 71"/>
                <a:gd name="T54" fmla="*/ 61 w 68"/>
                <a:gd name="T55" fmla="*/ 26 h 71"/>
                <a:gd name="T56" fmla="*/ 66 w 68"/>
                <a:gd name="T57" fmla="*/ 28 h 71"/>
                <a:gd name="T58" fmla="*/ 66 w 68"/>
                <a:gd name="T59" fmla="*/ 30 h 71"/>
                <a:gd name="T60" fmla="*/ 66 w 68"/>
                <a:gd name="T61" fmla="*/ 33 h 71"/>
                <a:gd name="T62" fmla="*/ 61 w 68"/>
                <a:gd name="T63" fmla="*/ 33 h 71"/>
                <a:gd name="T64" fmla="*/ 64 w 68"/>
                <a:gd name="T65" fmla="*/ 35 h 71"/>
                <a:gd name="T66" fmla="*/ 66 w 68"/>
                <a:gd name="T67" fmla="*/ 42 h 71"/>
                <a:gd name="T68" fmla="*/ 64 w 68"/>
                <a:gd name="T69" fmla="*/ 42 h 71"/>
                <a:gd name="T70" fmla="*/ 61 w 68"/>
                <a:gd name="T71" fmla="*/ 45 h 71"/>
                <a:gd name="T72" fmla="*/ 57 w 68"/>
                <a:gd name="T73" fmla="*/ 45 h 71"/>
                <a:gd name="T74" fmla="*/ 54 w 68"/>
                <a:gd name="T75" fmla="*/ 45 h 71"/>
                <a:gd name="T76" fmla="*/ 57 w 68"/>
                <a:gd name="T77" fmla="*/ 47 h 71"/>
                <a:gd name="T78" fmla="*/ 57 w 68"/>
                <a:gd name="T79" fmla="*/ 52 h 71"/>
                <a:gd name="T80" fmla="*/ 57 w 68"/>
                <a:gd name="T81" fmla="*/ 49 h 71"/>
                <a:gd name="T82" fmla="*/ 52 w 68"/>
                <a:gd name="T83" fmla="*/ 49 h 71"/>
                <a:gd name="T84" fmla="*/ 50 w 68"/>
                <a:gd name="T85" fmla="*/ 54 h 71"/>
                <a:gd name="T86" fmla="*/ 47 w 68"/>
                <a:gd name="T87" fmla="*/ 56 h 71"/>
                <a:gd name="T88" fmla="*/ 47 w 68"/>
                <a:gd name="T89" fmla="*/ 61 h 71"/>
                <a:gd name="T90" fmla="*/ 50 w 68"/>
                <a:gd name="T91" fmla="*/ 6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71">
                  <a:moveTo>
                    <a:pt x="47" y="71"/>
                  </a:moveTo>
                  <a:lnTo>
                    <a:pt x="47" y="68"/>
                  </a:lnTo>
                  <a:lnTo>
                    <a:pt x="45" y="68"/>
                  </a:lnTo>
                  <a:lnTo>
                    <a:pt x="45" y="66"/>
                  </a:lnTo>
                  <a:lnTo>
                    <a:pt x="42" y="66"/>
                  </a:lnTo>
                  <a:lnTo>
                    <a:pt x="40" y="61"/>
                  </a:lnTo>
                  <a:lnTo>
                    <a:pt x="38" y="61"/>
                  </a:lnTo>
                  <a:lnTo>
                    <a:pt x="35" y="59"/>
                  </a:lnTo>
                  <a:lnTo>
                    <a:pt x="35" y="59"/>
                  </a:lnTo>
                  <a:lnTo>
                    <a:pt x="33" y="59"/>
                  </a:lnTo>
                  <a:lnTo>
                    <a:pt x="31" y="59"/>
                  </a:lnTo>
                  <a:lnTo>
                    <a:pt x="31" y="59"/>
                  </a:lnTo>
                  <a:lnTo>
                    <a:pt x="33" y="56"/>
                  </a:lnTo>
                  <a:lnTo>
                    <a:pt x="26" y="49"/>
                  </a:lnTo>
                  <a:lnTo>
                    <a:pt x="26" y="45"/>
                  </a:lnTo>
                  <a:lnTo>
                    <a:pt x="24" y="45"/>
                  </a:lnTo>
                  <a:lnTo>
                    <a:pt x="21" y="45"/>
                  </a:lnTo>
                  <a:lnTo>
                    <a:pt x="16" y="38"/>
                  </a:lnTo>
                  <a:lnTo>
                    <a:pt x="16" y="35"/>
                  </a:lnTo>
                  <a:lnTo>
                    <a:pt x="12" y="30"/>
                  </a:lnTo>
                  <a:lnTo>
                    <a:pt x="9" y="30"/>
                  </a:lnTo>
                  <a:lnTo>
                    <a:pt x="7" y="26"/>
                  </a:lnTo>
                  <a:lnTo>
                    <a:pt x="7" y="26"/>
                  </a:lnTo>
                  <a:lnTo>
                    <a:pt x="7" y="23"/>
                  </a:lnTo>
                  <a:lnTo>
                    <a:pt x="7" y="23"/>
                  </a:lnTo>
                  <a:lnTo>
                    <a:pt x="7" y="21"/>
                  </a:lnTo>
                  <a:lnTo>
                    <a:pt x="7" y="21"/>
                  </a:lnTo>
                  <a:lnTo>
                    <a:pt x="5" y="19"/>
                  </a:lnTo>
                  <a:lnTo>
                    <a:pt x="2" y="14"/>
                  </a:lnTo>
                  <a:lnTo>
                    <a:pt x="2" y="14"/>
                  </a:lnTo>
                  <a:lnTo>
                    <a:pt x="0" y="12"/>
                  </a:lnTo>
                  <a:lnTo>
                    <a:pt x="0" y="12"/>
                  </a:lnTo>
                  <a:lnTo>
                    <a:pt x="0" y="9"/>
                  </a:lnTo>
                  <a:lnTo>
                    <a:pt x="0" y="9"/>
                  </a:lnTo>
                  <a:lnTo>
                    <a:pt x="0" y="2"/>
                  </a:lnTo>
                  <a:lnTo>
                    <a:pt x="2" y="2"/>
                  </a:lnTo>
                  <a:lnTo>
                    <a:pt x="5" y="2"/>
                  </a:lnTo>
                  <a:lnTo>
                    <a:pt x="5" y="2"/>
                  </a:lnTo>
                  <a:lnTo>
                    <a:pt x="9" y="7"/>
                  </a:lnTo>
                  <a:lnTo>
                    <a:pt x="9" y="7"/>
                  </a:lnTo>
                  <a:lnTo>
                    <a:pt x="12" y="2"/>
                  </a:lnTo>
                  <a:lnTo>
                    <a:pt x="19" y="2"/>
                  </a:lnTo>
                  <a:lnTo>
                    <a:pt x="19" y="0"/>
                  </a:lnTo>
                  <a:lnTo>
                    <a:pt x="21" y="0"/>
                  </a:lnTo>
                  <a:lnTo>
                    <a:pt x="24" y="5"/>
                  </a:lnTo>
                  <a:lnTo>
                    <a:pt x="26" y="5"/>
                  </a:lnTo>
                  <a:lnTo>
                    <a:pt x="26" y="2"/>
                  </a:lnTo>
                  <a:lnTo>
                    <a:pt x="28" y="5"/>
                  </a:lnTo>
                  <a:lnTo>
                    <a:pt x="33" y="5"/>
                  </a:lnTo>
                  <a:lnTo>
                    <a:pt x="33" y="5"/>
                  </a:lnTo>
                  <a:lnTo>
                    <a:pt x="33" y="5"/>
                  </a:lnTo>
                  <a:lnTo>
                    <a:pt x="35" y="7"/>
                  </a:lnTo>
                  <a:lnTo>
                    <a:pt x="38" y="7"/>
                  </a:lnTo>
                  <a:lnTo>
                    <a:pt x="38" y="5"/>
                  </a:lnTo>
                  <a:lnTo>
                    <a:pt x="40" y="5"/>
                  </a:lnTo>
                  <a:lnTo>
                    <a:pt x="40" y="7"/>
                  </a:lnTo>
                  <a:lnTo>
                    <a:pt x="42" y="7"/>
                  </a:lnTo>
                  <a:lnTo>
                    <a:pt x="42" y="5"/>
                  </a:lnTo>
                  <a:lnTo>
                    <a:pt x="47" y="5"/>
                  </a:lnTo>
                  <a:lnTo>
                    <a:pt x="47" y="7"/>
                  </a:lnTo>
                  <a:lnTo>
                    <a:pt x="50" y="7"/>
                  </a:lnTo>
                  <a:lnTo>
                    <a:pt x="50" y="5"/>
                  </a:lnTo>
                  <a:lnTo>
                    <a:pt x="50" y="5"/>
                  </a:lnTo>
                  <a:lnTo>
                    <a:pt x="52" y="9"/>
                  </a:lnTo>
                  <a:lnTo>
                    <a:pt x="52" y="9"/>
                  </a:lnTo>
                  <a:lnTo>
                    <a:pt x="52" y="9"/>
                  </a:lnTo>
                  <a:lnTo>
                    <a:pt x="54" y="12"/>
                  </a:lnTo>
                  <a:lnTo>
                    <a:pt x="57" y="12"/>
                  </a:lnTo>
                  <a:lnTo>
                    <a:pt x="59" y="9"/>
                  </a:lnTo>
                  <a:lnTo>
                    <a:pt x="61" y="9"/>
                  </a:lnTo>
                  <a:lnTo>
                    <a:pt x="64" y="12"/>
                  </a:lnTo>
                  <a:lnTo>
                    <a:pt x="64" y="12"/>
                  </a:lnTo>
                  <a:lnTo>
                    <a:pt x="64" y="14"/>
                  </a:lnTo>
                  <a:lnTo>
                    <a:pt x="61" y="16"/>
                  </a:lnTo>
                  <a:lnTo>
                    <a:pt x="59" y="19"/>
                  </a:lnTo>
                  <a:lnTo>
                    <a:pt x="59" y="19"/>
                  </a:lnTo>
                  <a:lnTo>
                    <a:pt x="59" y="21"/>
                  </a:lnTo>
                  <a:lnTo>
                    <a:pt x="59" y="21"/>
                  </a:lnTo>
                  <a:lnTo>
                    <a:pt x="59" y="23"/>
                  </a:lnTo>
                  <a:lnTo>
                    <a:pt x="59" y="26"/>
                  </a:lnTo>
                  <a:lnTo>
                    <a:pt x="59" y="26"/>
                  </a:lnTo>
                  <a:lnTo>
                    <a:pt x="61" y="26"/>
                  </a:lnTo>
                  <a:lnTo>
                    <a:pt x="61" y="26"/>
                  </a:lnTo>
                  <a:lnTo>
                    <a:pt x="61" y="26"/>
                  </a:lnTo>
                  <a:lnTo>
                    <a:pt x="64" y="28"/>
                  </a:lnTo>
                  <a:lnTo>
                    <a:pt x="64" y="28"/>
                  </a:lnTo>
                  <a:lnTo>
                    <a:pt x="66" y="28"/>
                  </a:lnTo>
                  <a:lnTo>
                    <a:pt x="66" y="28"/>
                  </a:lnTo>
                  <a:lnTo>
                    <a:pt x="66" y="30"/>
                  </a:lnTo>
                  <a:lnTo>
                    <a:pt x="66" y="30"/>
                  </a:lnTo>
                  <a:lnTo>
                    <a:pt x="68" y="30"/>
                  </a:lnTo>
                  <a:lnTo>
                    <a:pt x="68" y="33"/>
                  </a:lnTo>
                  <a:lnTo>
                    <a:pt x="66" y="33"/>
                  </a:lnTo>
                  <a:lnTo>
                    <a:pt x="64" y="33"/>
                  </a:lnTo>
                  <a:lnTo>
                    <a:pt x="61" y="33"/>
                  </a:lnTo>
                  <a:lnTo>
                    <a:pt x="61" y="33"/>
                  </a:lnTo>
                  <a:lnTo>
                    <a:pt x="61" y="33"/>
                  </a:lnTo>
                  <a:lnTo>
                    <a:pt x="61" y="33"/>
                  </a:lnTo>
                  <a:lnTo>
                    <a:pt x="64" y="35"/>
                  </a:lnTo>
                  <a:lnTo>
                    <a:pt x="66" y="38"/>
                  </a:lnTo>
                  <a:lnTo>
                    <a:pt x="66" y="40"/>
                  </a:lnTo>
                  <a:lnTo>
                    <a:pt x="66" y="42"/>
                  </a:lnTo>
                  <a:lnTo>
                    <a:pt x="66" y="42"/>
                  </a:lnTo>
                  <a:lnTo>
                    <a:pt x="64" y="42"/>
                  </a:lnTo>
                  <a:lnTo>
                    <a:pt x="64" y="42"/>
                  </a:lnTo>
                  <a:lnTo>
                    <a:pt x="64" y="42"/>
                  </a:lnTo>
                  <a:lnTo>
                    <a:pt x="61" y="42"/>
                  </a:lnTo>
                  <a:lnTo>
                    <a:pt x="61" y="45"/>
                  </a:lnTo>
                  <a:lnTo>
                    <a:pt x="59" y="45"/>
                  </a:lnTo>
                  <a:lnTo>
                    <a:pt x="59" y="45"/>
                  </a:lnTo>
                  <a:lnTo>
                    <a:pt x="57" y="45"/>
                  </a:lnTo>
                  <a:lnTo>
                    <a:pt x="57" y="42"/>
                  </a:lnTo>
                  <a:lnTo>
                    <a:pt x="57" y="42"/>
                  </a:lnTo>
                  <a:lnTo>
                    <a:pt x="54" y="45"/>
                  </a:lnTo>
                  <a:lnTo>
                    <a:pt x="57" y="45"/>
                  </a:lnTo>
                  <a:lnTo>
                    <a:pt x="57" y="47"/>
                  </a:lnTo>
                  <a:lnTo>
                    <a:pt x="57" y="47"/>
                  </a:lnTo>
                  <a:lnTo>
                    <a:pt x="59" y="49"/>
                  </a:lnTo>
                  <a:lnTo>
                    <a:pt x="59" y="49"/>
                  </a:lnTo>
                  <a:lnTo>
                    <a:pt x="57" y="52"/>
                  </a:lnTo>
                  <a:lnTo>
                    <a:pt x="57" y="52"/>
                  </a:lnTo>
                  <a:lnTo>
                    <a:pt x="57" y="49"/>
                  </a:lnTo>
                  <a:lnTo>
                    <a:pt x="57" y="49"/>
                  </a:lnTo>
                  <a:lnTo>
                    <a:pt x="54" y="47"/>
                  </a:lnTo>
                  <a:lnTo>
                    <a:pt x="54" y="47"/>
                  </a:lnTo>
                  <a:lnTo>
                    <a:pt x="52" y="49"/>
                  </a:lnTo>
                  <a:lnTo>
                    <a:pt x="50" y="52"/>
                  </a:lnTo>
                  <a:lnTo>
                    <a:pt x="50" y="52"/>
                  </a:lnTo>
                  <a:lnTo>
                    <a:pt x="50" y="54"/>
                  </a:lnTo>
                  <a:lnTo>
                    <a:pt x="50" y="56"/>
                  </a:lnTo>
                  <a:lnTo>
                    <a:pt x="47" y="56"/>
                  </a:lnTo>
                  <a:lnTo>
                    <a:pt x="47" y="56"/>
                  </a:lnTo>
                  <a:lnTo>
                    <a:pt x="47" y="59"/>
                  </a:lnTo>
                  <a:lnTo>
                    <a:pt x="47" y="59"/>
                  </a:lnTo>
                  <a:lnTo>
                    <a:pt x="47" y="61"/>
                  </a:lnTo>
                  <a:lnTo>
                    <a:pt x="47" y="64"/>
                  </a:lnTo>
                  <a:lnTo>
                    <a:pt x="50" y="64"/>
                  </a:lnTo>
                  <a:lnTo>
                    <a:pt x="50" y="66"/>
                  </a:lnTo>
                  <a:lnTo>
                    <a:pt x="47" y="68"/>
                  </a:lnTo>
                  <a:lnTo>
                    <a:pt x="47" y="7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1" name="Freeform 216">
              <a:extLst>
                <a:ext uri="{FF2B5EF4-FFF2-40B4-BE49-F238E27FC236}">
                  <a16:creationId xmlns:a16="http://schemas.microsoft.com/office/drawing/2014/main" id="{D63DA104-2E40-4244-AAE7-A68FEF64F211}"/>
                </a:ext>
              </a:extLst>
            </p:cNvPr>
            <p:cNvSpPr>
              <a:spLocks/>
            </p:cNvSpPr>
            <p:nvPr/>
          </p:nvSpPr>
          <p:spPr bwMode="auto">
            <a:xfrm>
              <a:off x="1713753" y="3124166"/>
              <a:ext cx="107950" cy="112713"/>
            </a:xfrm>
            <a:custGeom>
              <a:avLst/>
              <a:gdLst>
                <a:gd name="T0" fmla="*/ 45 w 68"/>
                <a:gd name="T1" fmla="*/ 68 h 71"/>
                <a:gd name="T2" fmla="*/ 40 w 68"/>
                <a:gd name="T3" fmla="*/ 61 h 71"/>
                <a:gd name="T4" fmla="*/ 35 w 68"/>
                <a:gd name="T5" fmla="*/ 59 h 71"/>
                <a:gd name="T6" fmla="*/ 31 w 68"/>
                <a:gd name="T7" fmla="*/ 59 h 71"/>
                <a:gd name="T8" fmla="*/ 26 w 68"/>
                <a:gd name="T9" fmla="*/ 45 h 71"/>
                <a:gd name="T10" fmla="*/ 16 w 68"/>
                <a:gd name="T11" fmla="*/ 38 h 71"/>
                <a:gd name="T12" fmla="*/ 9 w 68"/>
                <a:gd name="T13" fmla="*/ 30 h 71"/>
                <a:gd name="T14" fmla="*/ 7 w 68"/>
                <a:gd name="T15" fmla="*/ 23 h 71"/>
                <a:gd name="T16" fmla="*/ 7 w 68"/>
                <a:gd name="T17" fmla="*/ 21 h 71"/>
                <a:gd name="T18" fmla="*/ 2 w 68"/>
                <a:gd name="T19" fmla="*/ 14 h 71"/>
                <a:gd name="T20" fmla="*/ 0 w 68"/>
                <a:gd name="T21" fmla="*/ 9 h 71"/>
                <a:gd name="T22" fmla="*/ 2 w 68"/>
                <a:gd name="T23" fmla="*/ 2 h 71"/>
                <a:gd name="T24" fmla="*/ 9 w 68"/>
                <a:gd name="T25" fmla="*/ 7 h 71"/>
                <a:gd name="T26" fmla="*/ 19 w 68"/>
                <a:gd name="T27" fmla="*/ 2 h 71"/>
                <a:gd name="T28" fmla="*/ 24 w 68"/>
                <a:gd name="T29" fmla="*/ 5 h 71"/>
                <a:gd name="T30" fmla="*/ 28 w 68"/>
                <a:gd name="T31" fmla="*/ 5 h 71"/>
                <a:gd name="T32" fmla="*/ 33 w 68"/>
                <a:gd name="T33" fmla="*/ 5 h 71"/>
                <a:gd name="T34" fmla="*/ 38 w 68"/>
                <a:gd name="T35" fmla="*/ 5 h 71"/>
                <a:gd name="T36" fmla="*/ 42 w 68"/>
                <a:gd name="T37" fmla="*/ 7 h 71"/>
                <a:gd name="T38" fmla="*/ 47 w 68"/>
                <a:gd name="T39" fmla="*/ 7 h 71"/>
                <a:gd name="T40" fmla="*/ 50 w 68"/>
                <a:gd name="T41" fmla="*/ 5 h 71"/>
                <a:gd name="T42" fmla="*/ 52 w 68"/>
                <a:gd name="T43" fmla="*/ 9 h 71"/>
                <a:gd name="T44" fmla="*/ 59 w 68"/>
                <a:gd name="T45" fmla="*/ 9 h 71"/>
                <a:gd name="T46" fmla="*/ 64 w 68"/>
                <a:gd name="T47" fmla="*/ 12 h 71"/>
                <a:gd name="T48" fmla="*/ 59 w 68"/>
                <a:gd name="T49" fmla="*/ 19 h 71"/>
                <a:gd name="T50" fmla="*/ 59 w 68"/>
                <a:gd name="T51" fmla="*/ 21 h 71"/>
                <a:gd name="T52" fmla="*/ 59 w 68"/>
                <a:gd name="T53" fmla="*/ 26 h 71"/>
                <a:gd name="T54" fmla="*/ 61 w 68"/>
                <a:gd name="T55" fmla="*/ 26 h 71"/>
                <a:gd name="T56" fmla="*/ 66 w 68"/>
                <a:gd name="T57" fmla="*/ 28 h 71"/>
                <a:gd name="T58" fmla="*/ 66 w 68"/>
                <a:gd name="T59" fmla="*/ 30 h 71"/>
                <a:gd name="T60" fmla="*/ 66 w 68"/>
                <a:gd name="T61" fmla="*/ 33 h 71"/>
                <a:gd name="T62" fmla="*/ 61 w 68"/>
                <a:gd name="T63" fmla="*/ 33 h 71"/>
                <a:gd name="T64" fmla="*/ 64 w 68"/>
                <a:gd name="T65" fmla="*/ 35 h 71"/>
                <a:gd name="T66" fmla="*/ 66 w 68"/>
                <a:gd name="T67" fmla="*/ 42 h 71"/>
                <a:gd name="T68" fmla="*/ 64 w 68"/>
                <a:gd name="T69" fmla="*/ 42 h 71"/>
                <a:gd name="T70" fmla="*/ 61 w 68"/>
                <a:gd name="T71" fmla="*/ 45 h 71"/>
                <a:gd name="T72" fmla="*/ 57 w 68"/>
                <a:gd name="T73" fmla="*/ 45 h 71"/>
                <a:gd name="T74" fmla="*/ 54 w 68"/>
                <a:gd name="T75" fmla="*/ 45 h 71"/>
                <a:gd name="T76" fmla="*/ 57 w 68"/>
                <a:gd name="T77" fmla="*/ 47 h 71"/>
                <a:gd name="T78" fmla="*/ 57 w 68"/>
                <a:gd name="T79" fmla="*/ 52 h 71"/>
                <a:gd name="T80" fmla="*/ 57 w 68"/>
                <a:gd name="T81" fmla="*/ 49 h 71"/>
                <a:gd name="T82" fmla="*/ 52 w 68"/>
                <a:gd name="T83" fmla="*/ 49 h 71"/>
                <a:gd name="T84" fmla="*/ 50 w 68"/>
                <a:gd name="T85" fmla="*/ 54 h 71"/>
                <a:gd name="T86" fmla="*/ 47 w 68"/>
                <a:gd name="T87" fmla="*/ 56 h 71"/>
                <a:gd name="T88" fmla="*/ 47 w 68"/>
                <a:gd name="T89" fmla="*/ 61 h 71"/>
                <a:gd name="T90" fmla="*/ 50 w 68"/>
                <a:gd name="T91" fmla="*/ 6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71">
                  <a:moveTo>
                    <a:pt x="47" y="71"/>
                  </a:moveTo>
                  <a:lnTo>
                    <a:pt x="47" y="68"/>
                  </a:lnTo>
                  <a:lnTo>
                    <a:pt x="45" y="68"/>
                  </a:lnTo>
                  <a:lnTo>
                    <a:pt x="45" y="66"/>
                  </a:lnTo>
                  <a:lnTo>
                    <a:pt x="42" y="66"/>
                  </a:lnTo>
                  <a:lnTo>
                    <a:pt x="40" y="61"/>
                  </a:lnTo>
                  <a:lnTo>
                    <a:pt x="38" y="61"/>
                  </a:lnTo>
                  <a:lnTo>
                    <a:pt x="35" y="59"/>
                  </a:lnTo>
                  <a:lnTo>
                    <a:pt x="35" y="59"/>
                  </a:lnTo>
                  <a:lnTo>
                    <a:pt x="33" y="59"/>
                  </a:lnTo>
                  <a:lnTo>
                    <a:pt x="31" y="59"/>
                  </a:lnTo>
                  <a:lnTo>
                    <a:pt x="31" y="59"/>
                  </a:lnTo>
                  <a:lnTo>
                    <a:pt x="33" y="56"/>
                  </a:lnTo>
                  <a:lnTo>
                    <a:pt x="26" y="49"/>
                  </a:lnTo>
                  <a:lnTo>
                    <a:pt x="26" y="45"/>
                  </a:lnTo>
                  <a:lnTo>
                    <a:pt x="24" y="45"/>
                  </a:lnTo>
                  <a:lnTo>
                    <a:pt x="21" y="45"/>
                  </a:lnTo>
                  <a:lnTo>
                    <a:pt x="16" y="38"/>
                  </a:lnTo>
                  <a:lnTo>
                    <a:pt x="16" y="35"/>
                  </a:lnTo>
                  <a:lnTo>
                    <a:pt x="12" y="30"/>
                  </a:lnTo>
                  <a:lnTo>
                    <a:pt x="9" y="30"/>
                  </a:lnTo>
                  <a:lnTo>
                    <a:pt x="7" y="26"/>
                  </a:lnTo>
                  <a:lnTo>
                    <a:pt x="7" y="26"/>
                  </a:lnTo>
                  <a:lnTo>
                    <a:pt x="7" y="23"/>
                  </a:lnTo>
                  <a:lnTo>
                    <a:pt x="7" y="23"/>
                  </a:lnTo>
                  <a:lnTo>
                    <a:pt x="7" y="21"/>
                  </a:lnTo>
                  <a:lnTo>
                    <a:pt x="7" y="21"/>
                  </a:lnTo>
                  <a:lnTo>
                    <a:pt x="5" y="19"/>
                  </a:lnTo>
                  <a:lnTo>
                    <a:pt x="2" y="14"/>
                  </a:lnTo>
                  <a:lnTo>
                    <a:pt x="2" y="14"/>
                  </a:lnTo>
                  <a:lnTo>
                    <a:pt x="0" y="12"/>
                  </a:lnTo>
                  <a:lnTo>
                    <a:pt x="0" y="12"/>
                  </a:lnTo>
                  <a:lnTo>
                    <a:pt x="0" y="9"/>
                  </a:lnTo>
                  <a:lnTo>
                    <a:pt x="0" y="9"/>
                  </a:lnTo>
                  <a:lnTo>
                    <a:pt x="0" y="2"/>
                  </a:lnTo>
                  <a:lnTo>
                    <a:pt x="2" y="2"/>
                  </a:lnTo>
                  <a:lnTo>
                    <a:pt x="5" y="2"/>
                  </a:lnTo>
                  <a:lnTo>
                    <a:pt x="5" y="2"/>
                  </a:lnTo>
                  <a:lnTo>
                    <a:pt x="9" y="7"/>
                  </a:lnTo>
                  <a:lnTo>
                    <a:pt x="9" y="7"/>
                  </a:lnTo>
                  <a:lnTo>
                    <a:pt x="12" y="2"/>
                  </a:lnTo>
                  <a:lnTo>
                    <a:pt x="19" y="2"/>
                  </a:lnTo>
                  <a:lnTo>
                    <a:pt x="19" y="0"/>
                  </a:lnTo>
                  <a:lnTo>
                    <a:pt x="21" y="0"/>
                  </a:lnTo>
                  <a:lnTo>
                    <a:pt x="24" y="5"/>
                  </a:lnTo>
                  <a:lnTo>
                    <a:pt x="26" y="5"/>
                  </a:lnTo>
                  <a:lnTo>
                    <a:pt x="26" y="2"/>
                  </a:lnTo>
                  <a:lnTo>
                    <a:pt x="28" y="5"/>
                  </a:lnTo>
                  <a:lnTo>
                    <a:pt x="33" y="5"/>
                  </a:lnTo>
                  <a:lnTo>
                    <a:pt x="33" y="5"/>
                  </a:lnTo>
                  <a:lnTo>
                    <a:pt x="33" y="5"/>
                  </a:lnTo>
                  <a:lnTo>
                    <a:pt x="35" y="7"/>
                  </a:lnTo>
                  <a:lnTo>
                    <a:pt x="38" y="7"/>
                  </a:lnTo>
                  <a:lnTo>
                    <a:pt x="38" y="5"/>
                  </a:lnTo>
                  <a:lnTo>
                    <a:pt x="40" y="5"/>
                  </a:lnTo>
                  <a:lnTo>
                    <a:pt x="40" y="7"/>
                  </a:lnTo>
                  <a:lnTo>
                    <a:pt x="42" y="7"/>
                  </a:lnTo>
                  <a:lnTo>
                    <a:pt x="42" y="5"/>
                  </a:lnTo>
                  <a:lnTo>
                    <a:pt x="47" y="5"/>
                  </a:lnTo>
                  <a:lnTo>
                    <a:pt x="47" y="7"/>
                  </a:lnTo>
                  <a:lnTo>
                    <a:pt x="50" y="7"/>
                  </a:lnTo>
                  <a:lnTo>
                    <a:pt x="50" y="5"/>
                  </a:lnTo>
                  <a:lnTo>
                    <a:pt x="50" y="5"/>
                  </a:lnTo>
                  <a:lnTo>
                    <a:pt x="52" y="9"/>
                  </a:lnTo>
                  <a:lnTo>
                    <a:pt x="52" y="9"/>
                  </a:lnTo>
                  <a:lnTo>
                    <a:pt x="52" y="9"/>
                  </a:lnTo>
                  <a:lnTo>
                    <a:pt x="54" y="12"/>
                  </a:lnTo>
                  <a:lnTo>
                    <a:pt x="57" y="12"/>
                  </a:lnTo>
                  <a:lnTo>
                    <a:pt x="59" y="9"/>
                  </a:lnTo>
                  <a:lnTo>
                    <a:pt x="61" y="9"/>
                  </a:lnTo>
                  <a:lnTo>
                    <a:pt x="64" y="12"/>
                  </a:lnTo>
                  <a:lnTo>
                    <a:pt x="64" y="12"/>
                  </a:lnTo>
                  <a:lnTo>
                    <a:pt x="64" y="14"/>
                  </a:lnTo>
                  <a:lnTo>
                    <a:pt x="61" y="16"/>
                  </a:lnTo>
                  <a:lnTo>
                    <a:pt x="59" y="19"/>
                  </a:lnTo>
                  <a:lnTo>
                    <a:pt x="59" y="19"/>
                  </a:lnTo>
                  <a:lnTo>
                    <a:pt x="59" y="21"/>
                  </a:lnTo>
                  <a:lnTo>
                    <a:pt x="59" y="21"/>
                  </a:lnTo>
                  <a:lnTo>
                    <a:pt x="59" y="23"/>
                  </a:lnTo>
                  <a:lnTo>
                    <a:pt x="59" y="26"/>
                  </a:lnTo>
                  <a:lnTo>
                    <a:pt x="59" y="26"/>
                  </a:lnTo>
                  <a:lnTo>
                    <a:pt x="61" y="26"/>
                  </a:lnTo>
                  <a:lnTo>
                    <a:pt x="61" y="26"/>
                  </a:lnTo>
                  <a:lnTo>
                    <a:pt x="61" y="26"/>
                  </a:lnTo>
                  <a:lnTo>
                    <a:pt x="64" y="28"/>
                  </a:lnTo>
                  <a:lnTo>
                    <a:pt x="64" y="28"/>
                  </a:lnTo>
                  <a:lnTo>
                    <a:pt x="66" y="28"/>
                  </a:lnTo>
                  <a:lnTo>
                    <a:pt x="66" y="28"/>
                  </a:lnTo>
                  <a:lnTo>
                    <a:pt x="66" y="30"/>
                  </a:lnTo>
                  <a:lnTo>
                    <a:pt x="66" y="30"/>
                  </a:lnTo>
                  <a:lnTo>
                    <a:pt x="68" y="30"/>
                  </a:lnTo>
                  <a:lnTo>
                    <a:pt x="68" y="33"/>
                  </a:lnTo>
                  <a:lnTo>
                    <a:pt x="66" y="33"/>
                  </a:lnTo>
                  <a:lnTo>
                    <a:pt x="64" y="33"/>
                  </a:lnTo>
                  <a:lnTo>
                    <a:pt x="61" y="33"/>
                  </a:lnTo>
                  <a:lnTo>
                    <a:pt x="61" y="33"/>
                  </a:lnTo>
                  <a:lnTo>
                    <a:pt x="61" y="33"/>
                  </a:lnTo>
                  <a:lnTo>
                    <a:pt x="61" y="33"/>
                  </a:lnTo>
                  <a:lnTo>
                    <a:pt x="64" y="35"/>
                  </a:lnTo>
                  <a:lnTo>
                    <a:pt x="66" y="38"/>
                  </a:lnTo>
                  <a:lnTo>
                    <a:pt x="66" y="40"/>
                  </a:lnTo>
                  <a:lnTo>
                    <a:pt x="66" y="42"/>
                  </a:lnTo>
                  <a:lnTo>
                    <a:pt x="66" y="42"/>
                  </a:lnTo>
                  <a:lnTo>
                    <a:pt x="64" y="42"/>
                  </a:lnTo>
                  <a:lnTo>
                    <a:pt x="64" y="42"/>
                  </a:lnTo>
                  <a:lnTo>
                    <a:pt x="64" y="42"/>
                  </a:lnTo>
                  <a:lnTo>
                    <a:pt x="61" y="42"/>
                  </a:lnTo>
                  <a:lnTo>
                    <a:pt x="61" y="45"/>
                  </a:lnTo>
                  <a:lnTo>
                    <a:pt x="59" y="45"/>
                  </a:lnTo>
                  <a:lnTo>
                    <a:pt x="59" y="45"/>
                  </a:lnTo>
                  <a:lnTo>
                    <a:pt x="57" y="45"/>
                  </a:lnTo>
                  <a:lnTo>
                    <a:pt x="57" y="42"/>
                  </a:lnTo>
                  <a:lnTo>
                    <a:pt x="57" y="42"/>
                  </a:lnTo>
                  <a:lnTo>
                    <a:pt x="54" y="45"/>
                  </a:lnTo>
                  <a:lnTo>
                    <a:pt x="57" y="45"/>
                  </a:lnTo>
                  <a:lnTo>
                    <a:pt x="57" y="47"/>
                  </a:lnTo>
                  <a:lnTo>
                    <a:pt x="57" y="47"/>
                  </a:lnTo>
                  <a:lnTo>
                    <a:pt x="59" y="49"/>
                  </a:lnTo>
                  <a:lnTo>
                    <a:pt x="59" y="49"/>
                  </a:lnTo>
                  <a:lnTo>
                    <a:pt x="57" y="52"/>
                  </a:lnTo>
                  <a:lnTo>
                    <a:pt x="57" y="52"/>
                  </a:lnTo>
                  <a:lnTo>
                    <a:pt x="57" y="49"/>
                  </a:lnTo>
                  <a:lnTo>
                    <a:pt x="57" y="49"/>
                  </a:lnTo>
                  <a:lnTo>
                    <a:pt x="54" y="47"/>
                  </a:lnTo>
                  <a:lnTo>
                    <a:pt x="54" y="47"/>
                  </a:lnTo>
                  <a:lnTo>
                    <a:pt x="52" y="49"/>
                  </a:lnTo>
                  <a:lnTo>
                    <a:pt x="50" y="52"/>
                  </a:lnTo>
                  <a:lnTo>
                    <a:pt x="50" y="52"/>
                  </a:lnTo>
                  <a:lnTo>
                    <a:pt x="50" y="54"/>
                  </a:lnTo>
                  <a:lnTo>
                    <a:pt x="50" y="56"/>
                  </a:lnTo>
                  <a:lnTo>
                    <a:pt x="47" y="56"/>
                  </a:lnTo>
                  <a:lnTo>
                    <a:pt x="47" y="56"/>
                  </a:lnTo>
                  <a:lnTo>
                    <a:pt x="47" y="59"/>
                  </a:lnTo>
                  <a:lnTo>
                    <a:pt x="47" y="59"/>
                  </a:lnTo>
                  <a:lnTo>
                    <a:pt x="47" y="61"/>
                  </a:lnTo>
                  <a:lnTo>
                    <a:pt x="47" y="64"/>
                  </a:lnTo>
                  <a:lnTo>
                    <a:pt x="50" y="64"/>
                  </a:lnTo>
                  <a:lnTo>
                    <a:pt x="50" y="66"/>
                  </a:lnTo>
                  <a:lnTo>
                    <a:pt x="47" y="68"/>
                  </a:lnTo>
                  <a:lnTo>
                    <a:pt x="47" y="7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2" name="Freeform 217">
              <a:extLst>
                <a:ext uri="{FF2B5EF4-FFF2-40B4-BE49-F238E27FC236}">
                  <a16:creationId xmlns:a16="http://schemas.microsoft.com/office/drawing/2014/main" id="{9442EF19-6DA0-4A9E-9C3E-E4A0F19D81DD}"/>
                </a:ext>
              </a:extLst>
            </p:cNvPr>
            <p:cNvSpPr>
              <a:spLocks/>
            </p:cNvSpPr>
            <p:nvPr/>
          </p:nvSpPr>
          <p:spPr bwMode="auto">
            <a:xfrm>
              <a:off x="1834403" y="3262278"/>
              <a:ext cx="179388" cy="146050"/>
            </a:xfrm>
            <a:custGeom>
              <a:avLst/>
              <a:gdLst>
                <a:gd name="T0" fmla="*/ 101 w 113"/>
                <a:gd name="T1" fmla="*/ 21 h 92"/>
                <a:gd name="T2" fmla="*/ 82 w 113"/>
                <a:gd name="T3" fmla="*/ 19 h 92"/>
                <a:gd name="T4" fmla="*/ 77 w 113"/>
                <a:gd name="T5" fmla="*/ 21 h 92"/>
                <a:gd name="T6" fmla="*/ 73 w 113"/>
                <a:gd name="T7" fmla="*/ 24 h 92"/>
                <a:gd name="T8" fmla="*/ 61 w 113"/>
                <a:gd name="T9" fmla="*/ 26 h 92"/>
                <a:gd name="T10" fmla="*/ 68 w 113"/>
                <a:gd name="T11" fmla="*/ 31 h 92"/>
                <a:gd name="T12" fmla="*/ 73 w 113"/>
                <a:gd name="T13" fmla="*/ 36 h 92"/>
                <a:gd name="T14" fmla="*/ 63 w 113"/>
                <a:gd name="T15" fmla="*/ 33 h 92"/>
                <a:gd name="T16" fmla="*/ 66 w 113"/>
                <a:gd name="T17" fmla="*/ 38 h 92"/>
                <a:gd name="T18" fmla="*/ 63 w 113"/>
                <a:gd name="T19" fmla="*/ 40 h 92"/>
                <a:gd name="T20" fmla="*/ 59 w 113"/>
                <a:gd name="T21" fmla="*/ 36 h 92"/>
                <a:gd name="T22" fmla="*/ 59 w 113"/>
                <a:gd name="T23" fmla="*/ 38 h 92"/>
                <a:gd name="T24" fmla="*/ 61 w 113"/>
                <a:gd name="T25" fmla="*/ 43 h 92"/>
                <a:gd name="T26" fmla="*/ 56 w 113"/>
                <a:gd name="T27" fmla="*/ 36 h 92"/>
                <a:gd name="T28" fmla="*/ 47 w 113"/>
                <a:gd name="T29" fmla="*/ 29 h 92"/>
                <a:gd name="T30" fmla="*/ 44 w 113"/>
                <a:gd name="T31" fmla="*/ 29 h 92"/>
                <a:gd name="T32" fmla="*/ 44 w 113"/>
                <a:gd name="T33" fmla="*/ 38 h 92"/>
                <a:gd name="T34" fmla="*/ 47 w 113"/>
                <a:gd name="T35" fmla="*/ 45 h 92"/>
                <a:gd name="T36" fmla="*/ 54 w 113"/>
                <a:gd name="T37" fmla="*/ 55 h 92"/>
                <a:gd name="T38" fmla="*/ 56 w 113"/>
                <a:gd name="T39" fmla="*/ 59 h 92"/>
                <a:gd name="T40" fmla="*/ 51 w 113"/>
                <a:gd name="T41" fmla="*/ 62 h 92"/>
                <a:gd name="T42" fmla="*/ 51 w 113"/>
                <a:gd name="T43" fmla="*/ 57 h 92"/>
                <a:gd name="T44" fmla="*/ 47 w 113"/>
                <a:gd name="T45" fmla="*/ 59 h 92"/>
                <a:gd name="T46" fmla="*/ 49 w 113"/>
                <a:gd name="T47" fmla="*/ 64 h 92"/>
                <a:gd name="T48" fmla="*/ 44 w 113"/>
                <a:gd name="T49" fmla="*/ 64 h 92"/>
                <a:gd name="T50" fmla="*/ 44 w 113"/>
                <a:gd name="T51" fmla="*/ 66 h 92"/>
                <a:gd name="T52" fmla="*/ 49 w 113"/>
                <a:gd name="T53" fmla="*/ 69 h 92"/>
                <a:gd name="T54" fmla="*/ 56 w 113"/>
                <a:gd name="T55" fmla="*/ 71 h 92"/>
                <a:gd name="T56" fmla="*/ 59 w 113"/>
                <a:gd name="T57" fmla="*/ 76 h 92"/>
                <a:gd name="T58" fmla="*/ 63 w 113"/>
                <a:gd name="T59" fmla="*/ 78 h 92"/>
                <a:gd name="T60" fmla="*/ 68 w 113"/>
                <a:gd name="T61" fmla="*/ 80 h 92"/>
                <a:gd name="T62" fmla="*/ 63 w 113"/>
                <a:gd name="T63" fmla="*/ 90 h 92"/>
                <a:gd name="T64" fmla="*/ 56 w 113"/>
                <a:gd name="T65" fmla="*/ 88 h 92"/>
                <a:gd name="T66" fmla="*/ 49 w 113"/>
                <a:gd name="T67" fmla="*/ 85 h 92"/>
                <a:gd name="T68" fmla="*/ 54 w 113"/>
                <a:gd name="T69" fmla="*/ 83 h 92"/>
                <a:gd name="T70" fmla="*/ 44 w 113"/>
                <a:gd name="T71" fmla="*/ 78 h 92"/>
                <a:gd name="T72" fmla="*/ 40 w 113"/>
                <a:gd name="T73" fmla="*/ 78 h 92"/>
                <a:gd name="T74" fmla="*/ 33 w 113"/>
                <a:gd name="T75" fmla="*/ 78 h 92"/>
                <a:gd name="T76" fmla="*/ 21 w 113"/>
                <a:gd name="T77" fmla="*/ 76 h 92"/>
                <a:gd name="T78" fmla="*/ 21 w 113"/>
                <a:gd name="T79" fmla="*/ 78 h 92"/>
                <a:gd name="T80" fmla="*/ 16 w 113"/>
                <a:gd name="T81" fmla="*/ 76 h 92"/>
                <a:gd name="T82" fmla="*/ 11 w 113"/>
                <a:gd name="T83" fmla="*/ 66 h 92"/>
                <a:gd name="T84" fmla="*/ 18 w 113"/>
                <a:gd name="T85" fmla="*/ 66 h 92"/>
                <a:gd name="T86" fmla="*/ 11 w 113"/>
                <a:gd name="T87" fmla="*/ 62 h 92"/>
                <a:gd name="T88" fmla="*/ 7 w 113"/>
                <a:gd name="T89" fmla="*/ 57 h 92"/>
                <a:gd name="T90" fmla="*/ 2 w 113"/>
                <a:gd name="T91" fmla="*/ 50 h 92"/>
                <a:gd name="T92" fmla="*/ 0 w 113"/>
                <a:gd name="T93" fmla="*/ 47 h 92"/>
                <a:gd name="T94" fmla="*/ 4 w 113"/>
                <a:gd name="T95" fmla="*/ 45 h 92"/>
                <a:gd name="T96" fmla="*/ 7 w 113"/>
                <a:gd name="T97" fmla="*/ 40 h 92"/>
                <a:gd name="T98" fmla="*/ 11 w 113"/>
                <a:gd name="T99" fmla="*/ 33 h 92"/>
                <a:gd name="T100" fmla="*/ 16 w 113"/>
                <a:gd name="T101" fmla="*/ 24 h 92"/>
                <a:gd name="T102" fmla="*/ 28 w 113"/>
                <a:gd name="T103" fmla="*/ 19 h 92"/>
                <a:gd name="T104" fmla="*/ 35 w 113"/>
                <a:gd name="T105" fmla="*/ 14 h 92"/>
                <a:gd name="T106" fmla="*/ 47 w 113"/>
                <a:gd name="T107" fmla="*/ 10 h 92"/>
                <a:gd name="T108" fmla="*/ 54 w 113"/>
                <a:gd name="T109" fmla="*/ 10 h 92"/>
                <a:gd name="T110" fmla="*/ 66 w 113"/>
                <a:gd name="T111" fmla="*/ 7 h 92"/>
                <a:gd name="T112" fmla="*/ 80 w 113"/>
                <a:gd name="T113" fmla="*/ 5 h 92"/>
                <a:gd name="T114" fmla="*/ 94 w 113"/>
                <a:gd name="T115" fmla="*/ 12 h 92"/>
                <a:gd name="T116" fmla="*/ 103 w 113"/>
                <a:gd name="T117" fmla="*/ 7 h 92"/>
                <a:gd name="T118" fmla="*/ 108 w 113"/>
                <a:gd name="T119" fmla="*/ 0 h 92"/>
                <a:gd name="T120" fmla="*/ 113 w 113"/>
                <a:gd name="T121" fmla="*/ 5 h 92"/>
                <a:gd name="T122" fmla="*/ 108 w 113"/>
                <a:gd name="T123" fmla="*/ 10 h 92"/>
                <a:gd name="T124" fmla="*/ 106 w 113"/>
                <a:gd name="T12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 h="92">
                  <a:moveTo>
                    <a:pt x="103" y="24"/>
                  </a:moveTo>
                  <a:lnTo>
                    <a:pt x="101" y="21"/>
                  </a:lnTo>
                  <a:lnTo>
                    <a:pt x="85" y="19"/>
                  </a:lnTo>
                  <a:lnTo>
                    <a:pt x="82" y="19"/>
                  </a:lnTo>
                  <a:lnTo>
                    <a:pt x="80" y="21"/>
                  </a:lnTo>
                  <a:lnTo>
                    <a:pt x="77" y="21"/>
                  </a:lnTo>
                  <a:lnTo>
                    <a:pt x="75" y="19"/>
                  </a:lnTo>
                  <a:lnTo>
                    <a:pt x="73" y="24"/>
                  </a:lnTo>
                  <a:lnTo>
                    <a:pt x="66" y="24"/>
                  </a:lnTo>
                  <a:lnTo>
                    <a:pt x="61" y="26"/>
                  </a:lnTo>
                  <a:lnTo>
                    <a:pt x="63" y="29"/>
                  </a:lnTo>
                  <a:lnTo>
                    <a:pt x="68" y="31"/>
                  </a:lnTo>
                  <a:lnTo>
                    <a:pt x="73" y="36"/>
                  </a:lnTo>
                  <a:lnTo>
                    <a:pt x="73" y="36"/>
                  </a:lnTo>
                  <a:lnTo>
                    <a:pt x="70" y="33"/>
                  </a:lnTo>
                  <a:lnTo>
                    <a:pt x="63" y="33"/>
                  </a:lnTo>
                  <a:lnTo>
                    <a:pt x="63" y="36"/>
                  </a:lnTo>
                  <a:lnTo>
                    <a:pt x="66" y="38"/>
                  </a:lnTo>
                  <a:lnTo>
                    <a:pt x="68" y="43"/>
                  </a:lnTo>
                  <a:lnTo>
                    <a:pt x="63" y="40"/>
                  </a:lnTo>
                  <a:lnTo>
                    <a:pt x="63" y="36"/>
                  </a:lnTo>
                  <a:lnTo>
                    <a:pt x="59" y="36"/>
                  </a:lnTo>
                  <a:lnTo>
                    <a:pt x="59" y="36"/>
                  </a:lnTo>
                  <a:lnTo>
                    <a:pt x="59" y="38"/>
                  </a:lnTo>
                  <a:lnTo>
                    <a:pt x="61" y="40"/>
                  </a:lnTo>
                  <a:lnTo>
                    <a:pt x="61" y="43"/>
                  </a:lnTo>
                  <a:lnTo>
                    <a:pt x="56" y="40"/>
                  </a:lnTo>
                  <a:lnTo>
                    <a:pt x="56" y="36"/>
                  </a:lnTo>
                  <a:lnTo>
                    <a:pt x="47" y="31"/>
                  </a:lnTo>
                  <a:lnTo>
                    <a:pt x="47" y="29"/>
                  </a:lnTo>
                  <a:lnTo>
                    <a:pt x="49" y="26"/>
                  </a:lnTo>
                  <a:lnTo>
                    <a:pt x="44" y="29"/>
                  </a:lnTo>
                  <a:lnTo>
                    <a:pt x="44" y="33"/>
                  </a:lnTo>
                  <a:lnTo>
                    <a:pt x="44" y="38"/>
                  </a:lnTo>
                  <a:lnTo>
                    <a:pt x="44" y="43"/>
                  </a:lnTo>
                  <a:lnTo>
                    <a:pt x="47" y="45"/>
                  </a:lnTo>
                  <a:lnTo>
                    <a:pt x="47" y="50"/>
                  </a:lnTo>
                  <a:lnTo>
                    <a:pt x="54" y="55"/>
                  </a:lnTo>
                  <a:lnTo>
                    <a:pt x="54" y="57"/>
                  </a:lnTo>
                  <a:lnTo>
                    <a:pt x="56" y="59"/>
                  </a:lnTo>
                  <a:lnTo>
                    <a:pt x="54" y="62"/>
                  </a:lnTo>
                  <a:lnTo>
                    <a:pt x="51" y="62"/>
                  </a:lnTo>
                  <a:lnTo>
                    <a:pt x="54" y="59"/>
                  </a:lnTo>
                  <a:lnTo>
                    <a:pt x="51" y="57"/>
                  </a:lnTo>
                  <a:lnTo>
                    <a:pt x="49" y="57"/>
                  </a:lnTo>
                  <a:lnTo>
                    <a:pt x="47" y="59"/>
                  </a:lnTo>
                  <a:lnTo>
                    <a:pt x="49" y="64"/>
                  </a:lnTo>
                  <a:lnTo>
                    <a:pt x="49" y="64"/>
                  </a:lnTo>
                  <a:lnTo>
                    <a:pt x="47" y="64"/>
                  </a:lnTo>
                  <a:lnTo>
                    <a:pt x="44" y="64"/>
                  </a:lnTo>
                  <a:lnTo>
                    <a:pt x="42" y="64"/>
                  </a:lnTo>
                  <a:lnTo>
                    <a:pt x="44" y="66"/>
                  </a:lnTo>
                  <a:lnTo>
                    <a:pt x="47" y="69"/>
                  </a:lnTo>
                  <a:lnTo>
                    <a:pt x="49" y="69"/>
                  </a:lnTo>
                  <a:lnTo>
                    <a:pt x="51" y="71"/>
                  </a:lnTo>
                  <a:lnTo>
                    <a:pt x="56" y="71"/>
                  </a:lnTo>
                  <a:lnTo>
                    <a:pt x="56" y="76"/>
                  </a:lnTo>
                  <a:lnTo>
                    <a:pt x="59" y="76"/>
                  </a:lnTo>
                  <a:lnTo>
                    <a:pt x="61" y="78"/>
                  </a:lnTo>
                  <a:lnTo>
                    <a:pt x="63" y="78"/>
                  </a:lnTo>
                  <a:lnTo>
                    <a:pt x="66" y="78"/>
                  </a:lnTo>
                  <a:lnTo>
                    <a:pt x="68" y="80"/>
                  </a:lnTo>
                  <a:lnTo>
                    <a:pt x="68" y="92"/>
                  </a:lnTo>
                  <a:lnTo>
                    <a:pt x="63" y="90"/>
                  </a:lnTo>
                  <a:lnTo>
                    <a:pt x="61" y="85"/>
                  </a:lnTo>
                  <a:lnTo>
                    <a:pt x="56" y="88"/>
                  </a:lnTo>
                  <a:lnTo>
                    <a:pt x="51" y="88"/>
                  </a:lnTo>
                  <a:lnTo>
                    <a:pt x="49" y="85"/>
                  </a:lnTo>
                  <a:lnTo>
                    <a:pt x="51" y="85"/>
                  </a:lnTo>
                  <a:lnTo>
                    <a:pt x="54" y="83"/>
                  </a:lnTo>
                  <a:lnTo>
                    <a:pt x="49" y="80"/>
                  </a:lnTo>
                  <a:lnTo>
                    <a:pt x="44" y="78"/>
                  </a:lnTo>
                  <a:lnTo>
                    <a:pt x="42" y="78"/>
                  </a:lnTo>
                  <a:lnTo>
                    <a:pt x="40" y="78"/>
                  </a:lnTo>
                  <a:lnTo>
                    <a:pt x="35" y="78"/>
                  </a:lnTo>
                  <a:lnTo>
                    <a:pt x="33" y="78"/>
                  </a:lnTo>
                  <a:lnTo>
                    <a:pt x="26" y="78"/>
                  </a:lnTo>
                  <a:lnTo>
                    <a:pt x="21" y="76"/>
                  </a:lnTo>
                  <a:lnTo>
                    <a:pt x="21" y="76"/>
                  </a:lnTo>
                  <a:lnTo>
                    <a:pt x="21" y="78"/>
                  </a:lnTo>
                  <a:lnTo>
                    <a:pt x="18" y="78"/>
                  </a:lnTo>
                  <a:lnTo>
                    <a:pt x="16" y="76"/>
                  </a:lnTo>
                  <a:lnTo>
                    <a:pt x="16" y="71"/>
                  </a:lnTo>
                  <a:lnTo>
                    <a:pt x="11" y="66"/>
                  </a:lnTo>
                  <a:lnTo>
                    <a:pt x="14" y="66"/>
                  </a:lnTo>
                  <a:lnTo>
                    <a:pt x="18" y="66"/>
                  </a:lnTo>
                  <a:lnTo>
                    <a:pt x="16" y="64"/>
                  </a:lnTo>
                  <a:lnTo>
                    <a:pt x="11" y="62"/>
                  </a:lnTo>
                  <a:lnTo>
                    <a:pt x="11" y="64"/>
                  </a:lnTo>
                  <a:lnTo>
                    <a:pt x="7" y="57"/>
                  </a:lnTo>
                  <a:lnTo>
                    <a:pt x="2" y="55"/>
                  </a:lnTo>
                  <a:lnTo>
                    <a:pt x="2" y="50"/>
                  </a:lnTo>
                  <a:lnTo>
                    <a:pt x="2" y="47"/>
                  </a:lnTo>
                  <a:lnTo>
                    <a:pt x="0" y="47"/>
                  </a:lnTo>
                  <a:lnTo>
                    <a:pt x="2" y="47"/>
                  </a:lnTo>
                  <a:lnTo>
                    <a:pt x="4" y="45"/>
                  </a:lnTo>
                  <a:lnTo>
                    <a:pt x="4" y="43"/>
                  </a:lnTo>
                  <a:lnTo>
                    <a:pt x="7" y="40"/>
                  </a:lnTo>
                  <a:lnTo>
                    <a:pt x="9" y="38"/>
                  </a:lnTo>
                  <a:lnTo>
                    <a:pt x="11" y="33"/>
                  </a:lnTo>
                  <a:lnTo>
                    <a:pt x="16" y="29"/>
                  </a:lnTo>
                  <a:lnTo>
                    <a:pt x="16" y="24"/>
                  </a:lnTo>
                  <a:lnTo>
                    <a:pt x="16" y="21"/>
                  </a:lnTo>
                  <a:lnTo>
                    <a:pt x="28" y="19"/>
                  </a:lnTo>
                  <a:lnTo>
                    <a:pt x="30" y="17"/>
                  </a:lnTo>
                  <a:lnTo>
                    <a:pt x="35" y="14"/>
                  </a:lnTo>
                  <a:lnTo>
                    <a:pt x="42" y="14"/>
                  </a:lnTo>
                  <a:lnTo>
                    <a:pt x="47" y="10"/>
                  </a:lnTo>
                  <a:lnTo>
                    <a:pt x="49" y="10"/>
                  </a:lnTo>
                  <a:lnTo>
                    <a:pt x="54" y="10"/>
                  </a:lnTo>
                  <a:lnTo>
                    <a:pt x="59" y="7"/>
                  </a:lnTo>
                  <a:lnTo>
                    <a:pt x="66" y="7"/>
                  </a:lnTo>
                  <a:lnTo>
                    <a:pt x="75" y="5"/>
                  </a:lnTo>
                  <a:lnTo>
                    <a:pt x="80" y="5"/>
                  </a:lnTo>
                  <a:lnTo>
                    <a:pt x="82" y="7"/>
                  </a:lnTo>
                  <a:lnTo>
                    <a:pt x="94" y="12"/>
                  </a:lnTo>
                  <a:lnTo>
                    <a:pt x="101" y="10"/>
                  </a:lnTo>
                  <a:lnTo>
                    <a:pt x="103" y="7"/>
                  </a:lnTo>
                  <a:lnTo>
                    <a:pt x="106" y="0"/>
                  </a:lnTo>
                  <a:lnTo>
                    <a:pt x="108" y="0"/>
                  </a:lnTo>
                  <a:lnTo>
                    <a:pt x="111" y="3"/>
                  </a:lnTo>
                  <a:lnTo>
                    <a:pt x="113" y="5"/>
                  </a:lnTo>
                  <a:lnTo>
                    <a:pt x="113" y="7"/>
                  </a:lnTo>
                  <a:lnTo>
                    <a:pt x="108" y="10"/>
                  </a:lnTo>
                  <a:lnTo>
                    <a:pt x="108" y="14"/>
                  </a:lnTo>
                  <a:lnTo>
                    <a:pt x="106" y="19"/>
                  </a:lnTo>
                  <a:lnTo>
                    <a:pt x="103" y="2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3" name="Freeform 218">
              <a:extLst>
                <a:ext uri="{FF2B5EF4-FFF2-40B4-BE49-F238E27FC236}">
                  <a16:creationId xmlns:a16="http://schemas.microsoft.com/office/drawing/2014/main" id="{F756FECB-310A-4B7E-BA1B-8C7302BFAAF7}"/>
                </a:ext>
              </a:extLst>
            </p:cNvPr>
            <p:cNvSpPr>
              <a:spLocks/>
            </p:cNvSpPr>
            <p:nvPr/>
          </p:nvSpPr>
          <p:spPr bwMode="auto">
            <a:xfrm>
              <a:off x="1834403" y="3262278"/>
              <a:ext cx="179388" cy="146050"/>
            </a:xfrm>
            <a:custGeom>
              <a:avLst/>
              <a:gdLst>
                <a:gd name="T0" fmla="*/ 101 w 113"/>
                <a:gd name="T1" fmla="*/ 21 h 92"/>
                <a:gd name="T2" fmla="*/ 82 w 113"/>
                <a:gd name="T3" fmla="*/ 19 h 92"/>
                <a:gd name="T4" fmla="*/ 77 w 113"/>
                <a:gd name="T5" fmla="*/ 21 h 92"/>
                <a:gd name="T6" fmla="*/ 73 w 113"/>
                <a:gd name="T7" fmla="*/ 24 h 92"/>
                <a:gd name="T8" fmla="*/ 61 w 113"/>
                <a:gd name="T9" fmla="*/ 26 h 92"/>
                <a:gd name="T10" fmla="*/ 68 w 113"/>
                <a:gd name="T11" fmla="*/ 31 h 92"/>
                <a:gd name="T12" fmla="*/ 73 w 113"/>
                <a:gd name="T13" fmla="*/ 36 h 92"/>
                <a:gd name="T14" fmla="*/ 63 w 113"/>
                <a:gd name="T15" fmla="*/ 33 h 92"/>
                <a:gd name="T16" fmla="*/ 66 w 113"/>
                <a:gd name="T17" fmla="*/ 38 h 92"/>
                <a:gd name="T18" fmla="*/ 63 w 113"/>
                <a:gd name="T19" fmla="*/ 40 h 92"/>
                <a:gd name="T20" fmla="*/ 59 w 113"/>
                <a:gd name="T21" fmla="*/ 36 h 92"/>
                <a:gd name="T22" fmla="*/ 59 w 113"/>
                <a:gd name="T23" fmla="*/ 38 h 92"/>
                <a:gd name="T24" fmla="*/ 61 w 113"/>
                <a:gd name="T25" fmla="*/ 43 h 92"/>
                <a:gd name="T26" fmla="*/ 56 w 113"/>
                <a:gd name="T27" fmla="*/ 36 h 92"/>
                <a:gd name="T28" fmla="*/ 47 w 113"/>
                <a:gd name="T29" fmla="*/ 29 h 92"/>
                <a:gd name="T30" fmla="*/ 44 w 113"/>
                <a:gd name="T31" fmla="*/ 29 h 92"/>
                <a:gd name="T32" fmla="*/ 44 w 113"/>
                <a:gd name="T33" fmla="*/ 38 h 92"/>
                <a:gd name="T34" fmla="*/ 47 w 113"/>
                <a:gd name="T35" fmla="*/ 45 h 92"/>
                <a:gd name="T36" fmla="*/ 54 w 113"/>
                <a:gd name="T37" fmla="*/ 55 h 92"/>
                <a:gd name="T38" fmla="*/ 56 w 113"/>
                <a:gd name="T39" fmla="*/ 59 h 92"/>
                <a:gd name="T40" fmla="*/ 51 w 113"/>
                <a:gd name="T41" fmla="*/ 62 h 92"/>
                <a:gd name="T42" fmla="*/ 51 w 113"/>
                <a:gd name="T43" fmla="*/ 57 h 92"/>
                <a:gd name="T44" fmla="*/ 47 w 113"/>
                <a:gd name="T45" fmla="*/ 59 h 92"/>
                <a:gd name="T46" fmla="*/ 49 w 113"/>
                <a:gd name="T47" fmla="*/ 64 h 92"/>
                <a:gd name="T48" fmla="*/ 44 w 113"/>
                <a:gd name="T49" fmla="*/ 64 h 92"/>
                <a:gd name="T50" fmla="*/ 44 w 113"/>
                <a:gd name="T51" fmla="*/ 66 h 92"/>
                <a:gd name="T52" fmla="*/ 49 w 113"/>
                <a:gd name="T53" fmla="*/ 69 h 92"/>
                <a:gd name="T54" fmla="*/ 56 w 113"/>
                <a:gd name="T55" fmla="*/ 71 h 92"/>
                <a:gd name="T56" fmla="*/ 59 w 113"/>
                <a:gd name="T57" fmla="*/ 76 h 92"/>
                <a:gd name="T58" fmla="*/ 63 w 113"/>
                <a:gd name="T59" fmla="*/ 78 h 92"/>
                <a:gd name="T60" fmla="*/ 68 w 113"/>
                <a:gd name="T61" fmla="*/ 80 h 92"/>
                <a:gd name="T62" fmla="*/ 63 w 113"/>
                <a:gd name="T63" fmla="*/ 90 h 92"/>
                <a:gd name="T64" fmla="*/ 56 w 113"/>
                <a:gd name="T65" fmla="*/ 88 h 92"/>
                <a:gd name="T66" fmla="*/ 49 w 113"/>
                <a:gd name="T67" fmla="*/ 85 h 92"/>
                <a:gd name="T68" fmla="*/ 54 w 113"/>
                <a:gd name="T69" fmla="*/ 83 h 92"/>
                <a:gd name="T70" fmla="*/ 44 w 113"/>
                <a:gd name="T71" fmla="*/ 78 h 92"/>
                <a:gd name="T72" fmla="*/ 40 w 113"/>
                <a:gd name="T73" fmla="*/ 78 h 92"/>
                <a:gd name="T74" fmla="*/ 33 w 113"/>
                <a:gd name="T75" fmla="*/ 78 h 92"/>
                <a:gd name="T76" fmla="*/ 21 w 113"/>
                <a:gd name="T77" fmla="*/ 76 h 92"/>
                <a:gd name="T78" fmla="*/ 21 w 113"/>
                <a:gd name="T79" fmla="*/ 78 h 92"/>
                <a:gd name="T80" fmla="*/ 16 w 113"/>
                <a:gd name="T81" fmla="*/ 76 h 92"/>
                <a:gd name="T82" fmla="*/ 11 w 113"/>
                <a:gd name="T83" fmla="*/ 66 h 92"/>
                <a:gd name="T84" fmla="*/ 18 w 113"/>
                <a:gd name="T85" fmla="*/ 66 h 92"/>
                <a:gd name="T86" fmla="*/ 11 w 113"/>
                <a:gd name="T87" fmla="*/ 62 h 92"/>
                <a:gd name="T88" fmla="*/ 7 w 113"/>
                <a:gd name="T89" fmla="*/ 57 h 92"/>
                <a:gd name="T90" fmla="*/ 2 w 113"/>
                <a:gd name="T91" fmla="*/ 50 h 92"/>
                <a:gd name="T92" fmla="*/ 0 w 113"/>
                <a:gd name="T93" fmla="*/ 47 h 92"/>
                <a:gd name="T94" fmla="*/ 4 w 113"/>
                <a:gd name="T95" fmla="*/ 45 h 92"/>
                <a:gd name="T96" fmla="*/ 7 w 113"/>
                <a:gd name="T97" fmla="*/ 40 h 92"/>
                <a:gd name="T98" fmla="*/ 11 w 113"/>
                <a:gd name="T99" fmla="*/ 33 h 92"/>
                <a:gd name="T100" fmla="*/ 16 w 113"/>
                <a:gd name="T101" fmla="*/ 24 h 92"/>
                <a:gd name="T102" fmla="*/ 28 w 113"/>
                <a:gd name="T103" fmla="*/ 19 h 92"/>
                <a:gd name="T104" fmla="*/ 35 w 113"/>
                <a:gd name="T105" fmla="*/ 14 h 92"/>
                <a:gd name="T106" fmla="*/ 47 w 113"/>
                <a:gd name="T107" fmla="*/ 10 h 92"/>
                <a:gd name="T108" fmla="*/ 54 w 113"/>
                <a:gd name="T109" fmla="*/ 10 h 92"/>
                <a:gd name="T110" fmla="*/ 66 w 113"/>
                <a:gd name="T111" fmla="*/ 7 h 92"/>
                <a:gd name="T112" fmla="*/ 80 w 113"/>
                <a:gd name="T113" fmla="*/ 5 h 92"/>
                <a:gd name="T114" fmla="*/ 94 w 113"/>
                <a:gd name="T115" fmla="*/ 12 h 92"/>
                <a:gd name="T116" fmla="*/ 103 w 113"/>
                <a:gd name="T117" fmla="*/ 7 h 92"/>
                <a:gd name="T118" fmla="*/ 108 w 113"/>
                <a:gd name="T119" fmla="*/ 0 h 92"/>
                <a:gd name="T120" fmla="*/ 113 w 113"/>
                <a:gd name="T121" fmla="*/ 5 h 92"/>
                <a:gd name="T122" fmla="*/ 108 w 113"/>
                <a:gd name="T123" fmla="*/ 10 h 92"/>
                <a:gd name="T124" fmla="*/ 106 w 113"/>
                <a:gd name="T12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 h="92">
                  <a:moveTo>
                    <a:pt x="103" y="24"/>
                  </a:moveTo>
                  <a:lnTo>
                    <a:pt x="101" y="21"/>
                  </a:lnTo>
                  <a:lnTo>
                    <a:pt x="85" y="19"/>
                  </a:lnTo>
                  <a:lnTo>
                    <a:pt x="82" y="19"/>
                  </a:lnTo>
                  <a:lnTo>
                    <a:pt x="80" y="21"/>
                  </a:lnTo>
                  <a:lnTo>
                    <a:pt x="77" y="21"/>
                  </a:lnTo>
                  <a:lnTo>
                    <a:pt x="75" y="19"/>
                  </a:lnTo>
                  <a:lnTo>
                    <a:pt x="73" y="24"/>
                  </a:lnTo>
                  <a:lnTo>
                    <a:pt x="66" y="24"/>
                  </a:lnTo>
                  <a:lnTo>
                    <a:pt x="61" y="26"/>
                  </a:lnTo>
                  <a:lnTo>
                    <a:pt x="63" y="29"/>
                  </a:lnTo>
                  <a:lnTo>
                    <a:pt x="68" y="31"/>
                  </a:lnTo>
                  <a:lnTo>
                    <a:pt x="73" y="36"/>
                  </a:lnTo>
                  <a:lnTo>
                    <a:pt x="73" y="36"/>
                  </a:lnTo>
                  <a:lnTo>
                    <a:pt x="70" y="33"/>
                  </a:lnTo>
                  <a:lnTo>
                    <a:pt x="63" y="33"/>
                  </a:lnTo>
                  <a:lnTo>
                    <a:pt x="63" y="36"/>
                  </a:lnTo>
                  <a:lnTo>
                    <a:pt x="66" y="38"/>
                  </a:lnTo>
                  <a:lnTo>
                    <a:pt x="68" y="43"/>
                  </a:lnTo>
                  <a:lnTo>
                    <a:pt x="63" y="40"/>
                  </a:lnTo>
                  <a:lnTo>
                    <a:pt x="63" y="36"/>
                  </a:lnTo>
                  <a:lnTo>
                    <a:pt x="59" y="36"/>
                  </a:lnTo>
                  <a:lnTo>
                    <a:pt x="59" y="36"/>
                  </a:lnTo>
                  <a:lnTo>
                    <a:pt x="59" y="38"/>
                  </a:lnTo>
                  <a:lnTo>
                    <a:pt x="61" y="40"/>
                  </a:lnTo>
                  <a:lnTo>
                    <a:pt x="61" y="43"/>
                  </a:lnTo>
                  <a:lnTo>
                    <a:pt x="56" y="40"/>
                  </a:lnTo>
                  <a:lnTo>
                    <a:pt x="56" y="36"/>
                  </a:lnTo>
                  <a:lnTo>
                    <a:pt x="47" y="31"/>
                  </a:lnTo>
                  <a:lnTo>
                    <a:pt x="47" y="29"/>
                  </a:lnTo>
                  <a:lnTo>
                    <a:pt x="49" y="26"/>
                  </a:lnTo>
                  <a:lnTo>
                    <a:pt x="44" y="29"/>
                  </a:lnTo>
                  <a:lnTo>
                    <a:pt x="44" y="33"/>
                  </a:lnTo>
                  <a:lnTo>
                    <a:pt x="44" y="38"/>
                  </a:lnTo>
                  <a:lnTo>
                    <a:pt x="44" y="43"/>
                  </a:lnTo>
                  <a:lnTo>
                    <a:pt x="47" y="45"/>
                  </a:lnTo>
                  <a:lnTo>
                    <a:pt x="47" y="50"/>
                  </a:lnTo>
                  <a:lnTo>
                    <a:pt x="54" y="55"/>
                  </a:lnTo>
                  <a:lnTo>
                    <a:pt x="54" y="57"/>
                  </a:lnTo>
                  <a:lnTo>
                    <a:pt x="56" y="59"/>
                  </a:lnTo>
                  <a:lnTo>
                    <a:pt x="54" y="62"/>
                  </a:lnTo>
                  <a:lnTo>
                    <a:pt x="51" y="62"/>
                  </a:lnTo>
                  <a:lnTo>
                    <a:pt x="54" y="59"/>
                  </a:lnTo>
                  <a:lnTo>
                    <a:pt x="51" y="57"/>
                  </a:lnTo>
                  <a:lnTo>
                    <a:pt x="49" y="57"/>
                  </a:lnTo>
                  <a:lnTo>
                    <a:pt x="47" y="59"/>
                  </a:lnTo>
                  <a:lnTo>
                    <a:pt x="49" y="64"/>
                  </a:lnTo>
                  <a:lnTo>
                    <a:pt x="49" y="64"/>
                  </a:lnTo>
                  <a:lnTo>
                    <a:pt x="47" y="64"/>
                  </a:lnTo>
                  <a:lnTo>
                    <a:pt x="44" y="64"/>
                  </a:lnTo>
                  <a:lnTo>
                    <a:pt x="42" y="64"/>
                  </a:lnTo>
                  <a:lnTo>
                    <a:pt x="44" y="66"/>
                  </a:lnTo>
                  <a:lnTo>
                    <a:pt x="47" y="69"/>
                  </a:lnTo>
                  <a:lnTo>
                    <a:pt x="49" y="69"/>
                  </a:lnTo>
                  <a:lnTo>
                    <a:pt x="51" y="71"/>
                  </a:lnTo>
                  <a:lnTo>
                    <a:pt x="56" y="71"/>
                  </a:lnTo>
                  <a:lnTo>
                    <a:pt x="56" y="76"/>
                  </a:lnTo>
                  <a:lnTo>
                    <a:pt x="59" y="76"/>
                  </a:lnTo>
                  <a:lnTo>
                    <a:pt x="61" y="78"/>
                  </a:lnTo>
                  <a:lnTo>
                    <a:pt x="63" y="78"/>
                  </a:lnTo>
                  <a:lnTo>
                    <a:pt x="66" y="78"/>
                  </a:lnTo>
                  <a:lnTo>
                    <a:pt x="68" y="80"/>
                  </a:lnTo>
                  <a:lnTo>
                    <a:pt x="68" y="92"/>
                  </a:lnTo>
                  <a:lnTo>
                    <a:pt x="63" y="90"/>
                  </a:lnTo>
                  <a:lnTo>
                    <a:pt x="61" y="85"/>
                  </a:lnTo>
                  <a:lnTo>
                    <a:pt x="56" y="88"/>
                  </a:lnTo>
                  <a:lnTo>
                    <a:pt x="51" y="88"/>
                  </a:lnTo>
                  <a:lnTo>
                    <a:pt x="49" y="85"/>
                  </a:lnTo>
                  <a:lnTo>
                    <a:pt x="51" y="85"/>
                  </a:lnTo>
                  <a:lnTo>
                    <a:pt x="54" y="83"/>
                  </a:lnTo>
                  <a:lnTo>
                    <a:pt x="49" y="80"/>
                  </a:lnTo>
                  <a:lnTo>
                    <a:pt x="44" y="78"/>
                  </a:lnTo>
                  <a:lnTo>
                    <a:pt x="42" y="78"/>
                  </a:lnTo>
                  <a:lnTo>
                    <a:pt x="40" y="78"/>
                  </a:lnTo>
                  <a:lnTo>
                    <a:pt x="35" y="78"/>
                  </a:lnTo>
                  <a:lnTo>
                    <a:pt x="33" y="78"/>
                  </a:lnTo>
                  <a:lnTo>
                    <a:pt x="26" y="78"/>
                  </a:lnTo>
                  <a:lnTo>
                    <a:pt x="21" y="76"/>
                  </a:lnTo>
                  <a:lnTo>
                    <a:pt x="21" y="76"/>
                  </a:lnTo>
                  <a:lnTo>
                    <a:pt x="21" y="78"/>
                  </a:lnTo>
                  <a:lnTo>
                    <a:pt x="18" y="78"/>
                  </a:lnTo>
                  <a:lnTo>
                    <a:pt x="16" y="76"/>
                  </a:lnTo>
                  <a:lnTo>
                    <a:pt x="16" y="71"/>
                  </a:lnTo>
                  <a:lnTo>
                    <a:pt x="11" y="66"/>
                  </a:lnTo>
                  <a:lnTo>
                    <a:pt x="14" y="66"/>
                  </a:lnTo>
                  <a:lnTo>
                    <a:pt x="18" y="66"/>
                  </a:lnTo>
                  <a:lnTo>
                    <a:pt x="16" y="64"/>
                  </a:lnTo>
                  <a:lnTo>
                    <a:pt x="11" y="62"/>
                  </a:lnTo>
                  <a:lnTo>
                    <a:pt x="11" y="64"/>
                  </a:lnTo>
                  <a:lnTo>
                    <a:pt x="7" y="57"/>
                  </a:lnTo>
                  <a:lnTo>
                    <a:pt x="2" y="55"/>
                  </a:lnTo>
                  <a:lnTo>
                    <a:pt x="2" y="50"/>
                  </a:lnTo>
                  <a:lnTo>
                    <a:pt x="2" y="47"/>
                  </a:lnTo>
                  <a:lnTo>
                    <a:pt x="0" y="47"/>
                  </a:lnTo>
                  <a:lnTo>
                    <a:pt x="2" y="47"/>
                  </a:lnTo>
                  <a:lnTo>
                    <a:pt x="4" y="45"/>
                  </a:lnTo>
                  <a:lnTo>
                    <a:pt x="4" y="43"/>
                  </a:lnTo>
                  <a:lnTo>
                    <a:pt x="7" y="40"/>
                  </a:lnTo>
                  <a:lnTo>
                    <a:pt x="9" y="38"/>
                  </a:lnTo>
                  <a:lnTo>
                    <a:pt x="11" y="33"/>
                  </a:lnTo>
                  <a:lnTo>
                    <a:pt x="16" y="29"/>
                  </a:lnTo>
                  <a:lnTo>
                    <a:pt x="16" y="24"/>
                  </a:lnTo>
                  <a:lnTo>
                    <a:pt x="16" y="21"/>
                  </a:lnTo>
                  <a:lnTo>
                    <a:pt x="28" y="19"/>
                  </a:lnTo>
                  <a:lnTo>
                    <a:pt x="30" y="17"/>
                  </a:lnTo>
                  <a:lnTo>
                    <a:pt x="35" y="14"/>
                  </a:lnTo>
                  <a:lnTo>
                    <a:pt x="42" y="14"/>
                  </a:lnTo>
                  <a:lnTo>
                    <a:pt x="47" y="10"/>
                  </a:lnTo>
                  <a:lnTo>
                    <a:pt x="49" y="10"/>
                  </a:lnTo>
                  <a:lnTo>
                    <a:pt x="54" y="10"/>
                  </a:lnTo>
                  <a:lnTo>
                    <a:pt x="59" y="7"/>
                  </a:lnTo>
                  <a:lnTo>
                    <a:pt x="66" y="7"/>
                  </a:lnTo>
                  <a:lnTo>
                    <a:pt x="75" y="5"/>
                  </a:lnTo>
                  <a:lnTo>
                    <a:pt x="80" y="5"/>
                  </a:lnTo>
                  <a:lnTo>
                    <a:pt x="82" y="7"/>
                  </a:lnTo>
                  <a:lnTo>
                    <a:pt x="94" y="12"/>
                  </a:lnTo>
                  <a:lnTo>
                    <a:pt x="101" y="10"/>
                  </a:lnTo>
                  <a:lnTo>
                    <a:pt x="103" y="7"/>
                  </a:lnTo>
                  <a:lnTo>
                    <a:pt x="106" y="0"/>
                  </a:lnTo>
                  <a:lnTo>
                    <a:pt x="108" y="0"/>
                  </a:lnTo>
                  <a:lnTo>
                    <a:pt x="111" y="3"/>
                  </a:lnTo>
                  <a:lnTo>
                    <a:pt x="113" y="5"/>
                  </a:lnTo>
                  <a:lnTo>
                    <a:pt x="113" y="7"/>
                  </a:lnTo>
                  <a:lnTo>
                    <a:pt x="108" y="10"/>
                  </a:lnTo>
                  <a:lnTo>
                    <a:pt x="108" y="14"/>
                  </a:lnTo>
                  <a:lnTo>
                    <a:pt x="106" y="19"/>
                  </a:lnTo>
                  <a:lnTo>
                    <a:pt x="103" y="2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4" name="Freeform 219">
              <a:extLst>
                <a:ext uri="{FF2B5EF4-FFF2-40B4-BE49-F238E27FC236}">
                  <a16:creationId xmlns:a16="http://schemas.microsoft.com/office/drawing/2014/main" id="{BCF74D1D-F77F-4313-8671-F20AD2D52AA9}"/>
                </a:ext>
              </a:extLst>
            </p:cNvPr>
            <p:cNvSpPr>
              <a:spLocks/>
            </p:cNvSpPr>
            <p:nvPr/>
          </p:nvSpPr>
          <p:spPr bwMode="auto">
            <a:xfrm>
              <a:off x="2245565" y="3506754"/>
              <a:ext cx="49213" cy="58739"/>
            </a:xfrm>
            <a:custGeom>
              <a:avLst/>
              <a:gdLst>
                <a:gd name="T0" fmla="*/ 12 w 31"/>
                <a:gd name="T1" fmla="*/ 30 h 37"/>
                <a:gd name="T2" fmla="*/ 15 w 31"/>
                <a:gd name="T3" fmla="*/ 30 h 37"/>
                <a:gd name="T4" fmla="*/ 17 w 31"/>
                <a:gd name="T5" fmla="*/ 28 h 37"/>
                <a:gd name="T6" fmla="*/ 19 w 31"/>
                <a:gd name="T7" fmla="*/ 26 h 37"/>
                <a:gd name="T8" fmla="*/ 17 w 31"/>
                <a:gd name="T9" fmla="*/ 26 h 37"/>
                <a:gd name="T10" fmla="*/ 19 w 31"/>
                <a:gd name="T11" fmla="*/ 23 h 37"/>
                <a:gd name="T12" fmla="*/ 24 w 31"/>
                <a:gd name="T13" fmla="*/ 21 h 37"/>
                <a:gd name="T14" fmla="*/ 24 w 31"/>
                <a:gd name="T15" fmla="*/ 21 h 37"/>
                <a:gd name="T16" fmla="*/ 24 w 31"/>
                <a:gd name="T17" fmla="*/ 19 h 37"/>
                <a:gd name="T18" fmla="*/ 24 w 31"/>
                <a:gd name="T19" fmla="*/ 19 h 37"/>
                <a:gd name="T20" fmla="*/ 24 w 31"/>
                <a:gd name="T21" fmla="*/ 16 h 37"/>
                <a:gd name="T22" fmla="*/ 29 w 31"/>
                <a:gd name="T23" fmla="*/ 14 h 37"/>
                <a:gd name="T24" fmla="*/ 29 w 31"/>
                <a:gd name="T25" fmla="*/ 14 h 37"/>
                <a:gd name="T26" fmla="*/ 29 w 31"/>
                <a:gd name="T27" fmla="*/ 12 h 37"/>
                <a:gd name="T28" fmla="*/ 29 w 31"/>
                <a:gd name="T29" fmla="*/ 9 h 37"/>
                <a:gd name="T30" fmla="*/ 26 w 31"/>
                <a:gd name="T31" fmla="*/ 7 h 37"/>
                <a:gd name="T32" fmla="*/ 24 w 31"/>
                <a:gd name="T33" fmla="*/ 4 h 37"/>
                <a:gd name="T34" fmla="*/ 26 w 31"/>
                <a:gd name="T35" fmla="*/ 4 h 37"/>
                <a:gd name="T36" fmla="*/ 26 w 31"/>
                <a:gd name="T37" fmla="*/ 4 h 37"/>
                <a:gd name="T38" fmla="*/ 26 w 31"/>
                <a:gd name="T39" fmla="*/ 2 h 37"/>
                <a:gd name="T40" fmla="*/ 24 w 31"/>
                <a:gd name="T41" fmla="*/ 0 h 37"/>
                <a:gd name="T42" fmla="*/ 24 w 31"/>
                <a:gd name="T43" fmla="*/ 2 h 37"/>
                <a:gd name="T44" fmla="*/ 19 w 31"/>
                <a:gd name="T45" fmla="*/ 4 h 37"/>
                <a:gd name="T46" fmla="*/ 12 w 31"/>
                <a:gd name="T47" fmla="*/ 9 h 37"/>
                <a:gd name="T48" fmla="*/ 7 w 31"/>
                <a:gd name="T49" fmla="*/ 19 h 37"/>
                <a:gd name="T50" fmla="*/ 7 w 31"/>
                <a:gd name="T51" fmla="*/ 19 h 37"/>
                <a:gd name="T52" fmla="*/ 5 w 31"/>
                <a:gd name="T53" fmla="*/ 23 h 37"/>
                <a:gd name="T54" fmla="*/ 3 w 31"/>
                <a:gd name="T55" fmla="*/ 28 h 37"/>
                <a:gd name="T56" fmla="*/ 0 w 31"/>
                <a:gd name="T57" fmla="*/ 35 h 37"/>
                <a:gd name="T58" fmla="*/ 0 w 31"/>
                <a:gd name="T59" fmla="*/ 37 h 37"/>
                <a:gd name="T60" fmla="*/ 5 w 31"/>
                <a:gd name="T61" fmla="*/ 37 h 37"/>
                <a:gd name="T62" fmla="*/ 7 w 31"/>
                <a:gd name="T63" fmla="*/ 37 h 37"/>
                <a:gd name="T64" fmla="*/ 7 w 31"/>
                <a:gd name="T65" fmla="*/ 33 h 37"/>
                <a:gd name="T66" fmla="*/ 10 w 31"/>
                <a:gd name="T67"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7">
                  <a:moveTo>
                    <a:pt x="10" y="33"/>
                  </a:moveTo>
                  <a:lnTo>
                    <a:pt x="12" y="30"/>
                  </a:lnTo>
                  <a:lnTo>
                    <a:pt x="15" y="30"/>
                  </a:lnTo>
                  <a:lnTo>
                    <a:pt x="15" y="30"/>
                  </a:lnTo>
                  <a:lnTo>
                    <a:pt x="17" y="28"/>
                  </a:lnTo>
                  <a:lnTo>
                    <a:pt x="17" y="28"/>
                  </a:lnTo>
                  <a:lnTo>
                    <a:pt x="19" y="28"/>
                  </a:lnTo>
                  <a:lnTo>
                    <a:pt x="19" y="26"/>
                  </a:lnTo>
                  <a:lnTo>
                    <a:pt x="17" y="26"/>
                  </a:lnTo>
                  <a:lnTo>
                    <a:pt x="17" y="26"/>
                  </a:lnTo>
                  <a:lnTo>
                    <a:pt x="17" y="23"/>
                  </a:lnTo>
                  <a:lnTo>
                    <a:pt x="19" y="23"/>
                  </a:lnTo>
                  <a:lnTo>
                    <a:pt x="19" y="21"/>
                  </a:lnTo>
                  <a:lnTo>
                    <a:pt x="24" y="21"/>
                  </a:lnTo>
                  <a:lnTo>
                    <a:pt x="24" y="21"/>
                  </a:lnTo>
                  <a:lnTo>
                    <a:pt x="24" y="21"/>
                  </a:lnTo>
                  <a:lnTo>
                    <a:pt x="26" y="21"/>
                  </a:lnTo>
                  <a:lnTo>
                    <a:pt x="24" y="19"/>
                  </a:lnTo>
                  <a:lnTo>
                    <a:pt x="24" y="19"/>
                  </a:lnTo>
                  <a:lnTo>
                    <a:pt x="24" y="19"/>
                  </a:lnTo>
                  <a:lnTo>
                    <a:pt x="24" y="16"/>
                  </a:lnTo>
                  <a:lnTo>
                    <a:pt x="24" y="16"/>
                  </a:lnTo>
                  <a:lnTo>
                    <a:pt x="26" y="16"/>
                  </a:lnTo>
                  <a:lnTo>
                    <a:pt x="29" y="14"/>
                  </a:lnTo>
                  <a:lnTo>
                    <a:pt x="29" y="14"/>
                  </a:lnTo>
                  <a:lnTo>
                    <a:pt x="29" y="14"/>
                  </a:lnTo>
                  <a:lnTo>
                    <a:pt x="31" y="12"/>
                  </a:lnTo>
                  <a:lnTo>
                    <a:pt x="29" y="12"/>
                  </a:lnTo>
                  <a:lnTo>
                    <a:pt x="29" y="9"/>
                  </a:lnTo>
                  <a:lnTo>
                    <a:pt x="29" y="9"/>
                  </a:lnTo>
                  <a:lnTo>
                    <a:pt x="29" y="7"/>
                  </a:lnTo>
                  <a:lnTo>
                    <a:pt x="26" y="7"/>
                  </a:lnTo>
                  <a:lnTo>
                    <a:pt x="26" y="4"/>
                  </a:lnTo>
                  <a:lnTo>
                    <a:pt x="24" y="4"/>
                  </a:lnTo>
                  <a:lnTo>
                    <a:pt x="24" y="4"/>
                  </a:lnTo>
                  <a:lnTo>
                    <a:pt x="26" y="4"/>
                  </a:lnTo>
                  <a:lnTo>
                    <a:pt x="26" y="4"/>
                  </a:lnTo>
                  <a:lnTo>
                    <a:pt x="26" y="4"/>
                  </a:lnTo>
                  <a:lnTo>
                    <a:pt x="26" y="2"/>
                  </a:lnTo>
                  <a:lnTo>
                    <a:pt x="26" y="2"/>
                  </a:lnTo>
                  <a:lnTo>
                    <a:pt x="24" y="2"/>
                  </a:lnTo>
                  <a:lnTo>
                    <a:pt x="24" y="0"/>
                  </a:lnTo>
                  <a:lnTo>
                    <a:pt x="24" y="2"/>
                  </a:lnTo>
                  <a:lnTo>
                    <a:pt x="24" y="2"/>
                  </a:lnTo>
                  <a:lnTo>
                    <a:pt x="17" y="2"/>
                  </a:lnTo>
                  <a:lnTo>
                    <a:pt x="19" y="4"/>
                  </a:lnTo>
                  <a:lnTo>
                    <a:pt x="15" y="7"/>
                  </a:lnTo>
                  <a:lnTo>
                    <a:pt x="12" y="9"/>
                  </a:lnTo>
                  <a:lnTo>
                    <a:pt x="10" y="19"/>
                  </a:lnTo>
                  <a:lnTo>
                    <a:pt x="7" y="19"/>
                  </a:lnTo>
                  <a:lnTo>
                    <a:pt x="7" y="19"/>
                  </a:lnTo>
                  <a:lnTo>
                    <a:pt x="7" y="19"/>
                  </a:lnTo>
                  <a:lnTo>
                    <a:pt x="7" y="21"/>
                  </a:lnTo>
                  <a:lnTo>
                    <a:pt x="5" y="23"/>
                  </a:lnTo>
                  <a:lnTo>
                    <a:pt x="5" y="26"/>
                  </a:lnTo>
                  <a:lnTo>
                    <a:pt x="3" y="28"/>
                  </a:lnTo>
                  <a:lnTo>
                    <a:pt x="3" y="33"/>
                  </a:lnTo>
                  <a:lnTo>
                    <a:pt x="0" y="35"/>
                  </a:lnTo>
                  <a:lnTo>
                    <a:pt x="0" y="35"/>
                  </a:lnTo>
                  <a:lnTo>
                    <a:pt x="0" y="37"/>
                  </a:lnTo>
                  <a:lnTo>
                    <a:pt x="5" y="37"/>
                  </a:lnTo>
                  <a:lnTo>
                    <a:pt x="5" y="37"/>
                  </a:lnTo>
                  <a:lnTo>
                    <a:pt x="5" y="37"/>
                  </a:lnTo>
                  <a:lnTo>
                    <a:pt x="7" y="37"/>
                  </a:lnTo>
                  <a:lnTo>
                    <a:pt x="7" y="37"/>
                  </a:lnTo>
                  <a:lnTo>
                    <a:pt x="7" y="33"/>
                  </a:lnTo>
                  <a:lnTo>
                    <a:pt x="10" y="33"/>
                  </a:lnTo>
                  <a:lnTo>
                    <a:pt x="10" y="33"/>
                  </a:lnTo>
                  <a:lnTo>
                    <a:pt x="10" y="3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5" name="Freeform 220">
              <a:extLst>
                <a:ext uri="{FF2B5EF4-FFF2-40B4-BE49-F238E27FC236}">
                  <a16:creationId xmlns:a16="http://schemas.microsoft.com/office/drawing/2014/main" id="{9DF122C7-5E85-460E-83DA-A26E642C90B3}"/>
                </a:ext>
              </a:extLst>
            </p:cNvPr>
            <p:cNvSpPr>
              <a:spLocks/>
            </p:cNvSpPr>
            <p:nvPr/>
          </p:nvSpPr>
          <p:spPr bwMode="auto">
            <a:xfrm>
              <a:off x="2245565" y="3506754"/>
              <a:ext cx="49213" cy="58739"/>
            </a:xfrm>
            <a:custGeom>
              <a:avLst/>
              <a:gdLst>
                <a:gd name="T0" fmla="*/ 12 w 31"/>
                <a:gd name="T1" fmla="*/ 30 h 37"/>
                <a:gd name="T2" fmla="*/ 15 w 31"/>
                <a:gd name="T3" fmla="*/ 30 h 37"/>
                <a:gd name="T4" fmla="*/ 17 w 31"/>
                <a:gd name="T5" fmla="*/ 28 h 37"/>
                <a:gd name="T6" fmla="*/ 19 w 31"/>
                <a:gd name="T7" fmla="*/ 26 h 37"/>
                <a:gd name="T8" fmla="*/ 17 w 31"/>
                <a:gd name="T9" fmla="*/ 26 h 37"/>
                <a:gd name="T10" fmla="*/ 19 w 31"/>
                <a:gd name="T11" fmla="*/ 23 h 37"/>
                <a:gd name="T12" fmla="*/ 24 w 31"/>
                <a:gd name="T13" fmla="*/ 21 h 37"/>
                <a:gd name="T14" fmla="*/ 24 w 31"/>
                <a:gd name="T15" fmla="*/ 21 h 37"/>
                <a:gd name="T16" fmla="*/ 24 w 31"/>
                <a:gd name="T17" fmla="*/ 19 h 37"/>
                <a:gd name="T18" fmla="*/ 24 w 31"/>
                <a:gd name="T19" fmla="*/ 19 h 37"/>
                <a:gd name="T20" fmla="*/ 24 w 31"/>
                <a:gd name="T21" fmla="*/ 16 h 37"/>
                <a:gd name="T22" fmla="*/ 29 w 31"/>
                <a:gd name="T23" fmla="*/ 14 h 37"/>
                <a:gd name="T24" fmla="*/ 29 w 31"/>
                <a:gd name="T25" fmla="*/ 14 h 37"/>
                <a:gd name="T26" fmla="*/ 29 w 31"/>
                <a:gd name="T27" fmla="*/ 12 h 37"/>
                <a:gd name="T28" fmla="*/ 29 w 31"/>
                <a:gd name="T29" fmla="*/ 9 h 37"/>
                <a:gd name="T30" fmla="*/ 26 w 31"/>
                <a:gd name="T31" fmla="*/ 7 h 37"/>
                <a:gd name="T32" fmla="*/ 24 w 31"/>
                <a:gd name="T33" fmla="*/ 4 h 37"/>
                <a:gd name="T34" fmla="*/ 26 w 31"/>
                <a:gd name="T35" fmla="*/ 4 h 37"/>
                <a:gd name="T36" fmla="*/ 26 w 31"/>
                <a:gd name="T37" fmla="*/ 4 h 37"/>
                <a:gd name="T38" fmla="*/ 26 w 31"/>
                <a:gd name="T39" fmla="*/ 2 h 37"/>
                <a:gd name="T40" fmla="*/ 24 w 31"/>
                <a:gd name="T41" fmla="*/ 0 h 37"/>
                <a:gd name="T42" fmla="*/ 24 w 31"/>
                <a:gd name="T43" fmla="*/ 2 h 37"/>
                <a:gd name="T44" fmla="*/ 19 w 31"/>
                <a:gd name="T45" fmla="*/ 4 h 37"/>
                <a:gd name="T46" fmla="*/ 12 w 31"/>
                <a:gd name="T47" fmla="*/ 9 h 37"/>
                <a:gd name="T48" fmla="*/ 7 w 31"/>
                <a:gd name="T49" fmla="*/ 19 h 37"/>
                <a:gd name="T50" fmla="*/ 7 w 31"/>
                <a:gd name="T51" fmla="*/ 19 h 37"/>
                <a:gd name="T52" fmla="*/ 5 w 31"/>
                <a:gd name="T53" fmla="*/ 23 h 37"/>
                <a:gd name="T54" fmla="*/ 3 w 31"/>
                <a:gd name="T55" fmla="*/ 28 h 37"/>
                <a:gd name="T56" fmla="*/ 0 w 31"/>
                <a:gd name="T57" fmla="*/ 35 h 37"/>
                <a:gd name="T58" fmla="*/ 0 w 31"/>
                <a:gd name="T59" fmla="*/ 37 h 37"/>
                <a:gd name="T60" fmla="*/ 5 w 31"/>
                <a:gd name="T61" fmla="*/ 37 h 37"/>
                <a:gd name="T62" fmla="*/ 7 w 31"/>
                <a:gd name="T63" fmla="*/ 37 h 37"/>
                <a:gd name="T64" fmla="*/ 7 w 31"/>
                <a:gd name="T65" fmla="*/ 33 h 37"/>
                <a:gd name="T66" fmla="*/ 10 w 31"/>
                <a:gd name="T67"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7">
                  <a:moveTo>
                    <a:pt x="10" y="33"/>
                  </a:moveTo>
                  <a:lnTo>
                    <a:pt x="12" y="30"/>
                  </a:lnTo>
                  <a:lnTo>
                    <a:pt x="15" y="30"/>
                  </a:lnTo>
                  <a:lnTo>
                    <a:pt x="15" y="30"/>
                  </a:lnTo>
                  <a:lnTo>
                    <a:pt x="17" y="28"/>
                  </a:lnTo>
                  <a:lnTo>
                    <a:pt x="17" y="28"/>
                  </a:lnTo>
                  <a:lnTo>
                    <a:pt x="19" y="28"/>
                  </a:lnTo>
                  <a:lnTo>
                    <a:pt x="19" y="26"/>
                  </a:lnTo>
                  <a:lnTo>
                    <a:pt x="17" y="26"/>
                  </a:lnTo>
                  <a:lnTo>
                    <a:pt x="17" y="26"/>
                  </a:lnTo>
                  <a:lnTo>
                    <a:pt x="17" y="23"/>
                  </a:lnTo>
                  <a:lnTo>
                    <a:pt x="19" y="23"/>
                  </a:lnTo>
                  <a:lnTo>
                    <a:pt x="19" y="21"/>
                  </a:lnTo>
                  <a:lnTo>
                    <a:pt x="24" y="21"/>
                  </a:lnTo>
                  <a:lnTo>
                    <a:pt x="24" y="21"/>
                  </a:lnTo>
                  <a:lnTo>
                    <a:pt x="24" y="21"/>
                  </a:lnTo>
                  <a:lnTo>
                    <a:pt x="26" y="21"/>
                  </a:lnTo>
                  <a:lnTo>
                    <a:pt x="24" y="19"/>
                  </a:lnTo>
                  <a:lnTo>
                    <a:pt x="24" y="19"/>
                  </a:lnTo>
                  <a:lnTo>
                    <a:pt x="24" y="19"/>
                  </a:lnTo>
                  <a:lnTo>
                    <a:pt x="24" y="16"/>
                  </a:lnTo>
                  <a:lnTo>
                    <a:pt x="24" y="16"/>
                  </a:lnTo>
                  <a:lnTo>
                    <a:pt x="26" y="16"/>
                  </a:lnTo>
                  <a:lnTo>
                    <a:pt x="29" y="14"/>
                  </a:lnTo>
                  <a:lnTo>
                    <a:pt x="29" y="14"/>
                  </a:lnTo>
                  <a:lnTo>
                    <a:pt x="29" y="14"/>
                  </a:lnTo>
                  <a:lnTo>
                    <a:pt x="31" y="12"/>
                  </a:lnTo>
                  <a:lnTo>
                    <a:pt x="29" y="12"/>
                  </a:lnTo>
                  <a:lnTo>
                    <a:pt x="29" y="9"/>
                  </a:lnTo>
                  <a:lnTo>
                    <a:pt x="29" y="9"/>
                  </a:lnTo>
                  <a:lnTo>
                    <a:pt x="29" y="7"/>
                  </a:lnTo>
                  <a:lnTo>
                    <a:pt x="26" y="7"/>
                  </a:lnTo>
                  <a:lnTo>
                    <a:pt x="26" y="4"/>
                  </a:lnTo>
                  <a:lnTo>
                    <a:pt x="24" y="4"/>
                  </a:lnTo>
                  <a:lnTo>
                    <a:pt x="24" y="4"/>
                  </a:lnTo>
                  <a:lnTo>
                    <a:pt x="26" y="4"/>
                  </a:lnTo>
                  <a:lnTo>
                    <a:pt x="26" y="4"/>
                  </a:lnTo>
                  <a:lnTo>
                    <a:pt x="26" y="4"/>
                  </a:lnTo>
                  <a:lnTo>
                    <a:pt x="26" y="2"/>
                  </a:lnTo>
                  <a:lnTo>
                    <a:pt x="26" y="2"/>
                  </a:lnTo>
                  <a:lnTo>
                    <a:pt x="24" y="2"/>
                  </a:lnTo>
                  <a:lnTo>
                    <a:pt x="24" y="0"/>
                  </a:lnTo>
                  <a:lnTo>
                    <a:pt x="24" y="2"/>
                  </a:lnTo>
                  <a:lnTo>
                    <a:pt x="24" y="2"/>
                  </a:lnTo>
                  <a:lnTo>
                    <a:pt x="17" y="2"/>
                  </a:lnTo>
                  <a:lnTo>
                    <a:pt x="19" y="4"/>
                  </a:lnTo>
                  <a:lnTo>
                    <a:pt x="15" y="7"/>
                  </a:lnTo>
                  <a:lnTo>
                    <a:pt x="12" y="9"/>
                  </a:lnTo>
                  <a:lnTo>
                    <a:pt x="10" y="19"/>
                  </a:lnTo>
                  <a:lnTo>
                    <a:pt x="7" y="19"/>
                  </a:lnTo>
                  <a:lnTo>
                    <a:pt x="7" y="19"/>
                  </a:lnTo>
                  <a:lnTo>
                    <a:pt x="7" y="19"/>
                  </a:lnTo>
                  <a:lnTo>
                    <a:pt x="7" y="21"/>
                  </a:lnTo>
                  <a:lnTo>
                    <a:pt x="5" y="23"/>
                  </a:lnTo>
                  <a:lnTo>
                    <a:pt x="5" y="26"/>
                  </a:lnTo>
                  <a:lnTo>
                    <a:pt x="3" y="28"/>
                  </a:lnTo>
                  <a:lnTo>
                    <a:pt x="3" y="33"/>
                  </a:lnTo>
                  <a:lnTo>
                    <a:pt x="0" y="35"/>
                  </a:lnTo>
                  <a:lnTo>
                    <a:pt x="0" y="35"/>
                  </a:lnTo>
                  <a:lnTo>
                    <a:pt x="0" y="37"/>
                  </a:lnTo>
                  <a:lnTo>
                    <a:pt x="5" y="37"/>
                  </a:lnTo>
                  <a:lnTo>
                    <a:pt x="5" y="37"/>
                  </a:lnTo>
                  <a:lnTo>
                    <a:pt x="5" y="37"/>
                  </a:lnTo>
                  <a:lnTo>
                    <a:pt x="7" y="37"/>
                  </a:lnTo>
                  <a:lnTo>
                    <a:pt x="7" y="37"/>
                  </a:lnTo>
                  <a:lnTo>
                    <a:pt x="7" y="33"/>
                  </a:lnTo>
                  <a:lnTo>
                    <a:pt x="10" y="33"/>
                  </a:lnTo>
                  <a:lnTo>
                    <a:pt x="10" y="33"/>
                  </a:lnTo>
                  <a:lnTo>
                    <a:pt x="10" y="3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6" name="Freeform 221">
              <a:extLst>
                <a:ext uri="{FF2B5EF4-FFF2-40B4-BE49-F238E27FC236}">
                  <a16:creationId xmlns:a16="http://schemas.microsoft.com/office/drawing/2014/main" id="{95D603A8-4140-4793-B534-208750D229D1}"/>
                </a:ext>
              </a:extLst>
            </p:cNvPr>
            <p:cNvSpPr>
              <a:spLocks/>
            </p:cNvSpPr>
            <p:nvPr/>
          </p:nvSpPr>
          <p:spPr bwMode="auto">
            <a:xfrm>
              <a:off x="2828176" y="3779804"/>
              <a:ext cx="11113" cy="19050"/>
            </a:xfrm>
            <a:custGeom>
              <a:avLst/>
              <a:gdLst>
                <a:gd name="T0" fmla="*/ 0 w 7"/>
                <a:gd name="T1" fmla="*/ 5 h 12"/>
                <a:gd name="T2" fmla="*/ 0 w 7"/>
                <a:gd name="T3" fmla="*/ 5 h 12"/>
                <a:gd name="T4" fmla="*/ 2 w 7"/>
                <a:gd name="T5" fmla="*/ 7 h 12"/>
                <a:gd name="T6" fmla="*/ 0 w 7"/>
                <a:gd name="T7" fmla="*/ 10 h 12"/>
                <a:gd name="T8" fmla="*/ 2 w 7"/>
                <a:gd name="T9" fmla="*/ 10 h 12"/>
                <a:gd name="T10" fmla="*/ 0 w 7"/>
                <a:gd name="T11" fmla="*/ 12 h 12"/>
                <a:gd name="T12" fmla="*/ 2 w 7"/>
                <a:gd name="T13" fmla="*/ 12 h 12"/>
                <a:gd name="T14" fmla="*/ 4 w 7"/>
                <a:gd name="T15" fmla="*/ 12 h 12"/>
                <a:gd name="T16" fmla="*/ 4 w 7"/>
                <a:gd name="T17" fmla="*/ 12 h 12"/>
                <a:gd name="T18" fmla="*/ 7 w 7"/>
                <a:gd name="T19" fmla="*/ 10 h 12"/>
                <a:gd name="T20" fmla="*/ 7 w 7"/>
                <a:gd name="T21" fmla="*/ 5 h 12"/>
                <a:gd name="T22" fmla="*/ 4 w 7"/>
                <a:gd name="T23" fmla="*/ 5 h 12"/>
                <a:gd name="T24" fmla="*/ 4 w 7"/>
                <a:gd name="T25" fmla="*/ 2 h 12"/>
                <a:gd name="T26" fmla="*/ 7 w 7"/>
                <a:gd name="T27" fmla="*/ 2 h 12"/>
                <a:gd name="T28" fmla="*/ 7 w 7"/>
                <a:gd name="T29" fmla="*/ 0 h 12"/>
                <a:gd name="T30" fmla="*/ 4 w 7"/>
                <a:gd name="T31" fmla="*/ 0 h 12"/>
                <a:gd name="T32" fmla="*/ 4 w 7"/>
                <a:gd name="T33" fmla="*/ 0 h 12"/>
                <a:gd name="T34" fmla="*/ 2 w 7"/>
                <a:gd name="T35" fmla="*/ 0 h 12"/>
                <a:gd name="T36" fmla="*/ 0 w 7"/>
                <a:gd name="T3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2">
                  <a:moveTo>
                    <a:pt x="0" y="5"/>
                  </a:moveTo>
                  <a:lnTo>
                    <a:pt x="0" y="5"/>
                  </a:lnTo>
                  <a:lnTo>
                    <a:pt x="2" y="7"/>
                  </a:lnTo>
                  <a:lnTo>
                    <a:pt x="0" y="10"/>
                  </a:lnTo>
                  <a:lnTo>
                    <a:pt x="2" y="10"/>
                  </a:lnTo>
                  <a:lnTo>
                    <a:pt x="0" y="12"/>
                  </a:lnTo>
                  <a:lnTo>
                    <a:pt x="2" y="12"/>
                  </a:lnTo>
                  <a:lnTo>
                    <a:pt x="4" y="12"/>
                  </a:lnTo>
                  <a:lnTo>
                    <a:pt x="4" y="12"/>
                  </a:lnTo>
                  <a:lnTo>
                    <a:pt x="7" y="10"/>
                  </a:lnTo>
                  <a:lnTo>
                    <a:pt x="7" y="5"/>
                  </a:lnTo>
                  <a:lnTo>
                    <a:pt x="4" y="5"/>
                  </a:lnTo>
                  <a:lnTo>
                    <a:pt x="4" y="2"/>
                  </a:lnTo>
                  <a:lnTo>
                    <a:pt x="7" y="2"/>
                  </a:lnTo>
                  <a:lnTo>
                    <a:pt x="7" y="0"/>
                  </a:lnTo>
                  <a:lnTo>
                    <a:pt x="4" y="0"/>
                  </a:lnTo>
                  <a:lnTo>
                    <a:pt x="4" y="0"/>
                  </a:lnTo>
                  <a:lnTo>
                    <a:pt x="2" y="0"/>
                  </a:lnTo>
                  <a:lnTo>
                    <a:pt x="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7" name="Freeform 222">
              <a:extLst>
                <a:ext uri="{FF2B5EF4-FFF2-40B4-BE49-F238E27FC236}">
                  <a16:creationId xmlns:a16="http://schemas.microsoft.com/office/drawing/2014/main" id="{B9A1483E-434A-4B16-9242-66D5618F06BC}"/>
                </a:ext>
              </a:extLst>
            </p:cNvPr>
            <p:cNvSpPr>
              <a:spLocks/>
            </p:cNvSpPr>
            <p:nvPr/>
          </p:nvSpPr>
          <p:spPr bwMode="auto">
            <a:xfrm>
              <a:off x="2828176" y="3779804"/>
              <a:ext cx="11113" cy="19050"/>
            </a:xfrm>
            <a:custGeom>
              <a:avLst/>
              <a:gdLst>
                <a:gd name="T0" fmla="*/ 0 w 7"/>
                <a:gd name="T1" fmla="*/ 5 h 12"/>
                <a:gd name="T2" fmla="*/ 0 w 7"/>
                <a:gd name="T3" fmla="*/ 5 h 12"/>
                <a:gd name="T4" fmla="*/ 2 w 7"/>
                <a:gd name="T5" fmla="*/ 7 h 12"/>
                <a:gd name="T6" fmla="*/ 0 w 7"/>
                <a:gd name="T7" fmla="*/ 10 h 12"/>
                <a:gd name="T8" fmla="*/ 2 w 7"/>
                <a:gd name="T9" fmla="*/ 10 h 12"/>
                <a:gd name="T10" fmla="*/ 0 w 7"/>
                <a:gd name="T11" fmla="*/ 12 h 12"/>
                <a:gd name="T12" fmla="*/ 2 w 7"/>
                <a:gd name="T13" fmla="*/ 12 h 12"/>
                <a:gd name="T14" fmla="*/ 4 w 7"/>
                <a:gd name="T15" fmla="*/ 12 h 12"/>
                <a:gd name="T16" fmla="*/ 4 w 7"/>
                <a:gd name="T17" fmla="*/ 12 h 12"/>
                <a:gd name="T18" fmla="*/ 7 w 7"/>
                <a:gd name="T19" fmla="*/ 10 h 12"/>
                <a:gd name="T20" fmla="*/ 7 w 7"/>
                <a:gd name="T21" fmla="*/ 5 h 12"/>
                <a:gd name="T22" fmla="*/ 4 w 7"/>
                <a:gd name="T23" fmla="*/ 5 h 12"/>
                <a:gd name="T24" fmla="*/ 4 w 7"/>
                <a:gd name="T25" fmla="*/ 2 h 12"/>
                <a:gd name="T26" fmla="*/ 7 w 7"/>
                <a:gd name="T27" fmla="*/ 2 h 12"/>
                <a:gd name="T28" fmla="*/ 7 w 7"/>
                <a:gd name="T29" fmla="*/ 0 h 12"/>
                <a:gd name="T30" fmla="*/ 4 w 7"/>
                <a:gd name="T31" fmla="*/ 0 h 12"/>
                <a:gd name="T32" fmla="*/ 4 w 7"/>
                <a:gd name="T33" fmla="*/ 0 h 12"/>
                <a:gd name="T34" fmla="*/ 2 w 7"/>
                <a:gd name="T35" fmla="*/ 0 h 12"/>
                <a:gd name="T36" fmla="*/ 0 w 7"/>
                <a:gd name="T3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2">
                  <a:moveTo>
                    <a:pt x="0" y="5"/>
                  </a:moveTo>
                  <a:lnTo>
                    <a:pt x="0" y="5"/>
                  </a:lnTo>
                  <a:lnTo>
                    <a:pt x="2" y="7"/>
                  </a:lnTo>
                  <a:lnTo>
                    <a:pt x="0" y="10"/>
                  </a:lnTo>
                  <a:lnTo>
                    <a:pt x="2" y="10"/>
                  </a:lnTo>
                  <a:lnTo>
                    <a:pt x="0" y="12"/>
                  </a:lnTo>
                  <a:lnTo>
                    <a:pt x="2" y="12"/>
                  </a:lnTo>
                  <a:lnTo>
                    <a:pt x="4" y="12"/>
                  </a:lnTo>
                  <a:lnTo>
                    <a:pt x="4" y="12"/>
                  </a:lnTo>
                  <a:lnTo>
                    <a:pt x="7" y="10"/>
                  </a:lnTo>
                  <a:lnTo>
                    <a:pt x="7" y="5"/>
                  </a:lnTo>
                  <a:lnTo>
                    <a:pt x="4" y="5"/>
                  </a:lnTo>
                  <a:lnTo>
                    <a:pt x="4" y="2"/>
                  </a:lnTo>
                  <a:lnTo>
                    <a:pt x="7" y="2"/>
                  </a:lnTo>
                  <a:lnTo>
                    <a:pt x="7" y="0"/>
                  </a:lnTo>
                  <a:lnTo>
                    <a:pt x="4" y="0"/>
                  </a:lnTo>
                  <a:lnTo>
                    <a:pt x="4" y="0"/>
                  </a:lnTo>
                  <a:lnTo>
                    <a:pt x="2" y="0"/>
                  </a:lnTo>
                  <a:lnTo>
                    <a:pt x="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8" name="Freeform 223">
              <a:extLst>
                <a:ext uri="{FF2B5EF4-FFF2-40B4-BE49-F238E27FC236}">
                  <a16:creationId xmlns:a16="http://schemas.microsoft.com/office/drawing/2014/main" id="{FB3939C7-7110-4141-B36B-BCA9B1ACD2E0}"/>
                </a:ext>
              </a:extLst>
            </p:cNvPr>
            <p:cNvSpPr>
              <a:spLocks/>
            </p:cNvSpPr>
            <p:nvPr/>
          </p:nvSpPr>
          <p:spPr bwMode="auto">
            <a:xfrm>
              <a:off x="2715464" y="3824254"/>
              <a:ext cx="217487" cy="244475"/>
            </a:xfrm>
            <a:custGeom>
              <a:avLst/>
              <a:gdLst>
                <a:gd name="T0" fmla="*/ 66 w 137"/>
                <a:gd name="T1" fmla="*/ 0 h 154"/>
                <a:gd name="T2" fmla="*/ 59 w 137"/>
                <a:gd name="T3" fmla="*/ 19 h 154"/>
                <a:gd name="T4" fmla="*/ 66 w 137"/>
                <a:gd name="T5" fmla="*/ 55 h 154"/>
                <a:gd name="T6" fmla="*/ 0 w 137"/>
                <a:gd name="T7" fmla="*/ 109 h 154"/>
                <a:gd name="T8" fmla="*/ 26 w 137"/>
                <a:gd name="T9" fmla="*/ 152 h 154"/>
                <a:gd name="T10" fmla="*/ 35 w 137"/>
                <a:gd name="T11" fmla="*/ 149 h 154"/>
                <a:gd name="T12" fmla="*/ 45 w 137"/>
                <a:gd name="T13" fmla="*/ 147 h 154"/>
                <a:gd name="T14" fmla="*/ 49 w 137"/>
                <a:gd name="T15" fmla="*/ 147 h 154"/>
                <a:gd name="T16" fmla="*/ 52 w 137"/>
                <a:gd name="T17" fmla="*/ 147 h 154"/>
                <a:gd name="T18" fmla="*/ 56 w 137"/>
                <a:gd name="T19" fmla="*/ 142 h 154"/>
                <a:gd name="T20" fmla="*/ 56 w 137"/>
                <a:gd name="T21" fmla="*/ 137 h 154"/>
                <a:gd name="T22" fmla="*/ 59 w 137"/>
                <a:gd name="T23" fmla="*/ 135 h 154"/>
                <a:gd name="T24" fmla="*/ 71 w 137"/>
                <a:gd name="T25" fmla="*/ 130 h 154"/>
                <a:gd name="T26" fmla="*/ 78 w 137"/>
                <a:gd name="T27" fmla="*/ 128 h 154"/>
                <a:gd name="T28" fmla="*/ 82 w 137"/>
                <a:gd name="T29" fmla="*/ 121 h 154"/>
                <a:gd name="T30" fmla="*/ 85 w 137"/>
                <a:gd name="T31" fmla="*/ 114 h 154"/>
                <a:gd name="T32" fmla="*/ 89 w 137"/>
                <a:gd name="T33" fmla="*/ 111 h 154"/>
                <a:gd name="T34" fmla="*/ 92 w 137"/>
                <a:gd name="T35" fmla="*/ 111 h 154"/>
                <a:gd name="T36" fmla="*/ 99 w 137"/>
                <a:gd name="T37" fmla="*/ 109 h 154"/>
                <a:gd name="T38" fmla="*/ 101 w 137"/>
                <a:gd name="T39" fmla="*/ 107 h 154"/>
                <a:gd name="T40" fmla="*/ 101 w 137"/>
                <a:gd name="T41" fmla="*/ 102 h 154"/>
                <a:gd name="T42" fmla="*/ 99 w 137"/>
                <a:gd name="T43" fmla="*/ 97 h 154"/>
                <a:gd name="T44" fmla="*/ 101 w 137"/>
                <a:gd name="T45" fmla="*/ 90 h 154"/>
                <a:gd name="T46" fmla="*/ 106 w 137"/>
                <a:gd name="T47" fmla="*/ 81 h 154"/>
                <a:gd name="T48" fmla="*/ 108 w 137"/>
                <a:gd name="T49" fmla="*/ 81 h 154"/>
                <a:gd name="T50" fmla="*/ 111 w 137"/>
                <a:gd name="T51" fmla="*/ 83 h 154"/>
                <a:gd name="T52" fmla="*/ 113 w 137"/>
                <a:gd name="T53" fmla="*/ 83 h 154"/>
                <a:gd name="T54" fmla="*/ 118 w 137"/>
                <a:gd name="T55" fmla="*/ 76 h 154"/>
                <a:gd name="T56" fmla="*/ 122 w 137"/>
                <a:gd name="T57" fmla="*/ 69 h 154"/>
                <a:gd name="T58" fmla="*/ 132 w 137"/>
                <a:gd name="T59" fmla="*/ 57 h 154"/>
                <a:gd name="T60" fmla="*/ 134 w 137"/>
                <a:gd name="T61" fmla="*/ 50 h 154"/>
                <a:gd name="T62" fmla="*/ 137 w 137"/>
                <a:gd name="T63" fmla="*/ 45 h 154"/>
                <a:gd name="T64" fmla="*/ 134 w 137"/>
                <a:gd name="T65" fmla="*/ 43 h 154"/>
                <a:gd name="T66" fmla="*/ 130 w 137"/>
                <a:gd name="T67" fmla="*/ 41 h 154"/>
                <a:gd name="T68" fmla="*/ 125 w 137"/>
                <a:gd name="T69" fmla="*/ 36 h 154"/>
                <a:gd name="T70" fmla="*/ 122 w 137"/>
                <a:gd name="T71" fmla="*/ 34 h 154"/>
                <a:gd name="T72" fmla="*/ 120 w 137"/>
                <a:gd name="T73" fmla="*/ 29 h 154"/>
                <a:gd name="T74" fmla="*/ 118 w 137"/>
                <a:gd name="T75" fmla="*/ 24 h 154"/>
                <a:gd name="T76" fmla="*/ 111 w 137"/>
                <a:gd name="T77" fmla="*/ 24 h 154"/>
                <a:gd name="T78" fmla="*/ 101 w 137"/>
                <a:gd name="T79" fmla="*/ 19 h 154"/>
                <a:gd name="T80" fmla="*/ 92 w 137"/>
                <a:gd name="T81" fmla="*/ 17 h 154"/>
                <a:gd name="T82" fmla="*/ 85 w 137"/>
                <a:gd name="T83" fmla="*/ 12 h 154"/>
                <a:gd name="T84" fmla="*/ 80 w 137"/>
                <a:gd name="T85" fmla="*/ 8 h 154"/>
                <a:gd name="T86" fmla="*/ 78 w 137"/>
                <a:gd name="T87"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7" h="154">
                  <a:moveTo>
                    <a:pt x="75" y="0"/>
                  </a:moveTo>
                  <a:lnTo>
                    <a:pt x="66" y="0"/>
                  </a:lnTo>
                  <a:lnTo>
                    <a:pt x="71" y="15"/>
                  </a:lnTo>
                  <a:lnTo>
                    <a:pt x="59" y="19"/>
                  </a:lnTo>
                  <a:lnTo>
                    <a:pt x="56" y="41"/>
                  </a:lnTo>
                  <a:lnTo>
                    <a:pt x="66" y="55"/>
                  </a:lnTo>
                  <a:lnTo>
                    <a:pt x="54" y="90"/>
                  </a:lnTo>
                  <a:lnTo>
                    <a:pt x="0" y="109"/>
                  </a:lnTo>
                  <a:lnTo>
                    <a:pt x="19" y="154"/>
                  </a:lnTo>
                  <a:lnTo>
                    <a:pt x="26" y="152"/>
                  </a:lnTo>
                  <a:lnTo>
                    <a:pt x="30" y="149"/>
                  </a:lnTo>
                  <a:lnTo>
                    <a:pt x="35" y="149"/>
                  </a:lnTo>
                  <a:lnTo>
                    <a:pt x="37" y="147"/>
                  </a:lnTo>
                  <a:lnTo>
                    <a:pt x="45" y="147"/>
                  </a:lnTo>
                  <a:lnTo>
                    <a:pt x="49" y="147"/>
                  </a:lnTo>
                  <a:lnTo>
                    <a:pt x="49" y="147"/>
                  </a:lnTo>
                  <a:lnTo>
                    <a:pt x="52" y="147"/>
                  </a:lnTo>
                  <a:lnTo>
                    <a:pt x="52" y="147"/>
                  </a:lnTo>
                  <a:lnTo>
                    <a:pt x="56" y="145"/>
                  </a:lnTo>
                  <a:lnTo>
                    <a:pt x="56" y="142"/>
                  </a:lnTo>
                  <a:lnTo>
                    <a:pt x="59" y="140"/>
                  </a:lnTo>
                  <a:lnTo>
                    <a:pt x="56" y="137"/>
                  </a:lnTo>
                  <a:lnTo>
                    <a:pt x="59" y="137"/>
                  </a:lnTo>
                  <a:lnTo>
                    <a:pt x="59" y="135"/>
                  </a:lnTo>
                  <a:lnTo>
                    <a:pt x="63" y="130"/>
                  </a:lnTo>
                  <a:lnTo>
                    <a:pt x="71" y="130"/>
                  </a:lnTo>
                  <a:lnTo>
                    <a:pt x="75" y="130"/>
                  </a:lnTo>
                  <a:lnTo>
                    <a:pt x="78" y="128"/>
                  </a:lnTo>
                  <a:lnTo>
                    <a:pt x="80" y="126"/>
                  </a:lnTo>
                  <a:lnTo>
                    <a:pt x="82" y="121"/>
                  </a:lnTo>
                  <a:lnTo>
                    <a:pt x="82" y="119"/>
                  </a:lnTo>
                  <a:lnTo>
                    <a:pt x="85" y="114"/>
                  </a:lnTo>
                  <a:lnTo>
                    <a:pt x="87" y="111"/>
                  </a:lnTo>
                  <a:lnTo>
                    <a:pt x="89" y="111"/>
                  </a:lnTo>
                  <a:lnTo>
                    <a:pt x="89" y="109"/>
                  </a:lnTo>
                  <a:lnTo>
                    <a:pt x="92" y="111"/>
                  </a:lnTo>
                  <a:lnTo>
                    <a:pt x="97" y="109"/>
                  </a:lnTo>
                  <a:lnTo>
                    <a:pt x="99" y="109"/>
                  </a:lnTo>
                  <a:lnTo>
                    <a:pt x="101" y="109"/>
                  </a:lnTo>
                  <a:lnTo>
                    <a:pt x="101" y="107"/>
                  </a:lnTo>
                  <a:lnTo>
                    <a:pt x="101" y="104"/>
                  </a:lnTo>
                  <a:lnTo>
                    <a:pt x="101" y="102"/>
                  </a:lnTo>
                  <a:lnTo>
                    <a:pt x="99" y="100"/>
                  </a:lnTo>
                  <a:lnTo>
                    <a:pt x="99" y="97"/>
                  </a:lnTo>
                  <a:lnTo>
                    <a:pt x="101" y="93"/>
                  </a:lnTo>
                  <a:lnTo>
                    <a:pt x="101" y="90"/>
                  </a:lnTo>
                  <a:lnTo>
                    <a:pt x="104" y="83"/>
                  </a:lnTo>
                  <a:lnTo>
                    <a:pt x="106" y="81"/>
                  </a:lnTo>
                  <a:lnTo>
                    <a:pt x="108" y="81"/>
                  </a:lnTo>
                  <a:lnTo>
                    <a:pt x="108" y="81"/>
                  </a:lnTo>
                  <a:lnTo>
                    <a:pt x="111" y="83"/>
                  </a:lnTo>
                  <a:lnTo>
                    <a:pt x="111" y="83"/>
                  </a:lnTo>
                  <a:lnTo>
                    <a:pt x="113" y="83"/>
                  </a:lnTo>
                  <a:lnTo>
                    <a:pt x="113" y="83"/>
                  </a:lnTo>
                  <a:lnTo>
                    <a:pt x="115" y="78"/>
                  </a:lnTo>
                  <a:lnTo>
                    <a:pt x="118" y="76"/>
                  </a:lnTo>
                  <a:lnTo>
                    <a:pt x="120" y="71"/>
                  </a:lnTo>
                  <a:lnTo>
                    <a:pt x="122" y="69"/>
                  </a:lnTo>
                  <a:lnTo>
                    <a:pt x="127" y="64"/>
                  </a:lnTo>
                  <a:lnTo>
                    <a:pt x="132" y="57"/>
                  </a:lnTo>
                  <a:lnTo>
                    <a:pt x="134" y="52"/>
                  </a:lnTo>
                  <a:lnTo>
                    <a:pt x="134" y="50"/>
                  </a:lnTo>
                  <a:lnTo>
                    <a:pt x="137" y="48"/>
                  </a:lnTo>
                  <a:lnTo>
                    <a:pt x="137" y="45"/>
                  </a:lnTo>
                  <a:lnTo>
                    <a:pt x="134" y="43"/>
                  </a:lnTo>
                  <a:lnTo>
                    <a:pt x="134" y="43"/>
                  </a:lnTo>
                  <a:lnTo>
                    <a:pt x="134" y="43"/>
                  </a:lnTo>
                  <a:lnTo>
                    <a:pt x="130" y="41"/>
                  </a:lnTo>
                  <a:lnTo>
                    <a:pt x="127" y="38"/>
                  </a:lnTo>
                  <a:lnTo>
                    <a:pt x="125" y="36"/>
                  </a:lnTo>
                  <a:lnTo>
                    <a:pt x="122" y="34"/>
                  </a:lnTo>
                  <a:lnTo>
                    <a:pt x="122" y="34"/>
                  </a:lnTo>
                  <a:lnTo>
                    <a:pt x="122" y="31"/>
                  </a:lnTo>
                  <a:lnTo>
                    <a:pt x="120" y="29"/>
                  </a:lnTo>
                  <a:lnTo>
                    <a:pt x="120" y="29"/>
                  </a:lnTo>
                  <a:lnTo>
                    <a:pt x="118" y="24"/>
                  </a:lnTo>
                  <a:lnTo>
                    <a:pt x="113" y="24"/>
                  </a:lnTo>
                  <a:lnTo>
                    <a:pt x="111" y="24"/>
                  </a:lnTo>
                  <a:lnTo>
                    <a:pt x="106" y="22"/>
                  </a:lnTo>
                  <a:lnTo>
                    <a:pt x="101" y="19"/>
                  </a:lnTo>
                  <a:lnTo>
                    <a:pt x="99" y="19"/>
                  </a:lnTo>
                  <a:lnTo>
                    <a:pt x="92" y="17"/>
                  </a:lnTo>
                  <a:lnTo>
                    <a:pt x="87" y="15"/>
                  </a:lnTo>
                  <a:lnTo>
                    <a:pt x="85" y="12"/>
                  </a:lnTo>
                  <a:lnTo>
                    <a:pt x="82" y="10"/>
                  </a:lnTo>
                  <a:lnTo>
                    <a:pt x="80" y="8"/>
                  </a:lnTo>
                  <a:lnTo>
                    <a:pt x="80" y="5"/>
                  </a:lnTo>
                  <a:lnTo>
                    <a:pt x="78" y="3"/>
                  </a:lnTo>
                  <a:lnTo>
                    <a:pt x="7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79" name="Freeform 224">
              <a:extLst>
                <a:ext uri="{FF2B5EF4-FFF2-40B4-BE49-F238E27FC236}">
                  <a16:creationId xmlns:a16="http://schemas.microsoft.com/office/drawing/2014/main" id="{9EF6FE4D-7F87-442C-9A1F-3AB3BE27E70E}"/>
                </a:ext>
              </a:extLst>
            </p:cNvPr>
            <p:cNvSpPr>
              <a:spLocks/>
            </p:cNvSpPr>
            <p:nvPr/>
          </p:nvSpPr>
          <p:spPr bwMode="auto">
            <a:xfrm>
              <a:off x="2715464" y="3824254"/>
              <a:ext cx="217487" cy="244475"/>
            </a:xfrm>
            <a:custGeom>
              <a:avLst/>
              <a:gdLst>
                <a:gd name="T0" fmla="*/ 66 w 137"/>
                <a:gd name="T1" fmla="*/ 0 h 154"/>
                <a:gd name="T2" fmla="*/ 59 w 137"/>
                <a:gd name="T3" fmla="*/ 19 h 154"/>
                <a:gd name="T4" fmla="*/ 66 w 137"/>
                <a:gd name="T5" fmla="*/ 55 h 154"/>
                <a:gd name="T6" fmla="*/ 0 w 137"/>
                <a:gd name="T7" fmla="*/ 109 h 154"/>
                <a:gd name="T8" fmla="*/ 26 w 137"/>
                <a:gd name="T9" fmla="*/ 152 h 154"/>
                <a:gd name="T10" fmla="*/ 35 w 137"/>
                <a:gd name="T11" fmla="*/ 149 h 154"/>
                <a:gd name="T12" fmla="*/ 45 w 137"/>
                <a:gd name="T13" fmla="*/ 147 h 154"/>
                <a:gd name="T14" fmla="*/ 49 w 137"/>
                <a:gd name="T15" fmla="*/ 147 h 154"/>
                <a:gd name="T16" fmla="*/ 52 w 137"/>
                <a:gd name="T17" fmla="*/ 147 h 154"/>
                <a:gd name="T18" fmla="*/ 56 w 137"/>
                <a:gd name="T19" fmla="*/ 142 h 154"/>
                <a:gd name="T20" fmla="*/ 56 w 137"/>
                <a:gd name="T21" fmla="*/ 137 h 154"/>
                <a:gd name="T22" fmla="*/ 59 w 137"/>
                <a:gd name="T23" fmla="*/ 135 h 154"/>
                <a:gd name="T24" fmla="*/ 71 w 137"/>
                <a:gd name="T25" fmla="*/ 130 h 154"/>
                <a:gd name="T26" fmla="*/ 78 w 137"/>
                <a:gd name="T27" fmla="*/ 128 h 154"/>
                <a:gd name="T28" fmla="*/ 82 w 137"/>
                <a:gd name="T29" fmla="*/ 121 h 154"/>
                <a:gd name="T30" fmla="*/ 85 w 137"/>
                <a:gd name="T31" fmla="*/ 114 h 154"/>
                <a:gd name="T32" fmla="*/ 89 w 137"/>
                <a:gd name="T33" fmla="*/ 111 h 154"/>
                <a:gd name="T34" fmla="*/ 92 w 137"/>
                <a:gd name="T35" fmla="*/ 111 h 154"/>
                <a:gd name="T36" fmla="*/ 99 w 137"/>
                <a:gd name="T37" fmla="*/ 109 h 154"/>
                <a:gd name="T38" fmla="*/ 101 w 137"/>
                <a:gd name="T39" fmla="*/ 107 h 154"/>
                <a:gd name="T40" fmla="*/ 101 w 137"/>
                <a:gd name="T41" fmla="*/ 102 h 154"/>
                <a:gd name="T42" fmla="*/ 99 w 137"/>
                <a:gd name="T43" fmla="*/ 97 h 154"/>
                <a:gd name="T44" fmla="*/ 101 w 137"/>
                <a:gd name="T45" fmla="*/ 90 h 154"/>
                <a:gd name="T46" fmla="*/ 106 w 137"/>
                <a:gd name="T47" fmla="*/ 81 h 154"/>
                <a:gd name="T48" fmla="*/ 108 w 137"/>
                <a:gd name="T49" fmla="*/ 81 h 154"/>
                <a:gd name="T50" fmla="*/ 111 w 137"/>
                <a:gd name="T51" fmla="*/ 83 h 154"/>
                <a:gd name="T52" fmla="*/ 113 w 137"/>
                <a:gd name="T53" fmla="*/ 83 h 154"/>
                <a:gd name="T54" fmla="*/ 118 w 137"/>
                <a:gd name="T55" fmla="*/ 76 h 154"/>
                <a:gd name="T56" fmla="*/ 122 w 137"/>
                <a:gd name="T57" fmla="*/ 69 h 154"/>
                <a:gd name="T58" fmla="*/ 132 w 137"/>
                <a:gd name="T59" fmla="*/ 57 h 154"/>
                <a:gd name="T60" fmla="*/ 134 w 137"/>
                <a:gd name="T61" fmla="*/ 50 h 154"/>
                <a:gd name="T62" fmla="*/ 137 w 137"/>
                <a:gd name="T63" fmla="*/ 45 h 154"/>
                <a:gd name="T64" fmla="*/ 134 w 137"/>
                <a:gd name="T65" fmla="*/ 43 h 154"/>
                <a:gd name="T66" fmla="*/ 130 w 137"/>
                <a:gd name="T67" fmla="*/ 41 h 154"/>
                <a:gd name="T68" fmla="*/ 125 w 137"/>
                <a:gd name="T69" fmla="*/ 36 h 154"/>
                <a:gd name="T70" fmla="*/ 122 w 137"/>
                <a:gd name="T71" fmla="*/ 34 h 154"/>
                <a:gd name="T72" fmla="*/ 120 w 137"/>
                <a:gd name="T73" fmla="*/ 29 h 154"/>
                <a:gd name="T74" fmla="*/ 118 w 137"/>
                <a:gd name="T75" fmla="*/ 24 h 154"/>
                <a:gd name="T76" fmla="*/ 111 w 137"/>
                <a:gd name="T77" fmla="*/ 24 h 154"/>
                <a:gd name="T78" fmla="*/ 101 w 137"/>
                <a:gd name="T79" fmla="*/ 19 h 154"/>
                <a:gd name="T80" fmla="*/ 92 w 137"/>
                <a:gd name="T81" fmla="*/ 17 h 154"/>
                <a:gd name="T82" fmla="*/ 85 w 137"/>
                <a:gd name="T83" fmla="*/ 12 h 154"/>
                <a:gd name="T84" fmla="*/ 80 w 137"/>
                <a:gd name="T85" fmla="*/ 8 h 154"/>
                <a:gd name="T86" fmla="*/ 78 w 137"/>
                <a:gd name="T87"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7" h="154">
                  <a:moveTo>
                    <a:pt x="75" y="0"/>
                  </a:moveTo>
                  <a:lnTo>
                    <a:pt x="66" y="0"/>
                  </a:lnTo>
                  <a:lnTo>
                    <a:pt x="71" y="15"/>
                  </a:lnTo>
                  <a:lnTo>
                    <a:pt x="59" y="19"/>
                  </a:lnTo>
                  <a:lnTo>
                    <a:pt x="56" y="41"/>
                  </a:lnTo>
                  <a:lnTo>
                    <a:pt x="66" y="55"/>
                  </a:lnTo>
                  <a:lnTo>
                    <a:pt x="54" y="90"/>
                  </a:lnTo>
                  <a:lnTo>
                    <a:pt x="0" y="109"/>
                  </a:lnTo>
                  <a:lnTo>
                    <a:pt x="19" y="154"/>
                  </a:lnTo>
                  <a:lnTo>
                    <a:pt x="26" y="152"/>
                  </a:lnTo>
                  <a:lnTo>
                    <a:pt x="30" y="149"/>
                  </a:lnTo>
                  <a:lnTo>
                    <a:pt x="35" y="149"/>
                  </a:lnTo>
                  <a:lnTo>
                    <a:pt x="37" y="147"/>
                  </a:lnTo>
                  <a:lnTo>
                    <a:pt x="45" y="147"/>
                  </a:lnTo>
                  <a:lnTo>
                    <a:pt x="49" y="147"/>
                  </a:lnTo>
                  <a:lnTo>
                    <a:pt x="49" y="147"/>
                  </a:lnTo>
                  <a:lnTo>
                    <a:pt x="52" y="147"/>
                  </a:lnTo>
                  <a:lnTo>
                    <a:pt x="52" y="147"/>
                  </a:lnTo>
                  <a:lnTo>
                    <a:pt x="56" y="145"/>
                  </a:lnTo>
                  <a:lnTo>
                    <a:pt x="56" y="142"/>
                  </a:lnTo>
                  <a:lnTo>
                    <a:pt x="59" y="140"/>
                  </a:lnTo>
                  <a:lnTo>
                    <a:pt x="56" y="137"/>
                  </a:lnTo>
                  <a:lnTo>
                    <a:pt x="59" y="137"/>
                  </a:lnTo>
                  <a:lnTo>
                    <a:pt x="59" y="135"/>
                  </a:lnTo>
                  <a:lnTo>
                    <a:pt x="63" y="130"/>
                  </a:lnTo>
                  <a:lnTo>
                    <a:pt x="71" y="130"/>
                  </a:lnTo>
                  <a:lnTo>
                    <a:pt x="75" y="130"/>
                  </a:lnTo>
                  <a:lnTo>
                    <a:pt x="78" y="128"/>
                  </a:lnTo>
                  <a:lnTo>
                    <a:pt x="80" y="126"/>
                  </a:lnTo>
                  <a:lnTo>
                    <a:pt x="82" y="121"/>
                  </a:lnTo>
                  <a:lnTo>
                    <a:pt x="82" y="119"/>
                  </a:lnTo>
                  <a:lnTo>
                    <a:pt x="85" y="114"/>
                  </a:lnTo>
                  <a:lnTo>
                    <a:pt x="87" y="111"/>
                  </a:lnTo>
                  <a:lnTo>
                    <a:pt x="89" y="111"/>
                  </a:lnTo>
                  <a:lnTo>
                    <a:pt x="89" y="109"/>
                  </a:lnTo>
                  <a:lnTo>
                    <a:pt x="92" y="111"/>
                  </a:lnTo>
                  <a:lnTo>
                    <a:pt x="97" y="109"/>
                  </a:lnTo>
                  <a:lnTo>
                    <a:pt x="99" y="109"/>
                  </a:lnTo>
                  <a:lnTo>
                    <a:pt x="101" y="109"/>
                  </a:lnTo>
                  <a:lnTo>
                    <a:pt x="101" y="107"/>
                  </a:lnTo>
                  <a:lnTo>
                    <a:pt x="101" y="104"/>
                  </a:lnTo>
                  <a:lnTo>
                    <a:pt x="101" y="102"/>
                  </a:lnTo>
                  <a:lnTo>
                    <a:pt x="99" y="100"/>
                  </a:lnTo>
                  <a:lnTo>
                    <a:pt x="99" y="97"/>
                  </a:lnTo>
                  <a:lnTo>
                    <a:pt x="101" y="93"/>
                  </a:lnTo>
                  <a:lnTo>
                    <a:pt x="101" y="90"/>
                  </a:lnTo>
                  <a:lnTo>
                    <a:pt x="104" y="83"/>
                  </a:lnTo>
                  <a:lnTo>
                    <a:pt x="106" y="81"/>
                  </a:lnTo>
                  <a:lnTo>
                    <a:pt x="108" y="81"/>
                  </a:lnTo>
                  <a:lnTo>
                    <a:pt x="108" y="81"/>
                  </a:lnTo>
                  <a:lnTo>
                    <a:pt x="111" y="83"/>
                  </a:lnTo>
                  <a:lnTo>
                    <a:pt x="111" y="83"/>
                  </a:lnTo>
                  <a:lnTo>
                    <a:pt x="113" y="83"/>
                  </a:lnTo>
                  <a:lnTo>
                    <a:pt x="113" y="83"/>
                  </a:lnTo>
                  <a:lnTo>
                    <a:pt x="115" y="78"/>
                  </a:lnTo>
                  <a:lnTo>
                    <a:pt x="118" y="76"/>
                  </a:lnTo>
                  <a:lnTo>
                    <a:pt x="120" y="71"/>
                  </a:lnTo>
                  <a:lnTo>
                    <a:pt x="122" y="69"/>
                  </a:lnTo>
                  <a:lnTo>
                    <a:pt x="127" y="64"/>
                  </a:lnTo>
                  <a:lnTo>
                    <a:pt x="132" y="57"/>
                  </a:lnTo>
                  <a:lnTo>
                    <a:pt x="134" y="52"/>
                  </a:lnTo>
                  <a:lnTo>
                    <a:pt x="134" y="50"/>
                  </a:lnTo>
                  <a:lnTo>
                    <a:pt x="137" y="48"/>
                  </a:lnTo>
                  <a:lnTo>
                    <a:pt x="137" y="45"/>
                  </a:lnTo>
                  <a:lnTo>
                    <a:pt x="134" y="43"/>
                  </a:lnTo>
                  <a:lnTo>
                    <a:pt x="134" y="43"/>
                  </a:lnTo>
                  <a:lnTo>
                    <a:pt x="134" y="43"/>
                  </a:lnTo>
                  <a:lnTo>
                    <a:pt x="130" y="41"/>
                  </a:lnTo>
                  <a:lnTo>
                    <a:pt x="127" y="38"/>
                  </a:lnTo>
                  <a:lnTo>
                    <a:pt x="125" y="36"/>
                  </a:lnTo>
                  <a:lnTo>
                    <a:pt x="122" y="34"/>
                  </a:lnTo>
                  <a:lnTo>
                    <a:pt x="122" y="34"/>
                  </a:lnTo>
                  <a:lnTo>
                    <a:pt x="122" y="31"/>
                  </a:lnTo>
                  <a:lnTo>
                    <a:pt x="120" y="29"/>
                  </a:lnTo>
                  <a:lnTo>
                    <a:pt x="120" y="29"/>
                  </a:lnTo>
                  <a:lnTo>
                    <a:pt x="118" y="24"/>
                  </a:lnTo>
                  <a:lnTo>
                    <a:pt x="113" y="24"/>
                  </a:lnTo>
                  <a:lnTo>
                    <a:pt x="111" y="24"/>
                  </a:lnTo>
                  <a:lnTo>
                    <a:pt x="106" y="22"/>
                  </a:lnTo>
                  <a:lnTo>
                    <a:pt x="101" y="19"/>
                  </a:lnTo>
                  <a:lnTo>
                    <a:pt x="99" y="19"/>
                  </a:lnTo>
                  <a:lnTo>
                    <a:pt x="92" y="17"/>
                  </a:lnTo>
                  <a:lnTo>
                    <a:pt x="87" y="15"/>
                  </a:lnTo>
                  <a:lnTo>
                    <a:pt x="85" y="12"/>
                  </a:lnTo>
                  <a:lnTo>
                    <a:pt x="82" y="10"/>
                  </a:lnTo>
                  <a:lnTo>
                    <a:pt x="80" y="8"/>
                  </a:lnTo>
                  <a:lnTo>
                    <a:pt x="80" y="5"/>
                  </a:lnTo>
                  <a:lnTo>
                    <a:pt x="78" y="3"/>
                  </a:lnTo>
                  <a:lnTo>
                    <a:pt x="75" y="0"/>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0" name="Freeform 225">
              <a:extLst>
                <a:ext uri="{FF2B5EF4-FFF2-40B4-BE49-F238E27FC236}">
                  <a16:creationId xmlns:a16="http://schemas.microsoft.com/office/drawing/2014/main" id="{B2F366C0-3D52-465B-AFD7-E6D56852A687}"/>
                </a:ext>
              </a:extLst>
            </p:cNvPr>
            <p:cNvSpPr>
              <a:spLocks/>
            </p:cNvSpPr>
            <p:nvPr/>
          </p:nvSpPr>
          <p:spPr bwMode="auto">
            <a:xfrm>
              <a:off x="3161550" y="3468653"/>
              <a:ext cx="812799" cy="839789"/>
            </a:xfrm>
            <a:custGeom>
              <a:avLst/>
              <a:gdLst>
                <a:gd name="T0" fmla="*/ 111 w 512"/>
                <a:gd name="T1" fmla="*/ 423 h 529"/>
                <a:gd name="T2" fmla="*/ 149 w 512"/>
                <a:gd name="T3" fmla="*/ 513 h 529"/>
                <a:gd name="T4" fmla="*/ 189 w 512"/>
                <a:gd name="T5" fmla="*/ 508 h 529"/>
                <a:gd name="T6" fmla="*/ 208 w 512"/>
                <a:gd name="T7" fmla="*/ 454 h 529"/>
                <a:gd name="T8" fmla="*/ 210 w 512"/>
                <a:gd name="T9" fmla="*/ 413 h 529"/>
                <a:gd name="T10" fmla="*/ 234 w 512"/>
                <a:gd name="T11" fmla="*/ 383 h 529"/>
                <a:gd name="T12" fmla="*/ 279 w 512"/>
                <a:gd name="T13" fmla="*/ 345 h 529"/>
                <a:gd name="T14" fmla="*/ 330 w 512"/>
                <a:gd name="T15" fmla="*/ 291 h 529"/>
                <a:gd name="T16" fmla="*/ 352 w 512"/>
                <a:gd name="T17" fmla="*/ 286 h 529"/>
                <a:gd name="T18" fmla="*/ 361 w 512"/>
                <a:gd name="T19" fmla="*/ 272 h 529"/>
                <a:gd name="T20" fmla="*/ 356 w 512"/>
                <a:gd name="T21" fmla="*/ 234 h 529"/>
                <a:gd name="T22" fmla="*/ 356 w 512"/>
                <a:gd name="T23" fmla="*/ 213 h 529"/>
                <a:gd name="T24" fmla="*/ 364 w 512"/>
                <a:gd name="T25" fmla="*/ 194 h 529"/>
                <a:gd name="T26" fmla="*/ 401 w 512"/>
                <a:gd name="T27" fmla="*/ 215 h 529"/>
                <a:gd name="T28" fmla="*/ 404 w 512"/>
                <a:gd name="T29" fmla="*/ 253 h 529"/>
                <a:gd name="T30" fmla="*/ 427 w 512"/>
                <a:gd name="T31" fmla="*/ 279 h 529"/>
                <a:gd name="T32" fmla="*/ 442 w 512"/>
                <a:gd name="T33" fmla="*/ 253 h 529"/>
                <a:gd name="T34" fmla="*/ 472 w 512"/>
                <a:gd name="T35" fmla="*/ 208 h 529"/>
                <a:gd name="T36" fmla="*/ 510 w 512"/>
                <a:gd name="T37" fmla="*/ 165 h 529"/>
                <a:gd name="T38" fmla="*/ 486 w 512"/>
                <a:gd name="T39" fmla="*/ 135 h 529"/>
                <a:gd name="T40" fmla="*/ 439 w 512"/>
                <a:gd name="T41" fmla="*/ 156 h 529"/>
                <a:gd name="T42" fmla="*/ 420 w 512"/>
                <a:gd name="T43" fmla="*/ 182 h 529"/>
                <a:gd name="T44" fmla="*/ 368 w 512"/>
                <a:gd name="T45" fmla="*/ 189 h 529"/>
                <a:gd name="T46" fmla="*/ 361 w 512"/>
                <a:gd name="T47" fmla="*/ 175 h 529"/>
                <a:gd name="T48" fmla="*/ 347 w 512"/>
                <a:gd name="T49" fmla="*/ 173 h 529"/>
                <a:gd name="T50" fmla="*/ 333 w 512"/>
                <a:gd name="T51" fmla="*/ 196 h 529"/>
                <a:gd name="T52" fmla="*/ 276 w 512"/>
                <a:gd name="T53" fmla="*/ 177 h 529"/>
                <a:gd name="T54" fmla="*/ 245 w 512"/>
                <a:gd name="T55" fmla="*/ 168 h 529"/>
                <a:gd name="T56" fmla="*/ 215 w 512"/>
                <a:gd name="T57" fmla="*/ 151 h 529"/>
                <a:gd name="T58" fmla="*/ 215 w 512"/>
                <a:gd name="T59" fmla="*/ 130 h 529"/>
                <a:gd name="T60" fmla="*/ 219 w 512"/>
                <a:gd name="T61" fmla="*/ 116 h 529"/>
                <a:gd name="T62" fmla="*/ 201 w 512"/>
                <a:gd name="T63" fmla="*/ 106 h 529"/>
                <a:gd name="T64" fmla="*/ 186 w 512"/>
                <a:gd name="T65" fmla="*/ 97 h 529"/>
                <a:gd name="T66" fmla="*/ 184 w 512"/>
                <a:gd name="T67" fmla="*/ 71 h 529"/>
                <a:gd name="T68" fmla="*/ 196 w 512"/>
                <a:gd name="T69" fmla="*/ 71 h 529"/>
                <a:gd name="T70" fmla="*/ 189 w 512"/>
                <a:gd name="T71" fmla="*/ 54 h 529"/>
                <a:gd name="T72" fmla="*/ 201 w 512"/>
                <a:gd name="T73" fmla="*/ 40 h 529"/>
                <a:gd name="T74" fmla="*/ 212 w 512"/>
                <a:gd name="T75" fmla="*/ 17 h 529"/>
                <a:gd name="T76" fmla="*/ 203 w 512"/>
                <a:gd name="T77" fmla="*/ 7 h 529"/>
                <a:gd name="T78" fmla="*/ 191 w 512"/>
                <a:gd name="T79" fmla="*/ 2 h 529"/>
                <a:gd name="T80" fmla="*/ 156 w 512"/>
                <a:gd name="T81" fmla="*/ 21 h 529"/>
                <a:gd name="T82" fmla="*/ 134 w 512"/>
                <a:gd name="T83" fmla="*/ 28 h 529"/>
                <a:gd name="T84" fmla="*/ 106 w 512"/>
                <a:gd name="T85" fmla="*/ 24 h 529"/>
                <a:gd name="T86" fmla="*/ 101 w 512"/>
                <a:gd name="T87" fmla="*/ 40 h 529"/>
                <a:gd name="T88" fmla="*/ 101 w 512"/>
                <a:gd name="T89" fmla="*/ 57 h 529"/>
                <a:gd name="T90" fmla="*/ 123 w 512"/>
                <a:gd name="T91" fmla="*/ 73 h 529"/>
                <a:gd name="T92" fmla="*/ 116 w 512"/>
                <a:gd name="T93" fmla="*/ 85 h 529"/>
                <a:gd name="T94" fmla="*/ 118 w 512"/>
                <a:gd name="T95" fmla="*/ 102 h 529"/>
                <a:gd name="T96" fmla="*/ 99 w 512"/>
                <a:gd name="T97" fmla="*/ 123 h 529"/>
                <a:gd name="T98" fmla="*/ 66 w 512"/>
                <a:gd name="T99" fmla="*/ 161 h 529"/>
                <a:gd name="T100" fmla="*/ 42 w 512"/>
                <a:gd name="T101" fmla="*/ 163 h 529"/>
                <a:gd name="T102" fmla="*/ 35 w 512"/>
                <a:gd name="T103" fmla="*/ 191 h 529"/>
                <a:gd name="T104" fmla="*/ 45 w 512"/>
                <a:gd name="T105" fmla="*/ 213 h 529"/>
                <a:gd name="T106" fmla="*/ 52 w 512"/>
                <a:gd name="T107" fmla="*/ 232 h 529"/>
                <a:gd name="T108" fmla="*/ 40 w 512"/>
                <a:gd name="T109" fmla="*/ 234 h 529"/>
                <a:gd name="T110" fmla="*/ 14 w 512"/>
                <a:gd name="T111" fmla="*/ 236 h 529"/>
                <a:gd name="T112" fmla="*/ 0 w 512"/>
                <a:gd name="T113" fmla="*/ 246 h 529"/>
                <a:gd name="T114" fmla="*/ 40 w 512"/>
                <a:gd name="T115" fmla="*/ 258 h 529"/>
                <a:gd name="T116" fmla="*/ 42 w 512"/>
                <a:gd name="T117" fmla="*/ 300 h 529"/>
                <a:gd name="T118" fmla="*/ 73 w 512"/>
                <a:gd name="T119" fmla="*/ 272 h 529"/>
                <a:gd name="T120" fmla="*/ 78 w 512"/>
                <a:gd name="T121" fmla="*/ 293 h 529"/>
                <a:gd name="T122" fmla="*/ 82 w 512"/>
                <a:gd name="T123" fmla="*/ 331 h 529"/>
                <a:gd name="T124" fmla="*/ 87 w 512"/>
                <a:gd name="T125" fmla="*/ 36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29">
                  <a:moveTo>
                    <a:pt x="97" y="392"/>
                  </a:moveTo>
                  <a:lnTo>
                    <a:pt x="97" y="392"/>
                  </a:lnTo>
                  <a:lnTo>
                    <a:pt x="99" y="397"/>
                  </a:lnTo>
                  <a:lnTo>
                    <a:pt x="99" y="397"/>
                  </a:lnTo>
                  <a:lnTo>
                    <a:pt x="99" y="397"/>
                  </a:lnTo>
                  <a:lnTo>
                    <a:pt x="101" y="397"/>
                  </a:lnTo>
                  <a:lnTo>
                    <a:pt x="101" y="399"/>
                  </a:lnTo>
                  <a:lnTo>
                    <a:pt x="101" y="399"/>
                  </a:lnTo>
                  <a:lnTo>
                    <a:pt x="101" y="406"/>
                  </a:lnTo>
                  <a:lnTo>
                    <a:pt x="106" y="411"/>
                  </a:lnTo>
                  <a:lnTo>
                    <a:pt x="108" y="411"/>
                  </a:lnTo>
                  <a:lnTo>
                    <a:pt x="111" y="418"/>
                  </a:lnTo>
                  <a:lnTo>
                    <a:pt x="111" y="423"/>
                  </a:lnTo>
                  <a:lnTo>
                    <a:pt x="113" y="428"/>
                  </a:lnTo>
                  <a:lnTo>
                    <a:pt x="116" y="432"/>
                  </a:lnTo>
                  <a:lnTo>
                    <a:pt x="118" y="442"/>
                  </a:lnTo>
                  <a:lnTo>
                    <a:pt x="120" y="454"/>
                  </a:lnTo>
                  <a:lnTo>
                    <a:pt x="120" y="454"/>
                  </a:lnTo>
                  <a:lnTo>
                    <a:pt x="125" y="458"/>
                  </a:lnTo>
                  <a:lnTo>
                    <a:pt x="127" y="461"/>
                  </a:lnTo>
                  <a:lnTo>
                    <a:pt x="132" y="468"/>
                  </a:lnTo>
                  <a:lnTo>
                    <a:pt x="134" y="475"/>
                  </a:lnTo>
                  <a:lnTo>
                    <a:pt x="137" y="482"/>
                  </a:lnTo>
                  <a:lnTo>
                    <a:pt x="144" y="498"/>
                  </a:lnTo>
                  <a:lnTo>
                    <a:pt x="146" y="508"/>
                  </a:lnTo>
                  <a:lnTo>
                    <a:pt x="149" y="513"/>
                  </a:lnTo>
                  <a:lnTo>
                    <a:pt x="153" y="520"/>
                  </a:lnTo>
                  <a:lnTo>
                    <a:pt x="158" y="524"/>
                  </a:lnTo>
                  <a:lnTo>
                    <a:pt x="160" y="529"/>
                  </a:lnTo>
                  <a:lnTo>
                    <a:pt x="167" y="527"/>
                  </a:lnTo>
                  <a:lnTo>
                    <a:pt x="170" y="524"/>
                  </a:lnTo>
                  <a:lnTo>
                    <a:pt x="170" y="524"/>
                  </a:lnTo>
                  <a:lnTo>
                    <a:pt x="172" y="524"/>
                  </a:lnTo>
                  <a:lnTo>
                    <a:pt x="175" y="522"/>
                  </a:lnTo>
                  <a:lnTo>
                    <a:pt x="175" y="520"/>
                  </a:lnTo>
                  <a:lnTo>
                    <a:pt x="175" y="517"/>
                  </a:lnTo>
                  <a:lnTo>
                    <a:pt x="177" y="513"/>
                  </a:lnTo>
                  <a:lnTo>
                    <a:pt x="184" y="508"/>
                  </a:lnTo>
                  <a:lnTo>
                    <a:pt x="189" y="508"/>
                  </a:lnTo>
                  <a:lnTo>
                    <a:pt x="189" y="506"/>
                  </a:lnTo>
                  <a:lnTo>
                    <a:pt x="189" y="501"/>
                  </a:lnTo>
                  <a:lnTo>
                    <a:pt x="193" y="496"/>
                  </a:lnTo>
                  <a:lnTo>
                    <a:pt x="193" y="494"/>
                  </a:lnTo>
                  <a:lnTo>
                    <a:pt x="196" y="489"/>
                  </a:lnTo>
                  <a:lnTo>
                    <a:pt x="201" y="489"/>
                  </a:lnTo>
                  <a:lnTo>
                    <a:pt x="201" y="489"/>
                  </a:lnTo>
                  <a:lnTo>
                    <a:pt x="205" y="489"/>
                  </a:lnTo>
                  <a:lnTo>
                    <a:pt x="205" y="484"/>
                  </a:lnTo>
                  <a:lnTo>
                    <a:pt x="203" y="475"/>
                  </a:lnTo>
                  <a:lnTo>
                    <a:pt x="203" y="465"/>
                  </a:lnTo>
                  <a:lnTo>
                    <a:pt x="205" y="463"/>
                  </a:lnTo>
                  <a:lnTo>
                    <a:pt x="208" y="454"/>
                  </a:lnTo>
                  <a:lnTo>
                    <a:pt x="210" y="451"/>
                  </a:lnTo>
                  <a:lnTo>
                    <a:pt x="212" y="442"/>
                  </a:lnTo>
                  <a:lnTo>
                    <a:pt x="212" y="439"/>
                  </a:lnTo>
                  <a:lnTo>
                    <a:pt x="212" y="435"/>
                  </a:lnTo>
                  <a:lnTo>
                    <a:pt x="210" y="432"/>
                  </a:lnTo>
                  <a:lnTo>
                    <a:pt x="210" y="432"/>
                  </a:lnTo>
                  <a:lnTo>
                    <a:pt x="210" y="430"/>
                  </a:lnTo>
                  <a:lnTo>
                    <a:pt x="210" y="430"/>
                  </a:lnTo>
                  <a:lnTo>
                    <a:pt x="210" y="430"/>
                  </a:lnTo>
                  <a:lnTo>
                    <a:pt x="208" y="421"/>
                  </a:lnTo>
                  <a:lnTo>
                    <a:pt x="210" y="418"/>
                  </a:lnTo>
                  <a:lnTo>
                    <a:pt x="210" y="413"/>
                  </a:lnTo>
                  <a:lnTo>
                    <a:pt x="210" y="413"/>
                  </a:lnTo>
                  <a:lnTo>
                    <a:pt x="208" y="411"/>
                  </a:lnTo>
                  <a:lnTo>
                    <a:pt x="208" y="409"/>
                  </a:lnTo>
                  <a:lnTo>
                    <a:pt x="208" y="402"/>
                  </a:lnTo>
                  <a:lnTo>
                    <a:pt x="210" y="397"/>
                  </a:lnTo>
                  <a:lnTo>
                    <a:pt x="212" y="392"/>
                  </a:lnTo>
                  <a:lnTo>
                    <a:pt x="217" y="392"/>
                  </a:lnTo>
                  <a:lnTo>
                    <a:pt x="219" y="392"/>
                  </a:lnTo>
                  <a:lnTo>
                    <a:pt x="222" y="392"/>
                  </a:lnTo>
                  <a:lnTo>
                    <a:pt x="224" y="392"/>
                  </a:lnTo>
                  <a:lnTo>
                    <a:pt x="227" y="387"/>
                  </a:lnTo>
                  <a:lnTo>
                    <a:pt x="229" y="385"/>
                  </a:lnTo>
                  <a:lnTo>
                    <a:pt x="229" y="383"/>
                  </a:lnTo>
                  <a:lnTo>
                    <a:pt x="234" y="383"/>
                  </a:lnTo>
                  <a:lnTo>
                    <a:pt x="236" y="383"/>
                  </a:lnTo>
                  <a:lnTo>
                    <a:pt x="245" y="378"/>
                  </a:lnTo>
                  <a:lnTo>
                    <a:pt x="245" y="376"/>
                  </a:lnTo>
                  <a:lnTo>
                    <a:pt x="245" y="373"/>
                  </a:lnTo>
                  <a:lnTo>
                    <a:pt x="248" y="371"/>
                  </a:lnTo>
                  <a:lnTo>
                    <a:pt x="253" y="366"/>
                  </a:lnTo>
                  <a:lnTo>
                    <a:pt x="260" y="361"/>
                  </a:lnTo>
                  <a:lnTo>
                    <a:pt x="267" y="357"/>
                  </a:lnTo>
                  <a:lnTo>
                    <a:pt x="269" y="352"/>
                  </a:lnTo>
                  <a:lnTo>
                    <a:pt x="274" y="350"/>
                  </a:lnTo>
                  <a:lnTo>
                    <a:pt x="279" y="347"/>
                  </a:lnTo>
                  <a:lnTo>
                    <a:pt x="279" y="345"/>
                  </a:lnTo>
                  <a:lnTo>
                    <a:pt x="279" y="345"/>
                  </a:lnTo>
                  <a:lnTo>
                    <a:pt x="283" y="343"/>
                  </a:lnTo>
                  <a:lnTo>
                    <a:pt x="295" y="328"/>
                  </a:lnTo>
                  <a:lnTo>
                    <a:pt x="297" y="326"/>
                  </a:lnTo>
                  <a:lnTo>
                    <a:pt x="307" y="319"/>
                  </a:lnTo>
                  <a:lnTo>
                    <a:pt x="314" y="319"/>
                  </a:lnTo>
                  <a:lnTo>
                    <a:pt x="316" y="317"/>
                  </a:lnTo>
                  <a:lnTo>
                    <a:pt x="316" y="317"/>
                  </a:lnTo>
                  <a:lnTo>
                    <a:pt x="323" y="312"/>
                  </a:lnTo>
                  <a:lnTo>
                    <a:pt x="326" y="307"/>
                  </a:lnTo>
                  <a:lnTo>
                    <a:pt x="326" y="307"/>
                  </a:lnTo>
                  <a:lnTo>
                    <a:pt x="330" y="302"/>
                  </a:lnTo>
                  <a:lnTo>
                    <a:pt x="328" y="295"/>
                  </a:lnTo>
                  <a:lnTo>
                    <a:pt x="330" y="291"/>
                  </a:lnTo>
                  <a:lnTo>
                    <a:pt x="340" y="286"/>
                  </a:lnTo>
                  <a:lnTo>
                    <a:pt x="342" y="284"/>
                  </a:lnTo>
                  <a:lnTo>
                    <a:pt x="345" y="281"/>
                  </a:lnTo>
                  <a:lnTo>
                    <a:pt x="347" y="279"/>
                  </a:lnTo>
                  <a:lnTo>
                    <a:pt x="347" y="279"/>
                  </a:lnTo>
                  <a:lnTo>
                    <a:pt x="349" y="276"/>
                  </a:lnTo>
                  <a:lnTo>
                    <a:pt x="349" y="276"/>
                  </a:lnTo>
                  <a:lnTo>
                    <a:pt x="349" y="279"/>
                  </a:lnTo>
                  <a:lnTo>
                    <a:pt x="349" y="284"/>
                  </a:lnTo>
                  <a:lnTo>
                    <a:pt x="349" y="284"/>
                  </a:lnTo>
                  <a:lnTo>
                    <a:pt x="349" y="284"/>
                  </a:lnTo>
                  <a:lnTo>
                    <a:pt x="352" y="284"/>
                  </a:lnTo>
                  <a:lnTo>
                    <a:pt x="352" y="286"/>
                  </a:lnTo>
                  <a:lnTo>
                    <a:pt x="354" y="286"/>
                  </a:lnTo>
                  <a:lnTo>
                    <a:pt x="356" y="286"/>
                  </a:lnTo>
                  <a:lnTo>
                    <a:pt x="356" y="286"/>
                  </a:lnTo>
                  <a:lnTo>
                    <a:pt x="359" y="284"/>
                  </a:lnTo>
                  <a:lnTo>
                    <a:pt x="359" y="281"/>
                  </a:lnTo>
                  <a:lnTo>
                    <a:pt x="359" y="284"/>
                  </a:lnTo>
                  <a:lnTo>
                    <a:pt x="361" y="286"/>
                  </a:lnTo>
                  <a:lnTo>
                    <a:pt x="364" y="286"/>
                  </a:lnTo>
                  <a:lnTo>
                    <a:pt x="361" y="281"/>
                  </a:lnTo>
                  <a:lnTo>
                    <a:pt x="361" y="279"/>
                  </a:lnTo>
                  <a:lnTo>
                    <a:pt x="361" y="276"/>
                  </a:lnTo>
                  <a:lnTo>
                    <a:pt x="361" y="274"/>
                  </a:lnTo>
                  <a:lnTo>
                    <a:pt x="361" y="272"/>
                  </a:lnTo>
                  <a:lnTo>
                    <a:pt x="359" y="269"/>
                  </a:lnTo>
                  <a:lnTo>
                    <a:pt x="359" y="267"/>
                  </a:lnTo>
                  <a:lnTo>
                    <a:pt x="356" y="265"/>
                  </a:lnTo>
                  <a:lnTo>
                    <a:pt x="356" y="260"/>
                  </a:lnTo>
                  <a:lnTo>
                    <a:pt x="359" y="260"/>
                  </a:lnTo>
                  <a:lnTo>
                    <a:pt x="359" y="255"/>
                  </a:lnTo>
                  <a:lnTo>
                    <a:pt x="359" y="255"/>
                  </a:lnTo>
                  <a:lnTo>
                    <a:pt x="356" y="253"/>
                  </a:lnTo>
                  <a:lnTo>
                    <a:pt x="356" y="248"/>
                  </a:lnTo>
                  <a:lnTo>
                    <a:pt x="354" y="248"/>
                  </a:lnTo>
                  <a:lnTo>
                    <a:pt x="354" y="243"/>
                  </a:lnTo>
                  <a:lnTo>
                    <a:pt x="356" y="241"/>
                  </a:lnTo>
                  <a:lnTo>
                    <a:pt x="356" y="234"/>
                  </a:lnTo>
                  <a:lnTo>
                    <a:pt x="354" y="232"/>
                  </a:lnTo>
                  <a:lnTo>
                    <a:pt x="352" y="229"/>
                  </a:lnTo>
                  <a:lnTo>
                    <a:pt x="347" y="227"/>
                  </a:lnTo>
                  <a:lnTo>
                    <a:pt x="345" y="227"/>
                  </a:lnTo>
                  <a:lnTo>
                    <a:pt x="345" y="224"/>
                  </a:lnTo>
                  <a:lnTo>
                    <a:pt x="345" y="222"/>
                  </a:lnTo>
                  <a:lnTo>
                    <a:pt x="347" y="220"/>
                  </a:lnTo>
                  <a:lnTo>
                    <a:pt x="349" y="220"/>
                  </a:lnTo>
                  <a:lnTo>
                    <a:pt x="352" y="220"/>
                  </a:lnTo>
                  <a:lnTo>
                    <a:pt x="352" y="217"/>
                  </a:lnTo>
                  <a:lnTo>
                    <a:pt x="359" y="215"/>
                  </a:lnTo>
                  <a:lnTo>
                    <a:pt x="359" y="213"/>
                  </a:lnTo>
                  <a:lnTo>
                    <a:pt x="356" y="213"/>
                  </a:lnTo>
                  <a:lnTo>
                    <a:pt x="356" y="210"/>
                  </a:lnTo>
                  <a:lnTo>
                    <a:pt x="352" y="210"/>
                  </a:lnTo>
                  <a:lnTo>
                    <a:pt x="349" y="210"/>
                  </a:lnTo>
                  <a:lnTo>
                    <a:pt x="349" y="206"/>
                  </a:lnTo>
                  <a:lnTo>
                    <a:pt x="347" y="206"/>
                  </a:lnTo>
                  <a:lnTo>
                    <a:pt x="352" y="196"/>
                  </a:lnTo>
                  <a:lnTo>
                    <a:pt x="354" y="194"/>
                  </a:lnTo>
                  <a:lnTo>
                    <a:pt x="354" y="191"/>
                  </a:lnTo>
                  <a:lnTo>
                    <a:pt x="359" y="198"/>
                  </a:lnTo>
                  <a:lnTo>
                    <a:pt x="359" y="201"/>
                  </a:lnTo>
                  <a:lnTo>
                    <a:pt x="361" y="198"/>
                  </a:lnTo>
                  <a:lnTo>
                    <a:pt x="361" y="194"/>
                  </a:lnTo>
                  <a:lnTo>
                    <a:pt x="364" y="194"/>
                  </a:lnTo>
                  <a:lnTo>
                    <a:pt x="364" y="198"/>
                  </a:lnTo>
                  <a:lnTo>
                    <a:pt x="366" y="201"/>
                  </a:lnTo>
                  <a:lnTo>
                    <a:pt x="368" y="201"/>
                  </a:lnTo>
                  <a:lnTo>
                    <a:pt x="371" y="203"/>
                  </a:lnTo>
                  <a:lnTo>
                    <a:pt x="373" y="198"/>
                  </a:lnTo>
                  <a:lnTo>
                    <a:pt x="373" y="198"/>
                  </a:lnTo>
                  <a:lnTo>
                    <a:pt x="375" y="206"/>
                  </a:lnTo>
                  <a:lnTo>
                    <a:pt x="378" y="210"/>
                  </a:lnTo>
                  <a:lnTo>
                    <a:pt x="378" y="215"/>
                  </a:lnTo>
                  <a:lnTo>
                    <a:pt x="382" y="215"/>
                  </a:lnTo>
                  <a:lnTo>
                    <a:pt x="397" y="217"/>
                  </a:lnTo>
                  <a:lnTo>
                    <a:pt x="397" y="215"/>
                  </a:lnTo>
                  <a:lnTo>
                    <a:pt x="401" y="215"/>
                  </a:lnTo>
                  <a:lnTo>
                    <a:pt x="408" y="215"/>
                  </a:lnTo>
                  <a:lnTo>
                    <a:pt x="416" y="217"/>
                  </a:lnTo>
                  <a:lnTo>
                    <a:pt x="423" y="220"/>
                  </a:lnTo>
                  <a:lnTo>
                    <a:pt x="420" y="222"/>
                  </a:lnTo>
                  <a:lnTo>
                    <a:pt x="418" y="222"/>
                  </a:lnTo>
                  <a:lnTo>
                    <a:pt x="416" y="227"/>
                  </a:lnTo>
                  <a:lnTo>
                    <a:pt x="413" y="232"/>
                  </a:lnTo>
                  <a:lnTo>
                    <a:pt x="408" y="234"/>
                  </a:lnTo>
                  <a:lnTo>
                    <a:pt x="406" y="236"/>
                  </a:lnTo>
                  <a:lnTo>
                    <a:pt x="401" y="239"/>
                  </a:lnTo>
                  <a:lnTo>
                    <a:pt x="401" y="241"/>
                  </a:lnTo>
                  <a:lnTo>
                    <a:pt x="401" y="248"/>
                  </a:lnTo>
                  <a:lnTo>
                    <a:pt x="404" y="253"/>
                  </a:lnTo>
                  <a:lnTo>
                    <a:pt x="406" y="253"/>
                  </a:lnTo>
                  <a:lnTo>
                    <a:pt x="408" y="258"/>
                  </a:lnTo>
                  <a:lnTo>
                    <a:pt x="411" y="258"/>
                  </a:lnTo>
                  <a:lnTo>
                    <a:pt x="411" y="255"/>
                  </a:lnTo>
                  <a:lnTo>
                    <a:pt x="413" y="250"/>
                  </a:lnTo>
                  <a:lnTo>
                    <a:pt x="418" y="246"/>
                  </a:lnTo>
                  <a:lnTo>
                    <a:pt x="418" y="246"/>
                  </a:lnTo>
                  <a:lnTo>
                    <a:pt x="420" y="250"/>
                  </a:lnTo>
                  <a:lnTo>
                    <a:pt x="423" y="255"/>
                  </a:lnTo>
                  <a:lnTo>
                    <a:pt x="425" y="258"/>
                  </a:lnTo>
                  <a:lnTo>
                    <a:pt x="425" y="260"/>
                  </a:lnTo>
                  <a:lnTo>
                    <a:pt x="427" y="269"/>
                  </a:lnTo>
                  <a:lnTo>
                    <a:pt x="427" y="279"/>
                  </a:lnTo>
                  <a:lnTo>
                    <a:pt x="430" y="279"/>
                  </a:lnTo>
                  <a:lnTo>
                    <a:pt x="430" y="276"/>
                  </a:lnTo>
                  <a:lnTo>
                    <a:pt x="434" y="279"/>
                  </a:lnTo>
                  <a:lnTo>
                    <a:pt x="434" y="276"/>
                  </a:lnTo>
                  <a:lnTo>
                    <a:pt x="437" y="276"/>
                  </a:lnTo>
                  <a:lnTo>
                    <a:pt x="437" y="274"/>
                  </a:lnTo>
                  <a:lnTo>
                    <a:pt x="437" y="274"/>
                  </a:lnTo>
                  <a:lnTo>
                    <a:pt x="434" y="269"/>
                  </a:lnTo>
                  <a:lnTo>
                    <a:pt x="434" y="265"/>
                  </a:lnTo>
                  <a:lnTo>
                    <a:pt x="434" y="262"/>
                  </a:lnTo>
                  <a:lnTo>
                    <a:pt x="439" y="262"/>
                  </a:lnTo>
                  <a:lnTo>
                    <a:pt x="439" y="260"/>
                  </a:lnTo>
                  <a:lnTo>
                    <a:pt x="442" y="253"/>
                  </a:lnTo>
                  <a:lnTo>
                    <a:pt x="442" y="246"/>
                  </a:lnTo>
                  <a:lnTo>
                    <a:pt x="444" y="243"/>
                  </a:lnTo>
                  <a:lnTo>
                    <a:pt x="449" y="243"/>
                  </a:lnTo>
                  <a:lnTo>
                    <a:pt x="451" y="243"/>
                  </a:lnTo>
                  <a:lnTo>
                    <a:pt x="453" y="243"/>
                  </a:lnTo>
                  <a:lnTo>
                    <a:pt x="456" y="241"/>
                  </a:lnTo>
                  <a:lnTo>
                    <a:pt x="458" y="234"/>
                  </a:lnTo>
                  <a:lnTo>
                    <a:pt x="463" y="224"/>
                  </a:lnTo>
                  <a:lnTo>
                    <a:pt x="465" y="220"/>
                  </a:lnTo>
                  <a:lnTo>
                    <a:pt x="463" y="217"/>
                  </a:lnTo>
                  <a:lnTo>
                    <a:pt x="465" y="215"/>
                  </a:lnTo>
                  <a:lnTo>
                    <a:pt x="470" y="210"/>
                  </a:lnTo>
                  <a:lnTo>
                    <a:pt x="472" y="208"/>
                  </a:lnTo>
                  <a:lnTo>
                    <a:pt x="472" y="198"/>
                  </a:lnTo>
                  <a:lnTo>
                    <a:pt x="475" y="194"/>
                  </a:lnTo>
                  <a:lnTo>
                    <a:pt x="479" y="189"/>
                  </a:lnTo>
                  <a:lnTo>
                    <a:pt x="484" y="187"/>
                  </a:lnTo>
                  <a:lnTo>
                    <a:pt x="486" y="184"/>
                  </a:lnTo>
                  <a:lnTo>
                    <a:pt x="489" y="180"/>
                  </a:lnTo>
                  <a:lnTo>
                    <a:pt x="496" y="180"/>
                  </a:lnTo>
                  <a:lnTo>
                    <a:pt x="498" y="177"/>
                  </a:lnTo>
                  <a:lnTo>
                    <a:pt x="505" y="180"/>
                  </a:lnTo>
                  <a:lnTo>
                    <a:pt x="505" y="177"/>
                  </a:lnTo>
                  <a:lnTo>
                    <a:pt x="505" y="173"/>
                  </a:lnTo>
                  <a:lnTo>
                    <a:pt x="505" y="168"/>
                  </a:lnTo>
                  <a:lnTo>
                    <a:pt x="510" y="165"/>
                  </a:lnTo>
                  <a:lnTo>
                    <a:pt x="512" y="165"/>
                  </a:lnTo>
                  <a:lnTo>
                    <a:pt x="512" y="161"/>
                  </a:lnTo>
                  <a:lnTo>
                    <a:pt x="510" y="156"/>
                  </a:lnTo>
                  <a:lnTo>
                    <a:pt x="508" y="156"/>
                  </a:lnTo>
                  <a:lnTo>
                    <a:pt x="503" y="156"/>
                  </a:lnTo>
                  <a:lnTo>
                    <a:pt x="498" y="154"/>
                  </a:lnTo>
                  <a:lnTo>
                    <a:pt x="493" y="154"/>
                  </a:lnTo>
                  <a:lnTo>
                    <a:pt x="493" y="149"/>
                  </a:lnTo>
                  <a:lnTo>
                    <a:pt x="493" y="144"/>
                  </a:lnTo>
                  <a:lnTo>
                    <a:pt x="491" y="144"/>
                  </a:lnTo>
                  <a:lnTo>
                    <a:pt x="489" y="139"/>
                  </a:lnTo>
                  <a:lnTo>
                    <a:pt x="491" y="137"/>
                  </a:lnTo>
                  <a:lnTo>
                    <a:pt x="486" y="135"/>
                  </a:lnTo>
                  <a:lnTo>
                    <a:pt x="484" y="135"/>
                  </a:lnTo>
                  <a:lnTo>
                    <a:pt x="479" y="137"/>
                  </a:lnTo>
                  <a:lnTo>
                    <a:pt x="475" y="139"/>
                  </a:lnTo>
                  <a:lnTo>
                    <a:pt x="467" y="139"/>
                  </a:lnTo>
                  <a:lnTo>
                    <a:pt x="465" y="139"/>
                  </a:lnTo>
                  <a:lnTo>
                    <a:pt x="463" y="137"/>
                  </a:lnTo>
                  <a:lnTo>
                    <a:pt x="463" y="137"/>
                  </a:lnTo>
                  <a:lnTo>
                    <a:pt x="458" y="139"/>
                  </a:lnTo>
                  <a:lnTo>
                    <a:pt x="456" y="142"/>
                  </a:lnTo>
                  <a:lnTo>
                    <a:pt x="453" y="144"/>
                  </a:lnTo>
                  <a:lnTo>
                    <a:pt x="449" y="149"/>
                  </a:lnTo>
                  <a:lnTo>
                    <a:pt x="444" y="151"/>
                  </a:lnTo>
                  <a:lnTo>
                    <a:pt x="439" y="156"/>
                  </a:lnTo>
                  <a:lnTo>
                    <a:pt x="434" y="158"/>
                  </a:lnTo>
                  <a:lnTo>
                    <a:pt x="430" y="161"/>
                  </a:lnTo>
                  <a:lnTo>
                    <a:pt x="427" y="163"/>
                  </a:lnTo>
                  <a:lnTo>
                    <a:pt x="418" y="165"/>
                  </a:lnTo>
                  <a:lnTo>
                    <a:pt x="413" y="168"/>
                  </a:lnTo>
                  <a:lnTo>
                    <a:pt x="413" y="168"/>
                  </a:lnTo>
                  <a:lnTo>
                    <a:pt x="413" y="168"/>
                  </a:lnTo>
                  <a:lnTo>
                    <a:pt x="411" y="170"/>
                  </a:lnTo>
                  <a:lnTo>
                    <a:pt x="411" y="170"/>
                  </a:lnTo>
                  <a:lnTo>
                    <a:pt x="413" y="173"/>
                  </a:lnTo>
                  <a:lnTo>
                    <a:pt x="418" y="175"/>
                  </a:lnTo>
                  <a:lnTo>
                    <a:pt x="420" y="177"/>
                  </a:lnTo>
                  <a:lnTo>
                    <a:pt x="420" y="182"/>
                  </a:lnTo>
                  <a:lnTo>
                    <a:pt x="420" y="182"/>
                  </a:lnTo>
                  <a:lnTo>
                    <a:pt x="420" y="182"/>
                  </a:lnTo>
                  <a:lnTo>
                    <a:pt x="418" y="184"/>
                  </a:lnTo>
                  <a:lnTo>
                    <a:pt x="411" y="187"/>
                  </a:lnTo>
                  <a:lnTo>
                    <a:pt x="406" y="187"/>
                  </a:lnTo>
                  <a:lnTo>
                    <a:pt x="399" y="187"/>
                  </a:lnTo>
                  <a:lnTo>
                    <a:pt x="397" y="187"/>
                  </a:lnTo>
                  <a:lnTo>
                    <a:pt x="394" y="187"/>
                  </a:lnTo>
                  <a:lnTo>
                    <a:pt x="392" y="187"/>
                  </a:lnTo>
                  <a:lnTo>
                    <a:pt x="390" y="187"/>
                  </a:lnTo>
                  <a:lnTo>
                    <a:pt x="382" y="189"/>
                  </a:lnTo>
                  <a:lnTo>
                    <a:pt x="375" y="189"/>
                  </a:lnTo>
                  <a:lnTo>
                    <a:pt x="368" y="189"/>
                  </a:lnTo>
                  <a:lnTo>
                    <a:pt x="366" y="187"/>
                  </a:lnTo>
                  <a:lnTo>
                    <a:pt x="364" y="187"/>
                  </a:lnTo>
                  <a:lnTo>
                    <a:pt x="364" y="187"/>
                  </a:lnTo>
                  <a:lnTo>
                    <a:pt x="364" y="184"/>
                  </a:lnTo>
                  <a:lnTo>
                    <a:pt x="364" y="182"/>
                  </a:lnTo>
                  <a:lnTo>
                    <a:pt x="361" y="182"/>
                  </a:lnTo>
                  <a:lnTo>
                    <a:pt x="361" y="182"/>
                  </a:lnTo>
                  <a:lnTo>
                    <a:pt x="361" y="180"/>
                  </a:lnTo>
                  <a:lnTo>
                    <a:pt x="364" y="177"/>
                  </a:lnTo>
                  <a:lnTo>
                    <a:pt x="364" y="177"/>
                  </a:lnTo>
                  <a:lnTo>
                    <a:pt x="361" y="177"/>
                  </a:lnTo>
                  <a:lnTo>
                    <a:pt x="361" y="175"/>
                  </a:lnTo>
                  <a:lnTo>
                    <a:pt x="361" y="175"/>
                  </a:lnTo>
                  <a:lnTo>
                    <a:pt x="361" y="173"/>
                  </a:lnTo>
                  <a:lnTo>
                    <a:pt x="361" y="168"/>
                  </a:lnTo>
                  <a:lnTo>
                    <a:pt x="361" y="168"/>
                  </a:lnTo>
                  <a:lnTo>
                    <a:pt x="361" y="163"/>
                  </a:lnTo>
                  <a:lnTo>
                    <a:pt x="359" y="163"/>
                  </a:lnTo>
                  <a:lnTo>
                    <a:pt x="359" y="161"/>
                  </a:lnTo>
                  <a:lnTo>
                    <a:pt x="356" y="163"/>
                  </a:lnTo>
                  <a:lnTo>
                    <a:pt x="354" y="163"/>
                  </a:lnTo>
                  <a:lnTo>
                    <a:pt x="352" y="163"/>
                  </a:lnTo>
                  <a:lnTo>
                    <a:pt x="349" y="165"/>
                  </a:lnTo>
                  <a:lnTo>
                    <a:pt x="349" y="165"/>
                  </a:lnTo>
                  <a:lnTo>
                    <a:pt x="347" y="168"/>
                  </a:lnTo>
                  <a:lnTo>
                    <a:pt x="347" y="173"/>
                  </a:lnTo>
                  <a:lnTo>
                    <a:pt x="347" y="177"/>
                  </a:lnTo>
                  <a:lnTo>
                    <a:pt x="347" y="180"/>
                  </a:lnTo>
                  <a:lnTo>
                    <a:pt x="345" y="182"/>
                  </a:lnTo>
                  <a:lnTo>
                    <a:pt x="345" y="184"/>
                  </a:lnTo>
                  <a:lnTo>
                    <a:pt x="347" y="184"/>
                  </a:lnTo>
                  <a:lnTo>
                    <a:pt x="349" y="187"/>
                  </a:lnTo>
                  <a:lnTo>
                    <a:pt x="349" y="189"/>
                  </a:lnTo>
                  <a:lnTo>
                    <a:pt x="347" y="194"/>
                  </a:lnTo>
                  <a:lnTo>
                    <a:pt x="347" y="194"/>
                  </a:lnTo>
                  <a:lnTo>
                    <a:pt x="342" y="194"/>
                  </a:lnTo>
                  <a:lnTo>
                    <a:pt x="340" y="194"/>
                  </a:lnTo>
                  <a:lnTo>
                    <a:pt x="335" y="194"/>
                  </a:lnTo>
                  <a:lnTo>
                    <a:pt x="333" y="196"/>
                  </a:lnTo>
                  <a:lnTo>
                    <a:pt x="330" y="194"/>
                  </a:lnTo>
                  <a:lnTo>
                    <a:pt x="326" y="194"/>
                  </a:lnTo>
                  <a:lnTo>
                    <a:pt x="323" y="194"/>
                  </a:lnTo>
                  <a:lnTo>
                    <a:pt x="309" y="191"/>
                  </a:lnTo>
                  <a:lnTo>
                    <a:pt x="307" y="189"/>
                  </a:lnTo>
                  <a:lnTo>
                    <a:pt x="304" y="189"/>
                  </a:lnTo>
                  <a:lnTo>
                    <a:pt x="300" y="189"/>
                  </a:lnTo>
                  <a:lnTo>
                    <a:pt x="295" y="187"/>
                  </a:lnTo>
                  <a:lnTo>
                    <a:pt x="290" y="184"/>
                  </a:lnTo>
                  <a:lnTo>
                    <a:pt x="288" y="182"/>
                  </a:lnTo>
                  <a:lnTo>
                    <a:pt x="286" y="177"/>
                  </a:lnTo>
                  <a:lnTo>
                    <a:pt x="283" y="177"/>
                  </a:lnTo>
                  <a:lnTo>
                    <a:pt x="276" y="177"/>
                  </a:lnTo>
                  <a:lnTo>
                    <a:pt x="276" y="177"/>
                  </a:lnTo>
                  <a:lnTo>
                    <a:pt x="276" y="177"/>
                  </a:lnTo>
                  <a:lnTo>
                    <a:pt x="274" y="177"/>
                  </a:lnTo>
                  <a:lnTo>
                    <a:pt x="271" y="175"/>
                  </a:lnTo>
                  <a:lnTo>
                    <a:pt x="267" y="175"/>
                  </a:lnTo>
                  <a:lnTo>
                    <a:pt x="264" y="177"/>
                  </a:lnTo>
                  <a:lnTo>
                    <a:pt x="262" y="177"/>
                  </a:lnTo>
                  <a:lnTo>
                    <a:pt x="257" y="175"/>
                  </a:lnTo>
                  <a:lnTo>
                    <a:pt x="253" y="173"/>
                  </a:lnTo>
                  <a:lnTo>
                    <a:pt x="253" y="170"/>
                  </a:lnTo>
                  <a:lnTo>
                    <a:pt x="250" y="170"/>
                  </a:lnTo>
                  <a:lnTo>
                    <a:pt x="248" y="170"/>
                  </a:lnTo>
                  <a:lnTo>
                    <a:pt x="245" y="168"/>
                  </a:lnTo>
                  <a:lnTo>
                    <a:pt x="243" y="168"/>
                  </a:lnTo>
                  <a:lnTo>
                    <a:pt x="238" y="165"/>
                  </a:lnTo>
                  <a:lnTo>
                    <a:pt x="236" y="165"/>
                  </a:lnTo>
                  <a:lnTo>
                    <a:pt x="234" y="163"/>
                  </a:lnTo>
                  <a:lnTo>
                    <a:pt x="229" y="158"/>
                  </a:lnTo>
                  <a:lnTo>
                    <a:pt x="227" y="156"/>
                  </a:lnTo>
                  <a:lnTo>
                    <a:pt x="224" y="156"/>
                  </a:lnTo>
                  <a:lnTo>
                    <a:pt x="224" y="154"/>
                  </a:lnTo>
                  <a:lnTo>
                    <a:pt x="219" y="151"/>
                  </a:lnTo>
                  <a:lnTo>
                    <a:pt x="217" y="151"/>
                  </a:lnTo>
                  <a:lnTo>
                    <a:pt x="217" y="154"/>
                  </a:lnTo>
                  <a:lnTo>
                    <a:pt x="217" y="154"/>
                  </a:lnTo>
                  <a:lnTo>
                    <a:pt x="215" y="151"/>
                  </a:lnTo>
                  <a:lnTo>
                    <a:pt x="215" y="151"/>
                  </a:lnTo>
                  <a:lnTo>
                    <a:pt x="212" y="149"/>
                  </a:lnTo>
                  <a:lnTo>
                    <a:pt x="210" y="149"/>
                  </a:lnTo>
                  <a:lnTo>
                    <a:pt x="210" y="147"/>
                  </a:lnTo>
                  <a:lnTo>
                    <a:pt x="210" y="144"/>
                  </a:lnTo>
                  <a:lnTo>
                    <a:pt x="210" y="142"/>
                  </a:lnTo>
                  <a:lnTo>
                    <a:pt x="212" y="142"/>
                  </a:lnTo>
                  <a:lnTo>
                    <a:pt x="212" y="139"/>
                  </a:lnTo>
                  <a:lnTo>
                    <a:pt x="215" y="139"/>
                  </a:lnTo>
                  <a:lnTo>
                    <a:pt x="212" y="137"/>
                  </a:lnTo>
                  <a:lnTo>
                    <a:pt x="215" y="135"/>
                  </a:lnTo>
                  <a:lnTo>
                    <a:pt x="215" y="132"/>
                  </a:lnTo>
                  <a:lnTo>
                    <a:pt x="215" y="130"/>
                  </a:lnTo>
                  <a:lnTo>
                    <a:pt x="215" y="128"/>
                  </a:lnTo>
                  <a:lnTo>
                    <a:pt x="215" y="128"/>
                  </a:lnTo>
                  <a:lnTo>
                    <a:pt x="217" y="128"/>
                  </a:lnTo>
                  <a:lnTo>
                    <a:pt x="219" y="125"/>
                  </a:lnTo>
                  <a:lnTo>
                    <a:pt x="222" y="123"/>
                  </a:lnTo>
                  <a:lnTo>
                    <a:pt x="222" y="121"/>
                  </a:lnTo>
                  <a:lnTo>
                    <a:pt x="222" y="121"/>
                  </a:lnTo>
                  <a:lnTo>
                    <a:pt x="224" y="118"/>
                  </a:lnTo>
                  <a:lnTo>
                    <a:pt x="224" y="121"/>
                  </a:lnTo>
                  <a:lnTo>
                    <a:pt x="227" y="118"/>
                  </a:lnTo>
                  <a:lnTo>
                    <a:pt x="224" y="118"/>
                  </a:lnTo>
                  <a:lnTo>
                    <a:pt x="219" y="116"/>
                  </a:lnTo>
                  <a:lnTo>
                    <a:pt x="219" y="116"/>
                  </a:lnTo>
                  <a:lnTo>
                    <a:pt x="217" y="113"/>
                  </a:lnTo>
                  <a:lnTo>
                    <a:pt x="217" y="113"/>
                  </a:lnTo>
                  <a:lnTo>
                    <a:pt x="212" y="111"/>
                  </a:lnTo>
                  <a:lnTo>
                    <a:pt x="210" y="111"/>
                  </a:lnTo>
                  <a:lnTo>
                    <a:pt x="208" y="109"/>
                  </a:lnTo>
                  <a:lnTo>
                    <a:pt x="208" y="109"/>
                  </a:lnTo>
                  <a:lnTo>
                    <a:pt x="208" y="106"/>
                  </a:lnTo>
                  <a:lnTo>
                    <a:pt x="208" y="106"/>
                  </a:lnTo>
                  <a:lnTo>
                    <a:pt x="205" y="106"/>
                  </a:lnTo>
                  <a:lnTo>
                    <a:pt x="205" y="106"/>
                  </a:lnTo>
                  <a:lnTo>
                    <a:pt x="203" y="104"/>
                  </a:lnTo>
                  <a:lnTo>
                    <a:pt x="201" y="106"/>
                  </a:lnTo>
                  <a:lnTo>
                    <a:pt x="201" y="106"/>
                  </a:lnTo>
                  <a:lnTo>
                    <a:pt x="201" y="104"/>
                  </a:lnTo>
                  <a:lnTo>
                    <a:pt x="201" y="104"/>
                  </a:lnTo>
                  <a:lnTo>
                    <a:pt x="198" y="102"/>
                  </a:lnTo>
                  <a:lnTo>
                    <a:pt x="198" y="104"/>
                  </a:lnTo>
                  <a:lnTo>
                    <a:pt x="193" y="102"/>
                  </a:lnTo>
                  <a:lnTo>
                    <a:pt x="193" y="104"/>
                  </a:lnTo>
                  <a:lnTo>
                    <a:pt x="191" y="104"/>
                  </a:lnTo>
                  <a:lnTo>
                    <a:pt x="191" y="104"/>
                  </a:lnTo>
                  <a:lnTo>
                    <a:pt x="189" y="104"/>
                  </a:lnTo>
                  <a:lnTo>
                    <a:pt x="191" y="99"/>
                  </a:lnTo>
                  <a:lnTo>
                    <a:pt x="189" y="99"/>
                  </a:lnTo>
                  <a:lnTo>
                    <a:pt x="186" y="97"/>
                  </a:lnTo>
                  <a:lnTo>
                    <a:pt x="186" y="97"/>
                  </a:lnTo>
                  <a:lnTo>
                    <a:pt x="186" y="95"/>
                  </a:lnTo>
                  <a:lnTo>
                    <a:pt x="186" y="95"/>
                  </a:lnTo>
                  <a:lnTo>
                    <a:pt x="186" y="90"/>
                  </a:lnTo>
                  <a:lnTo>
                    <a:pt x="186" y="90"/>
                  </a:lnTo>
                  <a:lnTo>
                    <a:pt x="186" y="87"/>
                  </a:lnTo>
                  <a:lnTo>
                    <a:pt x="186" y="85"/>
                  </a:lnTo>
                  <a:lnTo>
                    <a:pt x="186" y="83"/>
                  </a:lnTo>
                  <a:lnTo>
                    <a:pt x="184" y="80"/>
                  </a:lnTo>
                  <a:lnTo>
                    <a:pt x="182" y="78"/>
                  </a:lnTo>
                  <a:lnTo>
                    <a:pt x="182" y="76"/>
                  </a:lnTo>
                  <a:lnTo>
                    <a:pt x="182" y="73"/>
                  </a:lnTo>
                  <a:lnTo>
                    <a:pt x="182" y="71"/>
                  </a:lnTo>
                  <a:lnTo>
                    <a:pt x="184" y="71"/>
                  </a:lnTo>
                  <a:lnTo>
                    <a:pt x="186" y="71"/>
                  </a:lnTo>
                  <a:lnTo>
                    <a:pt x="186" y="71"/>
                  </a:lnTo>
                  <a:lnTo>
                    <a:pt x="186" y="73"/>
                  </a:lnTo>
                  <a:lnTo>
                    <a:pt x="186" y="73"/>
                  </a:lnTo>
                  <a:lnTo>
                    <a:pt x="189" y="76"/>
                  </a:lnTo>
                  <a:lnTo>
                    <a:pt x="191" y="76"/>
                  </a:lnTo>
                  <a:lnTo>
                    <a:pt x="191" y="76"/>
                  </a:lnTo>
                  <a:lnTo>
                    <a:pt x="191" y="76"/>
                  </a:lnTo>
                  <a:lnTo>
                    <a:pt x="193" y="76"/>
                  </a:lnTo>
                  <a:lnTo>
                    <a:pt x="193" y="73"/>
                  </a:lnTo>
                  <a:lnTo>
                    <a:pt x="193" y="73"/>
                  </a:lnTo>
                  <a:lnTo>
                    <a:pt x="196" y="71"/>
                  </a:lnTo>
                  <a:lnTo>
                    <a:pt x="196" y="71"/>
                  </a:lnTo>
                  <a:lnTo>
                    <a:pt x="198" y="73"/>
                  </a:lnTo>
                  <a:lnTo>
                    <a:pt x="198" y="73"/>
                  </a:lnTo>
                  <a:lnTo>
                    <a:pt x="201" y="69"/>
                  </a:lnTo>
                  <a:lnTo>
                    <a:pt x="201" y="69"/>
                  </a:lnTo>
                  <a:lnTo>
                    <a:pt x="201" y="66"/>
                  </a:lnTo>
                  <a:lnTo>
                    <a:pt x="198" y="64"/>
                  </a:lnTo>
                  <a:lnTo>
                    <a:pt x="198" y="61"/>
                  </a:lnTo>
                  <a:lnTo>
                    <a:pt x="198" y="61"/>
                  </a:lnTo>
                  <a:lnTo>
                    <a:pt x="198" y="59"/>
                  </a:lnTo>
                  <a:lnTo>
                    <a:pt x="193" y="59"/>
                  </a:lnTo>
                  <a:lnTo>
                    <a:pt x="193" y="59"/>
                  </a:lnTo>
                  <a:lnTo>
                    <a:pt x="193" y="57"/>
                  </a:lnTo>
                  <a:lnTo>
                    <a:pt x="189" y="54"/>
                  </a:lnTo>
                  <a:lnTo>
                    <a:pt x="189" y="50"/>
                  </a:lnTo>
                  <a:lnTo>
                    <a:pt x="191" y="50"/>
                  </a:lnTo>
                  <a:lnTo>
                    <a:pt x="191" y="47"/>
                  </a:lnTo>
                  <a:lnTo>
                    <a:pt x="191" y="47"/>
                  </a:lnTo>
                  <a:lnTo>
                    <a:pt x="191" y="47"/>
                  </a:lnTo>
                  <a:lnTo>
                    <a:pt x="189" y="45"/>
                  </a:lnTo>
                  <a:lnTo>
                    <a:pt x="189" y="43"/>
                  </a:lnTo>
                  <a:lnTo>
                    <a:pt x="189" y="43"/>
                  </a:lnTo>
                  <a:lnTo>
                    <a:pt x="193" y="43"/>
                  </a:lnTo>
                  <a:lnTo>
                    <a:pt x="193" y="40"/>
                  </a:lnTo>
                  <a:lnTo>
                    <a:pt x="198" y="43"/>
                  </a:lnTo>
                  <a:lnTo>
                    <a:pt x="198" y="40"/>
                  </a:lnTo>
                  <a:lnTo>
                    <a:pt x="201" y="40"/>
                  </a:lnTo>
                  <a:lnTo>
                    <a:pt x="201" y="36"/>
                  </a:lnTo>
                  <a:lnTo>
                    <a:pt x="201" y="33"/>
                  </a:lnTo>
                  <a:lnTo>
                    <a:pt x="205" y="33"/>
                  </a:lnTo>
                  <a:lnTo>
                    <a:pt x="205" y="33"/>
                  </a:lnTo>
                  <a:lnTo>
                    <a:pt x="205" y="31"/>
                  </a:lnTo>
                  <a:lnTo>
                    <a:pt x="205" y="31"/>
                  </a:lnTo>
                  <a:lnTo>
                    <a:pt x="205" y="31"/>
                  </a:lnTo>
                  <a:lnTo>
                    <a:pt x="205" y="28"/>
                  </a:lnTo>
                  <a:lnTo>
                    <a:pt x="208" y="28"/>
                  </a:lnTo>
                  <a:lnTo>
                    <a:pt x="210" y="26"/>
                  </a:lnTo>
                  <a:lnTo>
                    <a:pt x="210" y="24"/>
                  </a:lnTo>
                  <a:lnTo>
                    <a:pt x="210" y="21"/>
                  </a:lnTo>
                  <a:lnTo>
                    <a:pt x="212" y="17"/>
                  </a:lnTo>
                  <a:lnTo>
                    <a:pt x="212" y="17"/>
                  </a:lnTo>
                  <a:lnTo>
                    <a:pt x="212" y="12"/>
                  </a:lnTo>
                  <a:lnTo>
                    <a:pt x="215" y="12"/>
                  </a:lnTo>
                  <a:lnTo>
                    <a:pt x="215" y="10"/>
                  </a:lnTo>
                  <a:lnTo>
                    <a:pt x="212" y="10"/>
                  </a:lnTo>
                  <a:lnTo>
                    <a:pt x="212" y="10"/>
                  </a:lnTo>
                  <a:lnTo>
                    <a:pt x="210" y="12"/>
                  </a:lnTo>
                  <a:lnTo>
                    <a:pt x="210" y="12"/>
                  </a:lnTo>
                  <a:lnTo>
                    <a:pt x="208" y="10"/>
                  </a:lnTo>
                  <a:lnTo>
                    <a:pt x="208" y="7"/>
                  </a:lnTo>
                  <a:lnTo>
                    <a:pt x="205" y="7"/>
                  </a:lnTo>
                  <a:lnTo>
                    <a:pt x="205" y="7"/>
                  </a:lnTo>
                  <a:lnTo>
                    <a:pt x="203" y="7"/>
                  </a:lnTo>
                  <a:lnTo>
                    <a:pt x="203" y="7"/>
                  </a:lnTo>
                  <a:lnTo>
                    <a:pt x="203" y="7"/>
                  </a:lnTo>
                  <a:lnTo>
                    <a:pt x="203" y="2"/>
                  </a:lnTo>
                  <a:lnTo>
                    <a:pt x="201" y="2"/>
                  </a:lnTo>
                  <a:lnTo>
                    <a:pt x="201" y="2"/>
                  </a:lnTo>
                  <a:lnTo>
                    <a:pt x="201" y="2"/>
                  </a:lnTo>
                  <a:lnTo>
                    <a:pt x="198" y="2"/>
                  </a:lnTo>
                  <a:lnTo>
                    <a:pt x="198" y="0"/>
                  </a:lnTo>
                  <a:lnTo>
                    <a:pt x="196" y="0"/>
                  </a:lnTo>
                  <a:lnTo>
                    <a:pt x="196" y="0"/>
                  </a:lnTo>
                  <a:lnTo>
                    <a:pt x="193" y="0"/>
                  </a:lnTo>
                  <a:lnTo>
                    <a:pt x="191" y="0"/>
                  </a:lnTo>
                  <a:lnTo>
                    <a:pt x="191" y="2"/>
                  </a:lnTo>
                  <a:lnTo>
                    <a:pt x="186" y="2"/>
                  </a:lnTo>
                  <a:lnTo>
                    <a:pt x="184" y="5"/>
                  </a:lnTo>
                  <a:lnTo>
                    <a:pt x="179" y="5"/>
                  </a:lnTo>
                  <a:lnTo>
                    <a:pt x="177" y="7"/>
                  </a:lnTo>
                  <a:lnTo>
                    <a:pt x="175" y="10"/>
                  </a:lnTo>
                  <a:lnTo>
                    <a:pt x="175" y="10"/>
                  </a:lnTo>
                  <a:lnTo>
                    <a:pt x="172" y="12"/>
                  </a:lnTo>
                  <a:lnTo>
                    <a:pt x="170" y="10"/>
                  </a:lnTo>
                  <a:lnTo>
                    <a:pt x="167" y="12"/>
                  </a:lnTo>
                  <a:lnTo>
                    <a:pt x="167" y="12"/>
                  </a:lnTo>
                  <a:lnTo>
                    <a:pt x="156" y="19"/>
                  </a:lnTo>
                  <a:lnTo>
                    <a:pt x="156" y="21"/>
                  </a:lnTo>
                  <a:lnTo>
                    <a:pt x="156" y="21"/>
                  </a:lnTo>
                  <a:lnTo>
                    <a:pt x="156" y="21"/>
                  </a:lnTo>
                  <a:lnTo>
                    <a:pt x="153" y="24"/>
                  </a:lnTo>
                  <a:lnTo>
                    <a:pt x="153" y="26"/>
                  </a:lnTo>
                  <a:lnTo>
                    <a:pt x="151" y="26"/>
                  </a:lnTo>
                  <a:lnTo>
                    <a:pt x="151" y="24"/>
                  </a:lnTo>
                  <a:lnTo>
                    <a:pt x="144" y="24"/>
                  </a:lnTo>
                  <a:lnTo>
                    <a:pt x="144" y="26"/>
                  </a:lnTo>
                  <a:lnTo>
                    <a:pt x="141" y="26"/>
                  </a:lnTo>
                  <a:lnTo>
                    <a:pt x="141" y="28"/>
                  </a:lnTo>
                  <a:lnTo>
                    <a:pt x="139" y="28"/>
                  </a:lnTo>
                  <a:lnTo>
                    <a:pt x="137" y="26"/>
                  </a:lnTo>
                  <a:lnTo>
                    <a:pt x="137" y="28"/>
                  </a:lnTo>
                  <a:lnTo>
                    <a:pt x="134" y="28"/>
                  </a:lnTo>
                  <a:lnTo>
                    <a:pt x="134" y="31"/>
                  </a:lnTo>
                  <a:lnTo>
                    <a:pt x="134" y="31"/>
                  </a:lnTo>
                  <a:lnTo>
                    <a:pt x="132" y="28"/>
                  </a:lnTo>
                  <a:lnTo>
                    <a:pt x="130" y="31"/>
                  </a:lnTo>
                  <a:lnTo>
                    <a:pt x="130" y="28"/>
                  </a:lnTo>
                  <a:lnTo>
                    <a:pt x="125" y="28"/>
                  </a:lnTo>
                  <a:lnTo>
                    <a:pt x="125" y="28"/>
                  </a:lnTo>
                  <a:lnTo>
                    <a:pt x="123" y="28"/>
                  </a:lnTo>
                  <a:lnTo>
                    <a:pt x="118" y="26"/>
                  </a:lnTo>
                  <a:lnTo>
                    <a:pt x="113" y="26"/>
                  </a:lnTo>
                  <a:lnTo>
                    <a:pt x="108" y="24"/>
                  </a:lnTo>
                  <a:lnTo>
                    <a:pt x="106" y="24"/>
                  </a:lnTo>
                  <a:lnTo>
                    <a:pt x="106" y="24"/>
                  </a:lnTo>
                  <a:lnTo>
                    <a:pt x="104" y="24"/>
                  </a:lnTo>
                  <a:lnTo>
                    <a:pt x="104" y="24"/>
                  </a:lnTo>
                  <a:lnTo>
                    <a:pt x="101" y="26"/>
                  </a:lnTo>
                  <a:lnTo>
                    <a:pt x="101" y="28"/>
                  </a:lnTo>
                  <a:lnTo>
                    <a:pt x="99" y="33"/>
                  </a:lnTo>
                  <a:lnTo>
                    <a:pt x="99" y="33"/>
                  </a:lnTo>
                  <a:lnTo>
                    <a:pt x="101" y="33"/>
                  </a:lnTo>
                  <a:lnTo>
                    <a:pt x="104" y="36"/>
                  </a:lnTo>
                  <a:lnTo>
                    <a:pt x="104" y="36"/>
                  </a:lnTo>
                  <a:lnTo>
                    <a:pt x="101" y="38"/>
                  </a:lnTo>
                  <a:lnTo>
                    <a:pt x="101" y="38"/>
                  </a:lnTo>
                  <a:lnTo>
                    <a:pt x="101" y="38"/>
                  </a:lnTo>
                  <a:lnTo>
                    <a:pt x="101" y="40"/>
                  </a:lnTo>
                  <a:lnTo>
                    <a:pt x="101" y="40"/>
                  </a:lnTo>
                  <a:lnTo>
                    <a:pt x="106" y="40"/>
                  </a:lnTo>
                  <a:lnTo>
                    <a:pt x="106" y="40"/>
                  </a:lnTo>
                  <a:lnTo>
                    <a:pt x="106" y="43"/>
                  </a:lnTo>
                  <a:lnTo>
                    <a:pt x="106" y="43"/>
                  </a:lnTo>
                  <a:lnTo>
                    <a:pt x="106" y="43"/>
                  </a:lnTo>
                  <a:lnTo>
                    <a:pt x="104" y="45"/>
                  </a:lnTo>
                  <a:lnTo>
                    <a:pt x="104" y="47"/>
                  </a:lnTo>
                  <a:lnTo>
                    <a:pt x="106" y="50"/>
                  </a:lnTo>
                  <a:lnTo>
                    <a:pt x="106" y="52"/>
                  </a:lnTo>
                  <a:lnTo>
                    <a:pt x="106" y="54"/>
                  </a:lnTo>
                  <a:lnTo>
                    <a:pt x="101" y="57"/>
                  </a:lnTo>
                  <a:lnTo>
                    <a:pt x="101" y="57"/>
                  </a:lnTo>
                  <a:lnTo>
                    <a:pt x="104" y="59"/>
                  </a:lnTo>
                  <a:lnTo>
                    <a:pt x="106" y="61"/>
                  </a:lnTo>
                  <a:lnTo>
                    <a:pt x="108" y="64"/>
                  </a:lnTo>
                  <a:lnTo>
                    <a:pt x="108" y="66"/>
                  </a:lnTo>
                  <a:lnTo>
                    <a:pt x="111" y="66"/>
                  </a:lnTo>
                  <a:lnTo>
                    <a:pt x="111" y="66"/>
                  </a:lnTo>
                  <a:lnTo>
                    <a:pt x="113" y="66"/>
                  </a:lnTo>
                  <a:lnTo>
                    <a:pt x="116" y="66"/>
                  </a:lnTo>
                  <a:lnTo>
                    <a:pt x="116" y="69"/>
                  </a:lnTo>
                  <a:lnTo>
                    <a:pt x="116" y="71"/>
                  </a:lnTo>
                  <a:lnTo>
                    <a:pt x="116" y="73"/>
                  </a:lnTo>
                  <a:lnTo>
                    <a:pt x="116" y="73"/>
                  </a:lnTo>
                  <a:lnTo>
                    <a:pt x="123" y="73"/>
                  </a:lnTo>
                  <a:lnTo>
                    <a:pt x="123" y="76"/>
                  </a:lnTo>
                  <a:lnTo>
                    <a:pt x="125" y="73"/>
                  </a:lnTo>
                  <a:lnTo>
                    <a:pt x="127" y="76"/>
                  </a:lnTo>
                  <a:lnTo>
                    <a:pt x="127" y="78"/>
                  </a:lnTo>
                  <a:lnTo>
                    <a:pt x="127" y="80"/>
                  </a:lnTo>
                  <a:lnTo>
                    <a:pt x="125" y="80"/>
                  </a:lnTo>
                  <a:lnTo>
                    <a:pt x="125" y="83"/>
                  </a:lnTo>
                  <a:lnTo>
                    <a:pt x="123" y="83"/>
                  </a:lnTo>
                  <a:lnTo>
                    <a:pt x="123" y="83"/>
                  </a:lnTo>
                  <a:lnTo>
                    <a:pt x="120" y="83"/>
                  </a:lnTo>
                  <a:lnTo>
                    <a:pt x="118" y="83"/>
                  </a:lnTo>
                  <a:lnTo>
                    <a:pt x="118" y="83"/>
                  </a:lnTo>
                  <a:lnTo>
                    <a:pt x="116" y="85"/>
                  </a:lnTo>
                  <a:lnTo>
                    <a:pt x="113" y="87"/>
                  </a:lnTo>
                  <a:lnTo>
                    <a:pt x="113" y="90"/>
                  </a:lnTo>
                  <a:lnTo>
                    <a:pt x="116" y="92"/>
                  </a:lnTo>
                  <a:lnTo>
                    <a:pt x="116" y="95"/>
                  </a:lnTo>
                  <a:lnTo>
                    <a:pt x="116" y="95"/>
                  </a:lnTo>
                  <a:lnTo>
                    <a:pt x="116" y="95"/>
                  </a:lnTo>
                  <a:lnTo>
                    <a:pt x="116" y="97"/>
                  </a:lnTo>
                  <a:lnTo>
                    <a:pt x="113" y="97"/>
                  </a:lnTo>
                  <a:lnTo>
                    <a:pt x="113" y="99"/>
                  </a:lnTo>
                  <a:lnTo>
                    <a:pt x="113" y="99"/>
                  </a:lnTo>
                  <a:lnTo>
                    <a:pt x="113" y="102"/>
                  </a:lnTo>
                  <a:lnTo>
                    <a:pt x="118" y="102"/>
                  </a:lnTo>
                  <a:lnTo>
                    <a:pt x="118" y="102"/>
                  </a:lnTo>
                  <a:lnTo>
                    <a:pt x="118" y="104"/>
                  </a:lnTo>
                  <a:lnTo>
                    <a:pt x="116" y="104"/>
                  </a:lnTo>
                  <a:lnTo>
                    <a:pt x="116" y="104"/>
                  </a:lnTo>
                  <a:lnTo>
                    <a:pt x="113" y="102"/>
                  </a:lnTo>
                  <a:lnTo>
                    <a:pt x="113" y="104"/>
                  </a:lnTo>
                  <a:lnTo>
                    <a:pt x="108" y="106"/>
                  </a:lnTo>
                  <a:lnTo>
                    <a:pt x="106" y="111"/>
                  </a:lnTo>
                  <a:lnTo>
                    <a:pt x="104" y="113"/>
                  </a:lnTo>
                  <a:lnTo>
                    <a:pt x="101" y="113"/>
                  </a:lnTo>
                  <a:lnTo>
                    <a:pt x="101" y="116"/>
                  </a:lnTo>
                  <a:lnTo>
                    <a:pt x="101" y="118"/>
                  </a:lnTo>
                  <a:lnTo>
                    <a:pt x="101" y="121"/>
                  </a:lnTo>
                  <a:lnTo>
                    <a:pt x="99" y="123"/>
                  </a:lnTo>
                  <a:lnTo>
                    <a:pt x="97" y="125"/>
                  </a:lnTo>
                  <a:lnTo>
                    <a:pt x="94" y="125"/>
                  </a:lnTo>
                  <a:lnTo>
                    <a:pt x="92" y="125"/>
                  </a:lnTo>
                  <a:lnTo>
                    <a:pt x="92" y="128"/>
                  </a:lnTo>
                  <a:lnTo>
                    <a:pt x="90" y="132"/>
                  </a:lnTo>
                  <a:lnTo>
                    <a:pt x="87" y="135"/>
                  </a:lnTo>
                  <a:lnTo>
                    <a:pt x="82" y="144"/>
                  </a:lnTo>
                  <a:lnTo>
                    <a:pt x="80" y="144"/>
                  </a:lnTo>
                  <a:lnTo>
                    <a:pt x="78" y="147"/>
                  </a:lnTo>
                  <a:lnTo>
                    <a:pt x="73" y="151"/>
                  </a:lnTo>
                  <a:lnTo>
                    <a:pt x="73" y="151"/>
                  </a:lnTo>
                  <a:lnTo>
                    <a:pt x="71" y="156"/>
                  </a:lnTo>
                  <a:lnTo>
                    <a:pt x="66" y="161"/>
                  </a:lnTo>
                  <a:lnTo>
                    <a:pt x="66" y="165"/>
                  </a:lnTo>
                  <a:lnTo>
                    <a:pt x="64" y="165"/>
                  </a:lnTo>
                  <a:lnTo>
                    <a:pt x="61" y="165"/>
                  </a:lnTo>
                  <a:lnTo>
                    <a:pt x="54" y="165"/>
                  </a:lnTo>
                  <a:lnTo>
                    <a:pt x="54" y="165"/>
                  </a:lnTo>
                  <a:lnTo>
                    <a:pt x="52" y="168"/>
                  </a:lnTo>
                  <a:lnTo>
                    <a:pt x="49" y="170"/>
                  </a:lnTo>
                  <a:lnTo>
                    <a:pt x="47" y="170"/>
                  </a:lnTo>
                  <a:lnTo>
                    <a:pt x="47" y="168"/>
                  </a:lnTo>
                  <a:lnTo>
                    <a:pt x="47" y="168"/>
                  </a:lnTo>
                  <a:lnTo>
                    <a:pt x="45" y="163"/>
                  </a:lnTo>
                  <a:lnTo>
                    <a:pt x="42" y="163"/>
                  </a:lnTo>
                  <a:lnTo>
                    <a:pt x="42" y="163"/>
                  </a:lnTo>
                  <a:lnTo>
                    <a:pt x="40" y="165"/>
                  </a:lnTo>
                  <a:lnTo>
                    <a:pt x="38" y="168"/>
                  </a:lnTo>
                  <a:lnTo>
                    <a:pt x="33" y="170"/>
                  </a:lnTo>
                  <a:lnTo>
                    <a:pt x="30" y="177"/>
                  </a:lnTo>
                  <a:lnTo>
                    <a:pt x="28" y="180"/>
                  </a:lnTo>
                  <a:lnTo>
                    <a:pt x="26" y="182"/>
                  </a:lnTo>
                  <a:lnTo>
                    <a:pt x="26" y="187"/>
                  </a:lnTo>
                  <a:lnTo>
                    <a:pt x="26" y="189"/>
                  </a:lnTo>
                  <a:lnTo>
                    <a:pt x="26" y="189"/>
                  </a:lnTo>
                  <a:lnTo>
                    <a:pt x="28" y="191"/>
                  </a:lnTo>
                  <a:lnTo>
                    <a:pt x="30" y="191"/>
                  </a:lnTo>
                  <a:lnTo>
                    <a:pt x="33" y="191"/>
                  </a:lnTo>
                  <a:lnTo>
                    <a:pt x="35" y="191"/>
                  </a:lnTo>
                  <a:lnTo>
                    <a:pt x="35" y="191"/>
                  </a:lnTo>
                  <a:lnTo>
                    <a:pt x="38" y="194"/>
                  </a:lnTo>
                  <a:lnTo>
                    <a:pt x="38" y="194"/>
                  </a:lnTo>
                  <a:lnTo>
                    <a:pt x="38" y="196"/>
                  </a:lnTo>
                  <a:lnTo>
                    <a:pt x="35" y="201"/>
                  </a:lnTo>
                  <a:lnTo>
                    <a:pt x="35" y="203"/>
                  </a:lnTo>
                  <a:lnTo>
                    <a:pt x="35" y="206"/>
                  </a:lnTo>
                  <a:lnTo>
                    <a:pt x="40" y="208"/>
                  </a:lnTo>
                  <a:lnTo>
                    <a:pt x="40" y="208"/>
                  </a:lnTo>
                  <a:lnTo>
                    <a:pt x="42" y="208"/>
                  </a:lnTo>
                  <a:lnTo>
                    <a:pt x="45" y="208"/>
                  </a:lnTo>
                  <a:lnTo>
                    <a:pt x="45" y="208"/>
                  </a:lnTo>
                  <a:lnTo>
                    <a:pt x="45" y="213"/>
                  </a:lnTo>
                  <a:lnTo>
                    <a:pt x="45" y="215"/>
                  </a:lnTo>
                  <a:lnTo>
                    <a:pt x="47" y="217"/>
                  </a:lnTo>
                  <a:lnTo>
                    <a:pt x="47" y="220"/>
                  </a:lnTo>
                  <a:lnTo>
                    <a:pt x="49" y="222"/>
                  </a:lnTo>
                  <a:lnTo>
                    <a:pt x="52" y="224"/>
                  </a:lnTo>
                  <a:lnTo>
                    <a:pt x="52" y="224"/>
                  </a:lnTo>
                  <a:lnTo>
                    <a:pt x="52" y="224"/>
                  </a:lnTo>
                  <a:lnTo>
                    <a:pt x="52" y="227"/>
                  </a:lnTo>
                  <a:lnTo>
                    <a:pt x="52" y="227"/>
                  </a:lnTo>
                  <a:lnTo>
                    <a:pt x="52" y="227"/>
                  </a:lnTo>
                  <a:lnTo>
                    <a:pt x="52" y="232"/>
                  </a:lnTo>
                  <a:lnTo>
                    <a:pt x="52" y="232"/>
                  </a:lnTo>
                  <a:lnTo>
                    <a:pt x="52" y="232"/>
                  </a:lnTo>
                  <a:lnTo>
                    <a:pt x="52" y="234"/>
                  </a:lnTo>
                  <a:lnTo>
                    <a:pt x="52" y="234"/>
                  </a:lnTo>
                  <a:lnTo>
                    <a:pt x="49" y="234"/>
                  </a:lnTo>
                  <a:lnTo>
                    <a:pt x="49" y="236"/>
                  </a:lnTo>
                  <a:lnTo>
                    <a:pt x="47" y="236"/>
                  </a:lnTo>
                  <a:lnTo>
                    <a:pt x="47" y="236"/>
                  </a:lnTo>
                  <a:lnTo>
                    <a:pt x="45" y="236"/>
                  </a:lnTo>
                  <a:lnTo>
                    <a:pt x="45" y="236"/>
                  </a:lnTo>
                  <a:lnTo>
                    <a:pt x="45" y="234"/>
                  </a:lnTo>
                  <a:lnTo>
                    <a:pt x="45" y="234"/>
                  </a:lnTo>
                  <a:lnTo>
                    <a:pt x="45" y="232"/>
                  </a:lnTo>
                  <a:lnTo>
                    <a:pt x="42" y="232"/>
                  </a:lnTo>
                  <a:lnTo>
                    <a:pt x="40" y="234"/>
                  </a:lnTo>
                  <a:lnTo>
                    <a:pt x="35" y="234"/>
                  </a:lnTo>
                  <a:lnTo>
                    <a:pt x="35" y="236"/>
                  </a:lnTo>
                  <a:lnTo>
                    <a:pt x="35" y="236"/>
                  </a:lnTo>
                  <a:lnTo>
                    <a:pt x="33" y="236"/>
                  </a:lnTo>
                  <a:lnTo>
                    <a:pt x="28" y="236"/>
                  </a:lnTo>
                  <a:lnTo>
                    <a:pt x="26" y="234"/>
                  </a:lnTo>
                  <a:lnTo>
                    <a:pt x="26" y="236"/>
                  </a:lnTo>
                  <a:lnTo>
                    <a:pt x="23" y="234"/>
                  </a:lnTo>
                  <a:lnTo>
                    <a:pt x="19" y="234"/>
                  </a:lnTo>
                  <a:lnTo>
                    <a:pt x="19" y="234"/>
                  </a:lnTo>
                  <a:lnTo>
                    <a:pt x="16" y="234"/>
                  </a:lnTo>
                  <a:lnTo>
                    <a:pt x="16" y="234"/>
                  </a:lnTo>
                  <a:lnTo>
                    <a:pt x="14" y="236"/>
                  </a:lnTo>
                  <a:lnTo>
                    <a:pt x="14" y="236"/>
                  </a:lnTo>
                  <a:lnTo>
                    <a:pt x="14" y="234"/>
                  </a:lnTo>
                  <a:lnTo>
                    <a:pt x="14" y="234"/>
                  </a:lnTo>
                  <a:lnTo>
                    <a:pt x="12" y="234"/>
                  </a:lnTo>
                  <a:lnTo>
                    <a:pt x="12" y="241"/>
                  </a:lnTo>
                  <a:lnTo>
                    <a:pt x="7" y="241"/>
                  </a:lnTo>
                  <a:lnTo>
                    <a:pt x="4" y="241"/>
                  </a:lnTo>
                  <a:lnTo>
                    <a:pt x="4" y="241"/>
                  </a:lnTo>
                  <a:lnTo>
                    <a:pt x="2" y="241"/>
                  </a:lnTo>
                  <a:lnTo>
                    <a:pt x="2" y="243"/>
                  </a:lnTo>
                  <a:lnTo>
                    <a:pt x="2" y="243"/>
                  </a:lnTo>
                  <a:lnTo>
                    <a:pt x="0" y="246"/>
                  </a:lnTo>
                  <a:lnTo>
                    <a:pt x="0" y="246"/>
                  </a:lnTo>
                  <a:lnTo>
                    <a:pt x="0" y="248"/>
                  </a:lnTo>
                  <a:lnTo>
                    <a:pt x="2" y="248"/>
                  </a:lnTo>
                  <a:lnTo>
                    <a:pt x="4" y="250"/>
                  </a:lnTo>
                  <a:lnTo>
                    <a:pt x="9" y="258"/>
                  </a:lnTo>
                  <a:lnTo>
                    <a:pt x="12" y="260"/>
                  </a:lnTo>
                  <a:lnTo>
                    <a:pt x="14" y="262"/>
                  </a:lnTo>
                  <a:lnTo>
                    <a:pt x="21" y="262"/>
                  </a:lnTo>
                  <a:lnTo>
                    <a:pt x="28" y="262"/>
                  </a:lnTo>
                  <a:lnTo>
                    <a:pt x="33" y="260"/>
                  </a:lnTo>
                  <a:lnTo>
                    <a:pt x="35" y="260"/>
                  </a:lnTo>
                  <a:lnTo>
                    <a:pt x="38" y="258"/>
                  </a:lnTo>
                  <a:lnTo>
                    <a:pt x="38" y="258"/>
                  </a:lnTo>
                  <a:lnTo>
                    <a:pt x="40" y="258"/>
                  </a:lnTo>
                  <a:lnTo>
                    <a:pt x="38" y="265"/>
                  </a:lnTo>
                  <a:lnTo>
                    <a:pt x="33" y="267"/>
                  </a:lnTo>
                  <a:lnTo>
                    <a:pt x="30" y="269"/>
                  </a:lnTo>
                  <a:lnTo>
                    <a:pt x="26" y="272"/>
                  </a:lnTo>
                  <a:lnTo>
                    <a:pt x="23" y="272"/>
                  </a:lnTo>
                  <a:lnTo>
                    <a:pt x="19" y="272"/>
                  </a:lnTo>
                  <a:lnTo>
                    <a:pt x="16" y="269"/>
                  </a:lnTo>
                  <a:lnTo>
                    <a:pt x="14" y="272"/>
                  </a:lnTo>
                  <a:lnTo>
                    <a:pt x="16" y="276"/>
                  </a:lnTo>
                  <a:lnTo>
                    <a:pt x="28" y="288"/>
                  </a:lnTo>
                  <a:lnTo>
                    <a:pt x="33" y="293"/>
                  </a:lnTo>
                  <a:lnTo>
                    <a:pt x="40" y="300"/>
                  </a:lnTo>
                  <a:lnTo>
                    <a:pt x="42" y="300"/>
                  </a:lnTo>
                  <a:lnTo>
                    <a:pt x="49" y="300"/>
                  </a:lnTo>
                  <a:lnTo>
                    <a:pt x="54" y="300"/>
                  </a:lnTo>
                  <a:lnTo>
                    <a:pt x="54" y="300"/>
                  </a:lnTo>
                  <a:lnTo>
                    <a:pt x="59" y="298"/>
                  </a:lnTo>
                  <a:lnTo>
                    <a:pt x="61" y="298"/>
                  </a:lnTo>
                  <a:lnTo>
                    <a:pt x="66" y="293"/>
                  </a:lnTo>
                  <a:lnTo>
                    <a:pt x="68" y="291"/>
                  </a:lnTo>
                  <a:lnTo>
                    <a:pt x="68" y="288"/>
                  </a:lnTo>
                  <a:lnTo>
                    <a:pt x="68" y="279"/>
                  </a:lnTo>
                  <a:lnTo>
                    <a:pt x="71" y="276"/>
                  </a:lnTo>
                  <a:lnTo>
                    <a:pt x="71" y="269"/>
                  </a:lnTo>
                  <a:lnTo>
                    <a:pt x="71" y="272"/>
                  </a:lnTo>
                  <a:lnTo>
                    <a:pt x="73" y="272"/>
                  </a:lnTo>
                  <a:lnTo>
                    <a:pt x="82" y="272"/>
                  </a:lnTo>
                  <a:lnTo>
                    <a:pt x="82" y="274"/>
                  </a:lnTo>
                  <a:lnTo>
                    <a:pt x="80" y="274"/>
                  </a:lnTo>
                  <a:lnTo>
                    <a:pt x="78" y="274"/>
                  </a:lnTo>
                  <a:lnTo>
                    <a:pt x="75" y="279"/>
                  </a:lnTo>
                  <a:lnTo>
                    <a:pt x="78" y="279"/>
                  </a:lnTo>
                  <a:lnTo>
                    <a:pt x="75" y="284"/>
                  </a:lnTo>
                  <a:lnTo>
                    <a:pt x="78" y="284"/>
                  </a:lnTo>
                  <a:lnTo>
                    <a:pt x="78" y="286"/>
                  </a:lnTo>
                  <a:lnTo>
                    <a:pt x="78" y="288"/>
                  </a:lnTo>
                  <a:lnTo>
                    <a:pt x="78" y="293"/>
                  </a:lnTo>
                  <a:lnTo>
                    <a:pt x="78" y="293"/>
                  </a:lnTo>
                  <a:lnTo>
                    <a:pt x="78" y="293"/>
                  </a:lnTo>
                  <a:lnTo>
                    <a:pt x="80" y="295"/>
                  </a:lnTo>
                  <a:lnTo>
                    <a:pt x="78" y="298"/>
                  </a:lnTo>
                  <a:lnTo>
                    <a:pt x="80" y="302"/>
                  </a:lnTo>
                  <a:lnTo>
                    <a:pt x="80" y="305"/>
                  </a:lnTo>
                  <a:lnTo>
                    <a:pt x="80" y="310"/>
                  </a:lnTo>
                  <a:lnTo>
                    <a:pt x="80" y="314"/>
                  </a:lnTo>
                  <a:lnTo>
                    <a:pt x="78" y="317"/>
                  </a:lnTo>
                  <a:lnTo>
                    <a:pt x="78" y="321"/>
                  </a:lnTo>
                  <a:lnTo>
                    <a:pt x="80" y="326"/>
                  </a:lnTo>
                  <a:lnTo>
                    <a:pt x="80" y="328"/>
                  </a:lnTo>
                  <a:lnTo>
                    <a:pt x="80" y="333"/>
                  </a:lnTo>
                  <a:lnTo>
                    <a:pt x="82" y="331"/>
                  </a:lnTo>
                  <a:lnTo>
                    <a:pt x="82" y="331"/>
                  </a:lnTo>
                  <a:lnTo>
                    <a:pt x="82" y="333"/>
                  </a:lnTo>
                  <a:lnTo>
                    <a:pt x="82" y="333"/>
                  </a:lnTo>
                  <a:lnTo>
                    <a:pt x="82" y="335"/>
                  </a:lnTo>
                  <a:lnTo>
                    <a:pt x="82" y="335"/>
                  </a:lnTo>
                  <a:lnTo>
                    <a:pt x="82" y="338"/>
                  </a:lnTo>
                  <a:lnTo>
                    <a:pt x="82" y="345"/>
                  </a:lnTo>
                  <a:lnTo>
                    <a:pt x="82" y="347"/>
                  </a:lnTo>
                  <a:lnTo>
                    <a:pt x="82" y="347"/>
                  </a:lnTo>
                  <a:lnTo>
                    <a:pt x="85" y="354"/>
                  </a:lnTo>
                  <a:lnTo>
                    <a:pt x="85" y="354"/>
                  </a:lnTo>
                  <a:lnTo>
                    <a:pt x="87" y="361"/>
                  </a:lnTo>
                  <a:lnTo>
                    <a:pt x="87" y="364"/>
                  </a:lnTo>
                  <a:lnTo>
                    <a:pt x="87" y="366"/>
                  </a:lnTo>
                  <a:lnTo>
                    <a:pt x="90" y="369"/>
                  </a:lnTo>
                  <a:lnTo>
                    <a:pt x="90" y="378"/>
                  </a:lnTo>
                  <a:lnTo>
                    <a:pt x="90" y="383"/>
                  </a:lnTo>
                  <a:lnTo>
                    <a:pt x="92" y="385"/>
                  </a:lnTo>
                  <a:lnTo>
                    <a:pt x="92" y="385"/>
                  </a:lnTo>
                  <a:lnTo>
                    <a:pt x="94" y="390"/>
                  </a:lnTo>
                  <a:lnTo>
                    <a:pt x="97" y="392"/>
                  </a:lnTo>
                  <a:close/>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1" name="Freeform 230">
              <a:extLst>
                <a:ext uri="{FF2B5EF4-FFF2-40B4-BE49-F238E27FC236}">
                  <a16:creationId xmlns:a16="http://schemas.microsoft.com/office/drawing/2014/main" id="{E9AFB2C6-1935-468E-8137-41C9CE16C0B8}"/>
                </a:ext>
              </a:extLst>
            </p:cNvPr>
            <p:cNvSpPr>
              <a:spLocks/>
            </p:cNvSpPr>
            <p:nvPr/>
          </p:nvSpPr>
          <p:spPr bwMode="auto">
            <a:xfrm>
              <a:off x="4769685" y="3382929"/>
              <a:ext cx="93662" cy="142876"/>
            </a:xfrm>
            <a:custGeom>
              <a:avLst/>
              <a:gdLst>
                <a:gd name="T0" fmla="*/ 40 w 59"/>
                <a:gd name="T1" fmla="*/ 0 h 90"/>
                <a:gd name="T2" fmla="*/ 50 w 59"/>
                <a:gd name="T3" fmla="*/ 12 h 90"/>
                <a:gd name="T4" fmla="*/ 55 w 59"/>
                <a:gd name="T5" fmla="*/ 21 h 90"/>
                <a:gd name="T6" fmla="*/ 57 w 59"/>
                <a:gd name="T7" fmla="*/ 35 h 90"/>
                <a:gd name="T8" fmla="*/ 59 w 59"/>
                <a:gd name="T9" fmla="*/ 52 h 90"/>
                <a:gd name="T10" fmla="*/ 57 w 59"/>
                <a:gd name="T11" fmla="*/ 61 h 90"/>
                <a:gd name="T12" fmla="*/ 52 w 59"/>
                <a:gd name="T13" fmla="*/ 71 h 90"/>
                <a:gd name="T14" fmla="*/ 45 w 59"/>
                <a:gd name="T15" fmla="*/ 73 h 90"/>
                <a:gd name="T16" fmla="*/ 40 w 59"/>
                <a:gd name="T17" fmla="*/ 73 h 90"/>
                <a:gd name="T18" fmla="*/ 38 w 59"/>
                <a:gd name="T19" fmla="*/ 78 h 90"/>
                <a:gd name="T20" fmla="*/ 36 w 59"/>
                <a:gd name="T21" fmla="*/ 75 h 90"/>
                <a:gd name="T22" fmla="*/ 31 w 59"/>
                <a:gd name="T23" fmla="*/ 75 h 90"/>
                <a:gd name="T24" fmla="*/ 29 w 59"/>
                <a:gd name="T25" fmla="*/ 78 h 90"/>
                <a:gd name="T26" fmla="*/ 26 w 59"/>
                <a:gd name="T27" fmla="*/ 82 h 90"/>
                <a:gd name="T28" fmla="*/ 21 w 59"/>
                <a:gd name="T29" fmla="*/ 78 h 90"/>
                <a:gd name="T30" fmla="*/ 21 w 59"/>
                <a:gd name="T31" fmla="*/ 85 h 90"/>
                <a:gd name="T32" fmla="*/ 19 w 59"/>
                <a:gd name="T33" fmla="*/ 85 h 90"/>
                <a:gd name="T34" fmla="*/ 21 w 59"/>
                <a:gd name="T35" fmla="*/ 80 h 90"/>
                <a:gd name="T36" fmla="*/ 17 w 59"/>
                <a:gd name="T37" fmla="*/ 82 h 90"/>
                <a:gd name="T38" fmla="*/ 12 w 59"/>
                <a:gd name="T39" fmla="*/ 87 h 90"/>
                <a:gd name="T40" fmla="*/ 10 w 59"/>
                <a:gd name="T41" fmla="*/ 85 h 90"/>
                <a:gd name="T42" fmla="*/ 7 w 59"/>
                <a:gd name="T43" fmla="*/ 85 h 90"/>
                <a:gd name="T44" fmla="*/ 3 w 59"/>
                <a:gd name="T45" fmla="*/ 90 h 90"/>
                <a:gd name="T46" fmla="*/ 3 w 59"/>
                <a:gd name="T47" fmla="*/ 85 h 90"/>
                <a:gd name="T48" fmla="*/ 7 w 59"/>
                <a:gd name="T49" fmla="*/ 82 h 90"/>
                <a:gd name="T50" fmla="*/ 7 w 59"/>
                <a:gd name="T51" fmla="*/ 78 h 90"/>
                <a:gd name="T52" fmla="*/ 5 w 59"/>
                <a:gd name="T53" fmla="*/ 80 h 90"/>
                <a:gd name="T54" fmla="*/ 5 w 59"/>
                <a:gd name="T55" fmla="*/ 73 h 90"/>
                <a:gd name="T56" fmla="*/ 7 w 59"/>
                <a:gd name="T57" fmla="*/ 66 h 90"/>
                <a:gd name="T58" fmla="*/ 7 w 59"/>
                <a:gd name="T59" fmla="*/ 61 h 90"/>
                <a:gd name="T60" fmla="*/ 10 w 59"/>
                <a:gd name="T61" fmla="*/ 56 h 90"/>
                <a:gd name="T62" fmla="*/ 10 w 59"/>
                <a:gd name="T63" fmla="*/ 54 h 90"/>
                <a:gd name="T64" fmla="*/ 7 w 59"/>
                <a:gd name="T65" fmla="*/ 47 h 90"/>
                <a:gd name="T66" fmla="*/ 5 w 59"/>
                <a:gd name="T67" fmla="*/ 40 h 90"/>
                <a:gd name="T68" fmla="*/ 5 w 59"/>
                <a:gd name="T69" fmla="*/ 42 h 90"/>
                <a:gd name="T70" fmla="*/ 0 w 59"/>
                <a:gd name="T71" fmla="*/ 40 h 90"/>
                <a:gd name="T72" fmla="*/ 0 w 59"/>
                <a:gd name="T73" fmla="*/ 38 h 90"/>
                <a:gd name="T74" fmla="*/ 5 w 59"/>
                <a:gd name="T75" fmla="*/ 35 h 90"/>
                <a:gd name="T76" fmla="*/ 12 w 59"/>
                <a:gd name="T77" fmla="*/ 35 h 90"/>
                <a:gd name="T78" fmla="*/ 12 w 59"/>
                <a:gd name="T79" fmla="*/ 33 h 90"/>
                <a:gd name="T80" fmla="*/ 10 w 59"/>
                <a:gd name="T81" fmla="*/ 28 h 90"/>
                <a:gd name="T82" fmla="*/ 12 w 59"/>
                <a:gd name="T83" fmla="*/ 26 h 90"/>
                <a:gd name="T84" fmla="*/ 10 w 59"/>
                <a:gd name="T85" fmla="*/ 23 h 90"/>
                <a:gd name="T86" fmla="*/ 7 w 59"/>
                <a:gd name="T87" fmla="*/ 21 h 90"/>
                <a:gd name="T88" fmla="*/ 7 w 59"/>
                <a:gd name="T89" fmla="*/ 19 h 90"/>
                <a:gd name="T90" fmla="*/ 5 w 59"/>
                <a:gd name="T91" fmla="*/ 16 h 90"/>
                <a:gd name="T92" fmla="*/ 12 w 59"/>
                <a:gd name="T93" fmla="*/ 12 h 90"/>
                <a:gd name="T94" fmla="*/ 24 w 59"/>
                <a:gd name="T95" fmla="*/ 4 h 90"/>
                <a:gd name="T96" fmla="*/ 33 w 59"/>
                <a:gd name="T97"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90">
                  <a:moveTo>
                    <a:pt x="40" y="0"/>
                  </a:moveTo>
                  <a:lnTo>
                    <a:pt x="40" y="0"/>
                  </a:lnTo>
                  <a:lnTo>
                    <a:pt x="45" y="9"/>
                  </a:lnTo>
                  <a:lnTo>
                    <a:pt x="50" y="12"/>
                  </a:lnTo>
                  <a:lnTo>
                    <a:pt x="52" y="16"/>
                  </a:lnTo>
                  <a:lnTo>
                    <a:pt x="55" y="21"/>
                  </a:lnTo>
                  <a:lnTo>
                    <a:pt x="57" y="28"/>
                  </a:lnTo>
                  <a:lnTo>
                    <a:pt x="57" y="35"/>
                  </a:lnTo>
                  <a:lnTo>
                    <a:pt x="57" y="47"/>
                  </a:lnTo>
                  <a:lnTo>
                    <a:pt x="59" y="52"/>
                  </a:lnTo>
                  <a:lnTo>
                    <a:pt x="59" y="52"/>
                  </a:lnTo>
                  <a:lnTo>
                    <a:pt x="57" y="61"/>
                  </a:lnTo>
                  <a:lnTo>
                    <a:pt x="55" y="68"/>
                  </a:lnTo>
                  <a:lnTo>
                    <a:pt x="52" y="71"/>
                  </a:lnTo>
                  <a:lnTo>
                    <a:pt x="50" y="71"/>
                  </a:lnTo>
                  <a:lnTo>
                    <a:pt x="45" y="73"/>
                  </a:lnTo>
                  <a:lnTo>
                    <a:pt x="43" y="71"/>
                  </a:lnTo>
                  <a:lnTo>
                    <a:pt x="40" y="73"/>
                  </a:lnTo>
                  <a:lnTo>
                    <a:pt x="40" y="75"/>
                  </a:lnTo>
                  <a:lnTo>
                    <a:pt x="38" y="78"/>
                  </a:lnTo>
                  <a:lnTo>
                    <a:pt x="38" y="75"/>
                  </a:lnTo>
                  <a:lnTo>
                    <a:pt x="36" y="75"/>
                  </a:lnTo>
                  <a:lnTo>
                    <a:pt x="31" y="75"/>
                  </a:lnTo>
                  <a:lnTo>
                    <a:pt x="31" y="75"/>
                  </a:lnTo>
                  <a:lnTo>
                    <a:pt x="26" y="78"/>
                  </a:lnTo>
                  <a:lnTo>
                    <a:pt x="29" y="78"/>
                  </a:lnTo>
                  <a:lnTo>
                    <a:pt x="26" y="80"/>
                  </a:lnTo>
                  <a:lnTo>
                    <a:pt x="26" y="82"/>
                  </a:lnTo>
                  <a:lnTo>
                    <a:pt x="24" y="80"/>
                  </a:lnTo>
                  <a:lnTo>
                    <a:pt x="21" y="78"/>
                  </a:lnTo>
                  <a:lnTo>
                    <a:pt x="21" y="85"/>
                  </a:lnTo>
                  <a:lnTo>
                    <a:pt x="21" y="85"/>
                  </a:lnTo>
                  <a:lnTo>
                    <a:pt x="19" y="85"/>
                  </a:lnTo>
                  <a:lnTo>
                    <a:pt x="19" y="85"/>
                  </a:lnTo>
                  <a:lnTo>
                    <a:pt x="19" y="82"/>
                  </a:lnTo>
                  <a:lnTo>
                    <a:pt x="21" y="80"/>
                  </a:lnTo>
                  <a:lnTo>
                    <a:pt x="19" y="80"/>
                  </a:lnTo>
                  <a:lnTo>
                    <a:pt x="17" y="82"/>
                  </a:lnTo>
                  <a:lnTo>
                    <a:pt x="12" y="87"/>
                  </a:lnTo>
                  <a:lnTo>
                    <a:pt x="12" y="87"/>
                  </a:lnTo>
                  <a:lnTo>
                    <a:pt x="12" y="85"/>
                  </a:lnTo>
                  <a:lnTo>
                    <a:pt x="10" y="85"/>
                  </a:lnTo>
                  <a:lnTo>
                    <a:pt x="7" y="90"/>
                  </a:lnTo>
                  <a:lnTo>
                    <a:pt x="7" y="85"/>
                  </a:lnTo>
                  <a:lnTo>
                    <a:pt x="3" y="87"/>
                  </a:lnTo>
                  <a:lnTo>
                    <a:pt x="3" y="90"/>
                  </a:lnTo>
                  <a:lnTo>
                    <a:pt x="0" y="87"/>
                  </a:lnTo>
                  <a:lnTo>
                    <a:pt x="3" y="85"/>
                  </a:lnTo>
                  <a:lnTo>
                    <a:pt x="3" y="82"/>
                  </a:lnTo>
                  <a:lnTo>
                    <a:pt x="7" y="82"/>
                  </a:lnTo>
                  <a:lnTo>
                    <a:pt x="7" y="80"/>
                  </a:lnTo>
                  <a:lnTo>
                    <a:pt x="7" y="78"/>
                  </a:lnTo>
                  <a:lnTo>
                    <a:pt x="5" y="78"/>
                  </a:lnTo>
                  <a:lnTo>
                    <a:pt x="5" y="80"/>
                  </a:lnTo>
                  <a:lnTo>
                    <a:pt x="3" y="78"/>
                  </a:lnTo>
                  <a:lnTo>
                    <a:pt x="5" y="73"/>
                  </a:lnTo>
                  <a:lnTo>
                    <a:pt x="5" y="71"/>
                  </a:lnTo>
                  <a:lnTo>
                    <a:pt x="7" y="66"/>
                  </a:lnTo>
                  <a:lnTo>
                    <a:pt x="7" y="64"/>
                  </a:lnTo>
                  <a:lnTo>
                    <a:pt x="7" y="61"/>
                  </a:lnTo>
                  <a:lnTo>
                    <a:pt x="10" y="59"/>
                  </a:lnTo>
                  <a:lnTo>
                    <a:pt x="10" y="56"/>
                  </a:lnTo>
                  <a:lnTo>
                    <a:pt x="10" y="56"/>
                  </a:lnTo>
                  <a:lnTo>
                    <a:pt x="10" y="54"/>
                  </a:lnTo>
                  <a:lnTo>
                    <a:pt x="7" y="52"/>
                  </a:lnTo>
                  <a:lnTo>
                    <a:pt x="7" y="47"/>
                  </a:lnTo>
                  <a:lnTo>
                    <a:pt x="5" y="45"/>
                  </a:lnTo>
                  <a:lnTo>
                    <a:pt x="5" y="40"/>
                  </a:lnTo>
                  <a:lnTo>
                    <a:pt x="3" y="38"/>
                  </a:lnTo>
                  <a:lnTo>
                    <a:pt x="5" y="42"/>
                  </a:lnTo>
                  <a:lnTo>
                    <a:pt x="3" y="45"/>
                  </a:lnTo>
                  <a:lnTo>
                    <a:pt x="0" y="40"/>
                  </a:lnTo>
                  <a:lnTo>
                    <a:pt x="0" y="40"/>
                  </a:lnTo>
                  <a:lnTo>
                    <a:pt x="0" y="38"/>
                  </a:lnTo>
                  <a:lnTo>
                    <a:pt x="3" y="35"/>
                  </a:lnTo>
                  <a:lnTo>
                    <a:pt x="5" y="35"/>
                  </a:lnTo>
                  <a:lnTo>
                    <a:pt x="10" y="33"/>
                  </a:lnTo>
                  <a:lnTo>
                    <a:pt x="12" y="35"/>
                  </a:lnTo>
                  <a:lnTo>
                    <a:pt x="12" y="35"/>
                  </a:lnTo>
                  <a:lnTo>
                    <a:pt x="12" y="33"/>
                  </a:lnTo>
                  <a:lnTo>
                    <a:pt x="12" y="30"/>
                  </a:lnTo>
                  <a:lnTo>
                    <a:pt x="10" y="28"/>
                  </a:lnTo>
                  <a:lnTo>
                    <a:pt x="12" y="26"/>
                  </a:lnTo>
                  <a:lnTo>
                    <a:pt x="12" y="26"/>
                  </a:lnTo>
                  <a:lnTo>
                    <a:pt x="10" y="23"/>
                  </a:lnTo>
                  <a:lnTo>
                    <a:pt x="10" y="23"/>
                  </a:lnTo>
                  <a:lnTo>
                    <a:pt x="7" y="23"/>
                  </a:lnTo>
                  <a:lnTo>
                    <a:pt x="7" y="21"/>
                  </a:lnTo>
                  <a:lnTo>
                    <a:pt x="7" y="21"/>
                  </a:lnTo>
                  <a:lnTo>
                    <a:pt x="7" y="19"/>
                  </a:lnTo>
                  <a:lnTo>
                    <a:pt x="5" y="16"/>
                  </a:lnTo>
                  <a:lnTo>
                    <a:pt x="5" y="16"/>
                  </a:lnTo>
                  <a:lnTo>
                    <a:pt x="7" y="16"/>
                  </a:lnTo>
                  <a:lnTo>
                    <a:pt x="12" y="12"/>
                  </a:lnTo>
                  <a:lnTo>
                    <a:pt x="19" y="7"/>
                  </a:lnTo>
                  <a:lnTo>
                    <a:pt x="24" y="4"/>
                  </a:lnTo>
                  <a:lnTo>
                    <a:pt x="29" y="4"/>
                  </a:lnTo>
                  <a:lnTo>
                    <a:pt x="33" y="4"/>
                  </a:lnTo>
                  <a:lnTo>
                    <a:pt x="4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2" name="Freeform 233">
              <a:extLst>
                <a:ext uri="{FF2B5EF4-FFF2-40B4-BE49-F238E27FC236}">
                  <a16:creationId xmlns:a16="http://schemas.microsoft.com/office/drawing/2014/main" id="{3378E031-A885-4FA2-B567-1D782F580FCD}"/>
                </a:ext>
              </a:extLst>
            </p:cNvPr>
            <p:cNvSpPr>
              <a:spLocks/>
            </p:cNvSpPr>
            <p:nvPr/>
          </p:nvSpPr>
          <p:spPr bwMode="auto">
            <a:xfrm>
              <a:off x="813643" y="4143341"/>
              <a:ext cx="82550" cy="26988"/>
            </a:xfrm>
            <a:custGeom>
              <a:avLst/>
              <a:gdLst>
                <a:gd name="T0" fmla="*/ 0 w 52"/>
                <a:gd name="T1" fmla="*/ 14 h 17"/>
                <a:gd name="T2" fmla="*/ 2 w 52"/>
                <a:gd name="T3" fmla="*/ 12 h 17"/>
                <a:gd name="T4" fmla="*/ 14 w 52"/>
                <a:gd name="T5" fmla="*/ 12 h 17"/>
                <a:gd name="T6" fmla="*/ 17 w 52"/>
                <a:gd name="T7" fmla="*/ 12 h 17"/>
                <a:gd name="T8" fmla="*/ 17 w 52"/>
                <a:gd name="T9" fmla="*/ 12 h 17"/>
                <a:gd name="T10" fmla="*/ 19 w 52"/>
                <a:gd name="T11" fmla="*/ 10 h 17"/>
                <a:gd name="T12" fmla="*/ 19 w 52"/>
                <a:gd name="T13" fmla="*/ 10 h 17"/>
                <a:gd name="T14" fmla="*/ 21 w 52"/>
                <a:gd name="T15" fmla="*/ 10 h 17"/>
                <a:gd name="T16" fmla="*/ 24 w 52"/>
                <a:gd name="T17" fmla="*/ 10 h 17"/>
                <a:gd name="T18" fmla="*/ 26 w 52"/>
                <a:gd name="T19" fmla="*/ 7 h 17"/>
                <a:gd name="T20" fmla="*/ 28 w 52"/>
                <a:gd name="T21" fmla="*/ 7 h 17"/>
                <a:gd name="T22" fmla="*/ 28 w 52"/>
                <a:gd name="T23" fmla="*/ 5 h 17"/>
                <a:gd name="T24" fmla="*/ 31 w 52"/>
                <a:gd name="T25" fmla="*/ 7 h 17"/>
                <a:gd name="T26" fmla="*/ 33 w 52"/>
                <a:gd name="T27" fmla="*/ 7 h 17"/>
                <a:gd name="T28" fmla="*/ 35 w 52"/>
                <a:gd name="T29" fmla="*/ 7 h 17"/>
                <a:gd name="T30" fmla="*/ 38 w 52"/>
                <a:gd name="T31" fmla="*/ 10 h 17"/>
                <a:gd name="T32" fmla="*/ 40 w 52"/>
                <a:gd name="T33" fmla="*/ 10 h 17"/>
                <a:gd name="T34" fmla="*/ 43 w 52"/>
                <a:gd name="T35" fmla="*/ 12 h 17"/>
                <a:gd name="T36" fmla="*/ 45 w 52"/>
                <a:gd name="T37" fmla="*/ 12 h 17"/>
                <a:gd name="T38" fmla="*/ 45 w 52"/>
                <a:gd name="T39" fmla="*/ 12 h 17"/>
                <a:gd name="T40" fmla="*/ 47 w 52"/>
                <a:gd name="T41" fmla="*/ 10 h 17"/>
                <a:gd name="T42" fmla="*/ 52 w 52"/>
                <a:gd name="T43" fmla="*/ 10 h 17"/>
                <a:gd name="T44" fmla="*/ 52 w 52"/>
                <a:gd name="T45" fmla="*/ 10 h 17"/>
                <a:gd name="T46" fmla="*/ 52 w 52"/>
                <a:gd name="T47" fmla="*/ 7 h 17"/>
                <a:gd name="T48" fmla="*/ 52 w 52"/>
                <a:gd name="T49" fmla="*/ 5 h 17"/>
                <a:gd name="T50" fmla="*/ 52 w 52"/>
                <a:gd name="T51" fmla="*/ 5 h 17"/>
                <a:gd name="T52" fmla="*/ 52 w 52"/>
                <a:gd name="T53" fmla="*/ 7 h 17"/>
                <a:gd name="T54" fmla="*/ 50 w 52"/>
                <a:gd name="T55" fmla="*/ 5 h 17"/>
                <a:gd name="T56" fmla="*/ 50 w 52"/>
                <a:gd name="T57" fmla="*/ 5 h 17"/>
                <a:gd name="T58" fmla="*/ 47 w 52"/>
                <a:gd name="T59" fmla="*/ 5 h 17"/>
                <a:gd name="T60" fmla="*/ 45 w 52"/>
                <a:gd name="T61" fmla="*/ 7 h 17"/>
                <a:gd name="T62" fmla="*/ 43 w 52"/>
                <a:gd name="T63" fmla="*/ 7 h 17"/>
                <a:gd name="T64" fmla="*/ 40 w 52"/>
                <a:gd name="T65" fmla="*/ 7 h 17"/>
                <a:gd name="T66" fmla="*/ 40 w 52"/>
                <a:gd name="T67" fmla="*/ 5 h 17"/>
                <a:gd name="T68" fmla="*/ 38 w 52"/>
                <a:gd name="T69" fmla="*/ 5 h 17"/>
                <a:gd name="T70" fmla="*/ 35 w 52"/>
                <a:gd name="T71" fmla="*/ 5 h 17"/>
                <a:gd name="T72" fmla="*/ 33 w 52"/>
                <a:gd name="T73" fmla="*/ 3 h 17"/>
                <a:gd name="T74" fmla="*/ 31 w 52"/>
                <a:gd name="T75" fmla="*/ 3 h 17"/>
                <a:gd name="T76" fmla="*/ 31 w 52"/>
                <a:gd name="T77" fmla="*/ 0 h 17"/>
                <a:gd name="T78" fmla="*/ 28 w 52"/>
                <a:gd name="T79" fmla="*/ 0 h 17"/>
                <a:gd name="T80" fmla="*/ 26 w 52"/>
                <a:gd name="T81" fmla="*/ 3 h 17"/>
                <a:gd name="T82" fmla="*/ 26 w 52"/>
                <a:gd name="T83" fmla="*/ 3 h 17"/>
                <a:gd name="T84" fmla="*/ 24 w 52"/>
                <a:gd name="T85" fmla="*/ 3 h 17"/>
                <a:gd name="T86" fmla="*/ 21 w 52"/>
                <a:gd name="T87" fmla="*/ 5 h 17"/>
                <a:gd name="T88" fmla="*/ 5 w 52"/>
                <a:gd name="T89" fmla="*/ 5 h 17"/>
                <a:gd name="T90" fmla="*/ 2 w 52"/>
                <a:gd name="T91" fmla="*/ 5 h 17"/>
                <a:gd name="T92" fmla="*/ 2 w 52"/>
                <a:gd name="T93" fmla="*/ 7 h 17"/>
                <a:gd name="T94" fmla="*/ 2 w 52"/>
                <a:gd name="T95" fmla="*/ 7 h 17"/>
                <a:gd name="T96" fmla="*/ 2 w 52"/>
                <a:gd name="T97" fmla="*/ 7 h 17"/>
                <a:gd name="T98" fmla="*/ 0 w 52"/>
                <a:gd name="T99" fmla="*/ 7 h 17"/>
                <a:gd name="T100" fmla="*/ 0 w 52"/>
                <a:gd name="T101" fmla="*/ 10 h 17"/>
                <a:gd name="T102" fmla="*/ 0 w 52"/>
                <a:gd name="T103" fmla="*/ 10 h 17"/>
                <a:gd name="T104" fmla="*/ 0 w 52"/>
                <a:gd name="T105" fmla="*/ 12 h 17"/>
                <a:gd name="T106" fmla="*/ 0 w 52"/>
                <a:gd name="T107" fmla="*/ 14 h 17"/>
                <a:gd name="T108" fmla="*/ 0 w 52"/>
                <a:gd name="T109" fmla="*/ 17 h 17"/>
                <a:gd name="T110" fmla="*/ 0 w 52"/>
                <a:gd name="T111"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17">
                  <a:moveTo>
                    <a:pt x="0" y="14"/>
                  </a:moveTo>
                  <a:lnTo>
                    <a:pt x="2" y="12"/>
                  </a:lnTo>
                  <a:lnTo>
                    <a:pt x="14" y="12"/>
                  </a:lnTo>
                  <a:lnTo>
                    <a:pt x="17" y="12"/>
                  </a:lnTo>
                  <a:lnTo>
                    <a:pt x="17" y="12"/>
                  </a:lnTo>
                  <a:lnTo>
                    <a:pt x="19" y="10"/>
                  </a:lnTo>
                  <a:lnTo>
                    <a:pt x="19" y="10"/>
                  </a:lnTo>
                  <a:lnTo>
                    <a:pt x="21" y="10"/>
                  </a:lnTo>
                  <a:lnTo>
                    <a:pt x="24" y="10"/>
                  </a:lnTo>
                  <a:lnTo>
                    <a:pt x="26" y="7"/>
                  </a:lnTo>
                  <a:lnTo>
                    <a:pt x="28" y="7"/>
                  </a:lnTo>
                  <a:lnTo>
                    <a:pt x="28" y="5"/>
                  </a:lnTo>
                  <a:lnTo>
                    <a:pt x="31" y="7"/>
                  </a:lnTo>
                  <a:lnTo>
                    <a:pt x="33" y="7"/>
                  </a:lnTo>
                  <a:lnTo>
                    <a:pt x="35" y="7"/>
                  </a:lnTo>
                  <a:lnTo>
                    <a:pt x="38" y="10"/>
                  </a:lnTo>
                  <a:lnTo>
                    <a:pt x="40" y="10"/>
                  </a:lnTo>
                  <a:lnTo>
                    <a:pt x="43" y="12"/>
                  </a:lnTo>
                  <a:lnTo>
                    <a:pt x="45" y="12"/>
                  </a:lnTo>
                  <a:lnTo>
                    <a:pt x="45" y="12"/>
                  </a:lnTo>
                  <a:lnTo>
                    <a:pt x="47" y="10"/>
                  </a:lnTo>
                  <a:lnTo>
                    <a:pt x="52" y="10"/>
                  </a:lnTo>
                  <a:lnTo>
                    <a:pt x="52" y="10"/>
                  </a:lnTo>
                  <a:lnTo>
                    <a:pt x="52" y="7"/>
                  </a:lnTo>
                  <a:lnTo>
                    <a:pt x="52" y="5"/>
                  </a:lnTo>
                  <a:lnTo>
                    <a:pt x="52" y="5"/>
                  </a:lnTo>
                  <a:lnTo>
                    <a:pt x="52" y="7"/>
                  </a:lnTo>
                  <a:lnTo>
                    <a:pt x="50" y="5"/>
                  </a:lnTo>
                  <a:lnTo>
                    <a:pt x="50" y="5"/>
                  </a:lnTo>
                  <a:lnTo>
                    <a:pt x="47" y="5"/>
                  </a:lnTo>
                  <a:lnTo>
                    <a:pt x="45" y="7"/>
                  </a:lnTo>
                  <a:lnTo>
                    <a:pt x="43" y="7"/>
                  </a:lnTo>
                  <a:lnTo>
                    <a:pt x="40" y="7"/>
                  </a:lnTo>
                  <a:lnTo>
                    <a:pt x="40" y="5"/>
                  </a:lnTo>
                  <a:lnTo>
                    <a:pt x="38" y="5"/>
                  </a:lnTo>
                  <a:lnTo>
                    <a:pt x="35" y="5"/>
                  </a:lnTo>
                  <a:lnTo>
                    <a:pt x="33" y="3"/>
                  </a:lnTo>
                  <a:lnTo>
                    <a:pt x="31" y="3"/>
                  </a:lnTo>
                  <a:lnTo>
                    <a:pt x="31" y="0"/>
                  </a:lnTo>
                  <a:lnTo>
                    <a:pt x="28" y="0"/>
                  </a:lnTo>
                  <a:lnTo>
                    <a:pt x="26" y="3"/>
                  </a:lnTo>
                  <a:lnTo>
                    <a:pt x="26" y="3"/>
                  </a:lnTo>
                  <a:lnTo>
                    <a:pt x="24" y="3"/>
                  </a:lnTo>
                  <a:lnTo>
                    <a:pt x="21" y="5"/>
                  </a:lnTo>
                  <a:lnTo>
                    <a:pt x="5" y="5"/>
                  </a:lnTo>
                  <a:lnTo>
                    <a:pt x="2" y="5"/>
                  </a:lnTo>
                  <a:lnTo>
                    <a:pt x="2" y="7"/>
                  </a:lnTo>
                  <a:lnTo>
                    <a:pt x="2" y="7"/>
                  </a:lnTo>
                  <a:lnTo>
                    <a:pt x="2" y="7"/>
                  </a:lnTo>
                  <a:lnTo>
                    <a:pt x="0" y="7"/>
                  </a:lnTo>
                  <a:lnTo>
                    <a:pt x="0" y="10"/>
                  </a:lnTo>
                  <a:lnTo>
                    <a:pt x="0" y="10"/>
                  </a:lnTo>
                  <a:lnTo>
                    <a:pt x="0" y="12"/>
                  </a:lnTo>
                  <a:lnTo>
                    <a:pt x="0" y="14"/>
                  </a:lnTo>
                  <a:lnTo>
                    <a:pt x="0" y="17"/>
                  </a:lnTo>
                  <a:lnTo>
                    <a:pt x="0" y="1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3" name="Freeform 234">
              <a:extLst>
                <a:ext uri="{FF2B5EF4-FFF2-40B4-BE49-F238E27FC236}">
                  <a16:creationId xmlns:a16="http://schemas.microsoft.com/office/drawing/2014/main" id="{F1881DDA-435B-428D-B1B6-DA04F7E64FD7}"/>
                </a:ext>
              </a:extLst>
            </p:cNvPr>
            <p:cNvSpPr>
              <a:spLocks/>
            </p:cNvSpPr>
            <p:nvPr/>
          </p:nvSpPr>
          <p:spPr bwMode="auto">
            <a:xfrm>
              <a:off x="813643" y="4143341"/>
              <a:ext cx="82550" cy="26988"/>
            </a:xfrm>
            <a:custGeom>
              <a:avLst/>
              <a:gdLst>
                <a:gd name="T0" fmla="*/ 0 w 52"/>
                <a:gd name="T1" fmla="*/ 14 h 17"/>
                <a:gd name="T2" fmla="*/ 2 w 52"/>
                <a:gd name="T3" fmla="*/ 12 h 17"/>
                <a:gd name="T4" fmla="*/ 14 w 52"/>
                <a:gd name="T5" fmla="*/ 12 h 17"/>
                <a:gd name="T6" fmla="*/ 17 w 52"/>
                <a:gd name="T7" fmla="*/ 12 h 17"/>
                <a:gd name="T8" fmla="*/ 17 w 52"/>
                <a:gd name="T9" fmla="*/ 12 h 17"/>
                <a:gd name="T10" fmla="*/ 19 w 52"/>
                <a:gd name="T11" fmla="*/ 10 h 17"/>
                <a:gd name="T12" fmla="*/ 19 w 52"/>
                <a:gd name="T13" fmla="*/ 10 h 17"/>
                <a:gd name="T14" fmla="*/ 21 w 52"/>
                <a:gd name="T15" fmla="*/ 10 h 17"/>
                <a:gd name="T16" fmla="*/ 24 w 52"/>
                <a:gd name="T17" fmla="*/ 10 h 17"/>
                <a:gd name="T18" fmla="*/ 26 w 52"/>
                <a:gd name="T19" fmla="*/ 7 h 17"/>
                <a:gd name="T20" fmla="*/ 28 w 52"/>
                <a:gd name="T21" fmla="*/ 7 h 17"/>
                <a:gd name="T22" fmla="*/ 28 w 52"/>
                <a:gd name="T23" fmla="*/ 5 h 17"/>
                <a:gd name="T24" fmla="*/ 31 w 52"/>
                <a:gd name="T25" fmla="*/ 7 h 17"/>
                <a:gd name="T26" fmla="*/ 33 w 52"/>
                <a:gd name="T27" fmla="*/ 7 h 17"/>
                <a:gd name="T28" fmla="*/ 35 w 52"/>
                <a:gd name="T29" fmla="*/ 7 h 17"/>
                <a:gd name="T30" fmla="*/ 38 w 52"/>
                <a:gd name="T31" fmla="*/ 10 h 17"/>
                <a:gd name="T32" fmla="*/ 40 w 52"/>
                <a:gd name="T33" fmla="*/ 10 h 17"/>
                <a:gd name="T34" fmla="*/ 43 w 52"/>
                <a:gd name="T35" fmla="*/ 12 h 17"/>
                <a:gd name="T36" fmla="*/ 45 w 52"/>
                <a:gd name="T37" fmla="*/ 12 h 17"/>
                <a:gd name="T38" fmla="*/ 45 w 52"/>
                <a:gd name="T39" fmla="*/ 12 h 17"/>
                <a:gd name="T40" fmla="*/ 47 w 52"/>
                <a:gd name="T41" fmla="*/ 10 h 17"/>
                <a:gd name="T42" fmla="*/ 52 w 52"/>
                <a:gd name="T43" fmla="*/ 10 h 17"/>
                <a:gd name="T44" fmla="*/ 52 w 52"/>
                <a:gd name="T45" fmla="*/ 10 h 17"/>
                <a:gd name="T46" fmla="*/ 52 w 52"/>
                <a:gd name="T47" fmla="*/ 7 h 17"/>
                <a:gd name="T48" fmla="*/ 52 w 52"/>
                <a:gd name="T49" fmla="*/ 5 h 17"/>
                <a:gd name="T50" fmla="*/ 52 w 52"/>
                <a:gd name="T51" fmla="*/ 5 h 17"/>
                <a:gd name="T52" fmla="*/ 52 w 52"/>
                <a:gd name="T53" fmla="*/ 7 h 17"/>
                <a:gd name="T54" fmla="*/ 50 w 52"/>
                <a:gd name="T55" fmla="*/ 5 h 17"/>
                <a:gd name="T56" fmla="*/ 50 w 52"/>
                <a:gd name="T57" fmla="*/ 5 h 17"/>
                <a:gd name="T58" fmla="*/ 47 w 52"/>
                <a:gd name="T59" fmla="*/ 5 h 17"/>
                <a:gd name="T60" fmla="*/ 45 w 52"/>
                <a:gd name="T61" fmla="*/ 7 h 17"/>
                <a:gd name="T62" fmla="*/ 43 w 52"/>
                <a:gd name="T63" fmla="*/ 7 h 17"/>
                <a:gd name="T64" fmla="*/ 40 w 52"/>
                <a:gd name="T65" fmla="*/ 7 h 17"/>
                <a:gd name="T66" fmla="*/ 40 w 52"/>
                <a:gd name="T67" fmla="*/ 5 h 17"/>
                <a:gd name="T68" fmla="*/ 38 w 52"/>
                <a:gd name="T69" fmla="*/ 5 h 17"/>
                <a:gd name="T70" fmla="*/ 35 w 52"/>
                <a:gd name="T71" fmla="*/ 5 h 17"/>
                <a:gd name="T72" fmla="*/ 33 w 52"/>
                <a:gd name="T73" fmla="*/ 3 h 17"/>
                <a:gd name="T74" fmla="*/ 31 w 52"/>
                <a:gd name="T75" fmla="*/ 3 h 17"/>
                <a:gd name="T76" fmla="*/ 31 w 52"/>
                <a:gd name="T77" fmla="*/ 0 h 17"/>
                <a:gd name="T78" fmla="*/ 28 w 52"/>
                <a:gd name="T79" fmla="*/ 0 h 17"/>
                <a:gd name="T80" fmla="*/ 26 w 52"/>
                <a:gd name="T81" fmla="*/ 3 h 17"/>
                <a:gd name="T82" fmla="*/ 26 w 52"/>
                <a:gd name="T83" fmla="*/ 3 h 17"/>
                <a:gd name="T84" fmla="*/ 24 w 52"/>
                <a:gd name="T85" fmla="*/ 3 h 17"/>
                <a:gd name="T86" fmla="*/ 21 w 52"/>
                <a:gd name="T87" fmla="*/ 5 h 17"/>
                <a:gd name="T88" fmla="*/ 5 w 52"/>
                <a:gd name="T89" fmla="*/ 5 h 17"/>
                <a:gd name="T90" fmla="*/ 2 w 52"/>
                <a:gd name="T91" fmla="*/ 5 h 17"/>
                <a:gd name="T92" fmla="*/ 2 w 52"/>
                <a:gd name="T93" fmla="*/ 7 h 17"/>
                <a:gd name="T94" fmla="*/ 2 w 52"/>
                <a:gd name="T95" fmla="*/ 7 h 17"/>
                <a:gd name="T96" fmla="*/ 2 w 52"/>
                <a:gd name="T97" fmla="*/ 7 h 17"/>
                <a:gd name="T98" fmla="*/ 0 w 52"/>
                <a:gd name="T99" fmla="*/ 7 h 17"/>
                <a:gd name="T100" fmla="*/ 0 w 52"/>
                <a:gd name="T101" fmla="*/ 10 h 17"/>
                <a:gd name="T102" fmla="*/ 0 w 52"/>
                <a:gd name="T103" fmla="*/ 10 h 17"/>
                <a:gd name="T104" fmla="*/ 0 w 52"/>
                <a:gd name="T105" fmla="*/ 12 h 17"/>
                <a:gd name="T106" fmla="*/ 0 w 52"/>
                <a:gd name="T107" fmla="*/ 14 h 17"/>
                <a:gd name="T108" fmla="*/ 0 w 52"/>
                <a:gd name="T109" fmla="*/ 17 h 17"/>
                <a:gd name="T110" fmla="*/ 0 w 52"/>
                <a:gd name="T111"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17">
                  <a:moveTo>
                    <a:pt x="0" y="14"/>
                  </a:moveTo>
                  <a:lnTo>
                    <a:pt x="2" y="12"/>
                  </a:lnTo>
                  <a:lnTo>
                    <a:pt x="14" y="12"/>
                  </a:lnTo>
                  <a:lnTo>
                    <a:pt x="17" y="12"/>
                  </a:lnTo>
                  <a:lnTo>
                    <a:pt x="17" y="12"/>
                  </a:lnTo>
                  <a:lnTo>
                    <a:pt x="19" y="10"/>
                  </a:lnTo>
                  <a:lnTo>
                    <a:pt x="19" y="10"/>
                  </a:lnTo>
                  <a:lnTo>
                    <a:pt x="21" y="10"/>
                  </a:lnTo>
                  <a:lnTo>
                    <a:pt x="24" y="10"/>
                  </a:lnTo>
                  <a:lnTo>
                    <a:pt x="26" y="7"/>
                  </a:lnTo>
                  <a:lnTo>
                    <a:pt x="28" y="7"/>
                  </a:lnTo>
                  <a:lnTo>
                    <a:pt x="28" y="5"/>
                  </a:lnTo>
                  <a:lnTo>
                    <a:pt x="31" y="7"/>
                  </a:lnTo>
                  <a:lnTo>
                    <a:pt x="33" y="7"/>
                  </a:lnTo>
                  <a:lnTo>
                    <a:pt x="35" y="7"/>
                  </a:lnTo>
                  <a:lnTo>
                    <a:pt x="38" y="10"/>
                  </a:lnTo>
                  <a:lnTo>
                    <a:pt x="40" y="10"/>
                  </a:lnTo>
                  <a:lnTo>
                    <a:pt x="43" y="12"/>
                  </a:lnTo>
                  <a:lnTo>
                    <a:pt x="45" y="12"/>
                  </a:lnTo>
                  <a:lnTo>
                    <a:pt x="45" y="12"/>
                  </a:lnTo>
                  <a:lnTo>
                    <a:pt x="47" y="10"/>
                  </a:lnTo>
                  <a:lnTo>
                    <a:pt x="52" y="10"/>
                  </a:lnTo>
                  <a:lnTo>
                    <a:pt x="52" y="10"/>
                  </a:lnTo>
                  <a:lnTo>
                    <a:pt x="52" y="7"/>
                  </a:lnTo>
                  <a:lnTo>
                    <a:pt x="52" y="5"/>
                  </a:lnTo>
                  <a:lnTo>
                    <a:pt x="52" y="5"/>
                  </a:lnTo>
                  <a:lnTo>
                    <a:pt x="52" y="7"/>
                  </a:lnTo>
                  <a:lnTo>
                    <a:pt x="50" y="5"/>
                  </a:lnTo>
                  <a:lnTo>
                    <a:pt x="50" y="5"/>
                  </a:lnTo>
                  <a:lnTo>
                    <a:pt x="47" y="5"/>
                  </a:lnTo>
                  <a:lnTo>
                    <a:pt x="45" y="7"/>
                  </a:lnTo>
                  <a:lnTo>
                    <a:pt x="43" y="7"/>
                  </a:lnTo>
                  <a:lnTo>
                    <a:pt x="40" y="7"/>
                  </a:lnTo>
                  <a:lnTo>
                    <a:pt x="40" y="5"/>
                  </a:lnTo>
                  <a:lnTo>
                    <a:pt x="38" y="5"/>
                  </a:lnTo>
                  <a:lnTo>
                    <a:pt x="35" y="5"/>
                  </a:lnTo>
                  <a:lnTo>
                    <a:pt x="33" y="3"/>
                  </a:lnTo>
                  <a:lnTo>
                    <a:pt x="31" y="3"/>
                  </a:lnTo>
                  <a:lnTo>
                    <a:pt x="31" y="0"/>
                  </a:lnTo>
                  <a:lnTo>
                    <a:pt x="28" y="0"/>
                  </a:lnTo>
                  <a:lnTo>
                    <a:pt x="26" y="3"/>
                  </a:lnTo>
                  <a:lnTo>
                    <a:pt x="26" y="3"/>
                  </a:lnTo>
                  <a:lnTo>
                    <a:pt x="24" y="3"/>
                  </a:lnTo>
                  <a:lnTo>
                    <a:pt x="21" y="5"/>
                  </a:lnTo>
                  <a:lnTo>
                    <a:pt x="5" y="5"/>
                  </a:lnTo>
                  <a:lnTo>
                    <a:pt x="2" y="5"/>
                  </a:lnTo>
                  <a:lnTo>
                    <a:pt x="2" y="7"/>
                  </a:lnTo>
                  <a:lnTo>
                    <a:pt x="2" y="7"/>
                  </a:lnTo>
                  <a:lnTo>
                    <a:pt x="2" y="7"/>
                  </a:lnTo>
                  <a:lnTo>
                    <a:pt x="0" y="7"/>
                  </a:lnTo>
                  <a:lnTo>
                    <a:pt x="0" y="10"/>
                  </a:lnTo>
                  <a:lnTo>
                    <a:pt x="0" y="10"/>
                  </a:lnTo>
                  <a:lnTo>
                    <a:pt x="0" y="12"/>
                  </a:lnTo>
                  <a:lnTo>
                    <a:pt x="0" y="14"/>
                  </a:lnTo>
                  <a:lnTo>
                    <a:pt x="0" y="17"/>
                  </a:lnTo>
                  <a:lnTo>
                    <a:pt x="0" y="1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4" name="Freeform 235">
              <a:extLst>
                <a:ext uri="{FF2B5EF4-FFF2-40B4-BE49-F238E27FC236}">
                  <a16:creationId xmlns:a16="http://schemas.microsoft.com/office/drawing/2014/main" id="{06557FE9-C912-4247-B0BC-713CE490D273}"/>
                </a:ext>
              </a:extLst>
            </p:cNvPr>
            <p:cNvSpPr>
              <a:spLocks/>
            </p:cNvSpPr>
            <p:nvPr/>
          </p:nvSpPr>
          <p:spPr bwMode="auto">
            <a:xfrm>
              <a:off x="813643" y="4178267"/>
              <a:ext cx="85725" cy="47626"/>
            </a:xfrm>
            <a:custGeom>
              <a:avLst/>
              <a:gdLst>
                <a:gd name="T0" fmla="*/ 54 w 54"/>
                <a:gd name="T1" fmla="*/ 0 h 30"/>
                <a:gd name="T2" fmla="*/ 54 w 54"/>
                <a:gd name="T3" fmla="*/ 2 h 30"/>
                <a:gd name="T4" fmla="*/ 54 w 54"/>
                <a:gd name="T5" fmla="*/ 4 h 30"/>
                <a:gd name="T6" fmla="*/ 54 w 54"/>
                <a:gd name="T7" fmla="*/ 4 h 30"/>
                <a:gd name="T8" fmla="*/ 54 w 54"/>
                <a:gd name="T9" fmla="*/ 7 h 30"/>
                <a:gd name="T10" fmla="*/ 54 w 54"/>
                <a:gd name="T11" fmla="*/ 7 h 30"/>
                <a:gd name="T12" fmla="*/ 52 w 54"/>
                <a:gd name="T13" fmla="*/ 7 h 30"/>
                <a:gd name="T14" fmla="*/ 52 w 54"/>
                <a:gd name="T15" fmla="*/ 7 h 30"/>
                <a:gd name="T16" fmla="*/ 50 w 54"/>
                <a:gd name="T17" fmla="*/ 9 h 30"/>
                <a:gd name="T18" fmla="*/ 52 w 54"/>
                <a:gd name="T19" fmla="*/ 9 h 30"/>
                <a:gd name="T20" fmla="*/ 54 w 54"/>
                <a:gd name="T21" fmla="*/ 11 h 30"/>
                <a:gd name="T22" fmla="*/ 54 w 54"/>
                <a:gd name="T23" fmla="*/ 16 h 30"/>
                <a:gd name="T24" fmla="*/ 52 w 54"/>
                <a:gd name="T25" fmla="*/ 16 h 30"/>
                <a:gd name="T26" fmla="*/ 50 w 54"/>
                <a:gd name="T27" fmla="*/ 18 h 30"/>
                <a:gd name="T28" fmla="*/ 45 w 54"/>
                <a:gd name="T29" fmla="*/ 18 h 30"/>
                <a:gd name="T30" fmla="*/ 38 w 54"/>
                <a:gd name="T31" fmla="*/ 21 h 30"/>
                <a:gd name="T32" fmla="*/ 35 w 54"/>
                <a:gd name="T33" fmla="*/ 23 h 30"/>
                <a:gd name="T34" fmla="*/ 35 w 54"/>
                <a:gd name="T35" fmla="*/ 25 h 30"/>
                <a:gd name="T36" fmla="*/ 33 w 54"/>
                <a:gd name="T37" fmla="*/ 28 h 30"/>
                <a:gd name="T38" fmla="*/ 33 w 54"/>
                <a:gd name="T39" fmla="*/ 28 h 30"/>
                <a:gd name="T40" fmla="*/ 31 w 54"/>
                <a:gd name="T41" fmla="*/ 30 h 30"/>
                <a:gd name="T42" fmla="*/ 31 w 54"/>
                <a:gd name="T43" fmla="*/ 30 h 30"/>
                <a:gd name="T44" fmla="*/ 31 w 54"/>
                <a:gd name="T45" fmla="*/ 30 h 30"/>
                <a:gd name="T46" fmla="*/ 31 w 54"/>
                <a:gd name="T47" fmla="*/ 28 h 30"/>
                <a:gd name="T48" fmla="*/ 28 w 54"/>
                <a:gd name="T49" fmla="*/ 28 h 30"/>
                <a:gd name="T50" fmla="*/ 26 w 54"/>
                <a:gd name="T51" fmla="*/ 28 h 30"/>
                <a:gd name="T52" fmla="*/ 24 w 54"/>
                <a:gd name="T53" fmla="*/ 25 h 30"/>
                <a:gd name="T54" fmla="*/ 24 w 54"/>
                <a:gd name="T55" fmla="*/ 23 h 30"/>
                <a:gd name="T56" fmla="*/ 26 w 54"/>
                <a:gd name="T57" fmla="*/ 21 h 30"/>
                <a:gd name="T58" fmla="*/ 24 w 54"/>
                <a:gd name="T59" fmla="*/ 18 h 30"/>
                <a:gd name="T60" fmla="*/ 26 w 54"/>
                <a:gd name="T61" fmla="*/ 16 h 30"/>
                <a:gd name="T62" fmla="*/ 26 w 54"/>
                <a:gd name="T63" fmla="*/ 16 h 30"/>
                <a:gd name="T64" fmla="*/ 33 w 54"/>
                <a:gd name="T65" fmla="*/ 16 h 30"/>
                <a:gd name="T66" fmla="*/ 33 w 54"/>
                <a:gd name="T67" fmla="*/ 14 h 30"/>
                <a:gd name="T68" fmla="*/ 26 w 54"/>
                <a:gd name="T69" fmla="*/ 14 h 30"/>
                <a:gd name="T70" fmla="*/ 24 w 54"/>
                <a:gd name="T71" fmla="*/ 16 h 30"/>
                <a:gd name="T72" fmla="*/ 19 w 54"/>
                <a:gd name="T73" fmla="*/ 16 h 30"/>
                <a:gd name="T74" fmla="*/ 17 w 54"/>
                <a:gd name="T75" fmla="*/ 18 h 30"/>
                <a:gd name="T76" fmla="*/ 14 w 54"/>
                <a:gd name="T77" fmla="*/ 16 h 30"/>
                <a:gd name="T78" fmla="*/ 14 w 54"/>
                <a:gd name="T79" fmla="*/ 14 h 30"/>
                <a:gd name="T80" fmla="*/ 14 w 54"/>
                <a:gd name="T81" fmla="*/ 16 h 30"/>
                <a:gd name="T82" fmla="*/ 9 w 54"/>
                <a:gd name="T83" fmla="*/ 14 h 30"/>
                <a:gd name="T84" fmla="*/ 9 w 54"/>
                <a:gd name="T85" fmla="*/ 14 h 30"/>
                <a:gd name="T86" fmla="*/ 9 w 54"/>
                <a:gd name="T87" fmla="*/ 9 h 30"/>
                <a:gd name="T88" fmla="*/ 2 w 54"/>
                <a:gd name="T89" fmla="*/ 9 h 30"/>
                <a:gd name="T90" fmla="*/ 0 w 54"/>
                <a:gd name="T91" fmla="*/ 7 h 30"/>
                <a:gd name="T92" fmla="*/ 0 w 54"/>
                <a:gd name="T93" fmla="*/ 4 h 30"/>
                <a:gd name="T94" fmla="*/ 2 w 54"/>
                <a:gd name="T95" fmla="*/ 4 h 30"/>
                <a:gd name="T96" fmla="*/ 2 w 54"/>
                <a:gd name="T97" fmla="*/ 7 h 30"/>
                <a:gd name="T98" fmla="*/ 5 w 54"/>
                <a:gd name="T99" fmla="*/ 7 h 30"/>
                <a:gd name="T100" fmla="*/ 7 w 54"/>
                <a:gd name="T101" fmla="*/ 4 h 30"/>
                <a:gd name="T102" fmla="*/ 9 w 54"/>
                <a:gd name="T103" fmla="*/ 4 h 30"/>
                <a:gd name="T104" fmla="*/ 19 w 54"/>
                <a:gd name="T105" fmla="*/ 4 h 30"/>
                <a:gd name="T106" fmla="*/ 21 w 54"/>
                <a:gd name="T107" fmla="*/ 2 h 30"/>
                <a:gd name="T108" fmla="*/ 26 w 54"/>
                <a:gd name="T109" fmla="*/ 2 h 30"/>
                <a:gd name="T110" fmla="*/ 28 w 54"/>
                <a:gd name="T111" fmla="*/ 0 h 30"/>
                <a:gd name="T112" fmla="*/ 38 w 54"/>
                <a:gd name="T113" fmla="*/ 0 h 30"/>
                <a:gd name="T114" fmla="*/ 38 w 54"/>
                <a:gd name="T115" fmla="*/ 0 h 30"/>
                <a:gd name="T116" fmla="*/ 54 w 54"/>
                <a:gd name="T1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 h="30">
                  <a:moveTo>
                    <a:pt x="54" y="0"/>
                  </a:moveTo>
                  <a:lnTo>
                    <a:pt x="54" y="2"/>
                  </a:lnTo>
                  <a:lnTo>
                    <a:pt x="54" y="4"/>
                  </a:lnTo>
                  <a:lnTo>
                    <a:pt x="54" y="4"/>
                  </a:lnTo>
                  <a:lnTo>
                    <a:pt x="54" y="7"/>
                  </a:lnTo>
                  <a:lnTo>
                    <a:pt x="54" y="7"/>
                  </a:lnTo>
                  <a:lnTo>
                    <a:pt x="52" y="7"/>
                  </a:lnTo>
                  <a:lnTo>
                    <a:pt x="52" y="7"/>
                  </a:lnTo>
                  <a:lnTo>
                    <a:pt x="50" y="9"/>
                  </a:lnTo>
                  <a:lnTo>
                    <a:pt x="52" y="9"/>
                  </a:lnTo>
                  <a:lnTo>
                    <a:pt x="54" y="11"/>
                  </a:lnTo>
                  <a:lnTo>
                    <a:pt x="54" y="16"/>
                  </a:lnTo>
                  <a:lnTo>
                    <a:pt x="52" y="16"/>
                  </a:lnTo>
                  <a:lnTo>
                    <a:pt x="50" y="18"/>
                  </a:lnTo>
                  <a:lnTo>
                    <a:pt x="45" y="18"/>
                  </a:lnTo>
                  <a:lnTo>
                    <a:pt x="38" y="21"/>
                  </a:lnTo>
                  <a:lnTo>
                    <a:pt x="35" y="23"/>
                  </a:lnTo>
                  <a:lnTo>
                    <a:pt x="35" y="25"/>
                  </a:lnTo>
                  <a:lnTo>
                    <a:pt x="33" y="28"/>
                  </a:lnTo>
                  <a:lnTo>
                    <a:pt x="33" y="28"/>
                  </a:lnTo>
                  <a:lnTo>
                    <a:pt x="31" y="30"/>
                  </a:lnTo>
                  <a:lnTo>
                    <a:pt x="31" y="30"/>
                  </a:lnTo>
                  <a:lnTo>
                    <a:pt x="31" y="30"/>
                  </a:lnTo>
                  <a:lnTo>
                    <a:pt x="31" y="28"/>
                  </a:lnTo>
                  <a:lnTo>
                    <a:pt x="28" y="28"/>
                  </a:lnTo>
                  <a:lnTo>
                    <a:pt x="26" y="28"/>
                  </a:lnTo>
                  <a:lnTo>
                    <a:pt x="24" y="25"/>
                  </a:lnTo>
                  <a:lnTo>
                    <a:pt x="24" y="23"/>
                  </a:lnTo>
                  <a:lnTo>
                    <a:pt x="26" y="21"/>
                  </a:lnTo>
                  <a:lnTo>
                    <a:pt x="24" y="18"/>
                  </a:lnTo>
                  <a:lnTo>
                    <a:pt x="26" y="16"/>
                  </a:lnTo>
                  <a:lnTo>
                    <a:pt x="26" y="16"/>
                  </a:lnTo>
                  <a:lnTo>
                    <a:pt x="33" y="16"/>
                  </a:lnTo>
                  <a:lnTo>
                    <a:pt x="33" y="14"/>
                  </a:lnTo>
                  <a:lnTo>
                    <a:pt x="26" y="14"/>
                  </a:lnTo>
                  <a:lnTo>
                    <a:pt x="24" y="16"/>
                  </a:lnTo>
                  <a:lnTo>
                    <a:pt x="19" y="16"/>
                  </a:lnTo>
                  <a:lnTo>
                    <a:pt x="17" y="18"/>
                  </a:lnTo>
                  <a:lnTo>
                    <a:pt x="14" y="16"/>
                  </a:lnTo>
                  <a:lnTo>
                    <a:pt x="14" y="14"/>
                  </a:lnTo>
                  <a:lnTo>
                    <a:pt x="14" y="16"/>
                  </a:lnTo>
                  <a:lnTo>
                    <a:pt x="9" y="14"/>
                  </a:lnTo>
                  <a:lnTo>
                    <a:pt x="9" y="14"/>
                  </a:lnTo>
                  <a:lnTo>
                    <a:pt x="9" y="9"/>
                  </a:lnTo>
                  <a:lnTo>
                    <a:pt x="2" y="9"/>
                  </a:lnTo>
                  <a:lnTo>
                    <a:pt x="0" y="7"/>
                  </a:lnTo>
                  <a:lnTo>
                    <a:pt x="0" y="4"/>
                  </a:lnTo>
                  <a:lnTo>
                    <a:pt x="2" y="4"/>
                  </a:lnTo>
                  <a:lnTo>
                    <a:pt x="2" y="7"/>
                  </a:lnTo>
                  <a:lnTo>
                    <a:pt x="5" y="7"/>
                  </a:lnTo>
                  <a:lnTo>
                    <a:pt x="7" y="4"/>
                  </a:lnTo>
                  <a:lnTo>
                    <a:pt x="9" y="4"/>
                  </a:lnTo>
                  <a:lnTo>
                    <a:pt x="19" y="4"/>
                  </a:lnTo>
                  <a:lnTo>
                    <a:pt x="21" y="2"/>
                  </a:lnTo>
                  <a:lnTo>
                    <a:pt x="26" y="2"/>
                  </a:lnTo>
                  <a:lnTo>
                    <a:pt x="28" y="0"/>
                  </a:lnTo>
                  <a:lnTo>
                    <a:pt x="38" y="0"/>
                  </a:lnTo>
                  <a:lnTo>
                    <a:pt x="38" y="0"/>
                  </a:lnTo>
                  <a:lnTo>
                    <a:pt x="5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5" name="Freeform 236">
              <a:extLst>
                <a:ext uri="{FF2B5EF4-FFF2-40B4-BE49-F238E27FC236}">
                  <a16:creationId xmlns:a16="http://schemas.microsoft.com/office/drawing/2014/main" id="{4642DB95-5841-44FD-AB3A-A8A80D397D61}"/>
                </a:ext>
              </a:extLst>
            </p:cNvPr>
            <p:cNvSpPr>
              <a:spLocks/>
            </p:cNvSpPr>
            <p:nvPr/>
          </p:nvSpPr>
          <p:spPr bwMode="auto">
            <a:xfrm>
              <a:off x="813643" y="4178267"/>
              <a:ext cx="85725" cy="47626"/>
            </a:xfrm>
            <a:custGeom>
              <a:avLst/>
              <a:gdLst>
                <a:gd name="T0" fmla="*/ 54 w 54"/>
                <a:gd name="T1" fmla="*/ 0 h 30"/>
                <a:gd name="T2" fmla="*/ 54 w 54"/>
                <a:gd name="T3" fmla="*/ 2 h 30"/>
                <a:gd name="T4" fmla="*/ 54 w 54"/>
                <a:gd name="T5" fmla="*/ 4 h 30"/>
                <a:gd name="T6" fmla="*/ 54 w 54"/>
                <a:gd name="T7" fmla="*/ 4 h 30"/>
                <a:gd name="T8" fmla="*/ 54 w 54"/>
                <a:gd name="T9" fmla="*/ 7 h 30"/>
                <a:gd name="T10" fmla="*/ 54 w 54"/>
                <a:gd name="T11" fmla="*/ 7 h 30"/>
                <a:gd name="T12" fmla="*/ 52 w 54"/>
                <a:gd name="T13" fmla="*/ 7 h 30"/>
                <a:gd name="T14" fmla="*/ 52 w 54"/>
                <a:gd name="T15" fmla="*/ 7 h 30"/>
                <a:gd name="T16" fmla="*/ 50 w 54"/>
                <a:gd name="T17" fmla="*/ 9 h 30"/>
                <a:gd name="T18" fmla="*/ 52 w 54"/>
                <a:gd name="T19" fmla="*/ 9 h 30"/>
                <a:gd name="T20" fmla="*/ 54 w 54"/>
                <a:gd name="T21" fmla="*/ 11 h 30"/>
                <a:gd name="T22" fmla="*/ 54 w 54"/>
                <a:gd name="T23" fmla="*/ 16 h 30"/>
                <a:gd name="T24" fmla="*/ 52 w 54"/>
                <a:gd name="T25" fmla="*/ 16 h 30"/>
                <a:gd name="T26" fmla="*/ 50 w 54"/>
                <a:gd name="T27" fmla="*/ 18 h 30"/>
                <a:gd name="T28" fmla="*/ 45 w 54"/>
                <a:gd name="T29" fmla="*/ 18 h 30"/>
                <a:gd name="T30" fmla="*/ 38 w 54"/>
                <a:gd name="T31" fmla="*/ 21 h 30"/>
                <a:gd name="T32" fmla="*/ 35 w 54"/>
                <a:gd name="T33" fmla="*/ 23 h 30"/>
                <a:gd name="T34" fmla="*/ 35 w 54"/>
                <a:gd name="T35" fmla="*/ 25 h 30"/>
                <a:gd name="T36" fmla="*/ 33 w 54"/>
                <a:gd name="T37" fmla="*/ 28 h 30"/>
                <a:gd name="T38" fmla="*/ 33 w 54"/>
                <a:gd name="T39" fmla="*/ 28 h 30"/>
                <a:gd name="T40" fmla="*/ 31 w 54"/>
                <a:gd name="T41" fmla="*/ 30 h 30"/>
                <a:gd name="T42" fmla="*/ 31 w 54"/>
                <a:gd name="T43" fmla="*/ 30 h 30"/>
                <a:gd name="T44" fmla="*/ 31 w 54"/>
                <a:gd name="T45" fmla="*/ 30 h 30"/>
                <a:gd name="T46" fmla="*/ 31 w 54"/>
                <a:gd name="T47" fmla="*/ 28 h 30"/>
                <a:gd name="T48" fmla="*/ 28 w 54"/>
                <a:gd name="T49" fmla="*/ 28 h 30"/>
                <a:gd name="T50" fmla="*/ 26 w 54"/>
                <a:gd name="T51" fmla="*/ 28 h 30"/>
                <a:gd name="T52" fmla="*/ 24 w 54"/>
                <a:gd name="T53" fmla="*/ 25 h 30"/>
                <a:gd name="T54" fmla="*/ 24 w 54"/>
                <a:gd name="T55" fmla="*/ 23 h 30"/>
                <a:gd name="T56" fmla="*/ 26 w 54"/>
                <a:gd name="T57" fmla="*/ 21 h 30"/>
                <a:gd name="T58" fmla="*/ 24 w 54"/>
                <a:gd name="T59" fmla="*/ 18 h 30"/>
                <a:gd name="T60" fmla="*/ 26 w 54"/>
                <a:gd name="T61" fmla="*/ 16 h 30"/>
                <a:gd name="T62" fmla="*/ 26 w 54"/>
                <a:gd name="T63" fmla="*/ 16 h 30"/>
                <a:gd name="T64" fmla="*/ 33 w 54"/>
                <a:gd name="T65" fmla="*/ 16 h 30"/>
                <a:gd name="T66" fmla="*/ 33 w 54"/>
                <a:gd name="T67" fmla="*/ 14 h 30"/>
                <a:gd name="T68" fmla="*/ 26 w 54"/>
                <a:gd name="T69" fmla="*/ 14 h 30"/>
                <a:gd name="T70" fmla="*/ 24 w 54"/>
                <a:gd name="T71" fmla="*/ 16 h 30"/>
                <a:gd name="T72" fmla="*/ 19 w 54"/>
                <a:gd name="T73" fmla="*/ 16 h 30"/>
                <a:gd name="T74" fmla="*/ 17 w 54"/>
                <a:gd name="T75" fmla="*/ 18 h 30"/>
                <a:gd name="T76" fmla="*/ 14 w 54"/>
                <a:gd name="T77" fmla="*/ 16 h 30"/>
                <a:gd name="T78" fmla="*/ 14 w 54"/>
                <a:gd name="T79" fmla="*/ 14 h 30"/>
                <a:gd name="T80" fmla="*/ 14 w 54"/>
                <a:gd name="T81" fmla="*/ 16 h 30"/>
                <a:gd name="T82" fmla="*/ 9 w 54"/>
                <a:gd name="T83" fmla="*/ 14 h 30"/>
                <a:gd name="T84" fmla="*/ 9 w 54"/>
                <a:gd name="T85" fmla="*/ 14 h 30"/>
                <a:gd name="T86" fmla="*/ 9 w 54"/>
                <a:gd name="T87" fmla="*/ 9 h 30"/>
                <a:gd name="T88" fmla="*/ 2 w 54"/>
                <a:gd name="T89" fmla="*/ 9 h 30"/>
                <a:gd name="T90" fmla="*/ 0 w 54"/>
                <a:gd name="T91" fmla="*/ 7 h 30"/>
                <a:gd name="T92" fmla="*/ 0 w 54"/>
                <a:gd name="T93" fmla="*/ 4 h 30"/>
                <a:gd name="T94" fmla="*/ 2 w 54"/>
                <a:gd name="T95" fmla="*/ 4 h 30"/>
                <a:gd name="T96" fmla="*/ 2 w 54"/>
                <a:gd name="T97" fmla="*/ 7 h 30"/>
                <a:gd name="T98" fmla="*/ 5 w 54"/>
                <a:gd name="T99" fmla="*/ 7 h 30"/>
                <a:gd name="T100" fmla="*/ 7 w 54"/>
                <a:gd name="T101" fmla="*/ 4 h 30"/>
                <a:gd name="T102" fmla="*/ 9 w 54"/>
                <a:gd name="T103" fmla="*/ 4 h 30"/>
                <a:gd name="T104" fmla="*/ 19 w 54"/>
                <a:gd name="T105" fmla="*/ 4 h 30"/>
                <a:gd name="T106" fmla="*/ 21 w 54"/>
                <a:gd name="T107" fmla="*/ 2 h 30"/>
                <a:gd name="T108" fmla="*/ 26 w 54"/>
                <a:gd name="T109" fmla="*/ 2 h 30"/>
                <a:gd name="T110" fmla="*/ 28 w 54"/>
                <a:gd name="T111" fmla="*/ 0 h 30"/>
                <a:gd name="T112" fmla="*/ 38 w 54"/>
                <a:gd name="T113" fmla="*/ 0 h 30"/>
                <a:gd name="T114" fmla="*/ 38 w 54"/>
                <a:gd name="T115" fmla="*/ 0 h 30"/>
                <a:gd name="T116" fmla="*/ 54 w 54"/>
                <a:gd name="T1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 h="30">
                  <a:moveTo>
                    <a:pt x="54" y="0"/>
                  </a:moveTo>
                  <a:lnTo>
                    <a:pt x="54" y="2"/>
                  </a:lnTo>
                  <a:lnTo>
                    <a:pt x="54" y="4"/>
                  </a:lnTo>
                  <a:lnTo>
                    <a:pt x="54" y="4"/>
                  </a:lnTo>
                  <a:lnTo>
                    <a:pt x="54" y="7"/>
                  </a:lnTo>
                  <a:lnTo>
                    <a:pt x="54" y="7"/>
                  </a:lnTo>
                  <a:lnTo>
                    <a:pt x="52" y="7"/>
                  </a:lnTo>
                  <a:lnTo>
                    <a:pt x="52" y="7"/>
                  </a:lnTo>
                  <a:lnTo>
                    <a:pt x="50" y="9"/>
                  </a:lnTo>
                  <a:lnTo>
                    <a:pt x="52" y="9"/>
                  </a:lnTo>
                  <a:lnTo>
                    <a:pt x="54" y="11"/>
                  </a:lnTo>
                  <a:lnTo>
                    <a:pt x="54" y="16"/>
                  </a:lnTo>
                  <a:lnTo>
                    <a:pt x="52" y="16"/>
                  </a:lnTo>
                  <a:lnTo>
                    <a:pt x="50" y="18"/>
                  </a:lnTo>
                  <a:lnTo>
                    <a:pt x="45" y="18"/>
                  </a:lnTo>
                  <a:lnTo>
                    <a:pt x="38" y="21"/>
                  </a:lnTo>
                  <a:lnTo>
                    <a:pt x="35" y="23"/>
                  </a:lnTo>
                  <a:lnTo>
                    <a:pt x="35" y="25"/>
                  </a:lnTo>
                  <a:lnTo>
                    <a:pt x="33" y="28"/>
                  </a:lnTo>
                  <a:lnTo>
                    <a:pt x="33" y="28"/>
                  </a:lnTo>
                  <a:lnTo>
                    <a:pt x="31" y="30"/>
                  </a:lnTo>
                  <a:lnTo>
                    <a:pt x="31" y="30"/>
                  </a:lnTo>
                  <a:lnTo>
                    <a:pt x="31" y="30"/>
                  </a:lnTo>
                  <a:lnTo>
                    <a:pt x="31" y="28"/>
                  </a:lnTo>
                  <a:lnTo>
                    <a:pt x="28" y="28"/>
                  </a:lnTo>
                  <a:lnTo>
                    <a:pt x="26" y="28"/>
                  </a:lnTo>
                  <a:lnTo>
                    <a:pt x="24" y="25"/>
                  </a:lnTo>
                  <a:lnTo>
                    <a:pt x="24" y="23"/>
                  </a:lnTo>
                  <a:lnTo>
                    <a:pt x="26" y="21"/>
                  </a:lnTo>
                  <a:lnTo>
                    <a:pt x="24" y="18"/>
                  </a:lnTo>
                  <a:lnTo>
                    <a:pt x="26" y="16"/>
                  </a:lnTo>
                  <a:lnTo>
                    <a:pt x="26" y="16"/>
                  </a:lnTo>
                  <a:lnTo>
                    <a:pt x="33" y="16"/>
                  </a:lnTo>
                  <a:lnTo>
                    <a:pt x="33" y="14"/>
                  </a:lnTo>
                  <a:lnTo>
                    <a:pt x="26" y="14"/>
                  </a:lnTo>
                  <a:lnTo>
                    <a:pt x="24" y="16"/>
                  </a:lnTo>
                  <a:lnTo>
                    <a:pt x="19" y="16"/>
                  </a:lnTo>
                  <a:lnTo>
                    <a:pt x="17" y="18"/>
                  </a:lnTo>
                  <a:lnTo>
                    <a:pt x="14" y="16"/>
                  </a:lnTo>
                  <a:lnTo>
                    <a:pt x="14" y="14"/>
                  </a:lnTo>
                  <a:lnTo>
                    <a:pt x="14" y="16"/>
                  </a:lnTo>
                  <a:lnTo>
                    <a:pt x="9" y="14"/>
                  </a:lnTo>
                  <a:lnTo>
                    <a:pt x="9" y="14"/>
                  </a:lnTo>
                  <a:lnTo>
                    <a:pt x="9" y="9"/>
                  </a:lnTo>
                  <a:lnTo>
                    <a:pt x="2" y="9"/>
                  </a:lnTo>
                  <a:lnTo>
                    <a:pt x="0" y="7"/>
                  </a:lnTo>
                  <a:lnTo>
                    <a:pt x="0" y="4"/>
                  </a:lnTo>
                  <a:lnTo>
                    <a:pt x="2" y="4"/>
                  </a:lnTo>
                  <a:lnTo>
                    <a:pt x="2" y="7"/>
                  </a:lnTo>
                  <a:lnTo>
                    <a:pt x="5" y="7"/>
                  </a:lnTo>
                  <a:lnTo>
                    <a:pt x="7" y="4"/>
                  </a:lnTo>
                  <a:lnTo>
                    <a:pt x="9" y="4"/>
                  </a:lnTo>
                  <a:lnTo>
                    <a:pt x="19" y="4"/>
                  </a:lnTo>
                  <a:lnTo>
                    <a:pt x="21" y="2"/>
                  </a:lnTo>
                  <a:lnTo>
                    <a:pt x="26" y="2"/>
                  </a:lnTo>
                  <a:lnTo>
                    <a:pt x="28" y="0"/>
                  </a:lnTo>
                  <a:lnTo>
                    <a:pt x="38" y="0"/>
                  </a:lnTo>
                  <a:lnTo>
                    <a:pt x="38" y="0"/>
                  </a:lnTo>
                  <a:lnTo>
                    <a:pt x="54" y="0"/>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6" name="Freeform 237">
              <a:extLst>
                <a:ext uri="{FF2B5EF4-FFF2-40B4-BE49-F238E27FC236}">
                  <a16:creationId xmlns:a16="http://schemas.microsoft.com/office/drawing/2014/main" id="{302BADF2-0947-494B-9310-91AACCF15AA8}"/>
                </a:ext>
              </a:extLst>
            </p:cNvPr>
            <p:cNvSpPr>
              <a:spLocks/>
            </p:cNvSpPr>
            <p:nvPr/>
          </p:nvSpPr>
          <p:spPr bwMode="auto">
            <a:xfrm>
              <a:off x="959692" y="4294154"/>
              <a:ext cx="112713" cy="115888"/>
            </a:xfrm>
            <a:custGeom>
              <a:avLst/>
              <a:gdLst>
                <a:gd name="T0" fmla="*/ 0 w 71"/>
                <a:gd name="T1" fmla="*/ 28 h 73"/>
                <a:gd name="T2" fmla="*/ 2 w 71"/>
                <a:gd name="T3" fmla="*/ 23 h 73"/>
                <a:gd name="T4" fmla="*/ 5 w 71"/>
                <a:gd name="T5" fmla="*/ 23 h 73"/>
                <a:gd name="T6" fmla="*/ 5 w 71"/>
                <a:gd name="T7" fmla="*/ 21 h 73"/>
                <a:gd name="T8" fmla="*/ 10 w 71"/>
                <a:gd name="T9" fmla="*/ 19 h 73"/>
                <a:gd name="T10" fmla="*/ 12 w 71"/>
                <a:gd name="T11" fmla="*/ 16 h 73"/>
                <a:gd name="T12" fmla="*/ 14 w 71"/>
                <a:gd name="T13" fmla="*/ 14 h 73"/>
                <a:gd name="T14" fmla="*/ 17 w 71"/>
                <a:gd name="T15" fmla="*/ 9 h 73"/>
                <a:gd name="T16" fmla="*/ 19 w 71"/>
                <a:gd name="T17" fmla="*/ 7 h 73"/>
                <a:gd name="T18" fmla="*/ 21 w 71"/>
                <a:gd name="T19" fmla="*/ 4 h 73"/>
                <a:gd name="T20" fmla="*/ 21 w 71"/>
                <a:gd name="T21" fmla="*/ 2 h 73"/>
                <a:gd name="T22" fmla="*/ 24 w 71"/>
                <a:gd name="T23" fmla="*/ 0 h 73"/>
                <a:gd name="T24" fmla="*/ 26 w 71"/>
                <a:gd name="T25" fmla="*/ 0 h 73"/>
                <a:gd name="T26" fmla="*/ 26 w 71"/>
                <a:gd name="T27" fmla="*/ 2 h 73"/>
                <a:gd name="T28" fmla="*/ 31 w 71"/>
                <a:gd name="T29" fmla="*/ 0 h 73"/>
                <a:gd name="T30" fmla="*/ 31 w 71"/>
                <a:gd name="T31" fmla="*/ 0 h 73"/>
                <a:gd name="T32" fmla="*/ 36 w 71"/>
                <a:gd name="T33" fmla="*/ 4 h 73"/>
                <a:gd name="T34" fmla="*/ 36 w 71"/>
                <a:gd name="T35" fmla="*/ 7 h 73"/>
                <a:gd name="T36" fmla="*/ 38 w 71"/>
                <a:gd name="T37" fmla="*/ 14 h 73"/>
                <a:gd name="T38" fmla="*/ 36 w 71"/>
                <a:gd name="T39" fmla="*/ 19 h 73"/>
                <a:gd name="T40" fmla="*/ 36 w 71"/>
                <a:gd name="T41" fmla="*/ 21 h 73"/>
                <a:gd name="T42" fmla="*/ 36 w 71"/>
                <a:gd name="T43" fmla="*/ 21 h 73"/>
                <a:gd name="T44" fmla="*/ 38 w 71"/>
                <a:gd name="T45" fmla="*/ 21 h 73"/>
                <a:gd name="T46" fmla="*/ 43 w 71"/>
                <a:gd name="T47" fmla="*/ 23 h 73"/>
                <a:gd name="T48" fmla="*/ 45 w 71"/>
                <a:gd name="T49" fmla="*/ 23 h 73"/>
                <a:gd name="T50" fmla="*/ 47 w 71"/>
                <a:gd name="T51" fmla="*/ 21 h 73"/>
                <a:gd name="T52" fmla="*/ 47 w 71"/>
                <a:gd name="T53" fmla="*/ 16 h 73"/>
                <a:gd name="T54" fmla="*/ 52 w 71"/>
                <a:gd name="T55" fmla="*/ 16 h 73"/>
                <a:gd name="T56" fmla="*/ 52 w 71"/>
                <a:gd name="T57" fmla="*/ 19 h 73"/>
                <a:gd name="T58" fmla="*/ 54 w 71"/>
                <a:gd name="T59" fmla="*/ 23 h 73"/>
                <a:gd name="T60" fmla="*/ 54 w 71"/>
                <a:gd name="T61" fmla="*/ 23 h 73"/>
                <a:gd name="T62" fmla="*/ 54 w 71"/>
                <a:gd name="T63" fmla="*/ 30 h 73"/>
                <a:gd name="T64" fmla="*/ 52 w 71"/>
                <a:gd name="T65" fmla="*/ 33 h 73"/>
                <a:gd name="T66" fmla="*/ 52 w 71"/>
                <a:gd name="T67" fmla="*/ 35 h 73"/>
                <a:gd name="T68" fmla="*/ 52 w 71"/>
                <a:gd name="T69" fmla="*/ 35 h 73"/>
                <a:gd name="T70" fmla="*/ 54 w 71"/>
                <a:gd name="T71" fmla="*/ 38 h 73"/>
                <a:gd name="T72" fmla="*/ 57 w 71"/>
                <a:gd name="T73" fmla="*/ 38 h 73"/>
                <a:gd name="T74" fmla="*/ 62 w 71"/>
                <a:gd name="T75" fmla="*/ 40 h 73"/>
                <a:gd name="T76" fmla="*/ 64 w 71"/>
                <a:gd name="T77" fmla="*/ 40 h 73"/>
                <a:gd name="T78" fmla="*/ 64 w 71"/>
                <a:gd name="T79" fmla="*/ 42 h 73"/>
                <a:gd name="T80" fmla="*/ 66 w 71"/>
                <a:gd name="T81" fmla="*/ 45 h 73"/>
                <a:gd name="T82" fmla="*/ 69 w 71"/>
                <a:gd name="T83" fmla="*/ 47 h 73"/>
                <a:gd name="T84" fmla="*/ 71 w 71"/>
                <a:gd name="T85" fmla="*/ 49 h 73"/>
                <a:gd name="T86" fmla="*/ 71 w 71"/>
                <a:gd name="T87" fmla="*/ 52 h 73"/>
                <a:gd name="T88" fmla="*/ 71 w 71"/>
                <a:gd name="T89" fmla="*/ 56 h 73"/>
                <a:gd name="T90" fmla="*/ 71 w 71"/>
                <a:gd name="T91" fmla="*/ 56 h 73"/>
                <a:gd name="T92" fmla="*/ 71 w 71"/>
                <a:gd name="T93" fmla="*/ 59 h 73"/>
                <a:gd name="T94" fmla="*/ 69 w 71"/>
                <a:gd name="T95" fmla="*/ 61 h 73"/>
                <a:gd name="T96" fmla="*/ 69 w 71"/>
                <a:gd name="T97" fmla="*/ 64 h 73"/>
                <a:gd name="T98" fmla="*/ 62 w 71"/>
                <a:gd name="T99" fmla="*/ 71 h 73"/>
                <a:gd name="T100" fmla="*/ 59 w 71"/>
                <a:gd name="T101" fmla="*/ 68 h 73"/>
                <a:gd name="T102" fmla="*/ 54 w 71"/>
                <a:gd name="T103" fmla="*/ 68 h 73"/>
                <a:gd name="T104" fmla="*/ 50 w 71"/>
                <a:gd name="T105" fmla="*/ 66 h 73"/>
                <a:gd name="T106" fmla="*/ 43 w 71"/>
                <a:gd name="T107" fmla="*/ 61 h 73"/>
                <a:gd name="T108" fmla="*/ 33 w 71"/>
                <a:gd name="T109" fmla="*/ 54 h 73"/>
                <a:gd name="T110" fmla="*/ 19 w 71"/>
                <a:gd name="T111" fmla="*/ 42 h 73"/>
                <a:gd name="T112" fmla="*/ 14 w 71"/>
                <a:gd name="T113" fmla="*/ 40 h 73"/>
                <a:gd name="T114" fmla="*/ 10 w 71"/>
                <a:gd name="T115" fmla="*/ 35 h 73"/>
                <a:gd name="T116" fmla="*/ 5 w 71"/>
                <a:gd name="T117" fmla="*/ 33 h 73"/>
                <a:gd name="T118" fmla="*/ 5 w 71"/>
                <a:gd name="T119" fmla="*/ 30 h 73"/>
                <a:gd name="T120" fmla="*/ 0 w 71"/>
                <a:gd name="T121" fmla="*/ 28 h 73"/>
                <a:gd name="T122" fmla="*/ 0 w 71"/>
                <a:gd name="T123" fmla="*/ 2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 h="73">
                  <a:moveTo>
                    <a:pt x="0" y="28"/>
                  </a:moveTo>
                  <a:lnTo>
                    <a:pt x="0" y="28"/>
                  </a:lnTo>
                  <a:lnTo>
                    <a:pt x="2" y="26"/>
                  </a:lnTo>
                  <a:lnTo>
                    <a:pt x="2" y="23"/>
                  </a:lnTo>
                  <a:lnTo>
                    <a:pt x="5" y="23"/>
                  </a:lnTo>
                  <a:lnTo>
                    <a:pt x="5" y="23"/>
                  </a:lnTo>
                  <a:lnTo>
                    <a:pt x="5" y="21"/>
                  </a:lnTo>
                  <a:lnTo>
                    <a:pt x="5" y="21"/>
                  </a:lnTo>
                  <a:lnTo>
                    <a:pt x="7" y="21"/>
                  </a:lnTo>
                  <a:lnTo>
                    <a:pt x="10" y="19"/>
                  </a:lnTo>
                  <a:lnTo>
                    <a:pt x="12" y="19"/>
                  </a:lnTo>
                  <a:lnTo>
                    <a:pt x="12" y="16"/>
                  </a:lnTo>
                  <a:lnTo>
                    <a:pt x="14" y="16"/>
                  </a:lnTo>
                  <a:lnTo>
                    <a:pt x="14" y="14"/>
                  </a:lnTo>
                  <a:lnTo>
                    <a:pt x="17" y="14"/>
                  </a:lnTo>
                  <a:lnTo>
                    <a:pt x="17" y="9"/>
                  </a:lnTo>
                  <a:lnTo>
                    <a:pt x="17" y="7"/>
                  </a:lnTo>
                  <a:lnTo>
                    <a:pt x="19" y="7"/>
                  </a:lnTo>
                  <a:lnTo>
                    <a:pt x="21" y="7"/>
                  </a:lnTo>
                  <a:lnTo>
                    <a:pt x="21" y="4"/>
                  </a:lnTo>
                  <a:lnTo>
                    <a:pt x="21" y="4"/>
                  </a:lnTo>
                  <a:lnTo>
                    <a:pt x="21" y="2"/>
                  </a:lnTo>
                  <a:lnTo>
                    <a:pt x="21" y="2"/>
                  </a:lnTo>
                  <a:lnTo>
                    <a:pt x="24" y="0"/>
                  </a:lnTo>
                  <a:lnTo>
                    <a:pt x="24" y="0"/>
                  </a:lnTo>
                  <a:lnTo>
                    <a:pt x="26" y="0"/>
                  </a:lnTo>
                  <a:lnTo>
                    <a:pt x="26" y="2"/>
                  </a:lnTo>
                  <a:lnTo>
                    <a:pt x="26" y="2"/>
                  </a:lnTo>
                  <a:lnTo>
                    <a:pt x="28" y="2"/>
                  </a:lnTo>
                  <a:lnTo>
                    <a:pt x="31" y="0"/>
                  </a:lnTo>
                  <a:lnTo>
                    <a:pt x="31" y="0"/>
                  </a:lnTo>
                  <a:lnTo>
                    <a:pt x="31" y="0"/>
                  </a:lnTo>
                  <a:lnTo>
                    <a:pt x="33" y="2"/>
                  </a:lnTo>
                  <a:lnTo>
                    <a:pt x="36" y="4"/>
                  </a:lnTo>
                  <a:lnTo>
                    <a:pt x="36" y="7"/>
                  </a:lnTo>
                  <a:lnTo>
                    <a:pt x="36" y="7"/>
                  </a:lnTo>
                  <a:lnTo>
                    <a:pt x="36" y="12"/>
                  </a:lnTo>
                  <a:lnTo>
                    <a:pt x="38" y="14"/>
                  </a:lnTo>
                  <a:lnTo>
                    <a:pt x="38" y="19"/>
                  </a:lnTo>
                  <a:lnTo>
                    <a:pt x="36" y="19"/>
                  </a:lnTo>
                  <a:lnTo>
                    <a:pt x="36" y="21"/>
                  </a:lnTo>
                  <a:lnTo>
                    <a:pt x="36" y="21"/>
                  </a:lnTo>
                  <a:lnTo>
                    <a:pt x="36" y="21"/>
                  </a:lnTo>
                  <a:lnTo>
                    <a:pt x="36" y="21"/>
                  </a:lnTo>
                  <a:lnTo>
                    <a:pt x="38" y="21"/>
                  </a:lnTo>
                  <a:lnTo>
                    <a:pt x="38" y="21"/>
                  </a:lnTo>
                  <a:lnTo>
                    <a:pt x="40" y="21"/>
                  </a:lnTo>
                  <a:lnTo>
                    <a:pt x="43" y="23"/>
                  </a:lnTo>
                  <a:lnTo>
                    <a:pt x="43" y="23"/>
                  </a:lnTo>
                  <a:lnTo>
                    <a:pt x="45" y="23"/>
                  </a:lnTo>
                  <a:lnTo>
                    <a:pt x="47" y="23"/>
                  </a:lnTo>
                  <a:lnTo>
                    <a:pt x="47" y="21"/>
                  </a:lnTo>
                  <a:lnTo>
                    <a:pt x="47" y="19"/>
                  </a:lnTo>
                  <a:lnTo>
                    <a:pt x="47" y="16"/>
                  </a:lnTo>
                  <a:lnTo>
                    <a:pt x="50" y="16"/>
                  </a:lnTo>
                  <a:lnTo>
                    <a:pt x="52" y="16"/>
                  </a:lnTo>
                  <a:lnTo>
                    <a:pt x="52" y="19"/>
                  </a:lnTo>
                  <a:lnTo>
                    <a:pt x="52" y="19"/>
                  </a:lnTo>
                  <a:lnTo>
                    <a:pt x="54" y="23"/>
                  </a:lnTo>
                  <a:lnTo>
                    <a:pt x="54" y="23"/>
                  </a:lnTo>
                  <a:lnTo>
                    <a:pt x="54" y="23"/>
                  </a:lnTo>
                  <a:lnTo>
                    <a:pt x="54" y="23"/>
                  </a:lnTo>
                  <a:lnTo>
                    <a:pt x="57" y="26"/>
                  </a:lnTo>
                  <a:lnTo>
                    <a:pt x="54" y="30"/>
                  </a:lnTo>
                  <a:lnTo>
                    <a:pt x="54" y="30"/>
                  </a:lnTo>
                  <a:lnTo>
                    <a:pt x="52" y="33"/>
                  </a:lnTo>
                  <a:lnTo>
                    <a:pt x="52" y="35"/>
                  </a:lnTo>
                  <a:lnTo>
                    <a:pt x="52" y="35"/>
                  </a:lnTo>
                  <a:lnTo>
                    <a:pt x="52" y="35"/>
                  </a:lnTo>
                  <a:lnTo>
                    <a:pt x="52" y="35"/>
                  </a:lnTo>
                  <a:lnTo>
                    <a:pt x="54" y="35"/>
                  </a:lnTo>
                  <a:lnTo>
                    <a:pt x="54" y="38"/>
                  </a:lnTo>
                  <a:lnTo>
                    <a:pt x="54" y="38"/>
                  </a:lnTo>
                  <a:lnTo>
                    <a:pt x="57" y="38"/>
                  </a:lnTo>
                  <a:lnTo>
                    <a:pt x="59" y="40"/>
                  </a:lnTo>
                  <a:lnTo>
                    <a:pt x="62" y="40"/>
                  </a:lnTo>
                  <a:lnTo>
                    <a:pt x="62" y="40"/>
                  </a:lnTo>
                  <a:lnTo>
                    <a:pt x="64" y="40"/>
                  </a:lnTo>
                  <a:lnTo>
                    <a:pt x="64" y="42"/>
                  </a:lnTo>
                  <a:lnTo>
                    <a:pt x="64" y="42"/>
                  </a:lnTo>
                  <a:lnTo>
                    <a:pt x="64" y="45"/>
                  </a:lnTo>
                  <a:lnTo>
                    <a:pt x="66" y="45"/>
                  </a:lnTo>
                  <a:lnTo>
                    <a:pt x="66" y="47"/>
                  </a:lnTo>
                  <a:lnTo>
                    <a:pt x="69" y="47"/>
                  </a:lnTo>
                  <a:lnTo>
                    <a:pt x="71" y="47"/>
                  </a:lnTo>
                  <a:lnTo>
                    <a:pt x="71" y="49"/>
                  </a:lnTo>
                  <a:lnTo>
                    <a:pt x="71" y="49"/>
                  </a:lnTo>
                  <a:lnTo>
                    <a:pt x="71" y="52"/>
                  </a:lnTo>
                  <a:lnTo>
                    <a:pt x="71" y="54"/>
                  </a:lnTo>
                  <a:lnTo>
                    <a:pt x="71" y="56"/>
                  </a:lnTo>
                  <a:lnTo>
                    <a:pt x="71" y="56"/>
                  </a:lnTo>
                  <a:lnTo>
                    <a:pt x="71" y="56"/>
                  </a:lnTo>
                  <a:lnTo>
                    <a:pt x="71" y="56"/>
                  </a:lnTo>
                  <a:lnTo>
                    <a:pt x="71" y="59"/>
                  </a:lnTo>
                  <a:lnTo>
                    <a:pt x="69" y="61"/>
                  </a:lnTo>
                  <a:lnTo>
                    <a:pt x="69" y="61"/>
                  </a:lnTo>
                  <a:lnTo>
                    <a:pt x="69" y="64"/>
                  </a:lnTo>
                  <a:lnTo>
                    <a:pt x="69" y="64"/>
                  </a:lnTo>
                  <a:lnTo>
                    <a:pt x="69" y="73"/>
                  </a:lnTo>
                  <a:lnTo>
                    <a:pt x="62" y="71"/>
                  </a:lnTo>
                  <a:lnTo>
                    <a:pt x="59" y="71"/>
                  </a:lnTo>
                  <a:lnTo>
                    <a:pt x="59" y="68"/>
                  </a:lnTo>
                  <a:lnTo>
                    <a:pt x="57" y="68"/>
                  </a:lnTo>
                  <a:lnTo>
                    <a:pt x="54" y="68"/>
                  </a:lnTo>
                  <a:lnTo>
                    <a:pt x="50" y="66"/>
                  </a:lnTo>
                  <a:lnTo>
                    <a:pt x="50" y="66"/>
                  </a:lnTo>
                  <a:lnTo>
                    <a:pt x="45" y="64"/>
                  </a:lnTo>
                  <a:lnTo>
                    <a:pt x="43" y="61"/>
                  </a:lnTo>
                  <a:lnTo>
                    <a:pt x="38" y="59"/>
                  </a:lnTo>
                  <a:lnTo>
                    <a:pt x="33" y="54"/>
                  </a:lnTo>
                  <a:lnTo>
                    <a:pt x="21" y="45"/>
                  </a:lnTo>
                  <a:lnTo>
                    <a:pt x="19" y="42"/>
                  </a:lnTo>
                  <a:lnTo>
                    <a:pt x="19" y="42"/>
                  </a:lnTo>
                  <a:lnTo>
                    <a:pt x="14" y="40"/>
                  </a:lnTo>
                  <a:lnTo>
                    <a:pt x="12" y="38"/>
                  </a:lnTo>
                  <a:lnTo>
                    <a:pt x="10" y="35"/>
                  </a:lnTo>
                  <a:lnTo>
                    <a:pt x="5" y="33"/>
                  </a:lnTo>
                  <a:lnTo>
                    <a:pt x="5" y="33"/>
                  </a:lnTo>
                  <a:lnTo>
                    <a:pt x="5" y="30"/>
                  </a:lnTo>
                  <a:lnTo>
                    <a:pt x="5" y="30"/>
                  </a:lnTo>
                  <a:lnTo>
                    <a:pt x="0" y="28"/>
                  </a:lnTo>
                  <a:lnTo>
                    <a:pt x="0" y="28"/>
                  </a:lnTo>
                  <a:lnTo>
                    <a:pt x="0" y="28"/>
                  </a:lnTo>
                  <a:lnTo>
                    <a:pt x="0" y="28"/>
                  </a:lnTo>
                  <a:lnTo>
                    <a:pt x="0" y="2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7" name="Freeform 238">
              <a:extLst>
                <a:ext uri="{FF2B5EF4-FFF2-40B4-BE49-F238E27FC236}">
                  <a16:creationId xmlns:a16="http://schemas.microsoft.com/office/drawing/2014/main" id="{0705C6B1-1D78-4D6D-AD29-3CF9E4F20A77}"/>
                </a:ext>
              </a:extLst>
            </p:cNvPr>
            <p:cNvSpPr>
              <a:spLocks/>
            </p:cNvSpPr>
            <p:nvPr/>
          </p:nvSpPr>
          <p:spPr bwMode="auto">
            <a:xfrm>
              <a:off x="959692" y="4294154"/>
              <a:ext cx="112713" cy="115888"/>
            </a:xfrm>
            <a:custGeom>
              <a:avLst/>
              <a:gdLst>
                <a:gd name="T0" fmla="*/ 0 w 71"/>
                <a:gd name="T1" fmla="*/ 28 h 73"/>
                <a:gd name="T2" fmla="*/ 2 w 71"/>
                <a:gd name="T3" fmla="*/ 23 h 73"/>
                <a:gd name="T4" fmla="*/ 5 w 71"/>
                <a:gd name="T5" fmla="*/ 23 h 73"/>
                <a:gd name="T6" fmla="*/ 5 w 71"/>
                <a:gd name="T7" fmla="*/ 21 h 73"/>
                <a:gd name="T8" fmla="*/ 10 w 71"/>
                <a:gd name="T9" fmla="*/ 19 h 73"/>
                <a:gd name="T10" fmla="*/ 12 w 71"/>
                <a:gd name="T11" fmla="*/ 16 h 73"/>
                <a:gd name="T12" fmla="*/ 14 w 71"/>
                <a:gd name="T13" fmla="*/ 14 h 73"/>
                <a:gd name="T14" fmla="*/ 17 w 71"/>
                <a:gd name="T15" fmla="*/ 9 h 73"/>
                <a:gd name="T16" fmla="*/ 19 w 71"/>
                <a:gd name="T17" fmla="*/ 7 h 73"/>
                <a:gd name="T18" fmla="*/ 21 w 71"/>
                <a:gd name="T19" fmla="*/ 4 h 73"/>
                <a:gd name="T20" fmla="*/ 21 w 71"/>
                <a:gd name="T21" fmla="*/ 2 h 73"/>
                <a:gd name="T22" fmla="*/ 24 w 71"/>
                <a:gd name="T23" fmla="*/ 0 h 73"/>
                <a:gd name="T24" fmla="*/ 26 w 71"/>
                <a:gd name="T25" fmla="*/ 0 h 73"/>
                <a:gd name="T26" fmla="*/ 26 w 71"/>
                <a:gd name="T27" fmla="*/ 2 h 73"/>
                <a:gd name="T28" fmla="*/ 31 w 71"/>
                <a:gd name="T29" fmla="*/ 0 h 73"/>
                <a:gd name="T30" fmla="*/ 31 w 71"/>
                <a:gd name="T31" fmla="*/ 0 h 73"/>
                <a:gd name="T32" fmla="*/ 36 w 71"/>
                <a:gd name="T33" fmla="*/ 4 h 73"/>
                <a:gd name="T34" fmla="*/ 36 w 71"/>
                <a:gd name="T35" fmla="*/ 7 h 73"/>
                <a:gd name="T36" fmla="*/ 38 w 71"/>
                <a:gd name="T37" fmla="*/ 14 h 73"/>
                <a:gd name="T38" fmla="*/ 36 w 71"/>
                <a:gd name="T39" fmla="*/ 19 h 73"/>
                <a:gd name="T40" fmla="*/ 36 w 71"/>
                <a:gd name="T41" fmla="*/ 21 h 73"/>
                <a:gd name="T42" fmla="*/ 36 w 71"/>
                <a:gd name="T43" fmla="*/ 21 h 73"/>
                <a:gd name="T44" fmla="*/ 38 w 71"/>
                <a:gd name="T45" fmla="*/ 21 h 73"/>
                <a:gd name="T46" fmla="*/ 43 w 71"/>
                <a:gd name="T47" fmla="*/ 23 h 73"/>
                <a:gd name="T48" fmla="*/ 45 w 71"/>
                <a:gd name="T49" fmla="*/ 23 h 73"/>
                <a:gd name="T50" fmla="*/ 47 w 71"/>
                <a:gd name="T51" fmla="*/ 21 h 73"/>
                <a:gd name="T52" fmla="*/ 47 w 71"/>
                <a:gd name="T53" fmla="*/ 16 h 73"/>
                <a:gd name="T54" fmla="*/ 52 w 71"/>
                <a:gd name="T55" fmla="*/ 16 h 73"/>
                <a:gd name="T56" fmla="*/ 52 w 71"/>
                <a:gd name="T57" fmla="*/ 19 h 73"/>
                <a:gd name="T58" fmla="*/ 54 w 71"/>
                <a:gd name="T59" fmla="*/ 23 h 73"/>
                <a:gd name="T60" fmla="*/ 54 w 71"/>
                <a:gd name="T61" fmla="*/ 23 h 73"/>
                <a:gd name="T62" fmla="*/ 54 w 71"/>
                <a:gd name="T63" fmla="*/ 30 h 73"/>
                <a:gd name="T64" fmla="*/ 52 w 71"/>
                <a:gd name="T65" fmla="*/ 33 h 73"/>
                <a:gd name="T66" fmla="*/ 52 w 71"/>
                <a:gd name="T67" fmla="*/ 35 h 73"/>
                <a:gd name="T68" fmla="*/ 52 w 71"/>
                <a:gd name="T69" fmla="*/ 35 h 73"/>
                <a:gd name="T70" fmla="*/ 54 w 71"/>
                <a:gd name="T71" fmla="*/ 38 h 73"/>
                <a:gd name="T72" fmla="*/ 57 w 71"/>
                <a:gd name="T73" fmla="*/ 38 h 73"/>
                <a:gd name="T74" fmla="*/ 62 w 71"/>
                <a:gd name="T75" fmla="*/ 40 h 73"/>
                <a:gd name="T76" fmla="*/ 64 w 71"/>
                <a:gd name="T77" fmla="*/ 40 h 73"/>
                <a:gd name="T78" fmla="*/ 64 w 71"/>
                <a:gd name="T79" fmla="*/ 42 h 73"/>
                <a:gd name="T80" fmla="*/ 66 w 71"/>
                <a:gd name="T81" fmla="*/ 45 h 73"/>
                <a:gd name="T82" fmla="*/ 69 w 71"/>
                <a:gd name="T83" fmla="*/ 47 h 73"/>
                <a:gd name="T84" fmla="*/ 71 w 71"/>
                <a:gd name="T85" fmla="*/ 49 h 73"/>
                <a:gd name="T86" fmla="*/ 71 w 71"/>
                <a:gd name="T87" fmla="*/ 52 h 73"/>
                <a:gd name="T88" fmla="*/ 71 w 71"/>
                <a:gd name="T89" fmla="*/ 56 h 73"/>
                <a:gd name="T90" fmla="*/ 71 w 71"/>
                <a:gd name="T91" fmla="*/ 56 h 73"/>
                <a:gd name="T92" fmla="*/ 71 w 71"/>
                <a:gd name="T93" fmla="*/ 59 h 73"/>
                <a:gd name="T94" fmla="*/ 69 w 71"/>
                <a:gd name="T95" fmla="*/ 61 h 73"/>
                <a:gd name="T96" fmla="*/ 69 w 71"/>
                <a:gd name="T97" fmla="*/ 64 h 73"/>
                <a:gd name="T98" fmla="*/ 62 w 71"/>
                <a:gd name="T99" fmla="*/ 71 h 73"/>
                <a:gd name="T100" fmla="*/ 59 w 71"/>
                <a:gd name="T101" fmla="*/ 68 h 73"/>
                <a:gd name="T102" fmla="*/ 54 w 71"/>
                <a:gd name="T103" fmla="*/ 68 h 73"/>
                <a:gd name="T104" fmla="*/ 50 w 71"/>
                <a:gd name="T105" fmla="*/ 66 h 73"/>
                <a:gd name="T106" fmla="*/ 43 w 71"/>
                <a:gd name="T107" fmla="*/ 61 h 73"/>
                <a:gd name="T108" fmla="*/ 33 w 71"/>
                <a:gd name="T109" fmla="*/ 54 h 73"/>
                <a:gd name="T110" fmla="*/ 19 w 71"/>
                <a:gd name="T111" fmla="*/ 42 h 73"/>
                <a:gd name="T112" fmla="*/ 14 w 71"/>
                <a:gd name="T113" fmla="*/ 40 h 73"/>
                <a:gd name="T114" fmla="*/ 10 w 71"/>
                <a:gd name="T115" fmla="*/ 35 h 73"/>
                <a:gd name="T116" fmla="*/ 5 w 71"/>
                <a:gd name="T117" fmla="*/ 33 h 73"/>
                <a:gd name="T118" fmla="*/ 5 w 71"/>
                <a:gd name="T119" fmla="*/ 30 h 73"/>
                <a:gd name="T120" fmla="*/ 0 w 71"/>
                <a:gd name="T121" fmla="*/ 28 h 73"/>
                <a:gd name="T122" fmla="*/ 0 w 71"/>
                <a:gd name="T123" fmla="*/ 2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 h="73">
                  <a:moveTo>
                    <a:pt x="0" y="28"/>
                  </a:moveTo>
                  <a:lnTo>
                    <a:pt x="0" y="28"/>
                  </a:lnTo>
                  <a:lnTo>
                    <a:pt x="2" y="26"/>
                  </a:lnTo>
                  <a:lnTo>
                    <a:pt x="2" y="23"/>
                  </a:lnTo>
                  <a:lnTo>
                    <a:pt x="5" y="23"/>
                  </a:lnTo>
                  <a:lnTo>
                    <a:pt x="5" y="23"/>
                  </a:lnTo>
                  <a:lnTo>
                    <a:pt x="5" y="21"/>
                  </a:lnTo>
                  <a:lnTo>
                    <a:pt x="5" y="21"/>
                  </a:lnTo>
                  <a:lnTo>
                    <a:pt x="7" y="21"/>
                  </a:lnTo>
                  <a:lnTo>
                    <a:pt x="10" y="19"/>
                  </a:lnTo>
                  <a:lnTo>
                    <a:pt x="12" y="19"/>
                  </a:lnTo>
                  <a:lnTo>
                    <a:pt x="12" y="16"/>
                  </a:lnTo>
                  <a:lnTo>
                    <a:pt x="14" y="16"/>
                  </a:lnTo>
                  <a:lnTo>
                    <a:pt x="14" y="14"/>
                  </a:lnTo>
                  <a:lnTo>
                    <a:pt x="17" y="14"/>
                  </a:lnTo>
                  <a:lnTo>
                    <a:pt x="17" y="9"/>
                  </a:lnTo>
                  <a:lnTo>
                    <a:pt x="17" y="7"/>
                  </a:lnTo>
                  <a:lnTo>
                    <a:pt x="19" y="7"/>
                  </a:lnTo>
                  <a:lnTo>
                    <a:pt x="21" y="7"/>
                  </a:lnTo>
                  <a:lnTo>
                    <a:pt x="21" y="4"/>
                  </a:lnTo>
                  <a:lnTo>
                    <a:pt x="21" y="4"/>
                  </a:lnTo>
                  <a:lnTo>
                    <a:pt x="21" y="2"/>
                  </a:lnTo>
                  <a:lnTo>
                    <a:pt x="21" y="2"/>
                  </a:lnTo>
                  <a:lnTo>
                    <a:pt x="24" y="0"/>
                  </a:lnTo>
                  <a:lnTo>
                    <a:pt x="24" y="0"/>
                  </a:lnTo>
                  <a:lnTo>
                    <a:pt x="26" y="0"/>
                  </a:lnTo>
                  <a:lnTo>
                    <a:pt x="26" y="2"/>
                  </a:lnTo>
                  <a:lnTo>
                    <a:pt x="26" y="2"/>
                  </a:lnTo>
                  <a:lnTo>
                    <a:pt x="28" y="2"/>
                  </a:lnTo>
                  <a:lnTo>
                    <a:pt x="31" y="0"/>
                  </a:lnTo>
                  <a:lnTo>
                    <a:pt x="31" y="0"/>
                  </a:lnTo>
                  <a:lnTo>
                    <a:pt x="31" y="0"/>
                  </a:lnTo>
                  <a:lnTo>
                    <a:pt x="33" y="2"/>
                  </a:lnTo>
                  <a:lnTo>
                    <a:pt x="36" y="4"/>
                  </a:lnTo>
                  <a:lnTo>
                    <a:pt x="36" y="7"/>
                  </a:lnTo>
                  <a:lnTo>
                    <a:pt x="36" y="7"/>
                  </a:lnTo>
                  <a:lnTo>
                    <a:pt x="36" y="12"/>
                  </a:lnTo>
                  <a:lnTo>
                    <a:pt x="38" y="14"/>
                  </a:lnTo>
                  <a:lnTo>
                    <a:pt x="38" y="19"/>
                  </a:lnTo>
                  <a:lnTo>
                    <a:pt x="36" y="19"/>
                  </a:lnTo>
                  <a:lnTo>
                    <a:pt x="36" y="21"/>
                  </a:lnTo>
                  <a:lnTo>
                    <a:pt x="36" y="21"/>
                  </a:lnTo>
                  <a:lnTo>
                    <a:pt x="36" y="21"/>
                  </a:lnTo>
                  <a:lnTo>
                    <a:pt x="36" y="21"/>
                  </a:lnTo>
                  <a:lnTo>
                    <a:pt x="38" y="21"/>
                  </a:lnTo>
                  <a:lnTo>
                    <a:pt x="38" y="21"/>
                  </a:lnTo>
                  <a:lnTo>
                    <a:pt x="40" y="21"/>
                  </a:lnTo>
                  <a:lnTo>
                    <a:pt x="43" y="23"/>
                  </a:lnTo>
                  <a:lnTo>
                    <a:pt x="43" y="23"/>
                  </a:lnTo>
                  <a:lnTo>
                    <a:pt x="45" y="23"/>
                  </a:lnTo>
                  <a:lnTo>
                    <a:pt x="47" y="23"/>
                  </a:lnTo>
                  <a:lnTo>
                    <a:pt x="47" y="21"/>
                  </a:lnTo>
                  <a:lnTo>
                    <a:pt x="47" y="19"/>
                  </a:lnTo>
                  <a:lnTo>
                    <a:pt x="47" y="16"/>
                  </a:lnTo>
                  <a:lnTo>
                    <a:pt x="50" y="16"/>
                  </a:lnTo>
                  <a:lnTo>
                    <a:pt x="52" y="16"/>
                  </a:lnTo>
                  <a:lnTo>
                    <a:pt x="52" y="19"/>
                  </a:lnTo>
                  <a:lnTo>
                    <a:pt x="52" y="19"/>
                  </a:lnTo>
                  <a:lnTo>
                    <a:pt x="54" y="23"/>
                  </a:lnTo>
                  <a:lnTo>
                    <a:pt x="54" y="23"/>
                  </a:lnTo>
                  <a:lnTo>
                    <a:pt x="54" y="23"/>
                  </a:lnTo>
                  <a:lnTo>
                    <a:pt x="54" y="23"/>
                  </a:lnTo>
                  <a:lnTo>
                    <a:pt x="57" y="26"/>
                  </a:lnTo>
                  <a:lnTo>
                    <a:pt x="54" y="30"/>
                  </a:lnTo>
                  <a:lnTo>
                    <a:pt x="54" y="30"/>
                  </a:lnTo>
                  <a:lnTo>
                    <a:pt x="52" y="33"/>
                  </a:lnTo>
                  <a:lnTo>
                    <a:pt x="52" y="35"/>
                  </a:lnTo>
                  <a:lnTo>
                    <a:pt x="52" y="35"/>
                  </a:lnTo>
                  <a:lnTo>
                    <a:pt x="52" y="35"/>
                  </a:lnTo>
                  <a:lnTo>
                    <a:pt x="52" y="35"/>
                  </a:lnTo>
                  <a:lnTo>
                    <a:pt x="54" y="35"/>
                  </a:lnTo>
                  <a:lnTo>
                    <a:pt x="54" y="38"/>
                  </a:lnTo>
                  <a:lnTo>
                    <a:pt x="54" y="38"/>
                  </a:lnTo>
                  <a:lnTo>
                    <a:pt x="57" y="38"/>
                  </a:lnTo>
                  <a:lnTo>
                    <a:pt x="59" y="40"/>
                  </a:lnTo>
                  <a:lnTo>
                    <a:pt x="62" y="40"/>
                  </a:lnTo>
                  <a:lnTo>
                    <a:pt x="62" y="40"/>
                  </a:lnTo>
                  <a:lnTo>
                    <a:pt x="64" y="40"/>
                  </a:lnTo>
                  <a:lnTo>
                    <a:pt x="64" y="42"/>
                  </a:lnTo>
                  <a:lnTo>
                    <a:pt x="64" y="42"/>
                  </a:lnTo>
                  <a:lnTo>
                    <a:pt x="64" y="45"/>
                  </a:lnTo>
                  <a:lnTo>
                    <a:pt x="66" y="45"/>
                  </a:lnTo>
                  <a:lnTo>
                    <a:pt x="66" y="47"/>
                  </a:lnTo>
                  <a:lnTo>
                    <a:pt x="69" y="47"/>
                  </a:lnTo>
                  <a:lnTo>
                    <a:pt x="71" y="47"/>
                  </a:lnTo>
                  <a:lnTo>
                    <a:pt x="71" y="49"/>
                  </a:lnTo>
                  <a:lnTo>
                    <a:pt x="71" y="49"/>
                  </a:lnTo>
                  <a:lnTo>
                    <a:pt x="71" y="52"/>
                  </a:lnTo>
                  <a:lnTo>
                    <a:pt x="71" y="54"/>
                  </a:lnTo>
                  <a:lnTo>
                    <a:pt x="71" y="56"/>
                  </a:lnTo>
                  <a:lnTo>
                    <a:pt x="71" y="56"/>
                  </a:lnTo>
                  <a:lnTo>
                    <a:pt x="71" y="56"/>
                  </a:lnTo>
                  <a:lnTo>
                    <a:pt x="71" y="56"/>
                  </a:lnTo>
                  <a:lnTo>
                    <a:pt x="71" y="59"/>
                  </a:lnTo>
                  <a:lnTo>
                    <a:pt x="69" y="61"/>
                  </a:lnTo>
                  <a:lnTo>
                    <a:pt x="69" y="61"/>
                  </a:lnTo>
                  <a:lnTo>
                    <a:pt x="69" y="64"/>
                  </a:lnTo>
                  <a:lnTo>
                    <a:pt x="69" y="64"/>
                  </a:lnTo>
                  <a:lnTo>
                    <a:pt x="69" y="73"/>
                  </a:lnTo>
                  <a:lnTo>
                    <a:pt x="62" y="71"/>
                  </a:lnTo>
                  <a:lnTo>
                    <a:pt x="59" y="71"/>
                  </a:lnTo>
                  <a:lnTo>
                    <a:pt x="59" y="68"/>
                  </a:lnTo>
                  <a:lnTo>
                    <a:pt x="57" y="68"/>
                  </a:lnTo>
                  <a:lnTo>
                    <a:pt x="54" y="68"/>
                  </a:lnTo>
                  <a:lnTo>
                    <a:pt x="50" y="66"/>
                  </a:lnTo>
                  <a:lnTo>
                    <a:pt x="50" y="66"/>
                  </a:lnTo>
                  <a:lnTo>
                    <a:pt x="45" y="64"/>
                  </a:lnTo>
                  <a:lnTo>
                    <a:pt x="43" y="61"/>
                  </a:lnTo>
                  <a:lnTo>
                    <a:pt x="38" y="59"/>
                  </a:lnTo>
                  <a:lnTo>
                    <a:pt x="33" y="54"/>
                  </a:lnTo>
                  <a:lnTo>
                    <a:pt x="21" y="45"/>
                  </a:lnTo>
                  <a:lnTo>
                    <a:pt x="19" y="42"/>
                  </a:lnTo>
                  <a:lnTo>
                    <a:pt x="19" y="42"/>
                  </a:lnTo>
                  <a:lnTo>
                    <a:pt x="14" y="40"/>
                  </a:lnTo>
                  <a:lnTo>
                    <a:pt x="12" y="38"/>
                  </a:lnTo>
                  <a:lnTo>
                    <a:pt x="10" y="35"/>
                  </a:lnTo>
                  <a:lnTo>
                    <a:pt x="5" y="33"/>
                  </a:lnTo>
                  <a:lnTo>
                    <a:pt x="5" y="33"/>
                  </a:lnTo>
                  <a:lnTo>
                    <a:pt x="5" y="30"/>
                  </a:lnTo>
                  <a:lnTo>
                    <a:pt x="5" y="30"/>
                  </a:lnTo>
                  <a:lnTo>
                    <a:pt x="0" y="28"/>
                  </a:lnTo>
                  <a:lnTo>
                    <a:pt x="0" y="28"/>
                  </a:lnTo>
                  <a:lnTo>
                    <a:pt x="0" y="28"/>
                  </a:lnTo>
                  <a:lnTo>
                    <a:pt x="0" y="28"/>
                  </a:lnTo>
                  <a:lnTo>
                    <a:pt x="0" y="28"/>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8" name="Freeform 239">
              <a:extLst>
                <a:ext uri="{FF2B5EF4-FFF2-40B4-BE49-F238E27FC236}">
                  <a16:creationId xmlns:a16="http://schemas.microsoft.com/office/drawing/2014/main" id="{76DD4573-A437-4ED8-8C23-DEE540092172}"/>
                </a:ext>
              </a:extLst>
            </p:cNvPr>
            <p:cNvSpPr>
              <a:spLocks/>
            </p:cNvSpPr>
            <p:nvPr/>
          </p:nvSpPr>
          <p:spPr bwMode="auto">
            <a:xfrm>
              <a:off x="1188292" y="4222716"/>
              <a:ext cx="123825" cy="179388"/>
            </a:xfrm>
            <a:custGeom>
              <a:avLst/>
              <a:gdLst>
                <a:gd name="T0" fmla="*/ 76 w 78"/>
                <a:gd name="T1" fmla="*/ 87 h 113"/>
                <a:gd name="T2" fmla="*/ 69 w 78"/>
                <a:gd name="T3" fmla="*/ 80 h 113"/>
                <a:gd name="T4" fmla="*/ 66 w 78"/>
                <a:gd name="T5" fmla="*/ 73 h 113"/>
                <a:gd name="T6" fmla="*/ 69 w 78"/>
                <a:gd name="T7" fmla="*/ 59 h 113"/>
                <a:gd name="T8" fmla="*/ 66 w 78"/>
                <a:gd name="T9" fmla="*/ 35 h 113"/>
                <a:gd name="T10" fmla="*/ 64 w 78"/>
                <a:gd name="T11" fmla="*/ 31 h 113"/>
                <a:gd name="T12" fmla="*/ 64 w 78"/>
                <a:gd name="T13" fmla="*/ 21 h 113"/>
                <a:gd name="T14" fmla="*/ 62 w 78"/>
                <a:gd name="T15" fmla="*/ 14 h 113"/>
                <a:gd name="T16" fmla="*/ 57 w 78"/>
                <a:gd name="T17" fmla="*/ 9 h 113"/>
                <a:gd name="T18" fmla="*/ 55 w 78"/>
                <a:gd name="T19" fmla="*/ 7 h 113"/>
                <a:gd name="T20" fmla="*/ 55 w 78"/>
                <a:gd name="T21" fmla="*/ 2 h 113"/>
                <a:gd name="T22" fmla="*/ 57 w 78"/>
                <a:gd name="T23" fmla="*/ 0 h 113"/>
                <a:gd name="T24" fmla="*/ 52 w 78"/>
                <a:gd name="T25" fmla="*/ 0 h 113"/>
                <a:gd name="T26" fmla="*/ 47 w 78"/>
                <a:gd name="T27" fmla="*/ 0 h 113"/>
                <a:gd name="T28" fmla="*/ 43 w 78"/>
                <a:gd name="T29" fmla="*/ 2 h 113"/>
                <a:gd name="T30" fmla="*/ 29 w 78"/>
                <a:gd name="T31" fmla="*/ 2 h 113"/>
                <a:gd name="T32" fmla="*/ 17 w 78"/>
                <a:gd name="T33" fmla="*/ 2 h 113"/>
                <a:gd name="T34" fmla="*/ 7 w 78"/>
                <a:gd name="T35" fmla="*/ 2 h 113"/>
                <a:gd name="T36" fmla="*/ 5 w 78"/>
                <a:gd name="T37" fmla="*/ 7 h 113"/>
                <a:gd name="T38" fmla="*/ 7 w 78"/>
                <a:gd name="T39" fmla="*/ 12 h 113"/>
                <a:gd name="T40" fmla="*/ 7 w 78"/>
                <a:gd name="T41" fmla="*/ 14 h 113"/>
                <a:gd name="T42" fmla="*/ 10 w 78"/>
                <a:gd name="T43" fmla="*/ 21 h 113"/>
                <a:gd name="T44" fmla="*/ 10 w 78"/>
                <a:gd name="T45" fmla="*/ 26 h 113"/>
                <a:gd name="T46" fmla="*/ 10 w 78"/>
                <a:gd name="T47" fmla="*/ 31 h 113"/>
                <a:gd name="T48" fmla="*/ 10 w 78"/>
                <a:gd name="T49" fmla="*/ 33 h 113"/>
                <a:gd name="T50" fmla="*/ 10 w 78"/>
                <a:gd name="T51" fmla="*/ 35 h 113"/>
                <a:gd name="T52" fmla="*/ 12 w 78"/>
                <a:gd name="T53" fmla="*/ 35 h 113"/>
                <a:gd name="T54" fmla="*/ 14 w 78"/>
                <a:gd name="T55" fmla="*/ 49 h 113"/>
                <a:gd name="T56" fmla="*/ 12 w 78"/>
                <a:gd name="T57" fmla="*/ 52 h 113"/>
                <a:gd name="T58" fmla="*/ 10 w 78"/>
                <a:gd name="T59" fmla="*/ 54 h 113"/>
                <a:gd name="T60" fmla="*/ 7 w 78"/>
                <a:gd name="T61" fmla="*/ 57 h 113"/>
                <a:gd name="T62" fmla="*/ 5 w 78"/>
                <a:gd name="T63" fmla="*/ 64 h 113"/>
                <a:gd name="T64" fmla="*/ 5 w 78"/>
                <a:gd name="T65" fmla="*/ 68 h 113"/>
                <a:gd name="T66" fmla="*/ 3 w 78"/>
                <a:gd name="T67" fmla="*/ 73 h 113"/>
                <a:gd name="T68" fmla="*/ 0 w 78"/>
                <a:gd name="T69" fmla="*/ 83 h 113"/>
                <a:gd name="T70" fmla="*/ 5 w 78"/>
                <a:gd name="T71" fmla="*/ 94 h 113"/>
                <a:gd name="T72" fmla="*/ 7 w 78"/>
                <a:gd name="T73" fmla="*/ 94 h 113"/>
                <a:gd name="T74" fmla="*/ 10 w 78"/>
                <a:gd name="T75" fmla="*/ 99 h 113"/>
                <a:gd name="T76" fmla="*/ 7 w 78"/>
                <a:gd name="T77" fmla="*/ 104 h 113"/>
                <a:gd name="T78" fmla="*/ 5 w 78"/>
                <a:gd name="T79" fmla="*/ 104 h 113"/>
                <a:gd name="T80" fmla="*/ 3 w 78"/>
                <a:gd name="T81" fmla="*/ 106 h 113"/>
                <a:gd name="T82" fmla="*/ 21 w 78"/>
                <a:gd name="T83" fmla="*/ 113 h 113"/>
                <a:gd name="T84" fmla="*/ 31 w 78"/>
                <a:gd name="T85" fmla="*/ 106 h 113"/>
                <a:gd name="T86" fmla="*/ 45 w 78"/>
                <a:gd name="T87" fmla="*/ 104 h 113"/>
                <a:gd name="T88" fmla="*/ 59 w 78"/>
                <a:gd name="T89" fmla="*/ 97 h 113"/>
                <a:gd name="T90" fmla="*/ 64 w 78"/>
                <a:gd name="T91" fmla="*/ 94 h 113"/>
                <a:gd name="T92" fmla="*/ 71 w 78"/>
                <a:gd name="T93" fmla="*/ 94 h 113"/>
                <a:gd name="T94" fmla="*/ 78 w 78"/>
                <a:gd name="T95" fmla="*/ 9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8" h="113">
                  <a:moveTo>
                    <a:pt x="78" y="90"/>
                  </a:moveTo>
                  <a:lnTo>
                    <a:pt x="76" y="87"/>
                  </a:lnTo>
                  <a:lnTo>
                    <a:pt x="71" y="83"/>
                  </a:lnTo>
                  <a:lnTo>
                    <a:pt x="69" y="80"/>
                  </a:lnTo>
                  <a:lnTo>
                    <a:pt x="69" y="75"/>
                  </a:lnTo>
                  <a:lnTo>
                    <a:pt x="66" y="73"/>
                  </a:lnTo>
                  <a:lnTo>
                    <a:pt x="66" y="66"/>
                  </a:lnTo>
                  <a:lnTo>
                    <a:pt x="69" y="59"/>
                  </a:lnTo>
                  <a:lnTo>
                    <a:pt x="66" y="47"/>
                  </a:lnTo>
                  <a:lnTo>
                    <a:pt x="66" y="35"/>
                  </a:lnTo>
                  <a:lnTo>
                    <a:pt x="66" y="31"/>
                  </a:lnTo>
                  <a:lnTo>
                    <a:pt x="64" y="31"/>
                  </a:lnTo>
                  <a:lnTo>
                    <a:pt x="64" y="28"/>
                  </a:lnTo>
                  <a:lnTo>
                    <a:pt x="64" y="21"/>
                  </a:lnTo>
                  <a:lnTo>
                    <a:pt x="62" y="16"/>
                  </a:lnTo>
                  <a:lnTo>
                    <a:pt x="62" y="14"/>
                  </a:lnTo>
                  <a:lnTo>
                    <a:pt x="59" y="12"/>
                  </a:lnTo>
                  <a:lnTo>
                    <a:pt x="57" y="9"/>
                  </a:lnTo>
                  <a:lnTo>
                    <a:pt x="55" y="7"/>
                  </a:lnTo>
                  <a:lnTo>
                    <a:pt x="55" y="7"/>
                  </a:lnTo>
                  <a:lnTo>
                    <a:pt x="55" y="5"/>
                  </a:lnTo>
                  <a:lnTo>
                    <a:pt x="55" y="2"/>
                  </a:lnTo>
                  <a:lnTo>
                    <a:pt x="57" y="2"/>
                  </a:lnTo>
                  <a:lnTo>
                    <a:pt x="57" y="0"/>
                  </a:lnTo>
                  <a:lnTo>
                    <a:pt x="52" y="0"/>
                  </a:lnTo>
                  <a:lnTo>
                    <a:pt x="52" y="0"/>
                  </a:lnTo>
                  <a:lnTo>
                    <a:pt x="52" y="0"/>
                  </a:lnTo>
                  <a:lnTo>
                    <a:pt x="47" y="0"/>
                  </a:lnTo>
                  <a:lnTo>
                    <a:pt x="43" y="2"/>
                  </a:lnTo>
                  <a:lnTo>
                    <a:pt x="43" y="2"/>
                  </a:lnTo>
                  <a:lnTo>
                    <a:pt x="36" y="2"/>
                  </a:lnTo>
                  <a:lnTo>
                    <a:pt x="29" y="2"/>
                  </a:lnTo>
                  <a:lnTo>
                    <a:pt x="19" y="2"/>
                  </a:lnTo>
                  <a:lnTo>
                    <a:pt x="17" y="2"/>
                  </a:lnTo>
                  <a:lnTo>
                    <a:pt x="12" y="2"/>
                  </a:lnTo>
                  <a:lnTo>
                    <a:pt x="7" y="2"/>
                  </a:lnTo>
                  <a:lnTo>
                    <a:pt x="5" y="5"/>
                  </a:lnTo>
                  <a:lnTo>
                    <a:pt x="5" y="7"/>
                  </a:lnTo>
                  <a:lnTo>
                    <a:pt x="7" y="9"/>
                  </a:lnTo>
                  <a:lnTo>
                    <a:pt x="7" y="12"/>
                  </a:lnTo>
                  <a:lnTo>
                    <a:pt x="7" y="14"/>
                  </a:lnTo>
                  <a:lnTo>
                    <a:pt x="7" y="14"/>
                  </a:lnTo>
                  <a:lnTo>
                    <a:pt x="7" y="16"/>
                  </a:lnTo>
                  <a:lnTo>
                    <a:pt x="10" y="21"/>
                  </a:lnTo>
                  <a:lnTo>
                    <a:pt x="10" y="23"/>
                  </a:lnTo>
                  <a:lnTo>
                    <a:pt x="10" y="26"/>
                  </a:lnTo>
                  <a:lnTo>
                    <a:pt x="10" y="28"/>
                  </a:lnTo>
                  <a:lnTo>
                    <a:pt x="10" y="31"/>
                  </a:lnTo>
                  <a:lnTo>
                    <a:pt x="10" y="31"/>
                  </a:lnTo>
                  <a:lnTo>
                    <a:pt x="10" y="33"/>
                  </a:lnTo>
                  <a:lnTo>
                    <a:pt x="10" y="33"/>
                  </a:lnTo>
                  <a:lnTo>
                    <a:pt x="10" y="35"/>
                  </a:lnTo>
                  <a:lnTo>
                    <a:pt x="10" y="35"/>
                  </a:lnTo>
                  <a:lnTo>
                    <a:pt x="12" y="35"/>
                  </a:lnTo>
                  <a:lnTo>
                    <a:pt x="14" y="45"/>
                  </a:lnTo>
                  <a:lnTo>
                    <a:pt x="14" y="49"/>
                  </a:lnTo>
                  <a:lnTo>
                    <a:pt x="12" y="49"/>
                  </a:lnTo>
                  <a:lnTo>
                    <a:pt x="12" y="52"/>
                  </a:lnTo>
                  <a:lnTo>
                    <a:pt x="12" y="52"/>
                  </a:lnTo>
                  <a:lnTo>
                    <a:pt x="10" y="54"/>
                  </a:lnTo>
                  <a:lnTo>
                    <a:pt x="10" y="54"/>
                  </a:lnTo>
                  <a:lnTo>
                    <a:pt x="7" y="57"/>
                  </a:lnTo>
                  <a:lnTo>
                    <a:pt x="7" y="61"/>
                  </a:lnTo>
                  <a:lnTo>
                    <a:pt x="5" y="64"/>
                  </a:lnTo>
                  <a:lnTo>
                    <a:pt x="5" y="68"/>
                  </a:lnTo>
                  <a:lnTo>
                    <a:pt x="5" y="68"/>
                  </a:lnTo>
                  <a:lnTo>
                    <a:pt x="3" y="71"/>
                  </a:lnTo>
                  <a:lnTo>
                    <a:pt x="3" y="73"/>
                  </a:lnTo>
                  <a:lnTo>
                    <a:pt x="0" y="80"/>
                  </a:lnTo>
                  <a:lnTo>
                    <a:pt x="0" y="83"/>
                  </a:lnTo>
                  <a:lnTo>
                    <a:pt x="3" y="87"/>
                  </a:lnTo>
                  <a:lnTo>
                    <a:pt x="5" y="94"/>
                  </a:lnTo>
                  <a:lnTo>
                    <a:pt x="5" y="94"/>
                  </a:lnTo>
                  <a:lnTo>
                    <a:pt x="7" y="94"/>
                  </a:lnTo>
                  <a:lnTo>
                    <a:pt x="10" y="97"/>
                  </a:lnTo>
                  <a:lnTo>
                    <a:pt x="10" y="99"/>
                  </a:lnTo>
                  <a:lnTo>
                    <a:pt x="10" y="104"/>
                  </a:lnTo>
                  <a:lnTo>
                    <a:pt x="7" y="104"/>
                  </a:lnTo>
                  <a:lnTo>
                    <a:pt x="7" y="104"/>
                  </a:lnTo>
                  <a:lnTo>
                    <a:pt x="5" y="104"/>
                  </a:lnTo>
                  <a:lnTo>
                    <a:pt x="5" y="104"/>
                  </a:lnTo>
                  <a:lnTo>
                    <a:pt x="3" y="106"/>
                  </a:lnTo>
                  <a:lnTo>
                    <a:pt x="14" y="109"/>
                  </a:lnTo>
                  <a:lnTo>
                    <a:pt x="21" y="113"/>
                  </a:lnTo>
                  <a:lnTo>
                    <a:pt x="29" y="109"/>
                  </a:lnTo>
                  <a:lnTo>
                    <a:pt x="31" y="106"/>
                  </a:lnTo>
                  <a:lnTo>
                    <a:pt x="33" y="106"/>
                  </a:lnTo>
                  <a:lnTo>
                    <a:pt x="45" y="104"/>
                  </a:lnTo>
                  <a:lnTo>
                    <a:pt x="55" y="99"/>
                  </a:lnTo>
                  <a:lnTo>
                    <a:pt x="59" y="97"/>
                  </a:lnTo>
                  <a:lnTo>
                    <a:pt x="62" y="94"/>
                  </a:lnTo>
                  <a:lnTo>
                    <a:pt x="64" y="94"/>
                  </a:lnTo>
                  <a:lnTo>
                    <a:pt x="69" y="94"/>
                  </a:lnTo>
                  <a:lnTo>
                    <a:pt x="71" y="94"/>
                  </a:lnTo>
                  <a:lnTo>
                    <a:pt x="73" y="94"/>
                  </a:lnTo>
                  <a:lnTo>
                    <a:pt x="78" y="90"/>
                  </a:lnTo>
                  <a:lnTo>
                    <a:pt x="78" y="9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89" name="Freeform 240">
              <a:extLst>
                <a:ext uri="{FF2B5EF4-FFF2-40B4-BE49-F238E27FC236}">
                  <a16:creationId xmlns:a16="http://schemas.microsoft.com/office/drawing/2014/main" id="{0AEE58A4-3187-4F64-9ECD-7BF62CFCF2A9}"/>
                </a:ext>
              </a:extLst>
            </p:cNvPr>
            <p:cNvSpPr>
              <a:spLocks/>
            </p:cNvSpPr>
            <p:nvPr/>
          </p:nvSpPr>
          <p:spPr bwMode="auto">
            <a:xfrm>
              <a:off x="1188292" y="4222716"/>
              <a:ext cx="123825" cy="179388"/>
            </a:xfrm>
            <a:custGeom>
              <a:avLst/>
              <a:gdLst>
                <a:gd name="T0" fmla="*/ 76 w 78"/>
                <a:gd name="T1" fmla="*/ 87 h 113"/>
                <a:gd name="T2" fmla="*/ 69 w 78"/>
                <a:gd name="T3" fmla="*/ 80 h 113"/>
                <a:gd name="T4" fmla="*/ 66 w 78"/>
                <a:gd name="T5" fmla="*/ 73 h 113"/>
                <a:gd name="T6" fmla="*/ 69 w 78"/>
                <a:gd name="T7" fmla="*/ 59 h 113"/>
                <a:gd name="T8" fmla="*/ 66 w 78"/>
                <a:gd name="T9" fmla="*/ 35 h 113"/>
                <a:gd name="T10" fmla="*/ 64 w 78"/>
                <a:gd name="T11" fmla="*/ 31 h 113"/>
                <a:gd name="T12" fmla="*/ 64 w 78"/>
                <a:gd name="T13" fmla="*/ 21 h 113"/>
                <a:gd name="T14" fmla="*/ 62 w 78"/>
                <a:gd name="T15" fmla="*/ 14 h 113"/>
                <a:gd name="T16" fmla="*/ 57 w 78"/>
                <a:gd name="T17" fmla="*/ 9 h 113"/>
                <a:gd name="T18" fmla="*/ 55 w 78"/>
                <a:gd name="T19" fmla="*/ 7 h 113"/>
                <a:gd name="T20" fmla="*/ 55 w 78"/>
                <a:gd name="T21" fmla="*/ 2 h 113"/>
                <a:gd name="T22" fmla="*/ 57 w 78"/>
                <a:gd name="T23" fmla="*/ 0 h 113"/>
                <a:gd name="T24" fmla="*/ 52 w 78"/>
                <a:gd name="T25" fmla="*/ 0 h 113"/>
                <a:gd name="T26" fmla="*/ 47 w 78"/>
                <a:gd name="T27" fmla="*/ 0 h 113"/>
                <a:gd name="T28" fmla="*/ 43 w 78"/>
                <a:gd name="T29" fmla="*/ 2 h 113"/>
                <a:gd name="T30" fmla="*/ 29 w 78"/>
                <a:gd name="T31" fmla="*/ 2 h 113"/>
                <a:gd name="T32" fmla="*/ 17 w 78"/>
                <a:gd name="T33" fmla="*/ 2 h 113"/>
                <a:gd name="T34" fmla="*/ 7 w 78"/>
                <a:gd name="T35" fmla="*/ 2 h 113"/>
                <a:gd name="T36" fmla="*/ 5 w 78"/>
                <a:gd name="T37" fmla="*/ 7 h 113"/>
                <a:gd name="T38" fmla="*/ 7 w 78"/>
                <a:gd name="T39" fmla="*/ 12 h 113"/>
                <a:gd name="T40" fmla="*/ 7 w 78"/>
                <a:gd name="T41" fmla="*/ 14 h 113"/>
                <a:gd name="T42" fmla="*/ 10 w 78"/>
                <a:gd name="T43" fmla="*/ 21 h 113"/>
                <a:gd name="T44" fmla="*/ 10 w 78"/>
                <a:gd name="T45" fmla="*/ 26 h 113"/>
                <a:gd name="T46" fmla="*/ 10 w 78"/>
                <a:gd name="T47" fmla="*/ 31 h 113"/>
                <a:gd name="T48" fmla="*/ 10 w 78"/>
                <a:gd name="T49" fmla="*/ 33 h 113"/>
                <a:gd name="T50" fmla="*/ 10 w 78"/>
                <a:gd name="T51" fmla="*/ 35 h 113"/>
                <a:gd name="T52" fmla="*/ 12 w 78"/>
                <a:gd name="T53" fmla="*/ 35 h 113"/>
                <a:gd name="T54" fmla="*/ 14 w 78"/>
                <a:gd name="T55" fmla="*/ 49 h 113"/>
                <a:gd name="T56" fmla="*/ 12 w 78"/>
                <a:gd name="T57" fmla="*/ 52 h 113"/>
                <a:gd name="T58" fmla="*/ 10 w 78"/>
                <a:gd name="T59" fmla="*/ 54 h 113"/>
                <a:gd name="T60" fmla="*/ 7 w 78"/>
                <a:gd name="T61" fmla="*/ 57 h 113"/>
                <a:gd name="T62" fmla="*/ 5 w 78"/>
                <a:gd name="T63" fmla="*/ 64 h 113"/>
                <a:gd name="T64" fmla="*/ 5 w 78"/>
                <a:gd name="T65" fmla="*/ 68 h 113"/>
                <a:gd name="T66" fmla="*/ 3 w 78"/>
                <a:gd name="T67" fmla="*/ 73 h 113"/>
                <a:gd name="T68" fmla="*/ 0 w 78"/>
                <a:gd name="T69" fmla="*/ 83 h 113"/>
                <a:gd name="T70" fmla="*/ 5 w 78"/>
                <a:gd name="T71" fmla="*/ 94 h 113"/>
                <a:gd name="T72" fmla="*/ 7 w 78"/>
                <a:gd name="T73" fmla="*/ 94 h 113"/>
                <a:gd name="T74" fmla="*/ 10 w 78"/>
                <a:gd name="T75" fmla="*/ 99 h 113"/>
                <a:gd name="T76" fmla="*/ 7 w 78"/>
                <a:gd name="T77" fmla="*/ 104 h 113"/>
                <a:gd name="T78" fmla="*/ 5 w 78"/>
                <a:gd name="T79" fmla="*/ 104 h 113"/>
                <a:gd name="T80" fmla="*/ 3 w 78"/>
                <a:gd name="T81" fmla="*/ 106 h 113"/>
                <a:gd name="T82" fmla="*/ 21 w 78"/>
                <a:gd name="T83" fmla="*/ 113 h 113"/>
                <a:gd name="T84" fmla="*/ 31 w 78"/>
                <a:gd name="T85" fmla="*/ 106 h 113"/>
                <a:gd name="T86" fmla="*/ 45 w 78"/>
                <a:gd name="T87" fmla="*/ 104 h 113"/>
                <a:gd name="T88" fmla="*/ 59 w 78"/>
                <a:gd name="T89" fmla="*/ 97 h 113"/>
                <a:gd name="T90" fmla="*/ 64 w 78"/>
                <a:gd name="T91" fmla="*/ 94 h 113"/>
                <a:gd name="T92" fmla="*/ 71 w 78"/>
                <a:gd name="T93" fmla="*/ 94 h 113"/>
                <a:gd name="T94" fmla="*/ 78 w 78"/>
                <a:gd name="T95" fmla="*/ 9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8" h="113">
                  <a:moveTo>
                    <a:pt x="78" y="90"/>
                  </a:moveTo>
                  <a:lnTo>
                    <a:pt x="76" y="87"/>
                  </a:lnTo>
                  <a:lnTo>
                    <a:pt x="71" y="83"/>
                  </a:lnTo>
                  <a:lnTo>
                    <a:pt x="69" y="80"/>
                  </a:lnTo>
                  <a:lnTo>
                    <a:pt x="69" y="75"/>
                  </a:lnTo>
                  <a:lnTo>
                    <a:pt x="66" y="73"/>
                  </a:lnTo>
                  <a:lnTo>
                    <a:pt x="66" y="66"/>
                  </a:lnTo>
                  <a:lnTo>
                    <a:pt x="69" y="59"/>
                  </a:lnTo>
                  <a:lnTo>
                    <a:pt x="66" y="47"/>
                  </a:lnTo>
                  <a:lnTo>
                    <a:pt x="66" y="35"/>
                  </a:lnTo>
                  <a:lnTo>
                    <a:pt x="66" y="31"/>
                  </a:lnTo>
                  <a:lnTo>
                    <a:pt x="64" y="31"/>
                  </a:lnTo>
                  <a:lnTo>
                    <a:pt x="64" y="28"/>
                  </a:lnTo>
                  <a:lnTo>
                    <a:pt x="64" y="21"/>
                  </a:lnTo>
                  <a:lnTo>
                    <a:pt x="62" y="16"/>
                  </a:lnTo>
                  <a:lnTo>
                    <a:pt x="62" y="14"/>
                  </a:lnTo>
                  <a:lnTo>
                    <a:pt x="59" y="12"/>
                  </a:lnTo>
                  <a:lnTo>
                    <a:pt x="57" y="9"/>
                  </a:lnTo>
                  <a:lnTo>
                    <a:pt x="55" y="7"/>
                  </a:lnTo>
                  <a:lnTo>
                    <a:pt x="55" y="7"/>
                  </a:lnTo>
                  <a:lnTo>
                    <a:pt x="55" y="5"/>
                  </a:lnTo>
                  <a:lnTo>
                    <a:pt x="55" y="2"/>
                  </a:lnTo>
                  <a:lnTo>
                    <a:pt x="57" y="2"/>
                  </a:lnTo>
                  <a:lnTo>
                    <a:pt x="57" y="0"/>
                  </a:lnTo>
                  <a:lnTo>
                    <a:pt x="52" y="0"/>
                  </a:lnTo>
                  <a:lnTo>
                    <a:pt x="52" y="0"/>
                  </a:lnTo>
                  <a:lnTo>
                    <a:pt x="52" y="0"/>
                  </a:lnTo>
                  <a:lnTo>
                    <a:pt x="47" y="0"/>
                  </a:lnTo>
                  <a:lnTo>
                    <a:pt x="43" y="2"/>
                  </a:lnTo>
                  <a:lnTo>
                    <a:pt x="43" y="2"/>
                  </a:lnTo>
                  <a:lnTo>
                    <a:pt x="36" y="2"/>
                  </a:lnTo>
                  <a:lnTo>
                    <a:pt x="29" y="2"/>
                  </a:lnTo>
                  <a:lnTo>
                    <a:pt x="19" y="2"/>
                  </a:lnTo>
                  <a:lnTo>
                    <a:pt x="17" y="2"/>
                  </a:lnTo>
                  <a:lnTo>
                    <a:pt x="12" y="2"/>
                  </a:lnTo>
                  <a:lnTo>
                    <a:pt x="7" y="2"/>
                  </a:lnTo>
                  <a:lnTo>
                    <a:pt x="5" y="5"/>
                  </a:lnTo>
                  <a:lnTo>
                    <a:pt x="5" y="7"/>
                  </a:lnTo>
                  <a:lnTo>
                    <a:pt x="7" y="9"/>
                  </a:lnTo>
                  <a:lnTo>
                    <a:pt x="7" y="12"/>
                  </a:lnTo>
                  <a:lnTo>
                    <a:pt x="7" y="14"/>
                  </a:lnTo>
                  <a:lnTo>
                    <a:pt x="7" y="14"/>
                  </a:lnTo>
                  <a:lnTo>
                    <a:pt x="7" y="16"/>
                  </a:lnTo>
                  <a:lnTo>
                    <a:pt x="10" y="21"/>
                  </a:lnTo>
                  <a:lnTo>
                    <a:pt x="10" y="23"/>
                  </a:lnTo>
                  <a:lnTo>
                    <a:pt x="10" y="26"/>
                  </a:lnTo>
                  <a:lnTo>
                    <a:pt x="10" y="28"/>
                  </a:lnTo>
                  <a:lnTo>
                    <a:pt x="10" y="31"/>
                  </a:lnTo>
                  <a:lnTo>
                    <a:pt x="10" y="31"/>
                  </a:lnTo>
                  <a:lnTo>
                    <a:pt x="10" y="33"/>
                  </a:lnTo>
                  <a:lnTo>
                    <a:pt x="10" y="33"/>
                  </a:lnTo>
                  <a:lnTo>
                    <a:pt x="10" y="35"/>
                  </a:lnTo>
                  <a:lnTo>
                    <a:pt x="10" y="35"/>
                  </a:lnTo>
                  <a:lnTo>
                    <a:pt x="12" y="35"/>
                  </a:lnTo>
                  <a:lnTo>
                    <a:pt x="14" y="45"/>
                  </a:lnTo>
                  <a:lnTo>
                    <a:pt x="14" y="49"/>
                  </a:lnTo>
                  <a:lnTo>
                    <a:pt x="12" y="49"/>
                  </a:lnTo>
                  <a:lnTo>
                    <a:pt x="12" y="52"/>
                  </a:lnTo>
                  <a:lnTo>
                    <a:pt x="12" y="52"/>
                  </a:lnTo>
                  <a:lnTo>
                    <a:pt x="10" y="54"/>
                  </a:lnTo>
                  <a:lnTo>
                    <a:pt x="10" y="54"/>
                  </a:lnTo>
                  <a:lnTo>
                    <a:pt x="7" y="57"/>
                  </a:lnTo>
                  <a:lnTo>
                    <a:pt x="7" y="61"/>
                  </a:lnTo>
                  <a:lnTo>
                    <a:pt x="5" y="64"/>
                  </a:lnTo>
                  <a:lnTo>
                    <a:pt x="5" y="68"/>
                  </a:lnTo>
                  <a:lnTo>
                    <a:pt x="5" y="68"/>
                  </a:lnTo>
                  <a:lnTo>
                    <a:pt x="3" y="71"/>
                  </a:lnTo>
                  <a:lnTo>
                    <a:pt x="3" y="73"/>
                  </a:lnTo>
                  <a:lnTo>
                    <a:pt x="0" y="80"/>
                  </a:lnTo>
                  <a:lnTo>
                    <a:pt x="0" y="83"/>
                  </a:lnTo>
                  <a:lnTo>
                    <a:pt x="3" y="87"/>
                  </a:lnTo>
                  <a:lnTo>
                    <a:pt x="5" y="94"/>
                  </a:lnTo>
                  <a:lnTo>
                    <a:pt x="5" y="94"/>
                  </a:lnTo>
                  <a:lnTo>
                    <a:pt x="7" y="94"/>
                  </a:lnTo>
                  <a:lnTo>
                    <a:pt x="10" y="97"/>
                  </a:lnTo>
                  <a:lnTo>
                    <a:pt x="10" y="99"/>
                  </a:lnTo>
                  <a:lnTo>
                    <a:pt x="10" y="104"/>
                  </a:lnTo>
                  <a:lnTo>
                    <a:pt x="7" y="104"/>
                  </a:lnTo>
                  <a:lnTo>
                    <a:pt x="7" y="104"/>
                  </a:lnTo>
                  <a:lnTo>
                    <a:pt x="5" y="104"/>
                  </a:lnTo>
                  <a:lnTo>
                    <a:pt x="5" y="104"/>
                  </a:lnTo>
                  <a:lnTo>
                    <a:pt x="3" y="106"/>
                  </a:lnTo>
                  <a:lnTo>
                    <a:pt x="14" y="109"/>
                  </a:lnTo>
                  <a:lnTo>
                    <a:pt x="21" y="113"/>
                  </a:lnTo>
                  <a:lnTo>
                    <a:pt x="29" y="109"/>
                  </a:lnTo>
                  <a:lnTo>
                    <a:pt x="31" y="106"/>
                  </a:lnTo>
                  <a:lnTo>
                    <a:pt x="33" y="106"/>
                  </a:lnTo>
                  <a:lnTo>
                    <a:pt x="45" y="104"/>
                  </a:lnTo>
                  <a:lnTo>
                    <a:pt x="55" y="99"/>
                  </a:lnTo>
                  <a:lnTo>
                    <a:pt x="59" y="97"/>
                  </a:lnTo>
                  <a:lnTo>
                    <a:pt x="62" y="94"/>
                  </a:lnTo>
                  <a:lnTo>
                    <a:pt x="64" y="94"/>
                  </a:lnTo>
                  <a:lnTo>
                    <a:pt x="69" y="94"/>
                  </a:lnTo>
                  <a:lnTo>
                    <a:pt x="71" y="94"/>
                  </a:lnTo>
                  <a:lnTo>
                    <a:pt x="73" y="94"/>
                  </a:lnTo>
                  <a:lnTo>
                    <a:pt x="78" y="90"/>
                  </a:lnTo>
                  <a:lnTo>
                    <a:pt x="78" y="90"/>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0" name="Freeform 241">
              <a:extLst>
                <a:ext uri="{FF2B5EF4-FFF2-40B4-BE49-F238E27FC236}">
                  <a16:creationId xmlns:a16="http://schemas.microsoft.com/office/drawing/2014/main" id="{DA75FCCD-4CF0-4316-917E-6C5A70BA8613}"/>
                </a:ext>
              </a:extLst>
            </p:cNvPr>
            <p:cNvSpPr>
              <a:spLocks/>
            </p:cNvSpPr>
            <p:nvPr/>
          </p:nvSpPr>
          <p:spPr bwMode="auto">
            <a:xfrm>
              <a:off x="1353392" y="4148104"/>
              <a:ext cx="322263" cy="265113"/>
            </a:xfrm>
            <a:custGeom>
              <a:avLst/>
              <a:gdLst>
                <a:gd name="T0" fmla="*/ 14 w 203"/>
                <a:gd name="T1" fmla="*/ 26 h 167"/>
                <a:gd name="T2" fmla="*/ 17 w 203"/>
                <a:gd name="T3" fmla="*/ 21 h 167"/>
                <a:gd name="T4" fmla="*/ 24 w 203"/>
                <a:gd name="T5" fmla="*/ 11 h 167"/>
                <a:gd name="T6" fmla="*/ 28 w 203"/>
                <a:gd name="T7" fmla="*/ 2 h 167"/>
                <a:gd name="T8" fmla="*/ 43 w 203"/>
                <a:gd name="T9" fmla="*/ 0 h 167"/>
                <a:gd name="T10" fmla="*/ 62 w 203"/>
                <a:gd name="T11" fmla="*/ 4 h 167"/>
                <a:gd name="T12" fmla="*/ 73 w 203"/>
                <a:gd name="T13" fmla="*/ 14 h 167"/>
                <a:gd name="T14" fmla="*/ 83 w 203"/>
                <a:gd name="T15" fmla="*/ 9 h 167"/>
                <a:gd name="T16" fmla="*/ 95 w 203"/>
                <a:gd name="T17" fmla="*/ 11 h 167"/>
                <a:gd name="T18" fmla="*/ 114 w 203"/>
                <a:gd name="T19" fmla="*/ 16 h 167"/>
                <a:gd name="T20" fmla="*/ 128 w 203"/>
                <a:gd name="T21" fmla="*/ 9 h 167"/>
                <a:gd name="T22" fmla="*/ 144 w 203"/>
                <a:gd name="T23" fmla="*/ 9 h 167"/>
                <a:gd name="T24" fmla="*/ 156 w 203"/>
                <a:gd name="T25" fmla="*/ 7 h 167"/>
                <a:gd name="T26" fmla="*/ 163 w 203"/>
                <a:gd name="T27" fmla="*/ 9 h 167"/>
                <a:gd name="T28" fmla="*/ 173 w 203"/>
                <a:gd name="T29" fmla="*/ 7 h 167"/>
                <a:gd name="T30" fmla="*/ 177 w 203"/>
                <a:gd name="T31" fmla="*/ 4 h 167"/>
                <a:gd name="T32" fmla="*/ 182 w 203"/>
                <a:gd name="T33" fmla="*/ 0 h 167"/>
                <a:gd name="T34" fmla="*/ 184 w 203"/>
                <a:gd name="T35" fmla="*/ 4 h 167"/>
                <a:gd name="T36" fmla="*/ 191 w 203"/>
                <a:gd name="T37" fmla="*/ 11 h 167"/>
                <a:gd name="T38" fmla="*/ 199 w 203"/>
                <a:gd name="T39" fmla="*/ 23 h 167"/>
                <a:gd name="T40" fmla="*/ 203 w 203"/>
                <a:gd name="T41" fmla="*/ 26 h 167"/>
                <a:gd name="T42" fmla="*/ 203 w 203"/>
                <a:gd name="T43" fmla="*/ 37 h 167"/>
                <a:gd name="T44" fmla="*/ 191 w 203"/>
                <a:gd name="T45" fmla="*/ 44 h 167"/>
                <a:gd name="T46" fmla="*/ 187 w 203"/>
                <a:gd name="T47" fmla="*/ 49 h 167"/>
                <a:gd name="T48" fmla="*/ 180 w 203"/>
                <a:gd name="T49" fmla="*/ 63 h 167"/>
                <a:gd name="T50" fmla="*/ 175 w 203"/>
                <a:gd name="T51" fmla="*/ 80 h 167"/>
                <a:gd name="T52" fmla="*/ 173 w 203"/>
                <a:gd name="T53" fmla="*/ 87 h 167"/>
                <a:gd name="T54" fmla="*/ 163 w 203"/>
                <a:gd name="T55" fmla="*/ 99 h 167"/>
                <a:gd name="T56" fmla="*/ 158 w 203"/>
                <a:gd name="T57" fmla="*/ 113 h 167"/>
                <a:gd name="T58" fmla="*/ 151 w 203"/>
                <a:gd name="T59" fmla="*/ 127 h 167"/>
                <a:gd name="T60" fmla="*/ 142 w 203"/>
                <a:gd name="T61" fmla="*/ 127 h 167"/>
                <a:gd name="T62" fmla="*/ 140 w 203"/>
                <a:gd name="T63" fmla="*/ 122 h 167"/>
                <a:gd name="T64" fmla="*/ 123 w 203"/>
                <a:gd name="T65" fmla="*/ 122 h 167"/>
                <a:gd name="T66" fmla="*/ 116 w 203"/>
                <a:gd name="T67" fmla="*/ 127 h 167"/>
                <a:gd name="T68" fmla="*/ 109 w 203"/>
                <a:gd name="T69" fmla="*/ 134 h 167"/>
                <a:gd name="T70" fmla="*/ 104 w 203"/>
                <a:gd name="T71" fmla="*/ 148 h 167"/>
                <a:gd name="T72" fmla="*/ 99 w 203"/>
                <a:gd name="T73" fmla="*/ 156 h 167"/>
                <a:gd name="T74" fmla="*/ 97 w 203"/>
                <a:gd name="T75" fmla="*/ 156 h 167"/>
                <a:gd name="T76" fmla="*/ 88 w 203"/>
                <a:gd name="T77" fmla="*/ 163 h 167"/>
                <a:gd name="T78" fmla="*/ 76 w 203"/>
                <a:gd name="T79" fmla="*/ 163 h 167"/>
                <a:gd name="T80" fmla="*/ 71 w 203"/>
                <a:gd name="T81" fmla="*/ 165 h 167"/>
                <a:gd name="T82" fmla="*/ 69 w 203"/>
                <a:gd name="T83" fmla="*/ 165 h 167"/>
                <a:gd name="T84" fmla="*/ 62 w 203"/>
                <a:gd name="T85" fmla="*/ 167 h 167"/>
                <a:gd name="T86" fmla="*/ 57 w 203"/>
                <a:gd name="T87" fmla="*/ 165 h 167"/>
                <a:gd name="T88" fmla="*/ 47 w 203"/>
                <a:gd name="T89" fmla="*/ 158 h 167"/>
                <a:gd name="T90" fmla="*/ 47 w 203"/>
                <a:gd name="T91" fmla="*/ 146 h 167"/>
                <a:gd name="T92" fmla="*/ 43 w 203"/>
                <a:gd name="T93" fmla="*/ 144 h 167"/>
                <a:gd name="T94" fmla="*/ 40 w 203"/>
                <a:gd name="T95" fmla="*/ 139 h 167"/>
                <a:gd name="T96" fmla="*/ 31 w 203"/>
                <a:gd name="T97" fmla="*/ 132 h 167"/>
                <a:gd name="T98" fmla="*/ 0 w 203"/>
                <a:gd name="T99" fmla="*/ 132 h 167"/>
                <a:gd name="T100" fmla="*/ 0 w 203"/>
                <a:gd name="T101" fmla="*/ 115 h 167"/>
                <a:gd name="T102" fmla="*/ 0 w 203"/>
                <a:gd name="T103" fmla="*/ 92 h 167"/>
                <a:gd name="T104" fmla="*/ 7 w 203"/>
                <a:gd name="T105" fmla="*/ 78 h 167"/>
                <a:gd name="T106" fmla="*/ 14 w 203"/>
                <a:gd name="T107" fmla="*/ 68 h 167"/>
                <a:gd name="T108" fmla="*/ 17 w 203"/>
                <a:gd name="T109" fmla="*/ 66 h 167"/>
                <a:gd name="T110" fmla="*/ 14 w 203"/>
                <a:gd name="T111" fmla="*/ 61 h 167"/>
                <a:gd name="T112" fmla="*/ 17 w 203"/>
                <a:gd name="T113" fmla="*/ 59 h 167"/>
                <a:gd name="T114" fmla="*/ 17 w 203"/>
                <a:gd name="T115" fmla="*/ 47 h 167"/>
                <a:gd name="T116" fmla="*/ 12 w 203"/>
                <a:gd name="T117" fmla="*/ 4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7">
                  <a:moveTo>
                    <a:pt x="14" y="35"/>
                  </a:moveTo>
                  <a:lnTo>
                    <a:pt x="14" y="33"/>
                  </a:lnTo>
                  <a:lnTo>
                    <a:pt x="14" y="26"/>
                  </a:lnTo>
                  <a:lnTo>
                    <a:pt x="14" y="23"/>
                  </a:lnTo>
                  <a:lnTo>
                    <a:pt x="14" y="21"/>
                  </a:lnTo>
                  <a:lnTo>
                    <a:pt x="17" y="21"/>
                  </a:lnTo>
                  <a:lnTo>
                    <a:pt x="19" y="19"/>
                  </a:lnTo>
                  <a:lnTo>
                    <a:pt x="21" y="16"/>
                  </a:lnTo>
                  <a:lnTo>
                    <a:pt x="24" y="11"/>
                  </a:lnTo>
                  <a:lnTo>
                    <a:pt x="24" y="7"/>
                  </a:lnTo>
                  <a:lnTo>
                    <a:pt x="24" y="4"/>
                  </a:lnTo>
                  <a:lnTo>
                    <a:pt x="28" y="2"/>
                  </a:lnTo>
                  <a:lnTo>
                    <a:pt x="36" y="0"/>
                  </a:lnTo>
                  <a:lnTo>
                    <a:pt x="40" y="0"/>
                  </a:lnTo>
                  <a:lnTo>
                    <a:pt x="43" y="0"/>
                  </a:lnTo>
                  <a:lnTo>
                    <a:pt x="45" y="0"/>
                  </a:lnTo>
                  <a:lnTo>
                    <a:pt x="50" y="0"/>
                  </a:lnTo>
                  <a:lnTo>
                    <a:pt x="62" y="4"/>
                  </a:lnTo>
                  <a:lnTo>
                    <a:pt x="69" y="11"/>
                  </a:lnTo>
                  <a:lnTo>
                    <a:pt x="71" y="14"/>
                  </a:lnTo>
                  <a:lnTo>
                    <a:pt x="73" y="14"/>
                  </a:lnTo>
                  <a:lnTo>
                    <a:pt x="76" y="14"/>
                  </a:lnTo>
                  <a:lnTo>
                    <a:pt x="78" y="11"/>
                  </a:lnTo>
                  <a:lnTo>
                    <a:pt x="83" y="9"/>
                  </a:lnTo>
                  <a:lnTo>
                    <a:pt x="85" y="7"/>
                  </a:lnTo>
                  <a:lnTo>
                    <a:pt x="90" y="7"/>
                  </a:lnTo>
                  <a:lnTo>
                    <a:pt x="95" y="11"/>
                  </a:lnTo>
                  <a:lnTo>
                    <a:pt x="104" y="16"/>
                  </a:lnTo>
                  <a:lnTo>
                    <a:pt x="106" y="16"/>
                  </a:lnTo>
                  <a:lnTo>
                    <a:pt x="114" y="16"/>
                  </a:lnTo>
                  <a:lnTo>
                    <a:pt x="118" y="16"/>
                  </a:lnTo>
                  <a:lnTo>
                    <a:pt x="123" y="14"/>
                  </a:lnTo>
                  <a:lnTo>
                    <a:pt x="128" y="9"/>
                  </a:lnTo>
                  <a:lnTo>
                    <a:pt x="130" y="7"/>
                  </a:lnTo>
                  <a:lnTo>
                    <a:pt x="140" y="7"/>
                  </a:lnTo>
                  <a:lnTo>
                    <a:pt x="144" y="9"/>
                  </a:lnTo>
                  <a:lnTo>
                    <a:pt x="149" y="7"/>
                  </a:lnTo>
                  <a:lnTo>
                    <a:pt x="154" y="7"/>
                  </a:lnTo>
                  <a:lnTo>
                    <a:pt x="156" y="7"/>
                  </a:lnTo>
                  <a:lnTo>
                    <a:pt x="158" y="9"/>
                  </a:lnTo>
                  <a:lnTo>
                    <a:pt x="161" y="9"/>
                  </a:lnTo>
                  <a:lnTo>
                    <a:pt x="163" y="9"/>
                  </a:lnTo>
                  <a:lnTo>
                    <a:pt x="168" y="9"/>
                  </a:lnTo>
                  <a:lnTo>
                    <a:pt x="170" y="9"/>
                  </a:lnTo>
                  <a:lnTo>
                    <a:pt x="173" y="7"/>
                  </a:lnTo>
                  <a:lnTo>
                    <a:pt x="173" y="4"/>
                  </a:lnTo>
                  <a:lnTo>
                    <a:pt x="175" y="4"/>
                  </a:lnTo>
                  <a:lnTo>
                    <a:pt x="177" y="4"/>
                  </a:lnTo>
                  <a:lnTo>
                    <a:pt x="180" y="4"/>
                  </a:lnTo>
                  <a:lnTo>
                    <a:pt x="180" y="0"/>
                  </a:lnTo>
                  <a:lnTo>
                    <a:pt x="182" y="0"/>
                  </a:lnTo>
                  <a:lnTo>
                    <a:pt x="182" y="0"/>
                  </a:lnTo>
                  <a:lnTo>
                    <a:pt x="182" y="2"/>
                  </a:lnTo>
                  <a:lnTo>
                    <a:pt x="184" y="4"/>
                  </a:lnTo>
                  <a:lnTo>
                    <a:pt x="187" y="9"/>
                  </a:lnTo>
                  <a:lnTo>
                    <a:pt x="189" y="9"/>
                  </a:lnTo>
                  <a:lnTo>
                    <a:pt x="191" y="11"/>
                  </a:lnTo>
                  <a:lnTo>
                    <a:pt x="194" y="19"/>
                  </a:lnTo>
                  <a:lnTo>
                    <a:pt x="196" y="21"/>
                  </a:lnTo>
                  <a:lnTo>
                    <a:pt x="199" y="23"/>
                  </a:lnTo>
                  <a:lnTo>
                    <a:pt x="201" y="23"/>
                  </a:lnTo>
                  <a:lnTo>
                    <a:pt x="201" y="26"/>
                  </a:lnTo>
                  <a:lnTo>
                    <a:pt x="203" y="26"/>
                  </a:lnTo>
                  <a:lnTo>
                    <a:pt x="203" y="28"/>
                  </a:lnTo>
                  <a:lnTo>
                    <a:pt x="203" y="33"/>
                  </a:lnTo>
                  <a:lnTo>
                    <a:pt x="203" y="37"/>
                  </a:lnTo>
                  <a:lnTo>
                    <a:pt x="196" y="40"/>
                  </a:lnTo>
                  <a:lnTo>
                    <a:pt x="196" y="42"/>
                  </a:lnTo>
                  <a:lnTo>
                    <a:pt x="191" y="44"/>
                  </a:lnTo>
                  <a:lnTo>
                    <a:pt x="189" y="44"/>
                  </a:lnTo>
                  <a:lnTo>
                    <a:pt x="187" y="47"/>
                  </a:lnTo>
                  <a:lnTo>
                    <a:pt x="187" y="49"/>
                  </a:lnTo>
                  <a:lnTo>
                    <a:pt x="184" y="52"/>
                  </a:lnTo>
                  <a:lnTo>
                    <a:pt x="182" y="59"/>
                  </a:lnTo>
                  <a:lnTo>
                    <a:pt x="180" y="63"/>
                  </a:lnTo>
                  <a:lnTo>
                    <a:pt x="177" y="68"/>
                  </a:lnTo>
                  <a:lnTo>
                    <a:pt x="177" y="70"/>
                  </a:lnTo>
                  <a:lnTo>
                    <a:pt x="175" y="80"/>
                  </a:lnTo>
                  <a:lnTo>
                    <a:pt x="175" y="85"/>
                  </a:lnTo>
                  <a:lnTo>
                    <a:pt x="175" y="87"/>
                  </a:lnTo>
                  <a:lnTo>
                    <a:pt x="173" y="87"/>
                  </a:lnTo>
                  <a:lnTo>
                    <a:pt x="168" y="89"/>
                  </a:lnTo>
                  <a:lnTo>
                    <a:pt x="166" y="94"/>
                  </a:lnTo>
                  <a:lnTo>
                    <a:pt x="163" y="99"/>
                  </a:lnTo>
                  <a:lnTo>
                    <a:pt x="163" y="104"/>
                  </a:lnTo>
                  <a:lnTo>
                    <a:pt x="161" y="106"/>
                  </a:lnTo>
                  <a:lnTo>
                    <a:pt x="158" y="113"/>
                  </a:lnTo>
                  <a:lnTo>
                    <a:pt x="154" y="122"/>
                  </a:lnTo>
                  <a:lnTo>
                    <a:pt x="151" y="125"/>
                  </a:lnTo>
                  <a:lnTo>
                    <a:pt x="151" y="127"/>
                  </a:lnTo>
                  <a:lnTo>
                    <a:pt x="149" y="130"/>
                  </a:lnTo>
                  <a:lnTo>
                    <a:pt x="144" y="130"/>
                  </a:lnTo>
                  <a:lnTo>
                    <a:pt x="142" y="127"/>
                  </a:lnTo>
                  <a:lnTo>
                    <a:pt x="140" y="125"/>
                  </a:lnTo>
                  <a:lnTo>
                    <a:pt x="140" y="125"/>
                  </a:lnTo>
                  <a:lnTo>
                    <a:pt x="140" y="122"/>
                  </a:lnTo>
                  <a:lnTo>
                    <a:pt x="135" y="120"/>
                  </a:lnTo>
                  <a:lnTo>
                    <a:pt x="130" y="120"/>
                  </a:lnTo>
                  <a:lnTo>
                    <a:pt x="123" y="122"/>
                  </a:lnTo>
                  <a:lnTo>
                    <a:pt x="118" y="122"/>
                  </a:lnTo>
                  <a:lnTo>
                    <a:pt x="118" y="122"/>
                  </a:lnTo>
                  <a:lnTo>
                    <a:pt x="116" y="127"/>
                  </a:lnTo>
                  <a:lnTo>
                    <a:pt x="114" y="130"/>
                  </a:lnTo>
                  <a:lnTo>
                    <a:pt x="111" y="132"/>
                  </a:lnTo>
                  <a:lnTo>
                    <a:pt x="109" y="134"/>
                  </a:lnTo>
                  <a:lnTo>
                    <a:pt x="106" y="139"/>
                  </a:lnTo>
                  <a:lnTo>
                    <a:pt x="104" y="144"/>
                  </a:lnTo>
                  <a:lnTo>
                    <a:pt x="104" y="148"/>
                  </a:lnTo>
                  <a:lnTo>
                    <a:pt x="104" y="151"/>
                  </a:lnTo>
                  <a:lnTo>
                    <a:pt x="102" y="156"/>
                  </a:lnTo>
                  <a:lnTo>
                    <a:pt x="99" y="156"/>
                  </a:lnTo>
                  <a:lnTo>
                    <a:pt x="99" y="158"/>
                  </a:lnTo>
                  <a:lnTo>
                    <a:pt x="97" y="158"/>
                  </a:lnTo>
                  <a:lnTo>
                    <a:pt x="97" y="156"/>
                  </a:lnTo>
                  <a:lnTo>
                    <a:pt x="95" y="160"/>
                  </a:lnTo>
                  <a:lnTo>
                    <a:pt x="95" y="163"/>
                  </a:lnTo>
                  <a:lnTo>
                    <a:pt x="88" y="163"/>
                  </a:lnTo>
                  <a:lnTo>
                    <a:pt x="83" y="163"/>
                  </a:lnTo>
                  <a:lnTo>
                    <a:pt x="76" y="160"/>
                  </a:lnTo>
                  <a:lnTo>
                    <a:pt x="76" y="163"/>
                  </a:lnTo>
                  <a:lnTo>
                    <a:pt x="73" y="163"/>
                  </a:lnTo>
                  <a:lnTo>
                    <a:pt x="73" y="165"/>
                  </a:lnTo>
                  <a:lnTo>
                    <a:pt x="71" y="165"/>
                  </a:lnTo>
                  <a:lnTo>
                    <a:pt x="71" y="165"/>
                  </a:lnTo>
                  <a:lnTo>
                    <a:pt x="69" y="165"/>
                  </a:lnTo>
                  <a:lnTo>
                    <a:pt x="69" y="165"/>
                  </a:lnTo>
                  <a:lnTo>
                    <a:pt x="66" y="165"/>
                  </a:lnTo>
                  <a:lnTo>
                    <a:pt x="66" y="165"/>
                  </a:lnTo>
                  <a:lnTo>
                    <a:pt x="62" y="167"/>
                  </a:lnTo>
                  <a:lnTo>
                    <a:pt x="59" y="165"/>
                  </a:lnTo>
                  <a:lnTo>
                    <a:pt x="57" y="165"/>
                  </a:lnTo>
                  <a:lnTo>
                    <a:pt x="57" y="165"/>
                  </a:lnTo>
                  <a:lnTo>
                    <a:pt x="52" y="165"/>
                  </a:lnTo>
                  <a:lnTo>
                    <a:pt x="52" y="163"/>
                  </a:lnTo>
                  <a:lnTo>
                    <a:pt x="47" y="158"/>
                  </a:lnTo>
                  <a:lnTo>
                    <a:pt x="45" y="151"/>
                  </a:lnTo>
                  <a:lnTo>
                    <a:pt x="45" y="148"/>
                  </a:lnTo>
                  <a:lnTo>
                    <a:pt x="47" y="146"/>
                  </a:lnTo>
                  <a:lnTo>
                    <a:pt x="45" y="146"/>
                  </a:lnTo>
                  <a:lnTo>
                    <a:pt x="43" y="146"/>
                  </a:lnTo>
                  <a:lnTo>
                    <a:pt x="43" y="144"/>
                  </a:lnTo>
                  <a:lnTo>
                    <a:pt x="40" y="141"/>
                  </a:lnTo>
                  <a:lnTo>
                    <a:pt x="40" y="139"/>
                  </a:lnTo>
                  <a:lnTo>
                    <a:pt x="40" y="139"/>
                  </a:lnTo>
                  <a:lnTo>
                    <a:pt x="38" y="139"/>
                  </a:lnTo>
                  <a:lnTo>
                    <a:pt x="36" y="134"/>
                  </a:lnTo>
                  <a:lnTo>
                    <a:pt x="31" y="132"/>
                  </a:lnTo>
                  <a:lnTo>
                    <a:pt x="26" y="130"/>
                  </a:lnTo>
                  <a:lnTo>
                    <a:pt x="19" y="130"/>
                  </a:lnTo>
                  <a:lnTo>
                    <a:pt x="0" y="132"/>
                  </a:lnTo>
                  <a:lnTo>
                    <a:pt x="0" y="130"/>
                  </a:lnTo>
                  <a:lnTo>
                    <a:pt x="0" y="118"/>
                  </a:lnTo>
                  <a:lnTo>
                    <a:pt x="0" y="115"/>
                  </a:lnTo>
                  <a:lnTo>
                    <a:pt x="0" y="108"/>
                  </a:lnTo>
                  <a:lnTo>
                    <a:pt x="0" y="99"/>
                  </a:lnTo>
                  <a:lnTo>
                    <a:pt x="0" y="92"/>
                  </a:lnTo>
                  <a:lnTo>
                    <a:pt x="3" y="89"/>
                  </a:lnTo>
                  <a:lnTo>
                    <a:pt x="7" y="82"/>
                  </a:lnTo>
                  <a:lnTo>
                    <a:pt x="7" y="78"/>
                  </a:lnTo>
                  <a:lnTo>
                    <a:pt x="7" y="75"/>
                  </a:lnTo>
                  <a:lnTo>
                    <a:pt x="10" y="70"/>
                  </a:lnTo>
                  <a:lnTo>
                    <a:pt x="14" y="68"/>
                  </a:lnTo>
                  <a:lnTo>
                    <a:pt x="14" y="66"/>
                  </a:lnTo>
                  <a:lnTo>
                    <a:pt x="17" y="66"/>
                  </a:lnTo>
                  <a:lnTo>
                    <a:pt x="17" y="66"/>
                  </a:lnTo>
                  <a:lnTo>
                    <a:pt x="17" y="63"/>
                  </a:lnTo>
                  <a:lnTo>
                    <a:pt x="14" y="63"/>
                  </a:lnTo>
                  <a:lnTo>
                    <a:pt x="14" y="61"/>
                  </a:lnTo>
                  <a:lnTo>
                    <a:pt x="14" y="59"/>
                  </a:lnTo>
                  <a:lnTo>
                    <a:pt x="17" y="59"/>
                  </a:lnTo>
                  <a:lnTo>
                    <a:pt x="17" y="59"/>
                  </a:lnTo>
                  <a:lnTo>
                    <a:pt x="17" y="59"/>
                  </a:lnTo>
                  <a:lnTo>
                    <a:pt x="17" y="52"/>
                  </a:lnTo>
                  <a:lnTo>
                    <a:pt x="17" y="47"/>
                  </a:lnTo>
                  <a:lnTo>
                    <a:pt x="17" y="47"/>
                  </a:lnTo>
                  <a:lnTo>
                    <a:pt x="14" y="42"/>
                  </a:lnTo>
                  <a:lnTo>
                    <a:pt x="12" y="42"/>
                  </a:lnTo>
                  <a:lnTo>
                    <a:pt x="14" y="37"/>
                  </a:lnTo>
                  <a:lnTo>
                    <a:pt x="14" y="3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1" name="Freeform 242">
              <a:extLst>
                <a:ext uri="{FF2B5EF4-FFF2-40B4-BE49-F238E27FC236}">
                  <a16:creationId xmlns:a16="http://schemas.microsoft.com/office/drawing/2014/main" id="{A55E0F71-F83B-438D-920C-6F352B81C179}"/>
                </a:ext>
              </a:extLst>
            </p:cNvPr>
            <p:cNvSpPr>
              <a:spLocks/>
            </p:cNvSpPr>
            <p:nvPr/>
          </p:nvSpPr>
          <p:spPr bwMode="auto">
            <a:xfrm>
              <a:off x="1353392" y="4148104"/>
              <a:ext cx="322263" cy="265113"/>
            </a:xfrm>
            <a:custGeom>
              <a:avLst/>
              <a:gdLst>
                <a:gd name="T0" fmla="*/ 14 w 203"/>
                <a:gd name="T1" fmla="*/ 26 h 167"/>
                <a:gd name="T2" fmla="*/ 17 w 203"/>
                <a:gd name="T3" fmla="*/ 21 h 167"/>
                <a:gd name="T4" fmla="*/ 24 w 203"/>
                <a:gd name="T5" fmla="*/ 11 h 167"/>
                <a:gd name="T6" fmla="*/ 28 w 203"/>
                <a:gd name="T7" fmla="*/ 2 h 167"/>
                <a:gd name="T8" fmla="*/ 43 w 203"/>
                <a:gd name="T9" fmla="*/ 0 h 167"/>
                <a:gd name="T10" fmla="*/ 62 w 203"/>
                <a:gd name="T11" fmla="*/ 4 h 167"/>
                <a:gd name="T12" fmla="*/ 73 w 203"/>
                <a:gd name="T13" fmla="*/ 14 h 167"/>
                <a:gd name="T14" fmla="*/ 83 w 203"/>
                <a:gd name="T15" fmla="*/ 9 h 167"/>
                <a:gd name="T16" fmla="*/ 95 w 203"/>
                <a:gd name="T17" fmla="*/ 11 h 167"/>
                <a:gd name="T18" fmla="*/ 114 w 203"/>
                <a:gd name="T19" fmla="*/ 16 h 167"/>
                <a:gd name="T20" fmla="*/ 128 w 203"/>
                <a:gd name="T21" fmla="*/ 9 h 167"/>
                <a:gd name="T22" fmla="*/ 144 w 203"/>
                <a:gd name="T23" fmla="*/ 9 h 167"/>
                <a:gd name="T24" fmla="*/ 156 w 203"/>
                <a:gd name="T25" fmla="*/ 7 h 167"/>
                <a:gd name="T26" fmla="*/ 163 w 203"/>
                <a:gd name="T27" fmla="*/ 9 h 167"/>
                <a:gd name="T28" fmla="*/ 173 w 203"/>
                <a:gd name="T29" fmla="*/ 7 h 167"/>
                <a:gd name="T30" fmla="*/ 177 w 203"/>
                <a:gd name="T31" fmla="*/ 4 h 167"/>
                <a:gd name="T32" fmla="*/ 182 w 203"/>
                <a:gd name="T33" fmla="*/ 0 h 167"/>
                <a:gd name="T34" fmla="*/ 184 w 203"/>
                <a:gd name="T35" fmla="*/ 4 h 167"/>
                <a:gd name="T36" fmla="*/ 191 w 203"/>
                <a:gd name="T37" fmla="*/ 11 h 167"/>
                <a:gd name="T38" fmla="*/ 199 w 203"/>
                <a:gd name="T39" fmla="*/ 23 h 167"/>
                <a:gd name="T40" fmla="*/ 203 w 203"/>
                <a:gd name="T41" fmla="*/ 26 h 167"/>
                <a:gd name="T42" fmla="*/ 203 w 203"/>
                <a:gd name="T43" fmla="*/ 37 h 167"/>
                <a:gd name="T44" fmla="*/ 191 w 203"/>
                <a:gd name="T45" fmla="*/ 44 h 167"/>
                <a:gd name="T46" fmla="*/ 187 w 203"/>
                <a:gd name="T47" fmla="*/ 49 h 167"/>
                <a:gd name="T48" fmla="*/ 180 w 203"/>
                <a:gd name="T49" fmla="*/ 63 h 167"/>
                <a:gd name="T50" fmla="*/ 175 w 203"/>
                <a:gd name="T51" fmla="*/ 80 h 167"/>
                <a:gd name="T52" fmla="*/ 173 w 203"/>
                <a:gd name="T53" fmla="*/ 87 h 167"/>
                <a:gd name="T54" fmla="*/ 163 w 203"/>
                <a:gd name="T55" fmla="*/ 99 h 167"/>
                <a:gd name="T56" fmla="*/ 158 w 203"/>
                <a:gd name="T57" fmla="*/ 113 h 167"/>
                <a:gd name="T58" fmla="*/ 151 w 203"/>
                <a:gd name="T59" fmla="*/ 127 h 167"/>
                <a:gd name="T60" fmla="*/ 142 w 203"/>
                <a:gd name="T61" fmla="*/ 127 h 167"/>
                <a:gd name="T62" fmla="*/ 140 w 203"/>
                <a:gd name="T63" fmla="*/ 122 h 167"/>
                <a:gd name="T64" fmla="*/ 123 w 203"/>
                <a:gd name="T65" fmla="*/ 122 h 167"/>
                <a:gd name="T66" fmla="*/ 116 w 203"/>
                <a:gd name="T67" fmla="*/ 127 h 167"/>
                <a:gd name="T68" fmla="*/ 109 w 203"/>
                <a:gd name="T69" fmla="*/ 134 h 167"/>
                <a:gd name="T70" fmla="*/ 104 w 203"/>
                <a:gd name="T71" fmla="*/ 148 h 167"/>
                <a:gd name="T72" fmla="*/ 99 w 203"/>
                <a:gd name="T73" fmla="*/ 156 h 167"/>
                <a:gd name="T74" fmla="*/ 97 w 203"/>
                <a:gd name="T75" fmla="*/ 156 h 167"/>
                <a:gd name="T76" fmla="*/ 88 w 203"/>
                <a:gd name="T77" fmla="*/ 163 h 167"/>
                <a:gd name="T78" fmla="*/ 76 w 203"/>
                <a:gd name="T79" fmla="*/ 163 h 167"/>
                <a:gd name="T80" fmla="*/ 71 w 203"/>
                <a:gd name="T81" fmla="*/ 165 h 167"/>
                <a:gd name="T82" fmla="*/ 69 w 203"/>
                <a:gd name="T83" fmla="*/ 165 h 167"/>
                <a:gd name="T84" fmla="*/ 62 w 203"/>
                <a:gd name="T85" fmla="*/ 167 h 167"/>
                <a:gd name="T86" fmla="*/ 57 w 203"/>
                <a:gd name="T87" fmla="*/ 165 h 167"/>
                <a:gd name="T88" fmla="*/ 47 w 203"/>
                <a:gd name="T89" fmla="*/ 158 h 167"/>
                <a:gd name="T90" fmla="*/ 47 w 203"/>
                <a:gd name="T91" fmla="*/ 146 h 167"/>
                <a:gd name="T92" fmla="*/ 43 w 203"/>
                <a:gd name="T93" fmla="*/ 144 h 167"/>
                <a:gd name="T94" fmla="*/ 40 w 203"/>
                <a:gd name="T95" fmla="*/ 139 h 167"/>
                <a:gd name="T96" fmla="*/ 31 w 203"/>
                <a:gd name="T97" fmla="*/ 132 h 167"/>
                <a:gd name="T98" fmla="*/ 0 w 203"/>
                <a:gd name="T99" fmla="*/ 132 h 167"/>
                <a:gd name="T100" fmla="*/ 0 w 203"/>
                <a:gd name="T101" fmla="*/ 115 h 167"/>
                <a:gd name="T102" fmla="*/ 0 w 203"/>
                <a:gd name="T103" fmla="*/ 92 h 167"/>
                <a:gd name="T104" fmla="*/ 7 w 203"/>
                <a:gd name="T105" fmla="*/ 78 h 167"/>
                <a:gd name="T106" fmla="*/ 14 w 203"/>
                <a:gd name="T107" fmla="*/ 68 h 167"/>
                <a:gd name="T108" fmla="*/ 17 w 203"/>
                <a:gd name="T109" fmla="*/ 66 h 167"/>
                <a:gd name="T110" fmla="*/ 14 w 203"/>
                <a:gd name="T111" fmla="*/ 61 h 167"/>
                <a:gd name="T112" fmla="*/ 17 w 203"/>
                <a:gd name="T113" fmla="*/ 59 h 167"/>
                <a:gd name="T114" fmla="*/ 17 w 203"/>
                <a:gd name="T115" fmla="*/ 47 h 167"/>
                <a:gd name="T116" fmla="*/ 12 w 203"/>
                <a:gd name="T117" fmla="*/ 4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7">
                  <a:moveTo>
                    <a:pt x="14" y="35"/>
                  </a:moveTo>
                  <a:lnTo>
                    <a:pt x="14" y="33"/>
                  </a:lnTo>
                  <a:lnTo>
                    <a:pt x="14" y="26"/>
                  </a:lnTo>
                  <a:lnTo>
                    <a:pt x="14" y="23"/>
                  </a:lnTo>
                  <a:lnTo>
                    <a:pt x="14" y="21"/>
                  </a:lnTo>
                  <a:lnTo>
                    <a:pt x="17" y="21"/>
                  </a:lnTo>
                  <a:lnTo>
                    <a:pt x="19" y="19"/>
                  </a:lnTo>
                  <a:lnTo>
                    <a:pt x="21" y="16"/>
                  </a:lnTo>
                  <a:lnTo>
                    <a:pt x="24" y="11"/>
                  </a:lnTo>
                  <a:lnTo>
                    <a:pt x="24" y="7"/>
                  </a:lnTo>
                  <a:lnTo>
                    <a:pt x="24" y="4"/>
                  </a:lnTo>
                  <a:lnTo>
                    <a:pt x="28" y="2"/>
                  </a:lnTo>
                  <a:lnTo>
                    <a:pt x="36" y="0"/>
                  </a:lnTo>
                  <a:lnTo>
                    <a:pt x="40" y="0"/>
                  </a:lnTo>
                  <a:lnTo>
                    <a:pt x="43" y="0"/>
                  </a:lnTo>
                  <a:lnTo>
                    <a:pt x="45" y="0"/>
                  </a:lnTo>
                  <a:lnTo>
                    <a:pt x="50" y="0"/>
                  </a:lnTo>
                  <a:lnTo>
                    <a:pt x="62" y="4"/>
                  </a:lnTo>
                  <a:lnTo>
                    <a:pt x="69" y="11"/>
                  </a:lnTo>
                  <a:lnTo>
                    <a:pt x="71" y="14"/>
                  </a:lnTo>
                  <a:lnTo>
                    <a:pt x="73" y="14"/>
                  </a:lnTo>
                  <a:lnTo>
                    <a:pt x="76" y="14"/>
                  </a:lnTo>
                  <a:lnTo>
                    <a:pt x="78" y="11"/>
                  </a:lnTo>
                  <a:lnTo>
                    <a:pt x="83" y="9"/>
                  </a:lnTo>
                  <a:lnTo>
                    <a:pt x="85" y="7"/>
                  </a:lnTo>
                  <a:lnTo>
                    <a:pt x="90" y="7"/>
                  </a:lnTo>
                  <a:lnTo>
                    <a:pt x="95" y="11"/>
                  </a:lnTo>
                  <a:lnTo>
                    <a:pt x="104" y="16"/>
                  </a:lnTo>
                  <a:lnTo>
                    <a:pt x="106" y="16"/>
                  </a:lnTo>
                  <a:lnTo>
                    <a:pt x="114" y="16"/>
                  </a:lnTo>
                  <a:lnTo>
                    <a:pt x="118" y="16"/>
                  </a:lnTo>
                  <a:lnTo>
                    <a:pt x="123" y="14"/>
                  </a:lnTo>
                  <a:lnTo>
                    <a:pt x="128" y="9"/>
                  </a:lnTo>
                  <a:lnTo>
                    <a:pt x="130" y="7"/>
                  </a:lnTo>
                  <a:lnTo>
                    <a:pt x="140" y="7"/>
                  </a:lnTo>
                  <a:lnTo>
                    <a:pt x="144" y="9"/>
                  </a:lnTo>
                  <a:lnTo>
                    <a:pt x="149" y="7"/>
                  </a:lnTo>
                  <a:lnTo>
                    <a:pt x="154" y="7"/>
                  </a:lnTo>
                  <a:lnTo>
                    <a:pt x="156" y="7"/>
                  </a:lnTo>
                  <a:lnTo>
                    <a:pt x="158" y="9"/>
                  </a:lnTo>
                  <a:lnTo>
                    <a:pt x="161" y="9"/>
                  </a:lnTo>
                  <a:lnTo>
                    <a:pt x="163" y="9"/>
                  </a:lnTo>
                  <a:lnTo>
                    <a:pt x="168" y="9"/>
                  </a:lnTo>
                  <a:lnTo>
                    <a:pt x="170" y="9"/>
                  </a:lnTo>
                  <a:lnTo>
                    <a:pt x="173" y="7"/>
                  </a:lnTo>
                  <a:lnTo>
                    <a:pt x="173" y="4"/>
                  </a:lnTo>
                  <a:lnTo>
                    <a:pt x="175" y="4"/>
                  </a:lnTo>
                  <a:lnTo>
                    <a:pt x="177" y="4"/>
                  </a:lnTo>
                  <a:lnTo>
                    <a:pt x="180" y="4"/>
                  </a:lnTo>
                  <a:lnTo>
                    <a:pt x="180" y="0"/>
                  </a:lnTo>
                  <a:lnTo>
                    <a:pt x="182" y="0"/>
                  </a:lnTo>
                  <a:lnTo>
                    <a:pt x="182" y="0"/>
                  </a:lnTo>
                  <a:lnTo>
                    <a:pt x="182" y="2"/>
                  </a:lnTo>
                  <a:lnTo>
                    <a:pt x="184" y="4"/>
                  </a:lnTo>
                  <a:lnTo>
                    <a:pt x="187" y="9"/>
                  </a:lnTo>
                  <a:lnTo>
                    <a:pt x="189" y="9"/>
                  </a:lnTo>
                  <a:lnTo>
                    <a:pt x="191" y="11"/>
                  </a:lnTo>
                  <a:lnTo>
                    <a:pt x="194" y="19"/>
                  </a:lnTo>
                  <a:lnTo>
                    <a:pt x="196" y="21"/>
                  </a:lnTo>
                  <a:lnTo>
                    <a:pt x="199" y="23"/>
                  </a:lnTo>
                  <a:lnTo>
                    <a:pt x="201" y="23"/>
                  </a:lnTo>
                  <a:lnTo>
                    <a:pt x="201" y="26"/>
                  </a:lnTo>
                  <a:lnTo>
                    <a:pt x="203" y="26"/>
                  </a:lnTo>
                  <a:lnTo>
                    <a:pt x="203" y="28"/>
                  </a:lnTo>
                  <a:lnTo>
                    <a:pt x="203" y="33"/>
                  </a:lnTo>
                  <a:lnTo>
                    <a:pt x="203" y="37"/>
                  </a:lnTo>
                  <a:lnTo>
                    <a:pt x="196" y="40"/>
                  </a:lnTo>
                  <a:lnTo>
                    <a:pt x="196" y="42"/>
                  </a:lnTo>
                  <a:lnTo>
                    <a:pt x="191" y="44"/>
                  </a:lnTo>
                  <a:lnTo>
                    <a:pt x="189" y="44"/>
                  </a:lnTo>
                  <a:lnTo>
                    <a:pt x="187" y="47"/>
                  </a:lnTo>
                  <a:lnTo>
                    <a:pt x="187" y="49"/>
                  </a:lnTo>
                  <a:lnTo>
                    <a:pt x="184" y="52"/>
                  </a:lnTo>
                  <a:lnTo>
                    <a:pt x="182" y="59"/>
                  </a:lnTo>
                  <a:lnTo>
                    <a:pt x="180" y="63"/>
                  </a:lnTo>
                  <a:lnTo>
                    <a:pt x="177" y="68"/>
                  </a:lnTo>
                  <a:lnTo>
                    <a:pt x="177" y="70"/>
                  </a:lnTo>
                  <a:lnTo>
                    <a:pt x="175" y="80"/>
                  </a:lnTo>
                  <a:lnTo>
                    <a:pt x="175" y="85"/>
                  </a:lnTo>
                  <a:lnTo>
                    <a:pt x="175" y="87"/>
                  </a:lnTo>
                  <a:lnTo>
                    <a:pt x="173" y="87"/>
                  </a:lnTo>
                  <a:lnTo>
                    <a:pt x="168" y="89"/>
                  </a:lnTo>
                  <a:lnTo>
                    <a:pt x="166" y="94"/>
                  </a:lnTo>
                  <a:lnTo>
                    <a:pt x="163" y="99"/>
                  </a:lnTo>
                  <a:lnTo>
                    <a:pt x="163" y="104"/>
                  </a:lnTo>
                  <a:lnTo>
                    <a:pt x="161" y="106"/>
                  </a:lnTo>
                  <a:lnTo>
                    <a:pt x="158" y="113"/>
                  </a:lnTo>
                  <a:lnTo>
                    <a:pt x="154" y="122"/>
                  </a:lnTo>
                  <a:lnTo>
                    <a:pt x="151" y="125"/>
                  </a:lnTo>
                  <a:lnTo>
                    <a:pt x="151" y="127"/>
                  </a:lnTo>
                  <a:lnTo>
                    <a:pt x="149" y="130"/>
                  </a:lnTo>
                  <a:lnTo>
                    <a:pt x="144" y="130"/>
                  </a:lnTo>
                  <a:lnTo>
                    <a:pt x="142" y="127"/>
                  </a:lnTo>
                  <a:lnTo>
                    <a:pt x="140" y="125"/>
                  </a:lnTo>
                  <a:lnTo>
                    <a:pt x="140" y="125"/>
                  </a:lnTo>
                  <a:lnTo>
                    <a:pt x="140" y="122"/>
                  </a:lnTo>
                  <a:lnTo>
                    <a:pt x="135" y="120"/>
                  </a:lnTo>
                  <a:lnTo>
                    <a:pt x="130" y="120"/>
                  </a:lnTo>
                  <a:lnTo>
                    <a:pt x="123" y="122"/>
                  </a:lnTo>
                  <a:lnTo>
                    <a:pt x="118" y="122"/>
                  </a:lnTo>
                  <a:lnTo>
                    <a:pt x="118" y="122"/>
                  </a:lnTo>
                  <a:lnTo>
                    <a:pt x="116" y="127"/>
                  </a:lnTo>
                  <a:lnTo>
                    <a:pt x="114" y="130"/>
                  </a:lnTo>
                  <a:lnTo>
                    <a:pt x="111" y="132"/>
                  </a:lnTo>
                  <a:lnTo>
                    <a:pt x="109" y="134"/>
                  </a:lnTo>
                  <a:lnTo>
                    <a:pt x="106" y="139"/>
                  </a:lnTo>
                  <a:lnTo>
                    <a:pt x="104" y="144"/>
                  </a:lnTo>
                  <a:lnTo>
                    <a:pt x="104" y="148"/>
                  </a:lnTo>
                  <a:lnTo>
                    <a:pt x="104" y="151"/>
                  </a:lnTo>
                  <a:lnTo>
                    <a:pt x="102" y="156"/>
                  </a:lnTo>
                  <a:lnTo>
                    <a:pt x="99" y="156"/>
                  </a:lnTo>
                  <a:lnTo>
                    <a:pt x="99" y="158"/>
                  </a:lnTo>
                  <a:lnTo>
                    <a:pt x="97" y="158"/>
                  </a:lnTo>
                  <a:lnTo>
                    <a:pt x="97" y="156"/>
                  </a:lnTo>
                  <a:lnTo>
                    <a:pt x="95" y="160"/>
                  </a:lnTo>
                  <a:lnTo>
                    <a:pt x="95" y="163"/>
                  </a:lnTo>
                  <a:lnTo>
                    <a:pt x="88" y="163"/>
                  </a:lnTo>
                  <a:lnTo>
                    <a:pt x="83" y="163"/>
                  </a:lnTo>
                  <a:lnTo>
                    <a:pt x="76" y="160"/>
                  </a:lnTo>
                  <a:lnTo>
                    <a:pt x="76" y="163"/>
                  </a:lnTo>
                  <a:lnTo>
                    <a:pt x="73" y="163"/>
                  </a:lnTo>
                  <a:lnTo>
                    <a:pt x="73" y="165"/>
                  </a:lnTo>
                  <a:lnTo>
                    <a:pt x="71" y="165"/>
                  </a:lnTo>
                  <a:lnTo>
                    <a:pt x="71" y="165"/>
                  </a:lnTo>
                  <a:lnTo>
                    <a:pt x="69" y="165"/>
                  </a:lnTo>
                  <a:lnTo>
                    <a:pt x="69" y="165"/>
                  </a:lnTo>
                  <a:lnTo>
                    <a:pt x="66" y="165"/>
                  </a:lnTo>
                  <a:lnTo>
                    <a:pt x="66" y="165"/>
                  </a:lnTo>
                  <a:lnTo>
                    <a:pt x="62" y="167"/>
                  </a:lnTo>
                  <a:lnTo>
                    <a:pt x="59" y="165"/>
                  </a:lnTo>
                  <a:lnTo>
                    <a:pt x="57" y="165"/>
                  </a:lnTo>
                  <a:lnTo>
                    <a:pt x="57" y="165"/>
                  </a:lnTo>
                  <a:lnTo>
                    <a:pt x="52" y="165"/>
                  </a:lnTo>
                  <a:lnTo>
                    <a:pt x="52" y="163"/>
                  </a:lnTo>
                  <a:lnTo>
                    <a:pt x="47" y="158"/>
                  </a:lnTo>
                  <a:lnTo>
                    <a:pt x="45" y="151"/>
                  </a:lnTo>
                  <a:lnTo>
                    <a:pt x="45" y="148"/>
                  </a:lnTo>
                  <a:lnTo>
                    <a:pt x="47" y="146"/>
                  </a:lnTo>
                  <a:lnTo>
                    <a:pt x="45" y="146"/>
                  </a:lnTo>
                  <a:lnTo>
                    <a:pt x="43" y="146"/>
                  </a:lnTo>
                  <a:lnTo>
                    <a:pt x="43" y="144"/>
                  </a:lnTo>
                  <a:lnTo>
                    <a:pt x="40" y="141"/>
                  </a:lnTo>
                  <a:lnTo>
                    <a:pt x="40" y="139"/>
                  </a:lnTo>
                  <a:lnTo>
                    <a:pt x="40" y="139"/>
                  </a:lnTo>
                  <a:lnTo>
                    <a:pt x="38" y="139"/>
                  </a:lnTo>
                  <a:lnTo>
                    <a:pt x="36" y="134"/>
                  </a:lnTo>
                  <a:lnTo>
                    <a:pt x="31" y="132"/>
                  </a:lnTo>
                  <a:lnTo>
                    <a:pt x="26" y="130"/>
                  </a:lnTo>
                  <a:lnTo>
                    <a:pt x="19" y="130"/>
                  </a:lnTo>
                  <a:lnTo>
                    <a:pt x="0" y="132"/>
                  </a:lnTo>
                  <a:lnTo>
                    <a:pt x="0" y="130"/>
                  </a:lnTo>
                  <a:lnTo>
                    <a:pt x="0" y="118"/>
                  </a:lnTo>
                  <a:lnTo>
                    <a:pt x="0" y="115"/>
                  </a:lnTo>
                  <a:lnTo>
                    <a:pt x="0" y="108"/>
                  </a:lnTo>
                  <a:lnTo>
                    <a:pt x="0" y="99"/>
                  </a:lnTo>
                  <a:lnTo>
                    <a:pt x="0" y="92"/>
                  </a:lnTo>
                  <a:lnTo>
                    <a:pt x="3" y="89"/>
                  </a:lnTo>
                  <a:lnTo>
                    <a:pt x="7" y="82"/>
                  </a:lnTo>
                  <a:lnTo>
                    <a:pt x="7" y="78"/>
                  </a:lnTo>
                  <a:lnTo>
                    <a:pt x="7" y="75"/>
                  </a:lnTo>
                  <a:lnTo>
                    <a:pt x="10" y="70"/>
                  </a:lnTo>
                  <a:lnTo>
                    <a:pt x="14" y="68"/>
                  </a:lnTo>
                  <a:lnTo>
                    <a:pt x="14" y="66"/>
                  </a:lnTo>
                  <a:lnTo>
                    <a:pt x="17" y="66"/>
                  </a:lnTo>
                  <a:lnTo>
                    <a:pt x="17" y="66"/>
                  </a:lnTo>
                  <a:lnTo>
                    <a:pt x="17" y="63"/>
                  </a:lnTo>
                  <a:lnTo>
                    <a:pt x="14" y="63"/>
                  </a:lnTo>
                  <a:lnTo>
                    <a:pt x="14" y="61"/>
                  </a:lnTo>
                  <a:lnTo>
                    <a:pt x="14" y="59"/>
                  </a:lnTo>
                  <a:lnTo>
                    <a:pt x="17" y="59"/>
                  </a:lnTo>
                  <a:lnTo>
                    <a:pt x="17" y="59"/>
                  </a:lnTo>
                  <a:lnTo>
                    <a:pt x="17" y="59"/>
                  </a:lnTo>
                  <a:lnTo>
                    <a:pt x="17" y="52"/>
                  </a:lnTo>
                  <a:lnTo>
                    <a:pt x="17" y="47"/>
                  </a:lnTo>
                  <a:lnTo>
                    <a:pt x="17" y="47"/>
                  </a:lnTo>
                  <a:lnTo>
                    <a:pt x="14" y="42"/>
                  </a:lnTo>
                  <a:lnTo>
                    <a:pt x="12" y="42"/>
                  </a:lnTo>
                  <a:lnTo>
                    <a:pt x="14" y="37"/>
                  </a:lnTo>
                  <a:lnTo>
                    <a:pt x="14" y="3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2" name="Freeform 243">
              <a:extLst>
                <a:ext uri="{FF2B5EF4-FFF2-40B4-BE49-F238E27FC236}">
                  <a16:creationId xmlns:a16="http://schemas.microsoft.com/office/drawing/2014/main" id="{24F912F2-F659-45BD-92D5-A7B74C24738E}"/>
                </a:ext>
              </a:extLst>
            </p:cNvPr>
            <p:cNvSpPr>
              <a:spLocks/>
            </p:cNvSpPr>
            <p:nvPr/>
          </p:nvSpPr>
          <p:spPr bwMode="auto">
            <a:xfrm>
              <a:off x="1581992" y="4429091"/>
              <a:ext cx="211138" cy="239713"/>
            </a:xfrm>
            <a:custGeom>
              <a:avLst/>
              <a:gdLst>
                <a:gd name="T0" fmla="*/ 130 w 133"/>
                <a:gd name="T1" fmla="*/ 2 h 151"/>
                <a:gd name="T2" fmla="*/ 121 w 133"/>
                <a:gd name="T3" fmla="*/ 4 h 151"/>
                <a:gd name="T4" fmla="*/ 111 w 133"/>
                <a:gd name="T5" fmla="*/ 0 h 151"/>
                <a:gd name="T6" fmla="*/ 97 w 133"/>
                <a:gd name="T7" fmla="*/ 4 h 151"/>
                <a:gd name="T8" fmla="*/ 88 w 133"/>
                <a:gd name="T9" fmla="*/ 14 h 151"/>
                <a:gd name="T10" fmla="*/ 88 w 133"/>
                <a:gd name="T11" fmla="*/ 33 h 151"/>
                <a:gd name="T12" fmla="*/ 85 w 133"/>
                <a:gd name="T13" fmla="*/ 35 h 151"/>
                <a:gd name="T14" fmla="*/ 76 w 133"/>
                <a:gd name="T15" fmla="*/ 30 h 151"/>
                <a:gd name="T16" fmla="*/ 66 w 133"/>
                <a:gd name="T17" fmla="*/ 28 h 151"/>
                <a:gd name="T18" fmla="*/ 38 w 133"/>
                <a:gd name="T19" fmla="*/ 26 h 151"/>
                <a:gd name="T20" fmla="*/ 36 w 133"/>
                <a:gd name="T21" fmla="*/ 38 h 151"/>
                <a:gd name="T22" fmla="*/ 40 w 133"/>
                <a:gd name="T23" fmla="*/ 45 h 151"/>
                <a:gd name="T24" fmla="*/ 55 w 133"/>
                <a:gd name="T25" fmla="*/ 40 h 151"/>
                <a:gd name="T26" fmla="*/ 57 w 133"/>
                <a:gd name="T27" fmla="*/ 49 h 151"/>
                <a:gd name="T28" fmla="*/ 52 w 133"/>
                <a:gd name="T29" fmla="*/ 64 h 151"/>
                <a:gd name="T30" fmla="*/ 57 w 133"/>
                <a:gd name="T31" fmla="*/ 78 h 151"/>
                <a:gd name="T32" fmla="*/ 55 w 133"/>
                <a:gd name="T33" fmla="*/ 87 h 151"/>
                <a:gd name="T34" fmla="*/ 52 w 133"/>
                <a:gd name="T35" fmla="*/ 104 h 151"/>
                <a:gd name="T36" fmla="*/ 40 w 133"/>
                <a:gd name="T37" fmla="*/ 101 h 151"/>
                <a:gd name="T38" fmla="*/ 31 w 133"/>
                <a:gd name="T39" fmla="*/ 99 h 151"/>
                <a:gd name="T40" fmla="*/ 24 w 133"/>
                <a:gd name="T41" fmla="*/ 99 h 151"/>
                <a:gd name="T42" fmla="*/ 14 w 133"/>
                <a:gd name="T43" fmla="*/ 106 h 151"/>
                <a:gd name="T44" fmla="*/ 10 w 133"/>
                <a:gd name="T45" fmla="*/ 111 h 151"/>
                <a:gd name="T46" fmla="*/ 10 w 133"/>
                <a:gd name="T47" fmla="*/ 118 h 151"/>
                <a:gd name="T48" fmla="*/ 10 w 133"/>
                <a:gd name="T49" fmla="*/ 125 h 151"/>
                <a:gd name="T50" fmla="*/ 3 w 133"/>
                <a:gd name="T51" fmla="*/ 125 h 151"/>
                <a:gd name="T52" fmla="*/ 0 w 133"/>
                <a:gd name="T53" fmla="*/ 132 h 151"/>
                <a:gd name="T54" fmla="*/ 7 w 133"/>
                <a:gd name="T55" fmla="*/ 137 h 151"/>
                <a:gd name="T56" fmla="*/ 14 w 133"/>
                <a:gd name="T57" fmla="*/ 144 h 151"/>
                <a:gd name="T58" fmla="*/ 22 w 133"/>
                <a:gd name="T59" fmla="*/ 149 h 151"/>
                <a:gd name="T60" fmla="*/ 26 w 133"/>
                <a:gd name="T61" fmla="*/ 141 h 151"/>
                <a:gd name="T62" fmla="*/ 33 w 133"/>
                <a:gd name="T63" fmla="*/ 141 h 151"/>
                <a:gd name="T64" fmla="*/ 40 w 133"/>
                <a:gd name="T65" fmla="*/ 149 h 151"/>
                <a:gd name="T66" fmla="*/ 45 w 133"/>
                <a:gd name="T67" fmla="*/ 144 h 151"/>
                <a:gd name="T68" fmla="*/ 52 w 133"/>
                <a:gd name="T69" fmla="*/ 141 h 151"/>
                <a:gd name="T70" fmla="*/ 57 w 133"/>
                <a:gd name="T71" fmla="*/ 141 h 151"/>
                <a:gd name="T72" fmla="*/ 62 w 133"/>
                <a:gd name="T73" fmla="*/ 149 h 151"/>
                <a:gd name="T74" fmla="*/ 76 w 133"/>
                <a:gd name="T75" fmla="*/ 139 h 151"/>
                <a:gd name="T76" fmla="*/ 85 w 133"/>
                <a:gd name="T77" fmla="*/ 132 h 151"/>
                <a:gd name="T78" fmla="*/ 90 w 133"/>
                <a:gd name="T79" fmla="*/ 120 h 151"/>
                <a:gd name="T80" fmla="*/ 90 w 133"/>
                <a:gd name="T81" fmla="*/ 106 h 151"/>
                <a:gd name="T82" fmla="*/ 99 w 133"/>
                <a:gd name="T83" fmla="*/ 90 h 151"/>
                <a:gd name="T84" fmla="*/ 111 w 133"/>
                <a:gd name="T85" fmla="*/ 80 h 151"/>
                <a:gd name="T86" fmla="*/ 116 w 133"/>
                <a:gd name="T87" fmla="*/ 75 h 151"/>
                <a:gd name="T88" fmla="*/ 121 w 133"/>
                <a:gd name="T89" fmla="*/ 45 h 151"/>
                <a:gd name="T90" fmla="*/ 125 w 133"/>
                <a:gd name="T91" fmla="*/ 23 h 151"/>
                <a:gd name="T92" fmla="*/ 133 w 133"/>
                <a:gd name="T93"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51">
                  <a:moveTo>
                    <a:pt x="133" y="0"/>
                  </a:moveTo>
                  <a:lnTo>
                    <a:pt x="130" y="2"/>
                  </a:lnTo>
                  <a:lnTo>
                    <a:pt x="125" y="4"/>
                  </a:lnTo>
                  <a:lnTo>
                    <a:pt x="121" y="4"/>
                  </a:lnTo>
                  <a:lnTo>
                    <a:pt x="116" y="2"/>
                  </a:lnTo>
                  <a:lnTo>
                    <a:pt x="111" y="0"/>
                  </a:lnTo>
                  <a:lnTo>
                    <a:pt x="104" y="0"/>
                  </a:lnTo>
                  <a:lnTo>
                    <a:pt x="97" y="4"/>
                  </a:lnTo>
                  <a:lnTo>
                    <a:pt x="90" y="9"/>
                  </a:lnTo>
                  <a:lnTo>
                    <a:pt x="88" y="14"/>
                  </a:lnTo>
                  <a:lnTo>
                    <a:pt x="88" y="19"/>
                  </a:lnTo>
                  <a:lnTo>
                    <a:pt x="88" y="33"/>
                  </a:lnTo>
                  <a:lnTo>
                    <a:pt x="88" y="35"/>
                  </a:lnTo>
                  <a:lnTo>
                    <a:pt x="85" y="35"/>
                  </a:lnTo>
                  <a:lnTo>
                    <a:pt x="78" y="30"/>
                  </a:lnTo>
                  <a:lnTo>
                    <a:pt x="76" y="30"/>
                  </a:lnTo>
                  <a:lnTo>
                    <a:pt x="71" y="28"/>
                  </a:lnTo>
                  <a:lnTo>
                    <a:pt x="66" y="28"/>
                  </a:lnTo>
                  <a:lnTo>
                    <a:pt x="64" y="26"/>
                  </a:lnTo>
                  <a:lnTo>
                    <a:pt x="38" y="26"/>
                  </a:lnTo>
                  <a:lnTo>
                    <a:pt x="36" y="30"/>
                  </a:lnTo>
                  <a:lnTo>
                    <a:pt x="36" y="38"/>
                  </a:lnTo>
                  <a:lnTo>
                    <a:pt x="36" y="42"/>
                  </a:lnTo>
                  <a:lnTo>
                    <a:pt x="40" y="45"/>
                  </a:lnTo>
                  <a:lnTo>
                    <a:pt x="45" y="38"/>
                  </a:lnTo>
                  <a:lnTo>
                    <a:pt x="55" y="40"/>
                  </a:lnTo>
                  <a:lnTo>
                    <a:pt x="57" y="42"/>
                  </a:lnTo>
                  <a:lnTo>
                    <a:pt x="57" y="49"/>
                  </a:lnTo>
                  <a:lnTo>
                    <a:pt x="52" y="59"/>
                  </a:lnTo>
                  <a:lnTo>
                    <a:pt x="52" y="64"/>
                  </a:lnTo>
                  <a:lnTo>
                    <a:pt x="52" y="68"/>
                  </a:lnTo>
                  <a:lnTo>
                    <a:pt x="57" y="78"/>
                  </a:lnTo>
                  <a:lnTo>
                    <a:pt x="57" y="82"/>
                  </a:lnTo>
                  <a:lnTo>
                    <a:pt x="55" y="87"/>
                  </a:lnTo>
                  <a:lnTo>
                    <a:pt x="55" y="99"/>
                  </a:lnTo>
                  <a:lnTo>
                    <a:pt x="52" y="104"/>
                  </a:lnTo>
                  <a:lnTo>
                    <a:pt x="47" y="106"/>
                  </a:lnTo>
                  <a:lnTo>
                    <a:pt x="40" y="101"/>
                  </a:lnTo>
                  <a:lnTo>
                    <a:pt x="33" y="101"/>
                  </a:lnTo>
                  <a:lnTo>
                    <a:pt x="31" y="99"/>
                  </a:lnTo>
                  <a:lnTo>
                    <a:pt x="29" y="97"/>
                  </a:lnTo>
                  <a:lnTo>
                    <a:pt x="24" y="99"/>
                  </a:lnTo>
                  <a:lnTo>
                    <a:pt x="22" y="101"/>
                  </a:lnTo>
                  <a:lnTo>
                    <a:pt x="14" y="106"/>
                  </a:lnTo>
                  <a:lnTo>
                    <a:pt x="12" y="108"/>
                  </a:lnTo>
                  <a:lnTo>
                    <a:pt x="10" y="111"/>
                  </a:lnTo>
                  <a:lnTo>
                    <a:pt x="10" y="115"/>
                  </a:lnTo>
                  <a:lnTo>
                    <a:pt x="10" y="118"/>
                  </a:lnTo>
                  <a:lnTo>
                    <a:pt x="12" y="123"/>
                  </a:lnTo>
                  <a:lnTo>
                    <a:pt x="10" y="125"/>
                  </a:lnTo>
                  <a:lnTo>
                    <a:pt x="7" y="125"/>
                  </a:lnTo>
                  <a:lnTo>
                    <a:pt x="3" y="125"/>
                  </a:lnTo>
                  <a:lnTo>
                    <a:pt x="3" y="127"/>
                  </a:lnTo>
                  <a:lnTo>
                    <a:pt x="0" y="132"/>
                  </a:lnTo>
                  <a:lnTo>
                    <a:pt x="5" y="134"/>
                  </a:lnTo>
                  <a:lnTo>
                    <a:pt x="7" y="137"/>
                  </a:lnTo>
                  <a:lnTo>
                    <a:pt x="12" y="141"/>
                  </a:lnTo>
                  <a:lnTo>
                    <a:pt x="14" y="144"/>
                  </a:lnTo>
                  <a:lnTo>
                    <a:pt x="17" y="151"/>
                  </a:lnTo>
                  <a:lnTo>
                    <a:pt x="22" y="149"/>
                  </a:lnTo>
                  <a:lnTo>
                    <a:pt x="24" y="146"/>
                  </a:lnTo>
                  <a:lnTo>
                    <a:pt x="26" y="141"/>
                  </a:lnTo>
                  <a:lnTo>
                    <a:pt x="31" y="141"/>
                  </a:lnTo>
                  <a:lnTo>
                    <a:pt x="33" y="141"/>
                  </a:lnTo>
                  <a:lnTo>
                    <a:pt x="33" y="146"/>
                  </a:lnTo>
                  <a:lnTo>
                    <a:pt x="40" y="149"/>
                  </a:lnTo>
                  <a:lnTo>
                    <a:pt x="43" y="146"/>
                  </a:lnTo>
                  <a:lnTo>
                    <a:pt x="45" y="144"/>
                  </a:lnTo>
                  <a:lnTo>
                    <a:pt x="47" y="141"/>
                  </a:lnTo>
                  <a:lnTo>
                    <a:pt x="52" y="141"/>
                  </a:lnTo>
                  <a:lnTo>
                    <a:pt x="57" y="139"/>
                  </a:lnTo>
                  <a:lnTo>
                    <a:pt x="57" y="141"/>
                  </a:lnTo>
                  <a:lnTo>
                    <a:pt x="57" y="146"/>
                  </a:lnTo>
                  <a:lnTo>
                    <a:pt x="62" y="149"/>
                  </a:lnTo>
                  <a:lnTo>
                    <a:pt x="69" y="146"/>
                  </a:lnTo>
                  <a:lnTo>
                    <a:pt x="76" y="139"/>
                  </a:lnTo>
                  <a:lnTo>
                    <a:pt x="78" y="137"/>
                  </a:lnTo>
                  <a:lnTo>
                    <a:pt x="85" y="132"/>
                  </a:lnTo>
                  <a:lnTo>
                    <a:pt x="88" y="125"/>
                  </a:lnTo>
                  <a:lnTo>
                    <a:pt x="90" y="120"/>
                  </a:lnTo>
                  <a:lnTo>
                    <a:pt x="90" y="113"/>
                  </a:lnTo>
                  <a:lnTo>
                    <a:pt x="90" y="106"/>
                  </a:lnTo>
                  <a:lnTo>
                    <a:pt x="92" y="99"/>
                  </a:lnTo>
                  <a:lnTo>
                    <a:pt x="99" y="90"/>
                  </a:lnTo>
                  <a:lnTo>
                    <a:pt x="107" y="85"/>
                  </a:lnTo>
                  <a:lnTo>
                    <a:pt x="111" y="80"/>
                  </a:lnTo>
                  <a:lnTo>
                    <a:pt x="116" y="75"/>
                  </a:lnTo>
                  <a:lnTo>
                    <a:pt x="116" y="75"/>
                  </a:lnTo>
                  <a:lnTo>
                    <a:pt x="118" y="66"/>
                  </a:lnTo>
                  <a:lnTo>
                    <a:pt x="121" y="45"/>
                  </a:lnTo>
                  <a:lnTo>
                    <a:pt x="123" y="30"/>
                  </a:lnTo>
                  <a:lnTo>
                    <a:pt x="125" y="23"/>
                  </a:lnTo>
                  <a:lnTo>
                    <a:pt x="133" y="12"/>
                  </a:lnTo>
                  <a:lnTo>
                    <a:pt x="133" y="4"/>
                  </a:lnTo>
                  <a:lnTo>
                    <a:pt x="13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3" name="Freeform 244">
              <a:extLst>
                <a:ext uri="{FF2B5EF4-FFF2-40B4-BE49-F238E27FC236}">
                  <a16:creationId xmlns:a16="http://schemas.microsoft.com/office/drawing/2014/main" id="{7FEA3FA1-3322-48A2-B791-BB3096B89708}"/>
                </a:ext>
              </a:extLst>
            </p:cNvPr>
            <p:cNvSpPr>
              <a:spLocks/>
            </p:cNvSpPr>
            <p:nvPr/>
          </p:nvSpPr>
          <p:spPr bwMode="auto">
            <a:xfrm>
              <a:off x="1581992" y="4429091"/>
              <a:ext cx="211138" cy="239713"/>
            </a:xfrm>
            <a:custGeom>
              <a:avLst/>
              <a:gdLst>
                <a:gd name="T0" fmla="*/ 130 w 133"/>
                <a:gd name="T1" fmla="*/ 2 h 151"/>
                <a:gd name="T2" fmla="*/ 121 w 133"/>
                <a:gd name="T3" fmla="*/ 4 h 151"/>
                <a:gd name="T4" fmla="*/ 111 w 133"/>
                <a:gd name="T5" fmla="*/ 0 h 151"/>
                <a:gd name="T6" fmla="*/ 97 w 133"/>
                <a:gd name="T7" fmla="*/ 4 h 151"/>
                <a:gd name="T8" fmla="*/ 88 w 133"/>
                <a:gd name="T9" fmla="*/ 14 h 151"/>
                <a:gd name="T10" fmla="*/ 88 w 133"/>
                <a:gd name="T11" fmla="*/ 33 h 151"/>
                <a:gd name="T12" fmla="*/ 85 w 133"/>
                <a:gd name="T13" fmla="*/ 35 h 151"/>
                <a:gd name="T14" fmla="*/ 76 w 133"/>
                <a:gd name="T15" fmla="*/ 30 h 151"/>
                <a:gd name="T16" fmla="*/ 66 w 133"/>
                <a:gd name="T17" fmla="*/ 28 h 151"/>
                <a:gd name="T18" fmla="*/ 38 w 133"/>
                <a:gd name="T19" fmla="*/ 26 h 151"/>
                <a:gd name="T20" fmla="*/ 36 w 133"/>
                <a:gd name="T21" fmla="*/ 38 h 151"/>
                <a:gd name="T22" fmla="*/ 40 w 133"/>
                <a:gd name="T23" fmla="*/ 45 h 151"/>
                <a:gd name="T24" fmla="*/ 55 w 133"/>
                <a:gd name="T25" fmla="*/ 40 h 151"/>
                <a:gd name="T26" fmla="*/ 57 w 133"/>
                <a:gd name="T27" fmla="*/ 49 h 151"/>
                <a:gd name="T28" fmla="*/ 52 w 133"/>
                <a:gd name="T29" fmla="*/ 64 h 151"/>
                <a:gd name="T30" fmla="*/ 57 w 133"/>
                <a:gd name="T31" fmla="*/ 78 h 151"/>
                <a:gd name="T32" fmla="*/ 55 w 133"/>
                <a:gd name="T33" fmla="*/ 87 h 151"/>
                <a:gd name="T34" fmla="*/ 52 w 133"/>
                <a:gd name="T35" fmla="*/ 104 h 151"/>
                <a:gd name="T36" fmla="*/ 40 w 133"/>
                <a:gd name="T37" fmla="*/ 101 h 151"/>
                <a:gd name="T38" fmla="*/ 31 w 133"/>
                <a:gd name="T39" fmla="*/ 99 h 151"/>
                <a:gd name="T40" fmla="*/ 24 w 133"/>
                <a:gd name="T41" fmla="*/ 99 h 151"/>
                <a:gd name="T42" fmla="*/ 14 w 133"/>
                <a:gd name="T43" fmla="*/ 106 h 151"/>
                <a:gd name="T44" fmla="*/ 10 w 133"/>
                <a:gd name="T45" fmla="*/ 111 h 151"/>
                <a:gd name="T46" fmla="*/ 10 w 133"/>
                <a:gd name="T47" fmla="*/ 118 h 151"/>
                <a:gd name="T48" fmla="*/ 10 w 133"/>
                <a:gd name="T49" fmla="*/ 125 h 151"/>
                <a:gd name="T50" fmla="*/ 3 w 133"/>
                <a:gd name="T51" fmla="*/ 125 h 151"/>
                <a:gd name="T52" fmla="*/ 0 w 133"/>
                <a:gd name="T53" fmla="*/ 132 h 151"/>
                <a:gd name="T54" fmla="*/ 7 w 133"/>
                <a:gd name="T55" fmla="*/ 137 h 151"/>
                <a:gd name="T56" fmla="*/ 14 w 133"/>
                <a:gd name="T57" fmla="*/ 144 h 151"/>
                <a:gd name="T58" fmla="*/ 22 w 133"/>
                <a:gd name="T59" fmla="*/ 149 h 151"/>
                <a:gd name="T60" fmla="*/ 26 w 133"/>
                <a:gd name="T61" fmla="*/ 141 h 151"/>
                <a:gd name="T62" fmla="*/ 33 w 133"/>
                <a:gd name="T63" fmla="*/ 141 h 151"/>
                <a:gd name="T64" fmla="*/ 40 w 133"/>
                <a:gd name="T65" fmla="*/ 149 h 151"/>
                <a:gd name="T66" fmla="*/ 45 w 133"/>
                <a:gd name="T67" fmla="*/ 144 h 151"/>
                <a:gd name="T68" fmla="*/ 52 w 133"/>
                <a:gd name="T69" fmla="*/ 141 h 151"/>
                <a:gd name="T70" fmla="*/ 57 w 133"/>
                <a:gd name="T71" fmla="*/ 141 h 151"/>
                <a:gd name="T72" fmla="*/ 62 w 133"/>
                <a:gd name="T73" fmla="*/ 149 h 151"/>
                <a:gd name="T74" fmla="*/ 76 w 133"/>
                <a:gd name="T75" fmla="*/ 139 h 151"/>
                <a:gd name="T76" fmla="*/ 85 w 133"/>
                <a:gd name="T77" fmla="*/ 132 h 151"/>
                <a:gd name="T78" fmla="*/ 90 w 133"/>
                <a:gd name="T79" fmla="*/ 120 h 151"/>
                <a:gd name="T80" fmla="*/ 90 w 133"/>
                <a:gd name="T81" fmla="*/ 106 h 151"/>
                <a:gd name="T82" fmla="*/ 99 w 133"/>
                <a:gd name="T83" fmla="*/ 90 h 151"/>
                <a:gd name="T84" fmla="*/ 111 w 133"/>
                <a:gd name="T85" fmla="*/ 80 h 151"/>
                <a:gd name="T86" fmla="*/ 116 w 133"/>
                <a:gd name="T87" fmla="*/ 75 h 151"/>
                <a:gd name="T88" fmla="*/ 121 w 133"/>
                <a:gd name="T89" fmla="*/ 45 h 151"/>
                <a:gd name="T90" fmla="*/ 125 w 133"/>
                <a:gd name="T91" fmla="*/ 23 h 151"/>
                <a:gd name="T92" fmla="*/ 133 w 133"/>
                <a:gd name="T93"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51">
                  <a:moveTo>
                    <a:pt x="133" y="0"/>
                  </a:moveTo>
                  <a:lnTo>
                    <a:pt x="130" y="2"/>
                  </a:lnTo>
                  <a:lnTo>
                    <a:pt x="125" y="4"/>
                  </a:lnTo>
                  <a:lnTo>
                    <a:pt x="121" y="4"/>
                  </a:lnTo>
                  <a:lnTo>
                    <a:pt x="116" y="2"/>
                  </a:lnTo>
                  <a:lnTo>
                    <a:pt x="111" y="0"/>
                  </a:lnTo>
                  <a:lnTo>
                    <a:pt x="104" y="0"/>
                  </a:lnTo>
                  <a:lnTo>
                    <a:pt x="97" y="4"/>
                  </a:lnTo>
                  <a:lnTo>
                    <a:pt x="90" y="9"/>
                  </a:lnTo>
                  <a:lnTo>
                    <a:pt x="88" y="14"/>
                  </a:lnTo>
                  <a:lnTo>
                    <a:pt x="88" y="19"/>
                  </a:lnTo>
                  <a:lnTo>
                    <a:pt x="88" y="33"/>
                  </a:lnTo>
                  <a:lnTo>
                    <a:pt x="88" y="35"/>
                  </a:lnTo>
                  <a:lnTo>
                    <a:pt x="85" y="35"/>
                  </a:lnTo>
                  <a:lnTo>
                    <a:pt x="78" y="30"/>
                  </a:lnTo>
                  <a:lnTo>
                    <a:pt x="76" y="30"/>
                  </a:lnTo>
                  <a:lnTo>
                    <a:pt x="71" y="28"/>
                  </a:lnTo>
                  <a:lnTo>
                    <a:pt x="66" y="28"/>
                  </a:lnTo>
                  <a:lnTo>
                    <a:pt x="64" y="26"/>
                  </a:lnTo>
                  <a:lnTo>
                    <a:pt x="38" y="26"/>
                  </a:lnTo>
                  <a:lnTo>
                    <a:pt x="36" y="30"/>
                  </a:lnTo>
                  <a:lnTo>
                    <a:pt x="36" y="38"/>
                  </a:lnTo>
                  <a:lnTo>
                    <a:pt x="36" y="42"/>
                  </a:lnTo>
                  <a:lnTo>
                    <a:pt x="40" y="45"/>
                  </a:lnTo>
                  <a:lnTo>
                    <a:pt x="45" y="38"/>
                  </a:lnTo>
                  <a:lnTo>
                    <a:pt x="55" y="40"/>
                  </a:lnTo>
                  <a:lnTo>
                    <a:pt x="57" y="42"/>
                  </a:lnTo>
                  <a:lnTo>
                    <a:pt x="57" y="49"/>
                  </a:lnTo>
                  <a:lnTo>
                    <a:pt x="52" y="59"/>
                  </a:lnTo>
                  <a:lnTo>
                    <a:pt x="52" y="64"/>
                  </a:lnTo>
                  <a:lnTo>
                    <a:pt x="52" y="68"/>
                  </a:lnTo>
                  <a:lnTo>
                    <a:pt x="57" y="78"/>
                  </a:lnTo>
                  <a:lnTo>
                    <a:pt x="57" y="82"/>
                  </a:lnTo>
                  <a:lnTo>
                    <a:pt x="55" y="87"/>
                  </a:lnTo>
                  <a:lnTo>
                    <a:pt x="55" y="99"/>
                  </a:lnTo>
                  <a:lnTo>
                    <a:pt x="52" y="104"/>
                  </a:lnTo>
                  <a:lnTo>
                    <a:pt x="47" y="106"/>
                  </a:lnTo>
                  <a:lnTo>
                    <a:pt x="40" y="101"/>
                  </a:lnTo>
                  <a:lnTo>
                    <a:pt x="33" y="101"/>
                  </a:lnTo>
                  <a:lnTo>
                    <a:pt x="31" y="99"/>
                  </a:lnTo>
                  <a:lnTo>
                    <a:pt x="29" y="97"/>
                  </a:lnTo>
                  <a:lnTo>
                    <a:pt x="24" y="99"/>
                  </a:lnTo>
                  <a:lnTo>
                    <a:pt x="22" y="101"/>
                  </a:lnTo>
                  <a:lnTo>
                    <a:pt x="14" y="106"/>
                  </a:lnTo>
                  <a:lnTo>
                    <a:pt x="12" y="108"/>
                  </a:lnTo>
                  <a:lnTo>
                    <a:pt x="10" y="111"/>
                  </a:lnTo>
                  <a:lnTo>
                    <a:pt x="10" y="115"/>
                  </a:lnTo>
                  <a:lnTo>
                    <a:pt x="10" y="118"/>
                  </a:lnTo>
                  <a:lnTo>
                    <a:pt x="12" y="123"/>
                  </a:lnTo>
                  <a:lnTo>
                    <a:pt x="10" y="125"/>
                  </a:lnTo>
                  <a:lnTo>
                    <a:pt x="7" y="125"/>
                  </a:lnTo>
                  <a:lnTo>
                    <a:pt x="3" y="125"/>
                  </a:lnTo>
                  <a:lnTo>
                    <a:pt x="3" y="127"/>
                  </a:lnTo>
                  <a:lnTo>
                    <a:pt x="0" y="132"/>
                  </a:lnTo>
                  <a:lnTo>
                    <a:pt x="5" y="134"/>
                  </a:lnTo>
                  <a:lnTo>
                    <a:pt x="7" y="137"/>
                  </a:lnTo>
                  <a:lnTo>
                    <a:pt x="12" y="141"/>
                  </a:lnTo>
                  <a:lnTo>
                    <a:pt x="14" y="144"/>
                  </a:lnTo>
                  <a:lnTo>
                    <a:pt x="17" y="151"/>
                  </a:lnTo>
                  <a:lnTo>
                    <a:pt x="22" y="149"/>
                  </a:lnTo>
                  <a:lnTo>
                    <a:pt x="24" y="146"/>
                  </a:lnTo>
                  <a:lnTo>
                    <a:pt x="26" y="141"/>
                  </a:lnTo>
                  <a:lnTo>
                    <a:pt x="31" y="141"/>
                  </a:lnTo>
                  <a:lnTo>
                    <a:pt x="33" y="141"/>
                  </a:lnTo>
                  <a:lnTo>
                    <a:pt x="33" y="146"/>
                  </a:lnTo>
                  <a:lnTo>
                    <a:pt x="40" y="149"/>
                  </a:lnTo>
                  <a:lnTo>
                    <a:pt x="43" y="146"/>
                  </a:lnTo>
                  <a:lnTo>
                    <a:pt x="45" y="144"/>
                  </a:lnTo>
                  <a:lnTo>
                    <a:pt x="47" y="141"/>
                  </a:lnTo>
                  <a:lnTo>
                    <a:pt x="52" y="141"/>
                  </a:lnTo>
                  <a:lnTo>
                    <a:pt x="57" y="139"/>
                  </a:lnTo>
                  <a:lnTo>
                    <a:pt x="57" y="141"/>
                  </a:lnTo>
                  <a:lnTo>
                    <a:pt x="57" y="146"/>
                  </a:lnTo>
                  <a:lnTo>
                    <a:pt x="62" y="149"/>
                  </a:lnTo>
                  <a:lnTo>
                    <a:pt x="69" y="146"/>
                  </a:lnTo>
                  <a:lnTo>
                    <a:pt x="76" y="139"/>
                  </a:lnTo>
                  <a:lnTo>
                    <a:pt x="78" y="137"/>
                  </a:lnTo>
                  <a:lnTo>
                    <a:pt x="85" y="132"/>
                  </a:lnTo>
                  <a:lnTo>
                    <a:pt x="88" y="125"/>
                  </a:lnTo>
                  <a:lnTo>
                    <a:pt x="90" y="120"/>
                  </a:lnTo>
                  <a:lnTo>
                    <a:pt x="90" y="113"/>
                  </a:lnTo>
                  <a:lnTo>
                    <a:pt x="90" y="106"/>
                  </a:lnTo>
                  <a:lnTo>
                    <a:pt x="92" y="99"/>
                  </a:lnTo>
                  <a:lnTo>
                    <a:pt x="99" y="90"/>
                  </a:lnTo>
                  <a:lnTo>
                    <a:pt x="107" y="85"/>
                  </a:lnTo>
                  <a:lnTo>
                    <a:pt x="111" y="80"/>
                  </a:lnTo>
                  <a:lnTo>
                    <a:pt x="116" y="75"/>
                  </a:lnTo>
                  <a:lnTo>
                    <a:pt x="116" y="75"/>
                  </a:lnTo>
                  <a:lnTo>
                    <a:pt x="118" y="66"/>
                  </a:lnTo>
                  <a:lnTo>
                    <a:pt x="121" y="45"/>
                  </a:lnTo>
                  <a:lnTo>
                    <a:pt x="123" y="30"/>
                  </a:lnTo>
                  <a:lnTo>
                    <a:pt x="125" y="23"/>
                  </a:lnTo>
                  <a:lnTo>
                    <a:pt x="133" y="12"/>
                  </a:lnTo>
                  <a:lnTo>
                    <a:pt x="133" y="4"/>
                  </a:lnTo>
                  <a:lnTo>
                    <a:pt x="133" y="0"/>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4" name="Freeform 245">
              <a:extLst>
                <a:ext uri="{FF2B5EF4-FFF2-40B4-BE49-F238E27FC236}">
                  <a16:creationId xmlns:a16="http://schemas.microsoft.com/office/drawing/2014/main" id="{553525E5-20C9-40A9-BE75-E0AEF672716D}"/>
                </a:ext>
              </a:extLst>
            </p:cNvPr>
            <p:cNvSpPr>
              <a:spLocks/>
            </p:cNvSpPr>
            <p:nvPr/>
          </p:nvSpPr>
          <p:spPr bwMode="auto">
            <a:xfrm>
              <a:off x="1534366" y="4470367"/>
              <a:ext cx="55563" cy="33338"/>
            </a:xfrm>
            <a:custGeom>
              <a:avLst/>
              <a:gdLst>
                <a:gd name="T0" fmla="*/ 35 w 35"/>
                <a:gd name="T1" fmla="*/ 0 h 21"/>
                <a:gd name="T2" fmla="*/ 21 w 35"/>
                <a:gd name="T3" fmla="*/ 0 h 21"/>
                <a:gd name="T4" fmla="*/ 9 w 35"/>
                <a:gd name="T5" fmla="*/ 0 h 21"/>
                <a:gd name="T6" fmla="*/ 7 w 35"/>
                <a:gd name="T7" fmla="*/ 0 h 21"/>
                <a:gd name="T8" fmla="*/ 7 w 35"/>
                <a:gd name="T9" fmla="*/ 4 h 21"/>
                <a:gd name="T10" fmla="*/ 4 w 35"/>
                <a:gd name="T11" fmla="*/ 7 h 21"/>
                <a:gd name="T12" fmla="*/ 4 w 35"/>
                <a:gd name="T13" fmla="*/ 12 h 21"/>
                <a:gd name="T14" fmla="*/ 0 w 35"/>
                <a:gd name="T15" fmla="*/ 16 h 21"/>
                <a:gd name="T16" fmla="*/ 4 w 35"/>
                <a:gd name="T17" fmla="*/ 19 h 21"/>
                <a:gd name="T18" fmla="*/ 4 w 35"/>
                <a:gd name="T19" fmla="*/ 21 h 21"/>
                <a:gd name="T20" fmla="*/ 4 w 35"/>
                <a:gd name="T21" fmla="*/ 21 h 21"/>
                <a:gd name="T22" fmla="*/ 4 w 35"/>
                <a:gd name="T23" fmla="*/ 21 h 21"/>
                <a:gd name="T24" fmla="*/ 11 w 35"/>
                <a:gd name="T25" fmla="*/ 19 h 21"/>
                <a:gd name="T26" fmla="*/ 35 w 35"/>
                <a:gd name="T27" fmla="*/ 19 h 21"/>
                <a:gd name="T28" fmla="*/ 33 w 35"/>
                <a:gd name="T29" fmla="*/ 19 h 21"/>
                <a:gd name="T30" fmla="*/ 33 w 35"/>
                <a:gd name="T31" fmla="*/ 12 h 21"/>
                <a:gd name="T32" fmla="*/ 33 w 35"/>
                <a:gd name="T33" fmla="*/ 4 h 21"/>
                <a:gd name="T34" fmla="*/ 35 w 35"/>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21">
                  <a:moveTo>
                    <a:pt x="35" y="0"/>
                  </a:moveTo>
                  <a:lnTo>
                    <a:pt x="21" y="0"/>
                  </a:lnTo>
                  <a:lnTo>
                    <a:pt x="9" y="0"/>
                  </a:lnTo>
                  <a:lnTo>
                    <a:pt x="7" y="0"/>
                  </a:lnTo>
                  <a:lnTo>
                    <a:pt x="7" y="4"/>
                  </a:lnTo>
                  <a:lnTo>
                    <a:pt x="4" y="7"/>
                  </a:lnTo>
                  <a:lnTo>
                    <a:pt x="4" y="12"/>
                  </a:lnTo>
                  <a:lnTo>
                    <a:pt x="0" y="16"/>
                  </a:lnTo>
                  <a:lnTo>
                    <a:pt x="4" y="19"/>
                  </a:lnTo>
                  <a:lnTo>
                    <a:pt x="4" y="21"/>
                  </a:lnTo>
                  <a:lnTo>
                    <a:pt x="4" y="21"/>
                  </a:lnTo>
                  <a:lnTo>
                    <a:pt x="4" y="21"/>
                  </a:lnTo>
                  <a:lnTo>
                    <a:pt x="11" y="19"/>
                  </a:lnTo>
                  <a:lnTo>
                    <a:pt x="35" y="19"/>
                  </a:lnTo>
                  <a:lnTo>
                    <a:pt x="33" y="19"/>
                  </a:lnTo>
                  <a:lnTo>
                    <a:pt x="33" y="12"/>
                  </a:lnTo>
                  <a:lnTo>
                    <a:pt x="33" y="4"/>
                  </a:lnTo>
                  <a:lnTo>
                    <a:pt x="3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5" name="Freeform 246">
              <a:extLst>
                <a:ext uri="{FF2B5EF4-FFF2-40B4-BE49-F238E27FC236}">
                  <a16:creationId xmlns:a16="http://schemas.microsoft.com/office/drawing/2014/main" id="{56E5BF04-FB02-4B5C-900D-F7117EC45B39}"/>
                </a:ext>
              </a:extLst>
            </p:cNvPr>
            <p:cNvSpPr>
              <a:spLocks/>
            </p:cNvSpPr>
            <p:nvPr/>
          </p:nvSpPr>
          <p:spPr bwMode="auto">
            <a:xfrm>
              <a:off x="1534366" y="4470367"/>
              <a:ext cx="55563" cy="33338"/>
            </a:xfrm>
            <a:custGeom>
              <a:avLst/>
              <a:gdLst>
                <a:gd name="T0" fmla="*/ 35 w 35"/>
                <a:gd name="T1" fmla="*/ 0 h 21"/>
                <a:gd name="T2" fmla="*/ 21 w 35"/>
                <a:gd name="T3" fmla="*/ 0 h 21"/>
                <a:gd name="T4" fmla="*/ 9 w 35"/>
                <a:gd name="T5" fmla="*/ 0 h 21"/>
                <a:gd name="T6" fmla="*/ 7 w 35"/>
                <a:gd name="T7" fmla="*/ 0 h 21"/>
                <a:gd name="T8" fmla="*/ 7 w 35"/>
                <a:gd name="T9" fmla="*/ 4 h 21"/>
                <a:gd name="T10" fmla="*/ 4 w 35"/>
                <a:gd name="T11" fmla="*/ 7 h 21"/>
                <a:gd name="T12" fmla="*/ 4 w 35"/>
                <a:gd name="T13" fmla="*/ 12 h 21"/>
                <a:gd name="T14" fmla="*/ 0 w 35"/>
                <a:gd name="T15" fmla="*/ 16 h 21"/>
                <a:gd name="T16" fmla="*/ 4 w 35"/>
                <a:gd name="T17" fmla="*/ 19 h 21"/>
                <a:gd name="T18" fmla="*/ 4 w 35"/>
                <a:gd name="T19" fmla="*/ 21 h 21"/>
                <a:gd name="T20" fmla="*/ 4 w 35"/>
                <a:gd name="T21" fmla="*/ 21 h 21"/>
                <a:gd name="T22" fmla="*/ 4 w 35"/>
                <a:gd name="T23" fmla="*/ 21 h 21"/>
                <a:gd name="T24" fmla="*/ 11 w 35"/>
                <a:gd name="T25" fmla="*/ 19 h 21"/>
                <a:gd name="T26" fmla="*/ 35 w 35"/>
                <a:gd name="T27" fmla="*/ 19 h 21"/>
                <a:gd name="T28" fmla="*/ 33 w 35"/>
                <a:gd name="T29" fmla="*/ 19 h 21"/>
                <a:gd name="T30" fmla="*/ 33 w 35"/>
                <a:gd name="T31" fmla="*/ 12 h 21"/>
                <a:gd name="T32" fmla="*/ 33 w 35"/>
                <a:gd name="T33" fmla="*/ 4 h 21"/>
                <a:gd name="T34" fmla="*/ 35 w 35"/>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21">
                  <a:moveTo>
                    <a:pt x="35" y="0"/>
                  </a:moveTo>
                  <a:lnTo>
                    <a:pt x="21" y="0"/>
                  </a:lnTo>
                  <a:lnTo>
                    <a:pt x="9" y="0"/>
                  </a:lnTo>
                  <a:lnTo>
                    <a:pt x="7" y="0"/>
                  </a:lnTo>
                  <a:lnTo>
                    <a:pt x="7" y="4"/>
                  </a:lnTo>
                  <a:lnTo>
                    <a:pt x="4" y="7"/>
                  </a:lnTo>
                  <a:lnTo>
                    <a:pt x="4" y="12"/>
                  </a:lnTo>
                  <a:lnTo>
                    <a:pt x="0" y="16"/>
                  </a:lnTo>
                  <a:lnTo>
                    <a:pt x="4" y="19"/>
                  </a:lnTo>
                  <a:lnTo>
                    <a:pt x="4" y="21"/>
                  </a:lnTo>
                  <a:lnTo>
                    <a:pt x="4" y="21"/>
                  </a:lnTo>
                  <a:lnTo>
                    <a:pt x="4" y="21"/>
                  </a:lnTo>
                  <a:lnTo>
                    <a:pt x="11" y="19"/>
                  </a:lnTo>
                  <a:lnTo>
                    <a:pt x="35" y="19"/>
                  </a:lnTo>
                  <a:lnTo>
                    <a:pt x="33" y="19"/>
                  </a:lnTo>
                  <a:lnTo>
                    <a:pt x="33" y="12"/>
                  </a:lnTo>
                  <a:lnTo>
                    <a:pt x="33" y="4"/>
                  </a:lnTo>
                  <a:lnTo>
                    <a:pt x="3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6" name="Freeform 247">
              <a:extLst>
                <a:ext uri="{FF2B5EF4-FFF2-40B4-BE49-F238E27FC236}">
                  <a16:creationId xmlns:a16="http://schemas.microsoft.com/office/drawing/2014/main" id="{CBC5E9DA-0AB4-475D-9DCA-76110445C7B0}"/>
                </a:ext>
              </a:extLst>
            </p:cNvPr>
            <p:cNvSpPr>
              <a:spLocks/>
            </p:cNvSpPr>
            <p:nvPr/>
          </p:nvSpPr>
          <p:spPr bwMode="auto">
            <a:xfrm>
              <a:off x="2286840" y="4024280"/>
              <a:ext cx="180975" cy="165101"/>
            </a:xfrm>
            <a:custGeom>
              <a:avLst/>
              <a:gdLst>
                <a:gd name="T0" fmla="*/ 31 w 114"/>
                <a:gd name="T1" fmla="*/ 9 h 104"/>
                <a:gd name="T2" fmla="*/ 19 w 114"/>
                <a:gd name="T3" fmla="*/ 14 h 104"/>
                <a:gd name="T4" fmla="*/ 10 w 114"/>
                <a:gd name="T5" fmla="*/ 19 h 104"/>
                <a:gd name="T6" fmla="*/ 7 w 114"/>
                <a:gd name="T7" fmla="*/ 30 h 104"/>
                <a:gd name="T8" fmla="*/ 0 w 114"/>
                <a:gd name="T9" fmla="*/ 52 h 104"/>
                <a:gd name="T10" fmla="*/ 0 w 114"/>
                <a:gd name="T11" fmla="*/ 68 h 104"/>
                <a:gd name="T12" fmla="*/ 7 w 114"/>
                <a:gd name="T13" fmla="*/ 71 h 104"/>
                <a:gd name="T14" fmla="*/ 10 w 114"/>
                <a:gd name="T15" fmla="*/ 68 h 104"/>
                <a:gd name="T16" fmla="*/ 15 w 114"/>
                <a:gd name="T17" fmla="*/ 68 h 104"/>
                <a:gd name="T18" fmla="*/ 24 w 114"/>
                <a:gd name="T19" fmla="*/ 59 h 104"/>
                <a:gd name="T20" fmla="*/ 29 w 114"/>
                <a:gd name="T21" fmla="*/ 63 h 104"/>
                <a:gd name="T22" fmla="*/ 33 w 114"/>
                <a:gd name="T23" fmla="*/ 68 h 104"/>
                <a:gd name="T24" fmla="*/ 41 w 114"/>
                <a:gd name="T25" fmla="*/ 66 h 104"/>
                <a:gd name="T26" fmla="*/ 45 w 114"/>
                <a:gd name="T27" fmla="*/ 63 h 104"/>
                <a:gd name="T28" fmla="*/ 48 w 114"/>
                <a:gd name="T29" fmla="*/ 66 h 104"/>
                <a:gd name="T30" fmla="*/ 52 w 114"/>
                <a:gd name="T31" fmla="*/ 63 h 104"/>
                <a:gd name="T32" fmla="*/ 57 w 114"/>
                <a:gd name="T33" fmla="*/ 66 h 104"/>
                <a:gd name="T34" fmla="*/ 59 w 114"/>
                <a:gd name="T35" fmla="*/ 66 h 104"/>
                <a:gd name="T36" fmla="*/ 71 w 114"/>
                <a:gd name="T37" fmla="*/ 71 h 104"/>
                <a:gd name="T38" fmla="*/ 81 w 114"/>
                <a:gd name="T39" fmla="*/ 78 h 104"/>
                <a:gd name="T40" fmla="*/ 90 w 114"/>
                <a:gd name="T41" fmla="*/ 89 h 104"/>
                <a:gd name="T42" fmla="*/ 95 w 114"/>
                <a:gd name="T43" fmla="*/ 97 h 104"/>
                <a:gd name="T44" fmla="*/ 100 w 114"/>
                <a:gd name="T45" fmla="*/ 101 h 104"/>
                <a:gd name="T46" fmla="*/ 109 w 114"/>
                <a:gd name="T47" fmla="*/ 99 h 104"/>
                <a:gd name="T48" fmla="*/ 111 w 114"/>
                <a:gd name="T49" fmla="*/ 94 h 104"/>
                <a:gd name="T50" fmla="*/ 109 w 114"/>
                <a:gd name="T51" fmla="*/ 89 h 104"/>
                <a:gd name="T52" fmla="*/ 104 w 114"/>
                <a:gd name="T53" fmla="*/ 89 h 104"/>
                <a:gd name="T54" fmla="*/ 102 w 114"/>
                <a:gd name="T55" fmla="*/ 82 h 104"/>
                <a:gd name="T56" fmla="*/ 97 w 114"/>
                <a:gd name="T57" fmla="*/ 80 h 104"/>
                <a:gd name="T58" fmla="*/ 95 w 114"/>
                <a:gd name="T59" fmla="*/ 78 h 104"/>
                <a:gd name="T60" fmla="*/ 90 w 114"/>
                <a:gd name="T61" fmla="*/ 75 h 104"/>
                <a:gd name="T62" fmla="*/ 83 w 114"/>
                <a:gd name="T63" fmla="*/ 63 h 104"/>
                <a:gd name="T64" fmla="*/ 76 w 114"/>
                <a:gd name="T65" fmla="*/ 61 h 104"/>
                <a:gd name="T66" fmla="*/ 74 w 114"/>
                <a:gd name="T67" fmla="*/ 59 h 104"/>
                <a:gd name="T68" fmla="*/ 69 w 114"/>
                <a:gd name="T69" fmla="*/ 56 h 104"/>
                <a:gd name="T70" fmla="*/ 64 w 114"/>
                <a:gd name="T71" fmla="*/ 56 h 104"/>
                <a:gd name="T72" fmla="*/ 62 w 114"/>
                <a:gd name="T73" fmla="*/ 52 h 104"/>
                <a:gd name="T74" fmla="*/ 62 w 114"/>
                <a:gd name="T75" fmla="*/ 49 h 104"/>
                <a:gd name="T76" fmla="*/ 57 w 114"/>
                <a:gd name="T77" fmla="*/ 49 h 104"/>
                <a:gd name="T78" fmla="*/ 59 w 114"/>
                <a:gd name="T79" fmla="*/ 54 h 104"/>
                <a:gd name="T80" fmla="*/ 55 w 114"/>
                <a:gd name="T81" fmla="*/ 52 h 104"/>
                <a:gd name="T82" fmla="*/ 55 w 114"/>
                <a:gd name="T83" fmla="*/ 47 h 104"/>
                <a:gd name="T84" fmla="*/ 52 w 114"/>
                <a:gd name="T85" fmla="*/ 45 h 104"/>
                <a:gd name="T86" fmla="*/ 50 w 114"/>
                <a:gd name="T87" fmla="*/ 42 h 104"/>
                <a:gd name="T88" fmla="*/ 45 w 114"/>
                <a:gd name="T89" fmla="*/ 33 h 104"/>
                <a:gd name="T90" fmla="*/ 45 w 114"/>
                <a:gd name="T91" fmla="*/ 21 h 104"/>
                <a:gd name="T92" fmla="*/ 43 w 114"/>
                <a:gd name="T93" fmla="*/ 11 h 104"/>
                <a:gd name="T94" fmla="*/ 38 w 114"/>
                <a:gd name="T95" fmla="*/ 4 h 104"/>
                <a:gd name="T96" fmla="*/ 36 w 114"/>
                <a:gd name="T9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 h="104">
                  <a:moveTo>
                    <a:pt x="33" y="0"/>
                  </a:moveTo>
                  <a:lnTo>
                    <a:pt x="33" y="4"/>
                  </a:lnTo>
                  <a:lnTo>
                    <a:pt x="31" y="9"/>
                  </a:lnTo>
                  <a:lnTo>
                    <a:pt x="26" y="9"/>
                  </a:lnTo>
                  <a:lnTo>
                    <a:pt x="24" y="11"/>
                  </a:lnTo>
                  <a:lnTo>
                    <a:pt x="19" y="14"/>
                  </a:lnTo>
                  <a:lnTo>
                    <a:pt x="17" y="16"/>
                  </a:lnTo>
                  <a:lnTo>
                    <a:pt x="15" y="19"/>
                  </a:lnTo>
                  <a:lnTo>
                    <a:pt x="10" y="19"/>
                  </a:lnTo>
                  <a:lnTo>
                    <a:pt x="7" y="21"/>
                  </a:lnTo>
                  <a:lnTo>
                    <a:pt x="7" y="28"/>
                  </a:lnTo>
                  <a:lnTo>
                    <a:pt x="7" y="30"/>
                  </a:lnTo>
                  <a:lnTo>
                    <a:pt x="5" y="37"/>
                  </a:lnTo>
                  <a:lnTo>
                    <a:pt x="3" y="47"/>
                  </a:lnTo>
                  <a:lnTo>
                    <a:pt x="0" y="52"/>
                  </a:lnTo>
                  <a:lnTo>
                    <a:pt x="0" y="59"/>
                  </a:lnTo>
                  <a:lnTo>
                    <a:pt x="0" y="63"/>
                  </a:lnTo>
                  <a:lnTo>
                    <a:pt x="0" y="68"/>
                  </a:lnTo>
                  <a:lnTo>
                    <a:pt x="3" y="71"/>
                  </a:lnTo>
                  <a:lnTo>
                    <a:pt x="5" y="68"/>
                  </a:lnTo>
                  <a:lnTo>
                    <a:pt x="7" y="71"/>
                  </a:lnTo>
                  <a:lnTo>
                    <a:pt x="7" y="71"/>
                  </a:lnTo>
                  <a:lnTo>
                    <a:pt x="10" y="68"/>
                  </a:lnTo>
                  <a:lnTo>
                    <a:pt x="10" y="68"/>
                  </a:lnTo>
                  <a:lnTo>
                    <a:pt x="10" y="66"/>
                  </a:lnTo>
                  <a:lnTo>
                    <a:pt x="12" y="66"/>
                  </a:lnTo>
                  <a:lnTo>
                    <a:pt x="15" y="68"/>
                  </a:lnTo>
                  <a:lnTo>
                    <a:pt x="15" y="71"/>
                  </a:lnTo>
                  <a:lnTo>
                    <a:pt x="17" y="73"/>
                  </a:lnTo>
                  <a:lnTo>
                    <a:pt x="24" y="59"/>
                  </a:lnTo>
                  <a:lnTo>
                    <a:pt x="24" y="61"/>
                  </a:lnTo>
                  <a:lnTo>
                    <a:pt x="26" y="63"/>
                  </a:lnTo>
                  <a:lnTo>
                    <a:pt x="29" y="63"/>
                  </a:lnTo>
                  <a:lnTo>
                    <a:pt x="31" y="63"/>
                  </a:lnTo>
                  <a:lnTo>
                    <a:pt x="31" y="63"/>
                  </a:lnTo>
                  <a:lnTo>
                    <a:pt x="33" y="68"/>
                  </a:lnTo>
                  <a:lnTo>
                    <a:pt x="36" y="68"/>
                  </a:lnTo>
                  <a:lnTo>
                    <a:pt x="36" y="66"/>
                  </a:lnTo>
                  <a:lnTo>
                    <a:pt x="41" y="66"/>
                  </a:lnTo>
                  <a:lnTo>
                    <a:pt x="43" y="63"/>
                  </a:lnTo>
                  <a:lnTo>
                    <a:pt x="43" y="63"/>
                  </a:lnTo>
                  <a:lnTo>
                    <a:pt x="45" y="63"/>
                  </a:lnTo>
                  <a:lnTo>
                    <a:pt x="45" y="66"/>
                  </a:lnTo>
                  <a:lnTo>
                    <a:pt x="48" y="66"/>
                  </a:lnTo>
                  <a:lnTo>
                    <a:pt x="48" y="66"/>
                  </a:lnTo>
                  <a:lnTo>
                    <a:pt x="48" y="66"/>
                  </a:lnTo>
                  <a:lnTo>
                    <a:pt x="50" y="66"/>
                  </a:lnTo>
                  <a:lnTo>
                    <a:pt x="52" y="63"/>
                  </a:lnTo>
                  <a:lnTo>
                    <a:pt x="52" y="66"/>
                  </a:lnTo>
                  <a:lnTo>
                    <a:pt x="55" y="66"/>
                  </a:lnTo>
                  <a:lnTo>
                    <a:pt x="57" y="66"/>
                  </a:lnTo>
                  <a:lnTo>
                    <a:pt x="59" y="66"/>
                  </a:lnTo>
                  <a:lnTo>
                    <a:pt x="59" y="66"/>
                  </a:lnTo>
                  <a:lnTo>
                    <a:pt x="59" y="66"/>
                  </a:lnTo>
                  <a:lnTo>
                    <a:pt x="64" y="66"/>
                  </a:lnTo>
                  <a:lnTo>
                    <a:pt x="69" y="71"/>
                  </a:lnTo>
                  <a:lnTo>
                    <a:pt x="71" y="71"/>
                  </a:lnTo>
                  <a:lnTo>
                    <a:pt x="74" y="71"/>
                  </a:lnTo>
                  <a:lnTo>
                    <a:pt x="78" y="75"/>
                  </a:lnTo>
                  <a:lnTo>
                    <a:pt x="81" y="78"/>
                  </a:lnTo>
                  <a:lnTo>
                    <a:pt x="81" y="82"/>
                  </a:lnTo>
                  <a:lnTo>
                    <a:pt x="85" y="85"/>
                  </a:lnTo>
                  <a:lnTo>
                    <a:pt x="90" y="89"/>
                  </a:lnTo>
                  <a:lnTo>
                    <a:pt x="92" y="89"/>
                  </a:lnTo>
                  <a:lnTo>
                    <a:pt x="92" y="94"/>
                  </a:lnTo>
                  <a:lnTo>
                    <a:pt x="95" y="97"/>
                  </a:lnTo>
                  <a:lnTo>
                    <a:pt x="97" y="97"/>
                  </a:lnTo>
                  <a:lnTo>
                    <a:pt x="100" y="99"/>
                  </a:lnTo>
                  <a:lnTo>
                    <a:pt x="100" y="101"/>
                  </a:lnTo>
                  <a:lnTo>
                    <a:pt x="102" y="104"/>
                  </a:lnTo>
                  <a:lnTo>
                    <a:pt x="104" y="101"/>
                  </a:lnTo>
                  <a:lnTo>
                    <a:pt x="109" y="99"/>
                  </a:lnTo>
                  <a:lnTo>
                    <a:pt x="114" y="97"/>
                  </a:lnTo>
                  <a:lnTo>
                    <a:pt x="114" y="94"/>
                  </a:lnTo>
                  <a:lnTo>
                    <a:pt x="111" y="94"/>
                  </a:lnTo>
                  <a:lnTo>
                    <a:pt x="109" y="94"/>
                  </a:lnTo>
                  <a:lnTo>
                    <a:pt x="109" y="92"/>
                  </a:lnTo>
                  <a:lnTo>
                    <a:pt x="109" y="89"/>
                  </a:lnTo>
                  <a:lnTo>
                    <a:pt x="107" y="89"/>
                  </a:lnTo>
                  <a:lnTo>
                    <a:pt x="104" y="89"/>
                  </a:lnTo>
                  <a:lnTo>
                    <a:pt x="104" y="89"/>
                  </a:lnTo>
                  <a:lnTo>
                    <a:pt x="102" y="87"/>
                  </a:lnTo>
                  <a:lnTo>
                    <a:pt x="102" y="85"/>
                  </a:lnTo>
                  <a:lnTo>
                    <a:pt x="102" y="82"/>
                  </a:lnTo>
                  <a:lnTo>
                    <a:pt x="100" y="82"/>
                  </a:lnTo>
                  <a:lnTo>
                    <a:pt x="100" y="82"/>
                  </a:lnTo>
                  <a:lnTo>
                    <a:pt x="97" y="80"/>
                  </a:lnTo>
                  <a:lnTo>
                    <a:pt x="95" y="78"/>
                  </a:lnTo>
                  <a:lnTo>
                    <a:pt x="95" y="78"/>
                  </a:lnTo>
                  <a:lnTo>
                    <a:pt x="95" y="78"/>
                  </a:lnTo>
                  <a:lnTo>
                    <a:pt x="92" y="75"/>
                  </a:lnTo>
                  <a:lnTo>
                    <a:pt x="92" y="75"/>
                  </a:lnTo>
                  <a:lnTo>
                    <a:pt x="90" y="75"/>
                  </a:lnTo>
                  <a:lnTo>
                    <a:pt x="90" y="75"/>
                  </a:lnTo>
                  <a:lnTo>
                    <a:pt x="88" y="71"/>
                  </a:lnTo>
                  <a:lnTo>
                    <a:pt x="83" y="63"/>
                  </a:lnTo>
                  <a:lnTo>
                    <a:pt x="81" y="63"/>
                  </a:lnTo>
                  <a:lnTo>
                    <a:pt x="78" y="63"/>
                  </a:lnTo>
                  <a:lnTo>
                    <a:pt x="76" y="61"/>
                  </a:lnTo>
                  <a:lnTo>
                    <a:pt x="76" y="61"/>
                  </a:lnTo>
                  <a:lnTo>
                    <a:pt x="74" y="61"/>
                  </a:lnTo>
                  <a:lnTo>
                    <a:pt x="74" y="59"/>
                  </a:lnTo>
                  <a:lnTo>
                    <a:pt x="71" y="56"/>
                  </a:lnTo>
                  <a:lnTo>
                    <a:pt x="69" y="56"/>
                  </a:lnTo>
                  <a:lnTo>
                    <a:pt x="69" y="56"/>
                  </a:lnTo>
                  <a:lnTo>
                    <a:pt x="66" y="59"/>
                  </a:lnTo>
                  <a:lnTo>
                    <a:pt x="66" y="59"/>
                  </a:lnTo>
                  <a:lnTo>
                    <a:pt x="64" y="56"/>
                  </a:lnTo>
                  <a:lnTo>
                    <a:pt x="64" y="54"/>
                  </a:lnTo>
                  <a:lnTo>
                    <a:pt x="62" y="54"/>
                  </a:lnTo>
                  <a:lnTo>
                    <a:pt x="62" y="52"/>
                  </a:lnTo>
                  <a:lnTo>
                    <a:pt x="62" y="49"/>
                  </a:lnTo>
                  <a:lnTo>
                    <a:pt x="62" y="49"/>
                  </a:lnTo>
                  <a:lnTo>
                    <a:pt x="62" y="49"/>
                  </a:lnTo>
                  <a:lnTo>
                    <a:pt x="59" y="47"/>
                  </a:lnTo>
                  <a:lnTo>
                    <a:pt x="59" y="49"/>
                  </a:lnTo>
                  <a:lnTo>
                    <a:pt x="57" y="49"/>
                  </a:lnTo>
                  <a:lnTo>
                    <a:pt x="57" y="52"/>
                  </a:lnTo>
                  <a:lnTo>
                    <a:pt x="59" y="52"/>
                  </a:lnTo>
                  <a:lnTo>
                    <a:pt x="59" y="54"/>
                  </a:lnTo>
                  <a:lnTo>
                    <a:pt x="57" y="54"/>
                  </a:lnTo>
                  <a:lnTo>
                    <a:pt x="57" y="54"/>
                  </a:lnTo>
                  <a:lnTo>
                    <a:pt x="55" y="52"/>
                  </a:lnTo>
                  <a:lnTo>
                    <a:pt x="55" y="52"/>
                  </a:lnTo>
                  <a:lnTo>
                    <a:pt x="55" y="49"/>
                  </a:lnTo>
                  <a:lnTo>
                    <a:pt x="55" y="47"/>
                  </a:lnTo>
                  <a:lnTo>
                    <a:pt x="55" y="47"/>
                  </a:lnTo>
                  <a:lnTo>
                    <a:pt x="52" y="47"/>
                  </a:lnTo>
                  <a:lnTo>
                    <a:pt x="52" y="45"/>
                  </a:lnTo>
                  <a:lnTo>
                    <a:pt x="52" y="45"/>
                  </a:lnTo>
                  <a:lnTo>
                    <a:pt x="50" y="45"/>
                  </a:lnTo>
                  <a:lnTo>
                    <a:pt x="50" y="42"/>
                  </a:lnTo>
                  <a:lnTo>
                    <a:pt x="48" y="40"/>
                  </a:lnTo>
                  <a:lnTo>
                    <a:pt x="48" y="37"/>
                  </a:lnTo>
                  <a:lnTo>
                    <a:pt x="45" y="33"/>
                  </a:lnTo>
                  <a:lnTo>
                    <a:pt x="45" y="30"/>
                  </a:lnTo>
                  <a:lnTo>
                    <a:pt x="45" y="28"/>
                  </a:lnTo>
                  <a:lnTo>
                    <a:pt x="45" y="21"/>
                  </a:lnTo>
                  <a:lnTo>
                    <a:pt x="43" y="21"/>
                  </a:lnTo>
                  <a:lnTo>
                    <a:pt x="43" y="16"/>
                  </a:lnTo>
                  <a:lnTo>
                    <a:pt x="43" y="11"/>
                  </a:lnTo>
                  <a:lnTo>
                    <a:pt x="41" y="9"/>
                  </a:lnTo>
                  <a:lnTo>
                    <a:pt x="41" y="7"/>
                  </a:lnTo>
                  <a:lnTo>
                    <a:pt x="38" y="4"/>
                  </a:lnTo>
                  <a:lnTo>
                    <a:pt x="38" y="2"/>
                  </a:lnTo>
                  <a:lnTo>
                    <a:pt x="36" y="0"/>
                  </a:lnTo>
                  <a:lnTo>
                    <a:pt x="36" y="0"/>
                  </a:lnTo>
                  <a:lnTo>
                    <a:pt x="3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7" name="Freeform 248">
              <a:extLst>
                <a:ext uri="{FF2B5EF4-FFF2-40B4-BE49-F238E27FC236}">
                  <a16:creationId xmlns:a16="http://schemas.microsoft.com/office/drawing/2014/main" id="{6E7E764A-D558-432F-8B90-AD7D9253961D}"/>
                </a:ext>
              </a:extLst>
            </p:cNvPr>
            <p:cNvSpPr>
              <a:spLocks/>
            </p:cNvSpPr>
            <p:nvPr/>
          </p:nvSpPr>
          <p:spPr bwMode="auto">
            <a:xfrm>
              <a:off x="2286840" y="4024280"/>
              <a:ext cx="180975" cy="165101"/>
            </a:xfrm>
            <a:custGeom>
              <a:avLst/>
              <a:gdLst>
                <a:gd name="T0" fmla="*/ 31 w 114"/>
                <a:gd name="T1" fmla="*/ 9 h 104"/>
                <a:gd name="T2" fmla="*/ 19 w 114"/>
                <a:gd name="T3" fmla="*/ 14 h 104"/>
                <a:gd name="T4" fmla="*/ 10 w 114"/>
                <a:gd name="T5" fmla="*/ 19 h 104"/>
                <a:gd name="T6" fmla="*/ 7 w 114"/>
                <a:gd name="T7" fmla="*/ 30 h 104"/>
                <a:gd name="T8" fmla="*/ 0 w 114"/>
                <a:gd name="T9" fmla="*/ 52 h 104"/>
                <a:gd name="T10" fmla="*/ 0 w 114"/>
                <a:gd name="T11" fmla="*/ 68 h 104"/>
                <a:gd name="T12" fmla="*/ 7 w 114"/>
                <a:gd name="T13" fmla="*/ 71 h 104"/>
                <a:gd name="T14" fmla="*/ 10 w 114"/>
                <a:gd name="T15" fmla="*/ 68 h 104"/>
                <a:gd name="T16" fmla="*/ 15 w 114"/>
                <a:gd name="T17" fmla="*/ 68 h 104"/>
                <a:gd name="T18" fmla="*/ 24 w 114"/>
                <a:gd name="T19" fmla="*/ 59 h 104"/>
                <a:gd name="T20" fmla="*/ 29 w 114"/>
                <a:gd name="T21" fmla="*/ 63 h 104"/>
                <a:gd name="T22" fmla="*/ 33 w 114"/>
                <a:gd name="T23" fmla="*/ 68 h 104"/>
                <a:gd name="T24" fmla="*/ 41 w 114"/>
                <a:gd name="T25" fmla="*/ 66 h 104"/>
                <a:gd name="T26" fmla="*/ 45 w 114"/>
                <a:gd name="T27" fmla="*/ 63 h 104"/>
                <a:gd name="T28" fmla="*/ 48 w 114"/>
                <a:gd name="T29" fmla="*/ 66 h 104"/>
                <a:gd name="T30" fmla="*/ 52 w 114"/>
                <a:gd name="T31" fmla="*/ 63 h 104"/>
                <a:gd name="T32" fmla="*/ 57 w 114"/>
                <a:gd name="T33" fmla="*/ 66 h 104"/>
                <a:gd name="T34" fmla="*/ 59 w 114"/>
                <a:gd name="T35" fmla="*/ 66 h 104"/>
                <a:gd name="T36" fmla="*/ 71 w 114"/>
                <a:gd name="T37" fmla="*/ 71 h 104"/>
                <a:gd name="T38" fmla="*/ 81 w 114"/>
                <a:gd name="T39" fmla="*/ 78 h 104"/>
                <a:gd name="T40" fmla="*/ 90 w 114"/>
                <a:gd name="T41" fmla="*/ 89 h 104"/>
                <a:gd name="T42" fmla="*/ 95 w 114"/>
                <a:gd name="T43" fmla="*/ 97 h 104"/>
                <a:gd name="T44" fmla="*/ 100 w 114"/>
                <a:gd name="T45" fmla="*/ 101 h 104"/>
                <a:gd name="T46" fmla="*/ 109 w 114"/>
                <a:gd name="T47" fmla="*/ 99 h 104"/>
                <a:gd name="T48" fmla="*/ 111 w 114"/>
                <a:gd name="T49" fmla="*/ 94 h 104"/>
                <a:gd name="T50" fmla="*/ 109 w 114"/>
                <a:gd name="T51" fmla="*/ 89 h 104"/>
                <a:gd name="T52" fmla="*/ 104 w 114"/>
                <a:gd name="T53" fmla="*/ 89 h 104"/>
                <a:gd name="T54" fmla="*/ 102 w 114"/>
                <a:gd name="T55" fmla="*/ 82 h 104"/>
                <a:gd name="T56" fmla="*/ 97 w 114"/>
                <a:gd name="T57" fmla="*/ 80 h 104"/>
                <a:gd name="T58" fmla="*/ 95 w 114"/>
                <a:gd name="T59" fmla="*/ 78 h 104"/>
                <a:gd name="T60" fmla="*/ 90 w 114"/>
                <a:gd name="T61" fmla="*/ 75 h 104"/>
                <a:gd name="T62" fmla="*/ 83 w 114"/>
                <a:gd name="T63" fmla="*/ 63 h 104"/>
                <a:gd name="T64" fmla="*/ 76 w 114"/>
                <a:gd name="T65" fmla="*/ 61 h 104"/>
                <a:gd name="T66" fmla="*/ 74 w 114"/>
                <a:gd name="T67" fmla="*/ 59 h 104"/>
                <a:gd name="T68" fmla="*/ 69 w 114"/>
                <a:gd name="T69" fmla="*/ 56 h 104"/>
                <a:gd name="T70" fmla="*/ 64 w 114"/>
                <a:gd name="T71" fmla="*/ 56 h 104"/>
                <a:gd name="T72" fmla="*/ 62 w 114"/>
                <a:gd name="T73" fmla="*/ 52 h 104"/>
                <a:gd name="T74" fmla="*/ 62 w 114"/>
                <a:gd name="T75" fmla="*/ 49 h 104"/>
                <a:gd name="T76" fmla="*/ 57 w 114"/>
                <a:gd name="T77" fmla="*/ 49 h 104"/>
                <a:gd name="T78" fmla="*/ 59 w 114"/>
                <a:gd name="T79" fmla="*/ 54 h 104"/>
                <a:gd name="T80" fmla="*/ 55 w 114"/>
                <a:gd name="T81" fmla="*/ 52 h 104"/>
                <a:gd name="T82" fmla="*/ 55 w 114"/>
                <a:gd name="T83" fmla="*/ 47 h 104"/>
                <a:gd name="T84" fmla="*/ 52 w 114"/>
                <a:gd name="T85" fmla="*/ 45 h 104"/>
                <a:gd name="T86" fmla="*/ 50 w 114"/>
                <a:gd name="T87" fmla="*/ 42 h 104"/>
                <a:gd name="T88" fmla="*/ 45 w 114"/>
                <a:gd name="T89" fmla="*/ 33 h 104"/>
                <a:gd name="T90" fmla="*/ 45 w 114"/>
                <a:gd name="T91" fmla="*/ 21 h 104"/>
                <a:gd name="T92" fmla="*/ 43 w 114"/>
                <a:gd name="T93" fmla="*/ 11 h 104"/>
                <a:gd name="T94" fmla="*/ 38 w 114"/>
                <a:gd name="T95" fmla="*/ 4 h 104"/>
                <a:gd name="T96" fmla="*/ 36 w 114"/>
                <a:gd name="T9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 h="104">
                  <a:moveTo>
                    <a:pt x="33" y="0"/>
                  </a:moveTo>
                  <a:lnTo>
                    <a:pt x="33" y="4"/>
                  </a:lnTo>
                  <a:lnTo>
                    <a:pt x="31" y="9"/>
                  </a:lnTo>
                  <a:lnTo>
                    <a:pt x="26" y="9"/>
                  </a:lnTo>
                  <a:lnTo>
                    <a:pt x="24" y="11"/>
                  </a:lnTo>
                  <a:lnTo>
                    <a:pt x="19" y="14"/>
                  </a:lnTo>
                  <a:lnTo>
                    <a:pt x="17" y="16"/>
                  </a:lnTo>
                  <a:lnTo>
                    <a:pt x="15" y="19"/>
                  </a:lnTo>
                  <a:lnTo>
                    <a:pt x="10" y="19"/>
                  </a:lnTo>
                  <a:lnTo>
                    <a:pt x="7" y="21"/>
                  </a:lnTo>
                  <a:lnTo>
                    <a:pt x="7" y="28"/>
                  </a:lnTo>
                  <a:lnTo>
                    <a:pt x="7" y="30"/>
                  </a:lnTo>
                  <a:lnTo>
                    <a:pt x="5" y="37"/>
                  </a:lnTo>
                  <a:lnTo>
                    <a:pt x="3" y="47"/>
                  </a:lnTo>
                  <a:lnTo>
                    <a:pt x="0" y="52"/>
                  </a:lnTo>
                  <a:lnTo>
                    <a:pt x="0" y="59"/>
                  </a:lnTo>
                  <a:lnTo>
                    <a:pt x="0" y="63"/>
                  </a:lnTo>
                  <a:lnTo>
                    <a:pt x="0" y="68"/>
                  </a:lnTo>
                  <a:lnTo>
                    <a:pt x="3" y="71"/>
                  </a:lnTo>
                  <a:lnTo>
                    <a:pt x="5" y="68"/>
                  </a:lnTo>
                  <a:lnTo>
                    <a:pt x="7" y="71"/>
                  </a:lnTo>
                  <a:lnTo>
                    <a:pt x="7" y="71"/>
                  </a:lnTo>
                  <a:lnTo>
                    <a:pt x="10" y="68"/>
                  </a:lnTo>
                  <a:lnTo>
                    <a:pt x="10" y="68"/>
                  </a:lnTo>
                  <a:lnTo>
                    <a:pt x="10" y="66"/>
                  </a:lnTo>
                  <a:lnTo>
                    <a:pt x="12" y="66"/>
                  </a:lnTo>
                  <a:lnTo>
                    <a:pt x="15" y="68"/>
                  </a:lnTo>
                  <a:lnTo>
                    <a:pt x="15" y="71"/>
                  </a:lnTo>
                  <a:lnTo>
                    <a:pt x="17" y="73"/>
                  </a:lnTo>
                  <a:lnTo>
                    <a:pt x="24" y="59"/>
                  </a:lnTo>
                  <a:lnTo>
                    <a:pt x="24" y="61"/>
                  </a:lnTo>
                  <a:lnTo>
                    <a:pt x="26" y="63"/>
                  </a:lnTo>
                  <a:lnTo>
                    <a:pt x="29" y="63"/>
                  </a:lnTo>
                  <a:lnTo>
                    <a:pt x="31" y="63"/>
                  </a:lnTo>
                  <a:lnTo>
                    <a:pt x="31" y="63"/>
                  </a:lnTo>
                  <a:lnTo>
                    <a:pt x="33" y="68"/>
                  </a:lnTo>
                  <a:lnTo>
                    <a:pt x="36" y="68"/>
                  </a:lnTo>
                  <a:lnTo>
                    <a:pt x="36" y="66"/>
                  </a:lnTo>
                  <a:lnTo>
                    <a:pt x="41" y="66"/>
                  </a:lnTo>
                  <a:lnTo>
                    <a:pt x="43" y="63"/>
                  </a:lnTo>
                  <a:lnTo>
                    <a:pt x="43" y="63"/>
                  </a:lnTo>
                  <a:lnTo>
                    <a:pt x="45" y="63"/>
                  </a:lnTo>
                  <a:lnTo>
                    <a:pt x="45" y="66"/>
                  </a:lnTo>
                  <a:lnTo>
                    <a:pt x="48" y="66"/>
                  </a:lnTo>
                  <a:lnTo>
                    <a:pt x="48" y="66"/>
                  </a:lnTo>
                  <a:lnTo>
                    <a:pt x="48" y="66"/>
                  </a:lnTo>
                  <a:lnTo>
                    <a:pt x="50" y="66"/>
                  </a:lnTo>
                  <a:lnTo>
                    <a:pt x="52" y="63"/>
                  </a:lnTo>
                  <a:lnTo>
                    <a:pt x="52" y="66"/>
                  </a:lnTo>
                  <a:lnTo>
                    <a:pt x="55" y="66"/>
                  </a:lnTo>
                  <a:lnTo>
                    <a:pt x="57" y="66"/>
                  </a:lnTo>
                  <a:lnTo>
                    <a:pt x="59" y="66"/>
                  </a:lnTo>
                  <a:lnTo>
                    <a:pt x="59" y="66"/>
                  </a:lnTo>
                  <a:lnTo>
                    <a:pt x="59" y="66"/>
                  </a:lnTo>
                  <a:lnTo>
                    <a:pt x="64" y="66"/>
                  </a:lnTo>
                  <a:lnTo>
                    <a:pt x="69" y="71"/>
                  </a:lnTo>
                  <a:lnTo>
                    <a:pt x="71" y="71"/>
                  </a:lnTo>
                  <a:lnTo>
                    <a:pt x="74" y="71"/>
                  </a:lnTo>
                  <a:lnTo>
                    <a:pt x="78" y="75"/>
                  </a:lnTo>
                  <a:lnTo>
                    <a:pt x="81" y="78"/>
                  </a:lnTo>
                  <a:lnTo>
                    <a:pt x="81" y="82"/>
                  </a:lnTo>
                  <a:lnTo>
                    <a:pt x="85" y="85"/>
                  </a:lnTo>
                  <a:lnTo>
                    <a:pt x="90" y="89"/>
                  </a:lnTo>
                  <a:lnTo>
                    <a:pt x="92" y="89"/>
                  </a:lnTo>
                  <a:lnTo>
                    <a:pt x="92" y="94"/>
                  </a:lnTo>
                  <a:lnTo>
                    <a:pt x="95" y="97"/>
                  </a:lnTo>
                  <a:lnTo>
                    <a:pt x="97" y="97"/>
                  </a:lnTo>
                  <a:lnTo>
                    <a:pt x="100" y="99"/>
                  </a:lnTo>
                  <a:lnTo>
                    <a:pt x="100" y="101"/>
                  </a:lnTo>
                  <a:lnTo>
                    <a:pt x="102" y="104"/>
                  </a:lnTo>
                  <a:lnTo>
                    <a:pt x="104" y="101"/>
                  </a:lnTo>
                  <a:lnTo>
                    <a:pt x="109" y="99"/>
                  </a:lnTo>
                  <a:lnTo>
                    <a:pt x="114" y="97"/>
                  </a:lnTo>
                  <a:lnTo>
                    <a:pt x="114" y="94"/>
                  </a:lnTo>
                  <a:lnTo>
                    <a:pt x="111" y="94"/>
                  </a:lnTo>
                  <a:lnTo>
                    <a:pt x="109" y="94"/>
                  </a:lnTo>
                  <a:lnTo>
                    <a:pt x="109" y="92"/>
                  </a:lnTo>
                  <a:lnTo>
                    <a:pt x="109" y="89"/>
                  </a:lnTo>
                  <a:lnTo>
                    <a:pt x="107" y="89"/>
                  </a:lnTo>
                  <a:lnTo>
                    <a:pt x="104" y="89"/>
                  </a:lnTo>
                  <a:lnTo>
                    <a:pt x="104" y="89"/>
                  </a:lnTo>
                  <a:lnTo>
                    <a:pt x="102" y="87"/>
                  </a:lnTo>
                  <a:lnTo>
                    <a:pt x="102" y="85"/>
                  </a:lnTo>
                  <a:lnTo>
                    <a:pt x="102" y="82"/>
                  </a:lnTo>
                  <a:lnTo>
                    <a:pt x="100" y="82"/>
                  </a:lnTo>
                  <a:lnTo>
                    <a:pt x="100" y="82"/>
                  </a:lnTo>
                  <a:lnTo>
                    <a:pt x="97" y="80"/>
                  </a:lnTo>
                  <a:lnTo>
                    <a:pt x="95" y="78"/>
                  </a:lnTo>
                  <a:lnTo>
                    <a:pt x="95" y="78"/>
                  </a:lnTo>
                  <a:lnTo>
                    <a:pt x="95" y="78"/>
                  </a:lnTo>
                  <a:lnTo>
                    <a:pt x="92" y="75"/>
                  </a:lnTo>
                  <a:lnTo>
                    <a:pt x="92" y="75"/>
                  </a:lnTo>
                  <a:lnTo>
                    <a:pt x="90" y="75"/>
                  </a:lnTo>
                  <a:lnTo>
                    <a:pt x="90" y="75"/>
                  </a:lnTo>
                  <a:lnTo>
                    <a:pt x="88" y="71"/>
                  </a:lnTo>
                  <a:lnTo>
                    <a:pt x="83" y="63"/>
                  </a:lnTo>
                  <a:lnTo>
                    <a:pt x="81" y="63"/>
                  </a:lnTo>
                  <a:lnTo>
                    <a:pt x="78" y="63"/>
                  </a:lnTo>
                  <a:lnTo>
                    <a:pt x="76" y="61"/>
                  </a:lnTo>
                  <a:lnTo>
                    <a:pt x="76" y="61"/>
                  </a:lnTo>
                  <a:lnTo>
                    <a:pt x="74" y="61"/>
                  </a:lnTo>
                  <a:lnTo>
                    <a:pt x="74" y="59"/>
                  </a:lnTo>
                  <a:lnTo>
                    <a:pt x="71" y="56"/>
                  </a:lnTo>
                  <a:lnTo>
                    <a:pt x="69" y="56"/>
                  </a:lnTo>
                  <a:lnTo>
                    <a:pt x="69" y="56"/>
                  </a:lnTo>
                  <a:lnTo>
                    <a:pt x="66" y="59"/>
                  </a:lnTo>
                  <a:lnTo>
                    <a:pt x="66" y="59"/>
                  </a:lnTo>
                  <a:lnTo>
                    <a:pt x="64" y="56"/>
                  </a:lnTo>
                  <a:lnTo>
                    <a:pt x="64" y="54"/>
                  </a:lnTo>
                  <a:lnTo>
                    <a:pt x="62" y="54"/>
                  </a:lnTo>
                  <a:lnTo>
                    <a:pt x="62" y="52"/>
                  </a:lnTo>
                  <a:lnTo>
                    <a:pt x="62" y="49"/>
                  </a:lnTo>
                  <a:lnTo>
                    <a:pt x="62" y="49"/>
                  </a:lnTo>
                  <a:lnTo>
                    <a:pt x="62" y="49"/>
                  </a:lnTo>
                  <a:lnTo>
                    <a:pt x="59" y="47"/>
                  </a:lnTo>
                  <a:lnTo>
                    <a:pt x="59" y="49"/>
                  </a:lnTo>
                  <a:lnTo>
                    <a:pt x="57" y="49"/>
                  </a:lnTo>
                  <a:lnTo>
                    <a:pt x="57" y="52"/>
                  </a:lnTo>
                  <a:lnTo>
                    <a:pt x="59" y="52"/>
                  </a:lnTo>
                  <a:lnTo>
                    <a:pt x="59" y="54"/>
                  </a:lnTo>
                  <a:lnTo>
                    <a:pt x="57" y="54"/>
                  </a:lnTo>
                  <a:lnTo>
                    <a:pt x="57" y="54"/>
                  </a:lnTo>
                  <a:lnTo>
                    <a:pt x="55" y="52"/>
                  </a:lnTo>
                  <a:lnTo>
                    <a:pt x="55" y="52"/>
                  </a:lnTo>
                  <a:lnTo>
                    <a:pt x="55" y="49"/>
                  </a:lnTo>
                  <a:lnTo>
                    <a:pt x="55" y="47"/>
                  </a:lnTo>
                  <a:lnTo>
                    <a:pt x="55" y="47"/>
                  </a:lnTo>
                  <a:lnTo>
                    <a:pt x="52" y="47"/>
                  </a:lnTo>
                  <a:lnTo>
                    <a:pt x="52" y="45"/>
                  </a:lnTo>
                  <a:lnTo>
                    <a:pt x="52" y="45"/>
                  </a:lnTo>
                  <a:lnTo>
                    <a:pt x="50" y="45"/>
                  </a:lnTo>
                  <a:lnTo>
                    <a:pt x="50" y="42"/>
                  </a:lnTo>
                  <a:lnTo>
                    <a:pt x="48" y="40"/>
                  </a:lnTo>
                  <a:lnTo>
                    <a:pt x="48" y="37"/>
                  </a:lnTo>
                  <a:lnTo>
                    <a:pt x="45" y="33"/>
                  </a:lnTo>
                  <a:lnTo>
                    <a:pt x="45" y="30"/>
                  </a:lnTo>
                  <a:lnTo>
                    <a:pt x="45" y="28"/>
                  </a:lnTo>
                  <a:lnTo>
                    <a:pt x="45" y="21"/>
                  </a:lnTo>
                  <a:lnTo>
                    <a:pt x="43" y="21"/>
                  </a:lnTo>
                  <a:lnTo>
                    <a:pt x="43" y="16"/>
                  </a:lnTo>
                  <a:lnTo>
                    <a:pt x="43" y="11"/>
                  </a:lnTo>
                  <a:lnTo>
                    <a:pt x="41" y="9"/>
                  </a:lnTo>
                  <a:lnTo>
                    <a:pt x="41" y="7"/>
                  </a:lnTo>
                  <a:lnTo>
                    <a:pt x="38" y="4"/>
                  </a:lnTo>
                  <a:lnTo>
                    <a:pt x="38" y="2"/>
                  </a:lnTo>
                  <a:lnTo>
                    <a:pt x="36" y="0"/>
                  </a:lnTo>
                  <a:lnTo>
                    <a:pt x="36" y="0"/>
                  </a:lnTo>
                  <a:lnTo>
                    <a:pt x="33" y="0"/>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8" name="Freeform 249">
              <a:extLst>
                <a:ext uri="{FF2B5EF4-FFF2-40B4-BE49-F238E27FC236}">
                  <a16:creationId xmlns:a16="http://schemas.microsoft.com/office/drawing/2014/main" id="{DDA54DDB-03C6-486A-9C22-4909FFC7E2E7}"/>
                </a:ext>
              </a:extLst>
            </p:cNvPr>
            <p:cNvSpPr>
              <a:spLocks/>
            </p:cNvSpPr>
            <p:nvPr/>
          </p:nvSpPr>
          <p:spPr bwMode="auto">
            <a:xfrm>
              <a:off x="2085227" y="4594192"/>
              <a:ext cx="44450" cy="55563"/>
            </a:xfrm>
            <a:custGeom>
              <a:avLst/>
              <a:gdLst>
                <a:gd name="T0" fmla="*/ 26 w 28"/>
                <a:gd name="T1" fmla="*/ 0 h 35"/>
                <a:gd name="T2" fmla="*/ 26 w 28"/>
                <a:gd name="T3" fmla="*/ 0 h 35"/>
                <a:gd name="T4" fmla="*/ 23 w 28"/>
                <a:gd name="T5" fmla="*/ 0 h 35"/>
                <a:gd name="T6" fmla="*/ 23 w 28"/>
                <a:gd name="T7" fmla="*/ 0 h 35"/>
                <a:gd name="T8" fmla="*/ 23 w 28"/>
                <a:gd name="T9" fmla="*/ 0 h 35"/>
                <a:gd name="T10" fmla="*/ 19 w 28"/>
                <a:gd name="T11" fmla="*/ 0 h 35"/>
                <a:gd name="T12" fmla="*/ 14 w 28"/>
                <a:gd name="T13" fmla="*/ 0 h 35"/>
                <a:gd name="T14" fmla="*/ 14 w 28"/>
                <a:gd name="T15" fmla="*/ 2 h 35"/>
                <a:gd name="T16" fmla="*/ 14 w 28"/>
                <a:gd name="T17" fmla="*/ 2 h 35"/>
                <a:gd name="T18" fmla="*/ 14 w 28"/>
                <a:gd name="T19" fmla="*/ 4 h 35"/>
                <a:gd name="T20" fmla="*/ 12 w 28"/>
                <a:gd name="T21" fmla="*/ 7 h 35"/>
                <a:gd name="T22" fmla="*/ 9 w 28"/>
                <a:gd name="T23" fmla="*/ 7 h 35"/>
                <a:gd name="T24" fmla="*/ 9 w 28"/>
                <a:gd name="T25" fmla="*/ 7 h 35"/>
                <a:gd name="T26" fmla="*/ 7 w 28"/>
                <a:gd name="T27" fmla="*/ 7 h 35"/>
                <a:gd name="T28" fmla="*/ 7 w 28"/>
                <a:gd name="T29" fmla="*/ 7 h 35"/>
                <a:gd name="T30" fmla="*/ 5 w 28"/>
                <a:gd name="T31" fmla="*/ 4 h 35"/>
                <a:gd name="T32" fmla="*/ 5 w 28"/>
                <a:gd name="T33" fmla="*/ 2 h 35"/>
                <a:gd name="T34" fmla="*/ 2 w 28"/>
                <a:gd name="T35" fmla="*/ 2 h 35"/>
                <a:gd name="T36" fmla="*/ 2 w 28"/>
                <a:gd name="T37" fmla="*/ 2 h 35"/>
                <a:gd name="T38" fmla="*/ 0 w 28"/>
                <a:gd name="T39" fmla="*/ 4 h 35"/>
                <a:gd name="T40" fmla="*/ 0 w 28"/>
                <a:gd name="T41" fmla="*/ 7 h 35"/>
                <a:gd name="T42" fmla="*/ 0 w 28"/>
                <a:gd name="T43" fmla="*/ 7 h 35"/>
                <a:gd name="T44" fmla="*/ 2 w 28"/>
                <a:gd name="T45" fmla="*/ 9 h 35"/>
                <a:gd name="T46" fmla="*/ 2 w 28"/>
                <a:gd name="T47" fmla="*/ 9 h 35"/>
                <a:gd name="T48" fmla="*/ 2 w 28"/>
                <a:gd name="T49" fmla="*/ 19 h 35"/>
                <a:gd name="T50" fmla="*/ 5 w 28"/>
                <a:gd name="T51" fmla="*/ 19 h 35"/>
                <a:gd name="T52" fmla="*/ 5 w 28"/>
                <a:gd name="T53" fmla="*/ 21 h 35"/>
                <a:gd name="T54" fmla="*/ 5 w 28"/>
                <a:gd name="T55" fmla="*/ 26 h 35"/>
                <a:gd name="T56" fmla="*/ 5 w 28"/>
                <a:gd name="T57" fmla="*/ 28 h 35"/>
                <a:gd name="T58" fmla="*/ 5 w 28"/>
                <a:gd name="T59" fmla="*/ 30 h 35"/>
                <a:gd name="T60" fmla="*/ 7 w 28"/>
                <a:gd name="T61" fmla="*/ 35 h 35"/>
                <a:gd name="T62" fmla="*/ 9 w 28"/>
                <a:gd name="T63" fmla="*/ 35 h 35"/>
                <a:gd name="T64" fmla="*/ 9 w 28"/>
                <a:gd name="T65" fmla="*/ 35 h 35"/>
                <a:gd name="T66" fmla="*/ 14 w 28"/>
                <a:gd name="T67" fmla="*/ 35 h 35"/>
                <a:gd name="T68" fmla="*/ 19 w 28"/>
                <a:gd name="T69" fmla="*/ 33 h 35"/>
                <a:gd name="T70" fmla="*/ 21 w 28"/>
                <a:gd name="T71" fmla="*/ 26 h 35"/>
                <a:gd name="T72" fmla="*/ 23 w 28"/>
                <a:gd name="T73" fmla="*/ 26 h 35"/>
                <a:gd name="T74" fmla="*/ 26 w 28"/>
                <a:gd name="T75" fmla="*/ 21 h 35"/>
                <a:gd name="T76" fmla="*/ 28 w 28"/>
                <a:gd name="T77" fmla="*/ 16 h 35"/>
                <a:gd name="T78" fmla="*/ 28 w 28"/>
                <a:gd name="T79" fmla="*/ 14 h 35"/>
                <a:gd name="T80" fmla="*/ 28 w 28"/>
                <a:gd name="T81" fmla="*/ 11 h 35"/>
                <a:gd name="T82" fmla="*/ 28 w 28"/>
                <a:gd name="T83" fmla="*/ 9 h 35"/>
                <a:gd name="T84" fmla="*/ 28 w 28"/>
                <a:gd name="T85" fmla="*/ 9 h 35"/>
                <a:gd name="T86" fmla="*/ 26 w 28"/>
                <a:gd name="T87" fmla="*/ 9 h 35"/>
                <a:gd name="T88" fmla="*/ 23 w 28"/>
                <a:gd name="T89" fmla="*/ 7 h 35"/>
                <a:gd name="T90" fmla="*/ 23 w 28"/>
                <a:gd name="T91" fmla="*/ 7 h 35"/>
                <a:gd name="T92" fmla="*/ 23 w 28"/>
                <a:gd name="T93" fmla="*/ 4 h 35"/>
                <a:gd name="T94" fmla="*/ 23 w 28"/>
                <a:gd name="T95" fmla="*/ 2 h 35"/>
                <a:gd name="T96" fmla="*/ 26 w 28"/>
                <a:gd name="T9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35">
                  <a:moveTo>
                    <a:pt x="26" y="0"/>
                  </a:moveTo>
                  <a:lnTo>
                    <a:pt x="26" y="0"/>
                  </a:lnTo>
                  <a:lnTo>
                    <a:pt x="23" y="0"/>
                  </a:lnTo>
                  <a:lnTo>
                    <a:pt x="23" y="0"/>
                  </a:lnTo>
                  <a:lnTo>
                    <a:pt x="23" y="0"/>
                  </a:lnTo>
                  <a:lnTo>
                    <a:pt x="19" y="0"/>
                  </a:lnTo>
                  <a:lnTo>
                    <a:pt x="14" y="0"/>
                  </a:lnTo>
                  <a:lnTo>
                    <a:pt x="14" y="2"/>
                  </a:lnTo>
                  <a:lnTo>
                    <a:pt x="14" y="2"/>
                  </a:lnTo>
                  <a:lnTo>
                    <a:pt x="14" y="4"/>
                  </a:lnTo>
                  <a:lnTo>
                    <a:pt x="12" y="7"/>
                  </a:lnTo>
                  <a:lnTo>
                    <a:pt x="9" y="7"/>
                  </a:lnTo>
                  <a:lnTo>
                    <a:pt x="9" y="7"/>
                  </a:lnTo>
                  <a:lnTo>
                    <a:pt x="7" y="7"/>
                  </a:lnTo>
                  <a:lnTo>
                    <a:pt x="7" y="7"/>
                  </a:lnTo>
                  <a:lnTo>
                    <a:pt x="5" y="4"/>
                  </a:lnTo>
                  <a:lnTo>
                    <a:pt x="5" y="2"/>
                  </a:lnTo>
                  <a:lnTo>
                    <a:pt x="2" y="2"/>
                  </a:lnTo>
                  <a:lnTo>
                    <a:pt x="2" y="2"/>
                  </a:lnTo>
                  <a:lnTo>
                    <a:pt x="0" y="4"/>
                  </a:lnTo>
                  <a:lnTo>
                    <a:pt x="0" y="7"/>
                  </a:lnTo>
                  <a:lnTo>
                    <a:pt x="0" y="7"/>
                  </a:lnTo>
                  <a:lnTo>
                    <a:pt x="2" y="9"/>
                  </a:lnTo>
                  <a:lnTo>
                    <a:pt x="2" y="9"/>
                  </a:lnTo>
                  <a:lnTo>
                    <a:pt x="2" y="19"/>
                  </a:lnTo>
                  <a:lnTo>
                    <a:pt x="5" y="19"/>
                  </a:lnTo>
                  <a:lnTo>
                    <a:pt x="5" y="21"/>
                  </a:lnTo>
                  <a:lnTo>
                    <a:pt x="5" y="26"/>
                  </a:lnTo>
                  <a:lnTo>
                    <a:pt x="5" y="28"/>
                  </a:lnTo>
                  <a:lnTo>
                    <a:pt x="5" y="30"/>
                  </a:lnTo>
                  <a:lnTo>
                    <a:pt x="7" y="35"/>
                  </a:lnTo>
                  <a:lnTo>
                    <a:pt x="9" y="35"/>
                  </a:lnTo>
                  <a:lnTo>
                    <a:pt x="9" y="35"/>
                  </a:lnTo>
                  <a:lnTo>
                    <a:pt x="14" y="35"/>
                  </a:lnTo>
                  <a:lnTo>
                    <a:pt x="19" y="33"/>
                  </a:lnTo>
                  <a:lnTo>
                    <a:pt x="21" y="26"/>
                  </a:lnTo>
                  <a:lnTo>
                    <a:pt x="23" y="26"/>
                  </a:lnTo>
                  <a:lnTo>
                    <a:pt x="26" y="21"/>
                  </a:lnTo>
                  <a:lnTo>
                    <a:pt x="28" y="16"/>
                  </a:lnTo>
                  <a:lnTo>
                    <a:pt x="28" y="14"/>
                  </a:lnTo>
                  <a:lnTo>
                    <a:pt x="28" y="11"/>
                  </a:lnTo>
                  <a:lnTo>
                    <a:pt x="28" y="9"/>
                  </a:lnTo>
                  <a:lnTo>
                    <a:pt x="28" y="9"/>
                  </a:lnTo>
                  <a:lnTo>
                    <a:pt x="26" y="9"/>
                  </a:lnTo>
                  <a:lnTo>
                    <a:pt x="23" y="7"/>
                  </a:lnTo>
                  <a:lnTo>
                    <a:pt x="23" y="7"/>
                  </a:lnTo>
                  <a:lnTo>
                    <a:pt x="23" y="4"/>
                  </a:lnTo>
                  <a:lnTo>
                    <a:pt x="23" y="2"/>
                  </a:lnTo>
                  <a:lnTo>
                    <a:pt x="26"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599" name="Freeform 250">
              <a:extLst>
                <a:ext uri="{FF2B5EF4-FFF2-40B4-BE49-F238E27FC236}">
                  <a16:creationId xmlns:a16="http://schemas.microsoft.com/office/drawing/2014/main" id="{ECEC027C-00CE-4AAA-B44F-126C31322465}"/>
                </a:ext>
              </a:extLst>
            </p:cNvPr>
            <p:cNvSpPr>
              <a:spLocks/>
            </p:cNvSpPr>
            <p:nvPr/>
          </p:nvSpPr>
          <p:spPr bwMode="auto">
            <a:xfrm>
              <a:off x="2085227" y="4594192"/>
              <a:ext cx="44450" cy="55563"/>
            </a:xfrm>
            <a:custGeom>
              <a:avLst/>
              <a:gdLst>
                <a:gd name="T0" fmla="*/ 26 w 28"/>
                <a:gd name="T1" fmla="*/ 0 h 35"/>
                <a:gd name="T2" fmla="*/ 26 w 28"/>
                <a:gd name="T3" fmla="*/ 0 h 35"/>
                <a:gd name="T4" fmla="*/ 23 w 28"/>
                <a:gd name="T5" fmla="*/ 0 h 35"/>
                <a:gd name="T6" fmla="*/ 23 w 28"/>
                <a:gd name="T7" fmla="*/ 0 h 35"/>
                <a:gd name="T8" fmla="*/ 23 w 28"/>
                <a:gd name="T9" fmla="*/ 0 h 35"/>
                <a:gd name="T10" fmla="*/ 19 w 28"/>
                <a:gd name="T11" fmla="*/ 0 h 35"/>
                <a:gd name="T12" fmla="*/ 14 w 28"/>
                <a:gd name="T13" fmla="*/ 0 h 35"/>
                <a:gd name="T14" fmla="*/ 14 w 28"/>
                <a:gd name="T15" fmla="*/ 2 h 35"/>
                <a:gd name="T16" fmla="*/ 14 w 28"/>
                <a:gd name="T17" fmla="*/ 2 h 35"/>
                <a:gd name="T18" fmla="*/ 14 w 28"/>
                <a:gd name="T19" fmla="*/ 4 h 35"/>
                <a:gd name="T20" fmla="*/ 12 w 28"/>
                <a:gd name="T21" fmla="*/ 7 h 35"/>
                <a:gd name="T22" fmla="*/ 9 w 28"/>
                <a:gd name="T23" fmla="*/ 7 h 35"/>
                <a:gd name="T24" fmla="*/ 9 w 28"/>
                <a:gd name="T25" fmla="*/ 7 h 35"/>
                <a:gd name="T26" fmla="*/ 7 w 28"/>
                <a:gd name="T27" fmla="*/ 7 h 35"/>
                <a:gd name="T28" fmla="*/ 7 w 28"/>
                <a:gd name="T29" fmla="*/ 7 h 35"/>
                <a:gd name="T30" fmla="*/ 5 w 28"/>
                <a:gd name="T31" fmla="*/ 4 h 35"/>
                <a:gd name="T32" fmla="*/ 5 w 28"/>
                <a:gd name="T33" fmla="*/ 2 h 35"/>
                <a:gd name="T34" fmla="*/ 2 w 28"/>
                <a:gd name="T35" fmla="*/ 2 h 35"/>
                <a:gd name="T36" fmla="*/ 2 w 28"/>
                <a:gd name="T37" fmla="*/ 2 h 35"/>
                <a:gd name="T38" fmla="*/ 0 w 28"/>
                <a:gd name="T39" fmla="*/ 4 h 35"/>
                <a:gd name="T40" fmla="*/ 0 w 28"/>
                <a:gd name="T41" fmla="*/ 7 h 35"/>
                <a:gd name="T42" fmla="*/ 0 w 28"/>
                <a:gd name="T43" fmla="*/ 7 h 35"/>
                <a:gd name="T44" fmla="*/ 2 w 28"/>
                <a:gd name="T45" fmla="*/ 9 h 35"/>
                <a:gd name="T46" fmla="*/ 2 w 28"/>
                <a:gd name="T47" fmla="*/ 9 h 35"/>
                <a:gd name="T48" fmla="*/ 2 w 28"/>
                <a:gd name="T49" fmla="*/ 19 h 35"/>
                <a:gd name="T50" fmla="*/ 5 w 28"/>
                <a:gd name="T51" fmla="*/ 19 h 35"/>
                <a:gd name="T52" fmla="*/ 5 w 28"/>
                <a:gd name="T53" fmla="*/ 21 h 35"/>
                <a:gd name="T54" fmla="*/ 5 w 28"/>
                <a:gd name="T55" fmla="*/ 26 h 35"/>
                <a:gd name="T56" fmla="*/ 5 w 28"/>
                <a:gd name="T57" fmla="*/ 28 h 35"/>
                <a:gd name="T58" fmla="*/ 5 w 28"/>
                <a:gd name="T59" fmla="*/ 30 h 35"/>
                <a:gd name="T60" fmla="*/ 7 w 28"/>
                <a:gd name="T61" fmla="*/ 35 h 35"/>
                <a:gd name="T62" fmla="*/ 9 w 28"/>
                <a:gd name="T63" fmla="*/ 35 h 35"/>
                <a:gd name="T64" fmla="*/ 9 w 28"/>
                <a:gd name="T65" fmla="*/ 35 h 35"/>
                <a:gd name="T66" fmla="*/ 14 w 28"/>
                <a:gd name="T67" fmla="*/ 35 h 35"/>
                <a:gd name="T68" fmla="*/ 19 w 28"/>
                <a:gd name="T69" fmla="*/ 33 h 35"/>
                <a:gd name="T70" fmla="*/ 21 w 28"/>
                <a:gd name="T71" fmla="*/ 26 h 35"/>
                <a:gd name="T72" fmla="*/ 23 w 28"/>
                <a:gd name="T73" fmla="*/ 26 h 35"/>
                <a:gd name="T74" fmla="*/ 26 w 28"/>
                <a:gd name="T75" fmla="*/ 21 h 35"/>
                <a:gd name="T76" fmla="*/ 28 w 28"/>
                <a:gd name="T77" fmla="*/ 16 h 35"/>
                <a:gd name="T78" fmla="*/ 28 w 28"/>
                <a:gd name="T79" fmla="*/ 14 h 35"/>
                <a:gd name="T80" fmla="*/ 28 w 28"/>
                <a:gd name="T81" fmla="*/ 11 h 35"/>
                <a:gd name="T82" fmla="*/ 28 w 28"/>
                <a:gd name="T83" fmla="*/ 9 h 35"/>
                <a:gd name="T84" fmla="*/ 28 w 28"/>
                <a:gd name="T85" fmla="*/ 9 h 35"/>
                <a:gd name="T86" fmla="*/ 26 w 28"/>
                <a:gd name="T87" fmla="*/ 9 h 35"/>
                <a:gd name="T88" fmla="*/ 23 w 28"/>
                <a:gd name="T89" fmla="*/ 7 h 35"/>
                <a:gd name="T90" fmla="*/ 23 w 28"/>
                <a:gd name="T91" fmla="*/ 7 h 35"/>
                <a:gd name="T92" fmla="*/ 23 w 28"/>
                <a:gd name="T93" fmla="*/ 4 h 35"/>
                <a:gd name="T94" fmla="*/ 23 w 28"/>
                <a:gd name="T95" fmla="*/ 2 h 35"/>
                <a:gd name="T96" fmla="*/ 26 w 28"/>
                <a:gd name="T9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35">
                  <a:moveTo>
                    <a:pt x="26" y="0"/>
                  </a:moveTo>
                  <a:lnTo>
                    <a:pt x="26" y="0"/>
                  </a:lnTo>
                  <a:lnTo>
                    <a:pt x="23" y="0"/>
                  </a:lnTo>
                  <a:lnTo>
                    <a:pt x="23" y="0"/>
                  </a:lnTo>
                  <a:lnTo>
                    <a:pt x="23" y="0"/>
                  </a:lnTo>
                  <a:lnTo>
                    <a:pt x="19" y="0"/>
                  </a:lnTo>
                  <a:lnTo>
                    <a:pt x="14" y="0"/>
                  </a:lnTo>
                  <a:lnTo>
                    <a:pt x="14" y="2"/>
                  </a:lnTo>
                  <a:lnTo>
                    <a:pt x="14" y="2"/>
                  </a:lnTo>
                  <a:lnTo>
                    <a:pt x="14" y="4"/>
                  </a:lnTo>
                  <a:lnTo>
                    <a:pt x="12" y="7"/>
                  </a:lnTo>
                  <a:lnTo>
                    <a:pt x="9" y="7"/>
                  </a:lnTo>
                  <a:lnTo>
                    <a:pt x="9" y="7"/>
                  </a:lnTo>
                  <a:lnTo>
                    <a:pt x="7" y="7"/>
                  </a:lnTo>
                  <a:lnTo>
                    <a:pt x="7" y="7"/>
                  </a:lnTo>
                  <a:lnTo>
                    <a:pt x="5" y="4"/>
                  </a:lnTo>
                  <a:lnTo>
                    <a:pt x="5" y="2"/>
                  </a:lnTo>
                  <a:lnTo>
                    <a:pt x="2" y="2"/>
                  </a:lnTo>
                  <a:lnTo>
                    <a:pt x="2" y="2"/>
                  </a:lnTo>
                  <a:lnTo>
                    <a:pt x="0" y="4"/>
                  </a:lnTo>
                  <a:lnTo>
                    <a:pt x="0" y="7"/>
                  </a:lnTo>
                  <a:lnTo>
                    <a:pt x="0" y="7"/>
                  </a:lnTo>
                  <a:lnTo>
                    <a:pt x="2" y="9"/>
                  </a:lnTo>
                  <a:lnTo>
                    <a:pt x="2" y="9"/>
                  </a:lnTo>
                  <a:lnTo>
                    <a:pt x="2" y="19"/>
                  </a:lnTo>
                  <a:lnTo>
                    <a:pt x="5" y="19"/>
                  </a:lnTo>
                  <a:lnTo>
                    <a:pt x="5" y="21"/>
                  </a:lnTo>
                  <a:lnTo>
                    <a:pt x="5" y="26"/>
                  </a:lnTo>
                  <a:lnTo>
                    <a:pt x="5" y="28"/>
                  </a:lnTo>
                  <a:lnTo>
                    <a:pt x="5" y="30"/>
                  </a:lnTo>
                  <a:lnTo>
                    <a:pt x="7" y="35"/>
                  </a:lnTo>
                  <a:lnTo>
                    <a:pt x="9" y="35"/>
                  </a:lnTo>
                  <a:lnTo>
                    <a:pt x="9" y="35"/>
                  </a:lnTo>
                  <a:lnTo>
                    <a:pt x="14" y="35"/>
                  </a:lnTo>
                  <a:lnTo>
                    <a:pt x="19" y="33"/>
                  </a:lnTo>
                  <a:lnTo>
                    <a:pt x="21" y="26"/>
                  </a:lnTo>
                  <a:lnTo>
                    <a:pt x="23" y="26"/>
                  </a:lnTo>
                  <a:lnTo>
                    <a:pt x="26" y="21"/>
                  </a:lnTo>
                  <a:lnTo>
                    <a:pt x="28" y="16"/>
                  </a:lnTo>
                  <a:lnTo>
                    <a:pt x="28" y="14"/>
                  </a:lnTo>
                  <a:lnTo>
                    <a:pt x="28" y="11"/>
                  </a:lnTo>
                  <a:lnTo>
                    <a:pt x="28" y="9"/>
                  </a:lnTo>
                  <a:lnTo>
                    <a:pt x="28" y="9"/>
                  </a:lnTo>
                  <a:lnTo>
                    <a:pt x="26" y="9"/>
                  </a:lnTo>
                  <a:lnTo>
                    <a:pt x="23" y="7"/>
                  </a:lnTo>
                  <a:lnTo>
                    <a:pt x="23" y="7"/>
                  </a:lnTo>
                  <a:lnTo>
                    <a:pt x="23" y="4"/>
                  </a:lnTo>
                  <a:lnTo>
                    <a:pt x="23" y="2"/>
                  </a:lnTo>
                  <a:lnTo>
                    <a:pt x="26"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0" name="Freeform 251">
              <a:extLst>
                <a:ext uri="{FF2B5EF4-FFF2-40B4-BE49-F238E27FC236}">
                  <a16:creationId xmlns:a16="http://schemas.microsoft.com/office/drawing/2014/main" id="{6AA5B9E8-C91A-4E5E-B6FA-B040DD21B0AE}"/>
                </a:ext>
              </a:extLst>
            </p:cNvPr>
            <p:cNvSpPr>
              <a:spLocks/>
            </p:cNvSpPr>
            <p:nvPr/>
          </p:nvSpPr>
          <p:spPr bwMode="auto">
            <a:xfrm>
              <a:off x="2186827" y="4789455"/>
              <a:ext cx="85725" cy="217488"/>
            </a:xfrm>
            <a:custGeom>
              <a:avLst/>
              <a:gdLst>
                <a:gd name="T0" fmla="*/ 18 w 54"/>
                <a:gd name="T1" fmla="*/ 4 h 137"/>
                <a:gd name="T2" fmla="*/ 11 w 54"/>
                <a:gd name="T3" fmla="*/ 4 h 137"/>
                <a:gd name="T4" fmla="*/ 7 w 54"/>
                <a:gd name="T5" fmla="*/ 2 h 137"/>
                <a:gd name="T6" fmla="*/ 2 w 54"/>
                <a:gd name="T7" fmla="*/ 2 h 137"/>
                <a:gd name="T8" fmla="*/ 7 w 54"/>
                <a:gd name="T9" fmla="*/ 4 h 137"/>
                <a:gd name="T10" fmla="*/ 9 w 54"/>
                <a:gd name="T11" fmla="*/ 14 h 137"/>
                <a:gd name="T12" fmla="*/ 14 w 54"/>
                <a:gd name="T13" fmla="*/ 21 h 137"/>
                <a:gd name="T14" fmla="*/ 11 w 54"/>
                <a:gd name="T15" fmla="*/ 25 h 137"/>
                <a:gd name="T16" fmla="*/ 9 w 54"/>
                <a:gd name="T17" fmla="*/ 30 h 137"/>
                <a:gd name="T18" fmla="*/ 9 w 54"/>
                <a:gd name="T19" fmla="*/ 40 h 137"/>
                <a:gd name="T20" fmla="*/ 9 w 54"/>
                <a:gd name="T21" fmla="*/ 51 h 137"/>
                <a:gd name="T22" fmla="*/ 11 w 54"/>
                <a:gd name="T23" fmla="*/ 54 h 137"/>
                <a:gd name="T24" fmla="*/ 7 w 54"/>
                <a:gd name="T25" fmla="*/ 59 h 137"/>
                <a:gd name="T26" fmla="*/ 2 w 54"/>
                <a:gd name="T27" fmla="*/ 63 h 137"/>
                <a:gd name="T28" fmla="*/ 0 w 54"/>
                <a:gd name="T29" fmla="*/ 75 h 137"/>
                <a:gd name="T30" fmla="*/ 0 w 54"/>
                <a:gd name="T31" fmla="*/ 80 h 137"/>
                <a:gd name="T32" fmla="*/ 4 w 54"/>
                <a:gd name="T33" fmla="*/ 82 h 137"/>
                <a:gd name="T34" fmla="*/ 7 w 54"/>
                <a:gd name="T35" fmla="*/ 85 h 137"/>
                <a:gd name="T36" fmla="*/ 14 w 54"/>
                <a:gd name="T37" fmla="*/ 92 h 137"/>
                <a:gd name="T38" fmla="*/ 28 w 54"/>
                <a:gd name="T39" fmla="*/ 92 h 137"/>
                <a:gd name="T40" fmla="*/ 30 w 54"/>
                <a:gd name="T41" fmla="*/ 99 h 137"/>
                <a:gd name="T42" fmla="*/ 28 w 54"/>
                <a:gd name="T43" fmla="*/ 108 h 137"/>
                <a:gd name="T44" fmla="*/ 26 w 54"/>
                <a:gd name="T45" fmla="*/ 115 h 137"/>
                <a:gd name="T46" fmla="*/ 30 w 54"/>
                <a:gd name="T47" fmla="*/ 125 h 137"/>
                <a:gd name="T48" fmla="*/ 35 w 54"/>
                <a:gd name="T49" fmla="*/ 129 h 137"/>
                <a:gd name="T50" fmla="*/ 40 w 54"/>
                <a:gd name="T51" fmla="*/ 132 h 137"/>
                <a:gd name="T52" fmla="*/ 40 w 54"/>
                <a:gd name="T53" fmla="*/ 137 h 137"/>
                <a:gd name="T54" fmla="*/ 42 w 54"/>
                <a:gd name="T55" fmla="*/ 137 h 137"/>
                <a:gd name="T56" fmla="*/ 42 w 54"/>
                <a:gd name="T57" fmla="*/ 129 h 137"/>
                <a:gd name="T58" fmla="*/ 42 w 54"/>
                <a:gd name="T59" fmla="*/ 125 h 137"/>
                <a:gd name="T60" fmla="*/ 47 w 54"/>
                <a:gd name="T61" fmla="*/ 120 h 137"/>
                <a:gd name="T62" fmla="*/ 52 w 54"/>
                <a:gd name="T63" fmla="*/ 118 h 137"/>
                <a:gd name="T64" fmla="*/ 52 w 54"/>
                <a:gd name="T65" fmla="*/ 103 h 137"/>
                <a:gd name="T66" fmla="*/ 54 w 54"/>
                <a:gd name="T67" fmla="*/ 94 h 137"/>
                <a:gd name="T68" fmla="*/ 44 w 54"/>
                <a:gd name="T69" fmla="*/ 85 h 137"/>
                <a:gd name="T70" fmla="*/ 35 w 54"/>
                <a:gd name="T71" fmla="*/ 73 h 137"/>
                <a:gd name="T72" fmla="*/ 35 w 54"/>
                <a:gd name="T73" fmla="*/ 77 h 137"/>
                <a:gd name="T74" fmla="*/ 37 w 54"/>
                <a:gd name="T75" fmla="*/ 80 h 137"/>
                <a:gd name="T76" fmla="*/ 40 w 54"/>
                <a:gd name="T77" fmla="*/ 89 h 137"/>
                <a:gd name="T78" fmla="*/ 37 w 54"/>
                <a:gd name="T79" fmla="*/ 87 h 137"/>
                <a:gd name="T80" fmla="*/ 35 w 54"/>
                <a:gd name="T81" fmla="*/ 82 h 137"/>
                <a:gd name="T82" fmla="*/ 30 w 54"/>
                <a:gd name="T83" fmla="*/ 87 h 137"/>
                <a:gd name="T84" fmla="*/ 30 w 54"/>
                <a:gd name="T85" fmla="*/ 82 h 137"/>
                <a:gd name="T86" fmla="*/ 30 w 54"/>
                <a:gd name="T87" fmla="*/ 77 h 137"/>
                <a:gd name="T88" fmla="*/ 26 w 54"/>
                <a:gd name="T89" fmla="*/ 73 h 137"/>
                <a:gd name="T90" fmla="*/ 26 w 54"/>
                <a:gd name="T91" fmla="*/ 66 h 137"/>
                <a:gd name="T92" fmla="*/ 21 w 54"/>
                <a:gd name="T93" fmla="*/ 51 h 137"/>
                <a:gd name="T94" fmla="*/ 23 w 54"/>
                <a:gd name="T95" fmla="*/ 44 h 137"/>
                <a:gd name="T96" fmla="*/ 23 w 54"/>
                <a:gd name="T97" fmla="*/ 23 h 137"/>
                <a:gd name="T98" fmla="*/ 23 w 54"/>
                <a:gd name="T99" fmla="*/ 16 h 137"/>
                <a:gd name="T100" fmla="*/ 18 w 54"/>
                <a:gd name="T101" fmla="*/ 11 h 137"/>
                <a:gd name="T102" fmla="*/ 21 w 54"/>
                <a:gd name="T103"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137">
                  <a:moveTo>
                    <a:pt x="18" y="7"/>
                  </a:moveTo>
                  <a:lnTo>
                    <a:pt x="18" y="4"/>
                  </a:lnTo>
                  <a:lnTo>
                    <a:pt x="18" y="4"/>
                  </a:lnTo>
                  <a:lnTo>
                    <a:pt x="16" y="4"/>
                  </a:lnTo>
                  <a:lnTo>
                    <a:pt x="16" y="4"/>
                  </a:lnTo>
                  <a:lnTo>
                    <a:pt x="11" y="4"/>
                  </a:lnTo>
                  <a:lnTo>
                    <a:pt x="11" y="4"/>
                  </a:lnTo>
                  <a:lnTo>
                    <a:pt x="9" y="2"/>
                  </a:lnTo>
                  <a:lnTo>
                    <a:pt x="7" y="2"/>
                  </a:lnTo>
                  <a:lnTo>
                    <a:pt x="2" y="0"/>
                  </a:lnTo>
                  <a:lnTo>
                    <a:pt x="2" y="2"/>
                  </a:lnTo>
                  <a:lnTo>
                    <a:pt x="2" y="2"/>
                  </a:lnTo>
                  <a:lnTo>
                    <a:pt x="2" y="4"/>
                  </a:lnTo>
                  <a:lnTo>
                    <a:pt x="4" y="4"/>
                  </a:lnTo>
                  <a:lnTo>
                    <a:pt x="7" y="4"/>
                  </a:lnTo>
                  <a:lnTo>
                    <a:pt x="9" y="7"/>
                  </a:lnTo>
                  <a:lnTo>
                    <a:pt x="9" y="9"/>
                  </a:lnTo>
                  <a:lnTo>
                    <a:pt x="9" y="14"/>
                  </a:lnTo>
                  <a:lnTo>
                    <a:pt x="11" y="14"/>
                  </a:lnTo>
                  <a:lnTo>
                    <a:pt x="14" y="21"/>
                  </a:lnTo>
                  <a:lnTo>
                    <a:pt x="14" y="21"/>
                  </a:lnTo>
                  <a:lnTo>
                    <a:pt x="14" y="23"/>
                  </a:lnTo>
                  <a:lnTo>
                    <a:pt x="14" y="23"/>
                  </a:lnTo>
                  <a:lnTo>
                    <a:pt x="11" y="25"/>
                  </a:lnTo>
                  <a:lnTo>
                    <a:pt x="11" y="25"/>
                  </a:lnTo>
                  <a:lnTo>
                    <a:pt x="9" y="28"/>
                  </a:lnTo>
                  <a:lnTo>
                    <a:pt x="9" y="30"/>
                  </a:lnTo>
                  <a:lnTo>
                    <a:pt x="9" y="33"/>
                  </a:lnTo>
                  <a:lnTo>
                    <a:pt x="7" y="37"/>
                  </a:lnTo>
                  <a:lnTo>
                    <a:pt x="9" y="40"/>
                  </a:lnTo>
                  <a:lnTo>
                    <a:pt x="9" y="44"/>
                  </a:lnTo>
                  <a:lnTo>
                    <a:pt x="7" y="49"/>
                  </a:lnTo>
                  <a:lnTo>
                    <a:pt x="9" y="51"/>
                  </a:lnTo>
                  <a:lnTo>
                    <a:pt x="9" y="51"/>
                  </a:lnTo>
                  <a:lnTo>
                    <a:pt x="11" y="54"/>
                  </a:lnTo>
                  <a:lnTo>
                    <a:pt x="11" y="54"/>
                  </a:lnTo>
                  <a:lnTo>
                    <a:pt x="11" y="56"/>
                  </a:lnTo>
                  <a:lnTo>
                    <a:pt x="7" y="56"/>
                  </a:lnTo>
                  <a:lnTo>
                    <a:pt x="7" y="59"/>
                  </a:lnTo>
                  <a:lnTo>
                    <a:pt x="4" y="59"/>
                  </a:lnTo>
                  <a:lnTo>
                    <a:pt x="4" y="59"/>
                  </a:lnTo>
                  <a:lnTo>
                    <a:pt x="2" y="63"/>
                  </a:lnTo>
                  <a:lnTo>
                    <a:pt x="2" y="68"/>
                  </a:lnTo>
                  <a:lnTo>
                    <a:pt x="2" y="73"/>
                  </a:lnTo>
                  <a:lnTo>
                    <a:pt x="0" y="75"/>
                  </a:lnTo>
                  <a:lnTo>
                    <a:pt x="0" y="75"/>
                  </a:lnTo>
                  <a:lnTo>
                    <a:pt x="0" y="80"/>
                  </a:lnTo>
                  <a:lnTo>
                    <a:pt x="0" y="80"/>
                  </a:lnTo>
                  <a:lnTo>
                    <a:pt x="2" y="82"/>
                  </a:lnTo>
                  <a:lnTo>
                    <a:pt x="4" y="82"/>
                  </a:lnTo>
                  <a:lnTo>
                    <a:pt x="4" y="82"/>
                  </a:lnTo>
                  <a:lnTo>
                    <a:pt x="4" y="82"/>
                  </a:lnTo>
                  <a:lnTo>
                    <a:pt x="7" y="82"/>
                  </a:lnTo>
                  <a:lnTo>
                    <a:pt x="7" y="85"/>
                  </a:lnTo>
                  <a:lnTo>
                    <a:pt x="11" y="89"/>
                  </a:lnTo>
                  <a:lnTo>
                    <a:pt x="14" y="92"/>
                  </a:lnTo>
                  <a:lnTo>
                    <a:pt x="14" y="92"/>
                  </a:lnTo>
                  <a:lnTo>
                    <a:pt x="16" y="92"/>
                  </a:lnTo>
                  <a:lnTo>
                    <a:pt x="26" y="89"/>
                  </a:lnTo>
                  <a:lnTo>
                    <a:pt x="28" y="92"/>
                  </a:lnTo>
                  <a:lnTo>
                    <a:pt x="28" y="92"/>
                  </a:lnTo>
                  <a:lnTo>
                    <a:pt x="30" y="96"/>
                  </a:lnTo>
                  <a:lnTo>
                    <a:pt x="30" y="99"/>
                  </a:lnTo>
                  <a:lnTo>
                    <a:pt x="30" y="103"/>
                  </a:lnTo>
                  <a:lnTo>
                    <a:pt x="30" y="106"/>
                  </a:lnTo>
                  <a:lnTo>
                    <a:pt x="28" y="108"/>
                  </a:lnTo>
                  <a:lnTo>
                    <a:pt x="28" y="111"/>
                  </a:lnTo>
                  <a:lnTo>
                    <a:pt x="26" y="113"/>
                  </a:lnTo>
                  <a:lnTo>
                    <a:pt x="26" y="115"/>
                  </a:lnTo>
                  <a:lnTo>
                    <a:pt x="26" y="118"/>
                  </a:lnTo>
                  <a:lnTo>
                    <a:pt x="28" y="122"/>
                  </a:lnTo>
                  <a:lnTo>
                    <a:pt x="30" y="125"/>
                  </a:lnTo>
                  <a:lnTo>
                    <a:pt x="30" y="125"/>
                  </a:lnTo>
                  <a:lnTo>
                    <a:pt x="30" y="125"/>
                  </a:lnTo>
                  <a:lnTo>
                    <a:pt x="35" y="129"/>
                  </a:lnTo>
                  <a:lnTo>
                    <a:pt x="35" y="129"/>
                  </a:lnTo>
                  <a:lnTo>
                    <a:pt x="37" y="132"/>
                  </a:lnTo>
                  <a:lnTo>
                    <a:pt x="40" y="132"/>
                  </a:lnTo>
                  <a:lnTo>
                    <a:pt x="40" y="134"/>
                  </a:lnTo>
                  <a:lnTo>
                    <a:pt x="40" y="134"/>
                  </a:lnTo>
                  <a:lnTo>
                    <a:pt x="40" y="137"/>
                  </a:lnTo>
                  <a:lnTo>
                    <a:pt x="40" y="137"/>
                  </a:lnTo>
                  <a:lnTo>
                    <a:pt x="42" y="137"/>
                  </a:lnTo>
                  <a:lnTo>
                    <a:pt x="42" y="137"/>
                  </a:lnTo>
                  <a:lnTo>
                    <a:pt x="42" y="134"/>
                  </a:lnTo>
                  <a:lnTo>
                    <a:pt x="42" y="132"/>
                  </a:lnTo>
                  <a:lnTo>
                    <a:pt x="42" y="129"/>
                  </a:lnTo>
                  <a:lnTo>
                    <a:pt x="42" y="129"/>
                  </a:lnTo>
                  <a:lnTo>
                    <a:pt x="42" y="127"/>
                  </a:lnTo>
                  <a:lnTo>
                    <a:pt x="42" y="125"/>
                  </a:lnTo>
                  <a:lnTo>
                    <a:pt x="42" y="125"/>
                  </a:lnTo>
                  <a:lnTo>
                    <a:pt x="42" y="122"/>
                  </a:lnTo>
                  <a:lnTo>
                    <a:pt x="47" y="120"/>
                  </a:lnTo>
                  <a:lnTo>
                    <a:pt x="49" y="120"/>
                  </a:lnTo>
                  <a:lnTo>
                    <a:pt x="52" y="118"/>
                  </a:lnTo>
                  <a:lnTo>
                    <a:pt x="52" y="118"/>
                  </a:lnTo>
                  <a:lnTo>
                    <a:pt x="52" y="111"/>
                  </a:lnTo>
                  <a:lnTo>
                    <a:pt x="54" y="108"/>
                  </a:lnTo>
                  <a:lnTo>
                    <a:pt x="52" y="103"/>
                  </a:lnTo>
                  <a:lnTo>
                    <a:pt x="54" y="101"/>
                  </a:lnTo>
                  <a:lnTo>
                    <a:pt x="54" y="99"/>
                  </a:lnTo>
                  <a:lnTo>
                    <a:pt x="54" y="94"/>
                  </a:lnTo>
                  <a:lnTo>
                    <a:pt x="52" y="92"/>
                  </a:lnTo>
                  <a:lnTo>
                    <a:pt x="47" y="87"/>
                  </a:lnTo>
                  <a:lnTo>
                    <a:pt x="44" y="85"/>
                  </a:lnTo>
                  <a:lnTo>
                    <a:pt x="40" y="80"/>
                  </a:lnTo>
                  <a:lnTo>
                    <a:pt x="37" y="77"/>
                  </a:lnTo>
                  <a:lnTo>
                    <a:pt x="35" y="73"/>
                  </a:lnTo>
                  <a:lnTo>
                    <a:pt x="35" y="73"/>
                  </a:lnTo>
                  <a:lnTo>
                    <a:pt x="35" y="75"/>
                  </a:lnTo>
                  <a:lnTo>
                    <a:pt x="35" y="77"/>
                  </a:lnTo>
                  <a:lnTo>
                    <a:pt x="35" y="77"/>
                  </a:lnTo>
                  <a:lnTo>
                    <a:pt x="37" y="77"/>
                  </a:lnTo>
                  <a:lnTo>
                    <a:pt x="37" y="80"/>
                  </a:lnTo>
                  <a:lnTo>
                    <a:pt x="42" y="87"/>
                  </a:lnTo>
                  <a:lnTo>
                    <a:pt x="42" y="89"/>
                  </a:lnTo>
                  <a:lnTo>
                    <a:pt x="40" y="89"/>
                  </a:lnTo>
                  <a:lnTo>
                    <a:pt x="40" y="89"/>
                  </a:lnTo>
                  <a:lnTo>
                    <a:pt x="37" y="87"/>
                  </a:lnTo>
                  <a:lnTo>
                    <a:pt x="37" y="87"/>
                  </a:lnTo>
                  <a:lnTo>
                    <a:pt x="35" y="85"/>
                  </a:lnTo>
                  <a:lnTo>
                    <a:pt x="35" y="82"/>
                  </a:lnTo>
                  <a:lnTo>
                    <a:pt x="35" y="82"/>
                  </a:lnTo>
                  <a:lnTo>
                    <a:pt x="33" y="87"/>
                  </a:lnTo>
                  <a:lnTo>
                    <a:pt x="33" y="87"/>
                  </a:lnTo>
                  <a:lnTo>
                    <a:pt x="30" y="87"/>
                  </a:lnTo>
                  <a:lnTo>
                    <a:pt x="30" y="87"/>
                  </a:lnTo>
                  <a:lnTo>
                    <a:pt x="30" y="85"/>
                  </a:lnTo>
                  <a:lnTo>
                    <a:pt x="30" y="82"/>
                  </a:lnTo>
                  <a:lnTo>
                    <a:pt x="30" y="82"/>
                  </a:lnTo>
                  <a:lnTo>
                    <a:pt x="30" y="80"/>
                  </a:lnTo>
                  <a:lnTo>
                    <a:pt x="30" y="77"/>
                  </a:lnTo>
                  <a:lnTo>
                    <a:pt x="30" y="77"/>
                  </a:lnTo>
                  <a:lnTo>
                    <a:pt x="28" y="75"/>
                  </a:lnTo>
                  <a:lnTo>
                    <a:pt x="26" y="73"/>
                  </a:lnTo>
                  <a:lnTo>
                    <a:pt x="26" y="70"/>
                  </a:lnTo>
                  <a:lnTo>
                    <a:pt x="26" y="66"/>
                  </a:lnTo>
                  <a:lnTo>
                    <a:pt x="26" y="66"/>
                  </a:lnTo>
                  <a:lnTo>
                    <a:pt x="23" y="59"/>
                  </a:lnTo>
                  <a:lnTo>
                    <a:pt x="21" y="51"/>
                  </a:lnTo>
                  <a:lnTo>
                    <a:pt x="21" y="51"/>
                  </a:lnTo>
                  <a:lnTo>
                    <a:pt x="21" y="49"/>
                  </a:lnTo>
                  <a:lnTo>
                    <a:pt x="21" y="47"/>
                  </a:lnTo>
                  <a:lnTo>
                    <a:pt x="23" y="44"/>
                  </a:lnTo>
                  <a:lnTo>
                    <a:pt x="26" y="42"/>
                  </a:lnTo>
                  <a:lnTo>
                    <a:pt x="23" y="30"/>
                  </a:lnTo>
                  <a:lnTo>
                    <a:pt x="23" y="23"/>
                  </a:lnTo>
                  <a:lnTo>
                    <a:pt x="23" y="21"/>
                  </a:lnTo>
                  <a:lnTo>
                    <a:pt x="23" y="18"/>
                  </a:lnTo>
                  <a:lnTo>
                    <a:pt x="23" y="16"/>
                  </a:lnTo>
                  <a:lnTo>
                    <a:pt x="21" y="16"/>
                  </a:lnTo>
                  <a:lnTo>
                    <a:pt x="21" y="14"/>
                  </a:lnTo>
                  <a:lnTo>
                    <a:pt x="18" y="11"/>
                  </a:lnTo>
                  <a:lnTo>
                    <a:pt x="18" y="9"/>
                  </a:lnTo>
                  <a:lnTo>
                    <a:pt x="18" y="7"/>
                  </a:lnTo>
                  <a:lnTo>
                    <a:pt x="21" y="4"/>
                  </a:lnTo>
                  <a:lnTo>
                    <a:pt x="18"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1" name="Freeform 252">
              <a:extLst>
                <a:ext uri="{FF2B5EF4-FFF2-40B4-BE49-F238E27FC236}">
                  <a16:creationId xmlns:a16="http://schemas.microsoft.com/office/drawing/2014/main" id="{B325BCB9-365A-431E-9FF2-EB5241B098F1}"/>
                </a:ext>
              </a:extLst>
            </p:cNvPr>
            <p:cNvSpPr>
              <a:spLocks/>
            </p:cNvSpPr>
            <p:nvPr/>
          </p:nvSpPr>
          <p:spPr bwMode="auto">
            <a:xfrm>
              <a:off x="2186827" y="4789455"/>
              <a:ext cx="85725" cy="217488"/>
            </a:xfrm>
            <a:custGeom>
              <a:avLst/>
              <a:gdLst>
                <a:gd name="T0" fmla="*/ 18 w 54"/>
                <a:gd name="T1" fmla="*/ 4 h 137"/>
                <a:gd name="T2" fmla="*/ 11 w 54"/>
                <a:gd name="T3" fmla="*/ 4 h 137"/>
                <a:gd name="T4" fmla="*/ 7 w 54"/>
                <a:gd name="T5" fmla="*/ 2 h 137"/>
                <a:gd name="T6" fmla="*/ 2 w 54"/>
                <a:gd name="T7" fmla="*/ 2 h 137"/>
                <a:gd name="T8" fmla="*/ 7 w 54"/>
                <a:gd name="T9" fmla="*/ 4 h 137"/>
                <a:gd name="T10" fmla="*/ 9 w 54"/>
                <a:gd name="T11" fmla="*/ 14 h 137"/>
                <a:gd name="T12" fmla="*/ 14 w 54"/>
                <a:gd name="T13" fmla="*/ 21 h 137"/>
                <a:gd name="T14" fmla="*/ 11 w 54"/>
                <a:gd name="T15" fmla="*/ 25 h 137"/>
                <a:gd name="T16" fmla="*/ 9 w 54"/>
                <a:gd name="T17" fmla="*/ 30 h 137"/>
                <a:gd name="T18" fmla="*/ 9 w 54"/>
                <a:gd name="T19" fmla="*/ 40 h 137"/>
                <a:gd name="T20" fmla="*/ 9 w 54"/>
                <a:gd name="T21" fmla="*/ 51 h 137"/>
                <a:gd name="T22" fmla="*/ 11 w 54"/>
                <a:gd name="T23" fmla="*/ 54 h 137"/>
                <a:gd name="T24" fmla="*/ 7 w 54"/>
                <a:gd name="T25" fmla="*/ 59 h 137"/>
                <a:gd name="T26" fmla="*/ 2 w 54"/>
                <a:gd name="T27" fmla="*/ 63 h 137"/>
                <a:gd name="T28" fmla="*/ 0 w 54"/>
                <a:gd name="T29" fmla="*/ 75 h 137"/>
                <a:gd name="T30" fmla="*/ 0 w 54"/>
                <a:gd name="T31" fmla="*/ 80 h 137"/>
                <a:gd name="T32" fmla="*/ 4 w 54"/>
                <a:gd name="T33" fmla="*/ 82 h 137"/>
                <a:gd name="T34" fmla="*/ 7 w 54"/>
                <a:gd name="T35" fmla="*/ 85 h 137"/>
                <a:gd name="T36" fmla="*/ 14 w 54"/>
                <a:gd name="T37" fmla="*/ 92 h 137"/>
                <a:gd name="T38" fmla="*/ 28 w 54"/>
                <a:gd name="T39" fmla="*/ 92 h 137"/>
                <a:gd name="T40" fmla="*/ 30 w 54"/>
                <a:gd name="T41" fmla="*/ 99 h 137"/>
                <a:gd name="T42" fmla="*/ 28 w 54"/>
                <a:gd name="T43" fmla="*/ 108 h 137"/>
                <a:gd name="T44" fmla="*/ 26 w 54"/>
                <a:gd name="T45" fmla="*/ 115 h 137"/>
                <a:gd name="T46" fmla="*/ 30 w 54"/>
                <a:gd name="T47" fmla="*/ 125 h 137"/>
                <a:gd name="T48" fmla="*/ 35 w 54"/>
                <a:gd name="T49" fmla="*/ 129 h 137"/>
                <a:gd name="T50" fmla="*/ 40 w 54"/>
                <a:gd name="T51" fmla="*/ 132 h 137"/>
                <a:gd name="T52" fmla="*/ 40 w 54"/>
                <a:gd name="T53" fmla="*/ 137 h 137"/>
                <a:gd name="T54" fmla="*/ 42 w 54"/>
                <a:gd name="T55" fmla="*/ 137 h 137"/>
                <a:gd name="T56" fmla="*/ 42 w 54"/>
                <a:gd name="T57" fmla="*/ 129 h 137"/>
                <a:gd name="T58" fmla="*/ 42 w 54"/>
                <a:gd name="T59" fmla="*/ 125 h 137"/>
                <a:gd name="T60" fmla="*/ 47 w 54"/>
                <a:gd name="T61" fmla="*/ 120 h 137"/>
                <a:gd name="T62" fmla="*/ 52 w 54"/>
                <a:gd name="T63" fmla="*/ 118 h 137"/>
                <a:gd name="T64" fmla="*/ 52 w 54"/>
                <a:gd name="T65" fmla="*/ 103 h 137"/>
                <a:gd name="T66" fmla="*/ 54 w 54"/>
                <a:gd name="T67" fmla="*/ 94 h 137"/>
                <a:gd name="T68" fmla="*/ 44 w 54"/>
                <a:gd name="T69" fmla="*/ 85 h 137"/>
                <a:gd name="T70" fmla="*/ 35 w 54"/>
                <a:gd name="T71" fmla="*/ 73 h 137"/>
                <a:gd name="T72" fmla="*/ 35 w 54"/>
                <a:gd name="T73" fmla="*/ 77 h 137"/>
                <a:gd name="T74" fmla="*/ 37 w 54"/>
                <a:gd name="T75" fmla="*/ 80 h 137"/>
                <a:gd name="T76" fmla="*/ 40 w 54"/>
                <a:gd name="T77" fmla="*/ 89 h 137"/>
                <a:gd name="T78" fmla="*/ 37 w 54"/>
                <a:gd name="T79" fmla="*/ 87 h 137"/>
                <a:gd name="T80" fmla="*/ 35 w 54"/>
                <a:gd name="T81" fmla="*/ 82 h 137"/>
                <a:gd name="T82" fmla="*/ 30 w 54"/>
                <a:gd name="T83" fmla="*/ 87 h 137"/>
                <a:gd name="T84" fmla="*/ 30 w 54"/>
                <a:gd name="T85" fmla="*/ 82 h 137"/>
                <a:gd name="T86" fmla="*/ 30 w 54"/>
                <a:gd name="T87" fmla="*/ 77 h 137"/>
                <a:gd name="T88" fmla="*/ 26 w 54"/>
                <a:gd name="T89" fmla="*/ 73 h 137"/>
                <a:gd name="T90" fmla="*/ 26 w 54"/>
                <a:gd name="T91" fmla="*/ 66 h 137"/>
                <a:gd name="T92" fmla="*/ 21 w 54"/>
                <a:gd name="T93" fmla="*/ 51 h 137"/>
                <a:gd name="T94" fmla="*/ 23 w 54"/>
                <a:gd name="T95" fmla="*/ 44 h 137"/>
                <a:gd name="T96" fmla="*/ 23 w 54"/>
                <a:gd name="T97" fmla="*/ 23 h 137"/>
                <a:gd name="T98" fmla="*/ 23 w 54"/>
                <a:gd name="T99" fmla="*/ 16 h 137"/>
                <a:gd name="T100" fmla="*/ 18 w 54"/>
                <a:gd name="T101" fmla="*/ 11 h 137"/>
                <a:gd name="T102" fmla="*/ 21 w 54"/>
                <a:gd name="T103"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137">
                  <a:moveTo>
                    <a:pt x="18" y="7"/>
                  </a:moveTo>
                  <a:lnTo>
                    <a:pt x="18" y="4"/>
                  </a:lnTo>
                  <a:lnTo>
                    <a:pt x="18" y="4"/>
                  </a:lnTo>
                  <a:lnTo>
                    <a:pt x="16" y="4"/>
                  </a:lnTo>
                  <a:lnTo>
                    <a:pt x="16" y="4"/>
                  </a:lnTo>
                  <a:lnTo>
                    <a:pt x="11" y="4"/>
                  </a:lnTo>
                  <a:lnTo>
                    <a:pt x="11" y="4"/>
                  </a:lnTo>
                  <a:lnTo>
                    <a:pt x="9" y="2"/>
                  </a:lnTo>
                  <a:lnTo>
                    <a:pt x="7" y="2"/>
                  </a:lnTo>
                  <a:lnTo>
                    <a:pt x="2" y="0"/>
                  </a:lnTo>
                  <a:lnTo>
                    <a:pt x="2" y="2"/>
                  </a:lnTo>
                  <a:lnTo>
                    <a:pt x="2" y="2"/>
                  </a:lnTo>
                  <a:lnTo>
                    <a:pt x="2" y="4"/>
                  </a:lnTo>
                  <a:lnTo>
                    <a:pt x="4" y="4"/>
                  </a:lnTo>
                  <a:lnTo>
                    <a:pt x="7" y="4"/>
                  </a:lnTo>
                  <a:lnTo>
                    <a:pt x="9" y="7"/>
                  </a:lnTo>
                  <a:lnTo>
                    <a:pt x="9" y="9"/>
                  </a:lnTo>
                  <a:lnTo>
                    <a:pt x="9" y="14"/>
                  </a:lnTo>
                  <a:lnTo>
                    <a:pt x="11" y="14"/>
                  </a:lnTo>
                  <a:lnTo>
                    <a:pt x="14" y="21"/>
                  </a:lnTo>
                  <a:lnTo>
                    <a:pt x="14" y="21"/>
                  </a:lnTo>
                  <a:lnTo>
                    <a:pt x="14" y="23"/>
                  </a:lnTo>
                  <a:lnTo>
                    <a:pt x="14" y="23"/>
                  </a:lnTo>
                  <a:lnTo>
                    <a:pt x="11" y="25"/>
                  </a:lnTo>
                  <a:lnTo>
                    <a:pt x="11" y="25"/>
                  </a:lnTo>
                  <a:lnTo>
                    <a:pt x="9" y="28"/>
                  </a:lnTo>
                  <a:lnTo>
                    <a:pt x="9" y="30"/>
                  </a:lnTo>
                  <a:lnTo>
                    <a:pt x="9" y="33"/>
                  </a:lnTo>
                  <a:lnTo>
                    <a:pt x="7" y="37"/>
                  </a:lnTo>
                  <a:lnTo>
                    <a:pt x="9" y="40"/>
                  </a:lnTo>
                  <a:lnTo>
                    <a:pt x="9" y="44"/>
                  </a:lnTo>
                  <a:lnTo>
                    <a:pt x="7" y="49"/>
                  </a:lnTo>
                  <a:lnTo>
                    <a:pt x="9" y="51"/>
                  </a:lnTo>
                  <a:lnTo>
                    <a:pt x="9" y="51"/>
                  </a:lnTo>
                  <a:lnTo>
                    <a:pt x="11" y="54"/>
                  </a:lnTo>
                  <a:lnTo>
                    <a:pt x="11" y="54"/>
                  </a:lnTo>
                  <a:lnTo>
                    <a:pt x="11" y="56"/>
                  </a:lnTo>
                  <a:lnTo>
                    <a:pt x="7" y="56"/>
                  </a:lnTo>
                  <a:lnTo>
                    <a:pt x="7" y="59"/>
                  </a:lnTo>
                  <a:lnTo>
                    <a:pt x="4" y="59"/>
                  </a:lnTo>
                  <a:lnTo>
                    <a:pt x="4" y="59"/>
                  </a:lnTo>
                  <a:lnTo>
                    <a:pt x="2" y="63"/>
                  </a:lnTo>
                  <a:lnTo>
                    <a:pt x="2" y="68"/>
                  </a:lnTo>
                  <a:lnTo>
                    <a:pt x="2" y="73"/>
                  </a:lnTo>
                  <a:lnTo>
                    <a:pt x="0" y="75"/>
                  </a:lnTo>
                  <a:lnTo>
                    <a:pt x="0" y="75"/>
                  </a:lnTo>
                  <a:lnTo>
                    <a:pt x="0" y="80"/>
                  </a:lnTo>
                  <a:lnTo>
                    <a:pt x="0" y="80"/>
                  </a:lnTo>
                  <a:lnTo>
                    <a:pt x="2" y="82"/>
                  </a:lnTo>
                  <a:lnTo>
                    <a:pt x="4" y="82"/>
                  </a:lnTo>
                  <a:lnTo>
                    <a:pt x="4" y="82"/>
                  </a:lnTo>
                  <a:lnTo>
                    <a:pt x="4" y="82"/>
                  </a:lnTo>
                  <a:lnTo>
                    <a:pt x="7" y="82"/>
                  </a:lnTo>
                  <a:lnTo>
                    <a:pt x="7" y="85"/>
                  </a:lnTo>
                  <a:lnTo>
                    <a:pt x="11" y="89"/>
                  </a:lnTo>
                  <a:lnTo>
                    <a:pt x="14" y="92"/>
                  </a:lnTo>
                  <a:lnTo>
                    <a:pt x="14" y="92"/>
                  </a:lnTo>
                  <a:lnTo>
                    <a:pt x="16" y="92"/>
                  </a:lnTo>
                  <a:lnTo>
                    <a:pt x="26" y="89"/>
                  </a:lnTo>
                  <a:lnTo>
                    <a:pt x="28" y="92"/>
                  </a:lnTo>
                  <a:lnTo>
                    <a:pt x="28" y="92"/>
                  </a:lnTo>
                  <a:lnTo>
                    <a:pt x="30" y="96"/>
                  </a:lnTo>
                  <a:lnTo>
                    <a:pt x="30" y="99"/>
                  </a:lnTo>
                  <a:lnTo>
                    <a:pt x="30" y="103"/>
                  </a:lnTo>
                  <a:lnTo>
                    <a:pt x="30" y="106"/>
                  </a:lnTo>
                  <a:lnTo>
                    <a:pt x="28" y="108"/>
                  </a:lnTo>
                  <a:lnTo>
                    <a:pt x="28" y="111"/>
                  </a:lnTo>
                  <a:lnTo>
                    <a:pt x="26" y="113"/>
                  </a:lnTo>
                  <a:lnTo>
                    <a:pt x="26" y="115"/>
                  </a:lnTo>
                  <a:lnTo>
                    <a:pt x="26" y="118"/>
                  </a:lnTo>
                  <a:lnTo>
                    <a:pt x="28" y="122"/>
                  </a:lnTo>
                  <a:lnTo>
                    <a:pt x="30" y="125"/>
                  </a:lnTo>
                  <a:lnTo>
                    <a:pt x="30" y="125"/>
                  </a:lnTo>
                  <a:lnTo>
                    <a:pt x="30" y="125"/>
                  </a:lnTo>
                  <a:lnTo>
                    <a:pt x="35" y="129"/>
                  </a:lnTo>
                  <a:lnTo>
                    <a:pt x="35" y="129"/>
                  </a:lnTo>
                  <a:lnTo>
                    <a:pt x="37" y="132"/>
                  </a:lnTo>
                  <a:lnTo>
                    <a:pt x="40" y="132"/>
                  </a:lnTo>
                  <a:lnTo>
                    <a:pt x="40" y="134"/>
                  </a:lnTo>
                  <a:lnTo>
                    <a:pt x="40" y="134"/>
                  </a:lnTo>
                  <a:lnTo>
                    <a:pt x="40" y="137"/>
                  </a:lnTo>
                  <a:lnTo>
                    <a:pt x="40" y="137"/>
                  </a:lnTo>
                  <a:lnTo>
                    <a:pt x="42" y="137"/>
                  </a:lnTo>
                  <a:lnTo>
                    <a:pt x="42" y="137"/>
                  </a:lnTo>
                  <a:lnTo>
                    <a:pt x="42" y="134"/>
                  </a:lnTo>
                  <a:lnTo>
                    <a:pt x="42" y="132"/>
                  </a:lnTo>
                  <a:lnTo>
                    <a:pt x="42" y="129"/>
                  </a:lnTo>
                  <a:lnTo>
                    <a:pt x="42" y="129"/>
                  </a:lnTo>
                  <a:lnTo>
                    <a:pt x="42" y="127"/>
                  </a:lnTo>
                  <a:lnTo>
                    <a:pt x="42" y="125"/>
                  </a:lnTo>
                  <a:lnTo>
                    <a:pt x="42" y="125"/>
                  </a:lnTo>
                  <a:lnTo>
                    <a:pt x="42" y="122"/>
                  </a:lnTo>
                  <a:lnTo>
                    <a:pt x="47" y="120"/>
                  </a:lnTo>
                  <a:lnTo>
                    <a:pt x="49" y="120"/>
                  </a:lnTo>
                  <a:lnTo>
                    <a:pt x="52" y="118"/>
                  </a:lnTo>
                  <a:lnTo>
                    <a:pt x="52" y="118"/>
                  </a:lnTo>
                  <a:lnTo>
                    <a:pt x="52" y="111"/>
                  </a:lnTo>
                  <a:lnTo>
                    <a:pt x="54" y="108"/>
                  </a:lnTo>
                  <a:lnTo>
                    <a:pt x="52" y="103"/>
                  </a:lnTo>
                  <a:lnTo>
                    <a:pt x="54" y="101"/>
                  </a:lnTo>
                  <a:lnTo>
                    <a:pt x="54" y="99"/>
                  </a:lnTo>
                  <a:lnTo>
                    <a:pt x="54" y="94"/>
                  </a:lnTo>
                  <a:lnTo>
                    <a:pt x="52" y="92"/>
                  </a:lnTo>
                  <a:lnTo>
                    <a:pt x="47" y="87"/>
                  </a:lnTo>
                  <a:lnTo>
                    <a:pt x="44" y="85"/>
                  </a:lnTo>
                  <a:lnTo>
                    <a:pt x="40" y="80"/>
                  </a:lnTo>
                  <a:lnTo>
                    <a:pt x="37" y="77"/>
                  </a:lnTo>
                  <a:lnTo>
                    <a:pt x="35" y="73"/>
                  </a:lnTo>
                  <a:lnTo>
                    <a:pt x="35" y="73"/>
                  </a:lnTo>
                  <a:lnTo>
                    <a:pt x="35" y="75"/>
                  </a:lnTo>
                  <a:lnTo>
                    <a:pt x="35" y="77"/>
                  </a:lnTo>
                  <a:lnTo>
                    <a:pt x="35" y="77"/>
                  </a:lnTo>
                  <a:lnTo>
                    <a:pt x="37" y="77"/>
                  </a:lnTo>
                  <a:lnTo>
                    <a:pt x="37" y="80"/>
                  </a:lnTo>
                  <a:lnTo>
                    <a:pt x="42" y="87"/>
                  </a:lnTo>
                  <a:lnTo>
                    <a:pt x="42" y="89"/>
                  </a:lnTo>
                  <a:lnTo>
                    <a:pt x="40" y="89"/>
                  </a:lnTo>
                  <a:lnTo>
                    <a:pt x="40" y="89"/>
                  </a:lnTo>
                  <a:lnTo>
                    <a:pt x="37" y="87"/>
                  </a:lnTo>
                  <a:lnTo>
                    <a:pt x="37" y="87"/>
                  </a:lnTo>
                  <a:lnTo>
                    <a:pt x="35" y="85"/>
                  </a:lnTo>
                  <a:lnTo>
                    <a:pt x="35" y="82"/>
                  </a:lnTo>
                  <a:lnTo>
                    <a:pt x="35" y="82"/>
                  </a:lnTo>
                  <a:lnTo>
                    <a:pt x="33" y="87"/>
                  </a:lnTo>
                  <a:lnTo>
                    <a:pt x="33" y="87"/>
                  </a:lnTo>
                  <a:lnTo>
                    <a:pt x="30" y="87"/>
                  </a:lnTo>
                  <a:lnTo>
                    <a:pt x="30" y="87"/>
                  </a:lnTo>
                  <a:lnTo>
                    <a:pt x="30" y="85"/>
                  </a:lnTo>
                  <a:lnTo>
                    <a:pt x="30" y="82"/>
                  </a:lnTo>
                  <a:lnTo>
                    <a:pt x="30" y="82"/>
                  </a:lnTo>
                  <a:lnTo>
                    <a:pt x="30" y="80"/>
                  </a:lnTo>
                  <a:lnTo>
                    <a:pt x="30" y="77"/>
                  </a:lnTo>
                  <a:lnTo>
                    <a:pt x="30" y="77"/>
                  </a:lnTo>
                  <a:lnTo>
                    <a:pt x="28" y="75"/>
                  </a:lnTo>
                  <a:lnTo>
                    <a:pt x="26" y="73"/>
                  </a:lnTo>
                  <a:lnTo>
                    <a:pt x="26" y="70"/>
                  </a:lnTo>
                  <a:lnTo>
                    <a:pt x="26" y="66"/>
                  </a:lnTo>
                  <a:lnTo>
                    <a:pt x="26" y="66"/>
                  </a:lnTo>
                  <a:lnTo>
                    <a:pt x="23" y="59"/>
                  </a:lnTo>
                  <a:lnTo>
                    <a:pt x="21" y="51"/>
                  </a:lnTo>
                  <a:lnTo>
                    <a:pt x="21" y="51"/>
                  </a:lnTo>
                  <a:lnTo>
                    <a:pt x="21" y="49"/>
                  </a:lnTo>
                  <a:lnTo>
                    <a:pt x="21" y="47"/>
                  </a:lnTo>
                  <a:lnTo>
                    <a:pt x="23" y="44"/>
                  </a:lnTo>
                  <a:lnTo>
                    <a:pt x="26" y="42"/>
                  </a:lnTo>
                  <a:lnTo>
                    <a:pt x="23" y="30"/>
                  </a:lnTo>
                  <a:lnTo>
                    <a:pt x="23" y="23"/>
                  </a:lnTo>
                  <a:lnTo>
                    <a:pt x="23" y="21"/>
                  </a:lnTo>
                  <a:lnTo>
                    <a:pt x="23" y="18"/>
                  </a:lnTo>
                  <a:lnTo>
                    <a:pt x="23" y="16"/>
                  </a:lnTo>
                  <a:lnTo>
                    <a:pt x="21" y="16"/>
                  </a:lnTo>
                  <a:lnTo>
                    <a:pt x="21" y="14"/>
                  </a:lnTo>
                  <a:lnTo>
                    <a:pt x="18" y="11"/>
                  </a:lnTo>
                  <a:lnTo>
                    <a:pt x="18" y="9"/>
                  </a:lnTo>
                  <a:lnTo>
                    <a:pt x="18" y="7"/>
                  </a:lnTo>
                  <a:lnTo>
                    <a:pt x="21" y="4"/>
                  </a:lnTo>
                  <a:lnTo>
                    <a:pt x="18"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2" name="Freeform 253">
              <a:extLst>
                <a:ext uri="{FF2B5EF4-FFF2-40B4-BE49-F238E27FC236}">
                  <a16:creationId xmlns:a16="http://schemas.microsoft.com/office/drawing/2014/main" id="{F88F19B8-E91F-424A-B5F7-E1826D4F2030}"/>
                </a:ext>
              </a:extLst>
            </p:cNvPr>
            <p:cNvSpPr>
              <a:spLocks/>
            </p:cNvSpPr>
            <p:nvPr/>
          </p:nvSpPr>
          <p:spPr bwMode="auto">
            <a:xfrm>
              <a:off x="2380502" y="3190841"/>
              <a:ext cx="188912" cy="93663"/>
            </a:xfrm>
            <a:custGeom>
              <a:avLst/>
              <a:gdLst>
                <a:gd name="T0" fmla="*/ 31 w 119"/>
                <a:gd name="T1" fmla="*/ 50 h 59"/>
                <a:gd name="T2" fmla="*/ 38 w 119"/>
                <a:gd name="T3" fmla="*/ 50 h 59"/>
                <a:gd name="T4" fmla="*/ 45 w 119"/>
                <a:gd name="T5" fmla="*/ 52 h 59"/>
                <a:gd name="T6" fmla="*/ 48 w 119"/>
                <a:gd name="T7" fmla="*/ 48 h 59"/>
                <a:gd name="T8" fmla="*/ 55 w 119"/>
                <a:gd name="T9" fmla="*/ 50 h 59"/>
                <a:gd name="T10" fmla="*/ 59 w 119"/>
                <a:gd name="T11" fmla="*/ 57 h 59"/>
                <a:gd name="T12" fmla="*/ 69 w 119"/>
                <a:gd name="T13" fmla="*/ 59 h 59"/>
                <a:gd name="T14" fmla="*/ 76 w 119"/>
                <a:gd name="T15" fmla="*/ 57 h 59"/>
                <a:gd name="T16" fmla="*/ 83 w 119"/>
                <a:gd name="T17" fmla="*/ 57 h 59"/>
                <a:gd name="T18" fmla="*/ 90 w 119"/>
                <a:gd name="T19" fmla="*/ 55 h 59"/>
                <a:gd name="T20" fmla="*/ 95 w 119"/>
                <a:gd name="T21" fmla="*/ 52 h 59"/>
                <a:gd name="T22" fmla="*/ 100 w 119"/>
                <a:gd name="T23" fmla="*/ 52 h 59"/>
                <a:gd name="T24" fmla="*/ 107 w 119"/>
                <a:gd name="T25" fmla="*/ 57 h 59"/>
                <a:gd name="T26" fmla="*/ 114 w 119"/>
                <a:gd name="T27" fmla="*/ 57 h 59"/>
                <a:gd name="T28" fmla="*/ 119 w 119"/>
                <a:gd name="T29" fmla="*/ 57 h 59"/>
                <a:gd name="T30" fmla="*/ 114 w 119"/>
                <a:gd name="T31" fmla="*/ 50 h 59"/>
                <a:gd name="T32" fmla="*/ 109 w 119"/>
                <a:gd name="T33" fmla="*/ 48 h 59"/>
                <a:gd name="T34" fmla="*/ 114 w 119"/>
                <a:gd name="T35" fmla="*/ 40 h 59"/>
                <a:gd name="T36" fmla="*/ 111 w 119"/>
                <a:gd name="T37" fmla="*/ 40 h 59"/>
                <a:gd name="T38" fmla="*/ 107 w 119"/>
                <a:gd name="T39" fmla="*/ 36 h 59"/>
                <a:gd name="T40" fmla="*/ 102 w 119"/>
                <a:gd name="T41" fmla="*/ 29 h 59"/>
                <a:gd name="T42" fmla="*/ 100 w 119"/>
                <a:gd name="T43" fmla="*/ 26 h 59"/>
                <a:gd name="T44" fmla="*/ 95 w 119"/>
                <a:gd name="T45" fmla="*/ 24 h 59"/>
                <a:gd name="T46" fmla="*/ 88 w 119"/>
                <a:gd name="T47" fmla="*/ 22 h 59"/>
                <a:gd name="T48" fmla="*/ 83 w 119"/>
                <a:gd name="T49" fmla="*/ 19 h 59"/>
                <a:gd name="T50" fmla="*/ 76 w 119"/>
                <a:gd name="T51" fmla="*/ 22 h 59"/>
                <a:gd name="T52" fmla="*/ 71 w 119"/>
                <a:gd name="T53" fmla="*/ 24 h 59"/>
                <a:gd name="T54" fmla="*/ 69 w 119"/>
                <a:gd name="T55" fmla="*/ 22 h 59"/>
                <a:gd name="T56" fmla="*/ 55 w 119"/>
                <a:gd name="T57" fmla="*/ 12 h 59"/>
                <a:gd name="T58" fmla="*/ 48 w 119"/>
                <a:gd name="T59" fmla="*/ 10 h 59"/>
                <a:gd name="T60" fmla="*/ 36 w 119"/>
                <a:gd name="T61" fmla="*/ 10 h 59"/>
                <a:gd name="T62" fmla="*/ 24 w 119"/>
                <a:gd name="T63" fmla="*/ 7 h 59"/>
                <a:gd name="T64" fmla="*/ 19 w 119"/>
                <a:gd name="T65" fmla="*/ 3 h 59"/>
                <a:gd name="T66" fmla="*/ 10 w 119"/>
                <a:gd name="T67" fmla="*/ 3 h 59"/>
                <a:gd name="T68" fmla="*/ 5 w 119"/>
                <a:gd name="T69" fmla="*/ 3 h 59"/>
                <a:gd name="T70" fmla="*/ 3 w 119"/>
                <a:gd name="T71" fmla="*/ 5 h 59"/>
                <a:gd name="T72" fmla="*/ 7 w 119"/>
                <a:gd name="T73" fmla="*/ 10 h 59"/>
                <a:gd name="T74" fmla="*/ 19 w 119"/>
                <a:gd name="T75" fmla="*/ 14 h 59"/>
                <a:gd name="T76" fmla="*/ 26 w 119"/>
                <a:gd name="T77" fmla="*/ 19 h 59"/>
                <a:gd name="T78" fmla="*/ 29 w 119"/>
                <a:gd name="T79" fmla="*/ 26 h 59"/>
                <a:gd name="T80" fmla="*/ 33 w 119"/>
                <a:gd name="T81" fmla="*/ 38 h 59"/>
                <a:gd name="T82" fmla="*/ 31 w 119"/>
                <a:gd name="T83" fmla="*/ 45 h 59"/>
                <a:gd name="T84" fmla="*/ 29 w 119"/>
                <a:gd name="T85"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59">
                  <a:moveTo>
                    <a:pt x="29" y="48"/>
                  </a:moveTo>
                  <a:lnTo>
                    <a:pt x="31" y="50"/>
                  </a:lnTo>
                  <a:lnTo>
                    <a:pt x="33" y="50"/>
                  </a:lnTo>
                  <a:lnTo>
                    <a:pt x="38" y="50"/>
                  </a:lnTo>
                  <a:lnTo>
                    <a:pt x="43" y="52"/>
                  </a:lnTo>
                  <a:lnTo>
                    <a:pt x="45" y="52"/>
                  </a:lnTo>
                  <a:lnTo>
                    <a:pt x="48" y="48"/>
                  </a:lnTo>
                  <a:lnTo>
                    <a:pt x="48" y="48"/>
                  </a:lnTo>
                  <a:lnTo>
                    <a:pt x="50" y="48"/>
                  </a:lnTo>
                  <a:lnTo>
                    <a:pt x="55" y="50"/>
                  </a:lnTo>
                  <a:lnTo>
                    <a:pt x="57" y="55"/>
                  </a:lnTo>
                  <a:lnTo>
                    <a:pt x="59" y="57"/>
                  </a:lnTo>
                  <a:lnTo>
                    <a:pt x="62" y="59"/>
                  </a:lnTo>
                  <a:lnTo>
                    <a:pt x="69" y="59"/>
                  </a:lnTo>
                  <a:lnTo>
                    <a:pt x="71" y="57"/>
                  </a:lnTo>
                  <a:lnTo>
                    <a:pt x="76" y="57"/>
                  </a:lnTo>
                  <a:lnTo>
                    <a:pt x="78" y="55"/>
                  </a:lnTo>
                  <a:lnTo>
                    <a:pt x="83" y="57"/>
                  </a:lnTo>
                  <a:lnTo>
                    <a:pt x="85" y="57"/>
                  </a:lnTo>
                  <a:lnTo>
                    <a:pt x="90" y="55"/>
                  </a:lnTo>
                  <a:lnTo>
                    <a:pt x="90" y="55"/>
                  </a:lnTo>
                  <a:lnTo>
                    <a:pt x="95" y="52"/>
                  </a:lnTo>
                  <a:lnTo>
                    <a:pt x="97" y="52"/>
                  </a:lnTo>
                  <a:lnTo>
                    <a:pt x="100" y="52"/>
                  </a:lnTo>
                  <a:lnTo>
                    <a:pt x="102" y="55"/>
                  </a:lnTo>
                  <a:lnTo>
                    <a:pt x="107" y="57"/>
                  </a:lnTo>
                  <a:lnTo>
                    <a:pt x="109" y="57"/>
                  </a:lnTo>
                  <a:lnTo>
                    <a:pt x="114" y="57"/>
                  </a:lnTo>
                  <a:lnTo>
                    <a:pt x="116" y="59"/>
                  </a:lnTo>
                  <a:lnTo>
                    <a:pt x="119" y="57"/>
                  </a:lnTo>
                  <a:lnTo>
                    <a:pt x="116" y="55"/>
                  </a:lnTo>
                  <a:lnTo>
                    <a:pt x="114" y="50"/>
                  </a:lnTo>
                  <a:lnTo>
                    <a:pt x="111" y="48"/>
                  </a:lnTo>
                  <a:lnTo>
                    <a:pt x="109" y="48"/>
                  </a:lnTo>
                  <a:lnTo>
                    <a:pt x="111" y="45"/>
                  </a:lnTo>
                  <a:lnTo>
                    <a:pt x="114" y="40"/>
                  </a:lnTo>
                  <a:lnTo>
                    <a:pt x="114" y="40"/>
                  </a:lnTo>
                  <a:lnTo>
                    <a:pt x="111" y="40"/>
                  </a:lnTo>
                  <a:lnTo>
                    <a:pt x="111" y="38"/>
                  </a:lnTo>
                  <a:lnTo>
                    <a:pt x="107" y="36"/>
                  </a:lnTo>
                  <a:lnTo>
                    <a:pt x="102" y="33"/>
                  </a:lnTo>
                  <a:lnTo>
                    <a:pt x="102" y="29"/>
                  </a:lnTo>
                  <a:lnTo>
                    <a:pt x="102" y="26"/>
                  </a:lnTo>
                  <a:lnTo>
                    <a:pt x="100" y="26"/>
                  </a:lnTo>
                  <a:lnTo>
                    <a:pt x="97" y="26"/>
                  </a:lnTo>
                  <a:lnTo>
                    <a:pt x="95" y="24"/>
                  </a:lnTo>
                  <a:lnTo>
                    <a:pt x="93" y="22"/>
                  </a:lnTo>
                  <a:lnTo>
                    <a:pt x="88" y="22"/>
                  </a:lnTo>
                  <a:lnTo>
                    <a:pt x="85" y="22"/>
                  </a:lnTo>
                  <a:lnTo>
                    <a:pt x="83" y="19"/>
                  </a:lnTo>
                  <a:lnTo>
                    <a:pt x="81" y="22"/>
                  </a:lnTo>
                  <a:lnTo>
                    <a:pt x="76" y="22"/>
                  </a:lnTo>
                  <a:lnTo>
                    <a:pt x="74" y="24"/>
                  </a:lnTo>
                  <a:lnTo>
                    <a:pt x="71" y="24"/>
                  </a:lnTo>
                  <a:lnTo>
                    <a:pt x="69" y="24"/>
                  </a:lnTo>
                  <a:lnTo>
                    <a:pt x="69" y="22"/>
                  </a:lnTo>
                  <a:lnTo>
                    <a:pt x="57" y="14"/>
                  </a:lnTo>
                  <a:lnTo>
                    <a:pt x="55" y="12"/>
                  </a:lnTo>
                  <a:lnTo>
                    <a:pt x="52" y="10"/>
                  </a:lnTo>
                  <a:lnTo>
                    <a:pt x="48" y="10"/>
                  </a:lnTo>
                  <a:lnTo>
                    <a:pt x="43" y="10"/>
                  </a:lnTo>
                  <a:lnTo>
                    <a:pt x="36" y="10"/>
                  </a:lnTo>
                  <a:lnTo>
                    <a:pt x="33" y="10"/>
                  </a:lnTo>
                  <a:lnTo>
                    <a:pt x="24" y="7"/>
                  </a:lnTo>
                  <a:lnTo>
                    <a:pt x="19" y="5"/>
                  </a:lnTo>
                  <a:lnTo>
                    <a:pt x="19" y="3"/>
                  </a:lnTo>
                  <a:lnTo>
                    <a:pt x="12" y="3"/>
                  </a:lnTo>
                  <a:lnTo>
                    <a:pt x="10" y="3"/>
                  </a:lnTo>
                  <a:lnTo>
                    <a:pt x="7" y="0"/>
                  </a:lnTo>
                  <a:lnTo>
                    <a:pt x="5" y="3"/>
                  </a:lnTo>
                  <a:lnTo>
                    <a:pt x="0" y="3"/>
                  </a:lnTo>
                  <a:lnTo>
                    <a:pt x="3" y="5"/>
                  </a:lnTo>
                  <a:lnTo>
                    <a:pt x="5" y="7"/>
                  </a:lnTo>
                  <a:lnTo>
                    <a:pt x="7" y="10"/>
                  </a:lnTo>
                  <a:lnTo>
                    <a:pt x="10" y="12"/>
                  </a:lnTo>
                  <a:lnTo>
                    <a:pt x="19" y="14"/>
                  </a:lnTo>
                  <a:lnTo>
                    <a:pt x="22" y="17"/>
                  </a:lnTo>
                  <a:lnTo>
                    <a:pt x="26" y="19"/>
                  </a:lnTo>
                  <a:lnTo>
                    <a:pt x="29" y="24"/>
                  </a:lnTo>
                  <a:lnTo>
                    <a:pt x="29" y="26"/>
                  </a:lnTo>
                  <a:lnTo>
                    <a:pt x="31" y="33"/>
                  </a:lnTo>
                  <a:lnTo>
                    <a:pt x="33" y="38"/>
                  </a:lnTo>
                  <a:lnTo>
                    <a:pt x="33" y="40"/>
                  </a:lnTo>
                  <a:lnTo>
                    <a:pt x="31" y="45"/>
                  </a:lnTo>
                  <a:lnTo>
                    <a:pt x="31" y="48"/>
                  </a:lnTo>
                  <a:lnTo>
                    <a:pt x="29" y="48"/>
                  </a:lnTo>
                  <a:lnTo>
                    <a:pt x="29" y="4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3" name="Freeform 254">
              <a:extLst>
                <a:ext uri="{FF2B5EF4-FFF2-40B4-BE49-F238E27FC236}">
                  <a16:creationId xmlns:a16="http://schemas.microsoft.com/office/drawing/2014/main" id="{EB5B87EC-977B-4F69-9830-04E5A8117B84}"/>
                </a:ext>
              </a:extLst>
            </p:cNvPr>
            <p:cNvSpPr>
              <a:spLocks/>
            </p:cNvSpPr>
            <p:nvPr/>
          </p:nvSpPr>
          <p:spPr bwMode="auto">
            <a:xfrm>
              <a:off x="2380502" y="3190841"/>
              <a:ext cx="188912" cy="93663"/>
            </a:xfrm>
            <a:custGeom>
              <a:avLst/>
              <a:gdLst>
                <a:gd name="T0" fmla="*/ 31 w 119"/>
                <a:gd name="T1" fmla="*/ 50 h 59"/>
                <a:gd name="T2" fmla="*/ 38 w 119"/>
                <a:gd name="T3" fmla="*/ 50 h 59"/>
                <a:gd name="T4" fmla="*/ 45 w 119"/>
                <a:gd name="T5" fmla="*/ 52 h 59"/>
                <a:gd name="T6" fmla="*/ 48 w 119"/>
                <a:gd name="T7" fmla="*/ 48 h 59"/>
                <a:gd name="T8" fmla="*/ 55 w 119"/>
                <a:gd name="T9" fmla="*/ 50 h 59"/>
                <a:gd name="T10" fmla="*/ 59 w 119"/>
                <a:gd name="T11" fmla="*/ 57 h 59"/>
                <a:gd name="T12" fmla="*/ 69 w 119"/>
                <a:gd name="T13" fmla="*/ 59 h 59"/>
                <a:gd name="T14" fmla="*/ 76 w 119"/>
                <a:gd name="T15" fmla="*/ 57 h 59"/>
                <a:gd name="T16" fmla="*/ 83 w 119"/>
                <a:gd name="T17" fmla="*/ 57 h 59"/>
                <a:gd name="T18" fmla="*/ 90 w 119"/>
                <a:gd name="T19" fmla="*/ 55 h 59"/>
                <a:gd name="T20" fmla="*/ 95 w 119"/>
                <a:gd name="T21" fmla="*/ 52 h 59"/>
                <a:gd name="T22" fmla="*/ 100 w 119"/>
                <a:gd name="T23" fmla="*/ 52 h 59"/>
                <a:gd name="T24" fmla="*/ 107 w 119"/>
                <a:gd name="T25" fmla="*/ 57 h 59"/>
                <a:gd name="T26" fmla="*/ 114 w 119"/>
                <a:gd name="T27" fmla="*/ 57 h 59"/>
                <a:gd name="T28" fmla="*/ 119 w 119"/>
                <a:gd name="T29" fmla="*/ 57 h 59"/>
                <a:gd name="T30" fmla="*/ 114 w 119"/>
                <a:gd name="T31" fmla="*/ 50 h 59"/>
                <a:gd name="T32" fmla="*/ 109 w 119"/>
                <a:gd name="T33" fmla="*/ 48 h 59"/>
                <a:gd name="T34" fmla="*/ 114 w 119"/>
                <a:gd name="T35" fmla="*/ 40 h 59"/>
                <a:gd name="T36" fmla="*/ 111 w 119"/>
                <a:gd name="T37" fmla="*/ 40 h 59"/>
                <a:gd name="T38" fmla="*/ 107 w 119"/>
                <a:gd name="T39" fmla="*/ 36 h 59"/>
                <a:gd name="T40" fmla="*/ 102 w 119"/>
                <a:gd name="T41" fmla="*/ 29 h 59"/>
                <a:gd name="T42" fmla="*/ 100 w 119"/>
                <a:gd name="T43" fmla="*/ 26 h 59"/>
                <a:gd name="T44" fmla="*/ 95 w 119"/>
                <a:gd name="T45" fmla="*/ 24 h 59"/>
                <a:gd name="T46" fmla="*/ 88 w 119"/>
                <a:gd name="T47" fmla="*/ 22 h 59"/>
                <a:gd name="T48" fmla="*/ 83 w 119"/>
                <a:gd name="T49" fmla="*/ 19 h 59"/>
                <a:gd name="T50" fmla="*/ 76 w 119"/>
                <a:gd name="T51" fmla="*/ 22 h 59"/>
                <a:gd name="T52" fmla="*/ 71 w 119"/>
                <a:gd name="T53" fmla="*/ 24 h 59"/>
                <a:gd name="T54" fmla="*/ 69 w 119"/>
                <a:gd name="T55" fmla="*/ 22 h 59"/>
                <a:gd name="T56" fmla="*/ 55 w 119"/>
                <a:gd name="T57" fmla="*/ 12 h 59"/>
                <a:gd name="T58" fmla="*/ 48 w 119"/>
                <a:gd name="T59" fmla="*/ 10 h 59"/>
                <a:gd name="T60" fmla="*/ 36 w 119"/>
                <a:gd name="T61" fmla="*/ 10 h 59"/>
                <a:gd name="T62" fmla="*/ 24 w 119"/>
                <a:gd name="T63" fmla="*/ 7 h 59"/>
                <a:gd name="T64" fmla="*/ 19 w 119"/>
                <a:gd name="T65" fmla="*/ 3 h 59"/>
                <a:gd name="T66" fmla="*/ 10 w 119"/>
                <a:gd name="T67" fmla="*/ 3 h 59"/>
                <a:gd name="T68" fmla="*/ 5 w 119"/>
                <a:gd name="T69" fmla="*/ 3 h 59"/>
                <a:gd name="T70" fmla="*/ 3 w 119"/>
                <a:gd name="T71" fmla="*/ 5 h 59"/>
                <a:gd name="T72" fmla="*/ 7 w 119"/>
                <a:gd name="T73" fmla="*/ 10 h 59"/>
                <a:gd name="T74" fmla="*/ 19 w 119"/>
                <a:gd name="T75" fmla="*/ 14 h 59"/>
                <a:gd name="T76" fmla="*/ 26 w 119"/>
                <a:gd name="T77" fmla="*/ 19 h 59"/>
                <a:gd name="T78" fmla="*/ 29 w 119"/>
                <a:gd name="T79" fmla="*/ 26 h 59"/>
                <a:gd name="T80" fmla="*/ 33 w 119"/>
                <a:gd name="T81" fmla="*/ 38 h 59"/>
                <a:gd name="T82" fmla="*/ 31 w 119"/>
                <a:gd name="T83" fmla="*/ 45 h 59"/>
                <a:gd name="T84" fmla="*/ 29 w 119"/>
                <a:gd name="T85"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59">
                  <a:moveTo>
                    <a:pt x="29" y="48"/>
                  </a:moveTo>
                  <a:lnTo>
                    <a:pt x="31" y="50"/>
                  </a:lnTo>
                  <a:lnTo>
                    <a:pt x="33" y="50"/>
                  </a:lnTo>
                  <a:lnTo>
                    <a:pt x="38" y="50"/>
                  </a:lnTo>
                  <a:lnTo>
                    <a:pt x="43" y="52"/>
                  </a:lnTo>
                  <a:lnTo>
                    <a:pt x="45" y="52"/>
                  </a:lnTo>
                  <a:lnTo>
                    <a:pt x="48" y="48"/>
                  </a:lnTo>
                  <a:lnTo>
                    <a:pt x="48" y="48"/>
                  </a:lnTo>
                  <a:lnTo>
                    <a:pt x="50" y="48"/>
                  </a:lnTo>
                  <a:lnTo>
                    <a:pt x="55" y="50"/>
                  </a:lnTo>
                  <a:lnTo>
                    <a:pt x="57" y="55"/>
                  </a:lnTo>
                  <a:lnTo>
                    <a:pt x="59" y="57"/>
                  </a:lnTo>
                  <a:lnTo>
                    <a:pt x="62" y="59"/>
                  </a:lnTo>
                  <a:lnTo>
                    <a:pt x="69" y="59"/>
                  </a:lnTo>
                  <a:lnTo>
                    <a:pt x="71" y="57"/>
                  </a:lnTo>
                  <a:lnTo>
                    <a:pt x="76" y="57"/>
                  </a:lnTo>
                  <a:lnTo>
                    <a:pt x="78" y="55"/>
                  </a:lnTo>
                  <a:lnTo>
                    <a:pt x="83" y="57"/>
                  </a:lnTo>
                  <a:lnTo>
                    <a:pt x="85" y="57"/>
                  </a:lnTo>
                  <a:lnTo>
                    <a:pt x="90" y="55"/>
                  </a:lnTo>
                  <a:lnTo>
                    <a:pt x="90" y="55"/>
                  </a:lnTo>
                  <a:lnTo>
                    <a:pt x="95" y="52"/>
                  </a:lnTo>
                  <a:lnTo>
                    <a:pt x="97" y="52"/>
                  </a:lnTo>
                  <a:lnTo>
                    <a:pt x="100" y="52"/>
                  </a:lnTo>
                  <a:lnTo>
                    <a:pt x="102" y="55"/>
                  </a:lnTo>
                  <a:lnTo>
                    <a:pt x="107" y="57"/>
                  </a:lnTo>
                  <a:lnTo>
                    <a:pt x="109" y="57"/>
                  </a:lnTo>
                  <a:lnTo>
                    <a:pt x="114" y="57"/>
                  </a:lnTo>
                  <a:lnTo>
                    <a:pt x="116" y="59"/>
                  </a:lnTo>
                  <a:lnTo>
                    <a:pt x="119" y="57"/>
                  </a:lnTo>
                  <a:lnTo>
                    <a:pt x="116" y="55"/>
                  </a:lnTo>
                  <a:lnTo>
                    <a:pt x="114" y="50"/>
                  </a:lnTo>
                  <a:lnTo>
                    <a:pt x="111" y="48"/>
                  </a:lnTo>
                  <a:lnTo>
                    <a:pt x="109" y="48"/>
                  </a:lnTo>
                  <a:lnTo>
                    <a:pt x="111" y="45"/>
                  </a:lnTo>
                  <a:lnTo>
                    <a:pt x="114" y="40"/>
                  </a:lnTo>
                  <a:lnTo>
                    <a:pt x="114" y="40"/>
                  </a:lnTo>
                  <a:lnTo>
                    <a:pt x="111" y="40"/>
                  </a:lnTo>
                  <a:lnTo>
                    <a:pt x="111" y="38"/>
                  </a:lnTo>
                  <a:lnTo>
                    <a:pt x="107" y="36"/>
                  </a:lnTo>
                  <a:lnTo>
                    <a:pt x="102" y="33"/>
                  </a:lnTo>
                  <a:lnTo>
                    <a:pt x="102" y="29"/>
                  </a:lnTo>
                  <a:lnTo>
                    <a:pt x="102" y="26"/>
                  </a:lnTo>
                  <a:lnTo>
                    <a:pt x="100" y="26"/>
                  </a:lnTo>
                  <a:lnTo>
                    <a:pt x="97" y="26"/>
                  </a:lnTo>
                  <a:lnTo>
                    <a:pt x="95" y="24"/>
                  </a:lnTo>
                  <a:lnTo>
                    <a:pt x="93" y="22"/>
                  </a:lnTo>
                  <a:lnTo>
                    <a:pt x="88" y="22"/>
                  </a:lnTo>
                  <a:lnTo>
                    <a:pt x="85" y="22"/>
                  </a:lnTo>
                  <a:lnTo>
                    <a:pt x="83" y="19"/>
                  </a:lnTo>
                  <a:lnTo>
                    <a:pt x="81" y="22"/>
                  </a:lnTo>
                  <a:lnTo>
                    <a:pt x="76" y="22"/>
                  </a:lnTo>
                  <a:lnTo>
                    <a:pt x="74" y="24"/>
                  </a:lnTo>
                  <a:lnTo>
                    <a:pt x="71" y="24"/>
                  </a:lnTo>
                  <a:lnTo>
                    <a:pt x="69" y="24"/>
                  </a:lnTo>
                  <a:lnTo>
                    <a:pt x="69" y="22"/>
                  </a:lnTo>
                  <a:lnTo>
                    <a:pt x="57" y="14"/>
                  </a:lnTo>
                  <a:lnTo>
                    <a:pt x="55" y="12"/>
                  </a:lnTo>
                  <a:lnTo>
                    <a:pt x="52" y="10"/>
                  </a:lnTo>
                  <a:lnTo>
                    <a:pt x="48" y="10"/>
                  </a:lnTo>
                  <a:lnTo>
                    <a:pt x="43" y="10"/>
                  </a:lnTo>
                  <a:lnTo>
                    <a:pt x="36" y="10"/>
                  </a:lnTo>
                  <a:lnTo>
                    <a:pt x="33" y="10"/>
                  </a:lnTo>
                  <a:lnTo>
                    <a:pt x="24" y="7"/>
                  </a:lnTo>
                  <a:lnTo>
                    <a:pt x="19" y="5"/>
                  </a:lnTo>
                  <a:lnTo>
                    <a:pt x="19" y="3"/>
                  </a:lnTo>
                  <a:lnTo>
                    <a:pt x="12" y="3"/>
                  </a:lnTo>
                  <a:lnTo>
                    <a:pt x="10" y="3"/>
                  </a:lnTo>
                  <a:lnTo>
                    <a:pt x="7" y="0"/>
                  </a:lnTo>
                  <a:lnTo>
                    <a:pt x="5" y="3"/>
                  </a:lnTo>
                  <a:lnTo>
                    <a:pt x="0" y="3"/>
                  </a:lnTo>
                  <a:lnTo>
                    <a:pt x="3" y="5"/>
                  </a:lnTo>
                  <a:lnTo>
                    <a:pt x="5" y="7"/>
                  </a:lnTo>
                  <a:lnTo>
                    <a:pt x="7" y="10"/>
                  </a:lnTo>
                  <a:lnTo>
                    <a:pt x="10" y="12"/>
                  </a:lnTo>
                  <a:lnTo>
                    <a:pt x="19" y="14"/>
                  </a:lnTo>
                  <a:lnTo>
                    <a:pt x="22" y="17"/>
                  </a:lnTo>
                  <a:lnTo>
                    <a:pt x="26" y="19"/>
                  </a:lnTo>
                  <a:lnTo>
                    <a:pt x="29" y="24"/>
                  </a:lnTo>
                  <a:lnTo>
                    <a:pt x="29" y="26"/>
                  </a:lnTo>
                  <a:lnTo>
                    <a:pt x="31" y="33"/>
                  </a:lnTo>
                  <a:lnTo>
                    <a:pt x="33" y="38"/>
                  </a:lnTo>
                  <a:lnTo>
                    <a:pt x="33" y="40"/>
                  </a:lnTo>
                  <a:lnTo>
                    <a:pt x="31" y="45"/>
                  </a:lnTo>
                  <a:lnTo>
                    <a:pt x="31" y="48"/>
                  </a:lnTo>
                  <a:lnTo>
                    <a:pt x="29" y="48"/>
                  </a:lnTo>
                  <a:lnTo>
                    <a:pt x="29" y="48"/>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4" name="Freeform 255">
              <a:extLst>
                <a:ext uri="{FF2B5EF4-FFF2-40B4-BE49-F238E27FC236}">
                  <a16:creationId xmlns:a16="http://schemas.microsoft.com/office/drawing/2014/main" id="{5E596F34-529A-4C4E-846B-8B64F8F11C39}"/>
                </a:ext>
              </a:extLst>
            </p:cNvPr>
            <p:cNvSpPr>
              <a:spLocks/>
            </p:cNvSpPr>
            <p:nvPr/>
          </p:nvSpPr>
          <p:spPr bwMode="auto">
            <a:xfrm>
              <a:off x="3239338" y="3319429"/>
              <a:ext cx="7938" cy="11113"/>
            </a:xfrm>
            <a:custGeom>
              <a:avLst/>
              <a:gdLst>
                <a:gd name="T0" fmla="*/ 5 w 5"/>
                <a:gd name="T1" fmla="*/ 7 h 7"/>
                <a:gd name="T2" fmla="*/ 5 w 5"/>
                <a:gd name="T3" fmla="*/ 4 h 7"/>
                <a:gd name="T4" fmla="*/ 3 w 5"/>
                <a:gd name="T5" fmla="*/ 0 h 7"/>
                <a:gd name="T6" fmla="*/ 0 w 5"/>
                <a:gd name="T7" fmla="*/ 2 h 7"/>
                <a:gd name="T8" fmla="*/ 0 w 5"/>
                <a:gd name="T9" fmla="*/ 4 h 7"/>
                <a:gd name="T10" fmla="*/ 3 w 5"/>
                <a:gd name="T11" fmla="*/ 7 h 7"/>
                <a:gd name="T12" fmla="*/ 5 w 5"/>
                <a:gd name="T13" fmla="*/ 7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4"/>
                  </a:lnTo>
                  <a:lnTo>
                    <a:pt x="3" y="0"/>
                  </a:lnTo>
                  <a:lnTo>
                    <a:pt x="0" y="2"/>
                  </a:lnTo>
                  <a:lnTo>
                    <a:pt x="0" y="4"/>
                  </a:lnTo>
                  <a:lnTo>
                    <a:pt x="3" y="7"/>
                  </a:lnTo>
                  <a:lnTo>
                    <a:pt x="5" y="7"/>
                  </a:lnTo>
                  <a:lnTo>
                    <a:pt x="5"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5" name="Freeform 256">
              <a:extLst>
                <a:ext uri="{FF2B5EF4-FFF2-40B4-BE49-F238E27FC236}">
                  <a16:creationId xmlns:a16="http://schemas.microsoft.com/office/drawing/2014/main" id="{5D8A446F-F4BD-4CD2-8F1A-B504B9D195F3}"/>
                </a:ext>
              </a:extLst>
            </p:cNvPr>
            <p:cNvSpPr>
              <a:spLocks/>
            </p:cNvSpPr>
            <p:nvPr/>
          </p:nvSpPr>
          <p:spPr bwMode="auto">
            <a:xfrm>
              <a:off x="3239338" y="3319429"/>
              <a:ext cx="7938" cy="11113"/>
            </a:xfrm>
            <a:custGeom>
              <a:avLst/>
              <a:gdLst>
                <a:gd name="T0" fmla="*/ 5 w 5"/>
                <a:gd name="T1" fmla="*/ 7 h 7"/>
                <a:gd name="T2" fmla="*/ 5 w 5"/>
                <a:gd name="T3" fmla="*/ 4 h 7"/>
                <a:gd name="T4" fmla="*/ 3 w 5"/>
                <a:gd name="T5" fmla="*/ 0 h 7"/>
                <a:gd name="T6" fmla="*/ 0 w 5"/>
                <a:gd name="T7" fmla="*/ 2 h 7"/>
                <a:gd name="T8" fmla="*/ 0 w 5"/>
                <a:gd name="T9" fmla="*/ 4 h 7"/>
                <a:gd name="T10" fmla="*/ 3 w 5"/>
                <a:gd name="T11" fmla="*/ 7 h 7"/>
                <a:gd name="T12" fmla="*/ 5 w 5"/>
                <a:gd name="T13" fmla="*/ 7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4"/>
                  </a:lnTo>
                  <a:lnTo>
                    <a:pt x="3" y="0"/>
                  </a:lnTo>
                  <a:lnTo>
                    <a:pt x="0" y="2"/>
                  </a:lnTo>
                  <a:lnTo>
                    <a:pt x="0" y="4"/>
                  </a:lnTo>
                  <a:lnTo>
                    <a:pt x="3" y="7"/>
                  </a:lnTo>
                  <a:lnTo>
                    <a:pt x="5" y="7"/>
                  </a:lnTo>
                  <a:lnTo>
                    <a:pt x="5"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6" name="Freeform 257">
              <a:extLst>
                <a:ext uri="{FF2B5EF4-FFF2-40B4-BE49-F238E27FC236}">
                  <a16:creationId xmlns:a16="http://schemas.microsoft.com/office/drawing/2014/main" id="{7435898A-3D30-47F1-B6B5-B9840A1AC423}"/>
                </a:ext>
              </a:extLst>
            </p:cNvPr>
            <p:cNvSpPr>
              <a:spLocks/>
            </p:cNvSpPr>
            <p:nvPr/>
          </p:nvSpPr>
          <p:spPr bwMode="auto">
            <a:xfrm>
              <a:off x="3258388" y="3325779"/>
              <a:ext cx="7938" cy="4763"/>
            </a:xfrm>
            <a:custGeom>
              <a:avLst/>
              <a:gdLst>
                <a:gd name="T0" fmla="*/ 5 w 5"/>
                <a:gd name="T1" fmla="*/ 0 h 3"/>
                <a:gd name="T2" fmla="*/ 3 w 5"/>
                <a:gd name="T3" fmla="*/ 0 h 3"/>
                <a:gd name="T4" fmla="*/ 0 w 5"/>
                <a:gd name="T5" fmla="*/ 0 h 3"/>
                <a:gd name="T6" fmla="*/ 3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3" y="0"/>
                  </a:lnTo>
                  <a:lnTo>
                    <a:pt x="0" y="0"/>
                  </a:lnTo>
                  <a:lnTo>
                    <a:pt x="3" y="3"/>
                  </a:lnTo>
                  <a:lnTo>
                    <a:pt x="5" y="3"/>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7" name="Freeform 258">
              <a:extLst>
                <a:ext uri="{FF2B5EF4-FFF2-40B4-BE49-F238E27FC236}">
                  <a16:creationId xmlns:a16="http://schemas.microsoft.com/office/drawing/2014/main" id="{CAD8FDBD-AC68-444D-9428-50871093F790}"/>
                </a:ext>
              </a:extLst>
            </p:cNvPr>
            <p:cNvSpPr>
              <a:spLocks/>
            </p:cNvSpPr>
            <p:nvPr/>
          </p:nvSpPr>
          <p:spPr bwMode="auto">
            <a:xfrm>
              <a:off x="3258388" y="3325779"/>
              <a:ext cx="7938" cy="4763"/>
            </a:xfrm>
            <a:custGeom>
              <a:avLst/>
              <a:gdLst>
                <a:gd name="T0" fmla="*/ 5 w 5"/>
                <a:gd name="T1" fmla="*/ 0 h 3"/>
                <a:gd name="T2" fmla="*/ 3 w 5"/>
                <a:gd name="T3" fmla="*/ 0 h 3"/>
                <a:gd name="T4" fmla="*/ 0 w 5"/>
                <a:gd name="T5" fmla="*/ 0 h 3"/>
                <a:gd name="T6" fmla="*/ 3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3" y="0"/>
                  </a:lnTo>
                  <a:lnTo>
                    <a:pt x="0" y="0"/>
                  </a:lnTo>
                  <a:lnTo>
                    <a:pt x="3" y="3"/>
                  </a:lnTo>
                  <a:lnTo>
                    <a:pt x="5" y="3"/>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8" name="Freeform 259">
              <a:extLst>
                <a:ext uri="{FF2B5EF4-FFF2-40B4-BE49-F238E27FC236}">
                  <a16:creationId xmlns:a16="http://schemas.microsoft.com/office/drawing/2014/main" id="{41B62314-0B92-4F13-97FC-436E72200CE7}"/>
                </a:ext>
              </a:extLst>
            </p:cNvPr>
            <p:cNvSpPr>
              <a:spLocks/>
            </p:cNvSpPr>
            <p:nvPr/>
          </p:nvSpPr>
          <p:spPr bwMode="auto">
            <a:xfrm>
              <a:off x="2501151" y="3330541"/>
              <a:ext cx="528637" cy="487363"/>
            </a:xfrm>
            <a:custGeom>
              <a:avLst/>
              <a:gdLst>
                <a:gd name="T0" fmla="*/ 291 w 333"/>
                <a:gd name="T1" fmla="*/ 304 h 307"/>
                <a:gd name="T2" fmla="*/ 265 w 333"/>
                <a:gd name="T3" fmla="*/ 300 h 307"/>
                <a:gd name="T4" fmla="*/ 250 w 333"/>
                <a:gd name="T5" fmla="*/ 297 h 307"/>
                <a:gd name="T6" fmla="*/ 227 w 333"/>
                <a:gd name="T7" fmla="*/ 290 h 307"/>
                <a:gd name="T8" fmla="*/ 213 w 333"/>
                <a:gd name="T9" fmla="*/ 267 h 307"/>
                <a:gd name="T10" fmla="*/ 194 w 333"/>
                <a:gd name="T11" fmla="*/ 276 h 307"/>
                <a:gd name="T12" fmla="*/ 175 w 333"/>
                <a:gd name="T13" fmla="*/ 276 h 307"/>
                <a:gd name="T14" fmla="*/ 161 w 333"/>
                <a:gd name="T15" fmla="*/ 274 h 307"/>
                <a:gd name="T16" fmla="*/ 146 w 333"/>
                <a:gd name="T17" fmla="*/ 262 h 307"/>
                <a:gd name="T18" fmla="*/ 125 w 333"/>
                <a:gd name="T19" fmla="*/ 252 h 307"/>
                <a:gd name="T20" fmla="*/ 111 w 333"/>
                <a:gd name="T21" fmla="*/ 226 h 307"/>
                <a:gd name="T22" fmla="*/ 102 w 333"/>
                <a:gd name="T23" fmla="*/ 210 h 307"/>
                <a:gd name="T24" fmla="*/ 92 w 333"/>
                <a:gd name="T25" fmla="*/ 210 h 307"/>
                <a:gd name="T26" fmla="*/ 85 w 333"/>
                <a:gd name="T27" fmla="*/ 200 h 307"/>
                <a:gd name="T28" fmla="*/ 80 w 333"/>
                <a:gd name="T29" fmla="*/ 203 h 307"/>
                <a:gd name="T30" fmla="*/ 76 w 333"/>
                <a:gd name="T31" fmla="*/ 208 h 307"/>
                <a:gd name="T32" fmla="*/ 59 w 333"/>
                <a:gd name="T33" fmla="*/ 189 h 307"/>
                <a:gd name="T34" fmla="*/ 54 w 333"/>
                <a:gd name="T35" fmla="*/ 160 h 307"/>
                <a:gd name="T36" fmla="*/ 35 w 333"/>
                <a:gd name="T37" fmla="*/ 148 h 307"/>
                <a:gd name="T38" fmla="*/ 26 w 333"/>
                <a:gd name="T39" fmla="*/ 134 h 307"/>
                <a:gd name="T40" fmla="*/ 21 w 333"/>
                <a:gd name="T41" fmla="*/ 125 h 307"/>
                <a:gd name="T42" fmla="*/ 31 w 333"/>
                <a:gd name="T43" fmla="*/ 106 h 307"/>
                <a:gd name="T44" fmla="*/ 31 w 333"/>
                <a:gd name="T45" fmla="*/ 89 h 307"/>
                <a:gd name="T46" fmla="*/ 12 w 333"/>
                <a:gd name="T47" fmla="*/ 68 h 307"/>
                <a:gd name="T48" fmla="*/ 2 w 333"/>
                <a:gd name="T49" fmla="*/ 37 h 307"/>
                <a:gd name="T50" fmla="*/ 0 w 333"/>
                <a:gd name="T51" fmla="*/ 12 h 307"/>
                <a:gd name="T52" fmla="*/ 12 w 333"/>
                <a:gd name="T53" fmla="*/ 7 h 307"/>
                <a:gd name="T54" fmla="*/ 38 w 333"/>
                <a:gd name="T55" fmla="*/ 23 h 307"/>
                <a:gd name="T56" fmla="*/ 52 w 333"/>
                <a:gd name="T57" fmla="*/ 9 h 307"/>
                <a:gd name="T58" fmla="*/ 71 w 333"/>
                <a:gd name="T59" fmla="*/ 19 h 307"/>
                <a:gd name="T60" fmla="*/ 73 w 333"/>
                <a:gd name="T61" fmla="*/ 28 h 307"/>
                <a:gd name="T62" fmla="*/ 83 w 333"/>
                <a:gd name="T63" fmla="*/ 40 h 307"/>
                <a:gd name="T64" fmla="*/ 97 w 333"/>
                <a:gd name="T65" fmla="*/ 54 h 307"/>
                <a:gd name="T66" fmla="*/ 113 w 333"/>
                <a:gd name="T67" fmla="*/ 66 h 307"/>
                <a:gd name="T68" fmla="*/ 158 w 333"/>
                <a:gd name="T69" fmla="*/ 66 h 307"/>
                <a:gd name="T70" fmla="*/ 172 w 333"/>
                <a:gd name="T71" fmla="*/ 66 h 307"/>
                <a:gd name="T72" fmla="*/ 191 w 333"/>
                <a:gd name="T73" fmla="*/ 42 h 307"/>
                <a:gd name="T74" fmla="*/ 210 w 333"/>
                <a:gd name="T75" fmla="*/ 40 h 307"/>
                <a:gd name="T76" fmla="*/ 229 w 333"/>
                <a:gd name="T77" fmla="*/ 37 h 307"/>
                <a:gd name="T78" fmla="*/ 255 w 333"/>
                <a:gd name="T79" fmla="*/ 49 h 307"/>
                <a:gd name="T80" fmla="*/ 269 w 333"/>
                <a:gd name="T81" fmla="*/ 61 h 307"/>
                <a:gd name="T82" fmla="*/ 298 w 333"/>
                <a:gd name="T83" fmla="*/ 73 h 307"/>
                <a:gd name="T84" fmla="*/ 295 w 333"/>
                <a:gd name="T85" fmla="*/ 104 h 307"/>
                <a:gd name="T86" fmla="*/ 283 w 333"/>
                <a:gd name="T87" fmla="*/ 127 h 307"/>
                <a:gd name="T88" fmla="*/ 286 w 333"/>
                <a:gd name="T89" fmla="*/ 151 h 307"/>
                <a:gd name="T90" fmla="*/ 288 w 333"/>
                <a:gd name="T91" fmla="*/ 174 h 307"/>
                <a:gd name="T92" fmla="*/ 305 w 333"/>
                <a:gd name="T93" fmla="*/ 186 h 307"/>
                <a:gd name="T94" fmla="*/ 291 w 333"/>
                <a:gd name="T95" fmla="*/ 215 h 307"/>
                <a:gd name="T96" fmla="*/ 312 w 333"/>
                <a:gd name="T97" fmla="*/ 243 h 307"/>
                <a:gd name="T98" fmla="*/ 324 w 333"/>
                <a:gd name="T99" fmla="*/ 264 h 307"/>
                <a:gd name="T100" fmla="*/ 328 w 333"/>
                <a:gd name="T101" fmla="*/ 276 h 307"/>
                <a:gd name="T102" fmla="*/ 307 w 333"/>
                <a:gd name="T103" fmla="*/ 28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07">
                  <a:moveTo>
                    <a:pt x="302" y="304"/>
                  </a:moveTo>
                  <a:lnTo>
                    <a:pt x="302" y="304"/>
                  </a:lnTo>
                  <a:lnTo>
                    <a:pt x="300" y="307"/>
                  </a:lnTo>
                  <a:lnTo>
                    <a:pt x="295" y="307"/>
                  </a:lnTo>
                  <a:lnTo>
                    <a:pt x="291" y="304"/>
                  </a:lnTo>
                  <a:lnTo>
                    <a:pt x="286" y="302"/>
                  </a:lnTo>
                  <a:lnTo>
                    <a:pt x="283" y="300"/>
                  </a:lnTo>
                  <a:lnTo>
                    <a:pt x="281" y="302"/>
                  </a:lnTo>
                  <a:lnTo>
                    <a:pt x="272" y="302"/>
                  </a:lnTo>
                  <a:lnTo>
                    <a:pt x="265" y="300"/>
                  </a:lnTo>
                  <a:lnTo>
                    <a:pt x="262" y="300"/>
                  </a:lnTo>
                  <a:lnTo>
                    <a:pt x="260" y="300"/>
                  </a:lnTo>
                  <a:lnTo>
                    <a:pt x="260" y="302"/>
                  </a:lnTo>
                  <a:lnTo>
                    <a:pt x="255" y="300"/>
                  </a:lnTo>
                  <a:lnTo>
                    <a:pt x="250" y="297"/>
                  </a:lnTo>
                  <a:lnTo>
                    <a:pt x="246" y="297"/>
                  </a:lnTo>
                  <a:lnTo>
                    <a:pt x="239" y="297"/>
                  </a:lnTo>
                  <a:lnTo>
                    <a:pt x="236" y="295"/>
                  </a:lnTo>
                  <a:lnTo>
                    <a:pt x="229" y="295"/>
                  </a:lnTo>
                  <a:lnTo>
                    <a:pt x="227" y="290"/>
                  </a:lnTo>
                  <a:lnTo>
                    <a:pt x="224" y="285"/>
                  </a:lnTo>
                  <a:lnTo>
                    <a:pt x="224" y="276"/>
                  </a:lnTo>
                  <a:lnTo>
                    <a:pt x="222" y="271"/>
                  </a:lnTo>
                  <a:lnTo>
                    <a:pt x="217" y="269"/>
                  </a:lnTo>
                  <a:lnTo>
                    <a:pt x="213" y="267"/>
                  </a:lnTo>
                  <a:lnTo>
                    <a:pt x="210" y="267"/>
                  </a:lnTo>
                  <a:lnTo>
                    <a:pt x="203" y="269"/>
                  </a:lnTo>
                  <a:lnTo>
                    <a:pt x="198" y="271"/>
                  </a:lnTo>
                  <a:lnTo>
                    <a:pt x="196" y="274"/>
                  </a:lnTo>
                  <a:lnTo>
                    <a:pt x="194" y="276"/>
                  </a:lnTo>
                  <a:lnTo>
                    <a:pt x="191" y="276"/>
                  </a:lnTo>
                  <a:lnTo>
                    <a:pt x="184" y="278"/>
                  </a:lnTo>
                  <a:lnTo>
                    <a:pt x="182" y="278"/>
                  </a:lnTo>
                  <a:lnTo>
                    <a:pt x="177" y="278"/>
                  </a:lnTo>
                  <a:lnTo>
                    <a:pt x="175" y="276"/>
                  </a:lnTo>
                  <a:lnTo>
                    <a:pt x="170" y="276"/>
                  </a:lnTo>
                  <a:lnTo>
                    <a:pt x="165" y="276"/>
                  </a:lnTo>
                  <a:lnTo>
                    <a:pt x="163" y="276"/>
                  </a:lnTo>
                  <a:lnTo>
                    <a:pt x="161" y="274"/>
                  </a:lnTo>
                  <a:lnTo>
                    <a:pt x="161" y="274"/>
                  </a:lnTo>
                  <a:lnTo>
                    <a:pt x="161" y="271"/>
                  </a:lnTo>
                  <a:lnTo>
                    <a:pt x="158" y="271"/>
                  </a:lnTo>
                  <a:lnTo>
                    <a:pt x="149" y="267"/>
                  </a:lnTo>
                  <a:lnTo>
                    <a:pt x="146" y="264"/>
                  </a:lnTo>
                  <a:lnTo>
                    <a:pt x="146" y="262"/>
                  </a:lnTo>
                  <a:lnTo>
                    <a:pt x="144" y="260"/>
                  </a:lnTo>
                  <a:lnTo>
                    <a:pt x="139" y="257"/>
                  </a:lnTo>
                  <a:lnTo>
                    <a:pt x="135" y="255"/>
                  </a:lnTo>
                  <a:lnTo>
                    <a:pt x="130" y="255"/>
                  </a:lnTo>
                  <a:lnTo>
                    <a:pt x="125" y="252"/>
                  </a:lnTo>
                  <a:lnTo>
                    <a:pt x="123" y="250"/>
                  </a:lnTo>
                  <a:lnTo>
                    <a:pt x="120" y="243"/>
                  </a:lnTo>
                  <a:lnTo>
                    <a:pt x="118" y="238"/>
                  </a:lnTo>
                  <a:lnTo>
                    <a:pt x="118" y="234"/>
                  </a:lnTo>
                  <a:lnTo>
                    <a:pt x="111" y="226"/>
                  </a:lnTo>
                  <a:lnTo>
                    <a:pt x="109" y="222"/>
                  </a:lnTo>
                  <a:lnTo>
                    <a:pt x="109" y="219"/>
                  </a:lnTo>
                  <a:lnTo>
                    <a:pt x="106" y="217"/>
                  </a:lnTo>
                  <a:lnTo>
                    <a:pt x="102" y="212"/>
                  </a:lnTo>
                  <a:lnTo>
                    <a:pt x="102" y="210"/>
                  </a:lnTo>
                  <a:lnTo>
                    <a:pt x="102" y="208"/>
                  </a:lnTo>
                  <a:lnTo>
                    <a:pt x="99" y="208"/>
                  </a:lnTo>
                  <a:lnTo>
                    <a:pt x="94" y="210"/>
                  </a:lnTo>
                  <a:lnTo>
                    <a:pt x="92" y="212"/>
                  </a:lnTo>
                  <a:lnTo>
                    <a:pt x="92" y="210"/>
                  </a:lnTo>
                  <a:lnTo>
                    <a:pt x="90" y="210"/>
                  </a:lnTo>
                  <a:lnTo>
                    <a:pt x="90" y="208"/>
                  </a:lnTo>
                  <a:lnTo>
                    <a:pt x="87" y="208"/>
                  </a:lnTo>
                  <a:lnTo>
                    <a:pt x="85" y="205"/>
                  </a:lnTo>
                  <a:lnTo>
                    <a:pt x="85" y="200"/>
                  </a:lnTo>
                  <a:lnTo>
                    <a:pt x="83" y="200"/>
                  </a:lnTo>
                  <a:lnTo>
                    <a:pt x="80" y="198"/>
                  </a:lnTo>
                  <a:lnTo>
                    <a:pt x="80" y="200"/>
                  </a:lnTo>
                  <a:lnTo>
                    <a:pt x="80" y="203"/>
                  </a:lnTo>
                  <a:lnTo>
                    <a:pt x="80" y="203"/>
                  </a:lnTo>
                  <a:lnTo>
                    <a:pt x="80" y="205"/>
                  </a:lnTo>
                  <a:lnTo>
                    <a:pt x="78" y="205"/>
                  </a:lnTo>
                  <a:lnTo>
                    <a:pt x="76" y="210"/>
                  </a:lnTo>
                  <a:lnTo>
                    <a:pt x="76" y="210"/>
                  </a:lnTo>
                  <a:lnTo>
                    <a:pt x="76" y="208"/>
                  </a:lnTo>
                  <a:lnTo>
                    <a:pt x="69" y="203"/>
                  </a:lnTo>
                  <a:lnTo>
                    <a:pt x="66" y="200"/>
                  </a:lnTo>
                  <a:lnTo>
                    <a:pt x="64" y="198"/>
                  </a:lnTo>
                  <a:lnTo>
                    <a:pt x="64" y="191"/>
                  </a:lnTo>
                  <a:lnTo>
                    <a:pt x="59" y="189"/>
                  </a:lnTo>
                  <a:lnTo>
                    <a:pt x="59" y="184"/>
                  </a:lnTo>
                  <a:lnTo>
                    <a:pt x="61" y="174"/>
                  </a:lnTo>
                  <a:lnTo>
                    <a:pt x="59" y="170"/>
                  </a:lnTo>
                  <a:lnTo>
                    <a:pt x="57" y="165"/>
                  </a:lnTo>
                  <a:lnTo>
                    <a:pt x="54" y="160"/>
                  </a:lnTo>
                  <a:lnTo>
                    <a:pt x="52" y="158"/>
                  </a:lnTo>
                  <a:lnTo>
                    <a:pt x="47" y="158"/>
                  </a:lnTo>
                  <a:lnTo>
                    <a:pt x="43" y="156"/>
                  </a:lnTo>
                  <a:lnTo>
                    <a:pt x="40" y="153"/>
                  </a:lnTo>
                  <a:lnTo>
                    <a:pt x="35" y="148"/>
                  </a:lnTo>
                  <a:lnTo>
                    <a:pt x="31" y="146"/>
                  </a:lnTo>
                  <a:lnTo>
                    <a:pt x="31" y="144"/>
                  </a:lnTo>
                  <a:lnTo>
                    <a:pt x="28" y="139"/>
                  </a:lnTo>
                  <a:lnTo>
                    <a:pt x="26" y="137"/>
                  </a:lnTo>
                  <a:lnTo>
                    <a:pt x="26" y="134"/>
                  </a:lnTo>
                  <a:lnTo>
                    <a:pt x="24" y="134"/>
                  </a:lnTo>
                  <a:lnTo>
                    <a:pt x="21" y="132"/>
                  </a:lnTo>
                  <a:lnTo>
                    <a:pt x="21" y="127"/>
                  </a:lnTo>
                  <a:lnTo>
                    <a:pt x="21" y="127"/>
                  </a:lnTo>
                  <a:lnTo>
                    <a:pt x="21" y="125"/>
                  </a:lnTo>
                  <a:lnTo>
                    <a:pt x="24" y="118"/>
                  </a:lnTo>
                  <a:lnTo>
                    <a:pt x="24" y="115"/>
                  </a:lnTo>
                  <a:lnTo>
                    <a:pt x="26" y="113"/>
                  </a:lnTo>
                  <a:lnTo>
                    <a:pt x="26" y="111"/>
                  </a:lnTo>
                  <a:lnTo>
                    <a:pt x="31" y="106"/>
                  </a:lnTo>
                  <a:lnTo>
                    <a:pt x="33" y="101"/>
                  </a:lnTo>
                  <a:lnTo>
                    <a:pt x="33" y="97"/>
                  </a:lnTo>
                  <a:lnTo>
                    <a:pt x="35" y="92"/>
                  </a:lnTo>
                  <a:lnTo>
                    <a:pt x="35" y="89"/>
                  </a:lnTo>
                  <a:lnTo>
                    <a:pt x="31" y="89"/>
                  </a:lnTo>
                  <a:lnTo>
                    <a:pt x="24" y="87"/>
                  </a:lnTo>
                  <a:lnTo>
                    <a:pt x="21" y="85"/>
                  </a:lnTo>
                  <a:lnTo>
                    <a:pt x="19" y="78"/>
                  </a:lnTo>
                  <a:lnTo>
                    <a:pt x="14" y="73"/>
                  </a:lnTo>
                  <a:lnTo>
                    <a:pt x="12" y="68"/>
                  </a:lnTo>
                  <a:lnTo>
                    <a:pt x="12" y="59"/>
                  </a:lnTo>
                  <a:lnTo>
                    <a:pt x="9" y="52"/>
                  </a:lnTo>
                  <a:lnTo>
                    <a:pt x="7" y="47"/>
                  </a:lnTo>
                  <a:lnTo>
                    <a:pt x="2" y="45"/>
                  </a:lnTo>
                  <a:lnTo>
                    <a:pt x="2" y="37"/>
                  </a:lnTo>
                  <a:lnTo>
                    <a:pt x="2" y="33"/>
                  </a:lnTo>
                  <a:lnTo>
                    <a:pt x="2" y="28"/>
                  </a:lnTo>
                  <a:lnTo>
                    <a:pt x="2" y="19"/>
                  </a:lnTo>
                  <a:lnTo>
                    <a:pt x="0" y="14"/>
                  </a:lnTo>
                  <a:lnTo>
                    <a:pt x="0" y="12"/>
                  </a:lnTo>
                  <a:lnTo>
                    <a:pt x="5" y="9"/>
                  </a:lnTo>
                  <a:lnTo>
                    <a:pt x="5" y="7"/>
                  </a:lnTo>
                  <a:lnTo>
                    <a:pt x="7" y="0"/>
                  </a:lnTo>
                  <a:lnTo>
                    <a:pt x="9" y="4"/>
                  </a:lnTo>
                  <a:lnTo>
                    <a:pt x="12" y="7"/>
                  </a:lnTo>
                  <a:lnTo>
                    <a:pt x="21" y="21"/>
                  </a:lnTo>
                  <a:lnTo>
                    <a:pt x="26" y="21"/>
                  </a:lnTo>
                  <a:lnTo>
                    <a:pt x="31" y="21"/>
                  </a:lnTo>
                  <a:lnTo>
                    <a:pt x="33" y="21"/>
                  </a:lnTo>
                  <a:lnTo>
                    <a:pt x="38" y="23"/>
                  </a:lnTo>
                  <a:lnTo>
                    <a:pt x="40" y="21"/>
                  </a:lnTo>
                  <a:lnTo>
                    <a:pt x="43" y="21"/>
                  </a:lnTo>
                  <a:lnTo>
                    <a:pt x="47" y="16"/>
                  </a:lnTo>
                  <a:lnTo>
                    <a:pt x="50" y="12"/>
                  </a:lnTo>
                  <a:lnTo>
                    <a:pt x="52" y="9"/>
                  </a:lnTo>
                  <a:lnTo>
                    <a:pt x="57" y="7"/>
                  </a:lnTo>
                  <a:lnTo>
                    <a:pt x="64" y="4"/>
                  </a:lnTo>
                  <a:lnTo>
                    <a:pt x="69" y="7"/>
                  </a:lnTo>
                  <a:lnTo>
                    <a:pt x="69" y="12"/>
                  </a:lnTo>
                  <a:lnTo>
                    <a:pt x="71" y="19"/>
                  </a:lnTo>
                  <a:lnTo>
                    <a:pt x="66" y="21"/>
                  </a:lnTo>
                  <a:lnTo>
                    <a:pt x="66" y="23"/>
                  </a:lnTo>
                  <a:lnTo>
                    <a:pt x="69" y="26"/>
                  </a:lnTo>
                  <a:lnTo>
                    <a:pt x="71" y="26"/>
                  </a:lnTo>
                  <a:lnTo>
                    <a:pt x="73" y="28"/>
                  </a:lnTo>
                  <a:lnTo>
                    <a:pt x="76" y="30"/>
                  </a:lnTo>
                  <a:lnTo>
                    <a:pt x="78" y="30"/>
                  </a:lnTo>
                  <a:lnTo>
                    <a:pt x="80" y="30"/>
                  </a:lnTo>
                  <a:lnTo>
                    <a:pt x="80" y="30"/>
                  </a:lnTo>
                  <a:lnTo>
                    <a:pt x="83" y="40"/>
                  </a:lnTo>
                  <a:lnTo>
                    <a:pt x="83" y="45"/>
                  </a:lnTo>
                  <a:lnTo>
                    <a:pt x="85" y="49"/>
                  </a:lnTo>
                  <a:lnTo>
                    <a:pt x="90" y="54"/>
                  </a:lnTo>
                  <a:lnTo>
                    <a:pt x="92" y="54"/>
                  </a:lnTo>
                  <a:lnTo>
                    <a:pt x="97" y="54"/>
                  </a:lnTo>
                  <a:lnTo>
                    <a:pt x="99" y="54"/>
                  </a:lnTo>
                  <a:lnTo>
                    <a:pt x="104" y="54"/>
                  </a:lnTo>
                  <a:lnTo>
                    <a:pt x="106" y="56"/>
                  </a:lnTo>
                  <a:lnTo>
                    <a:pt x="109" y="61"/>
                  </a:lnTo>
                  <a:lnTo>
                    <a:pt x="113" y="66"/>
                  </a:lnTo>
                  <a:lnTo>
                    <a:pt x="118" y="68"/>
                  </a:lnTo>
                  <a:lnTo>
                    <a:pt x="130" y="73"/>
                  </a:lnTo>
                  <a:lnTo>
                    <a:pt x="135" y="73"/>
                  </a:lnTo>
                  <a:lnTo>
                    <a:pt x="151" y="68"/>
                  </a:lnTo>
                  <a:lnTo>
                    <a:pt x="158" y="66"/>
                  </a:lnTo>
                  <a:lnTo>
                    <a:pt x="165" y="63"/>
                  </a:lnTo>
                  <a:lnTo>
                    <a:pt x="163" y="66"/>
                  </a:lnTo>
                  <a:lnTo>
                    <a:pt x="158" y="66"/>
                  </a:lnTo>
                  <a:lnTo>
                    <a:pt x="165" y="68"/>
                  </a:lnTo>
                  <a:lnTo>
                    <a:pt x="172" y="66"/>
                  </a:lnTo>
                  <a:lnTo>
                    <a:pt x="172" y="61"/>
                  </a:lnTo>
                  <a:lnTo>
                    <a:pt x="170" y="54"/>
                  </a:lnTo>
                  <a:lnTo>
                    <a:pt x="172" y="54"/>
                  </a:lnTo>
                  <a:lnTo>
                    <a:pt x="180" y="52"/>
                  </a:lnTo>
                  <a:lnTo>
                    <a:pt x="191" y="42"/>
                  </a:lnTo>
                  <a:lnTo>
                    <a:pt x="196" y="40"/>
                  </a:lnTo>
                  <a:lnTo>
                    <a:pt x="201" y="37"/>
                  </a:lnTo>
                  <a:lnTo>
                    <a:pt x="203" y="37"/>
                  </a:lnTo>
                  <a:lnTo>
                    <a:pt x="208" y="40"/>
                  </a:lnTo>
                  <a:lnTo>
                    <a:pt x="210" y="40"/>
                  </a:lnTo>
                  <a:lnTo>
                    <a:pt x="213" y="37"/>
                  </a:lnTo>
                  <a:lnTo>
                    <a:pt x="213" y="35"/>
                  </a:lnTo>
                  <a:lnTo>
                    <a:pt x="217" y="35"/>
                  </a:lnTo>
                  <a:lnTo>
                    <a:pt x="224" y="35"/>
                  </a:lnTo>
                  <a:lnTo>
                    <a:pt x="229" y="37"/>
                  </a:lnTo>
                  <a:lnTo>
                    <a:pt x="232" y="42"/>
                  </a:lnTo>
                  <a:lnTo>
                    <a:pt x="243" y="47"/>
                  </a:lnTo>
                  <a:lnTo>
                    <a:pt x="248" y="49"/>
                  </a:lnTo>
                  <a:lnTo>
                    <a:pt x="253" y="49"/>
                  </a:lnTo>
                  <a:lnTo>
                    <a:pt x="255" y="49"/>
                  </a:lnTo>
                  <a:lnTo>
                    <a:pt x="260" y="49"/>
                  </a:lnTo>
                  <a:lnTo>
                    <a:pt x="262" y="52"/>
                  </a:lnTo>
                  <a:lnTo>
                    <a:pt x="265" y="54"/>
                  </a:lnTo>
                  <a:lnTo>
                    <a:pt x="267" y="59"/>
                  </a:lnTo>
                  <a:lnTo>
                    <a:pt x="269" y="61"/>
                  </a:lnTo>
                  <a:lnTo>
                    <a:pt x="274" y="63"/>
                  </a:lnTo>
                  <a:lnTo>
                    <a:pt x="281" y="68"/>
                  </a:lnTo>
                  <a:lnTo>
                    <a:pt x="288" y="73"/>
                  </a:lnTo>
                  <a:lnTo>
                    <a:pt x="295" y="73"/>
                  </a:lnTo>
                  <a:lnTo>
                    <a:pt x="298" y="73"/>
                  </a:lnTo>
                  <a:lnTo>
                    <a:pt x="298" y="85"/>
                  </a:lnTo>
                  <a:lnTo>
                    <a:pt x="298" y="89"/>
                  </a:lnTo>
                  <a:lnTo>
                    <a:pt x="298" y="94"/>
                  </a:lnTo>
                  <a:lnTo>
                    <a:pt x="298" y="97"/>
                  </a:lnTo>
                  <a:lnTo>
                    <a:pt x="295" y="104"/>
                  </a:lnTo>
                  <a:lnTo>
                    <a:pt x="295" y="111"/>
                  </a:lnTo>
                  <a:lnTo>
                    <a:pt x="291" y="115"/>
                  </a:lnTo>
                  <a:lnTo>
                    <a:pt x="291" y="120"/>
                  </a:lnTo>
                  <a:lnTo>
                    <a:pt x="283" y="125"/>
                  </a:lnTo>
                  <a:lnTo>
                    <a:pt x="283" y="127"/>
                  </a:lnTo>
                  <a:lnTo>
                    <a:pt x="283" y="134"/>
                  </a:lnTo>
                  <a:lnTo>
                    <a:pt x="288" y="134"/>
                  </a:lnTo>
                  <a:lnTo>
                    <a:pt x="288" y="139"/>
                  </a:lnTo>
                  <a:lnTo>
                    <a:pt x="286" y="144"/>
                  </a:lnTo>
                  <a:lnTo>
                    <a:pt x="286" y="151"/>
                  </a:lnTo>
                  <a:lnTo>
                    <a:pt x="286" y="153"/>
                  </a:lnTo>
                  <a:lnTo>
                    <a:pt x="288" y="158"/>
                  </a:lnTo>
                  <a:lnTo>
                    <a:pt x="288" y="165"/>
                  </a:lnTo>
                  <a:lnTo>
                    <a:pt x="288" y="170"/>
                  </a:lnTo>
                  <a:lnTo>
                    <a:pt x="288" y="174"/>
                  </a:lnTo>
                  <a:lnTo>
                    <a:pt x="291" y="177"/>
                  </a:lnTo>
                  <a:lnTo>
                    <a:pt x="295" y="179"/>
                  </a:lnTo>
                  <a:lnTo>
                    <a:pt x="300" y="179"/>
                  </a:lnTo>
                  <a:lnTo>
                    <a:pt x="302" y="182"/>
                  </a:lnTo>
                  <a:lnTo>
                    <a:pt x="305" y="186"/>
                  </a:lnTo>
                  <a:lnTo>
                    <a:pt x="305" y="191"/>
                  </a:lnTo>
                  <a:lnTo>
                    <a:pt x="302" y="198"/>
                  </a:lnTo>
                  <a:lnTo>
                    <a:pt x="295" y="205"/>
                  </a:lnTo>
                  <a:lnTo>
                    <a:pt x="291" y="215"/>
                  </a:lnTo>
                  <a:lnTo>
                    <a:pt x="291" y="215"/>
                  </a:lnTo>
                  <a:lnTo>
                    <a:pt x="293" y="219"/>
                  </a:lnTo>
                  <a:lnTo>
                    <a:pt x="298" y="222"/>
                  </a:lnTo>
                  <a:lnTo>
                    <a:pt x="305" y="236"/>
                  </a:lnTo>
                  <a:lnTo>
                    <a:pt x="307" y="238"/>
                  </a:lnTo>
                  <a:lnTo>
                    <a:pt x="312" y="243"/>
                  </a:lnTo>
                  <a:lnTo>
                    <a:pt x="321" y="245"/>
                  </a:lnTo>
                  <a:lnTo>
                    <a:pt x="324" y="248"/>
                  </a:lnTo>
                  <a:lnTo>
                    <a:pt x="324" y="255"/>
                  </a:lnTo>
                  <a:lnTo>
                    <a:pt x="326" y="260"/>
                  </a:lnTo>
                  <a:lnTo>
                    <a:pt x="324" y="264"/>
                  </a:lnTo>
                  <a:lnTo>
                    <a:pt x="331" y="264"/>
                  </a:lnTo>
                  <a:lnTo>
                    <a:pt x="333" y="267"/>
                  </a:lnTo>
                  <a:lnTo>
                    <a:pt x="333" y="271"/>
                  </a:lnTo>
                  <a:lnTo>
                    <a:pt x="333" y="271"/>
                  </a:lnTo>
                  <a:lnTo>
                    <a:pt x="328" y="276"/>
                  </a:lnTo>
                  <a:lnTo>
                    <a:pt x="324" y="276"/>
                  </a:lnTo>
                  <a:lnTo>
                    <a:pt x="319" y="278"/>
                  </a:lnTo>
                  <a:lnTo>
                    <a:pt x="314" y="281"/>
                  </a:lnTo>
                  <a:lnTo>
                    <a:pt x="312" y="283"/>
                  </a:lnTo>
                  <a:lnTo>
                    <a:pt x="307" y="288"/>
                  </a:lnTo>
                  <a:lnTo>
                    <a:pt x="305" y="297"/>
                  </a:lnTo>
                  <a:lnTo>
                    <a:pt x="305" y="300"/>
                  </a:lnTo>
                  <a:lnTo>
                    <a:pt x="302" y="30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09" name="Freeform 260">
              <a:extLst>
                <a:ext uri="{FF2B5EF4-FFF2-40B4-BE49-F238E27FC236}">
                  <a16:creationId xmlns:a16="http://schemas.microsoft.com/office/drawing/2014/main" id="{5E75B417-3496-49F5-AD0F-4F8411DF52F3}"/>
                </a:ext>
              </a:extLst>
            </p:cNvPr>
            <p:cNvSpPr>
              <a:spLocks/>
            </p:cNvSpPr>
            <p:nvPr/>
          </p:nvSpPr>
          <p:spPr bwMode="auto">
            <a:xfrm>
              <a:off x="2501151" y="3330541"/>
              <a:ext cx="528637" cy="487363"/>
            </a:xfrm>
            <a:custGeom>
              <a:avLst/>
              <a:gdLst>
                <a:gd name="T0" fmla="*/ 291 w 333"/>
                <a:gd name="T1" fmla="*/ 304 h 307"/>
                <a:gd name="T2" fmla="*/ 265 w 333"/>
                <a:gd name="T3" fmla="*/ 300 h 307"/>
                <a:gd name="T4" fmla="*/ 250 w 333"/>
                <a:gd name="T5" fmla="*/ 297 h 307"/>
                <a:gd name="T6" fmla="*/ 227 w 333"/>
                <a:gd name="T7" fmla="*/ 290 h 307"/>
                <a:gd name="T8" fmla="*/ 213 w 333"/>
                <a:gd name="T9" fmla="*/ 267 h 307"/>
                <a:gd name="T10" fmla="*/ 194 w 333"/>
                <a:gd name="T11" fmla="*/ 276 h 307"/>
                <a:gd name="T12" fmla="*/ 175 w 333"/>
                <a:gd name="T13" fmla="*/ 276 h 307"/>
                <a:gd name="T14" fmla="*/ 161 w 333"/>
                <a:gd name="T15" fmla="*/ 274 h 307"/>
                <a:gd name="T16" fmla="*/ 146 w 333"/>
                <a:gd name="T17" fmla="*/ 262 h 307"/>
                <a:gd name="T18" fmla="*/ 125 w 333"/>
                <a:gd name="T19" fmla="*/ 252 h 307"/>
                <a:gd name="T20" fmla="*/ 111 w 333"/>
                <a:gd name="T21" fmla="*/ 226 h 307"/>
                <a:gd name="T22" fmla="*/ 102 w 333"/>
                <a:gd name="T23" fmla="*/ 210 h 307"/>
                <a:gd name="T24" fmla="*/ 92 w 333"/>
                <a:gd name="T25" fmla="*/ 210 h 307"/>
                <a:gd name="T26" fmla="*/ 85 w 333"/>
                <a:gd name="T27" fmla="*/ 200 h 307"/>
                <a:gd name="T28" fmla="*/ 80 w 333"/>
                <a:gd name="T29" fmla="*/ 203 h 307"/>
                <a:gd name="T30" fmla="*/ 76 w 333"/>
                <a:gd name="T31" fmla="*/ 208 h 307"/>
                <a:gd name="T32" fmla="*/ 59 w 333"/>
                <a:gd name="T33" fmla="*/ 189 h 307"/>
                <a:gd name="T34" fmla="*/ 54 w 333"/>
                <a:gd name="T35" fmla="*/ 160 h 307"/>
                <a:gd name="T36" fmla="*/ 35 w 333"/>
                <a:gd name="T37" fmla="*/ 148 h 307"/>
                <a:gd name="T38" fmla="*/ 26 w 333"/>
                <a:gd name="T39" fmla="*/ 134 h 307"/>
                <a:gd name="T40" fmla="*/ 21 w 333"/>
                <a:gd name="T41" fmla="*/ 125 h 307"/>
                <a:gd name="T42" fmla="*/ 31 w 333"/>
                <a:gd name="T43" fmla="*/ 106 h 307"/>
                <a:gd name="T44" fmla="*/ 31 w 333"/>
                <a:gd name="T45" fmla="*/ 89 h 307"/>
                <a:gd name="T46" fmla="*/ 12 w 333"/>
                <a:gd name="T47" fmla="*/ 68 h 307"/>
                <a:gd name="T48" fmla="*/ 2 w 333"/>
                <a:gd name="T49" fmla="*/ 37 h 307"/>
                <a:gd name="T50" fmla="*/ 0 w 333"/>
                <a:gd name="T51" fmla="*/ 12 h 307"/>
                <a:gd name="T52" fmla="*/ 12 w 333"/>
                <a:gd name="T53" fmla="*/ 7 h 307"/>
                <a:gd name="T54" fmla="*/ 38 w 333"/>
                <a:gd name="T55" fmla="*/ 23 h 307"/>
                <a:gd name="T56" fmla="*/ 52 w 333"/>
                <a:gd name="T57" fmla="*/ 9 h 307"/>
                <a:gd name="T58" fmla="*/ 71 w 333"/>
                <a:gd name="T59" fmla="*/ 19 h 307"/>
                <a:gd name="T60" fmla="*/ 73 w 333"/>
                <a:gd name="T61" fmla="*/ 28 h 307"/>
                <a:gd name="T62" fmla="*/ 83 w 333"/>
                <a:gd name="T63" fmla="*/ 40 h 307"/>
                <a:gd name="T64" fmla="*/ 97 w 333"/>
                <a:gd name="T65" fmla="*/ 54 h 307"/>
                <a:gd name="T66" fmla="*/ 113 w 333"/>
                <a:gd name="T67" fmla="*/ 66 h 307"/>
                <a:gd name="T68" fmla="*/ 158 w 333"/>
                <a:gd name="T69" fmla="*/ 66 h 307"/>
                <a:gd name="T70" fmla="*/ 172 w 333"/>
                <a:gd name="T71" fmla="*/ 66 h 307"/>
                <a:gd name="T72" fmla="*/ 191 w 333"/>
                <a:gd name="T73" fmla="*/ 42 h 307"/>
                <a:gd name="T74" fmla="*/ 210 w 333"/>
                <a:gd name="T75" fmla="*/ 40 h 307"/>
                <a:gd name="T76" fmla="*/ 229 w 333"/>
                <a:gd name="T77" fmla="*/ 37 h 307"/>
                <a:gd name="T78" fmla="*/ 255 w 333"/>
                <a:gd name="T79" fmla="*/ 49 h 307"/>
                <a:gd name="T80" fmla="*/ 269 w 333"/>
                <a:gd name="T81" fmla="*/ 61 h 307"/>
                <a:gd name="T82" fmla="*/ 298 w 333"/>
                <a:gd name="T83" fmla="*/ 73 h 307"/>
                <a:gd name="T84" fmla="*/ 295 w 333"/>
                <a:gd name="T85" fmla="*/ 104 h 307"/>
                <a:gd name="T86" fmla="*/ 283 w 333"/>
                <a:gd name="T87" fmla="*/ 127 h 307"/>
                <a:gd name="T88" fmla="*/ 286 w 333"/>
                <a:gd name="T89" fmla="*/ 151 h 307"/>
                <a:gd name="T90" fmla="*/ 288 w 333"/>
                <a:gd name="T91" fmla="*/ 174 h 307"/>
                <a:gd name="T92" fmla="*/ 305 w 333"/>
                <a:gd name="T93" fmla="*/ 186 h 307"/>
                <a:gd name="T94" fmla="*/ 291 w 333"/>
                <a:gd name="T95" fmla="*/ 215 h 307"/>
                <a:gd name="T96" fmla="*/ 312 w 333"/>
                <a:gd name="T97" fmla="*/ 243 h 307"/>
                <a:gd name="T98" fmla="*/ 324 w 333"/>
                <a:gd name="T99" fmla="*/ 264 h 307"/>
                <a:gd name="T100" fmla="*/ 328 w 333"/>
                <a:gd name="T101" fmla="*/ 276 h 307"/>
                <a:gd name="T102" fmla="*/ 307 w 333"/>
                <a:gd name="T103" fmla="*/ 28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07">
                  <a:moveTo>
                    <a:pt x="302" y="304"/>
                  </a:moveTo>
                  <a:lnTo>
                    <a:pt x="302" y="304"/>
                  </a:lnTo>
                  <a:lnTo>
                    <a:pt x="300" y="307"/>
                  </a:lnTo>
                  <a:lnTo>
                    <a:pt x="295" y="307"/>
                  </a:lnTo>
                  <a:lnTo>
                    <a:pt x="291" y="304"/>
                  </a:lnTo>
                  <a:lnTo>
                    <a:pt x="286" y="302"/>
                  </a:lnTo>
                  <a:lnTo>
                    <a:pt x="283" y="300"/>
                  </a:lnTo>
                  <a:lnTo>
                    <a:pt x="281" y="302"/>
                  </a:lnTo>
                  <a:lnTo>
                    <a:pt x="272" y="302"/>
                  </a:lnTo>
                  <a:lnTo>
                    <a:pt x="265" y="300"/>
                  </a:lnTo>
                  <a:lnTo>
                    <a:pt x="262" y="300"/>
                  </a:lnTo>
                  <a:lnTo>
                    <a:pt x="260" y="300"/>
                  </a:lnTo>
                  <a:lnTo>
                    <a:pt x="260" y="302"/>
                  </a:lnTo>
                  <a:lnTo>
                    <a:pt x="255" y="300"/>
                  </a:lnTo>
                  <a:lnTo>
                    <a:pt x="250" y="297"/>
                  </a:lnTo>
                  <a:lnTo>
                    <a:pt x="246" y="297"/>
                  </a:lnTo>
                  <a:lnTo>
                    <a:pt x="239" y="297"/>
                  </a:lnTo>
                  <a:lnTo>
                    <a:pt x="236" y="295"/>
                  </a:lnTo>
                  <a:lnTo>
                    <a:pt x="229" y="295"/>
                  </a:lnTo>
                  <a:lnTo>
                    <a:pt x="227" y="290"/>
                  </a:lnTo>
                  <a:lnTo>
                    <a:pt x="224" y="285"/>
                  </a:lnTo>
                  <a:lnTo>
                    <a:pt x="224" y="276"/>
                  </a:lnTo>
                  <a:lnTo>
                    <a:pt x="222" y="271"/>
                  </a:lnTo>
                  <a:lnTo>
                    <a:pt x="217" y="269"/>
                  </a:lnTo>
                  <a:lnTo>
                    <a:pt x="213" y="267"/>
                  </a:lnTo>
                  <a:lnTo>
                    <a:pt x="210" y="267"/>
                  </a:lnTo>
                  <a:lnTo>
                    <a:pt x="203" y="269"/>
                  </a:lnTo>
                  <a:lnTo>
                    <a:pt x="198" y="271"/>
                  </a:lnTo>
                  <a:lnTo>
                    <a:pt x="196" y="274"/>
                  </a:lnTo>
                  <a:lnTo>
                    <a:pt x="194" y="276"/>
                  </a:lnTo>
                  <a:lnTo>
                    <a:pt x="191" y="276"/>
                  </a:lnTo>
                  <a:lnTo>
                    <a:pt x="184" y="278"/>
                  </a:lnTo>
                  <a:lnTo>
                    <a:pt x="182" y="278"/>
                  </a:lnTo>
                  <a:lnTo>
                    <a:pt x="177" y="278"/>
                  </a:lnTo>
                  <a:lnTo>
                    <a:pt x="175" y="276"/>
                  </a:lnTo>
                  <a:lnTo>
                    <a:pt x="170" y="276"/>
                  </a:lnTo>
                  <a:lnTo>
                    <a:pt x="165" y="276"/>
                  </a:lnTo>
                  <a:lnTo>
                    <a:pt x="163" y="276"/>
                  </a:lnTo>
                  <a:lnTo>
                    <a:pt x="161" y="274"/>
                  </a:lnTo>
                  <a:lnTo>
                    <a:pt x="161" y="274"/>
                  </a:lnTo>
                  <a:lnTo>
                    <a:pt x="161" y="271"/>
                  </a:lnTo>
                  <a:lnTo>
                    <a:pt x="158" y="271"/>
                  </a:lnTo>
                  <a:lnTo>
                    <a:pt x="149" y="267"/>
                  </a:lnTo>
                  <a:lnTo>
                    <a:pt x="146" y="264"/>
                  </a:lnTo>
                  <a:lnTo>
                    <a:pt x="146" y="262"/>
                  </a:lnTo>
                  <a:lnTo>
                    <a:pt x="144" y="260"/>
                  </a:lnTo>
                  <a:lnTo>
                    <a:pt x="139" y="257"/>
                  </a:lnTo>
                  <a:lnTo>
                    <a:pt x="135" y="255"/>
                  </a:lnTo>
                  <a:lnTo>
                    <a:pt x="130" y="255"/>
                  </a:lnTo>
                  <a:lnTo>
                    <a:pt x="125" y="252"/>
                  </a:lnTo>
                  <a:lnTo>
                    <a:pt x="123" y="250"/>
                  </a:lnTo>
                  <a:lnTo>
                    <a:pt x="120" y="243"/>
                  </a:lnTo>
                  <a:lnTo>
                    <a:pt x="118" y="238"/>
                  </a:lnTo>
                  <a:lnTo>
                    <a:pt x="118" y="234"/>
                  </a:lnTo>
                  <a:lnTo>
                    <a:pt x="111" y="226"/>
                  </a:lnTo>
                  <a:lnTo>
                    <a:pt x="109" y="222"/>
                  </a:lnTo>
                  <a:lnTo>
                    <a:pt x="109" y="219"/>
                  </a:lnTo>
                  <a:lnTo>
                    <a:pt x="106" y="217"/>
                  </a:lnTo>
                  <a:lnTo>
                    <a:pt x="102" y="212"/>
                  </a:lnTo>
                  <a:lnTo>
                    <a:pt x="102" y="210"/>
                  </a:lnTo>
                  <a:lnTo>
                    <a:pt x="102" y="208"/>
                  </a:lnTo>
                  <a:lnTo>
                    <a:pt x="99" y="208"/>
                  </a:lnTo>
                  <a:lnTo>
                    <a:pt x="94" y="210"/>
                  </a:lnTo>
                  <a:lnTo>
                    <a:pt x="92" y="212"/>
                  </a:lnTo>
                  <a:lnTo>
                    <a:pt x="92" y="210"/>
                  </a:lnTo>
                  <a:lnTo>
                    <a:pt x="90" y="210"/>
                  </a:lnTo>
                  <a:lnTo>
                    <a:pt x="90" y="208"/>
                  </a:lnTo>
                  <a:lnTo>
                    <a:pt x="87" y="208"/>
                  </a:lnTo>
                  <a:lnTo>
                    <a:pt x="85" y="205"/>
                  </a:lnTo>
                  <a:lnTo>
                    <a:pt x="85" y="200"/>
                  </a:lnTo>
                  <a:lnTo>
                    <a:pt x="83" y="200"/>
                  </a:lnTo>
                  <a:lnTo>
                    <a:pt x="80" y="198"/>
                  </a:lnTo>
                  <a:lnTo>
                    <a:pt x="80" y="200"/>
                  </a:lnTo>
                  <a:lnTo>
                    <a:pt x="80" y="203"/>
                  </a:lnTo>
                  <a:lnTo>
                    <a:pt x="80" y="203"/>
                  </a:lnTo>
                  <a:lnTo>
                    <a:pt x="80" y="205"/>
                  </a:lnTo>
                  <a:lnTo>
                    <a:pt x="78" y="205"/>
                  </a:lnTo>
                  <a:lnTo>
                    <a:pt x="76" y="210"/>
                  </a:lnTo>
                  <a:lnTo>
                    <a:pt x="76" y="210"/>
                  </a:lnTo>
                  <a:lnTo>
                    <a:pt x="76" y="208"/>
                  </a:lnTo>
                  <a:lnTo>
                    <a:pt x="69" y="203"/>
                  </a:lnTo>
                  <a:lnTo>
                    <a:pt x="66" y="200"/>
                  </a:lnTo>
                  <a:lnTo>
                    <a:pt x="64" y="198"/>
                  </a:lnTo>
                  <a:lnTo>
                    <a:pt x="64" y="191"/>
                  </a:lnTo>
                  <a:lnTo>
                    <a:pt x="59" y="189"/>
                  </a:lnTo>
                  <a:lnTo>
                    <a:pt x="59" y="184"/>
                  </a:lnTo>
                  <a:lnTo>
                    <a:pt x="61" y="174"/>
                  </a:lnTo>
                  <a:lnTo>
                    <a:pt x="59" y="170"/>
                  </a:lnTo>
                  <a:lnTo>
                    <a:pt x="57" y="165"/>
                  </a:lnTo>
                  <a:lnTo>
                    <a:pt x="54" y="160"/>
                  </a:lnTo>
                  <a:lnTo>
                    <a:pt x="52" y="158"/>
                  </a:lnTo>
                  <a:lnTo>
                    <a:pt x="47" y="158"/>
                  </a:lnTo>
                  <a:lnTo>
                    <a:pt x="43" y="156"/>
                  </a:lnTo>
                  <a:lnTo>
                    <a:pt x="40" y="153"/>
                  </a:lnTo>
                  <a:lnTo>
                    <a:pt x="35" y="148"/>
                  </a:lnTo>
                  <a:lnTo>
                    <a:pt x="31" y="146"/>
                  </a:lnTo>
                  <a:lnTo>
                    <a:pt x="31" y="144"/>
                  </a:lnTo>
                  <a:lnTo>
                    <a:pt x="28" y="139"/>
                  </a:lnTo>
                  <a:lnTo>
                    <a:pt x="26" y="137"/>
                  </a:lnTo>
                  <a:lnTo>
                    <a:pt x="26" y="134"/>
                  </a:lnTo>
                  <a:lnTo>
                    <a:pt x="24" y="134"/>
                  </a:lnTo>
                  <a:lnTo>
                    <a:pt x="21" y="132"/>
                  </a:lnTo>
                  <a:lnTo>
                    <a:pt x="21" y="127"/>
                  </a:lnTo>
                  <a:lnTo>
                    <a:pt x="21" y="127"/>
                  </a:lnTo>
                  <a:lnTo>
                    <a:pt x="21" y="125"/>
                  </a:lnTo>
                  <a:lnTo>
                    <a:pt x="24" y="118"/>
                  </a:lnTo>
                  <a:lnTo>
                    <a:pt x="24" y="115"/>
                  </a:lnTo>
                  <a:lnTo>
                    <a:pt x="26" y="113"/>
                  </a:lnTo>
                  <a:lnTo>
                    <a:pt x="26" y="111"/>
                  </a:lnTo>
                  <a:lnTo>
                    <a:pt x="31" y="106"/>
                  </a:lnTo>
                  <a:lnTo>
                    <a:pt x="33" y="101"/>
                  </a:lnTo>
                  <a:lnTo>
                    <a:pt x="33" y="97"/>
                  </a:lnTo>
                  <a:lnTo>
                    <a:pt x="35" y="92"/>
                  </a:lnTo>
                  <a:lnTo>
                    <a:pt x="35" y="89"/>
                  </a:lnTo>
                  <a:lnTo>
                    <a:pt x="31" y="89"/>
                  </a:lnTo>
                  <a:lnTo>
                    <a:pt x="24" y="87"/>
                  </a:lnTo>
                  <a:lnTo>
                    <a:pt x="21" y="85"/>
                  </a:lnTo>
                  <a:lnTo>
                    <a:pt x="19" y="78"/>
                  </a:lnTo>
                  <a:lnTo>
                    <a:pt x="14" y="73"/>
                  </a:lnTo>
                  <a:lnTo>
                    <a:pt x="12" y="68"/>
                  </a:lnTo>
                  <a:lnTo>
                    <a:pt x="12" y="59"/>
                  </a:lnTo>
                  <a:lnTo>
                    <a:pt x="9" y="52"/>
                  </a:lnTo>
                  <a:lnTo>
                    <a:pt x="7" y="47"/>
                  </a:lnTo>
                  <a:lnTo>
                    <a:pt x="2" y="45"/>
                  </a:lnTo>
                  <a:lnTo>
                    <a:pt x="2" y="37"/>
                  </a:lnTo>
                  <a:lnTo>
                    <a:pt x="2" y="33"/>
                  </a:lnTo>
                  <a:lnTo>
                    <a:pt x="2" y="28"/>
                  </a:lnTo>
                  <a:lnTo>
                    <a:pt x="2" y="19"/>
                  </a:lnTo>
                  <a:lnTo>
                    <a:pt x="0" y="14"/>
                  </a:lnTo>
                  <a:lnTo>
                    <a:pt x="0" y="12"/>
                  </a:lnTo>
                  <a:lnTo>
                    <a:pt x="5" y="9"/>
                  </a:lnTo>
                  <a:lnTo>
                    <a:pt x="5" y="7"/>
                  </a:lnTo>
                  <a:lnTo>
                    <a:pt x="7" y="0"/>
                  </a:lnTo>
                  <a:lnTo>
                    <a:pt x="9" y="4"/>
                  </a:lnTo>
                  <a:lnTo>
                    <a:pt x="12" y="7"/>
                  </a:lnTo>
                  <a:lnTo>
                    <a:pt x="21" y="21"/>
                  </a:lnTo>
                  <a:lnTo>
                    <a:pt x="26" y="21"/>
                  </a:lnTo>
                  <a:lnTo>
                    <a:pt x="31" y="21"/>
                  </a:lnTo>
                  <a:lnTo>
                    <a:pt x="33" y="21"/>
                  </a:lnTo>
                  <a:lnTo>
                    <a:pt x="38" y="23"/>
                  </a:lnTo>
                  <a:lnTo>
                    <a:pt x="40" y="21"/>
                  </a:lnTo>
                  <a:lnTo>
                    <a:pt x="43" y="21"/>
                  </a:lnTo>
                  <a:lnTo>
                    <a:pt x="47" y="16"/>
                  </a:lnTo>
                  <a:lnTo>
                    <a:pt x="50" y="12"/>
                  </a:lnTo>
                  <a:lnTo>
                    <a:pt x="52" y="9"/>
                  </a:lnTo>
                  <a:lnTo>
                    <a:pt x="57" y="7"/>
                  </a:lnTo>
                  <a:lnTo>
                    <a:pt x="64" y="4"/>
                  </a:lnTo>
                  <a:lnTo>
                    <a:pt x="69" y="7"/>
                  </a:lnTo>
                  <a:lnTo>
                    <a:pt x="69" y="12"/>
                  </a:lnTo>
                  <a:lnTo>
                    <a:pt x="71" y="19"/>
                  </a:lnTo>
                  <a:lnTo>
                    <a:pt x="66" y="21"/>
                  </a:lnTo>
                  <a:lnTo>
                    <a:pt x="66" y="23"/>
                  </a:lnTo>
                  <a:lnTo>
                    <a:pt x="69" y="26"/>
                  </a:lnTo>
                  <a:lnTo>
                    <a:pt x="71" y="26"/>
                  </a:lnTo>
                  <a:lnTo>
                    <a:pt x="73" y="28"/>
                  </a:lnTo>
                  <a:lnTo>
                    <a:pt x="76" y="30"/>
                  </a:lnTo>
                  <a:lnTo>
                    <a:pt x="78" y="30"/>
                  </a:lnTo>
                  <a:lnTo>
                    <a:pt x="80" y="30"/>
                  </a:lnTo>
                  <a:lnTo>
                    <a:pt x="80" y="30"/>
                  </a:lnTo>
                  <a:lnTo>
                    <a:pt x="83" y="40"/>
                  </a:lnTo>
                  <a:lnTo>
                    <a:pt x="83" y="45"/>
                  </a:lnTo>
                  <a:lnTo>
                    <a:pt x="85" y="49"/>
                  </a:lnTo>
                  <a:lnTo>
                    <a:pt x="90" y="54"/>
                  </a:lnTo>
                  <a:lnTo>
                    <a:pt x="92" y="54"/>
                  </a:lnTo>
                  <a:lnTo>
                    <a:pt x="97" y="54"/>
                  </a:lnTo>
                  <a:lnTo>
                    <a:pt x="99" y="54"/>
                  </a:lnTo>
                  <a:lnTo>
                    <a:pt x="104" y="54"/>
                  </a:lnTo>
                  <a:lnTo>
                    <a:pt x="106" y="56"/>
                  </a:lnTo>
                  <a:lnTo>
                    <a:pt x="109" y="61"/>
                  </a:lnTo>
                  <a:lnTo>
                    <a:pt x="113" y="66"/>
                  </a:lnTo>
                  <a:lnTo>
                    <a:pt x="118" y="68"/>
                  </a:lnTo>
                  <a:lnTo>
                    <a:pt x="130" y="73"/>
                  </a:lnTo>
                  <a:lnTo>
                    <a:pt x="135" y="73"/>
                  </a:lnTo>
                  <a:lnTo>
                    <a:pt x="151" y="68"/>
                  </a:lnTo>
                  <a:lnTo>
                    <a:pt x="158" y="66"/>
                  </a:lnTo>
                  <a:lnTo>
                    <a:pt x="165" y="63"/>
                  </a:lnTo>
                  <a:lnTo>
                    <a:pt x="163" y="66"/>
                  </a:lnTo>
                  <a:lnTo>
                    <a:pt x="158" y="66"/>
                  </a:lnTo>
                  <a:lnTo>
                    <a:pt x="165" y="68"/>
                  </a:lnTo>
                  <a:lnTo>
                    <a:pt x="172" y="66"/>
                  </a:lnTo>
                  <a:lnTo>
                    <a:pt x="172" y="61"/>
                  </a:lnTo>
                  <a:lnTo>
                    <a:pt x="170" y="54"/>
                  </a:lnTo>
                  <a:lnTo>
                    <a:pt x="172" y="54"/>
                  </a:lnTo>
                  <a:lnTo>
                    <a:pt x="180" y="52"/>
                  </a:lnTo>
                  <a:lnTo>
                    <a:pt x="191" y="42"/>
                  </a:lnTo>
                  <a:lnTo>
                    <a:pt x="196" y="40"/>
                  </a:lnTo>
                  <a:lnTo>
                    <a:pt x="201" y="37"/>
                  </a:lnTo>
                  <a:lnTo>
                    <a:pt x="203" y="37"/>
                  </a:lnTo>
                  <a:lnTo>
                    <a:pt x="208" y="40"/>
                  </a:lnTo>
                  <a:lnTo>
                    <a:pt x="210" y="40"/>
                  </a:lnTo>
                  <a:lnTo>
                    <a:pt x="213" y="37"/>
                  </a:lnTo>
                  <a:lnTo>
                    <a:pt x="213" y="35"/>
                  </a:lnTo>
                  <a:lnTo>
                    <a:pt x="217" y="35"/>
                  </a:lnTo>
                  <a:lnTo>
                    <a:pt x="224" y="35"/>
                  </a:lnTo>
                  <a:lnTo>
                    <a:pt x="229" y="37"/>
                  </a:lnTo>
                  <a:lnTo>
                    <a:pt x="232" y="42"/>
                  </a:lnTo>
                  <a:lnTo>
                    <a:pt x="243" y="47"/>
                  </a:lnTo>
                  <a:lnTo>
                    <a:pt x="248" y="49"/>
                  </a:lnTo>
                  <a:lnTo>
                    <a:pt x="253" y="49"/>
                  </a:lnTo>
                  <a:lnTo>
                    <a:pt x="255" y="49"/>
                  </a:lnTo>
                  <a:lnTo>
                    <a:pt x="260" y="49"/>
                  </a:lnTo>
                  <a:lnTo>
                    <a:pt x="262" y="52"/>
                  </a:lnTo>
                  <a:lnTo>
                    <a:pt x="265" y="54"/>
                  </a:lnTo>
                  <a:lnTo>
                    <a:pt x="267" y="59"/>
                  </a:lnTo>
                  <a:lnTo>
                    <a:pt x="269" y="61"/>
                  </a:lnTo>
                  <a:lnTo>
                    <a:pt x="274" y="63"/>
                  </a:lnTo>
                  <a:lnTo>
                    <a:pt x="281" y="68"/>
                  </a:lnTo>
                  <a:lnTo>
                    <a:pt x="288" y="73"/>
                  </a:lnTo>
                  <a:lnTo>
                    <a:pt x="295" y="73"/>
                  </a:lnTo>
                  <a:lnTo>
                    <a:pt x="298" y="73"/>
                  </a:lnTo>
                  <a:lnTo>
                    <a:pt x="298" y="85"/>
                  </a:lnTo>
                  <a:lnTo>
                    <a:pt x="298" y="89"/>
                  </a:lnTo>
                  <a:lnTo>
                    <a:pt x="298" y="94"/>
                  </a:lnTo>
                  <a:lnTo>
                    <a:pt x="298" y="97"/>
                  </a:lnTo>
                  <a:lnTo>
                    <a:pt x="295" y="104"/>
                  </a:lnTo>
                  <a:lnTo>
                    <a:pt x="295" y="111"/>
                  </a:lnTo>
                  <a:lnTo>
                    <a:pt x="291" y="115"/>
                  </a:lnTo>
                  <a:lnTo>
                    <a:pt x="291" y="120"/>
                  </a:lnTo>
                  <a:lnTo>
                    <a:pt x="283" y="125"/>
                  </a:lnTo>
                  <a:lnTo>
                    <a:pt x="283" y="127"/>
                  </a:lnTo>
                  <a:lnTo>
                    <a:pt x="283" y="134"/>
                  </a:lnTo>
                  <a:lnTo>
                    <a:pt x="288" y="134"/>
                  </a:lnTo>
                  <a:lnTo>
                    <a:pt x="288" y="139"/>
                  </a:lnTo>
                  <a:lnTo>
                    <a:pt x="286" y="144"/>
                  </a:lnTo>
                  <a:lnTo>
                    <a:pt x="286" y="151"/>
                  </a:lnTo>
                  <a:lnTo>
                    <a:pt x="286" y="153"/>
                  </a:lnTo>
                  <a:lnTo>
                    <a:pt x="288" y="158"/>
                  </a:lnTo>
                  <a:lnTo>
                    <a:pt x="288" y="165"/>
                  </a:lnTo>
                  <a:lnTo>
                    <a:pt x="288" y="170"/>
                  </a:lnTo>
                  <a:lnTo>
                    <a:pt x="288" y="174"/>
                  </a:lnTo>
                  <a:lnTo>
                    <a:pt x="291" y="177"/>
                  </a:lnTo>
                  <a:lnTo>
                    <a:pt x="295" y="179"/>
                  </a:lnTo>
                  <a:lnTo>
                    <a:pt x="300" y="179"/>
                  </a:lnTo>
                  <a:lnTo>
                    <a:pt x="302" y="182"/>
                  </a:lnTo>
                  <a:lnTo>
                    <a:pt x="305" y="186"/>
                  </a:lnTo>
                  <a:lnTo>
                    <a:pt x="305" y="191"/>
                  </a:lnTo>
                  <a:lnTo>
                    <a:pt x="302" y="198"/>
                  </a:lnTo>
                  <a:lnTo>
                    <a:pt x="295" y="205"/>
                  </a:lnTo>
                  <a:lnTo>
                    <a:pt x="291" y="215"/>
                  </a:lnTo>
                  <a:lnTo>
                    <a:pt x="291" y="215"/>
                  </a:lnTo>
                  <a:lnTo>
                    <a:pt x="293" y="219"/>
                  </a:lnTo>
                  <a:lnTo>
                    <a:pt x="298" y="222"/>
                  </a:lnTo>
                  <a:lnTo>
                    <a:pt x="305" y="236"/>
                  </a:lnTo>
                  <a:lnTo>
                    <a:pt x="307" y="238"/>
                  </a:lnTo>
                  <a:lnTo>
                    <a:pt x="312" y="243"/>
                  </a:lnTo>
                  <a:lnTo>
                    <a:pt x="321" y="245"/>
                  </a:lnTo>
                  <a:lnTo>
                    <a:pt x="324" y="248"/>
                  </a:lnTo>
                  <a:lnTo>
                    <a:pt x="324" y="255"/>
                  </a:lnTo>
                  <a:lnTo>
                    <a:pt x="326" y="260"/>
                  </a:lnTo>
                  <a:lnTo>
                    <a:pt x="324" y="264"/>
                  </a:lnTo>
                  <a:lnTo>
                    <a:pt x="331" y="264"/>
                  </a:lnTo>
                  <a:lnTo>
                    <a:pt x="333" y="267"/>
                  </a:lnTo>
                  <a:lnTo>
                    <a:pt x="333" y="271"/>
                  </a:lnTo>
                  <a:lnTo>
                    <a:pt x="333" y="271"/>
                  </a:lnTo>
                  <a:lnTo>
                    <a:pt x="328" y="276"/>
                  </a:lnTo>
                  <a:lnTo>
                    <a:pt x="324" y="276"/>
                  </a:lnTo>
                  <a:lnTo>
                    <a:pt x="319" y="278"/>
                  </a:lnTo>
                  <a:lnTo>
                    <a:pt x="314" y="281"/>
                  </a:lnTo>
                  <a:lnTo>
                    <a:pt x="312" y="283"/>
                  </a:lnTo>
                  <a:lnTo>
                    <a:pt x="307" y="288"/>
                  </a:lnTo>
                  <a:lnTo>
                    <a:pt x="305" y="297"/>
                  </a:lnTo>
                  <a:lnTo>
                    <a:pt x="305" y="300"/>
                  </a:lnTo>
                  <a:lnTo>
                    <a:pt x="302" y="304"/>
                  </a:lnTo>
                </a:path>
              </a:pathLst>
            </a:custGeom>
            <a:solidFill>
              <a:srgbClr val="9999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0" name="Freeform 261">
              <a:extLst>
                <a:ext uri="{FF2B5EF4-FFF2-40B4-BE49-F238E27FC236}">
                  <a16:creationId xmlns:a16="http://schemas.microsoft.com/office/drawing/2014/main" id="{00AECD92-5B75-4C71-83B1-00C982820299}"/>
                </a:ext>
              </a:extLst>
            </p:cNvPr>
            <p:cNvSpPr>
              <a:spLocks/>
            </p:cNvSpPr>
            <p:nvPr/>
          </p:nvSpPr>
          <p:spPr bwMode="auto">
            <a:xfrm>
              <a:off x="1956641" y="3611529"/>
              <a:ext cx="307974" cy="307975"/>
            </a:xfrm>
            <a:custGeom>
              <a:avLst/>
              <a:gdLst>
                <a:gd name="T0" fmla="*/ 8 w 194"/>
                <a:gd name="T1" fmla="*/ 139 h 194"/>
                <a:gd name="T2" fmla="*/ 8 w 194"/>
                <a:gd name="T3" fmla="*/ 85 h 194"/>
                <a:gd name="T4" fmla="*/ 3 w 194"/>
                <a:gd name="T5" fmla="*/ 47 h 194"/>
                <a:gd name="T6" fmla="*/ 0 w 194"/>
                <a:gd name="T7" fmla="*/ 38 h 194"/>
                <a:gd name="T8" fmla="*/ 3 w 194"/>
                <a:gd name="T9" fmla="*/ 28 h 194"/>
                <a:gd name="T10" fmla="*/ 5 w 194"/>
                <a:gd name="T11" fmla="*/ 23 h 194"/>
                <a:gd name="T12" fmla="*/ 3 w 194"/>
                <a:gd name="T13" fmla="*/ 7 h 194"/>
                <a:gd name="T14" fmla="*/ 5 w 194"/>
                <a:gd name="T15" fmla="*/ 0 h 194"/>
                <a:gd name="T16" fmla="*/ 12 w 194"/>
                <a:gd name="T17" fmla="*/ 2 h 194"/>
                <a:gd name="T18" fmla="*/ 29 w 194"/>
                <a:gd name="T19" fmla="*/ 2 h 194"/>
                <a:gd name="T20" fmla="*/ 50 w 194"/>
                <a:gd name="T21" fmla="*/ 9 h 194"/>
                <a:gd name="T22" fmla="*/ 60 w 194"/>
                <a:gd name="T23" fmla="*/ 12 h 194"/>
                <a:gd name="T24" fmla="*/ 74 w 194"/>
                <a:gd name="T25" fmla="*/ 14 h 194"/>
                <a:gd name="T26" fmla="*/ 86 w 194"/>
                <a:gd name="T27" fmla="*/ 14 h 194"/>
                <a:gd name="T28" fmla="*/ 100 w 194"/>
                <a:gd name="T29" fmla="*/ 5 h 194"/>
                <a:gd name="T30" fmla="*/ 107 w 194"/>
                <a:gd name="T31" fmla="*/ 2 h 194"/>
                <a:gd name="T32" fmla="*/ 102 w 194"/>
                <a:gd name="T33" fmla="*/ 7 h 194"/>
                <a:gd name="T34" fmla="*/ 111 w 194"/>
                <a:gd name="T35" fmla="*/ 5 h 194"/>
                <a:gd name="T36" fmla="*/ 116 w 194"/>
                <a:gd name="T37" fmla="*/ 5 h 194"/>
                <a:gd name="T38" fmla="*/ 128 w 194"/>
                <a:gd name="T39" fmla="*/ 2 h 194"/>
                <a:gd name="T40" fmla="*/ 130 w 194"/>
                <a:gd name="T41" fmla="*/ 5 h 194"/>
                <a:gd name="T42" fmla="*/ 135 w 194"/>
                <a:gd name="T43" fmla="*/ 9 h 194"/>
                <a:gd name="T44" fmla="*/ 142 w 194"/>
                <a:gd name="T45" fmla="*/ 14 h 194"/>
                <a:gd name="T46" fmla="*/ 147 w 194"/>
                <a:gd name="T47" fmla="*/ 12 h 194"/>
                <a:gd name="T48" fmla="*/ 163 w 194"/>
                <a:gd name="T49" fmla="*/ 9 h 194"/>
                <a:gd name="T50" fmla="*/ 166 w 194"/>
                <a:gd name="T51" fmla="*/ 12 h 194"/>
                <a:gd name="T52" fmla="*/ 180 w 194"/>
                <a:gd name="T53" fmla="*/ 47 h 194"/>
                <a:gd name="T54" fmla="*/ 173 w 194"/>
                <a:gd name="T55" fmla="*/ 68 h 194"/>
                <a:gd name="T56" fmla="*/ 171 w 194"/>
                <a:gd name="T57" fmla="*/ 75 h 194"/>
                <a:gd name="T58" fmla="*/ 166 w 194"/>
                <a:gd name="T59" fmla="*/ 78 h 194"/>
                <a:gd name="T60" fmla="*/ 154 w 194"/>
                <a:gd name="T61" fmla="*/ 66 h 194"/>
                <a:gd name="T62" fmla="*/ 152 w 194"/>
                <a:gd name="T63" fmla="*/ 57 h 194"/>
                <a:gd name="T64" fmla="*/ 145 w 194"/>
                <a:gd name="T65" fmla="*/ 47 h 194"/>
                <a:gd name="T66" fmla="*/ 140 w 194"/>
                <a:gd name="T67" fmla="*/ 35 h 194"/>
                <a:gd name="T68" fmla="*/ 140 w 194"/>
                <a:gd name="T69" fmla="*/ 33 h 194"/>
                <a:gd name="T70" fmla="*/ 137 w 194"/>
                <a:gd name="T71" fmla="*/ 38 h 194"/>
                <a:gd name="T72" fmla="*/ 140 w 194"/>
                <a:gd name="T73" fmla="*/ 45 h 194"/>
                <a:gd name="T74" fmla="*/ 140 w 194"/>
                <a:gd name="T75" fmla="*/ 54 h 194"/>
                <a:gd name="T76" fmla="*/ 152 w 194"/>
                <a:gd name="T77" fmla="*/ 71 h 194"/>
                <a:gd name="T78" fmla="*/ 156 w 194"/>
                <a:gd name="T79" fmla="*/ 83 h 194"/>
                <a:gd name="T80" fmla="*/ 163 w 194"/>
                <a:gd name="T81" fmla="*/ 97 h 194"/>
                <a:gd name="T82" fmla="*/ 168 w 194"/>
                <a:gd name="T83" fmla="*/ 111 h 194"/>
                <a:gd name="T84" fmla="*/ 178 w 194"/>
                <a:gd name="T85" fmla="*/ 127 h 194"/>
                <a:gd name="T86" fmla="*/ 185 w 194"/>
                <a:gd name="T87" fmla="*/ 142 h 194"/>
                <a:gd name="T88" fmla="*/ 194 w 194"/>
                <a:gd name="T89" fmla="*/ 151 h 194"/>
                <a:gd name="T90" fmla="*/ 192 w 194"/>
                <a:gd name="T91" fmla="*/ 151 h 194"/>
                <a:gd name="T92" fmla="*/ 189 w 194"/>
                <a:gd name="T93" fmla="*/ 156 h 194"/>
                <a:gd name="T94" fmla="*/ 185 w 194"/>
                <a:gd name="T95" fmla="*/ 175 h 194"/>
                <a:gd name="T96" fmla="*/ 168 w 194"/>
                <a:gd name="T97" fmla="*/ 184 h 194"/>
                <a:gd name="T98" fmla="*/ 152 w 194"/>
                <a:gd name="T99" fmla="*/ 189 h 194"/>
                <a:gd name="T100" fmla="*/ 121 w 194"/>
                <a:gd name="T101" fmla="*/ 184 h 194"/>
                <a:gd name="T102" fmla="*/ 116 w 194"/>
                <a:gd name="T103" fmla="*/ 189 h 194"/>
                <a:gd name="T104" fmla="*/ 74 w 194"/>
                <a:gd name="T105" fmla="*/ 189 h 194"/>
                <a:gd name="T106" fmla="*/ 24 w 194"/>
                <a:gd name="T107"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4" h="194">
                  <a:moveTo>
                    <a:pt x="8" y="175"/>
                  </a:moveTo>
                  <a:lnTo>
                    <a:pt x="8" y="158"/>
                  </a:lnTo>
                  <a:lnTo>
                    <a:pt x="8" y="139"/>
                  </a:lnTo>
                  <a:lnTo>
                    <a:pt x="8" y="123"/>
                  </a:lnTo>
                  <a:lnTo>
                    <a:pt x="8" y="104"/>
                  </a:lnTo>
                  <a:lnTo>
                    <a:pt x="8" y="85"/>
                  </a:lnTo>
                  <a:lnTo>
                    <a:pt x="8" y="66"/>
                  </a:lnTo>
                  <a:lnTo>
                    <a:pt x="8" y="52"/>
                  </a:lnTo>
                  <a:lnTo>
                    <a:pt x="3" y="47"/>
                  </a:lnTo>
                  <a:lnTo>
                    <a:pt x="3" y="42"/>
                  </a:lnTo>
                  <a:lnTo>
                    <a:pt x="3" y="42"/>
                  </a:lnTo>
                  <a:lnTo>
                    <a:pt x="0" y="38"/>
                  </a:lnTo>
                  <a:lnTo>
                    <a:pt x="0" y="33"/>
                  </a:lnTo>
                  <a:lnTo>
                    <a:pt x="0" y="31"/>
                  </a:lnTo>
                  <a:lnTo>
                    <a:pt x="3" y="28"/>
                  </a:lnTo>
                  <a:lnTo>
                    <a:pt x="5" y="28"/>
                  </a:lnTo>
                  <a:lnTo>
                    <a:pt x="5" y="26"/>
                  </a:lnTo>
                  <a:lnTo>
                    <a:pt x="5" y="23"/>
                  </a:lnTo>
                  <a:lnTo>
                    <a:pt x="5" y="19"/>
                  </a:lnTo>
                  <a:lnTo>
                    <a:pt x="3" y="9"/>
                  </a:lnTo>
                  <a:lnTo>
                    <a:pt x="3" y="7"/>
                  </a:lnTo>
                  <a:lnTo>
                    <a:pt x="3" y="7"/>
                  </a:lnTo>
                  <a:lnTo>
                    <a:pt x="5" y="5"/>
                  </a:lnTo>
                  <a:lnTo>
                    <a:pt x="5" y="0"/>
                  </a:lnTo>
                  <a:lnTo>
                    <a:pt x="8" y="0"/>
                  </a:lnTo>
                  <a:lnTo>
                    <a:pt x="10" y="2"/>
                  </a:lnTo>
                  <a:lnTo>
                    <a:pt x="12" y="2"/>
                  </a:lnTo>
                  <a:lnTo>
                    <a:pt x="17" y="2"/>
                  </a:lnTo>
                  <a:lnTo>
                    <a:pt x="22" y="2"/>
                  </a:lnTo>
                  <a:lnTo>
                    <a:pt x="29" y="2"/>
                  </a:lnTo>
                  <a:lnTo>
                    <a:pt x="41" y="5"/>
                  </a:lnTo>
                  <a:lnTo>
                    <a:pt x="45" y="7"/>
                  </a:lnTo>
                  <a:lnTo>
                    <a:pt x="50" y="9"/>
                  </a:lnTo>
                  <a:lnTo>
                    <a:pt x="55" y="9"/>
                  </a:lnTo>
                  <a:lnTo>
                    <a:pt x="57" y="9"/>
                  </a:lnTo>
                  <a:lnTo>
                    <a:pt x="60" y="12"/>
                  </a:lnTo>
                  <a:lnTo>
                    <a:pt x="64" y="12"/>
                  </a:lnTo>
                  <a:lnTo>
                    <a:pt x="69" y="12"/>
                  </a:lnTo>
                  <a:lnTo>
                    <a:pt x="74" y="14"/>
                  </a:lnTo>
                  <a:lnTo>
                    <a:pt x="76" y="16"/>
                  </a:lnTo>
                  <a:lnTo>
                    <a:pt x="81" y="16"/>
                  </a:lnTo>
                  <a:lnTo>
                    <a:pt x="86" y="14"/>
                  </a:lnTo>
                  <a:lnTo>
                    <a:pt x="90" y="9"/>
                  </a:lnTo>
                  <a:lnTo>
                    <a:pt x="95" y="7"/>
                  </a:lnTo>
                  <a:lnTo>
                    <a:pt x="100" y="5"/>
                  </a:lnTo>
                  <a:lnTo>
                    <a:pt x="104" y="5"/>
                  </a:lnTo>
                  <a:lnTo>
                    <a:pt x="107" y="2"/>
                  </a:lnTo>
                  <a:lnTo>
                    <a:pt x="107" y="2"/>
                  </a:lnTo>
                  <a:lnTo>
                    <a:pt x="107" y="5"/>
                  </a:lnTo>
                  <a:lnTo>
                    <a:pt x="104" y="5"/>
                  </a:lnTo>
                  <a:lnTo>
                    <a:pt x="102" y="7"/>
                  </a:lnTo>
                  <a:lnTo>
                    <a:pt x="104" y="7"/>
                  </a:lnTo>
                  <a:lnTo>
                    <a:pt x="109" y="5"/>
                  </a:lnTo>
                  <a:lnTo>
                    <a:pt x="111" y="5"/>
                  </a:lnTo>
                  <a:lnTo>
                    <a:pt x="114" y="2"/>
                  </a:lnTo>
                  <a:lnTo>
                    <a:pt x="116" y="5"/>
                  </a:lnTo>
                  <a:lnTo>
                    <a:pt x="116" y="5"/>
                  </a:lnTo>
                  <a:lnTo>
                    <a:pt x="123" y="5"/>
                  </a:lnTo>
                  <a:lnTo>
                    <a:pt x="126" y="5"/>
                  </a:lnTo>
                  <a:lnTo>
                    <a:pt x="128" y="2"/>
                  </a:lnTo>
                  <a:lnTo>
                    <a:pt x="128" y="2"/>
                  </a:lnTo>
                  <a:lnTo>
                    <a:pt x="128" y="5"/>
                  </a:lnTo>
                  <a:lnTo>
                    <a:pt x="130" y="5"/>
                  </a:lnTo>
                  <a:lnTo>
                    <a:pt x="130" y="7"/>
                  </a:lnTo>
                  <a:lnTo>
                    <a:pt x="133" y="7"/>
                  </a:lnTo>
                  <a:lnTo>
                    <a:pt x="135" y="9"/>
                  </a:lnTo>
                  <a:lnTo>
                    <a:pt x="137" y="12"/>
                  </a:lnTo>
                  <a:lnTo>
                    <a:pt x="140" y="14"/>
                  </a:lnTo>
                  <a:lnTo>
                    <a:pt x="142" y="14"/>
                  </a:lnTo>
                  <a:lnTo>
                    <a:pt x="145" y="12"/>
                  </a:lnTo>
                  <a:lnTo>
                    <a:pt x="147" y="12"/>
                  </a:lnTo>
                  <a:lnTo>
                    <a:pt x="147" y="12"/>
                  </a:lnTo>
                  <a:lnTo>
                    <a:pt x="149" y="14"/>
                  </a:lnTo>
                  <a:lnTo>
                    <a:pt x="156" y="12"/>
                  </a:lnTo>
                  <a:lnTo>
                    <a:pt x="163" y="9"/>
                  </a:lnTo>
                  <a:lnTo>
                    <a:pt x="166" y="7"/>
                  </a:lnTo>
                  <a:lnTo>
                    <a:pt x="166" y="9"/>
                  </a:lnTo>
                  <a:lnTo>
                    <a:pt x="166" y="12"/>
                  </a:lnTo>
                  <a:lnTo>
                    <a:pt x="168" y="14"/>
                  </a:lnTo>
                  <a:lnTo>
                    <a:pt x="173" y="33"/>
                  </a:lnTo>
                  <a:lnTo>
                    <a:pt x="180" y="47"/>
                  </a:lnTo>
                  <a:lnTo>
                    <a:pt x="178" y="52"/>
                  </a:lnTo>
                  <a:lnTo>
                    <a:pt x="175" y="59"/>
                  </a:lnTo>
                  <a:lnTo>
                    <a:pt x="173" y="68"/>
                  </a:lnTo>
                  <a:lnTo>
                    <a:pt x="171" y="71"/>
                  </a:lnTo>
                  <a:lnTo>
                    <a:pt x="173" y="73"/>
                  </a:lnTo>
                  <a:lnTo>
                    <a:pt x="171" y="75"/>
                  </a:lnTo>
                  <a:lnTo>
                    <a:pt x="171" y="75"/>
                  </a:lnTo>
                  <a:lnTo>
                    <a:pt x="168" y="78"/>
                  </a:lnTo>
                  <a:lnTo>
                    <a:pt x="166" y="78"/>
                  </a:lnTo>
                  <a:lnTo>
                    <a:pt x="163" y="75"/>
                  </a:lnTo>
                  <a:lnTo>
                    <a:pt x="159" y="71"/>
                  </a:lnTo>
                  <a:lnTo>
                    <a:pt x="154" y="66"/>
                  </a:lnTo>
                  <a:lnTo>
                    <a:pt x="152" y="61"/>
                  </a:lnTo>
                  <a:lnTo>
                    <a:pt x="152" y="61"/>
                  </a:lnTo>
                  <a:lnTo>
                    <a:pt x="152" y="57"/>
                  </a:lnTo>
                  <a:lnTo>
                    <a:pt x="149" y="54"/>
                  </a:lnTo>
                  <a:lnTo>
                    <a:pt x="147" y="49"/>
                  </a:lnTo>
                  <a:lnTo>
                    <a:pt x="145" y="47"/>
                  </a:lnTo>
                  <a:lnTo>
                    <a:pt x="142" y="42"/>
                  </a:lnTo>
                  <a:lnTo>
                    <a:pt x="142" y="38"/>
                  </a:lnTo>
                  <a:lnTo>
                    <a:pt x="140" y="35"/>
                  </a:lnTo>
                  <a:lnTo>
                    <a:pt x="140" y="33"/>
                  </a:lnTo>
                  <a:lnTo>
                    <a:pt x="140" y="33"/>
                  </a:lnTo>
                  <a:lnTo>
                    <a:pt x="140" y="33"/>
                  </a:lnTo>
                  <a:lnTo>
                    <a:pt x="137" y="35"/>
                  </a:lnTo>
                  <a:lnTo>
                    <a:pt x="137" y="35"/>
                  </a:lnTo>
                  <a:lnTo>
                    <a:pt x="137" y="38"/>
                  </a:lnTo>
                  <a:lnTo>
                    <a:pt x="135" y="42"/>
                  </a:lnTo>
                  <a:lnTo>
                    <a:pt x="137" y="42"/>
                  </a:lnTo>
                  <a:lnTo>
                    <a:pt x="140" y="45"/>
                  </a:lnTo>
                  <a:lnTo>
                    <a:pt x="140" y="47"/>
                  </a:lnTo>
                  <a:lnTo>
                    <a:pt x="140" y="49"/>
                  </a:lnTo>
                  <a:lnTo>
                    <a:pt x="140" y="54"/>
                  </a:lnTo>
                  <a:lnTo>
                    <a:pt x="142" y="57"/>
                  </a:lnTo>
                  <a:lnTo>
                    <a:pt x="147" y="66"/>
                  </a:lnTo>
                  <a:lnTo>
                    <a:pt x="152" y="71"/>
                  </a:lnTo>
                  <a:lnTo>
                    <a:pt x="154" y="73"/>
                  </a:lnTo>
                  <a:lnTo>
                    <a:pt x="156" y="73"/>
                  </a:lnTo>
                  <a:lnTo>
                    <a:pt x="156" y="83"/>
                  </a:lnTo>
                  <a:lnTo>
                    <a:pt x="159" y="85"/>
                  </a:lnTo>
                  <a:lnTo>
                    <a:pt x="161" y="90"/>
                  </a:lnTo>
                  <a:lnTo>
                    <a:pt x="163" y="97"/>
                  </a:lnTo>
                  <a:lnTo>
                    <a:pt x="163" y="99"/>
                  </a:lnTo>
                  <a:lnTo>
                    <a:pt x="166" y="104"/>
                  </a:lnTo>
                  <a:lnTo>
                    <a:pt x="168" y="111"/>
                  </a:lnTo>
                  <a:lnTo>
                    <a:pt x="171" y="116"/>
                  </a:lnTo>
                  <a:lnTo>
                    <a:pt x="173" y="120"/>
                  </a:lnTo>
                  <a:lnTo>
                    <a:pt x="178" y="127"/>
                  </a:lnTo>
                  <a:lnTo>
                    <a:pt x="180" y="132"/>
                  </a:lnTo>
                  <a:lnTo>
                    <a:pt x="180" y="134"/>
                  </a:lnTo>
                  <a:lnTo>
                    <a:pt x="185" y="142"/>
                  </a:lnTo>
                  <a:lnTo>
                    <a:pt x="187" y="144"/>
                  </a:lnTo>
                  <a:lnTo>
                    <a:pt x="192" y="149"/>
                  </a:lnTo>
                  <a:lnTo>
                    <a:pt x="194" y="151"/>
                  </a:lnTo>
                  <a:lnTo>
                    <a:pt x="194" y="151"/>
                  </a:lnTo>
                  <a:lnTo>
                    <a:pt x="194" y="153"/>
                  </a:lnTo>
                  <a:lnTo>
                    <a:pt x="192" y="151"/>
                  </a:lnTo>
                  <a:lnTo>
                    <a:pt x="189" y="151"/>
                  </a:lnTo>
                  <a:lnTo>
                    <a:pt x="189" y="153"/>
                  </a:lnTo>
                  <a:lnTo>
                    <a:pt x="189" y="156"/>
                  </a:lnTo>
                  <a:lnTo>
                    <a:pt x="192" y="163"/>
                  </a:lnTo>
                  <a:lnTo>
                    <a:pt x="192" y="168"/>
                  </a:lnTo>
                  <a:lnTo>
                    <a:pt x="185" y="175"/>
                  </a:lnTo>
                  <a:lnTo>
                    <a:pt x="180" y="172"/>
                  </a:lnTo>
                  <a:lnTo>
                    <a:pt x="178" y="182"/>
                  </a:lnTo>
                  <a:lnTo>
                    <a:pt x="168" y="184"/>
                  </a:lnTo>
                  <a:lnTo>
                    <a:pt x="166" y="191"/>
                  </a:lnTo>
                  <a:lnTo>
                    <a:pt x="156" y="194"/>
                  </a:lnTo>
                  <a:lnTo>
                    <a:pt x="152" y="189"/>
                  </a:lnTo>
                  <a:lnTo>
                    <a:pt x="121" y="189"/>
                  </a:lnTo>
                  <a:lnTo>
                    <a:pt x="121" y="184"/>
                  </a:lnTo>
                  <a:lnTo>
                    <a:pt x="121" y="184"/>
                  </a:lnTo>
                  <a:lnTo>
                    <a:pt x="121" y="184"/>
                  </a:lnTo>
                  <a:lnTo>
                    <a:pt x="119" y="184"/>
                  </a:lnTo>
                  <a:lnTo>
                    <a:pt x="116" y="189"/>
                  </a:lnTo>
                  <a:lnTo>
                    <a:pt x="107" y="189"/>
                  </a:lnTo>
                  <a:lnTo>
                    <a:pt x="90" y="189"/>
                  </a:lnTo>
                  <a:lnTo>
                    <a:pt x="74" y="189"/>
                  </a:lnTo>
                  <a:lnTo>
                    <a:pt x="57" y="189"/>
                  </a:lnTo>
                  <a:lnTo>
                    <a:pt x="41" y="189"/>
                  </a:lnTo>
                  <a:lnTo>
                    <a:pt x="24" y="189"/>
                  </a:lnTo>
                  <a:lnTo>
                    <a:pt x="8" y="189"/>
                  </a:lnTo>
                  <a:lnTo>
                    <a:pt x="8" y="17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1" name="Freeform 262">
              <a:extLst>
                <a:ext uri="{FF2B5EF4-FFF2-40B4-BE49-F238E27FC236}">
                  <a16:creationId xmlns:a16="http://schemas.microsoft.com/office/drawing/2014/main" id="{620A917A-68EA-438F-8B70-1631BE33E722}"/>
                </a:ext>
              </a:extLst>
            </p:cNvPr>
            <p:cNvSpPr>
              <a:spLocks/>
            </p:cNvSpPr>
            <p:nvPr/>
          </p:nvSpPr>
          <p:spPr bwMode="auto">
            <a:xfrm>
              <a:off x="1956641" y="3611529"/>
              <a:ext cx="307974" cy="307975"/>
            </a:xfrm>
            <a:custGeom>
              <a:avLst/>
              <a:gdLst>
                <a:gd name="T0" fmla="*/ 8 w 194"/>
                <a:gd name="T1" fmla="*/ 139 h 194"/>
                <a:gd name="T2" fmla="*/ 8 w 194"/>
                <a:gd name="T3" fmla="*/ 85 h 194"/>
                <a:gd name="T4" fmla="*/ 3 w 194"/>
                <a:gd name="T5" fmla="*/ 47 h 194"/>
                <a:gd name="T6" fmla="*/ 0 w 194"/>
                <a:gd name="T7" fmla="*/ 38 h 194"/>
                <a:gd name="T8" fmla="*/ 3 w 194"/>
                <a:gd name="T9" fmla="*/ 28 h 194"/>
                <a:gd name="T10" fmla="*/ 5 w 194"/>
                <a:gd name="T11" fmla="*/ 23 h 194"/>
                <a:gd name="T12" fmla="*/ 3 w 194"/>
                <a:gd name="T13" fmla="*/ 7 h 194"/>
                <a:gd name="T14" fmla="*/ 5 w 194"/>
                <a:gd name="T15" fmla="*/ 0 h 194"/>
                <a:gd name="T16" fmla="*/ 12 w 194"/>
                <a:gd name="T17" fmla="*/ 2 h 194"/>
                <a:gd name="T18" fmla="*/ 29 w 194"/>
                <a:gd name="T19" fmla="*/ 2 h 194"/>
                <a:gd name="T20" fmla="*/ 50 w 194"/>
                <a:gd name="T21" fmla="*/ 9 h 194"/>
                <a:gd name="T22" fmla="*/ 60 w 194"/>
                <a:gd name="T23" fmla="*/ 12 h 194"/>
                <a:gd name="T24" fmla="*/ 74 w 194"/>
                <a:gd name="T25" fmla="*/ 14 h 194"/>
                <a:gd name="T26" fmla="*/ 86 w 194"/>
                <a:gd name="T27" fmla="*/ 14 h 194"/>
                <a:gd name="T28" fmla="*/ 100 w 194"/>
                <a:gd name="T29" fmla="*/ 5 h 194"/>
                <a:gd name="T30" fmla="*/ 107 w 194"/>
                <a:gd name="T31" fmla="*/ 2 h 194"/>
                <a:gd name="T32" fmla="*/ 102 w 194"/>
                <a:gd name="T33" fmla="*/ 7 h 194"/>
                <a:gd name="T34" fmla="*/ 111 w 194"/>
                <a:gd name="T35" fmla="*/ 5 h 194"/>
                <a:gd name="T36" fmla="*/ 116 w 194"/>
                <a:gd name="T37" fmla="*/ 5 h 194"/>
                <a:gd name="T38" fmla="*/ 128 w 194"/>
                <a:gd name="T39" fmla="*/ 2 h 194"/>
                <a:gd name="T40" fmla="*/ 130 w 194"/>
                <a:gd name="T41" fmla="*/ 5 h 194"/>
                <a:gd name="T42" fmla="*/ 135 w 194"/>
                <a:gd name="T43" fmla="*/ 9 h 194"/>
                <a:gd name="T44" fmla="*/ 142 w 194"/>
                <a:gd name="T45" fmla="*/ 14 h 194"/>
                <a:gd name="T46" fmla="*/ 147 w 194"/>
                <a:gd name="T47" fmla="*/ 12 h 194"/>
                <a:gd name="T48" fmla="*/ 163 w 194"/>
                <a:gd name="T49" fmla="*/ 9 h 194"/>
                <a:gd name="T50" fmla="*/ 166 w 194"/>
                <a:gd name="T51" fmla="*/ 12 h 194"/>
                <a:gd name="T52" fmla="*/ 180 w 194"/>
                <a:gd name="T53" fmla="*/ 47 h 194"/>
                <a:gd name="T54" fmla="*/ 173 w 194"/>
                <a:gd name="T55" fmla="*/ 68 h 194"/>
                <a:gd name="T56" fmla="*/ 171 w 194"/>
                <a:gd name="T57" fmla="*/ 75 h 194"/>
                <a:gd name="T58" fmla="*/ 166 w 194"/>
                <a:gd name="T59" fmla="*/ 78 h 194"/>
                <a:gd name="T60" fmla="*/ 154 w 194"/>
                <a:gd name="T61" fmla="*/ 66 h 194"/>
                <a:gd name="T62" fmla="*/ 152 w 194"/>
                <a:gd name="T63" fmla="*/ 57 h 194"/>
                <a:gd name="T64" fmla="*/ 145 w 194"/>
                <a:gd name="T65" fmla="*/ 47 h 194"/>
                <a:gd name="T66" fmla="*/ 140 w 194"/>
                <a:gd name="T67" fmla="*/ 35 h 194"/>
                <a:gd name="T68" fmla="*/ 140 w 194"/>
                <a:gd name="T69" fmla="*/ 33 h 194"/>
                <a:gd name="T70" fmla="*/ 137 w 194"/>
                <a:gd name="T71" fmla="*/ 38 h 194"/>
                <a:gd name="T72" fmla="*/ 140 w 194"/>
                <a:gd name="T73" fmla="*/ 45 h 194"/>
                <a:gd name="T74" fmla="*/ 140 w 194"/>
                <a:gd name="T75" fmla="*/ 54 h 194"/>
                <a:gd name="T76" fmla="*/ 152 w 194"/>
                <a:gd name="T77" fmla="*/ 71 h 194"/>
                <a:gd name="T78" fmla="*/ 156 w 194"/>
                <a:gd name="T79" fmla="*/ 83 h 194"/>
                <a:gd name="T80" fmla="*/ 163 w 194"/>
                <a:gd name="T81" fmla="*/ 97 h 194"/>
                <a:gd name="T82" fmla="*/ 168 w 194"/>
                <a:gd name="T83" fmla="*/ 111 h 194"/>
                <a:gd name="T84" fmla="*/ 178 w 194"/>
                <a:gd name="T85" fmla="*/ 127 h 194"/>
                <a:gd name="T86" fmla="*/ 185 w 194"/>
                <a:gd name="T87" fmla="*/ 142 h 194"/>
                <a:gd name="T88" fmla="*/ 194 w 194"/>
                <a:gd name="T89" fmla="*/ 151 h 194"/>
                <a:gd name="T90" fmla="*/ 192 w 194"/>
                <a:gd name="T91" fmla="*/ 151 h 194"/>
                <a:gd name="T92" fmla="*/ 189 w 194"/>
                <a:gd name="T93" fmla="*/ 156 h 194"/>
                <a:gd name="T94" fmla="*/ 185 w 194"/>
                <a:gd name="T95" fmla="*/ 175 h 194"/>
                <a:gd name="T96" fmla="*/ 168 w 194"/>
                <a:gd name="T97" fmla="*/ 184 h 194"/>
                <a:gd name="T98" fmla="*/ 152 w 194"/>
                <a:gd name="T99" fmla="*/ 189 h 194"/>
                <a:gd name="T100" fmla="*/ 121 w 194"/>
                <a:gd name="T101" fmla="*/ 184 h 194"/>
                <a:gd name="T102" fmla="*/ 116 w 194"/>
                <a:gd name="T103" fmla="*/ 189 h 194"/>
                <a:gd name="T104" fmla="*/ 74 w 194"/>
                <a:gd name="T105" fmla="*/ 189 h 194"/>
                <a:gd name="T106" fmla="*/ 24 w 194"/>
                <a:gd name="T107"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4" h="194">
                  <a:moveTo>
                    <a:pt x="8" y="175"/>
                  </a:moveTo>
                  <a:lnTo>
                    <a:pt x="8" y="158"/>
                  </a:lnTo>
                  <a:lnTo>
                    <a:pt x="8" y="139"/>
                  </a:lnTo>
                  <a:lnTo>
                    <a:pt x="8" y="123"/>
                  </a:lnTo>
                  <a:lnTo>
                    <a:pt x="8" y="104"/>
                  </a:lnTo>
                  <a:lnTo>
                    <a:pt x="8" y="85"/>
                  </a:lnTo>
                  <a:lnTo>
                    <a:pt x="8" y="66"/>
                  </a:lnTo>
                  <a:lnTo>
                    <a:pt x="8" y="52"/>
                  </a:lnTo>
                  <a:lnTo>
                    <a:pt x="3" y="47"/>
                  </a:lnTo>
                  <a:lnTo>
                    <a:pt x="3" y="42"/>
                  </a:lnTo>
                  <a:lnTo>
                    <a:pt x="3" y="42"/>
                  </a:lnTo>
                  <a:lnTo>
                    <a:pt x="0" y="38"/>
                  </a:lnTo>
                  <a:lnTo>
                    <a:pt x="0" y="33"/>
                  </a:lnTo>
                  <a:lnTo>
                    <a:pt x="0" y="31"/>
                  </a:lnTo>
                  <a:lnTo>
                    <a:pt x="3" y="28"/>
                  </a:lnTo>
                  <a:lnTo>
                    <a:pt x="5" y="28"/>
                  </a:lnTo>
                  <a:lnTo>
                    <a:pt x="5" y="26"/>
                  </a:lnTo>
                  <a:lnTo>
                    <a:pt x="5" y="23"/>
                  </a:lnTo>
                  <a:lnTo>
                    <a:pt x="5" y="19"/>
                  </a:lnTo>
                  <a:lnTo>
                    <a:pt x="3" y="9"/>
                  </a:lnTo>
                  <a:lnTo>
                    <a:pt x="3" y="7"/>
                  </a:lnTo>
                  <a:lnTo>
                    <a:pt x="3" y="7"/>
                  </a:lnTo>
                  <a:lnTo>
                    <a:pt x="5" y="5"/>
                  </a:lnTo>
                  <a:lnTo>
                    <a:pt x="5" y="0"/>
                  </a:lnTo>
                  <a:lnTo>
                    <a:pt x="8" y="0"/>
                  </a:lnTo>
                  <a:lnTo>
                    <a:pt x="10" y="2"/>
                  </a:lnTo>
                  <a:lnTo>
                    <a:pt x="12" y="2"/>
                  </a:lnTo>
                  <a:lnTo>
                    <a:pt x="17" y="2"/>
                  </a:lnTo>
                  <a:lnTo>
                    <a:pt x="22" y="2"/>
                  </a:lnTo>
                  <a:lnTo>
                    <a:pt x="29" y="2"/>
                  </a:lnTo>
                  <a:lnTo>
                    <a:pt x="41" y="5"/>
                  </a:lnTo>
                  <a:lnTo>
                    <a:pt x="45" y="7"/>
                  </a:lnTo>
                  <a:lnTo>
                    <a:pt x="50" y="9"/>
                  </a:lnTo>
                  <a:lnTo>
                    <a:pt x="55" y="9"/>
                  </a:lnTo>
                  <a:lnTo>
                    <a:pt x="57" y="9"/>
                  </a:lnTo>
                  <a:lnTo>
                    <a:pt x="60" y="12"/>
                  </a:lnTo>
                  <a:lnTo>
                    <a:pt x="64" y="12"/>
                  </a:lnTo>
                  <a:lnTo>
                    <a:pt x="69" y="12"/>
                  </a:lnTo>
                  <a:lnTo>
                    <a:pt x="74" y="14"/>
                  </a:lnTo>
                  <a:lnTo>
                    <a:pt x="76" y="16"/>
                  </a:lnTo>
                  <a:lnTo>
                    <a:pt x="81" y="16"/>
                  </a:lnTo>
                  <a:lnTo>
                    <a:pt x="86" y="14"/>
                  </a:lnTo>
                  <a:lnTo>
                    <a:pt x="90" y="9"/>
                  </a:lnTo>
                  <a:lnTo>
                    <a:pt x="95" y="7"/>
                  </a:lnTo>
                  <a:lnTo>
                    <a:pt x="100" y="5"/>
                  </a:lnTo>
                  <a:lnTo>
                    <a:pt x="104" y="5"/>
                  </a:lnTo>
                  <a:lnTo>
                    <a:pt x="107" y="2"/>
                  </a:lnTo>
                  <a:lnTo>
                    <a:pt x="107" y="2"/>
                  </a:lnTo>
                  <a:lnTo>
                    <a:pt x="107" y="5"/>
                  </a:lnTo>
                  <a:lnTo>
                    <a:pt x="104" y="5"/>
                  </a:lnTo>
                  <a:lnTo>
                    <a:pt x="102" y="7"/>
                  </a:lnTo>
                  <a:lnTo>
                    <a:pt x="104" y="7"/>
                  </a:lnTo>
                  <a:lnTo>
                    <a:pt x="109" y="5"/>
                  </a:lnTo>
                  <a:lnTo>
                    <a:pt x="111" y="5"/>
                  </a:lnTo>
                  <a:lnTo>
                    <a:pt x="114" y="2"/>
                  </a:lnTo>
                  <a:lnTo>
                    <a:pt x="116" y="5"/>
                  </a:lnTo>
                  <a:lnTo>
                    <a:pt x="116" y="5"/>
                  </a:lnTo>
                  <a:lnTo>
                    <a:pt x="123" y="5"/>
                  </a:lnTo>
                  <a:lnTo>
                    <a:pt x="126" y="5"/>
                  </a:lnTo>
                  <a:lnTo>
                    <a:pt x="128" y="2"/>
                  </a:lnTo>
                  <a:lnTo>
                    <a:pt x="128" y="2"/>
                  </a:lnTo>
                  <a:lnTo>
                    <a:pt x="128" y="5"/>
                  </a:lnTo>
                  <a:lnTo>
                    <a:pt x="130" y="5"/>
                  </a:lnTo>
                  <a:lnTo>
                    <a:pt x="130" y="7"/>
                  </a:lnTo>
                  <a:lnTo>
                    <a:pt x="133" y="7"/>
                  </a:lnTo>
                  <a:lnTo>
                    <a:pt x="135" y="9"/>
                  </a:lnTo>
                  <a:lnTo>
                    <a:pt x="137" y="12"/>
                  </a:lnTo>
                  <a:lnTo>
                    <a:pt x="140" y="14"/>
                  </a:lnTo>
                  <a:lnTo>
                    <a:pt x="142" y="14"/>
                  </a:lnTo>
                  <a:lnTo>
                    <a:pt x="145" y="12"/>
                  </a:lnTo>
                  <a:lnTo>
                    <a:pt x="147" y="12"/>
                  </a:lnTo>
                  <a:lnTo>
                    <a:pt x="147" y="12"/>
                  </a:lnTo>
                  <a:lnTo>
                    <a:pt x="149" y="14"/>
                  </a:lnTo>
                  <a:lnTo>
                    <a:pt x="156" y="12"/>
                  </a:lnTo>
                  <a:lnTo>
                    <a:pt x="163" y="9"/>
                  </a:lnTo>
                  <a:lnTo>
                    <a:pt x="166" y="7"/>
                  </a:lnTo>
                  <a:lnTo>
                    <a:pt x="166" y="9"/>
                  </a:lnTo>
                  <a:lnTo>
                    <a:pt x="166" y="12"/>
                  </a:lnTo>
                  <a:lnTo>
                    <a:pt x="168" y="14"/>
                  </a:lnTo>
                  <a:lnTo>
                    <a:pt x="173" y="33"/>
                  </a:lnTo>
                  <a:lnTo>
                    <a:pt x="180" y="47"/>
                  </a:lnTo>
                  <a:lnTo>
                    <a:pt x="178" y="52"/>
                  </a:lnTo>
                  <a:lnTo>
                    <a:pt x="175" y="59"/>
                  </a:lnTo>
                  <a:lnTo>
                    <a:pt x="173" y="68"/>
                  </a:lnTo>
                  <a:lnTo>
                    <a:pt x="171" y="71"/>
                  </a:lnTo>
                  <a:lnTo>
                    <a:pt x="173" y="73"/>
                  </a:lnTo>
                  <a:lnTo>
                    <a:pt x="171" y="75"/>
                  </a:lnTo>
                  <a:lnTo>
                    <a:pt x="171" y="75"/>
                  </a:lnTo>
                  <a:lnTo>
                    <a:pt x="168" y="78"/>
                  </a:lnTo>
                  <a:lnTo>
                    <a:pt x="166" y="78"/>
                  </a:lnTo>
                  <a:lnTo>
                    <a:pt x="163" y="75"/>
                  </a:lnTo>
                  <a:lnTo>
                    <a:pt x="159" y="71"/>
                  </a:lnTo>
                  <a:lnTo>
                    <a:pt x="154" y="66"/>
                  </a:lnTo>
                  <a:lnTo>
                    <a:pt x="152" y="61"/>
                  </a:lnTo>
                  <a:lnTo>
                    <a:pt x="152" y="61"/>
                  </a:lnTo>
                  <a:lnTo>
                    <a:pt x="152" y="57"/>
                  </a:lnTo>
                  <a:lnTo>
                    <a:pt x="149" y="54"/>
                  </a:lnTo>
                  <a:lnTo>
                    <a:pt x="147" y="49"/>
                  </a:lnTo>
                  <a:lnTo>
                    <a:pt x="145" y="47"/>
                  </a:lnTo>
                  <a:lnTo>
                    <a:pt x="142" y="42"/>
                  </a:lnTo>
                  <a:lnTo>
                    <a:pt x="142" y="38"/>
                  </a:lnTo>
                  <a:lnTo>
                    <a:pt x="140" y="35"/>
                  </a:lnTo>
                  <a:lnTo>
                    <a:pt x="140" y="33"/>
                  </a:lnTo>
                  <a:lnTo>
                    <a:pt x="140" y="33"/>
                  </a:lnTo>
                  <a:lnTo>
                    <a:pt x="140" y="33"/>
                  </a:lnTo>
                  <a:lnTo>
                    <a:pt x="137" y="35"/>
                  </a:lnTo>
                  <a:lnTo>
                    <a:pt x="137" y="35"/>
                  </a:lnTo>
                  <a:lnTo>
                    <a:pt x="137" y="38"/>
                  </a:lnTo>
                  <a:lnTo>
                    <a:pt x="135" y="42"/>
                  </a:lnTo>
                  <a:lnTo>
                    <a:pt x="137" y="42"/>
                  </a:lnTo>
                  <a:lnTo>
                    <a:pt x="140" y="45"/>
                  </a:lnTo>
                  <a:lnTo>
                    <a:pt x="140" y="47"/>
                  </a:lnTo>
                  <a:lnTo>
                    <a:pt x="140" y="49"/>
                  </a:lnTo>
                  <a:lnTo>
                    <a:pt x="140" y="54"/>
                  </a:lnTo>
                  <a:lnTo>
                    <a:pt x="142" y="57"/>
                  </a:lnTo>
                  <a:lnTo>
                    <a:pt x="147" y="66"/>
                  </a:lnTo>
                  <a:lnTo>
                    <a:pt x="152" y="71"/>
                  </a:lnTo>
                  <a:lnTo>
                    <a:pt x="154" y="73"/>
                  </a:lnTo>
                  <a:lnTo>
                    <a:pt x="156" y="73"/>
                  </a:lnTo>
                  <a:lnTo>
                    <a:pt x="156" y="83"/>
                  </a:lnTo>
                  <a:lnTo>
                    <a:pt x="159" y="85"/>
                  </a:lnTo>
                  <a:lnTo>
                    <a:pt x="161" y="90"/>
                  </a:lnTo>
                  <a:lnTo>
                    <a:pt x="163" y="97"/>
                  </a:lnTo>
                  <a:lnTo>
                    <a:pt x="163" y="99"/>
                  </a:lnTo>
                  <a:lnTo>
                    <a:pt x="166" y="104"/>
                  </a:lnTo>
                  <a:lnTo>
                    <a:pt x="168" y="111"/>
                  </a:lnTo>
                  <a:lnTo>
                    <a:pt x="171" y="116"/>
                  </a:lnTo>
                  <a:lnTo>
                    <a:pt x="173" y="120"/>
                  </a:lnTo>
                  <a:lnTo>
                    <a:pt x="178" y="127"/>
                  </a:lnTo>
                  <a:lnTo>
                    <a:pt x="180" y="132"/>
                  </a:lnTo>
                  <a:lnTo>
                    <a:pt x="180" y="134"/>
                  </a:lnTo>
                  <a:lnTo>
                    <a:pt x="185" y="142"/>
                  </a:lnTo>
                  <a:lnTo>
                    <a:pt x="187" y="144"/>
                  </a:lnTo>
                  <a:lnTo>
                    <a:pt x="192" y="149"/>
                  </a:lnTo>
                  <a:lnTo>
                    <a:pt x="194" y="151"/>
                  </a:lnTo>
                  <a:lnTo>
                    <a:pt x="194" y="151"/>
                  </a:lnTo>
                  <a:lnTo>
                    <a:pt x="194" y="153"/>
                  </a:lnTo>
                  <a:lnTo>
                    <a:pt x="192" y="151"/>
                  </a:lnTo>
                  <a:lnTo>
                    <a:pt x="189" y="151"/>
                  </a:lnTo>
                  <a:lnTo>
                    <a:pt x="189" y="153"/>
                  </a:lnTo>
                  <a:lnTo>
                    <a:pt x="189" y="156"/>
                  </a:lnTo>
                  <a:lnTo>
                    <a:pt x="192" y="163"/>
                  </a:lnTo>
                  <a:lnTo>
                    <a:pt x="192" y="168"/>
                  </a:lnTo>
                  <a:lnTo>
                    <a:pt x="185" y="175"/>
                  </a:lnTo>
                  <a:lnTo>
                    <a:pt x="180" y="172"/>
                  </a:lnTo>
                  <a:lnTo>
                    <a:pt x="178" y="182"/>
                  </a:lnTo>
                  <a:lnTo>
                    <a:pt x="168" y="184"/>
                  </a:lnTo>
                  <a:lnTo>
                    <a:pt x="166" y="191"/>
                  </a:lnTo>
                  <a:lnTo>
                    <a:pt x="156" y="194"/>
                  </a:lnTo>
                  <a:lnTo>
                    <a:pt x="152" y="189"/>
                  </a:lnTo>
                  <a:lnTo>
                    <a:pt x="121" y="189"/>
                  </a:lnTo>
                  <a:lnTo>
                    <a:pt x="121" y="184"/>
                  </a:lnTo>
                  <a:lnTo>
                    <a:pt x="121" y="184"/>
                  </a:lnTo>
                  <a:lnTo>
                    <a:pt x="121" y="184"/>
                  </a:lnTo>
                  <a:lnTo>
                    <a:pt x="119" y="184"/>
                  </a:lnTo>
                  <a:lnTo>
                    <a:pt x="116" y="189"/>
                  </a:lnTo>
                  <a:lnTo>
                    <a:pt x="107" y="189"/>
                  </a:lnTo>
                  <a:lnTo>
                    <a:pt x="90" y="189"/>
                  </a:lnTo>
                  <a:lnTo>
                    <a:pt x="74" y="189"/>
                  </a:lnTo>
                  <a:lnTo>
                    <a:pt x="57" y="189"/>
                  </a:lnTo>
                  <a:lnTo>
                    <a:pt x="41" y="189"/>
                  </a:lnTo>
                  <a:lnTo>
                    <a:pt x="24" y="189"/>
                  </a:lnTo>
                  <a:lnTo>
                    <a:pt x="8" y="189"/>
                  </a:lnTo>
                  <a:lnTo>
                    <a:pt x="8" y="17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2" name="Freeform 263">
              <a:extLst>
                <a:ext uri="{FF2B5EF4-FFF2-40B4-BE49-F238E27FC236}">
                  <a16:creationId xmlns:a16="http://schemas.microsoft.com/office/drawing/2014/main" id="{1AD10F41-2023-418D-AE00-EBC2ECA90AED}"/>
                </a:ext>
              </a:extLst>
            </p:cNvPr>
            <p:cNvSpPr>
              <a:spLocks/>
            </p:cNvSpPr>
            <p:nvPr/>
          </p:nvSpPr>
          <p:spPr bwMode="auto">
            <a:xfrm>
              <a:off x="1039067" y="3427379"/>
              <a:ext cx="561974" cy="569914"/>
            </a:xfrm>
            <a:custGeom>
              <a:avLst/>
              <a:gdLst>
                <a:gd name="T0" fmla="*/ 0 w 354"/>
                <a:gd name="T1" fmla="*/ 206 h 359"/>
                <a:gd name="T2" fmla="*/ 19 w 354"/>
                <a:gd name="T3" fmla="*/ 161 h 359"/>
                <a:gd name="T4" fmla="*/ 30 w 354"/>
                <a:gd name="T5" fmla="*/ 156 h 359"/>
                <a:gd name="T6" fmla="*/ 38 w 354"/>
                <a:gd name="T7" fmla="*/ 154 h 359"/>
                <a:gd name="T8" fmla="*/ 52 w 354"/>
                <a:gd name="T9" fmla="*/ 151 h 359"/>
                <a:gd name="T10" fmla="*/ 61 w 354"/>
                <a:gd name="T11" fmla="*/ 142 h 359"/>
                <a:gd name="T12" fmla="*/ 80 w 354"/>
                <a:gd name="T13" fmla="*/ 130 h 359"/>
                <a:gd name="T14" fmla="*/ 87 w 354"/>
                <a:gd name="T15" fmla="*/ 125 h 359"/>
                <a:gd name="T16" fmla="*/ 87 w 354"/>
                <a:gd name="T17" fmla="*/ 121 h 359"/>
                <a:gd name="T18" fmla="*/ 85 w 354"/>
                <a:gd name="T19" fmla="*/ 116 h 359"/>
                <a:gd name="T20" fmla="*/ 94 w 354"/>
                <a:gd name="T21" fmla="*/ 113 h 359"/>
                <a:gd name="T22" fmla="*/ 101 w 354"/>
                <a:gd name="T23" fmla="*/ 106 h 359"/>
                <a:gd name="T24" fmla="*/ 108 w 354"/>
                <a:gd name="T25" fmla="*/ 104 h 359"/>
                <a:gd name="T26" fmla="*/ 130 w 354"/>
                <a:gd name="T27" fmla="*/ 104 h 359"/>
                <a:gd name="T28" fmla="*/ 132 w 354"/>
                <a:gd name="T29" fmla="*/ 97 h 359"/>
                <a:gd name="T30" fmla="*/ 125 w 354"/>
                <a:gd name="T31" fmla="*/ 87 h 359"/>
                <a:gd name="T32" fmla="*/ 125 w 354"/>
                <a:gd name="T33" fmla="*/ 78 h 359"/>
                <a:gd name="T34" fmla="*/ 123 w 354"/>
                <a:gd name="T35" fmla="*/ 69 h 359"/>
                <a:gd name="T36" fmla="*/ 123 w 354"/>
                <a:gd name="T37" fmla="*/ 54 h 359"/>
                <a:gd name="T38" fmla="*/ 120 w 354"/>
                <a:gd name="T39" fmla="*/ 52 h 359"/>
                <a:gd name="T40" fmla="*/ 115 w 354"/>
                <a:gd name="T41" fmla="*/ 45 h 359"/>
                <a:gd name="T42" fmla="*/ 134 w 354"/>
                <a:gd name="T43" fmla="*/ 33 h 359"/>
                <a:gd name="T44" fmla="*/ 149 w 354"/>
                <a:gd name="T45" fmla="*/ 28 h 359"/>
                <a:gd name="T46" fmla="*/ 160 w 354"/>
                <a:gd name="T47" fmla="*/ 19 h 359"/>
                <a:gd name="T48" fmla="*/ 198 w 354"/>
                <a:gd name="T49" fmla="*/ 12 h 359"/>
                <a:gd name="T50" fmla="*/ 212 w 354"/>
                <a:gd name="T51" fmla="*/ 7 h 359"/>
                <a:gd name="T52" fmla="*/ 238 w 354"/>
                <a:gd name="T53" fmla="*/ 5 h 359"/>
                <a:gd name="T54" fmla="*/ 255 w 354"/>
                <a:gd name="T55" fmla="*/ 7 h 359"/>
                <a:gd name="T56" fmla="*/ 269 w 354"/>
                <a:gd name="T57" fmla="*/ 5 h 359"/>
                <a:gd name="T58" fmla="*/ 288 w 354"/>
                <a:gd name="T59" fmla="*/ 5 h 359"/>
                <a:gd name="T60" fmla="*/ 302 w 354"/>
                <a:gd name="T61" fmla="*/ 7 h 359"/>
                <a:gd name="T62" fmla="*/ 297 w 354"/>
                <a:gd name="T63" fmla="*/ 14 h 359"/>
                <a:gd name="T64" fmla="*/ 295 w 354"/>
                <a:gd name="T65" fmla="*/ 38 h 359"/>
                <a:gd name="T66" fmla="*/ 288 w 354"/>
                <a:gd name="T67" fmla="*/ 59 h 359"/>
                <a:gd name="T68" fmla="*/ 278 w 354"/>
                <a:gd name="T69" fmla="*/ 69 h 359"/>
                <a:gd name="T70" fmla="*/ 288 w 354"/>
                <a:gd name="T71" fmla="*/ 85 h 359"/>
                <a:gd name="T72" fmla="*/ 307 w 354"/>
                <a:gd name="T73" fmla="*/ 106 h 359"/>
                <a:gd name="T74" fmla="*/ 314 w 354"/>
                <a:gd name="T75" fmla="*/ 142 h 359"/>
                <a:gd name="T76" fmla="*/ 316 w 354"/>
                <a:gd name="T77" fmla="*/ 163 h 359"/>
                <a:gd name="T78" fmla="*/ 319 w 354"/>
                <a:gd name="T79" fmla="*/ 194 h 359"/>
                <a:gd name="T80" fmla="*/ 312 w 354"/>
                <a:gd name="T81" fmla="*/ 224 h 359"/>
                <a:gd name="T82" fmla="*/ 323 w 354"/>
                <a:gd name="T83" fmla="*/ 250 h 359"/>
                <a:gd name="T84" fmla="*/ 352 w 354"/>
                <a:gd name="T85" fmla="*/ 269 h 359"/>
                <a:gd name="T86" fmla="*/ 319 w 354"/>
                <a:gd name="T87" fmla="*/ 300 h 359"/>
                <a:gd name="T88" fmla="*/ 248 w 354"/>
                <a:gd name="T89" fmla="*/ 350 h 359"/>
                <a:gd name="T90" fmla="*/ 217 w 354"/>
                <a:gd name="T91" fmla="*/ 359 h 359"/>
                <a:gd name="T92" fmla="*/ 205 w 354"/>
                <a:gd name="T93" fmla="*/ 357 h 359"/>
                <a:gd name="T94" fmla="*/ 208 w 354"/>
                <a:gd name="T95" fmla="*/ 350 h 359"/>
                <a:gd name="T96" fmla="*/ 205 w 354"/>
                <a:gd name="T97" fmla="*/ 345 h 359"/>
                <a:gd name="T98" fmla="*/ 198 w 354"/>
                <a:gd name="T99" fmla="*/ 340 h 359"/>
                <a:gd name="T100" fmla="*/ 191 w 354"/>
                <a:gd name="T101" fmla="*/ 336 h 359"/>
                <a:gd name="T102" fmla="*/ 179 w 354"/>
                <a:gd name="T103" fmla="*/ 333 h 359"/>
                <a:gd name="T104" fmla="*/ 172 w 354"/>
                <a:gd name="T105" fmla="*/ 326 h 359"/>
                <a:gd name="T106" fmla="*/ 170 w 354"/>
                <a:gd name="T107" fmla="*/ 31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4" h="359">
                  <a:moveTo>
                    <a:pt x="66" y="246"/>
                  </a:moveTo>
                  <a:lnTo>
                    <a:pt x="66" y="246"/>
                  </a:lnTo>
                  <a:lnTo>
                    <a:pt x="40" y="232"/>
                  </a:lnTo>
                  <a:lnTo>
                    <a:pt x="21" y="217"/>
                  </a:lnTo>
                  <a:lnTo>
                    <a:pt x="0" y="206"/>
                  </a:lnTo>
                  <a:lnTo>
                    <a:pt x="0" y="194"/>
                  </a:lnTo>
                  <a:lnTo>
                    <a:pt x="0" y="173"/>
                  </a:lnTo>
                  <a:lnTo>
                    <a:pt x="9" y="165"/>
                  </a:lnTo>
                  <a:lnTo>
                    <a:pt x="16" y="161"/>
                  </a:lnTo>
                  <a:lnTo>
                    <a:pt x="19" y="161"/>
                  </a:lnTo>
                  <a:lnTo>
                    <a:pt x="21" y="158"/>
                  </a:lnTo>
                  <a:lnTo>
                    <a:pt x="23" y="158"/>
                  </a:lnTo>
                  <a:lnTo>
                    <a:pt x="26" y="156"/>
                  </a:lnTo>
                  <a:lnTo>
                    <a:pt x="28" y="156"/>
                  </a:lnTo>
                  <a:lnTo>
                    <a:pt x="30" y="156"/>
                  </a:lnTo>
                  <a:lnTo>
                    <a:pt x="30" y="156"/>
                  </a:lnTo>
                  <a:lnTo>
                    <a:pt x="33" y="156"/>
                  </a:lnTo>
                  <a:lnTo>
                    <a:pt x="35" y="156"/>
                  </a:lnTo>
                  <a:lnTo>
                    <a:pt x="38" y="156"/>
                  </a:lnTo>
                  <a:lnTo>
                    <a:pt x="38" y="154"/>
                  </a:lnTo>
                  <a:lnTo>
                    <a:pt x="38" y="151"/>
                  </a:lnTo>
                  <a:lnTo>
                    <a:pt x="42" y="151"/>
                  </a:lnTo>
                  <a:lnTo>
                    <a:pt x="45" y="151"/>
                  </a:lnTo>
                  <a:lnTo>
                    <a:pt x="47" y="151"/>
                  </a:lnTo>
                  <a:lnTo>
                    <a:pt x="52" y="151"/>
                  </a:lnTo>
                  <a:lnTo>
                    <a:pt x="56" y="149"/>
                  </a:lnTo>
                  <a:lnTo>
                    <a:pt x="59" y="147"/>
                  </a:lnTo>
                  <a:lnTo>
                    <a:pt x="61" y="144"/>
                  </a:lnTo>
                  <a:lnTo>
                    <a:pt x="61" y="144"/>
                  </a:lnTo>
                  <a:lnTo>
                    <a:pt x="61" y="142"/>
                  </a:lnTo>
                  <a:lnTo>
                    <a:pt x="64" y="139"/>
                  </a:lnTo>
                  <a:lnTo>
                    <a:pt x="66" y="137"/>
                  </a:lnTo>
                  <a:lnTo>
                    <a:pt x="71" y="135"/>
                  </a:lnTo>
                  <a:lnTo>
                    <a:pt x="73" y="135"/>
                  </a:lnTo>
                  <a:lnTo>
                    <a:pt x="80" y="130"/>
                  </a:lnTo>
                  <a:lnTo>
                    <a:pt x="87" y="130"/>
                  </a:lnTo>
                  <a:lnTo>
                    <a:pt x="89" y="128"/>
                  </a:lnTo>
                  <a:lnTo>
                    <a:pt x="87" y="128"/>
                  </a:lnTo>
                  <a:lnTo>
                    <a:pt x="87" y="125"/>
                  </a:lnTo>
                  <a:lnTo>
                    <a:pt x="87" y="125"/>
                  </a:lnTo>
                  <a:lnTo>
                    <a:pt x="85" y="125"/>
                  </a:lnTo>
                  <a:lnTo>
                    <a:pt x="85" y="125"/>
                  </a:lnTo>
                  <a:lnTo>
                    <a:pt x="85" y="125"/>
                  </a:lnTo>
                  <a:lnTo>
                    <a:pt x="85" y="121"/>
                  </a:lnTo>
                  <a:lnTo>
                    <a:pt x="87" y="121"/>
                  </a:lnTo>
                  <a:lnTo>
                    <a:pt x="85" y="121"/>
                  </a:lnTo>
                  <a:lnTo>
                    <a:pt x="85" y="118"/>
                  </a:lnTo>
                  <a:lnTo>
                    <a:pt x="85" y="118"/>
                  </a:lnTo>
                  <a:lnTo>
                    <a:pt x="85" y="116"/>
                  </a:lnTo>
                  <a:lnTo>
                    <a:pt x="85" y="116"/>
                  </a:lnTo>
                  <a:lnTo>
                    <a:pt x="85" y="113"/>
                  </a:lnTo>
                  <a:lnTo>
                    <a:pt x="87" y="113"/>
                  </a:lnTo>
                  <a:lnTo>
                    <a:pt x="89" y="113"/>
                  </a:lnTo>
                  <a:lnTo>
                    <a:pt x="92" y="113"/>
                  </a:lnTo>
                  <a:lnTo>
                    <a:pt x="94" y="113"/>
                  </a:lnTo>
                  <a:lnTo>
                    <a:pt x="99" y="111"/>
                  </a:lnTo>
                  <a:lnTo>
                    <a:pt x="99" y="111"/>
                  </a:lnTo>
                  <a:lnTo>
                    <a:pt x="99" y="109"/>
                  </a:lnTo>
                  <a:lnTo>
                    <a:pt x="99" y="106"/>
                  </a:lnTo>
                  <a:lnTo>
                    <a:pt x="101" y="106"/>
                  </a:lnTo>
                  <a:lnTo>
                    <a:pt x="101" y="106"/>
                  </a:lnTo>
                  <a:lnTo>
                    <a:pt x="104" y="106"/>
                  </a:lnTo>
                  <a:lnTo>
                    <a:pt x="104" y="106"/>
                  </a:lnTo>
                  <a:lnTo>
                    <a:pt x="106" y="104"/>
                  </a:lnTo>
                  <a:lnTo>
                    <a:pt x="108" y="104"/>
                  </a:lnTo>
                  <a:lnTo>
                    <a:pt x="118" y="104"/>
                  </a:lnTo>
                  <a:lnTo>
                    <a:pt x="120" y="104"/>
                  </a:lnTo>
                  <a:lnTo>
                    <a:pt x="123" y="104"/>
                  </a:lnTo>
                  <a:lnTo>
                    <a:pt x="127" y="104"/>
                  </a:lnTo>
                  <a:lnTo>
                    <a:pt x="130" y="104"/>
                  </a:lnTo>
                  <a:lnTo>
                    <a:pt x="130" y="104"/>
                  </a:lnTo>
                  <a:lnTo>
                    <a:pt x="130" y="104"/>
                  </a:lnTo>
                  <a:lnTo>
                    <a:pt x="130" y="102"/>
                  </a:lnTo>
                  <a:lnTo>
                    <a:pt x="130" y="99"/>
                  </a:lnTo>
                  <a:lnTo>
                    <a:pt x="132" y="97"/>
                  </a:lnTo>
                  <a:lnTo>
                    <a:pt x="132" y="97"/>
                  </a:lnTo>
                  <a:lnTo>
                    <a:pt x="132" y="97"/>
                  </a:lnTo>
                  <a:lnTo>
                    <a:pt x="130" y="95"/>
                  </a:lnTo>
                  <a:lnTo>
                    <a:pt x="127" y="92"/>
                  </a:lnTo>
                  <a:lnTo>
                    <a:pt x="125" y="87"/>
                  </a:lnTo>
                  <a:lnTo>
                    <a:pt x="125" y="85"/>
                  </a:lnTo>
                  <a:lnTo>
                    <a:pt x="125" y="83"/>
                  </a:lnTo>
                  <a:lnTo>
                    <a:pt x="125" y="80"/>
                  </a:lnTo>
                  <a:lnTo>
                    <a:pt x="125" y="80"/>
                  </a:lnTo>
                  <a:lnTo>
                    <a:pt x="125" y="78"/>
                  </a:lnTo>
                  <a:lnTo>
                    <a:pt x="125" y="76"/>
                  </a:lnTo>
                  <a:lnTo>
                    <a:pt x="125" y="76"/>
                  </a:lnTo>
                  <a:lnTo>
                    <a:pt x="123" y="73"/>
                  </a:lnTo>
                  <a:lnTo>
                    <a:pt x="123" y="71"/>
                  </a:lnTo>
                  <a:lnTo>
                    <a:pt x="123" y="69"/>
                  </a:lnTo>
                  <a:lnTo>
                    <a:pt x="123" y="66"/>
                  </a:lnTo>
                  <a:lnTo>
                    <a:pt x="123" y="62"/>
                  </a:lnTo>
                  <a:lnTo>
                    <a:pt x="123" y="59"/>
                  </a:lnTo>
                  <a:lnTo>
                    <a:pt x="123" y="57"/>
                  </a:lnTo>
                  <a:lnTo>
                    <a:pt x="123" y="54"/>
                  </a:lnTo>
                  <a:lnTo>
                    <a:pt x="123" y="54"/>
                  </a:lnTo>
                  <a:lnTo>
                    <a:pt x="123" y="54"/>
                  </a:lnTo>
                  <a:lnTo>
                    <a:pt x="123" y="52"/>
                  </a:lnTo>
                  <a:lnTo>
                    <a:pt x="123" y="52"/>
                  </a:lnTo>
                  <a:lnTo>
                    <a:pt x="120" y="52"/>
                  </a:lnTo>
                  <a:lnTo>
                    <a:pt x="120" y="50"/>
                  </a:lnTo>
                  <a:lnTo>
                    <a:pt x="118" y="50"/>
                  </a:lnTo>
                  <a:lnTo>
                    <a:pt x="118" y="47"/>
                  </a:lnTo>
                  <a:lnTo>
                    <a:pt x="115" y="47"/>
                  </a:lnTo>
                  <a:lnTo>
                    <a:pt x="115" y="45"/>
                  </a:lnTo>
                  <a:lnTo>
                    <a:pt x="115" y="45"/>
                  </a:lnTo>
                  <a:lnTo>
                    <a:pt x="118" y="45"/>
                  </a:lnTo>
                  <a:lnTo>
                    <a:pt x="123" y="43"/>
                  </a:lnTo>
                  <a:lnTo>
                    <a:pt x="127" y="40"/>
                  </a:lnTo>
                  <a:lnTo>
                    <a:pt x="134" y="33"/>
                  </a:lnTo>
                  <a:lnTo>
                    <a:pt x="137" y="31"/>
                  </a:lnTo>
                  <a:lnTo>
                    <a:pt x="139" y="31"/>
                  </a:lnTo>
                  <a:lnTo>
                    <a:pt x="141" y="31"/>
                  </a:lnTo>
                  <a:lnTo>
                    <a:pt x="146" y="26"/>
                  </a:lnTo>
                  <a:lnTo>
                    <a:pt x="149" y="28"/>
                  </a:lnTo>
                  <a:lnTo>
                    <a:pt x="153" y="26"/>
                  </a:lnTo>
                  <a:lnTo>
                    <a:pt x="156" y="24"/>
                  </a:lnTo>
                  <a:lnTo>
                    <a:pt x="156" y="21"/>
                  </a:lnTo>
                  <a:lnTo>
                    <a:pt x="158" y="21"/>
                  </a:lnTo>
                  <a:lnTo>
                    <a:pt x="160" y="19"/>
                  </a:lnTo>
                  <a:lnTo>
                    <a:pt x="165" y="17"/>
                  </a:lnTo>
                  <a:lnTo>
                    <a:pt x="172" y="14"/>
                  </a:lnTo>
                  <a:lnTo>
                    <a:pt x="177" y="12"/>
                  </a:lnTo>
                  <a:lnTo>
                    <a:pt x="193" y="12"/>
                  </a:lnTo>
                  <a:lnTo>
                    <a:pt x="198" y="12"/>
                  </a:lnTo>
                  <a:lnTo>
                    <a:pt x="201" y="10"/>
                  </a:lnTo>
                  <a:lnTo>
                    <a:pt x="205" y="7"/>
                  </a:lnTo>
                  <a:lnTo>
                    <a:pt x="205" y="7"/>
                  </a:lnTo>
                  <a:lnTo>
                    <a:pt x="210" y="7"/>
                  </a:lnTo>
                  <a:lnTo>
                    <a:pt x="212" y="7"/>
                  </a:lnTo>
                  <a:lnTo>
                    <a:pt x="215" y="7"/>
                  </a:lnTo>
                  <a:lnTo>
                    <a:pt x="219" y="5"/>
                  </a:lnTo>
                  <a:lnTo>
                    <a:pt x="224" y="5"/>
                  </a:lnTo>
                  <a:lnTo>
                    <a:pt x="229" y="5"/>
                  </a:lnTo>
                  <a:lnTo>
                    <a:pt x="238" y="5"/>
                  </a:lnTo>
                  <a:lnTo>
                    <a:pt x="241" y="10"/>
                  </a:lnTo>
                  <a:lnTo>
                    <a:pt x="243" y="10"/>
                  </a:lnTo>
                  <a:lnTo>
                    <a:pt x="248" y="10"/>
                  </a:lnTo>
                  <a:lnTo>
                    <a:pt x="250" y="7"/>
                  </a:lnTo>
                  <a:lnTo>
                    <a:pt x="255" y="7"/>
                  </a:lnTo>
                  <a:lnTo>
                    <a:pt x="260" y="5"/>
                  </a:lnTo>
                  <a:lnTo>
                    <a:pt x="262" y="0"/>
                  </a:lnTo>
                  <a:lnTo>
                    <a:pt x="264" y="2"/>
                  </a:lnTo>
                  <a:lnTo>
                    <a:pt x="269" y="5"/>
                  </a:lnTo>
                  <a:lnTo>
                    <a:pt x="269" y="5"/>
                  </a:lnTo>
                  <a:lnTo>
                    <a:pt x="271" y="5"/>
                  </a:lnTo>
                  <a:lnTo>
                    <a:pt x="276" y="5"/>
                  </a:lnTo>
                  <a:lnTo>
                    <a:pt x="278" y="0"/>
                  </a:lnTo>
                  <a:lnTo>
                    <a:pt x="286" y="2"/>
                  </a:lnTo>
                  <a:lnTo>
                    <a:pt x="288" y="5"/>
                  </a:lnTo>
                  <a:lnTo>
                    <a:pt x="290" y="5"/>
                  </a:lnTo>
                  <a:lnTo>
                    <a:pt x="293" y="5"/>
                  </a:lnTo>
                  <a:lnTo>
                    <a:pt x="297" y="5"/>
                  </a:lnTo>
                  <a:lnTo>
                    <a:pt x="302" y="5"/>
                  </a:lnTo>
                  <a:lnTo>
                    <a:pt x="302" y="7"/>
                  </a:lnTo>
                  <a:lnTo>
                    <a:pt x="300" y="7"/>
                  </a:lnTo>
                  <a:lnTo>
                    <a:pt x="297" y="10"/>
                  </a:lnTo>
                  <a:lnTo>
                    <a:pt x="295" y="12"/>
                  </a:lnTo>
                  <a:lnTo>
                    <a:pt x="295" y="14"/>
                  </a:lnTo>
                  <a:lnTo>
                    <a:pt x="297" y="14"/>
                  </a:lnTo>
                  <a:lnTo>
                    <a:pt x="297" y="14"/>
                  </a:lnTo>
                  <a:lnTo>
                    <a:pt x="295" y="26"/>
                  </a:lnTo>
                  <a:lnTo>
                    <a:pt x="295" y="28"/>
                  </a:lnTo>
                  <a:lnTo>
                    <a:pt x="295" y="31"/>
                  </a:lnTo>
                  <a:lnTo>
                    <a:pt x="295" y="38"/>
                  </a:lnTo>
                  <a:lnTo>
                    <a:pt x="297" y="40"/>
                  </a:lnTo>
                  <a:lnTo>
                    <a:pt x="297" y="43"/>
                  </a:lnTo>
                  <a:lnTo>
                    <a:pt x="295" y="50"/>
                  </a:lnTo>
                  <a:lnTo>
                    <a:pt x="295" y="54"/>
                  </a:lnTo>
                  <a:lnTo>
                    <a:pt x="288" y="59"/>
                  </a:lnTo>
                  <a:lnTo>
                    <a:pt x="288" y="62"/>
                  </a:lnTo>
                  <a:lnTo>
                    <a:pt x="283" y="64"/>
                  </a:lnTo>
                  <a:lnTo>
                    <a:pt x="283" y="66"/>
                  </a:lnTo>
                  <a:lnTo>
                    <a:pt x="283" y="66"/>
                  </a:lnTo>
                  <a:lnTo>
                    <a:pt x="278" y="69"/>
                  </a:lnTo>
                  <a:lnTo>
                    <a:pt x="278" y="69"/>
                  </a:lnTo>
                  <a:lnTo>
                    <a:pt x="278" y="71"/>
                  </a:lnTo>
                  <a:lnTo>
                    <a:pt x="281" y="73"/>
                  </a:lnTo>
                  <a:lnTo>
                    <a:pt x="283" y="83"/>
                  </a:lnTo>
                  <a:lnTo>
                    <a:pt x="288" y="85"/>
                  </a:lnTo>
                  <a:lnTo>
                    <a:pt x="290" y="87"/>
                  </a:lnTo>
                  <a:lnTo>
                    <a:pt x="293" y="92"/>
                  </a:lnTo>
                  <a:lnTo>
                    <a:pt x="293" y="99"/>
                  </a:lnTo>
                  <a:lnTo>
                    <a:pt x="300" y="104"/>
                  </a:lnTo>
                  <a:lnTo>
                    <a:pt x="307" y="106"/>
                  </a:lnTo>
                  <a:lnTo>
                    <a:pt x="307" y="106"/>
                  </a:lnTo>
                  <a:lnTo>
                    <a:pt x="307" y="106"/>
                  </a:lnTo>
                  <a:lnTo>
                    <a:pt x="312" y="130"/>
                  </a:lnTo>
                  <a:lnTo>
                    <a:pt x="314" y="142"/>
                  </a:lnTo>
                  <a:lnTo>
                    <a:pt x="314" y="142"/>
                  </a:lnTo>
                  <a:lnTo>
                    <a:pt x="314" y="144"/>
                  </a:lnTo>
                  <a:lnTo>
                    <a:pt x="309" y="147"/>
                  </a:lnTo>
                  <a:lnTo>
                    <a:pt x="309" y="151"/>
                  </a:lnTo>
                  <a:lnTo>
                    <a:pt x="314" y="156"/>
                  </a:lnTo>
                  <a:lnTo>
                    <a:pt x="316" y="163"/>
                  </a:lnTo>
                  <a:lnTo>
                    <a:pt x="319" y="170"/>
                  </a:lnTo>
                  <a:lnTo>
                    <a:pt x="319" y="177"/>
                  </a:lnTo>
                  <a:lnTo>
                    <a:pt x="319" y="187"/>
                  </a:lnTo>
                  <a:lnTo>
                    <a:pt x="319" y="189"/>
                  </a:lnTo>
                  <a:lnTo>
                    <a:pt x="319" y="194"/>
                  </a:lnTo>
                  <a:lnTo>
                    <a:pt x="319" y="201"/>
                  </a:lnTo>
                  <a:lnTo>
                    <a:pt x="319" y="217"/>
                  </a:lnTo>
                  <a:lnTo>
                    <a:pt x="316" y="220"/>
                  </a:lnTo>
                  <a:lnTo>
                    <a:pt x="312" y="222"/>
                  </a:lnTo>
                  <a:lnTo>
                    <a:pt x="312" y="224"/>
                  </a:lnTo>
                  <a:lnTo>
                    <a:pt x="314" y="229"/>
                  </a:lnTo>
                  <a:lnTo>
                    <a:pt x="319" y="236"/>
                  </a:lnTo>
                  <a:lnTo>
                    <a:pt x="321" y="241"/>
                  </a:lnTo>
                  <a:lnTo>
                    <a:pt x="323" y="246"/>
                  </a:lnTo>
                  <a:lnTo>
                    <a:pt x="323" y="250"/>
                  </a:lnTo>
                  <a:lnTo>
                    <a:pt x="328" y="255"/>
                  </a:lnTo>
                  <a:lnTo>
                    <a:pt x="333" y="255"/>
                  </a:lnTo>
                  <a:lnTo>
                    <a:pt x="338" y="255"/>
                  </a:lnTo>
                  <a:lnTo>
                    <a:pt x="347" y="260"/>
                  </a:lnTo>
                  <a:lnTo>
                    <a:pt x="352" y="269"/>
                  </a:lnTo>
                  <a:lnTo>
                    <a:pt x="354" y="274"/>
                  </a:lnTo>
                  <a:lnTo>
                    <a:pt x="354" y="276"/>
                  </a:lnTo>
                  <a:lnTo>
                    <a:pt x="347" y="281"/>
                  </a:lnTo>
                  <a:lnTo>
                    <a:pt x="333" y="291"/>
                  </a:lnTo>
                  <a:lnTo>
                    <a:pt x="319" y="300"/>
                  </a:lnTo>
                  <a:lnTo>
                    <a:pt x="304" y="312"/>
                  </a:lnTo>
                  <a:lnTo>
                    <a:pt x="290" y="321"/>
                  </a:lnTo>
                  <a:lnTo>
                    <a:pt x="276" y="331"/>
                  </a:lnTo>
                  <a:lnTo>
                    <a:pt x="262" y="340"/>
                  </a:lnTo>
                  <a:lnTo>
                    <a:pt x="248" y="350"/>
                  </a:lnTo>
                  <a:lnTo>
                    <a:pt x="245" y="350"/>
                  </a:lnTo>
                  <a:lnTo>
                    <a:pt x="224" y="357"/>
                  </a:lnTo>
                  <a:lnTo>
                    <a:pt x="222" y="357"/>
                  </a:lnTo>
                  <a:lnTo>
                    <a:pt x="219" y="357"/>
                  </a:lnTo>
                  <a:lnTo>
                    <a:pt x="217" y="359"/>
                  </a:lnTo>
                  <a:lnTo>
                    <a:pt x="215" y="359"/>
                  </a:lnTo>
                  <a:lnTo>
                    <a:pt x="212" y="359"/>
                  </a:lnTo>
                  <a:lnTo>
                    <a:pt x="210" y="359"/>
                  </a:lnTo>
                  <a:lnTo>
                    <a:pt x="208" y="359"/>
                  </a:lnTo>
                  <a:lnTo>
                    <a:pt x="205" y="357"/>
                  </a:lnTo>
                  <a:lnTo>
                    <a:pt x="205" y="354"/>
                  </a:lnTo>
                  <a:lnTo>
                    <a:pt x="205" y="354"/>
                  </a:lnTo>
                  <a:lnTo>
                    <a:pt x="205" y="352"/>
                  </a:lnTo>
                  <a:lnTo>
                    <a:pt x="205" y="352"/>
                  </a:lnTo>
                  <a:lnTo>
                    <a:pt x="208" y="350"/>
                  </a:lnTo>
                  <a:lnTo>
                    <a:pt x="208" y="350"/>
                  </a:lnTo>
                  <a:lnTo>
                    <a:pt x="205" y="347"/>
                  </a:lnTo>
                  <a:lnTo>
                    <a:pt x="205" y="347"/>
                  </a:lnTo>
                  <a:lnTo>
                    <a:pt x="208" y="345"/>
                  </a:lnTo>
                  <a:lnTo>
                    <a:pt x="205" y="345"/>
                  </a:lnTo>
                  <a:lnTo>
                    <a:pt x="205" y="345"/>
                  </a:lnTo>
                  <a:lnTo>
                    <a:pt x="205" y="343"/>
                  </a:lnTo>
                  <a:lnTo>
                    <a:pt x="205" y="343"/>
                  </a:lnTo>
                  <a:lnTo>
                    <a:pt x="201" y="343"/>
                  </a:lnTo>
                  <a:lnTo>
                    <a:pt x="198" y="340"/>
                  </a:lnTo>
                  <a:lnTo>
                    <a:pt x="198" y="340"/>
                  </a:lnTo>
                  <a:lnTo>
                    <a:pt x="196" y="340"/>
                  </a:lnTo>
                  <a:lnTo>
                    <a:pt x="193" y="340"/>
                  </a:lnTo>
                  <a:lnTo>
                    <a:pt x="191" y="338"/>
                  </a:lnTo>
                  <a:lnTo>
                    <a:pt x="191" y="336"/>
                  </a:lnTo>
                  <a:lnTo>
                    <a:pt x="189" y="336"/>
                  </a:lnTo>
                  <a:lnTo>
                    <a:pt x="186" y="336"/>
                  </a:lnTo>
                  <a:lnTo>
                    <a:pt x="184" y="336"/>
                  </a:lnTo>
                  <a:lnTo>
                    <a:pt x="182" y="336"/>
                  </a:lnTo>
                  <a:lnTo>
                    <a:pt x="179" y="333"/>
                  </a:lnTo>
                  <a:lnTo>
                    <a:pt x="179" y="331"/>
                  </a:lnTo>
                  <a:lnTo>
                    <a:pt x="179" y="328"/>
                  </a:lnTo>
                  <a:lnTo>
                    <a:pt x="177" y="328"/>
                  </a:lnTo>
                  <a:lnTo>
                    <a:pt x="175" y="326"/>
                  </a:lnTo>
                  <a:lnTo>
                    <a:pt x="172" y="326"/>
                  </a:lnTo>
                  <a:lnTo>
                    <a:pt x="170" y="326"/>
                  </a:lnTo>
                  <a:lnTo>
                    <a:pt x="170" y="324"/>
                  </a:lnTo>
                  <a:lnTo>
                    <a:pt x="170" y="321"/>
                  </a:lnTo>
                  <a:lnTo>
                    <a:pt x="170" y="319"/>
                  </a:lnTo>
                  <a:lnTo>
                    <a:pt x="170" y="319"/>
                  </a:lnTo>
                  <a:lnTo>
                    <a:pt x="85" y="260"/>
                  </a:lnTo>
                  <a:lnTo>
                    <a:pt x="66" y="24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3" name="Freeform 264">
              <a:extLst>
                <a:ext uri="{FF2B5EF4-FFF2-40B4-BE49-F238E27FC236}">
                  <a16:creationId xmlns:a16="http://schemas.microsoft.com/office/drawing/2014/main" id="{D73888E3-79B2-48C7-8B69-E17C590A9B72}"/>
                </a:ext>
              </a:extLst>
            </p:cNvPr>
            <p:cNvSpPr>
              <a:spLocks/>
            </p:cNvSpPr>
            <p:nvPr/>
          </p:nvSpPr>
          <p:spPr bwMode="auto">
            <a:xfrm>
              <a:off x="1039067" y="3427379"/>
              <a:ext cx="561974" cy="569914"/>
            </a:xfrm>
            <a:custGeom>
              <a:avLst/>
              <a:gdLst>
                <a:gd name="T0" fmla="*/ 0 w 354"/>
                <a:gd name="T1" fmla="*/ 206 h 359"/>
                <a:gd name="T2" fmla="*/ 19 w 354"/>
                <a:gd name="T3" fmla="*/ 161 h 359"/>
                <a:gd name="T4" fmla="*/ 30 w 354"/>
                <a:gd name="T5" fmla="*/ 156 h 359"/>
                <a:gd name="T6" fmla="*/ 38 w 354"/>
                <a:gd name="T7" fmla="*/ 154 h 359"/>
                <a:gd name="T8" fmla="*/ 52 w 354"/>
                <a:gd name="T9" fmla="*/ 151 h 359"/>
                <a:gd name="T10" fmla="*/ 61 w 354"/>
                <a:gd name="T11" fmla="*/ 142 h 359"/>
                <a:gd name="T12" fmla="*/ 80 w 354"/>
                <a:gd name="T13" fmla="*/ 130 h 359"/>
                <a:gd name="T14" fmla="*/ 87 w 354"/>
                <a:gd name="T15" fmla="*/ 125 h 359"/>
                <a:gd name="T16" fmla="*/ 87 w 354"/>
                <a:gd name="T17" fmla="*/ 121 h 359"/>
                <a:gd name="T18" fmla="*/ 85 w 354"/>
                <a:gd name="T19" fmla="*/ 116 h 359"/>
                <a:gd name="T20" fmla="*/ 94 w 354"/>
                <a:gd name="T21" fmla="*/ 113 h 359"/>
                <a:gd name="T22" fmla="*/ 101 w 354"/>
                <a:gd name="T23" fmla="*/ 106 h 359"/>
                <a:gd name="T24" fmla="*/ 108 w 354"/>
                <a:gd name="T25" fmla="*/ 104 h 359"/>
                <a:gd name="T26" fmla="*/ 130 w 354"/>
                <a:gd name="T27" fmla="*/ 104 h 359"/>
                <a:gd name="T28" fmla="*/ 132 w 354"/>
                <a:gd name="T29" fmla="*/ 97 h 359"/>
                <a:gd name="T30" fmla="*/ 125 w 354"/>
                <a:gd name="T31" fmla="*/ 87 h 359"/>
                <a:gd name="T32" fmla="*/ 125 w 354"/>
                <a:gd name="T33" fmla="*/ 78 h 359"/>
                <a:gd name="T34" fmla="*/ 123 w 354"/>
                <a:gd name="T35" fmla="*/ 69 h 359"/>
                <a:gd name="T36" fmla="*/ 123 w 354"/>
                <a:gd name="T37" fmla="*/ 54 h 359"/>
                <a:gd name="T38" fmla="*/ 120 w 354"/>
                <a:gd name="T39" fmla="*/ 52 h 359"/>
                <a:gd name="T40" fmla="*/ 115 w 354"/>
                <a:gd name="T41" fmla="*/ 45 h 359"/>
                <a:gd name="T42" fmla="*/ 134 w 354"/>
                <a:gd name="T43" fmla="*/ 33 h 359"/>
                <a:gd name="T44" fmla="*/ 149 w 354"/>
                <a:gd name="T45" fmla="*/ 28 h 359"/>
                <a:gd name="T46" fmla="*/ 160 w 354"/>
                <a:gd name="T47" fmla="*/ 19 h 359"/>
                <a:gd name="T48" fmla="*/ 198 w 354"/>
                <a:gd name="T49" fmla="*/ 12 h 359"/>
                <a:gd name="T50" fmla="*/ 212 w 354"/>
                <a:gd name="T51" fmla="*/ 7 h 359"/>
                <a:gd name="T52" fmla="*/ 238 w 354"/>
                <a:gd name="T53" fmla="*/ 5 h 359"/>
                <a:gd name="T54" fmla="*/ 255 w 354"/>
                <a:gd name="T55" fmla="*/ 7 h 359"/>
                <a:gd name="T56" fmla="*/ 269 w 354"/>
                <a:gd name="T57" fmla="*/ 5 h 359"/>
                <a:gd name="T58" fmla="*/ 288 w 354"/>
                <a:gd name="T59" fmla="*/ 5 h 359"/>
                <a:gd name="T60" fmla="*/ 302 w 354"/>
                <a:gd name="T61" fmla="*/ 7 h 359"/>
                <a:gd name="T62" fmla="*/ 297 w 354"/>
                <a:gd name="T63" fmla="*/ 14 h 359"/>
                <a:gd name="T64" fmla="*/ 295 w 354"/>
                <a:gd name="T65" fmla="*/ 38 h 359"/>
                <a:gd name="T66" fmla="*/ 288 w 354"/>
                <a:gd name="T67" fmla="*/ 59 h 359"/>
                <a:gd name="T68" fmla="*/ 278 w 354"/>
                <a:gd name="T69" fmla="*/ 69 h 359"/>
                <a:gd name="T70" fmla="*/ 288 w 354"/>
                <a:gd name="T71" fmla="*/ 85 h 359"/>
                <a:gd name="T72" fmla="*/ 307 w 354"/>
                <a:gd name="T73" fmla="*/ 106 h 359"/>
                <a:gd name="T74" fmla="*/ 314 w 354"/>
                <a:gd name="T75" fmla="*/ 142 h 359"/>
                <a:gd name="T76" fmla="*/ 316 w 354"/>
                <a:gd name="T77" fmla="*/ 163 h 359"/>
                <a:gd name="T78" fmla="*/ 319 w 354"/>
                <a:gd name="T79" fmla="*/ 194 h 359"/>
                <a:gd name="T80" fmla="*/ 312 w 354"/>
                <a:gd name="T81" fmla="*/ 224 h 359"/>
                <a:gd name="T82" fmla="*/ 323 w 354"/>
                <a:gd name="T83" fmla="*/ 250 h 359"/>
                <a:gd name="T84" fmla="*/ 352 w 354"/>
                <a:gd name="T85" fmla="*/ 269 h 359"/>
                <a:gd name="T86" fmla="*/ 319 w 354"/>
                <a:gd name="T87" fmla="*/ 300 h 359"/>
                <a:gd name="T88" fmla="*/ 248 w 354"/>
                <a:gd name="T89" fmla="*/ 350 h 359"/>
                <a:gd name="T90" fmla="*/ 217 w 354"/>
                <a:gd name="T91" fmla="*/ 359 h 359"/>
                <a:gd name="T92" fmla="*/ 205 w 354"/>
                <a:gd name="T93" fmla="*/ 357 h 359"/>
                <a:gd name="T94" fmla="*/ 208 w 354"/>
                <a:gd name="T95" fmla="*/ 350 h 359"/>
                <a:gd name="T96" fmla="*/ 205 w 354"/>
                <a:gd name="T97" fmla="*/ 345 h 359"/>
                <a:gd name="T98" fmla="*/ 198 w 354"/>
                <a:gd name="T99" fmla="*/ 340 h 359"/>
                <a:gd name="T100" fmla="*/ 191 w 354"/>
                <a:gd name="T101" fmla="*/ 336 h 359"/>
                <a:gd name="T102" fmla="*/ 179 w 354"/>
                <a:gd name="T103" fmla="*/ 333 h 359"/>
                <a:gd name="T104" fmla="*/ 172 w 354"/>
                <a:gd name="T105" fmla="*/ 326 h 359"/>
                <a:gd name="T106" fmla="*/ 170 w 354"/>
                <a:gd name="T107" fmla="*/ 31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4" h="359">
                  <a:moveTo>
                    <a:pt x="66" y="246"/>
                  </a:moveTo>
                  <a:lnTo>
                    <a:pt x="66" y="246"/>
                  </a:lnTo>
                  <a:lnTo>
                    <a:pt x="40" y="232"/>
                  </a:lnTo>
                  <a:lnTo>
                    <a:pt x="21" y="217"/>
                  </a:lnTo>
                  <a:lnTo>
                    <a:pt x="0" y="206"/>
                  </a:lnTo>
                  <a:lnTo>
                    <a:pt x="0" y="194"/>
                  </a:lnTo>
                  <a:lnTo>
                    <a:pt x="0" y="173"/>
                  </a:lnTo>
                  <a:lnTo>
                    <a:pt x="9" y="165"/>
                  </a:lnTo>
                  <a:lnTo>
                    <a:pt x="16" y="161"/>
                  </a:lnTo>
                  <a:lnTo>
                    <a:pt x="19" y="161"/>
                  </a:lnTo>
                  <a:lnTo>
                    <a:pt x="21" y="158"/>
                  </a:lnTo>
                  <a:lnTo>
                    <a:pt x="23" y="158"/>
                  </a:lnTo>
                  <a:lnTo>
                    <a:pt x="26" y="156"/>
                  </a:lnTo>
                  <a:lnTo>
                    <a:pt x="28" y="156"/>
                  </a:lnTo>
                  <a:lnTo>
                    <a:pt x="30" y="156"/>
                  </a:lnTo>
                  <a:lnTo>
                    <a:pt x="30" y="156"/>
                  </a:lnTo>
                  <a:lnTo>
                    <a:pt x="33" y="156"/>
                  </a:lnTo>
                  <a:lnTo>
                    <a:pt x="35" y="156"/>
                  </a:lnTo>
                  <a:lnTo>
                    <a:pt x="38" y="156"/>
                  </a:lnTo>
                  <a:lnTo>
                    <a:pt x="38" y="154"/>
                  </a:lnTo>
                  <a:lnTo>
                    <a:pt x="38" y="151"/>
                  </a:lnTo>
                  <a:lnTo>
                    <a:pt x="42" y="151"/>
                  </a:lnTo>
                  <a:lnTo>
                    <a:pt x="45" y="151"/>
                  </a:lnTo>
                  <a:lnTo>
                    <a:pt x="47" y="151"/>
                  </a:lnTo>
                  <a:lnTo>
                    <a:pt x="52" y="151"/>
                  </a:lnTo>
                  <a:lnTo>
                    <a:pt x="56" y="149"/>
                  </a:lnTo>
                  <a:lnTo>
                    <a:pt x="59" y="147"/>
                  </a:lnTo>
                  <a:lnTo>
                    <a:pt x="61" y="144"/>
                  </a:lnTo>
                  <a:lnTo>
                    <a:pt x="61" y="144"/>
                  </a:lnTo>
                  <a:lnTo>
                    <a:pt x="61" y="142"/>
                  </a:lnTo>
                  <a:lnTo>
                    <a:pt x="64" y="139"/>
                  </a:lnTo>
                  <a:lnTo>
                    <a:pt x="66" y="137"/>
                  </a:lnTo>
                  <a:lnTo>
                    <a:pt x="71" y="135"/>
                  </a:lnTo>
                  <a:lnTo>
                    <a:pt x="73" y="135"/>
                  </a:lnTo>
                  <a:lnTo>
                    <a:pt x="80" y="130"/>
                  </a:lnTo>
                  <a:lnTo>
                    <a:pt x="87" y="130"/>
                  </a:lnTo>
                  <a:lnTo>
                    <a:pt x="89" y="128"/>
                  </a:lnTo>
                  <a:lnTo>
                    <a:pt x="87" y="128"/>
                  </a:lnTo>
                  <a:lnTo>
                    <a:pt x="87" y="125"/>
                  </a:lnTo>
                  <a:lnTo>
                    <a:pt x="87" y="125"/>
                  </a:lnTo>
                  <a:lnTo>
                    <a:pt x="85" y="125"/>
                  </a:lnTo>
                  <a:lnTo>
                    <a:pt x="85" y="125"/>
                  </a:lnTo>
                  <a:lnTo>
                    <a:pt x="85" y="125"/>
                  </a:lnTo>
                  <a:lnTo>
                    <a:pt x="85" y="121"/>
                  </a:lnTo>
                  <a:lnTo>
                    <a:pt x="87" y="121"/>
                  </a:lnTo>
                  <a:lnTo>
                    <a:pt x="85" y="121"/>
                  </a:lnTo>
                  <a:lnTo>
                    <a:pt x="85" y="118"/>
                  </a:lnTo>
                  <a:lnTo>
                    <a:pt x="85" y="118"/>
                  </a:lnTo>
                  <a:lnTo>
                    <a:pt x="85" y="116"/>
                  </a:lnTo>
                  <a:lnTo>
                    <a:pt x="85" y="116"/>
                  </a:lnTo>
                  <a:lnTo>
                    <a:pt x="85" y="113"/>
                  </a:lnTo>
                  <a:lnTo>
                    <a:pt x="87" y="113"/>
                  </a:lnTo>
                  <a:lnTo>
                    <a:pt x="89" y="113"/>
                  </a:lnTo>
                  <a:lnTo>
                    <a:pt x="92" y="113"/>
                  </a:lnTo>
                  <a:lnTo>
                    <a:pt x="94" y="113"/>
                  </a:lnTo>
                  <a:lnTo>
                    <a:pt x="99" y="111"/>
                  </a:lnTo>
                  <a:lnTo>
                    <a:pt x="99" y="111"/>
                  </a:lnTo>
                  <a:lnTo>
                    <a:pt x="99" y="109"/>
                  </a:lnTo>
                  <a:lnTo>
                    <a:pt x="99" y="106"/>
                  </a:lnTo>
                  <a:lnTo>
                    <a:pt x="101" y="106"/>
                  </a:lnTo>
                  <a:lnTo>
                    <a:pt x="101" y="106"/>
                  </a:lnTo>
                  <a:lnTo>
                    <a:pt x="104" y="106"/>
                  </a:lnTo>
                  <a:lnTo>
                    <a:pt x="104" y="106"/>
                  </a:lnTo>
                  <a:lnTo>
                    <a:pt x="106" y="104"/>
                  </a:lnTo>
                  <a:lnTo>
                    <a:pt x="108" y="104"/>
                  </a:lnTo>
                  <a:lnTo>
                    <a:pt x="118" y="104"/>
                  </a:lnTo>
                  <a:lnTo>
                    <a:pt x="120" y="104"/>
                  </a:lnTo>
                  <a:lnTo>
                    <a:pt x="123" y="104"/>
                  </a:lnTo>
                  <a:lnTo>
                    <a:pt x="127" y="104"/>
                  </a:lnTo>
                  <a:lnTo>
                    <a:pt x="130" y="104"/>
                  </a:lnTo>
                  <a:lnTo>
                    <a:pt x="130" y="104"/>
                  </a:lnTo>
                  <a:lnTo>
                    <a:pt x="130" y="104"/>
                  </a:lnTo>
                  <a:lnTo>
                    <a:pt x="130" y="102"/>
                  </a:lnTo>
                  <a:lnTo>
                    <a:pt x="130" y="99"/>
                  </a:lnTo>
                  <a:lnTo>
                    <a:pt x="132" y="97"/>
                  </a:lnTo>
                  <a:lnTo>
                    <a:pt x="132" y="97"/>
                  </a:lnTo>
                  <a:lnTo>
                    <a:pt x="132" y="97"/>
                  </a:lnTo>
                  <a:lnTo>
                    <a:pt x="130" y="95"/>
                  </a:lnTo>
                  <a:lnTo>
                    <a:pt x="127" y="92"/>
                  </a:lnTo>
                  <a:lnTo>
                    <a:pt x="125" y="87"/>
                  </a:lnTo>
                  <a:lnTo>
                    <a:pt x="125" y="85"/>
                  </a:lnTo>
                  <a:lnTo>
                    <a:pt x="125" y="83"/>
                  </a:lnTo>
                  <a:lnTo>
                    <a:pt x="125" y="80"/>
                  </a:lnTo>
                  <a:lnTo>
                    <a:pt x="125" y="80"/>
                  </a:lnTo>
                  <a:lnTo>
                    <a:pt x="125" y="78"/>
                  </a:lnTo>
                  <a:lnTo>
                    <a:pt x="125" y="76"/>
                  </a:lnTo>
                  <a:lnTo>
                    <a:pt x="125" y="76"/>
                  </a:lnTo>
                  <a:lnTo>
                    <a:pt x="123" y="73"/>
                  </a:lnTo>
                  <a:lnTo>
                    <a:pt x="123" y="71"/>
                  </a:lnTo>
                  <a:lnTo>
                    <a:pt x="123" y="69"/>
                  </a:lnTo>
                  <a:lnTo>
                    <a:pt x="123" y="66"/>
                  </a:lnTo>
                  <a:lnTo>
                    <a:pt x="123" y="62"/>
                  </a:lnTo>
                  <a:lnTo>
                    <a:pt x="123" y="59"/>
                  </a:lnTo>
                  <a:lnTo>
                    <a:pt x="123" y="57"/>
                  </a:lnTo>
                  <a:lnTo>
                    <a:pt x="123" y="54"/>
                  </a:lnTo>
                  <a:lnTo>
                    <a:pt x="123" y="54"/>
                  </a:lnTo>
                  <a:lnTo>
                    <a:pt x="123" y="54"/>
                  </a:lnTo>
                  <a:lnTo>
                    <a:pt x="123" y="52"/>
                  </a:lnTo>
                  <a:lnTo>
                    <a:pt x="123" y="52"/>
                  </a:lnTo>
                  <a:lnTo>
                    <a:pt x="120" y="52"/>
                  </a:lnTo>
                  <a:lnTo>
                    <a:pt x="120" y="50"/>
                  </a:lnTo>
                  <a:lnTo>
                    <a:pt x="118" y="50"/>
                  </a:lnTo>
                  <a:lnTo>
                    <a:pt x="118" y="47"/>
                  </a:lnTo>
                  <a:lnTo>
                    <a:pt x="115" y="47"/>
                  </a:lnTo>
                  <a:lnTo>
                    <a:pt x="115" y="45"/>
                  </a:lnTo>
                  <a:lnTo>
                    <a:pt x="115" y="45"/>
                  </a:lnTo>
                  <a:lnTo>
                    <a:pt x="118" y="45"/>
                  </a:lnTo>
                  <a:lnTo>
                    <a:pt x="123" y="43"/>
                  </a:lnTo>
                  <a:lnTo>
                    <a:pt x="127" y="40"/>
                  </a:lnTo>
                  <a:lnTo>
                    <a:pt x="134" y="33"/>
                  </a:lnTo>
                  <a:lnTo>
                    <a:pt x="137" y="31"/>
                  </a:lnTo>
                  <a:lnTo>
                    <a:pt x="139" y="31"/>
                  </a:lnTo>
                  <a:lnTo>
                    <a:pt x="141" y="31"/>
                  </a:lnTo>
                  <a:lnTo>
                    <a:pt x="146" y="26"/>
                  </a:lnTo>
                  <a:lnTo>
                    <a:pt x="149" y="28"/>
                  </a:lnTo>
                  <a:lnTo>
                    <a:pt x="153" y="26"/>
                  </a:lnTo>
                  <a:lnTo>
                    <a:pt x="156" y="24"/>
                  </a:lnTo>
                  <a:lnTo>
                    <a:pt x="156" y="21"/>
                  </a:lnTo>
                  <a:lnTo>
                    <a:pt x="158" y="21"/>
                  </a:lnTo>
                  <a:lnTo>
                    <a:pt x="160" y="19"/>
                  </a:lnTo>
                  <a:lnTo>
                    <a:pt x="165" y="17"/>
                  </a:lnTo>
                  <a:lnTo>
                    <a:pt x="172" y="14"/>
                  </a:lnTo>
                  <a:lnTo>
                    <a:pt x="177" y="12"/>
                  </a:lnTo>
                  <a:lnTo>
                    <a:pt x="193" y="12"/>
                  </a:lnTo>
                  <a:lnTo>
                    <a:pt x="198" y="12"/>
                  </a:lnTo>
                  <a:lnTo>
                    <a:pt x="201" y="10"/>
                  </a:lnTo>
                  <a:lnTo>
                    <a:pt x="205" y="7"/>
                  </a:lnTo>
                  <a:lnTo>
                    <a:pt x="205" y="7"/>
                  </a:lnTo>
                  <a:lnTo>
                    <a:pt x="210" y="7"/>
                  </a:lnTo>
                  <a:lnTo>
                    <a:pt x="212" y="7"/>
                  </a:lnTo>
                  <a:lnTo>
                    <a:pt x="215" y="7"/>
                  </a:lnTo>
                  <a:lnTo>
                    <a:pt x="219" y="5"/>
                  </a:lnTo>
                  <a:lnTo>
                    <a:pt x="224" y="5"/>
                  </a:lnTo>
                  <a:lnTo>
                    <a:pt x="229" y="5"/>
                  </a:lnTo>
                  <a:lnTo>
                    <a:pt x="238" y="5"/>
                  </a:lnTo>
                  <a:lnTo>
                    <a:pt x="241" y="10"/>
                  </a:lnTo>
                  <a:lnTo>
                    <a:pt x="243" y="10"/>
                  </a:lnTo>
                  <a:lnTo>
                    <a:pt x="248" y="10"/>
                  </a:lnTo>
                  <a:lnTo>
                    <a:pt x="250" y="7"/>
                  </a:lnTo>
                  <a:lnTo>
                    <a:pt x="255" y="7"/>
                  </a:lnTo>
                  <a:lnTo>
                    <a:pt x="260" y="5"/>
                  </a:lnTo>
                  <a:lnTo>
                    <a:pt x="262" y="0"/>
                  </a:lnTo>
                  <a:lnTo>
                    <a:pt x="264" y="2"/>
                  </a:lnTo>
                  <a:lnTo>
                    <a:pt x="269" y="5"/>
                  </a:lnTo>
                  <a:lnTo>
                    <a:pt x="269" y="5"/>
                  </a:lnTo>
                  <a:lnTo>
                    <a:pt x="271" y="5"/>
                  </a:lnTo>
                  <a:lnTo>
                    <a:pt x="276" y="5"/>
                  </a:lnTo>
                  <a:lnTo>
                    <a:pt x="278" y="0"/>
                  </a:lnTo>
                  <a:lnTo>
                    <a:pt x="286" y="2"/>
                  </a:lnTo>
                  <a:lnTo>
                    <a:pt x="288" y="5"/>
                  </a:lnTo>
                  <a:lnTo>
                    <a:pt x="290" y="5"/>
                  </a:lnTo>
                  <a:lnTo>
                    <a:pt x="293" y="5"/>
                  </a:lnTo>
                  <a:lnTo>
                    <a:pt x="297" y="5"/>
                  </a:lnTo>
                  <a:lnTo>
                    <a:pt x="302" y="5"/>
                  </a:lnTo>
                  <a:lnTo>
                    <a:pt x="302" y="7"/>
                  </a:lnTo>
                  <a:lnTo>
                    <a:pt x="300" y="7"/>
                  </a:lnTo>
                  <a:lnTo>
                    <a:pt x="297" y="10"/>
                  </a:lnTo>
                  <a:lnTo>
                    <a:pt x="295" y="12"/>
                  </a:lnTo>
                  <a:lnTo>
                    <a:pt x="295" y="14"/>
                  </a:lnTo>
                  <a:lnTo>
                    <a:pt x="297" y="14"/>
                  </a:lnTo>
                  <a:lnTo>
                    <a:pt x="297" y="14"/>
                  </a:lnTo>
                  <a:lnTo>
                    <a:pt x="295" y="26"/>
                  </a:lnTo>
                  <a:lnTo>
                    <a:pt x="295" y="28"/>
                  </a:lnTo>
                  <a:lnTo>
                    <a:pt x="295" y="31"/>
                  </a:lnTo>
                  <a:lnTo>
                    <a:pt x="295" y="38"/>
                  </a:lnTo>
                  <a:lnTo>
                    <a:pt x="297" y="40"/>
                  </a:lnTo>
                  <a:lnTo>
                    <a:pt x="297" y="43"/>
                  </a:lnTo>
                  <a:lnTo>
                    <a:pt x="295" y="50"/>
                  </a:lnTo>
                  <a:lnTo>
                    <a:pt x="295" y="54"/>
                  </a:lnTo>
                  <a:lnTo>
                    <a:pt x="288" y="59"/>
                  </a:lnTo>
                  <a:lnTo>
                    <a:pt x="288" y="62"/>
                  </a:lnTo>
                  <a:lnTo>
                    <a:pt x="283" y="64"/>
                  </a:lnTo>
                  <a:lnTo>
                    <a:pt x="283" y="66"/>
                  </a:lnTo>
                  <a:lnTo>
                    <a:pt x="283" y="66"/>
                  </a:lnTo>
                  <a:lnTo>
                    <a:pt x="278" y="69"/>
                  </a:lnTo>
                  <a:lnTo>
                    <a:pt x="278" y="69"/>
                  </a:lnTo>
                  <a:lnTo>
                    <a:pt x="278" y="71"/>
                  </a:lnTo>
                  <a:lnTo>
                    <a:pt x="281" y="73"/>
                  </a:lnTo>
                  <a:lnTo>
                    <a:pt x="283" y="83"/>
                  </a:lnTo>
                  <a:lnTo>
                    <a:pt x="288" y="85"/>
                  </a:lnTo>
                  <a:lnTo>
                    <a:pt x="290" y="87"/>
                  </a:lnTo>
                  <a:lnTo>
                    <a:pt x="293" y="92"/>
                  </a:lnTo>
                  <a:lnTo>
                    <a:pt x="293" y="99"/>
                  </a:lnTo>
                  <a:lnTo>
                    <a:pt x="300" y="104"/>
                  </a:lnTo>
                  <a:lnTo>
                    <a:pt x="307" y="106"/>
                  </a:lnTo>
                  <a:lnTo>
                    <a:pt x="307" y="106"/>
                  </a:lnTo>
                  <a:lnTo>
                    <a:pt x="307" y="106"/>
                  </a:lnTo>
                  <a:lnTo>
                    <a:pt x="312" y="130"/>
                  </a:lnTo>
                  <a:lnTo>
                    <a:pt x="314" y="142"/>
                  </a:lnTo>
                  <a:lnTo>
                    <a:pt x="314" y="142"/>
                  </a:lnTo>
                  <a:lnTo>
                    <a:pt x="314" y="144"/>
                  </a:lnTo>
                  <a:lnTo>
                    <a:pt x="309" y="147"/>
                  </a:lnTo>
                  <a:lnTo>
                    <a:pt x="309" y="151"/>
                  </a:lnTo>
                  <a:lnTo>
                    <a:pt x="314" y="156"/>
                  </a:lnTo>
                  <a:lnTo>
                    <a:pt x="316" y="163"/>
                  </a:lnTo>
                  <a:lnTo>
                    <a:pt x="319" y="170"/>
                  </a:lnTo>
                  <a:lnTo>
                    <a:pt x="319" y="177"/>
                  </a:lnTo>
                  <a:lnTo>
                    <a:pt x="319" y="187"/>
                  </a:lnTo>
                  <a:lnTo>
                    <a:pt x="319" y="189"/>
                  </a:lnTo>
                  <a:lnTo>
                    <a:pt x="319" y="194"/>
                  </a:lnTo>
                  <a:lnTo>
                    <a:pt x="319" y="201"/>
                  </a:lnTo>
                  <a:lnTo>
                    <a:pt x="319" y="217"/>
                  </a:lnTo>
                  <a:lnTo>
                    <a:pt x="316" y="220"/>
                  </a:lnTo>
                  <a:lnTo>
                    <a:pt x="312" y="222"/>
                  </a:lnTo>
                  <a:lnTo>
                    <a:pt x="312" y="224"/>
                  </a:lnTo>
                  <a:lnTo>
                    <a:pt x="314" y="229"/>
                  </a:lnTo>
                  <a:lnTo>
                    <a:pt x="319" y="236"/>
                  </a:lnTo>
                  <a:lnTo>
                    <a:pt x="321" y="241"/>
                  </a:lnTo>
                  <a:lnTo>
                    <a:pt x="323" y="246"/>
                  </a:lnTo>
                  <a:lnTo>
                    <a:pt x="323" y="250"/>
                  </a:lnTo>
                  <a:lnTo>
                    <a:pt x="328" y="255"/>
                  </a:lnTo>
                  <a:lnTo>
                    <a:pt x="333" y="255"/>
                  </a:lnTo>
                  <a:lnTo>
                    <a:pt x="338" y="255"/>
                  </a:lnTo>
                  <a:lnTo>
                    <a:pt x="347" y="260"/>
                  </a:lnTo>
                  <a:lnTo>
                    <a:pt x="352" y="269"/>
                  </a:lnTo>
                  <a:lnTo>
                    <a:pt x="354" y="274"/>
                  </a:lnTo>
                  <a:lnTo>
                    <a:pt x="354" y="276"/>
                  </a:lnTo>
                  <a:lnTo>
                    <a:pt x="347" y="281"/>
                  </a:lnTo>
                  <a:lnTo>
                    <a:pt x="333" y="291"/>
                  </a:lnTo>
                  <a:lnTo>
                    <a:pt x="319" y="300"/>
                  </a:lnTo>
                  <a:lnTo>
                    <a:pt x="304" y="312"/>
                  </a:lnTo>
                  <a:lnTo>
                    <a:pt x="290" y="321"/>
                  </a:lnTo>
                  <a:lnTo>
                    <a:pt x="276" y="331"/>
                  </a:lnTo>
                  <a:lnTo>
                    <a:pt x="262" y="340"/>
                  </a:lnTo>
                  <a:lnTo>
                    <a:pt x="248" y="350"/>
                  </a:lnTo>
                  <a:lnTo>
                    <a:pt x="245" y="350"/>
                  </a:lnTo>
                  <a:lnTo>
                    <a:pt x="224" y="357"/>
                  </a:lnTo>
                  <a:lnTo>
                    <a:pt x="222" y="357"/>
                  </a:lnTo>
                  <a:lnTo>
                    <a:pt x="219" y="357"/>
                  </a:lnTo>
                  <a:lnTo>
                    <a:pt x="217" y="359"/>
                  </a:lnTo>
                  <a:lnTo>
                    <a:pt x="215" y="359"/>
                  </a:lnTo>
                  <a:lnTo>
                    <a:pt x="212" y="359"/>
                  </a:lnTo>
                  <a:lnTo>
                    <a:pt x="210" y="359"/>
                  </a:lnTo>
                  <a:lnTo>
                    <a:pt x="208" y="359"/>
                  </a:lnTo>
                  <a:lnTo>
                    <a:pt x="205" y="357"/>
                  </a:lnTo>
                  <a:lnTo>
                    <a:pt x="205" y="354"/>
                  </a:lnTo>
                  <a:lnTo>
                    <a:pt x="205" y="354"/>
                  </a:lnTo>
                  <a:lnTo>
                    <a:pt x="205" y="352"/>
                  </a:lnTo>
                  <a:lnTo>
                    <a:pt x="205" y="352"/>
                  </a:lnTo>
                  <a:lnTo>
                    <a:pt x="208" y="350"/>
                  </a:lnTo>
                  <a:lnTo>
                    <a:pt x="208" y="350"/>
                  </a:lnTo>
                  <a:lnTo>
                    <a:pt x="205" y="347"/>
                  </a:lnTo>
                  <a:lnTo>
                    <a:pt x="205" y="347"/>
                  </a:lnTo>
                  <a:lnTo>
                    <a:pt x="208" y="345"/>
                  </a:lnTo>
                  <a:lnTo>
                    <a:pt x="205" y="345"/>
                  </a:lnTo>
                  <a:lnTo>
                    <a:pt x="205" y="345"/>
                  </a:lnTo>
                  <a:lnTo>
                    <a:pt x="205" y="343"/>
                  </a:lnTo>
                  <a:lnTo>
                    <a:pt x="205" y="343"/>
                  </a:lnTo>
                  <a:lnTo>
                    <a:pt x="201" y="343"/>
                  </a:lnTo>
                  <a:lnTo>
                    <a:pt x="198" y="340"/>
                  </a:lnTo>
                  <a:lnTo>
                    <a:pt x="198" y="340"/>
                  </a:lnTo>
                  <a:lnTo>
                    <a:pt x="196" y="340"/>
                  </a:lnTo>
                  <a:lnTo>
                    <a:pt x="193" y="340"/>
                  </a:lnTo>
                  <a:lnTo>
                    <a:pt x="191" y="338"/>
                  </a:lnTo>
                  <a:lnTo>
                    <a:pt x="191" y="336"/>
                  </a:lnTo>
                  <a:lnTo>
                    <a:pt x="189" y="336"/>
                  </a:lnTo>
                  <a:lnTo>
                    <a:pt x="186" y="336"/>
                  </a:lnTo>
                  <a:lnTo>
                    <a:pt x="184" y="336"/>
                  </a:lnTo>
                  <a:lnTo>
                    <a:pt x="182" y="336"/>
                  </a:lnTo>
                  <a:lnTo>
                    <a:pt x="179" y="333"/>
                  </a:lnTo>
                  <a:lnTo>
                    <a:pt x="179" y="331"/>
                  </a:lnTo>
                  <a:lnTo>
                    <a:pt x="179" y="328"/>
                  </a:lnTo>
                  <a:lnTo>
                    <a:pt x="177" y="328"/>
                  </a:lnTo>
                  <a:lnTo>
                    <a:pt x="175" y="326"/>
                  </a:lnTo>
                  <a:lnTo>
                    <a:pt x="172" y="326"/>
                  </a:lnTo>
                  <a:lnTo>
                    <a:pt x="170" y="326"/>
                  </a:lnTo>
                  <a:lnTo>
                    <a:pt x="170" y="324"/>
                  </a:lnTo>
                  <a:lnTo>
                    <a:pt x="170" y="321"/>
                  </a:lnTo>
                  <a:lnTo>
                    <a:pt x="170" y="319"/>
                  </a:lnTo>
                  <a:lnTo>
                    <a:pt x="170" y="319"/>
                  </a:lnTo>
                  <a:lnTo>
                    <a:pt x="85" y="260"/>
                  </a:lnTo>
                  <a:lnTo>
                    <a:pt x="66" y="24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4" name="Freeform 265">
              <a:extLst>
                <a:ext uri="{FF2B5EF4-FFF2-40B4-BE49-F238E27FC236}">
                  <a16:creationId xmlns:a16="http://schemas.microsoft.com/office/drawing/2014/main" id="{07D209F0-7C96-495D-93DF-974D43742687}"/>
                </a:ext>
              </a:extLst>
            </p:cNvPr>
            <p:cNvSpPr>
              <a:spLocks/>
            </p:cNvSpPr>
            <p:nvPr/>
          </p:nvSpPr>
          <p:spPr bwMode="auto">
            <a:xfrm>
              <a:off x="1597867" y="4691030"/>
              <a:ext cx="347662" cy="344489"/>
            </a:xfrm>
            <a:custGeom>
              <a:avLst/>
              <a:gdLst>
                <a:gd name="T0" fmla="*/ 4 w 219"/>
                <a:gd name="T1" fmla="*/ 175 h 217"/>
                <a:gd name="T2" fmla="*/ 9 w 219"/>
                <a:gd name="T3" fmla="*/ 158 h 217"/>
                <a:gd name="T4" fmla="*/ 14 w 219"/>
                <a:gd name="T5" fmla="*/ 142 h 217"/>
                <a:gd name="T6" fmla="*/ 16 w 219"/>
                <a:gd name="T7" fmla="*/ 132 h 217"/>
                <a:gd name="T8" fmla="*/ 28 w 219"/>
                <a:gd name="T9" fmla="*/ 121 h 217"/>
                <a:gd name="T10" fmla="*/ 37 w 219"/>
                <a:gd name="T11" fmla="*/ 104 h 217"/>
                <a:gd name="T12" fmla="*/ 37 w 219"/>
                <a:gd name="T13" fmla="*/ 90 h 217"/>
                <a:gd name="T14" fmla="*/ 30 w 219"/>
                <a:gd name="T15" fmla="*/ 73 h 217"/>
                <a:gd name="T16" fmla="*/ 28 w 219"/>
                <a:gd name="T17" fmla="*/ 54 h 217"/>
                <a:gd name="T18" fmla="*/ 26 w 219"/>
                <a:gd name="T19" fmla="*/ 40 h 217"/>
                <a:gd name="T20" fmla="*/ 16 w 219"/>
                <a:gd name="T21" fmla="*/ 17 h 217"/>
                <a:gd name="T22" fmla="*/ 12 w 219"/>
                <a:gd name="T23" fmla="*/ 7 h 217"/>
                <a:gd name="T24" fmla="*/ 26 w 219"/>
                <a:gd name="T25" fmla="*/ 2 h 217"/>
                <a:gd name="T26" fmla="*/ 42 w 219"/>
                <a:gd name="T27" fmla="*/ 0 h 217"/>
                <a:gd name="T28" fmla="*/ 61 w 219"/>
                <a:gd name="T29" fmla="*/ 0 h 217"/>
                <a:gd name="T30" fmla="*/ 82 w 219"/>
                <a:gd name="T31" fmla="*/ 0 h 217"/>
                <a:gd name="T32" fmla="*/ 87 w 219"/>
                <a:gd name="T33" fmla="*/ 5 h 217"/>
                <a:gd name="T34" fmla="*/ 92 w 219"/>
                <a:gd name="T35" fmla="*/ 21 h 217"/>
                <a:gd name="T36" fmla="*/ 108 w 219"/>
                <a:gd name="T37" fmla="*/ 40 h 217"/>
                <a:gd name="T38" fmla="*/ 130 w 219"/>
                <a:gd name="T39" fmla="*/ 38 h 217"/>
                <a:gd name="T40" fmla="*/ 137 w 219"/>
                <a:gd name="T41" fmla="*/ 28 h 217"/>
                <a:gd name="T42" fmla="*/ 139 w 219"/>
                <a:gd name="T43" fmla="*/ 19 h 217"/>
                <a:gd name="T44" fmla="*/ 160 w 219"/>
                <a:gd name="T45" fmla="*/ 26 h 217"/>
                <a:gd name="T46" fmla="*/ 177 w 219"/>
                <a:gd name="T47" fmla="*/ 40 h 217"/>
                <a:gd name="T48" fmla="*/ 179 w 219"/>
                <a:gd name="T49" fmla="*/ 57 h 217"/>
                <a:gd name="T50" fmla="*/ 182 w 219"/>
                <a:gd name="T51" fmla="*/ 71 h 217"/>
                <a:gd name="T52" fmla="*/ 184 w 219"/>
                <a:gd name="T53" fmla="*/ 87 h 217"/>
                <a:gd name="T54" fmla="*/ 182 w 219"/>
                <a:gd name="T55" fmla="*/ 92 h 217"/>
                <a:gd name="T56" fmla="*/ 186 w 219"/>
                <a:gd name="T57" fmla="*/ 95 h 217"/>
                <a:gd name="T58" fmla="*/ 208 w 219"/>
                <a:gd name="T59" fmla="*/ 90 h 217"/>
                <a:gd name="T60" fmla="*/ 217 w 219"/>
                <a:gd name="T61" fmla="*/ 87 h 217"/>
                <a:gd name="T62" fmla="*/ 217 w 219"/>
                <a:gd name="T63" fmla="*/ 90 h 217"/>
                <a:gd name="T64" fmla="*/ 217 w 219"/>
                <a:gd name="T65" fmla="*/ 97 h 217"/>
                <a:gd name="T66" fmla="*/ 217 w 219"/>
                <a:gd name="T67" fmla="*/ 113 h 217"/>
                <a:gd name="T68" fmla="*/ 217 w 219"/>
                <a:gd name="T69" fmla="*/ 125 h 217"/>
                <a:gd name="T70" fmla="*/ 182 w 219"/>
                <a:gd name="T71" fmla="*/ 142 h 217"/>
                <a:gd name="T72" fmla="*/ 182 w 219"/>
                <a:gd name="T73" fmla="*/ 189 h 217"/>
                <a:gd name="T74" fmla="*/ 191 w 219"/>
                <a:gd name="T75" fmla="*/ 199 h 217"/>
                <a:gd name="T76" fmla="*/ 200 w 219"/>
                <a:gd name="T77" fmla="*/ 208 h 217"/>
                <a:gd name="T78" fmla="*/ 175 w 219"/>
                <a:gd name="T79" fmla="*/ 217 h 217"/>
                <a:gd name="T80" fmla="*/ 163 w 219"/>
                <a:gd name="T81" fmla="*/ 215 h 217"/>
                <a:gd name="T82" fmla="*/ 132 w 219"/>
                <a:gd name="T83" fmla="*/ 213 h 217"/>
                <a:gd name="T84" fmla="*/ 118 w 219"/>
                <a:gd name="T85" fmla="*/ 203 h 217"/>
                <a:gd name="T86" fmla="*/ 63 w 219"/>
                <a:gd name="T87" fmla="*/ 203 h 217"/>
                <a:gd name="T88" fmla="*/ 35 w 219"/>
                <a:gd name="T89" fmla="*/ 201 h 217"/>
                <a:gd name="T90" fmla="*/ 19 w 219"/>
                <a:gd name="T91" fmla="*/ 196 h 217"/>
                <a:gd name="T92" fmla="*/ 7 w 219"/>
                <a:gd name="T93" fmla="*/ 199 h 217"/>
                <a:gd name="T94" fmla="*/ 0 w 219"/>
                <a:gd name="T95"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217">
                  <a:moveTo>
                    <a:pt x="2" y="189"/>
                  </a:moveTo>
                  <a:lnTo>
                    <a:pt x="2" y="182"/>
                  </a:lnTo>
                  <a:lnTo>
                    <a:pt x="2" y="180"/>
                  </a:lnTo>
                  <a:lnTo>
                    <a:pt x="4" y="175"/>
                  </a:lnTo>
                  <a:lnTo>
                    <a:pt x="7" y="168"/>
                  </a:lnTo>
                  <a:lnTo>
                    <a:pt x="7" y="165"/>
                  </a:lnTo>
                  <a:lnTo>
                    <a:pt x="9" y="161"/>
                  </a:lnTo>
                  <a:lnTo>
                    <a:pt x="9" y="158"/>
                  </a:lnTo>
                  <a:lnTo>
                    <a:pt x="9" y="154"/>
                  </a:lnTo>
                  <a:lnTo>
                    <a:pt x="12" y="151"/>
                  </a:lnTo>
                  <a:lnTo>
                    <a:pt x="12" y="149"/>
                  </a:lnTo>
                  <a:lnTo>
                    <a:pt x="14" y="142"/>
                  </a:lnTo>
                  <a:lnTo>
                    <a:pt x="14" y="139"/>
                  </a:lnTo>
                  <a:lnTo>
                    <a:pt x="14" y="139"/>
                  </a:lnTo>
                  <a:lnTo>
                    <a:pt x="14" y="137"/>
                  </a:lnTo>
                  <a:lnTo>
                    <a:pt x="16" y="132"/>
                  </a:lnTo>
                  <a:lnTo>
                    <a:pt x="19" y="130"/>
                  </a:lnTo>
                  <a:lnTo>
                    <a:pt x="21" y="128"/>
                  </a:lnTo>
                  <a:lnTo>
                    <a:pt x="21" y="123"/>
                  </a:lnTo>
                  <a:lnTo>
                    <a:pt x="28" y="121"/>
                  </a:lnTo>
                  <a:lnTo>
                    <a:pt x="33" y="116"/>
                  </a:lnTo>
                  <a:lnTo>
                    <a:pt x="35" y="113"/>
                  </a:lnTo>
                  <a:lnTo>
                    <a:pt x="35" y="109"/>
                  </a:lnTo>
                  <a:lnTo>
                    <a:pt x="37" y="104"/>
                  </a:lnTo>
                  <a:lnTo>
                    <a:pt x="37" y="99"/>
                  </a:lnTo>
                  <a:lnTo>
                    <a:pt x="37" y="97"/>
                  </a:lnTo>
                  <a:lnTo>
                    <a:pt x="37" y="92"/>
                  </a:lnTo>
                  <a:lnTo>
                    <a:pt x="37" y="90"/>
                  </a:lnTo>
                  <a:lnTo>
                    <a:pt x="37" y="83"/>
                  </a:lnTo>
                  <a:lnTo>
                    <a:pt x="33" y="80"/>
                  </a:lnTo>
                  <a:lnTo>
                    <a:pt x="30" y="76"/>
                  </a:lnTo>
                  <a:lnTo>
                    <a:pt x="30" y="73"/>
                  </a:lnTo>
                  <a:lnTo>
                    <a:pt x="28" y="69"/>
                  </a:lnTo>
                  <a:lnTo>
                    <a:pt x="26" y="59"/>
                  </a:lnTo>
                  <a:lnTo>
                    <a:pt x="26" y="57"/>
                  </a:lnTo>
                  <a:lnTo>
                    <a:pt x="28" y="54"/>
                  </a:lnTo>
                  <a:lnTo>
                    <a:pt x="30" y="52"/>
                  </a:lnTo>
                  <a:lnTo>
                    <a:pt x="30" y="47"/>
                  </a:lnTo>
                  <a:lnTo>
                    <a:pt x="28" y="43"/>
                  </a:lnTo>
                  <a:lnTo>
                    <a:pt x="26" y="40"/>
                  </a:lnTo>
                  <a:lnTo>
                    <a:pt x="23" y="28"/>
                  </a:lnTo>
                  <a:lnTo>
                    <a:pt x="21" y="24"/>
                  </a:lnTo>
                  <a:lnTo>
                    <a:pt x="21" y="21"/>
                  </a:lnTo>
                  <a:lnTo>
                    <a:pt x="16" y="17"/>
                  </a:lnTo>
                  <a:lnTo>
                    <a:pt x="16" y="12"/>
                  </a:lnTo>
                  <a:lnTo>
                    <a:pt x="14" y="10"/>
                  </a:lnTo>
                  <a:lnTo>
                    <a:pt x="12" y="7"/>
                  </a:lnTo>
                  <a:lnTo>
                    <a:pt x="12" y="7"/>
                  </a:lnTo>
                  <a:lnTo>
                    <a:pt x="14" y="7"/>
                  </a:lnTo>
                  <a:lnTo>
                    <a:pt x="14" y="5"/>
                  </a:lnTo>
                  <a:lnTo>
                    <a:pt x="21" y="5"/>
                  </a:lnTo>
                  <a:lnTo>
                    <a:pt x="26" y="2"/>
                  </a:lnTo>
                  <a:lnTo>
                    <a:pt x="30" y="0"/>
                  </a:lnTo>
                  <a:lnTo>
                    <a:pt x="33" y="0"/>
                  </a:lnTo>
                  <a:lnTo>
                    <a:pt x="35" y="0"/>
                  </a:lnTo>
                  <a:lnTo>
                    <a:pt x="42" y="0"/>
                  </a:lnTo>
                  <a:lnTo>
                    <a:pt x="49" y="0"/>
                  </a:lnTo>
                  <a:lnTo>
                    <a:pt x="52" y="0"/>
                  </a:lnTo>
                  <a:lnTo>
                    <a:pt x="56" y="0"/>
                  </a:lnTo>
                  <a:lnTo>
                    <a:pt x="61" y="0"/>
                  </a:lnTo>
                  <a:lnTo>
                    <a:pt x="66" y="0"/>
                  </a:lnTo>
                  <a:lnTo>
                    <a:pt x="75" y="0"/>
                  </a:lnTo>
                  <a:lnTo>
                    <a:pt x="80" y="0"/>
                  </a:lnTo>
                  <a:lnTo>
                    <a:pt x="82" y="0"/>
                  </a:lnTo>
                  <a:lnTo>
                    <a:pt x="82" y="2"/>
                  </a:lnTo>
                  <a:lnTo>
                    <a:pt x="85" y="2"/>
                  </a:lnTo>
                  <a:lnTo>
                    <a:pt x="85" y="2"/>
                  </a:lnTo>
                  <a:lnTo>
                    <a:pt x="87" y="5"/>
                  </a:lnTo>
                  <a:lnTo>
                    <a:pt x="89" y="12"/>
                  </a:lnTo>
                  <a:lnTo>
                    <a:pt x="89" y="14"/>
                  </a:lnTo>
                  <a:lnTo>
                    <a:pt x="89" y="17"/>
                  </a:lnTo>
                  <a:lnTo>
                    <a:pt x="92" y="21"/>
                  </a:lnTo>
                  <a:lnTo>
                    <a:pt x="94" y="26"/>
                  </a:lnTo>
                  <a:lnTo>
                    <a:pt x="97" y="31"/>
                  </a:lnTo>
                  <a:lnTo>
                    <a:pt x="104" y="38"/>
                  </a:lnTo>
                  <a:lnTo>
                    <a:pt x="108" y="40"/>
                  </a:lnTo>
                  <a:lnTo>
                    <a:pt x="113" y="40"/>
                  </a:lnTo>
                  <a:lnTo>
                    <a:pt x="118" y="38"/>
                  </a:lnTo>
                  <a:lnTo>
                    <a:pt x="123" y="38"/>
                  </a:lnTo>
                  <a:lnTo>
                    <a:pt x="130" y="38"/>
                  </a:lnTo>
                  <a:lnTo>
                    <a:pt x="134" y="38"/>
                  </a:lnTo>
                  <a:lnTo>
                    <a:pt x="134" y="33"/>
                  </a:lnTo>
                  <a:lnTo>
                    <a:pt x="137" y="31"/>
                  </a:lnTo>
                  <a:lnTo>
                    <a:pt x="137" y="28"/>
                  </a:lnTo>
                  <a:lnTo>
                    <a:pt x="137" y="28"/>
                  </a:lnTo>
                  <a:lnTo>
                    <a:pt x="137" y="26"/>
                  </a:lnTo>
                  <a:lnTo>
                    <a:pt x="139" y="24"/>
                  </a:lnTo>
                  <a:lnTo>
                    <a:pt x="139" y="19"/>
                  </a:lnTo>
                  <a:lnTo>
                    <a:pt x="153" y="19"/>
                  </a:lnTo>
                  <a:lnTo>
                    <a:pt x="153" y="19"/>
                  </a:lnTo>
                  <a:lnTo>
                    <a:pt x="160" y="19"/>
                  </a:lnTo>
                  <a:lnTo>
                    <a:pt x="160" y="26"/>
                  </a:lnTo>
                  <a:lnTo>
                    <a:pt x="175" y="26"/>
                  </a:lnTo>
                  <a:lnTo>
                    <a:pt x="177" y="26"/>
                  </a:lnTo>
                  <a:lnTo>
                    <a:pt x="177" y="28"/>
                  </a:lnTo>
                  <a:lnTo>
                    <a:pt x="177" y="40"/>
                  </a:lnTo>
                  <a:lnTo>
                    <a:pt x="179" y="43"/>
                  </a:lnTo>
                  <a:lnTo>
                    <a:pt x="179" y="47"/>
                  </a:lnTo>
                  <a:lnTo>
                    <a:pt x="179" y="54"/>
                  </a:lnTo>
                  <a:lnTo>
                    <a:pt x="179" y="57"/>
                  </a:lnTo>
                  <a:lnTo>
                    <a:pt x="179" y="59"/>
                  </a:lnTo>
                  <a:lnTo>
                    <a:pt x="179" y="64"/>
                  </a:lnTo>
                  <a:lnTo>
                    <a:pt x="179" y="66"/>
                  </a:lnTo>
                  <a:lnTo>
                    <a:pt x="182" y="71"/>
                  </a:lnTo>
                  <a:lnTo>
                    <a:pt x="184" y="78"/>
                  </a:lnTo>
                  <a:lnTo>
                    <a:pt x="186" y="83"/>
                  </a:lnTo>
                  <a:lnTo>
                    <a:pt x="186" y="85"/>
                  </a:lnTo>
                  <a:lnTo>
                    <a:pt x="184" y="87"/>
                  </a:lnTo>
                  <a:lnTo>
                    <a:pt x="182" y="90"/>
                  </a:lnTo>
                  <a:lnTo>
                    <a:pt x="182" y="92"/>
                  </a:lnTo>
                  <a:lnTo>
                    <a:pt x="182" y="92"/>
                  </a:lnTo>
                  <a:lnTo>
                    <a:pt x="182" y="92"/>
                  </a:lnTo>
                  <a:lnTo>
                    <a:pt x="184" y="92"/>
                  </a:lnTo>
                  <a:lnTo>
                    <a:pt x="184" y="95"/>
                  </a:lnTo>
                  <a:lnTo>
                    <a:pt x="186" y="97"/>
                  </a:lnTo>
                  <a:lnTo>
                    <a:pt x="186" y="95"/>
                  </a:lnTo>
                  <a:lnTo>
                    <a:pt x="189" y="95"/>
                  </a:lnTo>
                  <a:lnTo>
                    <a:pt x="189" y="92"/>
                  </a:lnTo>
                  <a:lnTo>
                    <a:pt x="191" y="90"/>
                  </a:lnTo>
                  <a:lnTo>
                    <a:pt x="208" y="90"/>
                  </a:lnTo>
                  <a:lnTo>
                    <a:pt x="210" y="90"/>
                  </a:lnTo>
                  <a:lnTo>
                    <a:pt x="212" y="90"/>
                  </a:lnTo>
                  <a:lnTo>
                    <a:pt x="215" y="90"/>
                  </a:lnTo>
                  <a:lnTo>
                    <a:pt x="217" y="87"/>
                  </a:lnTo>
                  <a:lnTo>
                    <a:pt x="217" y="87"/>
                  </a:lnTo>
                  <a:lnTo>
                    <a:pt x="217" y="87"/>
                  </a:lnTo>
                  <a:lnTo>
                    <a:pt x="219" y="90"/>
                  </a:lnTo>
                  <a:lnTo>
                    <a:pt x="217" y="90"/>
                  </a:lnTo>
                  <a:lnTo>
                    <a:pt x="217" y="92"/>
                  </a:lnTo>
                  <a:lnTo>
                    <a:pt x="217" y="95"/>
                  </a:lnTo>
                  <a:lnTo>
                    <a:pt x="217" y="97"/>
                  </a:lnTo>
                  <a:lnTo>
                    <a:pt x="217" y="97"/>
                  </a:lnTo>
                  <a:lnTo>
                    <a:pt x="217" y="102"/>
                  </a:lnTo>
                  <a:lnTo>
                    <a:pt x="217" y="106"/>
                  </a:lnTo>
                  <a:lnTo>
                    <a:pt x="217" y="111"/>
                  </a:lnTo>
                  <a:lnTo>
                    <a:pt x="217" y="113"/>
                  </a:lnTo>
                  <a:lnTo>
                    <a:pt x="215" y="118"/>
                  </a:lnTo>
                  <a:lnTo>
                    <a:pt x="215" y="123"/>
                  </a:lnTo>
                  <a:lnTo>
                    <a:pt x="215" y="123"/>
                  </a:lnTo>
                  <a:lnTo>
                    <a:pt x="217" y="125"/>
                  </a:lnTo>
                  <a:lnTo>
                    <a:pt x="219" y="125"/>
                  </a:lnTo>
                  <a:lnTo>
                    <a:pt x="200" y="125"/>
                  </a:lnTo>
                  <a:lnTo>
                    <a:pt x="182" y="125"/>
                  </a:lnTo>
                  <a:lnTo>
                    <a:pt x="182" y="142"/>
                  </a:lnTo>
                  <a:lnTo>
                    <a:pt x="182" y="161"/>
                  </a:lnTo>
                  <a:lnTo>
                    <a:pt x="182" y="177"/>
                  </a:lnTo>
                  <a:lnTo>
                    <a:pt x="182" y="189"/>
                  </a:lnTo>
                  <a:lnTo>
                    <a:pt x="182" y="189"/>
                  </a:lnTo>
                  <a:lnTo>
                    <a:pt x="184" y="191"/>
                  </a:lnTo>
                  <a:lnTo>
                    <a:pt x="186" y="194"/>
                  </a:lnTo>
                  <a:lnTo>
                    <a:pt x="189" y="196"/>
                  </a:lnTo>
                  <a:lnTo>
                    <a:pt x="191" y="199"/>
                  </a:lnTo>
                  <a:lnTo>
                    <a:pt x="196" y="201"/>
                  </a:lnTo>
                  <a:lnTo>
                    <a:pt x="196" y="203"/>
                  </a:lnTo>
                  <a:lnTo>
                    <a:pt x="198" y="206"/>
                  </a:lnTo>
                  <a:lnTo>
                    <a:pt x="200" y="208"/>
                  </a:lnTo>
                  <a:lnTo>
                    <a:pt x="203" y="208"/>
                  </a:lnTo>
                  <a:lnTo>
                    <a:pt x="203" y="208"/>
                  </a:lnTo>
                  <a:lnTo>
                    <a:pt x="198" y="210"/>
                  </a:lnTo>
                  <a:lnTo>
                    <a:pt x="175" y="217"/>
                  </a:lnTo>
                  <a:lnTo>
                    <a:pt x="172" y="217"/>
                  </a:lnTo>
                  <a:lnTo>
                    <a:pt x="170" y="215"/>
                  </a:lnTo>
                  <a:lnTo>
                    <a:pt x="167" y="215"/>
                  </a:lnTo>
                  <a:lnTo>
                    <a:pt x="163" y="215"/>
                  </a:lnTo>
                  <a:lnTo>
                    <a:pt x="158" y="213"/>
                  </a:lnTo>
                  <a:lnTo>
                    <a:pt x="146" y="213"/>
                  </a:lnTo>
                  <a:lnTo>
                    <a:pt x="139" y="210"/>
                  </a:lnTo>
                  <a:lnTo>
                    <a:pt x="132" y="213"/>
                  </a:lnTo>
                  <a:lnTo>
                    <a:pt x="130" y="213"/>
                  </a:lnTo>
                  <a:lnTo>
                    <a:pt x="125" y="210"/>
                  </a:lnTo>
                  <a:lnTo>
                    <a:pt x="123" y="208"/>
                  </a:lnTo>
                  <a:lnTo>
                    <a:pt x="118" y="203"/>
                  </a:lnTo>
                  <a:lnTo>
                    <a:pt x="111" y="203"/>
                  </a:lnTo>
                  <a:lnTo>
                    <a:pt x="97" y="203"/>
                  </a:lnTo>
                  <a:lnTo>
                    <a:pt x="80" y="203"/>
                  </a:lnTo>
                  <a:lnTo>
                    <a:pt x="63" y="203"/>
                  </a:lnTo>
                  <a:lnTo>
                    <a:pt x="47" y="203"/>
                  </a:lnTo>
                  <a:lnTo>
                    <a:pt x="42" y="203"/>
                  </a:lnTo>
                  <a:lnTo>
                    <a:pt x="40" y="203"/>
                  </a:lnTo>
                  <a:lnTo>
                    <a:pt x="35" y="201"/>
                  </a:lnTo>
                  <a:lnTo>
                    <a:pt x="30" y="199"/>
                  </a:lnTo>
                  <a:lnTo>
                    <a:pt x="30" y="196"/>
                  </a:lnTo>
                  <a:lnTo>
                    <a:pt x="26" y="196"/>
                  </a:lnTo>
                  <a:lnTo>
                    <a:pt x="19" y="196"/>
                  </a:lnTo>
                  <a:lnTo>
                    <a:pt x="16" y="196"/>
                  </a:lnTo>
                  <a:lnTo>
                    <a:pt x="14" y="201"/>
                  </a:lnTo>
                  <a:lnTo>
                    <a:pt x="12" y="201"/>
                  </a:lnTo>
                  <a:lnTo>
                    <a:pt x="7" y="199"/>
                  </a:lnTo>
                  <a:lnTo>
                    <a:pt x="4" y="201"/>
                  </a:lnTo>
                  <a:lnTo>
                    <a:pt x="0" y="203"/>
                  </a:lnTo>
                  <a:lnTo>
                    <a:pt x="0" y="201"/>
                  </a:lnTo>
                  <a:lnTo>
                    <a:pt x="0" y="196"/>
                  </a:lnTo>
                  <a:lnTo>
                    <a:pt x="0" y="191"/>
                  </a:lnTo>
                  <a:lnTo>
                    <a:pt x="2" y="191"/>
                  </a:lnTo>
                  <a:lnTo>
                    <a:pt x="2" y="18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5" name="Freeform 266">
              <a:extLst>
                <a:ext uri="{FF2B5EF4-FFF2-40B4-BE49-F238E27FC236}">
                  <a16:creationId xmlns:a16="http://schemas.microsoft.com/office/drawing/2014/main" id="{90E288CA-AA85-443E-9BBD-43103D0ADBCA}"/>
                </a:ext>
              </a:extLst>
            </p:cNvPr>
            <p:cNvSpPr>
              <a:spLocks/>
            </p:cNvSpPr>
            <p:nvPr/>
          </p:nvSpPr>
          <p:spPr bwMode="auto">
            <a:xfrm>
              <a:off x="1597867" y="4691030"/>
              <a:ext cx="347662" cy="344489"/>
            </a:xfrm>
            <a:custGeom>
              <a:avLst/>
              <a:gdLst>
                <a:gd name="T0" fmla="*/ 4 w 219"/>
                <a:gd name="T1" fmla="*/ 175 h 217"/>
                <a:gd name="T2" fmla="*/ 9 w 219"/>
                <a:gd name="T3" fmla="*/ 158 h 217"/>
                <a:gd name="T4" fmla="*/ 14 w 219"/>
                <a:gd name="T5" fmla="*/ 142 h 217"/>
                <a:gd name="T6" fmla="*/ 16 w 219"/>
                <a:gd name="T7" fmla="*/ 132 h 217"/>
                <a:gd name="T8" fmla="*/ 28 w 219"/>
                <a:gd name="T9" fmla="*/ 121 h 217"/>
                <a:gd name="T10" fmla="*/ 37 w 219"/>
                <a:gd name="T11" fmla="*/ 104 h 217"/>
                <a:gd name="T12" fmla="*/ 37 w 219"/>
                <a:gd name="T13" fmla="*/ 90 h 217"/>
                <a:gd name="T14" fmla="*/ 30 w 219"/>
                <a:gd name="T15" fmla="*/ 73 h 217"/>
                <a:gd name="T16" fmla="*/ 28 w 219"/>
                <a:gd name="T17" fmla="*/ 54 h 217"/>
                <a:gd name="T18" fmla="*/ 26 w 219"/>
                <a:gd name="T19" fmla="*/ 40 h 217"/>
                <a:gd name="T20" fmla="*/ 16 w 219"/>
                <a:gd name="T21" fmla="*/ 17 h 217"/>
                <a:gd name="T22" fmla="*/ 12 w 219"/>
                <a:gd name="T23" fmla="*/ 7 h 217"/>
                <a:gd name="T24" fmla="*/ 26 w 219"/>
                <a:gd name="T25" fmla="*/ 2 h 217"/>
                <a:gd name="T26" fmla="*/ 42 w 219"/>
                <a:gd name="T27" fmla="*/ 0 h 217"/>
                <a:gd name="T28" fmla="*/ 61 w 219"/>
                <a:gd name="T29" fmla="*/ 0 h 217"/>
                <a:gd name="T30" fmla="*/ 82 w 219"/>
                <a:gd name="T31" fmla="*/ 0 h 217"/>
                <a:gd name="T32" fmla="*/ 87 w 219"/>
                <a:gd name="T33" fmla="*/ 5 h 217"/>
                <a:gd name="T34" fmla="*/ 92 w 219"/>
                <a:gd name="T35" fmla="*/ 21 h 217"/>
                <a:gd name="T36" fmla="*/ 108 w 219"/>
                <a:gd name="T37" fmla="*/ 40 h 217"/>
                <a:gd name="T38" fmla="*/ 130 w 219"/>
                <a:gd name="T39" fmla="*/ 38 h 217"/>
                <a:gd name="T40" fmla="*/ 137 w 219"/>
                <a:gd name="T41" fmla="*/ 28 h 217"/>
                <a:gd name="T42" fmla="*/ 139 w 219"/>
                <a:gd name="T43" fmla="*/ 19 h 217"/>
                <a:gd name="T44" fmla="*/ 160 w 219"/>
                <a:gd name="T45" fmla="*/ 26 h 217"/>
                <a:gd name="T46" fmla="*/ 177 w 219"/>
                <a:gd name="T47" fmla="*/ 40 h 217"/>
                <a:gd name="T48" fmla="*/ 179 w 219"/>
                <a:gd name="T49" fmla="*/ 57 h 217"/>
                <a:gd name="T50" fmla="*/ 182 w 219"/>
                <a:gd name="T51" fmla="*/ 71 h 217"/>
                <a:gd name="T52" fmla="*/ 184 w 219"/>
                <a:gd name="T53" fmla="*/ 87 h 217"/>
                <a:gd name="T54" fmla="*/ 182 w 219"/>
                <a:gd name="T55" fmla="*/ 92 h 217"/>
                <a:gd name="T56" fmla="*/ 186 w 219"/>
                <a:gd name="T57" fmla="*/ 95 h 217"/>
                <a:gd name="T58" fmla="*/ 208 w 219"/>
                <a:gd name="T59" fmla="*/ 90 h 217"/>
                <a:gd name="T60" fmla="*/ 217 w 219"/>
                <a:gd name="T61" fmla="*/ 87 h 217"/>
                <a:gd name="T62" fmla="*/ 217 w 219"/>
                <a:gd name="T63" fmla="*/ 90 h 217"/>
                <a:gd name="T64" fmla="*/ 217 w 219"/>
                <a:gd name="T65" fmla="*/ 97 h 217"/>
                <a:gd name="T66" fmla="*/ 217 w 219"/>
                <a:gd name="T67" fmla="*/ 113 h 217"/>
                <a:gd name="T68" fmla="*/ 217 w 219"/>
                <a:gd name="T69" fmla="*/ 125 h 217"/>
                <a:gd name="T70" fmla="*/ 182 w 219"/>
                <a:gd name="T71" fmla="*/ 142 h 217"/>
                <a:gd name="T72" fmla="*/ 182 w 219"/>
                <a:gd name="T73" fmla="*/ 189 h 217"/>
                <a:gd name="T74" fmla="*/ 191 w 219"/>
                <a:gd name="T75" fmla="*/ 199 h 217"/>
                <a:gd name="T76" fmla="*/ 200 w 219"/>
                <a:gd name="T77" fmla="*/ 208 h 217"/>
                <a:gd name="T78" fmla="*/ 175 w 219"/>
                <a:gd name="T79" fmla="*/ 217 h 217"/>
                <a:gd name="T80" fmla="*/ 163 w 219"/>
                <a:gd name="T81" fmla="*/ 215 h 217"/>
                <a:gd name="T82" fmla="*/ 132 w 219"/>
                <a:gd name="T83" fmla="*/ 213 h 217"/>
                <a:gd name="T84" fmla="*/ 118 w 219"/>
                <a:gd name="T85" fmla="*/ 203 h 217"/>
                <a:gd name="T86" fmla="*/ 63 w 219"/>
                <a:gd name="T87" fmla="*/ 203 h 217"/>
                <a:gd name="T88" fmla="*/ 35 w 219"/>
                <a:gd name="T89" fmla="*/ 201 h 217"/>
                <a:gd name="T90" fmla="*/ 19 w 219"/>
                <a:gd name="T91" fmla="*/ 196 h 217"/>
                <a:gd name="T92" fmla="*/ 7 w 219"/>
                <a:gd name="T93" fmla="*/ 199 h 217"/>
                <a:gd name="T94" fmla="*/ 0 w 219"/>
                <a:gd name="T95"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217">
                  <a:moveTo>
                    <a:pt x="2" y="189"/>
                  </a:moveTo>
                  <a:lnTo>
                    <a:pt x="2" y="182"/>
                  </a:lnTo>
                  <a:lnTo>
                    <a:pt x="2" y="180"/>
                  </a:lnTo>
                  <a:lnTo>
                    <a:pt x="4" y="175"/>
                  </a:lnTo>
                  <a:lnTo>
                    <a:pt x="7" y="168"/>
                  </a:lnTo>
                  <a:lnTo>
                    <a:pt x="7" y="165"/>
                  </a:lnTo>
                  <a:lnTo>
                    <a:pt x="9" y="161"/>
                  </a:lnTo>
                  <a:lnTo>
                    <a:pt x="9" y="158"/>
                  </a:lnTo>
                  <a:lnTo>
                    <a:pt x="9" y="154"/>
                  </a:lnTo>
                  <a:lnTo>
                    <a:pt x="12" y="151"/>
                  </a:lnTo>
                  <a:lnTo>
                    <a:pt x="12" y="149"/>
                  </a:lnTo>
                  <a:lnTo>
                    <a:pt x="14" y="142"/>
                  </a:lnTo>
                  <a:lnTo>
                    <a:pt x="14" y="139"/>
                  </a:lnTo>
                  <a:lnTo>
                    <a:pt x="14" y="139"/>
                  </a:lnTo>
                  <a:lnTo>
                    <a:pt x="14" y="137"/>
                  </a:lnTo>
                  <a:lnTo>
                    <a:pt x="16" y="132"/>
                  </a:lnTo>
                  <a:lnTo>
                    <a:pt x="19" y="130"/>
                  </a:lnTo>
                  <a:lnTo>
                    <a:pt x="21" y="128"/>
                  </a:lnTo>
                  <a:lnTo>
                    <a:pt x="21" y="123"/>
                  </a:lnTo>
                  <a:lnTo>
                    <a:pt x="28" y="121"/>
                  </a:lnTo>
                  <a:lnTo>
                    <a:pt x="33" y="116"/>
                  </a:lnTo>
                  <a:lnTo>
                    <a:pt x="35" y="113"/>
                  </a:lnTo>
                  <a:lnTo>
                    <a:pt x="35" y="109"/>
                  </a:lnTo>
                  <a:lnTo>
                    <a:pt x="37" y="104"/>
                  </a:lnTo>
                  <a:lnTo>
                    <a:pt x="37" y="99"/>
                  </a:lnTo>
                  <a:lnTo>
                    <a:pt x="37" y="97"/>
                  </a:lnTo>
                  <a:lnTo>
                    <a:pt x="37" y="92"/>
                  </a:lnTo>
                  <a:lnTo>
                    <a:pt x="37" y="90"/>
                  </a:lnTo>
                  <a:lnTo>
                    <a:pt x="37" y="83"/>
                  </a:lnTo>
                  <a:lnTo>
                    <a:pt x="33" y="80"/>
                  </a:lnTo>
                  <a:lnTo>
                    <a:pt x="30" y="76"/>
                  </a:lnTo>
                  <a:lnTo>
                    <a:pt x="30" y="73"/>
                  </a:lnTo>
                  <a:lnTo>
                    <a:pt x="28" y="69"/>
                  </a:lnTo>
                  <a:lnTo>
                    <a:pt x="26" y="59"/>
                  </a:lnTo>
                  <a:lnTo>
                    <a:pt x="26" y="57"/>
                  </a:lnTo>
                  <a:lnTo>
                    <a:pt x="28" y="54"/>
                  </a:lnTo>
                  <a:lnTo>
                    <a:pt x="30" y="52"/>
                  </a:lnTo>
                  <a:lnTo>
                    <a:pt x="30" y="47"/>
                  </a:lnTo>
                  <a:lnTo>
                    <a:pt x="28" y="43"/>
                  </a:lnTo>
                  <a:lnTo>
                    <a:pt x="26" y="40"/>
                  </a:lnTo>
                  <a:lnTo>
                    <a:pt x="23" y="28"/>
                  </a:lnTo>
                  <a:lnTo>
                    <a:pt x="21" y="24"/>
                  </a:lnTo>
                  <a:lnTo>
                    <a:pt x="21" y="21"/>
                  </a:lnTo>
                  <a:lnTo>
                    <a:pt x="16" y="17"/>
                  </a:lnTo>
                  <a:lnTo>
                    <a:pt x="16" y="12"/>
                  </a:lnTo>
                  <a:lnTo>
                    <a:pt x="14" y="10"/>
                  </a:lnTo>
                  <a:lnTo>
                    <a:pt x="12" y="7"/>
                  </a:lnTo>
                  <a:lnTo>
                    <a:pt x="12" y="7"/>
                  </a:lnTo>
                  <a:lnTo>
                    <a:pt x="14" y="7"/>
                  </a:lnTo>
                  <a:lnTo>
                    <a:pt x="14" y="5"/>
                  </a:lnTo>
                  <a:lnTo>
                    <a:pt x="21" y="5"/>
                  </a:lnTo>
                  <a:lnTo>
                    <a:pt x="26" y="2"/>
                  </a:lnTo>
                  <a:lnTo>
                    <a:pt x="30" y="0"/>
                  </a:lnTo>
                  <a:lnTo>
                    <a:pt x="33" y="0"/>
                  </a:lnTo>
                  <a:lnTo>
                    <a:pt x="35" y="0"/>
                  </a:lnTo>
                  <a:lnTo>
                    <a:pt x="42" y="0"/>
                  </a:lnTo>
                  <a:lnTo>
                    <a:pt x="49" y="0"/>
                  </a:lnTo>
                  <a:lnTo>
                    <a:pt x="52" y="0"/>
                  </a:lnTo>
                  <a:lnTo>
                    <a:pt x="56" y="0"/>
                  </a:lnTo>
                  <a:lnTo>
                    <a:pt x="61" y="0"/>
                  </a:lnTo>
                  <a:lnTo>
                    <a:pt x="66" y="0"/>
                  </a:lnTo>
                  <a:lnTo>
                    <a:pt x="75" y="0"/>
                  </a:lnTo>
                  <a:lnTo>
                    <a:pt x="80" y="0"/>
                  </a:lnTo>
                  <a:lnTo>
                    <a:pt x="82" y="0"/>
                  </a:lnTo>
                  <a:lnTo>
                    <a:pt x="82" y="2"/>
                  </a:lnTo>
                  <a:lnTo>
                    <a:pt x="85" y="2"/>
                  </a:lnTo>
                  <a:lnTo>
                    <a:pt x="85" y="2"/>
                  </a:lnTo>
                  <a:lnTo>
                    <a:pt x="87" y="5"/>
                  </a:lnTo>
                  <a:lnTo>
                    <a:pt x="89" y="12"/>
                  </a:lnTo>
                  <a:lnTo>
                    <a:pt x="89" y="14"/>
                  </a:lnTo>
                  <a:lnTo>
                    <a:pt x="89" y="17"/>
                  </a:lnTo>
                  <a:lnTo>
                    <a:pt x="92" y="21"/>
                  </a:lnTo>
                  <a:lnTo>
                    <a:pt x="94" y="26"/>
                  </a:lnTo>
                  <a:lnTo>
                    <a:pt x="97" y="31"/>
                  </a:lnTo>
                  <a:lnTo>
                    <a:pt x="104" y="38"/>
                  </a:lnTo>
                  <a:lnTo>
                    <a:pt x="108" y="40"/>
                  </a:lnTo>
                  <a:lnTo>
                    <a:pt x="113" y="40"/>
                  </a:lnTo>
                  <a:lnTo>
                    <a:pt x="118" y="38"/>
                  </a:lnTo>
                  <a:lnTo>
                    <a:pt x="123" y="38"/>
                  </a:lnTo>
                  <a:lnTo>
                    <a:pt x="130" y="38"/>
                  </a:lnTo>
                  <a:lnTo>
                    <a:pt x="134" y="38"/>
                  </a:lnTo>
                  <a:lnTo>
                    <a:pt x="134" y="33"/>
                  </a:lnTo>
                  <a:lnTo>
                    <a:pt x="137" y="31"/>
                  </a:lnTo>
                  <a:lnTo>
                    <a:pt x="137" y="28"/>
                  </a:lnTo>
                  <a:lnTo>
                    <a:pt x="137" y="28"/>
                  </a:lnTo>
                  <a:lnTo>
                    <a:pt x="137" y="26"/>
                  </a:lnTo>
                  <a:lnTo>
                    <a:pt x="139" y="24"/>
                  </a:lnTo>
                  <a:lnTo>
                    <a:pt x="139" y="19"/>
                  </a:lnTo>
                  <a:lnTo>
                    <a:pt x="153" y="19"/>
                  </a:lnTo>
                  <a:lnTo>
                    <a:pt x="153" y="19"/>
                  </a:lnTo>
                  <a:lnTo>
                    <a:pt x="160" y="19"/>
                  </a:lnTo>
                  <a:lnTo>
                    <a:pt x="160" y="26"/>
                  </a:lnTo>
                  <a:lnTo>
                    <a:pt x="175" y="26"/>
                  </a:lnTo>
                  <a:lnTo>
                    <a:pt x="177" y="26"/>
                  </a:lnTo>
                  <a:lnTo>
                    <a:pt x="177" y="28"/>
                  </a:lnTo>
                  <a:lnTo>
                    <a:pt x="177" y="40"/>
                  </a:lnTo>
                  <a:lnTo>
                    <a:pt x="179" y="43"/>
                  </a:lnTo>
                  <a:lnTo>
                    <a:pt x="179" y="47"/>
                  </a:lnTo>
                  <a:lnTo>
                    <a:pt x="179" y="54"/>
                  </a:lnTo>
                  <a:lnTo>
                    <a:pt x="179" y="57"/>
                  </a:lnTo>
                  <a:lnTo>
                    <a:pt x="179" y="59"/>
                  </a:lnTo>
                  <a:lnTo>
                    <a:pt x="179" y="64"/>
                  </a:lnTo>
                  <a:lnTo>
                    <a:pt x="179" y="66"/>
                  </a:lnTo>
                  <a:lnTo>
                    <a:pt x="182" y="71"/>
                  </a:lnTo>
                  <a:lnTo>
                    <a:pt x="184" y="78"/>
                  </a:lnTo>
                  <a:lnTo>
                    <a:pt x="186" y="83"/>
                  </a:lnTo>
                  <a:lnTo>
                    <a:pt x="186" y="85"/>
                  </a:lnTo>
                  <a:lnTo>
                    <a:pt x="184" y="87"/>
                  </a:lnTo>
                  <a:lnTo>
                    <a:pt x="182" y="90"/>
                  </a:lnTo>
                  <a:lnTo>
                    <a:pt x="182" y="92"/>
                  </a:lnTo>
                  <a:lnTo>
                    <a:pt x="182" y="92"/>
                  </a:lnTo>
                  <a:lnTo>
                    <a:pt x="182" y="92"/>
                  </a:lnTo>
                  <a:lnTo>
                    <a:pt x="184" y="92"/>
                  </a:lnTo>
                  <a:lnTo>
                    <a:pt x="184" y="95"/>
                  </a:lnTo>
                  <a:lnTo>
                    <a:pt x="186" y="97"/>
                  </a:lnTo>
                  <a:lnTo>
                    <a:pt x="186" y="95"/>
                  </a:lnTo>
                  <a:lnTo>
                    <a:pt x="189" y="95"/>
                  </a:lnTo>
                  <a:lnTo>
                    <a:pt x="189" y="92"/>
                  </a:lnTo>
                  <a:lnTo>
                    <a:pt x="191" y="90"/>
                  </a:lnTo>
                  <a:lnTo>
                    <a:pt x="208" y="90"/>
                  </a:lnTo>
                  <a:lnTo>
                    <a:pt x="210" y="90"/>
                  </a:lnTo>
                  <a:lnTo>
                    <a:pt x="212" y="90"/>
                  </a:lnTo>
                  <a:lnTo>
                    <a:pt x="215" y="90"/>
                  </a:lnTo>
                  <a:lnTo>
                    <a:pt x="217" y="87"/>
                  </a:lnTo>
                  <a:lnTo>
                    <a:pt x="217" y="87"/>
                  </a:lnTo>
                  <a:lnTo>
                    <a:pt x="217" y="87"/>
                  </a:lnTo>
                  <a:lnTo>
                    <a:pt x="219" y="90"/>
                  </a:lnTo>
                  <a:lnTo>
                    <a:pt x="217" y="90"/>
                  </a:lnTo>
                  <a:lnTo>
                    <a:pt x="217" y="92"/>
                  </a:lnTo>
                  <a:lnTo>
                    <a:pt x="217" y="95"/>
                  </a:lnTo>
                  <a:lnTo>
                    <a:pt x="217" y="97"/>
                  </a:lnTo>
                  <a:lnTo>
                    <a:pt x="217" y="97"/>
                  </a:lnTo>
                  <a:lnTo>
                    <a:pt x="217" y="102"/>
                  </a:lnTo>
                  <a:lnTo>
                    <a:pt x="217" y="106"/>
                  </a:lnTo>
                  <a:lnTo>
                    <a:pt x="217" y="111"/>
                  </a:lnTo>
                  <a:lnTo>
                    <a:pt x="217" y="113"/>
                  </a:lnTo>
                  <a:lnTo>
                    <a:pt x="215" y="118"/>
                  </a:lnTo>
                  <a:lnTo>
                    <a:pt x="215" y="123"/>
                  </a:lnTo>
                  <a:lnTo>
                    <a:pt x="215" y="123"/>
                  </a:lnTo>
                  <a:lnTo>
                    <a:pt x="217" y="125"/>
                  </a:lnTo>
                  <a:lnTo>
                    <a:pt x="219" y="125"/>
                  </a:lnTo>
                  <a:lnTo>
                    <a:pt x="200" y="125"/>
                  </a:lnTo>
                  <a:lnTo>
                    <a:pt x="182" y="125"/>
                  </a:lnTo>
                  <a:lnTo>
                    <a:pt x="182" y="142"/>
                  </a:lnTo>
                  <a:lnTo>
                    <a:pt x="182" y="161"/>
                  </a:lnTo>
                  <a:lnTo>
                    <a:pt x="182" y="177"/>
                  </a:lnTo>
                  <a:lnTo>
                    <a:pt x="182" y="189"/>
                  </a:lnTo>
                  <a:lnTo>
                    <a:pt x="182" y="189"/>
                  </a:lnTo>
                  <a:lnTo>
                    <a:pt x="184" y="191"/>
                  </a:lnTo>
                  <a:lnTo>
                    <a:pt x="186" y="194"/>
                  </a:lnTo>
                  <a:lnTo>
                    <a:pt x="189" y="196"/>
                  </a:lnTo>
                  <a:lnTo>
                    <a:pt x="191" y="199"/>
                  </a:lnTo>
                  <a:lnTo>
                    <a:pt x="196" y="201"/>
                  </a:lnTo>
                  <a:lnTo>
                    <a:pt x="196" y="203"/>
                  </a:lnTo>
                  <a:lnTo>
                    <a:pt x="198" y="206"/>
                  </a:lnTo>
                  <a:lnTo>
                    <a:pt x="200" y="208"/>
                  </a:lnTo>
                  <a:lnTo>
                    <a:pt x="203" y="208"/>
                  </a:lnTo>
                  <a:lnTo>
                    <a:pt x="203" y="208"/>
                  </a:lnTo>
                  <a:lnTo>
                    <a:pt x="198" y="210"/>
                  </a:lnTo>
                  <a:lnTo>
                    <a:pt x="175" y="217"/>
                  </a:lnTo>
                  <a:lnTo>
                    <a:pt x="172" y="217"/>
                  </a:lnTo>
                  <a:lnTo>
                    <a:pt x="170" y="215"/>
                  </a:lnTo>
                  <a:lnTo>
                    <a:pt x="167" y="215"/>
                  </a:lnTo>
                  <a:lnTo>
                    <a:pt x="163" y="215"/>
                  </a:lnTo>
                  <a:lnTo>
                    <a:pt x="158" y="213"/>
                  </a:lnTo>
                  <a:lnTo>
                    <a:pt x="146" y="213"/>
                  </a:lnTo>
                  <a:lnTo>
                    <a:pt x="139" y="210"/>
                  </a:lnTo>
                  <a:lnTo>
                    <a:pt x="132" y="213"/>
                  </a:lnTo>
                  <a:lnTo>
                    <a:pt x="130" y="213"/>
                  </a:lnTo>
                  <a:lnTo>
                    <a:pt x="125" y="210"/>
                  </a:lnTo>
                  <a:lnTo>
                    <a:pt x="123" y="208"/>
                  </a:lnTo>
                  <a:lnTo>
                    <a:pt x="118" y="203"/>
                  </a:lnTo>
                  <a:lnTo>
                    <a:pt x="111" y="203"/>
                  </a:lnTo>
                  <a:lnTo>
                    <a:pt x="97" y="203"/>
                  </a:lnTo>
                  <a:lnTo>
                    <a:pt x="80" y="203"/>
                  </a:lnTo>
                  <a:lnTo>
                    <a:pt x="63" y="203"/>
                  </a:lnTo>
                  <a:lnTo>
                    <a:pt x="47" y="203"/>
                  </a:lnTo>
                  <a:lnTo>
                    <a:pt x="42" y="203"/>
                  </a:lnTo>
                  <a:lnTo>
                    <a:pt x="40" y="203"/>
                  </a:lnTo>
                  <a:lnTo>
                    <a:pt x="35" y="201"/>
                  </a:lnTo>
                  <a:lnTo>
                    <a:pt x="30" y="199"/>
                  </a:lnTo>
                  <a:lnTo>
                    <a:pt x="30" y="196"/>
                  </a:lnTo>
                  <a:lnTo>
                    <a:pt x="26" y="196"/>
                  </a:lnTo>
                  <a:lnTo>
                    <a:pt x="19" y="196"/>
                  </a:lnTo>
                  <a:lnTo>
                    <a:pt x="16" y="196"/>
                  </a:lnTo>
                  <a:lnTo>
                    <a:pt x="14" y="201"/>
                  </a:lnTo>
                  <a:lnTo>
                    <a:pt x="12" y="201"/>
                  </a:lnTo>
                  <a:lnTo>
                    <a:pt x="7" y="199"/>
                  </a:lnTo>
                  <a:lnTo>
                    <a:pt x="4" y="201"/>
                  </a:lnTo>
                  <a:lnTo>
                    <a:pt x="0" y="203"/>
                  </a:lnTo>
                  <a:lnTo>
                    <a:pt x="0" y="201"/>
                  </a:lnTo>
                  <a:lnTo>
                    <a:pt x="0" y="196"/>
                  </a:lnTo>
                  <a:lnTo>
                    <a:pt x="0" y="191"/>
                  </a:lnTo>
                  <a:lnTo>
                    <a:pt x="2" y="191"/>
                  </a:lnTo>
                  <a:lnTo>
                    <a:pt x="2" y="189"/>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6" name="Freeform 267">
              <a:extLst>
                <a:ext uri="{FF2B5EF4-FFF2-40B4-BE49-F238E27FC236}">
                  <a16:creationId xmlns:a16="http://schemas.microsoft.com/office/drawing/2014/main" id="{7916EFD4-6C28-48BD-8E51-4CE3B2640983}"/>
                </a:ext>
              </a:extLst>
            </p:cNvPr>
            <p:cNvSpPr>
              <a:spLocks/>
            </p:cNvSpPr>
            <p:nvPr/>
          </p:nvSpPr>
          <p:spPr bwMode="auto">
            <a:xfrm>
              <a:off x="1721691" y="2995579"/>
              <a:ext cx="187325" cy="112713"/>
            </a:xfrm>
            <a:custGeom>
              <a:avLst/>
              <a:gdLst>
                <a:gd name="T0" fmla="*/ 23 w 118"/>
                <a:gd name="T1" fmla="*/ 15 h 71"/>
                <a:gd name="T2" fmla="*/ 40 w 118"/>
                <a:gd name="T3" fmla="*/ 22 h 71"/>
                <a:gd name="T4" fmla="*/ 47 w 118"/>
                <a:gd name="T5" fmla="*/ 15 h 71"/>
                <a:gd name="T6" fmla="*/ 61 w 118"/>
                <a:gd name="T7" fmla="*/ 8 h 71"/>
                <a:gd name="T8" fmla="*/ 71 w 118"/>
                <a:gd name="T9" fmla="*/ 8 h 71"/>
                <a:gd name="T10" fmla="*/ 75 w 118"/>
                <a:gd name="T11" fmla="*/ 3 h 71"/>
                <a:gd name="T12" fmla="*/ 87 w 118"/>
                <a:gd name="T13" fmla="*/ 0 h 71"/>
                <a:gd name="T14" fmla="*/ 97 w 118"/>
                <a:gd name="T15" fmla="*/ 3 h 71"/>
                <a:gd name="T16" fmla="*/ 104 w 118"/>
                <a:gd name="T17" fmla="*/ 5 h 71"/>
                <a:gd name="T18" fmla="*/ 113 w 118"/>
                <a:gd name="T19" fmla="*/ 10 h 71"/>
                <a:gd name="T20" fmla="*/ 118 w 118"/>
                <a:gd name="T21" fmla="*/ 15 h 71"/>
                <a:gd name="T22" fmla="*/ 113 w 118"/>
                <a:gd name="T23" fmla="*/ 19 h 71"/>
                <a:gd name="T24" fmla="*/ 106 w 118"/>
                <a:gd name="T25" fmla="*/ 22 h 71"/>
                <a:gd name="T26" fmla="*/ 104 w 118"/>
                <a:gd name="T27" fmla="*/ 29 h 71"/>
                <a:gd name="T28" fmla="*/ 101 w 118"/>
                <a:gd name="T29" fmla="*/ 34 h 71"/>
                <a:gd name="T30" fmla="*/ 94 w 118"/>
                <a:gd name="T31" fmla="*/ 43 h 71"/>
                <a:gd name="T32" fmla="*/ 89 w 118"/>
                <a:gd name="T33" fmla="*/ 52 h 71"/>
                <a:gd name="T34" fmla="*/ 82 w 118"/>
                <a:gd name="T35" fmla="*/ 60 h 71"/>
                <a:gd name="T36" fmla="*/ 71 w 118"/>
                <a:gd name="T37" fmla="*/ 62 h 71"/>
                <a:gd name="T38" fmla="*/ 66 w 118"/>
                <a:gd name="T39" fmla="*/ 62 h 71"/>
                <a:gd name="T40" fmla="*/ 56 w 118"/>
                <a:gd name="T41" fmla="*/ 64 h 71"/>
                <a:gd name="T42" fmla="*/ 52 w 118"/>
                <a:gd name="T43" fmla="*/ 67 h 71"/>
                <a:gd name="T44" fmla="*/ 42 w 118"/>
                <a:gd name="T45" fmla="*/ 69 h 71"/>
                <a:gd name="T46" fmla="*/ 33 w 118"/>
                <a:gd name="T47" fmla="*/ 71 h 71"/>
                <a:gd name="T48" fmla="*/ 23 w 118"/>
                <a:gd name="T49" fmla="*/ 67 h 71"/>
                <a:gd name="T50" fmla="*/ 16 w 118"/>
                <a:gd name="T51" fmla="*/ 60 h 71"/>
                <a:gd name="T52" fmla="*/ 9 w 118"/>
                <a:gd name="T53" fmla="*/ 52 h 71"/>
                <a:gd name="T54" fmla="*/ 4 w 118"/>
                <a:gd name="T55" fmla="*/ 45 h 71"/>
                <a:gd name="T56" fmla="*/ 0 w 118"/>
                <a:gd name="T57" fmla="*/ 43 h 71"/>
                <a:gd name="T58" fmla="*/ 7 w 118"/>
                <a:gd name="T59" fmla="*/ 38 h 71"/>
                <a:gd name="T60" fmla="*/ 7 w 118"/>
                <a:gd name="T61" fmla="*/ 34 h 71"/>
                <a:gd name="T62" fmla="*/ 7 w 118"/>
                <a:gd name="T63" fmla="*/ 24 h 71"/>
                <a:gd name="T64" fmla="*/ 16 w 118"/>
                <a:gd name="T65" fmla="*/ 22 h 71"/>
                <a:gd name="T66" fmla="*/ 19 w 118"/>
                <a:gd name="T67"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71">
                  <a:moveTo>
                    <a:pt x="19" y="12"/>
                  </a:moveTo>
                  <a:lnTo>
                    <a:pt x="23" y="15"/>
                  </a:lnTo>
                  <a:lnTo>
                    <a:pt x="30" y="22"/>
                  </a:lnTo>
                  <a:lnTo>
                    <a:pt x="40" y="22"/>
                  </a:lnTo>
                  <a:lnTo>
                    <a:pt x="42" y="19"/>
                  </a:lnTo>
                  <a:lnTo>
                    <a:pt x="47" y="15"/>
                  </a:lnTo>
                  <a:lnTo>
                    <a:pt x="56" y="12"/>
                  </a:lnTo>
                  <a:lnTo>
                    <a:pt x="61" y="8"/>
                  </a:lnTo>
                  <a:lnTo>
                    <a:pt x="68" y="10"/>
                  </a:lnTo>
                  <a:lnTo>
                    <a:pt x="71" y="8"/>
                  </a:lnTo>
                  <a:lnTo>
                    <a:pt x="75" y="8"/>
                  </a:lnTo>
                  <a:lnTo>
                    <a:pt x="75" y="3"/>
                  </a:lnTo>
                  <a:lnTo>
                    <a:pt x="82" y="0"/>
                  </a:lnTo>
                  <a:lnTo>
                    <a:pt x="87" y="0"/>
                  </a:lnTo>
                  <a:lnTo>
                    <a:pt x="89" y="0"/>
                  </a:lnTo>
                  <a:lnTo>
                    <a:pt x="97" y="3"/>
                  </a:lnTo>
                  <a:lnTo>
                    <a:pt x="101" y="5"/>
                  </a:lnTo>
                  <a:lnTo>
                    <a:pt x="104" y="5"/>
                  </a:lnTo>
                  <a:lnTo>
                    <a:pt x="108" y="8"/>
                  </a:lnTo>
                  <a:lnTo>
                    <a:pt x="113" y="10"/>
                  </a:lnTo>
                  <a:lnTo>
                    <a:pt x="115" y="12"/>
                  </a:lnTo>
                  <a:lnTo>
                    <a:pt x="118" y="15"/>
                  </a:lnTo>
                  <a:lnTo>
                    <a:pt x="115" y="17"/>
                  </a:lnTo>
                  <a:lnTo>
                    <a:pt x="113" y="19"/>
                  </a:lnTo>
                  <a:lnTo>
                    <a:pt x="111" y="19"/>
                  </a:lnTo>
                  <a:lnTo>
                    <a:pt x="106" y="22"/>
                  </a:lnTo>
                  <a:lnTo>
                    <a:pt x="104" y="26"/>
                  </a:lnTo>
                  <a:lnTo>
                    <a:pt x="104" y="29"/>
                  </a:lnTo>
                  <a:lnTo>
                    <a:pt x="101" y="31"/>
                  </a:lnTo>
                  <a:lnTo>
                    <a:pt x="101" y="34"/>
                  </a:lnTo>
                  <a:lnTo>
                    <a:pt x="97" y="38"/>
                  </a:lnTo>
                  <a:lnTo>
                    <a:pt x="94" y="43"/>
                  </a:lnTo>
                  <a:lnTo>
                    <a:pt x="92" y="48"/>
                  </a:lnTo>
                  <a:lnTo>
                    <a:pt x="89" y="52"/>
                  </a:lnTo>
                  <a:lnTo>
                    <a:pt x="87" y="57"/>
                  </a:lnTo>
                  <a:lnTo>
                    <a:pt x="82" y="60"/>
                  </a:lnTo>
                  <a:lnTo>
                    <a:pt x="73" y="62"/>
                  </a:lnTo>
                  <a:lnTo>
                    <a:pt x="71" y="62"/>
                  </a:lnTo>
                  <a:lnTo>
                    <a:pt x="71" y="60"/>
                  </a:lnTo>
                  <a:lnTo>
                    <a:pt x="66" y="62"/>
                  </a:lnTo>
                  <a:lnTo>
                    <a:pt x="63" y="62"/>
                  </a:lnTo>
                  <a:lnTo>
                    <a:pt x="56" y="64"/>
                  </a:lnTo>
                  <a:lnTo>
                    <a:pt x="52" y="64"/>
                  </a:lnTo>
                  <a:lnTo>
                    <a:pt x="52" y="67"/>
                  </a:lnTo>
                  <a:lnTo>
                    <a:pt x="47" y="67"/>
                  </a:lnTo>
                  <a:lnTo>
                    <a:pt x="42" y="69"/>
                  </a:lnTo>
                  <a:lnTo>
                    <a:pt x="37" y="71"/>
                  </a:lnTo>
                  <a:lnTo>
                    <a:pt x="33" y="71"/>
                  </a:lnTo>
                  <a:lnTo>
                    <a:pt x="28" y="69"/>
                  </a:lnTo>
                  <a:lnTo>
                    <a:pt x="23" y="67"/>
                  </a:lnTo>
                  <a:lnTo>
                    <a:pt x="21" y="62"/>
                  </a:lnTo>
                  <a:lnTo>
                    <a:pt x="16" y="60"/>
                  </a:lnTo>
                  <a:lnTo>
                    <a:pt x="14" y="55"/>
                  </a:lnTo>
                  <a:lnTo>
                    <a:pt x="9" y="52"/>
                  </a:lnTo>
                  <a:lnTo>
                    <a:pt x="7" y="50"/>
                  </a:lnTo>
                  <a:lnTo>
                    <a:pt x="4" y="45"/>
                  </a:lnTo>
                  <a:lnTo>
                    <a:pt x="2" y="43"/>
                  </a:lnTo>
                  <a:lnTo>
                    <a:pt x="0" y="43"/>
                  </a:lnTo>
                  <a:lnTo>
                    <a:pt x="2" y="41"/>
                  </a:lnTo>
                  <a:lnTo>
                    <a:pt x="7" y="38"/>
                  </a:lnTo>
                  <a:lnTo>
                    <a:pt x="7" y="36"/>
                  </a:lnTo>
                  <a:lnTo>
                    <a:pt x="7" y="34"/>
                  </a:lnTo>
                  <a:lnTo>
                    <a:pt x="9" y="26"/>
                  </a:lnTo>
                  <a:lnTo>
                    <a:pt x="7" y="24"/>
                  </a:lnTo>
                  <a:lnTo>
                    <a:pt x="9" y="22"/>
                  </a:lnTo>
                  <a:lnTo>
                    <a:pt x="16" y="22"/>
                  </a:lnTo>
                  <a:lnTo>
                    <a:pt x="19" y="19"/>
                  </a:lnTo>
                  <a:lnTo>
                    <a:pt x="19"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7" name="Freeform 268">
              <a:extLst>
                <a:ext uri="{FF2B5EF4-FFF2-40B4-BE49-F238E27FC236}">
                  <a16:creationId xmlns:a16="http://schemas.microsoft.com/office/drawing/2014/main" id="{0F159692-94E4-4747-96F1-E52773C3D9B1}"/>
                </a:ext>
              </a:extLst>
            </p:cNvPr>
            <p:cNvSpPr>
              <a:spLocks/>
            </p:cNvSpPr>
            <p:nvPr/>
          </p:nvSpPr>
          <p:spPr bwMode="auto">
            <a:xfrm>
              <a:off x="1721691" y="2995579"/>
              <a:ext cx="187325" cy="112713"/>
            </a:xfrm>
            <a:custGeom>
              <a:avLst/>
              <a:gdLst>
                <a:gd name="T0" fmla="*/ 23 w 118"/>
                <a:gd name="T1" fmla="*/ 15 h 71"/>
                <a:gd name="T2" fmla="*/ 40 w 118"/>
                <a:gd name="T3" fmla="*/ 22 h 71"/>
                <a:gd name="T4" fmla="*/ 47 w 118"/>
                <a:gd name="T5" fmla="*/ 15 h 71"/>
                <a:gd name="T6" fmla="*/ 61 w 118"/>
                <a:gd name="T7" fmla="*/ 8 h 71"/>
                <a:gd name="T8" fmla="*/ 71 w 118"/>
                <a:gd name="T9" fmla="*/ 8 h 71"/>
                <a:gd name="T10" fmla="*/ 75 w 118"/>
                <a:gd name="T11" fmla="*/ 3 h 71"/>
                <a:gd name="T12" fmla="*/ 87 w 118"/>
                <a:gd name="T13" fmla="*/ 0 h 71"/>
                <a:gd name="T14" fmla="*/ 97 w 118"/>
                <a:gd name="T15" fmla="*/ 3 h 71"/>
                <a:gd name="T16" fmla="*/ 104 w 118"/>
                <a:gd name="T17" fmla="*/ 5 h 71"/>
                <a:gd name="T18" fmla="*/ 113 w 118"/>
                <a:gd name="T19" fmla="*/ 10 h 71"/>
                <a:gd name="T20" fmla="*/ 118 w 118"/>
                <a:gd name="T21" fmla="*/ 15 h 71"/>
                <a:gd name="T22" fmla="*/ 113 w 118"/>
                <a:gd name="T23" fmla="*/ 19 h 71"/>
                <a:gd name="T24" fmla="*/ 106 w 118"/>
                <a:gd name="T25" fmla="*/ 22 h 71"/>
                <a:gd name="T26" fmla="*/ 104 w 118"/>
                <a:gd name="T27" fmla="*/ 29 h 71"/>
                <a:gd name="T28" fmla="*/ 101 w 118"/>
                <a:gd name="T29" fmla="*/ 34 h 71"/>
                <a:gd name="T30" fmla="*/ 94 w 118"/>
                <a:gd name="T31" fmla="*/ 43 h 71"/>
                <a:gd name="T32" fmla="*/ 89 w 118"/>
                <a:gd name="T33" fmla="*/ 52 h 71"/>
                <a:gd name="T34" fmla="*/ 82 w 118"/>
                <a:gd name="T35" fmla="*/ 60 h 71"/>
                <a:gd name="T36" fmla="*/ 71 w 118"/>
                <a:gd name="T37" fmla="*/ 62 h 71"/>
                <a:gd name="T38" fmla="*/ 66 w 118"/>
                <a:gd name="T39" fmla="*/ 62 h 71"/>
                <a:gd name="T40" fmla="*/ 56 w 118"/>
                <a:gd name="T41" fmla="*/ 64 h 71"/>
                <a:gd name="T42" fmla="*/ 52 w 118"/>
                <a:gd name="T43" fmla="*/ 67 h 71"/>
                <a:gd name="T44" fmla="*/ 42 w 118"/>
                <a:gd name="T45" fmla="*/ 69 h 71"/>
                <a:gd name="T46" fmla="*/ 33 w 118"/>
                <a:gd name="T47" fmla="*/ 71 h 71"/>
                <a:gd name="T48" fmla="*/ 23 w 118"/>
                <a:gd name="T49" fmla="*/ 67 h 71"/>
                <a:gd name="T50" fmla="*/ 16 w 118"/>
                <a:gd name="T51" fmla="*/ 60 h 71"/>
                <a:gd name="T52" fmla="*/ 9 w 118"/>
                <a:gd name="T53" fmla="*/ 52 h 71"/>
                <a:gd name="T54" fmla="*/ 4 w 118"/>
                <a:gd name="T55" fmla="*/ 45 h 71"/>
                <a:gd name="T56" fmla="*/ 0 w 118"/>
                <a:gd name="T57" fmla="*/ 43 h 71"/>
                <a:gd name="T58" fmla="*/ 7 w 118"/>
                <a:gd name="T59" fmla="*/ 38 h 71"/>
                <a:gd name="T60" fmla="*/ 7 w 118"/>
                <a:gd name="T61" fmla="*/ 34 h 71"/>
                <a:gd name="T62" fmla="*/ 7 w 118"/>
                <a:gd name="T63" fmla="*/ 24 h 71"/>
                <a:gd name="T64" fmla="*/ 16 w 118"/>
                <a:gd name="T65" fmla="*/ 22 h 71"/>
                <a:gd name="T66" fmla="*/ 19 w 118"/>
                <a:gd name="T67"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71">
                  <a:moveTo>
                    <a:pt x="19" y="12"/>
                  </a:moveTo>
                  <a:lnTo>
                    <a:pt x="23" y="15"/>
                  </a:lnTo>
                  <a:lnTo>
                    <a:pt x="30" y="22"/>
                  </a:lnTo>
                  <a:lnTo>
                    <a:pt x="40" y="22"/>
                  </a:lnTo>
                  <a:lnTo>
                    <a:pt x="42" y="19"/>
                  </a:lnTo>
                  <a:lnTo>
                    <a:pt x="47" y="15"/>
                  </a:lnTo>
                  <a:lnTo>
                    <a:pt x="56" y="12"/>
                  </a:lnTo>
                  <a:lnTo>
                    <a:pt x="61" y="8"/>
                  </a:lnTo>
                  <a:lnTo>
                    <a:pt x="68" y="10"/>
                  </a:lnTo>
                  <a:lnTo>
                    <a:pt x="71" y="8"/>
                  </a:lnTo>
                  <a:lnTo>
                    <a:pt x="75" y="8"/>
                  </a:lnTo>
                  <a:lnTo>
                    <a:pt x="75" y="3"/>
                  </a:lnTo>
                  <a:lnTo>
                    <a:pt x="82" y="0"/>
                  </a:lnTo>
                  <a:lnTo>
                    <a:pt x="87" y="0"/>
                  </a:lnTo>
                  <a:lnTo>
                    <a:pt x="89" y="0"/>
                  </a:lnTo>
                  <a:lnTo>
                    <a:pt x="97" y="3"/>
                  </a:lnTo>
                  <a:lnTo>
                    <a:pt x="101" y="5"/>
                  </a:lnTo>
                  <a:lnTo>
                    <a:pt x="104" y="5"/>
                  </a:lnTo>
                  <a:lnTo>
                    <a:pt x="108" y="8"/>
                  </a:lnTo>
                  <a:lnTo>
                    <a:pt x="113" y="10"/>
                  </a:lnTo>
                  <a:lnTo>
                    <a:pt x="115" y="12"/>
                  </a:lnTo>
                  <a:lnTo>
                    <a:pt x="118" y="15"/>
                  </a:lnTo>
                  <a:lnTo>
                    <a:pt x="115" y="17"/>
                  </a:lnTo>
                  <a:lnTo>
                    <a:pt x="113" y="19"/>
                  </a:lnTo>
                  <a:lnTo>
                    <a:pt x="111" y="19"/>
                  </a:lnTo>
                  <a:lnTo>
                    <a:pt x="106" y="22"/>
                  </a:lnTo>
                  <a:lnTo>
                    <a:pt x="104" y="26"/>
                  </a:lnTo>
                  <a:lnTo>
                    <a:pt x="104" y="29"/>
                  </a:lnTo>
                  <a:lnTo>
                    <a:pt x="101" y="31"/>
                  </a:lnTo>
                  <a:lnTo>
                    <a:pt x="101" y="34"/>
                  </a:lnTo>
                  <a:lnTo>
                    <a:pt x="97" y="38"/>
                  </a:lnTo>
                  <a:lnTo>
                    <a:pt x="94" y="43"/>
                  </a:lnTo>
                  <a:lnTo>
                    <a:pt x="92" y="48"/>
                  </a:lnTo>
                  <a:lnTo>
                    <a:pt x="89" y="52"/>
                  </a:lnTo>
                  <a:lnTo>
                    <a:pt x="87" y="57"/>
                  </a:lnTo>
                  <a:lnTo>
                    <a:pt x="82" y="60"/>
                  </a:lnTo>
                  <a:lnTo>
                    <a:pt x="73" y="62"/>
                  </a:lnTo>
                  <a:lnTo>
                    <a:pt x="71" y="62"/>
                  </a:lnTo>
                  <a:lnTo>
                    <a:pt x="71" y="60"/>
                  </a:lnTo>
                  <a:lnTo>
                    <a:pt x="66" y="62"/>
                  </a:lnTo>
                  <a:lnTo>
                    <a:pt x="63" y="62"/>
                  </a:lnTo>
                  <a:lnTo>
                    <a:pt x="56" y="64"/>
                  </a:lnTo>
                  <a:lnTo>
                    <a:pt x="52" y="64"/>
                  </a:lnTo>
                  <a:lnTo>
                    <a:pt x="52" y="67"/>
                  </a:lnTo>
                  <a:lnTo>
                    <a:pt x="47" y="67"/>
                  </a:lnTo>
                  <a:lnTo>
                    <a:pt x="42" y="69"/>
                  </a:lnTo>
                  <a:lnTo>
                    <a:pt x="37" y="71"/>
                  </a:lnTo>
                  <a:lnTo>
                    <a:pt x="33" y="71"/>
                  </a:lnTo>
                  <a:lnTo>
                    <a:pt x="28" y="69"/>
                  </a:lnTo>
                  <a:lnTo>
                    <a:pt x="23" y="67"/>
                  </a:lnTo>
                  <a:lnTo>
                    <a:pt x="21" y="62"/>
                  </a:lnTo>
                  <a:lnTo>
                    <a:pt x="16" y="60"/>
                  </a:lnTo>
                  <a:lnTo>
                    <a:pt x="14" y="55"/>
                  </a:lnTo>
                  <a:lnTo>
                    <a:pt x="9" y="52"/>
                  </a:lnTo>
                  <a:lnTo>
                    <a:pt x="7" y="50"/>
                  </a:lnTo>
                  <a:lnTo>
                    <a:pt x="4" y="45"/>
                  </a:lnTo>
                  <a:lnTo>
                    <a:pt x="2" y="43"/>
                  </a:lnTo>
                  <a:lnTo>
                    <a:pt x="0" y="43"/>
                  </a:lnTo>
                  <a:lnTo>
                    <a:pt x="2" y="41"/>
                  </a:lnTo>
                  <a:lnTo>
                    <a:pt x="7" y="38"/>
                  </a:lnTo>
                  <a:lnTo>
                    <a:pt x="7" y="36"/>
                  </a:lnTo>
                  <a:lnTo>
                    <a:pt x="7" y="34"/>
                  </a:lnTo>
                  <a:lnTo>
                    <a:pt x="9" y="26"/>
                  </a:lnTo>
                  <a:lnTo>
                    <a:pt x="7" y="24"/>
                  </a:lnTo>
                  <a:lnTo>
                    <a:pt x="9" y="22"/>
                  </a:lnTo>
                  <a:lnTo>
                    <a:pt x="16" y="22"/>
                  </a:lnTo>
                  <a:lnTo>
                    <a:pt x="19" y="19"/>
                  </a:lnTo>
                  <a:lnTo>
                    <a:pt x="19" y="1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8" name="Freeform 269">
              <a:extLst>
                <a:ext uri="{FF2B5EF4-FFF2-40B4-BE49-F238E27FC236}">
                  <a16:creationId xmlns:a16="http://schemas.microsoft.com/office/drawing/2014/main" id="{F670B0EC-A58F-4D67-9367-1435A91DFE3A}"/>
                </a:ext>
              </a:extLst>
            </p:cNvPr>
            <p:cNvSpPr>
              <a:spLocks/>
            </p:cNvSpPr>
            <p:nvPr/>
          </p:nvSpPr>
          <p:spPr bwMode="auto">
            <a:xfrm>
              <a:off x="599330" y="2214358"/>
              <a:ext cx="304800" cy="206375"/>
            </a:xfrm>
            <a:custGeom>
              <a:avLst/>
              <a:gdLst>
                <a:gd name="T0" fmla="*/ 69 w 192"/>
                <a:gd name="T1" fmla="*/ 118 h 130"/>
                <a:gd name="T2" fmla="*/ 45 w 192"/>
                <a:gd name="T3" fmla="*/ 111 h 130"/>
                <a:gd name="T4" fmla="*/ 31 w 192"/>
                <a:gd name="T5" fmla="*/ 106 h 130"/>
                <a:gd name="T6" fmla="*/ 48 w 192"/>
                <a:gd name="T7" fmla="*/ 97 h 130"/>
                <a:gd name="T8" fmla="*/ 45 w 192"/>
                <a:gd name="T9" fmla="*/ 85 h 130"/>
                <a:gd name="T10" fmla="*/ 38 w 192"/>
                <a:gd name="T11" fmla="*/ 83 h 130"/>
                <a:gd name="T12" fmla="*/ 33 w 192"/>
                <a:gd name="T13" fmla="*/ 71 h 130"/>
                <a:gd name="T14" fmla="*/ 17 w 192"/>
                <a:gd name="T15" fmla="*/ 73 h 130"/>
                <a:gd name="T16" fmla="*/ 15 w 192"/>
                <a:gd name="T17" fmla="*/ 68 h 130"/>
                <a:gd name="T18" fmla="*/ 31 w 192"/>
                <a:gd name="T19" fmla="*/ 64 h 130"/>
                <a:gd name="T20" fmla="*/ 45 w 192"/>
                <a:gd name="T21" fmla="*/ 57 h 130"/>
                <a:gd name="T22" fmla="*/ 36 w 192"/>
                <a:gd name="T23" fmla="*/ 52 h 130"/>
                <a:gd name="T24" fmla="*/ 43 w 192"/>
                <a:gd name="T25" fmla="*/ 42 h 130"/>
                <a:gd name="T26" fmla="*/ 38 w 192"/>
                <a:gd name="T27" fmla="*/ 42 h 130"/>
                <a:gd name="T28" fmla="*/ 22 w 192"/>
                <a:gd name="T29" fmla="*/ 45 h 130"/>
                <a:gd name="T30" fmla="*/ 0 w 192"/>
                <a:gd name="T31" fmla="*/ 45 h 130"/>
                <a:gd name="T32" fmla="*/ 12 w 192"/>
                <a:gd name="T33" fmla="*/ 40 h 130"/>
                <a:gd name="T34" fmla="*/ 5 w 192"/>
                <a:gd name="T35" fmla="*/ 31 h 130"/>
                <a:gd name="T36" fmla="*/ 22 w 192"/>
                <a:gd name="T37" fmla="*/ 33 h 130"/>
                <a:gd name="T38" fmla="*/ 17 w 192"/>
                <a:gd name="T39" fmla="*/ 28 h 130"/>
                <a:gd name="T40" fmla="*/ 17 w 192"/>
                <a:gd name="T41" fmla="*/ 21 h 130"/>
                <a:gd name="T42" fmla="*/ 24 w 192"/>
                <a:gd name="T43" fmla="*/ 19 h 130"/>
                <a:gd name="T44" fmla="*/ 31 w 192"/>
                <a:gd name="T45" fmla="*/ 26 h 130"/>
                <a:gd name="T46" fmla="*/ 36 w 192"/>
                <a:gd name="T47" fmla="*/ 21 h 130"/>
                <a:gd name="T48" fmla="*/ 31 w 192"/>
                <a:gd name="T49" fmla="*/ 12 h 130"/>
                <a:gd name="T50" fmla="*/ 29 w 192"/>
                <a:gd name="T51" fmla="*/ 7 h 130"/>
                <a:gd name="T52" fmla="*/ 24 w 192"/>
                <a:gd name="T53" fmla="*/ 2 h 130"/>
                <a:gd name="T54" fmla="*/ 33 w 192"/>
                <a:gd name="T55" fmla="*/ 5 h 130"/>
                <a:gd name="T56" fmla="*/ 48 w 192"/>
                <a:gd name="T57" fmla="*/ 19 h 130"/>
                <a:gd name="T58" fmla="*/ 55 w 192"/>
                <a:gd name="T59" fmla="*/ 31 h 130"/>
                <a:gd name="T60" fmla="*/ 50 w 192"/>
                <a:gd name="T61" fmla="*/ 38 h 130"/>
                <a:gd name="T62" fmla="*/ 55 w 192"/>
                <a:gd name="T63" fmla="*/ 47 h 130"/>
                <a:gd name="T64" fmla="*/ 59 w 192"/>
                <a:gd name="T65" fmla="*/ 47 h 130"/>
                <a:gd name="T66" fmla="*/ 69 w 192"/>
                <a:gd name="T67" fmla="*/ 40 h 130"/>
                <a:gd name="T68" fmla="*/ 71 w 192"/>
                <a:gd name="T69" fmla="*/ 24 h 130"/>
                <a:gd name="T70" fmla="*/ 83 w 192"/>
                <a:gd name="T71" fmla="*/ 31 h 130"/>
                <a:gd name="T72" fmla="*/ 90 w 192"/>
                <a:gd name="T73" fmla="*/ 24 h 130"/>
                <a:gd name="T74" fmla="*/ 100 w 192"/>
                <a:gd name="T75" fmla="*/ 14 h 130"/>
                <a:gd name="T76" fmla="*/ 104 w 192"/>
                <a:gd name="T77" fmla="*/ 24 h 130"/>
                <a:gd name="T78" fmla="*/ 111 w 192"/>
                <a:gd name="T79" fmla="*/ 33 h 130"/>
                <a:gd name="T80" fmla="*/ 109 w 192"/>
                <a:gd name="T81" fmla="*/ 14 h 130"/>
                <a:gd name="T82" fmla="*/ 123 w 192"/>
                <a:gd name="T83" fmla="*/ 21 h 130"/>
                <a:gd name="T84" fmla="*/ 135 w 192"/>
                <a:gd name="T85" fmla="*/ 19 h 130"/>
                <a:gd name="T86" fmla="*/ 137 w 192"/>
                <a:gd name="T87" fmla="*/ 2 h 130"/>
                <a:gd name="T88" fmla="*/ 152 w 192"/>
                <a:gd name="T89" fmla="*/ 7 h 130"/>
                <a:gd name="T90" fmla="*/ 159 w 192"/>
                <a:gd name="T91" fmla="*/ 14 h 130"/>
                <a:gd name="T92" fmla="*/ 173 w 192"/>
                <a:gd name="T93" fmla="*/ 7 h 130"/>
                <a:gd name="T94" fmla="*/ 166 w 192"/>
                <a:gd name="T95" fmla="*/ 24 h 130"/>
                <a:gd name="T96" fmla="*/ 178 w 192"/>
                <a:gd name="T97" fmla="*/ 33 h 130"/>
                <a:gd name="T98" fmla="*/ 185 w 192"/>
                <a:gd name="T99" fmla="*/ 38 h 130"/>
                <a:gd name="T100" fmla="*/ 189 w 192"/>
                <a:gd name="T101" fmla="*/ 57 h 130"/>
                <a:gd name="T102" fmla="*/ 187 w 192"/>
                <a:gd name="T103" fmla="*/ 68 h 130"/>
                <a:gd name="T104" fmla="*/ 175 w 192"/>
                <a:gd name="T105" fmla="*/ 78 h 130"/>
                <a:gd name="T106" fmla="*/ 175 w 192"/>
                <a:gd name="T107" fmla="*/ 85 h 130"/>
                <a:gd name="T108" fmla="*/ 163 w 192"/>
                <a:gd name="T109" fmla="*/ 90 h 130"/>
                <a:gd name="T110" fmla="*/ 152 w 192"/>
                <a:gd name="T111" fmla="*/ 99 h 130"/>
                <a:gd name="T112" fmla="*/ 130 w 192"/>
                <a:gd name="T113" fmla="*/ 111 h 130"/>
                <a:gd name="T114" fmla="*/ 121 w 192"/>
                <a:gd name="T115" fmla="*/ 116 h 130"/>
                <a:gd name="T116" fmla="*/ 95 w 192"/>
                <a:gd name="T1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30">
                  <a:moveTo>
                    <a:pt x="78" y="123"/>
                  </a:moveTo>
                  <a:lnTo>
                    <a:pt x="78" y="125"/>
                  </a:lnTo>
                  <a:lnTo>
                    <a:pt x="76" y="123"/>
                  </a:lnTo>
                  <a:lnTo>
                    <a:pt x="74" y="120"/>
                  </a:lnTo>
                  <a:lnTo>
                    <a:pt x="69" y="118"/>
                  </a:lnTo>
                  <a:lnTo>
                    <a:pt x="64" y="113"/>
                  </a:lnTo>
                  <a:lnTo>
                    <a:pt x="57" y="111"/>
                  </a:lnTo>
                  <a:lnTo>
                    <a:pt x="52" y="113"/>
                  </a:lnTo>
                  <a:lnTo>
                    <a:pt x="48" y="111"/>
                  </a:lnTo>
                  <a:lnTo>
                    <a:pt x="45" y="111"/>
                  </a:lnTo>
                  <a:lnTo>
                    <a:pt x="43" y="111"/>
                  </a:lnTo>
                  <a:lnTo>
                    <a:pt x="36" y="111"/>
                  </a:lnTo>
                  <a:lnTo>
                    <a:pt x="33" y="113"/>
                  </a:lnTo>
                  <a:lnTo>
                    <a:pt x="31" y="113"/>
                  </a:lnTo>
                  <a:lnTo>
                    <a:pt x="31" y="106"/>
                  </a:lnTo>
                  <a:lnTo>
                    <a:pt x="31" y="104"/>
                  </a:lnTo>
                  <a:lnTo>
                    <a:pt x="36" y="106"/>
                  </a:lnTo>
                  <a:lnTo>
                    <a:pt x="38" y="104"/>
                  </a:lnTo>
                  <a:lnTo>
                    <a:pt x="43" y="101"/>
                  </a:lnTo>
                  <a:lnTo>
                    <a:pt x="48" y="97"/>
                  </a:lnTo>
                  <a:lnTo>
                    <a:pt x="48" y="92"/>
                  </a:lnTo>
                  <a:lnTo>
                    <a:pt x="40" y="92"/>
                  </a:lnTo>
                  <a:lnTo>
                    <a:pt x="43" y="90"/>
                  </a:lnTo>
                  <a:lnTo>
                    <a:pt x="45" y="87"/>
                  </a:lnTo>
                  <a:lnTo>
                    <a:pt x="45" y="85"/>
                  </a:lnTo>
                  <a:lnTo>
                    <a:pt x="48" y="83"/>
                  </a:lnTo>
                  <a:lnTo>
                    <a:pt x="43" y="83"/>
                  </a:lnTo>
                  <a:lnTo>
                    <a:pt x="40" y="85"/>
                  </a:lnTo>
                  <a:lnTo>
                    <a:pt x="40" y="85"/>
                  </a:lnTo>
                  <a:lnTo>
                    <a:pt x="38" y="83"/>
                  </a:lnTo>
                  <a:lnTo>
                    <a:pt x="38" y="83"/>
                  </a:lnTo>
                  <a:lnTo>
                    <a:pt x="38" y="80"/>
                  </a:lnTo>
                  <a:lnTo>
                    <a:pt x="38" y="78"/>
                  </a:lnTo>
                  <a:lnTo>
                    <a:pt x="36" y="73"/>
                  </a:lnTo>
                  <a:lnTo>
                    <a:pt x="33" y="71"/>
                  </a:lnTo>
                  <a:lnTo>
                    <a:pt x="29" y="73"/>
                  </a:lnTo>
                  <a:lnTo>
                    <a:pt x="29" y="73"/>
                  </a:lnTo>
                  <a:lnTo>
                    <a:pt x="24" y="71"/>
                  </a:lnTo>
                  <a:lnTo>
                    <a:pt x="22" y="71"/>
                  </a:lnTo>
                  <a:lnTo>
                    <a:pt x="17" y="73"/>
                  </a:lnTo>
                  <a:lnTo>
                    <a:pt x="15" y="75"/>
                  </a:lnTo>
                  <a:lnTo>
                    <a:pt x="12" y="75"/>
                  </a:lnTo>
                  <a:lnTo>
                    <a:pt x="10" y="73"/>
                  </a:lnTo>
                  <a:lnTo>
                    <a:pt x="10" y="71"/>
                  </a:lnTo>
                  <a:lnTo>
                    <a:pt x="15" y="68"/>
                  </a:lnTo>
                  <a:lnTo>
                    <a:pt x="19" y="68"/>
                  </a:lnTo>
                  <a:lnTo>
                    <a:pt x="22" y="66"/>
                  </a:lnTo>
                  <a:lnTo>
                    <a:pt x="26" y="66"/>
                  </a:lnTo>
                  <a:lnTo>
                    <a:pt x="29" y="64"/>
                  </a:lnTo>
                  <a:lnTo>
                    <a:pt x="31" y="64"/>
                  </a:lnTo>
                  <a:lnTo>
                    <a:pt x="33" y="61"/>
                  </a:lnTo>
                  <a:lnTo>
                    <a:pt x="38" y="64"/>
                  </a:lnTo>
                  <a:lnTo>
                    <a:pt x="45" y="64"/>
                  </a:lnTo>
                  <a:lnTo>
                    <a:pt x="48" y="57"/>
                  </a:lnTo>
                  <a:lnTo>
                    <a:pt x="45" y="57"/>
                  </a:lnTo>
                  <a:lnTo>
                    <a:pt x="43" y="61"/>
                  </a:lnTo>
                  <a:lnTo>
                    <a:pt x="40" y="59"/>
                  </a:lnTo>
                  <a:lnTo>
                    <a:pt x="33" y="59"/>
                  </a:lnTo>
                  <a:lnTo>
                    <a:pt x="33" y="57"/>
                  </a:lnTo>
                  <a:lnTo>
                    <a:pt x="36" y="52"/>
                  </a:lnTo>
                  <a:lnTo>
                    <a:pt x="38" y="52"/>
                  </a:lnTo>
                  <a:lnTo>
                    <a:pt x="40" y="49"/>
                  </a:lnTo>
                  <a:lnTo>
                    <a:pt x="45" y="47"/>
                  </a:lnTo>
                  <a:lnTo>
                    <a:pt x="45" y="45"/>
                  </a:lnTo>
                  <a:lnTo>
                    <a:pt x="43" y="42"/>
                  </a:lnTo>
                  <a:lnTo>
                    <a:pt x="40" y="45"/>
                  </a:lnTo>
                  <a:lnTo>
                    <a:pt x="38" y="45"/>
                  </a:lnTo>
                  <a:lnTo>
                    <a:pt x="38" y="42"/>
                  </a:lnTo>
                  <a:lnTo>
                    <a:pt x="38" y="42"/>
                  </a:lnTo>
                  <a:lnTo>
                    <a:pt x="38" y="42"/>
                  </a:lnTo>
                  <a:lnTo>
                    <a:pt x="36" y="40"/>
                  </a:lnTo>
                  <a:lnTo>
                    <a:pt x="36" y="40"/>
                  </a:lnTo>
                  <a:lnTo>
                    <a:pt x="29" y="40"/>
                  </a:lnTo>
                  <a:lnTo>
                    <a:pt x="26" y="40"/>
                  </a:lnTo>
                  <a:lnTo>
                    <a:pt x="22" y="45"/>
                  </a:lnTo>
                  <a:lnTo>
                    <a:pt x="19" y="45"/>
                  </a:lnTo>
                  <a:lnTo>
                    <a:pt x="15" y="47"/>
                  </a:lnTo>
                  <a:lnTo>
                    <a:pt x="12" y="47"/>
                  </a:lnTo>
                  <a:lnTo>
                    <a:pt x="7" y="42"/>
                  </a:lnTo>
                  <a:lnTo>
                    <a:pt x="0" y="45"/>
                  </a:lnTo>
                  <a:lnTo>
                    <a:pt x="0" y="42"/>
                  </a:lnTo>
                  <a:lnTo>
                    <a:pt x="3" y="38"/>
                  </a:lnTo>
                  <a:lnTo>
                    <a:pt x="3" y="40"/>
                  </a:lnTo>
                  <a:lnTo>
                    <a:pt x="10" y="42"/>
                  </a:lnTo>
                  <a:lnTo>
                    <a:pt x="12" y="40"/>
                  </a:lnTo>
                  <a:lnTo>
                    <a:pt x="10" y="40"/>
                  </a:lnTo>
                  <a:lnTo>
                    <a:pt x="10" y="40"/>
                  </a:lnTo>
                  <a:lnTo>
                    <a:pt x="10" y="38"/>
                  </a:lnTo>
                  <a:lnTo>
                    <a:pt x="7" y="35"/>
                  </a:lnTo>
                  <a:lnTo>
                    <a:pt x="5" y="31"/>
                  </a:lnTo>
                  <a:lnTo>
                    <a:pt x="12" y="35"/>
                  </a:lnTo>
                  <a:lnTo>
                    <a:pt x="17" y="38"/>
                  </a:lnTo>
                  <a:lnTo>
                    <a:pt x="22" y="38"/>
                  </a:lnTo>
                  <a:lnTo>
                    <a:pt x="19" y="35"/>
                  </a:lnTo>
                  <a:lnTo>
                    <a:pt x="22" y="33"/>
                  </a:lnTo>
                  <a:lnTo>
                    <a:pt x="22" y="31"/>
                  </a:lnTo>
                  <a:lnTo>
                    <a:pt x="15" y="33"/>
                  </a:lnTo>
                  <a:lnTo>
                    <a:pt x="12" y="28"/>
                  </a:lnTo>
                  <a:lnTo>
                    <a:pt x="12" y="28"/>
                  </a:lnTo>
                  <a:lnTo>
                    <a:pt x="17" y="28"/>
                  </a:lnTo>
                  <a:lnTo>
                    <a:pt x="12" y="24"/>
                  </a:lnTo>
                  <a:lnTo>
                    <a:pt x="12" y="21"/>
                  </a:lnTo>
                  <a:lnTo>
                    <a:pt x="12" y="21"/>
                  </a:lnTo>
                  <a:lnTo>
                    <a:pt x="15" y="24"/>
                  </a:lnTo>
                  <a:lnTo>
                    <a:pt x="17" y="21"/>
                  </a:lnTo>
                  <a:lnTo>
                    <a:pt x="15" y="19"/>
                  </a:lnTo>
                  <a:lnTo>
                    <a:pt x="17" y="19"/>
                  </a:lnTo>
                  <a:lnTo>
                    <a:pt x="15" y="16"/>
                  </a:lnTo>
                  <a:lnTo>
                    <a:pt x="17" y="14"/>
                  </a:lnTo>
                  <a:lnTo>
                    <a:pt x="24" y="19"/>
                  </a:lnTo>
                  <a:lnTo>
                    <a:pt x="24" y="24"/>
                  </a:lnTo>
                  <a:lnTo>
                    <a:pt x="24" y="24"/>
                  </a:lnTo>
                  <a:lnTo>
                    <a:pt x="26" y="24"/>
                  </a:lnTo>
                  <a:lnTo>
                    <a:pt x="29" y="21"/>
                  </a:lnTo>
                  <a:lnTo>
                    <a:pt x="31" y="26"/>
                  </a:lnTo>
                  <a:lnTo>
                    <a:pt x="33" y="28"/>
                  </a:lnTo>
                  <a:lnTo>
                    <a:pt x="33" y="26"/>
                  </a:lnTo>
                  <a:lnTo>
                    <a:pt x="36" y="31"/>
                  </a:lnTo>
                  <a:lnTo>
                    <a:pt x="38" y="26"/>
                  </a:lnTo>
                  <a:lnTo>
                    <a:pt x="36" y="21"/>
                  </a:lnTo>
                  <a:lnTo>
                    <a:pt x="36" y="19"/>
                  </a:lnTo>
                  <a:lnTo>
                    <a:pt x="29" y="16"/>
                  </a:lnTo>
                  <a:lnTo>
                    <a:pt x="26" y="14"/>
                  </a:lnTo>
                  <a:lnTo>
                    <a:pt x="29" y="9"/>
                  </a:lnTo>
                  <a:lnTo>
                    <a:pt x="31" y="12"/>
                  </a:lnTo>
                  <a:lnTo>
                    <a:pt x="33" y="12"/>
                  </a:lnTo>
                  <a:lnTo>
                    <a:pt x="36" y="12"/>
                  </a:lnTo>
                  <a:lnTo>
                    <a:pt x="31" y="9"/>
                  </a:lnTo>
                  <a:lnTo>
                    <a:pt x="31" y="7"/>
                  </a:lnTo>
                  <a:lnTo>
                    <a:pt x="29" y="7"/>
                  </a:lnTo>
                  <a:lnTo>
                    <a:pt x="26" y="9"/>
                  </a:lnTo>
                  <a:lnTo>
                    <a:pt x="24" y="9"/>
                  </a:lnTo>
                  <a:lnTo>
                    <a:pt x="24" y="7"/>
                  </a:lnTo>
                  <a:lnTo>
                    <a:pt x="24" y="5"/>
                  </a:lnTo>
                  <a:lnTo>
                    <a:pt x="24" y="2"/>
                  </a:lnTo>
                  <a:lnTo>
                    <a:pt x="26" y="2"/>
                  </a:lnTo>
                  <a:lnTo>
                    <a:pt x="26" y="2"/>
                  </a:lnTo>
                  <a:lnTo>
                    <a:pt x="29" y="5"/>
                  </a:lnTo>
                  <a:lnTo>
                    <a:pt x="31" y="5"/>
                  </a:lnTo>
                  <a:lnTo>
                    <a:pt x="33" y="5"/>
                  </a:lnTo>
                  <a:lnTo>
                    <a:pt x="36" y="5"/>
                  </a:lnTo>
                  <a:lnTo>
                    <a:pt x="38" y="9"/>
                  </a:lnTo>
                  <a:lnTo>
                    <a:pt x="43" y="12"/>
                  </a:lnTo>
                  <a:lnTo>
                    <a:pt x="45" y="14"/>
                  </a:lnTo>
                  <a:lnTo>
                    <a:pt x="48" y="19"/>
                  </a:lnTo>
                  <a:lnTo>
                    <a:pt x="52" y="19"/>
                  </a:lnTo>
                  <a:lnTo>
                    <a:pt x="55" y="21"/>
                  </a:lnTo>
                  <a:lnTo>
                    <a:pt x="50" y="24"/>
                  </a:lnTo>
                  <a:lnTo>
                    <a:pt x="55" y="26"/>
                  </a:lnTo>
                  <a:lnTo>
                    <a:pt x="55" y="31"/>
                  </a:lnTo>
                  <a:lnTo>
                    <a:pt x="52" y="33"/>
                  </a:lnTo>
                  <a:lnTo>
                    <a:pt x="52" y="35"/>
                  </a:lnTo>
                  <a:lnTo>
                    <a:pt x="52" y="35"/>
                  </a:lnTo>
                  <a:lnTo>
                    <a:pt x="48" y="33"/>
                  </a:lnTo>
                  <a:lnTo>
                    <a:pt x="50" y="38"/>
                  </a:lnTo>
                  <a:lnTo>
                    <a:pt x="52" y="40"/>
                  </a:lnTo>
                  <a:lnTo>
                    <a:pt x="52" y="42"/>
                  </a:lnTo>
                  <a:lnTo>
                    <a:pt x="55" y="40"/>
                  </a:lnTo>
                  <a:lnTo>
                    <a:pt x="55" y="45"/>
                  </a:lnTo>
                  <a:lnTo>
                    <a:pt x="55" y="47"/>
                  </a:lnTo>
                  <a:lnTo>
                    <a:pt x="57" y="47"/>
                  </a:lnTo>
                  <a:lnTo>
                    <a:pt x="57" y="49"/>
                  </a:lnTo>
                  <a:lnTo>
                    <a:pt x="57" y="57"/>
                  </a:lnTo>
                  <a:lnTo>
                    <a:pt x="59" y="52"/>
                  </a:lnTo>
                  <a:lnTo>
                    <a:pt x="59" y="47"/>
                  </a:lnTo>
                  <a:lnTo>
                    <a:pt x="64" y="47"/>
                  </a:lnTo>
                  <a:lnTo>
                    <a:pt x="64" y="40"/>
                  </a:lnTo>
                  <a:lnTo>
                    <a:pt x="64" y="38"/>
                  </a:lnTo>
                  <a:lnTo>
                    <a:pt x="66" y="38"/>
                  </a:lnTo>
                  <a:lnTo>
                    <a:pt x="69" y="40"/>
                  </a:lnTo>
                  <a:lnTo>
                    <a:pt x="69" y="42"/>
                  </a:lnTo>
                  <a:lnTo>
                    <a:pt x="71" y="40"/>
                  </a:lnTo>
                  <a:lnTo>
                    <a:pt x="74" y="35"/>
                  </a:lnTo>
                  <a:lnTo>
                    <a:pt x="74" y="31"/>
                  </a:lnTo>
                  <a:lnTo>
                    <a:pt x="71" y="24"/>
                  </a:lnTo>
                  <a:lnTo>
                    <a:pt x="71" y="19"/>
                  </a:lnTo>
                  <a:lnTo>
                    <a:pt x="74" y="16"/>
                  </a:lnTo>
                  <a:lnTo>
                    <a:pt x="76" y="19"/>
                  </a:lnTo>
                  <a:lnTo>
                    <a:pt x="81" y="24"/>
                  </a:lnTo>
                  <a:lnTo>
                    <a:pt x="83" y="31"/>
                  </a:lnTo>
                  <a:lnTo>
                    <a:pt x="85" y="33"/>
                  </a:lnTo>
                  <a:lnTo>
                    <a:pt x="88" y="33"/>
                  </a:lnTo>
                  <a:lnTo>
                    <a:pt x="88" y="33"/>
                  </a:lnTo>
                  <a:lnTo>
                    <a:pt x="90" y="28"/>
                  </a:lnTo>
                  <a:lnTo>
                    <a:pt x="90" y="24"/>
                  </a:lnTo>
                  <a:lnTo>
                    <a:pt x="88" y="21"/>
                  </a:lnTo>
                  <a:lnTo>
                    <a:pt x="92" y="19"/>
                  </a:lnTo>
                  <a:lnTo>
                    <a:pt x="95" y="21"/>
                  </a:lnTo>
                  <a:lnTo>
                    <a:pt x="95" y="16"/>
                  </a:lnTo>
                  <a:lnTo>
                    <a:pt x="100" y="14"/>
                  </a:lnTo>
                  <a:lnTo>
                    <a:pt x="100" y="16"/>
                  </a:lnTo>
                  <a:lnTo>
                    <a:pt x="102" y="16"/>
                  </a:lnTo>
                  <a:lnTo>
                    <a:pt x="102" y="19"/>
                  </a:lnTo>
                  <a:lnTo>
                    <a:pt x="104" y="19"/>
                  </a:lnTo>
                  <a:lnTo>
                    <a:pt x="104" y="24"/>
                  </a:lnTo>
                  <a:lnTo>
                    <a:pt x="107" y="26"/>
                  </a:lnTo>
                  <a:lnTo>
                    <a:pt x="109" y="31"/>
                  </a:lnTo>
                  <a:lnTo>
                    <a:pt x="111" y="35"/>
                  </a:lnTo>
                  <a:lnTo>
                    <a:pt x="111" y="38"/>
                  </a:lnTo>
                  <a:lnTo>
                    <a:pt x="111" y="33"/>
                  </a:lnTo>
                  <a:lnTo>
                    <a:pt x="111" y="28"/>
                  </a:lnTo>
                  <a:lnTo>
                    <a:pt x="111" y="26"/>
                  </a:lnTo>
                  <a:lnTo>
                    <a:pt x="109" y="19"/>
                  </a:lnTo>
                  <a:lnTo>
                    <a:pt x="109" y="16"/>
                  </a:lnTo>
                  <a:lnTo>
                    <a:pt x="109" y="14"/>
                  </a:lnTo>
                  <a:lnTo>
                    <a:pt x="114" y="16"/>
                  </a:lnTo>
                  <a:lnTo>
                    <a:pt x="116" y="19"/>
                  </a:lnTo>
                  <a:lnTo>
                    <a:pt x="118" y="24"/>
                  </a:lnTo>
                  <a:lnTo>
                    <a:pt x="123" y="21"/>
                  </a:lnTo>
                  <a:lnTo>
                    <a:pt x="123" y="21"/>
                  </a:lnTo>
                  <a:lnTo>
                    <a:pt x="126" y="16"/>
                  </a:lnTo>
                  <a:lnTo>
                    <a:pt x="126" y="16"/>
                  </a:lnTo>
                  <a:lnTo>
                    <a:pt x="130" y="14"/>
                  </a:lnTo>
                  <a:lnTo>
                    <a:pt x="130" y="16"/>
                  </a:lnTo>
                  <a:lnTo>
                    <a:pt x="135" y="19"/>
                  </a:lnTo>
                  <a:lnTo>
                    <a:pt x="137" y="16"/>
                  </a:lnTo>
                  <a:lnTo>
                    <a:pt x="140" y="16"/>
                  </a:lnTo>
                  <a:lnTo>
                    <a:pt x="140" y="9"/>
                  </a:lnTo>
                  <a:lnTo>
                    <a:pt x="140" y="5"/>
                  </a:lnTo>
                  <a:lnTo>
                    <a:pt x="137" y="2"/>
                  </a:lnTo>
                  <a:lnTo>
                    <a:pt x="142" y="2"/>
                  </a:lnTo>
                  <a:lnTo>
                    <a:pt x="144" y="0"/>
                  </a:lnTo>
                  <a:lnTo>
                    <a:pt x="147" y="0"/>
                  </a:lnTo>
                  <a:lnTo>
                    <a:pt x="147" y="5"/>
                  </a:lnTo>
                  <a:lnTo>
                    <a:pt x="152" y="7"/>
                  </a:lnTo>
                  <a:lnTo>
                    <a:pt x="152" y="9"/>
                  </a:lnTo>
                  <a:lnTo>
                    <a:pt x="152" y="12"/>
                  </a:lnTo>
                  <a:lnTo>
                    <a:pt x="156" y="16"/>
                  </a:lnTo>
                  <a:lnTo>
                    <a:pt x="159" y="16"/>
                  </a:lnTo>
                  <a:lnTo>
                    <a:pt x="159" y="14"/>
                  </a:lnTo>
                  <a:lnTo>
                    <a:pt x="159" y="12"/>
                  </a:lnTo>
                  <a:lnTo>
                    <a:pt x="163" y="12"/>
                  </a:lnTo>
                  <a:lnTo>
                    <a:pt x="166" y="7"/>
                  </a:lnTo>
                  <a:lnTo>
                    <a:pt x="168" y="7"/>
                  </a:lnTo>
                  <a:lnTo>
                    <a:pt x="173" y="7"/>
                  </a:lnTo>
                  <a:lnTo>
                    <a:pt x="173" y="7"/>
                  </a:lnTo>
                  <a:lnTo>
                    <a:pt x="168" y="9"/>
                  </a:lnTo>
                  <a:lnTo>
                    <a:pt x="163" y="19"/>
                  </a:lnTo>
                  <a:lnTo>
                    <a:pt x="163" y="21"/>
                  </a:lnTo>
                  <a:lnTo>
                    <a:pt x="166" y="24"/>
                  </a:lnTo>
                  <a:lnTo>
                    <a:pt x="170" y="19"/>
                  </a:lnTo>
                  <a:lnTo>
                    <a:pt x="170" y="26"/>
                  </a:lnTo>
                  <a:lnTo>
                    <a:pt x="170" y="31"/>
                  </a:lnTo>
                  <a:lnTo>
                    <a:pt x="170" y="35"/>
                  </a:lnTo>
                  <a:lnTo>
                    <a:pt x="178" y="33"/>
                  </a:lnTo>
                  <a:lnTo>
                    <a:pt x="178" y="35"/>
                  </a:lnTo>
                  <a:lnTo>
                    <a:pt x="178" y="40"/>
                  </a:lnTo>
                  <a:lnTo>
                    <a:pt x="182" y="40"/>
                  </a:lnTo>
                  <a:lnTo>
                    <a:pt x="182" y="35"/>
                  </a:lnTo>
                  <a:lnTo>
                    <a:pt x="185" y="38"/>
                  </a:lnTo>
                  <a:lnTo>
                    <a:pt x="187" y="47"/>
                  </a:lnTo>
                  <a:lnTo>
                    <a:pt x="187" y="49"/>
                  </a:lnTo>
                  <a:lnTo>
                    <a:pt x="185" y="52"/>
                  </a:lnTo>
                  <a:lnTo>
                    <a:pt x="187" y="57"/>
                  </a:lnTo>
                  <a:lnTo>
                    <a:pt x="189" y="57"/>
                  </a:lnTo>
                  <a:lnTo>
                    <a:pt x="192" y="54"/>
                  </a:lnTo>
                  <a:lnTo>
                    <a:pt x="192" y="59"/>
                  </a:lnTo>
                  <a:lnTo>
                    <a:pt x="189" y="64"/>
                  </a:lnTo>
                  <a:lnTo>
                    <a:pt x="187" y="66"/>
                  </a:lnTo>
                  <a:lnTo>
                    <a:pt x="187" y="68"/>
                  </a:lnTo>
                  <a:lnTo>
                    <a:pt x="187" y="71"/>
                  </a:lnTo>
                  <a:lnTo>
                    <a:pt x="185" y="73"/>
                  </a:lnTo>
                  <a:lnTo>
                    <a:pt x="178" y="75"/>
                  </a:lnTo>
                  <a:lnTo>
                    <a:pt x="178" y="78"/>
                  </a:lnTo>
                  <a:lnTo>
                    <a:pt x="175" y="78"/>
                  </a:lnTo>
                  <a:lnTo>
                    <a:pt x="175" y="78"/>
                  </a:lnTo>
                  <a:lnTo>
                    <a:pt x="173" y="80"/>
                  </a:lnTo>
                  <a:lnTo>
                    <a:pt x="175" y="80"/>
                  </a:lnTo>
                  <a:lnTo>
                    <a:pt x="180" y="78"/>
                  </a:lnTo>
                  <a:lnTo>
                    <a:pt x="175" y="85"/>
                  </a:lnTo>
                  <a:lnTo>
                    <a:pt x="173" y="90"/>
                  </a:lnTo>
                  <a:lnTo>
                    <a:pt x="168" y="92"/>
                  </a:lnTo>
                  <a:lnTo>
                    <a:pt x="168" y="94"/>
                  </a:lnTo>
                  <a:lnTo>
                    <a:pt x="163" y="92"/>
                  </a:lnTo>
                  <a:lnTo>
                    <a:pt x="163" y="90"/>
                  </a:lnTo>
                  <a:lnTo>
                    <a:pt x="161" y="87"/>
                  </a:lnTo>
                  <a:lnTo>
                    <a:pt x="159" y="87"/>
                  </a:lnTo>
                  <a:lnTo>
                    <a:pt x="159" y="92"/>
                  </a:lnTo>
                  <a:lnTo>
                    <a:pt x="154" y="97"/>
                  </a:lnTo>
                  <a:lnTo>
                    <a:pt x="152" y="99"/>
                  </a:lnTo>
                  <a:lnTo>
                    <a:pt x="147" y="104"/>
                  </a:lnTo>
                  <a:lnTo>
                    <a:pt x="142" y="106"/>
                  </a:lnTo>
                  <a:lnTo>
                    <a:pt x="137" y="109"/>
                  </a:lnTo>
                  <a:lnTo>
                    <a:pt x="133" y="109"/>
                  </a:lnTo>
                  <a:lnTo>
                    <a:pt x="130" y="111"/>
                  </a:lnTo>
                  <a:lnTo>
                    <a:pt x="130" y="109"/>
                  </a:lnTo>
                  <a:lnTo>
                    <a:pt x="128" y="111"/>
                  </a:lnTo>
                  <a:lnTo>
                    <a:pt x="126" y="111"/>
                  </a:lnTo>
                  <a:lnTo>
                    <a:pt x="126" y="113"/>
                  </a:lnTo>
                  <a:lnTo>
                    <a:pt x="121" y="116"/>
                  </a:lnTo>
                  <a:lnTo>
                    <a:pt x="111" y="125"/>
                  </a:lnTo>
                  <a:lnTo>
                    <a:pt x="104" y="127"/>
                  </a:lnTo>
                  <a:lnTo>
                    <a:pt x="102" y="130"/>
                  </a:lnTo>
                  <a:lnTo>
                    <a:pt x="97" y="127"/>
                  </a:lnTo>
                  <a:lnTo>
                    <a:pt x="95" y="130"/>
                  </a:lnTo>
                  <a:lnTo>
                    <a:pt x="92" y="127"/>
                  </a:lnTo>
                  <a:lnTo>
                    <a:pt x="88" y="125"/>
                  </a:lnTo>
                  <a:lnTo>
                    <a:pt x="83" y="123"/>
                  </a:lnTo>
                  <a:lnTo>
                    <a:pt x="78" y="123"/>
                  </a:lnTo>
                  <a:close/>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19" name="Freeform 271">
              <a:extLst>
                <a:ext uri="{FF2B5EF4-FFF2-40B4-BE49-F238E27FC236}">
                  <a16:creationId xmlns:a16="http://schemas.microsoft.com/office/drawing/2014/main" id="{AF02F638-0D74-490D-9A45-33A26512E9C9}"/>
                </a:ext>
              </a:extLst>
            </p:cNvPr>
            <p:cNvSpPr>
              <a:spLocks/>
            </p:cNvSpPr>
            <p:nvPr/>
          </p:nvSpPr>
          <p:spPr bwMode="auto">
            <a:xfrm>
              <a:off x="3142500" y="3284503"/>
              <a:ext cx="209550" cy="158750"/>
            </a:xfrm>
            <a:custGeom>
              <a:avLst/>
              <a:gdLst>
                <a:gd name="T0" fmla="*/ 14 w 132"/>
                <a:gd name="T1" fmla="*/ 92 h 100"/>
                <a:gd name="T2" fmla="*/ 24 w 132"/>
                <a:gd name="T3" fmla="*/ 88 h 100"/>
                <a:gd name="T4" fmla="*/ 28 w 132"/>
                <a:gd name="T5" fmla="*/ 88 h 100"/>
                <a:gd name="T6" fmla="*/ 35 w 132"/>
                <a:gd name="T7" fmla="*/ 88 h 100"/>
                <a:gd name="T8" fmla="*/ 38 w 132"/>
                <a:gd name="T9" fmla="*/ 81 h 100"/>
                <a:gd name="T10" fmla="*/ 47 w 132"/>
                <a:gd name="T11" fmla="*/ 81 h 100"/>
                <a:gd name="T12" fmla="*/ 52 w 132"/>
                <a:gd name="T13" fmla="*/ 78 h 100"/>
                <a:gd name="T14" fmla="*/ 57 w 132"/>
                <a:gd name="T15" fmla="*/ 64 h 100"/>
                <a:gd name="T16" fmla="*/ 59 w 132"/>
                <a:gd name="T17" fmla="*/ 62 h 100"/>
                <a:gd name="T18" fmla="*/ 68 w 132"/>
                <a:gd name="T19" fmla="*/ 66 h 100"/>
                <a:gd name="T20" fmla="*/ 68 w 132"/>
                <a:gd name="T21" fmla="*/ 74 h 100"/>
                <a:gd name="T22" fmla="*/ 73 w 132"/>
                <a:gd name="T23" fmla="*/ 74 h 100"/>
                <a:gd name="T24" fmla="*/ 71 w 132"/>
                <a:gd name="T25" fmla="*/ 83 h 100"/>
                <a:gd name="T26" fmla="*/ 71 w 132"/>
                <a:gd name="T27" fmla="*/ 92 h 100"/>
                <a:gd name="T28" fmla="*/ 76 w 132"/>
                <a:gd name="T29" fmla="*/ 100 h 100"/>
                <a:gd name="T30" fmla="*/ 92 w 132"/>
                <a:gd name="T31" fmla="*/ 92 h 100"/>
                <a:gd name="T32" fmla="*/ 97 w 132"/>
                <a:gd name="T33" fmla="*/ 88 h 100"/>
                <a:gd name="T34" fmla="*/ 106 w 132"/>
                <a:gd name="T35" fmla="*/ 83 h 100"/>
                <a:gd name="T36" fmla="*/ 111 w 132"/>
                <a:gd name="T37" fmla="*/ 83 h 100"/>
                <a:gd name="T38" fmla="*/ 116 w 132"/>
                <a:gd name="T39" fmla="*/ 85 h 100"/>
                <a:gd name="T40" fmla="*/ 123 w 132"/>
                <a:gd name="T41" fmla="*/ 85 h 100"/>
                <a:gd name="T42" fmla="*/ 130 w 132"/>
                <a:gd name="T43" fmla="*/ 88 h 100"/>
                <a:gd name="T44" fmla="*/ 132 w 132"/>
                <a:gd name="T45" fmla="*/ 88 h 100"/>
                <a:gd name="T46" fmla="*/ 128 w 132"/>
                <a:gd name="T47" fmla="*/ 59 h 100"/>
                <a:gd name="T48" fmla="*/ 109 w 132"/>
                <a:gd name="T49" fmla="*/ 52 h 100"/>
                <a:gd name="T50" fmla="*/ 106 w 132"/>
                <a:gd name="T51" fmla="*/ 36 h 100"/>
                <a:gd name="T52" fmla="*/ 94 w 132"/>
                <a:gd name="T53" fmla="*/ 41 h 100"/>
                <a:gd name="T54" fmla="*/ 78 w 132"/>
                <a:gd name="T55" fmla="*/ 43 h 100"/>
                <a:gd name="T56" fmla="*/ 61 w 132"/>
                <a:gd name="T57" fmla="*/ 38 h 100"/>
                <a:gd name="T58" fmla="*/ 52 w 132"/>
                <a:gd name="T59" fmla="*/ 36 h 100"/>
                <a:gd name="T60" fmla="*/ 35 w 132"/>
                <a:gd name="T61" fmla="*/ 36 h 100"/>
                <a:gd name="T62" fmla="*/ 38 w 132"/>
                <a:gd name="T63" fmla="*/ 24 h 100"/>
                <a:gd name="T64" fmla="*/ 50 w 132"/>
                <a:gd name="T65" fmla="*/ 24 h 100"/>
                <a:gd name="T66" fmla="*/ 61 w 132"/>
                <a:gd name="T67" fmla="*/ 22 h 100"/>
                <a:gd name="T68" fmla="*/ 57 w 132"/>
                <a:gd name="T69" fmla="*/ 22 h 100"/>
                <a:gd name="T70" fmla="*/ 57 w 132"/>
                <a:gd name="T71" fmla="*/ 10 h 100"/>
                <a:gd name="T72" fmla="*/ 57 w 132"/>
                <a:gd name="T73" fmla="*/ 3 h 100"/>
                <a:gd name="T74" fmla="*/ 45 w 132"/>
                <a:gd name="T75" fmla="*/ 7 h 100"/>
                <a:gd name="T76" fmla="*/ 35 w 132"/>
                <a:gd name="T77" fmla="*/ 10 h 100"/>
                <a:gd name="T78" fmla="*/ 33 w 132"/>
                <a:gd name="T79" fmla="*/ 19 h 100"/>
                <a:gd name="T80" fmla="*/ 24 w 132"/>
                <a:gd name="T81" fmla="*/ 24 h 100"/>
                <a:gd name="T82" fmla="*/ 12 w 132"/>
                <a:gd name="T83" fmla="*/ 36 h 100"/>
                <a:gd name="T84" fmla="*/ 2 w 132"/>
                <a:gd name="T85" fmla="*/ 36 h 100"/>
                <a:gd name="T86" fmla="*/ 2 w 132"/>
                <a:gd name="T87" fmla="*/ 43 h 100"/>
                <a:gd name="T88" fmla="*/ 9 w 132"/>
                <a:gd name="T89" fmla="*/ 48 h 100"/>
                <a:gd name="T90" fmla="*/ 12 w 132"/>
                <a:gd name="T91" fmla="*/ 57 h 100"/>
                <a:gd name="T92" fmla="*/ 16 w 132"/>
                <a:gd name="T93" fmla="*/ 66 h 100"/>
                <a:gd name="T94" fmla="*/ 12 w 132"/>
                <a:gd name="T95" fmla="*/ 74 h 100"/>
                <a:gd name="T96" fmla="*/ 7 w 132"/>
                <a:gd name="T97" fmla="*/ 8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 h="100">
                  <a:moveTo>
                    <a:pt x="5" y="88"/>
                  </a:moveTo>
                  <a:lnTo>
                    <a:pt x="7" y="88"/>
                  </a:lnTo>
                  <a:lnTo>
                    <a:pt x="12" y="92"/>
                  </a:lnTo>
                  <a:lnTo>
                    <a:pt x="14" y="92"/>
                  </a:lnTo>
                  <a:lnTo>
                    <a:pt x="16" y="92"/>
                  </a:lnTo>
                  <a:lnTo>
                    <a:pt x="16" y="90"/>
                  </a:lnTo>
                  <a:lnTo>
                    <a:pt x="21" y="88"/>
                  </a:lnTo>
                  <a:lnTo>
                    <a:pt x="24" y="88"/>
                  </a:lnTo>
                  <a:lnTo>
                    <a:pt x="24" y="88"/>
                  </a:lnTo>
                  <a:lnTo>
                    <a:pt x="26" y="88"/>
                  </a:lnTo>
                  <a:lnTo>
                    <a:pt x="26" y="88"/>
                  </a:lnTo>
                  <a:lnTo>
                    <a:pt x="28" y="88"/>
                  </a:lnTo>
                  <a:lnTo>
                    <a:pt x="31" y="88"/>
                  </a:lnTo>
                  <a:lnTo>
                    <a:pt x="33" y="90"/>
                  </a:lnTo>
                  <a:lnTo>
                    <a:pt x="35" y="90"/>
                  </a:lnTo>
                  <a:lnTo>
                    <a:pt x="35" y="88"/>
                  </a:lnTo>
                  <a:lnTo>
                    <a:pt x="35" y="88"/>
                  </a:lnTo>
                  <a:lnTo>
                    <a:pt x="35" y="85"/>
                  </a:lnTo>
                  <a:lnTo>
                    <a:pt x="35" y="83"/>
                  </a:lnTo>
                  <a:lnTo>
                    <a:pt x="38" y="81"/>
                  </a:lnTo>
                  <a:lnTo>
                    <a:pt x="40" y="81"/>
                  </a:lnTo>
                  <a:lnTo>
                    <a:pt x="40" y="81"/>
                  </a:lnTo>
                  <a:lnTo>
                    <a:pt x="42" y="81"/>
                  </a:lnTo>
                  <a:lnTo>
                    <a:pt x="47" y="81"/>
                  </a:lnTo>
                  <a:lnTo>
                    <a:pt x="47" y="81"/>
                  </a:lnTo>
                  <a:lnTo>
                    <a:pt x="47" y="81"/>
                  </a:lnTo>
                  <a:lnTo>
                    <a:pt x="50" y="78"/>
                  </a:lnTo>
                  <a:lnTo>
                    <a:pt x="52" y="78"/>
                  </a:lnTo>
                  <a:lnTo>
                    <a:pt x="50" y="76"/>
                  </a:lnTo>
                  <a:lnTo>
                    <a:pt x="50" y="74"/>
                  </a:lnTo>
                  <a:lnTo>
                    <a:pt x="52" y="69"/>
                  </a:lnTo>
                  <a:lnTo>
                    <a:pt x="57" y="64"/>
                  </a:lnTo>
                  <a:lnTo>
                    <a:pt x="57" y="64"/>
                  </a:lnTo>
                  <a:lnTo>
                    <a:pt x="57" y="62"/>
                  </a:lnTo>
                  <a:lnTo>
                    <a:pt x="59" y="62"/>
                  </a:lnTo>
                  <a:lnTo>
                    <a:pt x="59" y="62"/>
                  </a:lnTo>
                  <a:lnTo>
                    <a:pt x="61" y="62"/>
                  </a:lnTo>
                  <a:lnTo>
                    <a:pt x="64" y="62"/>
                  </a:lnTo>
                  <a:lnTo>
                    <a:pt x="68" y="66"/>
                  </a:lnTo>
                  <a:lnTo>
                    <a:pt x="68" y="66"/>
                  </a:lnTo>
                  <a:lnTo>
                    <a:pt x="68" y="69"/>
                  </a:lnTo>
                  <a:lnTo>
                    <a:pt x="68" y="71"/>
                  </a:lnTo>
                  <a:lnTo>
                    <a:pt x="68" y="71"/>
                  </a:lnTo>
                  <a:lnTo>
                    <a:pt x="68" y="74"/>
                  </a:lnTo>
                  <a:lnTo>
                    <a:pt x="71" y="74"/>
                  </a:lnTo>
                  <a:lnTo>
                    <a:pt x="73" y="74"/>
                  </a:lnTo>
                  <a:lnTo>
                    <a:pt x="73" y="74"/>
                  </a:lnTo>
                  <a:lnTo>
                    <a:pt x="73" y="74"/>
                  </a:lnTo>
                  <a:lnTo>
                    <a:pt x="73" y="76"/>
                  </a:lnTo>
                  <a:lnTo>
                    <a:pt x="71" y="78"/>
                  </a:lnTo>
                  <a:lnTo>
                    <a:pt x="73" y="81"/>
                  </a:lnTo>
                  <a:lnTo>
                    <a:pt x="71" y="83"/>
                  </a:lnTo>
                  <a:lnTo>
                    <a:pt x="71" y="83"/>
                  </a:lnTo>
                  <a:lnTo>
                    <a:pt x="71" y="88"/>
                  </a:lnTo>
                  <a:lnTo>
                    <a:pt x="71" y="90"/>
                  </a:lnTo>
                  <a:lnTo>
                    <a:pt x="71" y="92"/>
                  </a:lnTo>
                  <a:lnTo>
                    <a:pt x="73" y="97"/>
                  </a:lnTo>
                  <a:lnTo>
                    <a:pt x="76" y="100"/>
                  </a:lnTo>
                  <a:lnTo>
                    <a:pt x="76" y="100"/>
                  </a:lnTo>
                  <a:lnTo>
                    <a:pt x="76" y="100"/>
                  </a:lnTo>
                  <a:lnTo>
                    <a:pt x="78" y="100"/>
                  </a:lnTo>
                  <a:lnTo>
                    <a:pt x="83" y="97"/>
                  </a:lnTo>
                  <a:lnTo>
                    <a:pt x="85" y="95"/>
                  </a:lnTo>
                  <a:lnTo>
                    <a:pt x="92" y="92"/>
                  </a:lnTo>
                  <a:lnTo>
                    <a:pt x="94" y="92"/>
                  </a:lnTo>
                  <a:lnTo>
                    <a:pt x="94" y="90"/>
                  </a:lnTo>
                  <a:lnTo>
                    <a:pt x="97" y="88"/>
                  </a:lnTo>
                  <a:lnTo>
                    <a:pt x="97" y="88"/>
                  </a:lnTo>
                  <a:lnTo>
                    <a:pt x="99" y="88"/>
                  </a:lnTo>
                  <a:lnTo>
                    <a:pt x="102" y="85"/>
                  </a:lnTo>
                  <a:lnTo>
                    <a:pt x="104" y="85"/>
                  </a:lnTo>
                  <a:lnTo>
                    <a:pt x="106" y="83"/>
                  </a:lnTo>
                  <a:lnTo>
                    <a:pt x="109" y="83"/>
                  </a:lnTo>
                  <a:lnTo>
                    <a:pt x="109" y="83"/>
                  </a:lnTo>
                  <a:lnTo>
                    <a:pt x="109" y="83"/>
                  </a:lnTo>
                  <a:lnTo>
                    <a:pt x="111" y="83"/>
                  </a:lnTo>
                  <a:lnTo>
                    <a:pt x="111" y="88"/>
                  </a:lnTo>
                  <a:lnTo>
                    <a:pt x="113" y="88"/>
                  </a:lnTo>
                  <a:lnTo>
                    <a:pt x="113" y="88"/>
                  </a:lnTo>
                  <a:lnTo>
                    <a:pt x="116" y="85"/>
                  </a:lnTo>
                  <a:lnTo>
                    <a:pt x="116" y="88"/>
                  </a:lnTo>
                  <a:lnTo>
                    <a:pt x="116" y="88"/>
                  </a:lnTo>
                  <a:lnTo>
                    <a:pt x="120" y="85"/>
                  </a:lnTo>
                  <a:lnTo>
                    <a:pt x="123" y="85"/>
                  </a:lnTo>
                  <a:lnTo>
                    <a:pt x="125" y="85"/>
                  </a:lnTo>
                  <a:lnTo>
                    <a:pt x="128" y="85"/>
                  </a:lnTo>
                  <a:lnTo>
                    <a:pt x="130" y="85"/>
                  </a:lnTo>
                  <a:lnTo>
                    <a:pt x="130" y="88"/>
                  </a:lnTo>
                  <a:lnTo>
                    <a:pt x="130" y="88"/>
                  </a:lnTo>
                  <a:lnTo>
                    <a:pt x="130" y="88"/>
                  </a:lnTo>
                  <a:lnTo>
                    <a:pt x="132" y="88"/>
                  </a:lnTo>
                  <a:lnTo>
                    <a:pt x="132" y="88"/>
                  </a:lnTo>
                  <a:lnTo>
                    <a:pt x="132" y="76"/>
                  </a:lnTo>
                  <a:lnTo>
                    <a:pt x="130" y="69"/>
                  </a:lnTo>
                  <a:lnTo>
                    <a:pt x="130" y="62"/>
                  </a:lnTo>
                  <a:lnTo>
                    <a:pt x="128" y="59"/>
                  </a:lnTo>
                  <a:lnTo>
                    <a:pt x="120" y="59"/>
                  </a:lnTo>
                  <a:lnTo>
                    <a:pt x="116" y="62"/>
                  </a:lnTo>
                  <a:lnTo>
                    <a:pt x="111" y="59"/>
                  </a:lnTo>
                  <a:lnTo>
                    <a:pt x="109" y="52"/>
                  </a:lnTo>
                  <a:lnTo>
                    <a:pt x="109" y="48"/>
                  </a:lnTo>
                  <a:lnTo>
                    <a:pt x="113" y="36"/>
                  </a:lnTo>
                  <a:lnTo>
                    <a:pt x="113" y="36"/>
                  </a:lnTo>
                  <a:lnTo>
                    <a:pt x="106" y="36"/>
                  </a:lnTo>
                  <a:lnTo>
                    <a:pt x="106" y="41"/>
                  </a:lnTo>
                  <a:lnTo>
                    <a:pt x="102" y="41"/>
                  </a:lnTo>
                  <a:lnTo>
                    <a:pt x="99" y="41"/>
                  </a:lnTo>
                  <a:lnTo>
                    <a:pt x="94" y="41"/>
                  </a:lnTo>
                  <a:lnTo>
                    <a:pt x="90" y="41"/>
                  </a:lnTo>
                  <a:lnTo>
                    <a:pt x="85" y="43"/>
                  </a:lnTo>
                  <a:lnTo>
                    <a:pt x="83" y="41"/>
                  </a:lnTo>
                  <a:lnTo>
                    <a:pt x="78" y="43"/>
                  </a:lnTo>
                  <a:lnTo>
                    <a:pt x="76" y="38"/>
                  </a:lnTo>
                  <a:lnTo>
                    <a:pt x="73" y="36"/>
                  </a:lnTo>
                  <a:lnTo>
                    <a:pt x="71" y="36"/>
                  </a:lnTo>
                  <a:lnTo>
                    <a:pt x="61" y="38"/>
                  </a:lnTo>
                  <a:lnTo>
                    <a:pt x="59" y="38"/>
                  </a:lnTo>
                  <a:lnTo>
                    <a:pt x="57" y="36"/>
                  </a:lnTo>
                  <a:lnTo>
                    <a:pt x="54" y="36"/>
                  </a:lnTo>
                  <a:lnTo>
                    <a:pt x="52" y="36"/>
                  </a:lnTo>
                  <a:lnTo>
                    <a:pt x="45" y="36"/>
                  </a:lnTo>
                  <a:lnTo>
                    <a:pt x="40" y="36"/>
                  </a:lnTo>
                  <a:lnTo>
                    <a:pt x="38" y="36"/>
                  </a:lnTo>
                  <a:lnTo>
                    <a:pt x="35" y="36"/>
                  </a:lnTo>
                  <a:lnTo>
                    <a:pt x="33" y="33"/>
                  </a:lnTo>
                  <a:lnTo>
                    <a:pt x="33" y="29"/>
                  </a:lnTo>
                  <a:lnTo>
                    <a:pt x="33" y="26"/>
                  </a:lnTo>
                  <a:lnTo>
                    <a:pt x="38" y="24"/>
                  </a:lnTo>
                  <a:lnTo>
                    <a:pt x="40" y="24"/>
                  </a:lnTo>
                  <a:lnTo>
                    <a:pt x="42" y="24"/>
                  </a:lnTo>
                  <a:lnTo>
                    <a:pt x="47" y="24"/>
                  </a:lnTo>
                  <a:lnTo>
                    <a:pt x="50" y="24"/>
                  </a:lnTo>
                  <a:lnTo>
                    <a:pt x="54" y="26"/>
                  </a:lnTo>
                  <a:lnTo>
                    <a:pt x="57" y="26"/>
                  </a:lnTo>
                  <a:lnTo>
                    <a:pt x="59" y="24"/>
                  </a:lnTo>
                  <a:lnTo>
                    <a:pt x="61" y="22"/>
                  </a:lnTo>
                  <a:lnTo>
                    <a:pt x="61" y="19"/>
                  </a:lnTo>
                  <a:lnTo>
                    <a:pt x="61" y="19"/>
                  </a:lnTo>
                  <a:lnTo>
                    <a:pt x="59" y="22"/>
                  </a:lnTo>
                  <a:lnTo>
                    <a:pt x="57" y="22"/>
                  </a:lnTo>
                  <a:lnTo>
                    <a:pt x="54" y="19"/>
                  </a:lnTo>
                  <a:lnTo>
                    <a:pt x="52" y="15"/>
                  </a:lnTo>
                  <a:lnTo>
                    <a:pt x="54" y="12"/>
                  </a:lnTo>
                  <a:lnTo>
                    <a:pt x="57" y="10"/>
                  </a:lnTo>
                  <a:lnTo>
                    <a:pt x="59" y="10"/>
                  </a:lnTo>
                  <a:lnTo>
                    <a:pt x="59" y="5"/>
                  </a:lnTo>
                  <a:lnTo>
                    <a:pt x="57" y="5"/>
                  </a:lnTo>
                  <a:lnTo>
                    <a:pt x="57" y="3"/>
                  </a:lnTo>
                  <a:lnTo>
                    <a:pt x="54" y="0"/>
                  </a:lnTo>
                  <a:lnTo>
                    <a:pt x="52" y="3"/>
                  </a:lnTo>
                  <a:lnTo>
                    <a:pt x="50" y="5"/>
                  </a:lnTo>
                  <a:lnTo>
                    <a:pt x="45" y="7"/>
                  </a:lnTo>
                  <a:lnTo>
                    <a:pt x="42" y="10"/>
                  </a:lnTo>
                  <a:lnTo>
                    <a:pt x="40" y="10"/>
                  </a:lnTo>
                  <a:lnTo>
                    <a:pt x="38" y="10"/>
                  </a:lnTo>
                  <a:lnTo>
                    <a:pt x="35" y="10"/>
                  </a:lnTo>
                  <a:lnTo>
                    <a:pt x="35" y="12"/>
                  </a:lnTo>
                  <a:lnTo>
                    <a:pt x="33" y="15"/>
                  </a:lnTo>
                  <a:lnTo>
                    <a:pt x="33" y="17"/>
                  </a:lnTo>
                  <a:lnTo>
                    <a:pt x="33" y="19"/>
                  </a:lnTo>
                  <a:lnTo>
                    <a:pt x="33" y="22"/>
                  </a:lnTo>
                  <a:lnTo>
                    <a:pt x="31" y="24"/>
                  </a:lnTo>
                  <a:lnTo>
                    <a:pt x="26" y="24"/>
                  </a:lnTo>
                  <a:lnTo>
                    <a:pt x="24" y="24"/>
                  </a:lnTo>
                  <a:lnTo>
                    <a:pt x="24" y="29"/>
                  </a:lnTo>
                  <a:lnTo>
                    <a:pt x="19" y="36"/>
                  </a:lnTo>
                  <a:lnTo>
                    <a:pt x="16" y="36"/>
                  </a:lnTo>
                  <a:lnTo>
                    <a:pt x="12" y="36"/>
                  </a:lnTo>
                  <a:lnTo>
                    <a:pt x="9" y="36"/>
                  </a:lnTo>
                  <a:lnTo>
                    <a:pt x="7" y="33"/>
                  </a:lnTo>
                  <a:lnTo>
                    <a:pt x="5" y="33"/>
                  </a:lnTo>
                  <a:lnTo>
                    <a:pt x="2" y="36"/>
                  </a:lnTo>
                  <a:lnTo>
                    <a:pt x="2" y="38"/>
                  </a:lnTo>
                  <a:lnTo>
                    <a:pt x="2" y="41"/>
                  </a:lnTo>
                  <a:lnTo>
                    <a:pt x="0" y="41"/>
                  </a:lnTo>
                  <a:lnTo>
                    <a:pt x="2" y="43"/>
                  </a:lnTo>
                  <a:lnTo>
                    <a:pt x="5" y="45"/>
                  </a:lnTo>
                  <a:lnTo>
                    <a:pt x="5" y="48"/>
                  </a:lnTo>
                  <a:lnTo>
                    <a:pt x="7" y="48"/>
                  </a:lnTo>
                  <a:lnTo>
                    <a:pt x="9" y="48"/>
                  </a:lnTo>
                  <a:lnTo>
                    <a:pt x="12" y="48"/>
                  </a:lnTo>
                  <a:lnTo>
                    <a:pt x="14" y="50"/>
                  </a:lnTo>
                  <a:lnTo>
                    <a:pt x="12" y="55"/>
                  </a:lnTo>
                  <a:lnTo>
                    <a:pt x="12" y="57"/>
                  </a:lnTo>
                  <a:lnTo>
                    <a:pt x="12" y="62"/>
                  </a:lnTo>
                  <a:lnTo>
                    <a:pt x="14" y="64"/>
                  </a:lnTo>
                  <a:lnTo>
                    <a:pt x="16" y="64"/>
                  </a:lnTo>
                  <a:lnTo>
                    <a:pt x="16" y="66"/>
                  </a:lnTo>
                  <a:lnTo>
                    <a:pt x="16" y="69"/>
                  </a:lnTo>
                  <a:lnTo>
                    <a:pt x="14" y="71"/>
                  </a:lnTo>
                  <a:lnTo>
                    <a:pt x="12" y="71"/>
                  </a:lnTo>
                  <a:lnTo>
                    <a:pt x="12" y="74"/>
                  </a:lnTo>
                  <a:lnTo>
                    <a:pt x="9" y="78"/>
                  </a:lnTo>
                  <a:lnTo>
                    <a:pt x="7" y="83"/>
                  </a:lnTo>
                  <a:lnTo>
                    <a:pt x="7" y="83"/>
                  </a:lnTo>
                  <a:lnTo>
                    <a:pt x="7" y="85"/>
                  </a:lnTo>
                  <a:lnTo>
                    <a:pt x="5" y="88"/>
                  </a:lnTo>
                  <a:lnTo>
                    <a:pt x="5" y="8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0" name="Freeform 272">
              <a:extLst>
                <a:ext uri="{FF2B5EF4-FFF2-40B4-BE49-F238E27FC236}">
                  <a16:creationId xmlns:a16="http://schemas.microsoft.com/office/drawing/2014/main" id="{740B132B-052A-4EDA-ACAB-B51EEA0AC350}"/>
                </a:ext>
              </a:extLst>
            </p:cNvPr>
            <p:cNvSpPr>
              <a:spLocks/>
            </p:cNvSpPr>
            <p:nvPr/>
          </p:nvSpPr>
          <p:spPr bwMode="auto">
            <a:xfrm>
              <a:off x="3142500" y="3284503"/>
              <a:ext cx="209550" cy="158750"/>
            </a:xfrm>
            <a:custGeom>
              <a:avLst/>
              <a:gdLst>
                <a:gd name="T0" fmla="*/ 14 w 132"/>
                <a:gd name="T1" fmla="*/ 92 h 100"/>
                <a:gd name="T2" fmla="*/ 24 w 132"/>
                <a:gd name="T3" fmla="*/ 88 h 100"/>
                <a:gd name="T4" fmla="*/ 28 w 132"/>
                <a:gd name="T5" fmla="*/ 88 h 100"/>
                <a:gd name="T6" fmla="*/ 35 w 132"/>
                <a:gd name="T7" fmla="*/ 88 h 100"/>
                <a:gd name="T8" fmla="*/ 38 w 132"/>
                <a:gd name="T9" fmla="*/ 81 h 100"/>
                <a:gd name="T10" fmla="*/ 47 w 132"/>
                <a:gd name="T11" fmla="*/ 81 h 100"/>
                <a:gd name="T12" fmla="*/ 52 w 132"/>
                <a:gd name="T13" fmla="*/ 78 h 100"/>
                <a:gd name="T14" fmla="*/ 57 w 132"/>
                <a:gd name="T15" fmla="*/ 64 h 100"/>
                <a:gd name="T16" fmla="*/ 59 w 132"/>
                <a:gd name="T17" fmla="*/ 62 h 100"/>
                <a:gd name="T18" fmla="*/ 68 w 132"/>
                <a:gd name="T19" fmla="*/ 66 h 100"/>
                <a:gd name="T20" fmla="*/ 68 w 132"/>
                <a:gd name="T21" fmla="*/ 74 h 100"/>
                <a:gd name="T22" fmla="*/ 73 w 132"/>
                <a:gd name="T23" fmla="*/ 74 h 100"/>
                <a:gd name="T24" fmla="*/ 71 w 132"/>
                <a:gd name="T25" fmla="*/ 83 h 100"/>
                <a:gd name="T26" fmla="*/ 71 w 132"/>
                <a:gd name="T27" fmla="*/ 92 h 100"/>
                <a:gd name="T28" fmla="*/ 76 w 132"/>
                <a:gd name="T29" fmla="*/ 100 h 100"/>
                <a:gd name="T30" fmla="*/ 92 w 132"/>
                <a:gd name="T31" fmla="*/ 92 h 100"/>
                <a:gd name="T32" fmla="*/ 97 w 132"/>
                <a:gd name="T33" fmla="*/ 88 h 100"/>
                <a:gd name="T34" fmla="*/ 106 w 132"/>
                <a:gd name="T35" fmla="*/ 83 h 100"/>
                <a:gd name="T36" fmla="*/ 111 w 132"/>
                <a:gd name="T37" fmla="*/ 83 h 100"/>
                <a:gd name="T38" fmla="*/ 116 w 132"/>
                <a:gd name="T39" fmla="*/ 85 h 100"/>
                <a:gd name="T40" fmla="*/ 123 w 132"/>
                <a:gd name="T41" fmla="*/ 85 h 100"/>
                <a:gd name="T42" fmla="*/ 130 w 132"/>
                <a:gd name="T43" fmla="*/ 88 h 100"/>
                <a:gd name="T44" fmla="*/ 132 w 132"/>
                <a:gd name="T45" fmla="*/ 88 h 100"/>
                <a:gd name="T46" fmla="*/ 128 w 132"/>
                <a:gd name="T47" fmla="*/ 59 h 100"/>
                <a:gd name="T48" fmla="*/ 109 w 132"/>
                <a:gd name="T49" fmla="*/ 52 h 100"/>
                <a:gd name="T50" fmla="*/ 106 w 132"/>
                <a:gd name="T51" fmla="*/ 36 h 100"/>
                <a:gd name="T52" fmla="*/ 94 w 132"/>
                <a:gd name="T53" fmla="*/ 41 h 100"/>
                <a:gd name="T54" fmla="*/ 78 w 132"/>
                <a:gd name="T55" fmla="*/ 43 h 100"/>
                <a:gd name="T56" fmla="*/ 61 w 132"/>
                <a:gd name="T57" fmla="*/ 38 h 100"/>
                <a:gd name="T58" fmla="*/ 52 w 132"/>
                <a:gd name="T59" fmla="*/ 36 h 100"/>
                <a:gd name="T60" fmla="*/ 35 w 132"/>
                <a:gd name="T61" fmla="*/ 36 h 100"/>
                <a:gd name="T62" fmla="*/ 38 w 132"/>
                <a:gd name="T63" fmla="*/ 24 h 100"/>
                <a:gd name="T64" fmla="*/ 50 w 132"/>
                <a:gd name="T65" fmla="*/ 24 h 100"/>
                <a:gd name="T66" fmla="*/ 61 w 132"/>
                <a:gd name="T67" fmla="*/ 22 h 100"/>
                <a:gd name="T68" fmla="*/ 57 w 132"/>
                <a:gd name="T69" fmla="*/ 22 h 100"/>
                <a:gd name="T70" fmla="*/ 57 w 132"/>
                <a:gd name="T71" fmla="*/ 10 h 100"/>
                <a:gd name="T72" fmla="*/ 57 w 132"/>
                <a:gd name="T73" fmla="*/ 3 h 100"/>
                <a:gd name="T74" fmla="*/ 45 w 132"/>
                <a:gd name="T75" fmla="*/ 7 h 100"/>
                <a:gd name="T76" fmla="*/ 35 w 132"/>
                <a:gd name="T77" fmla="*/ 10 h 100"/>
                <a:gd name="T78" fmla="*/ 33 w 132"/>
                <a:gd name="T79" fmla="*/ 19 h 100"/>
                <a:gd name="T80" fmla="*/ 24 w 132"/>
                <a:gd name="T81" fmla="*/ 24 h 100"/>
                <a:gd name="T82" fmla="*/ 12 w 132"/>
                <a:gd name="T83" fmla="*/ 36 h 100"/>
                <a:gd name="T84" fmla="*/ 2 w 132"/>
                <a:gd name="T85" fmla="*/ 36 h 100"/>
                <a:gd name="T86" fmla="*/ 2 w 132"/>
                <a:gd name="T87" fmla="*/ 43 h 100"/>
                <a:gd name="T88" fmla="*/ 9 w 132"/>
                <a:gd name="T89" fmla="*/ 48 h 100"/>
                <a:gd name="T90" fmla="*/ 12 w 132"/>
                <a:gd name="T91" fmla="*/ 57 h 100"/>
                <a:gd name="T92" fmla="*/ 16 w 132"/>
                <a:gd name="T93" fmla="*/ 66 h 100"/>
                <a:gd name="T94" fmla="*/ 12 w 132"/>
                <a:gd name="T95" fmla="*/ 74 h 100"/>
                <a:gd name="T96" fmla="*/ 7 w 132"/>
                <a:gd name="T97" fmla="*/ 8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 h="100">
                  <a:moveTo>
                    <a:pt x="5" y="88"/>
                  </a:moveTo>
                  <a:lnTo>
                    <a:pt x="7" y="88"/>
                  </a:lnTo>
                  <a:lnTo>
                    <a:pt x="12" y="92"/>
                  </a:lnTo>
                  <a:lnTo>
                    <a:pt x="14" y="92"/>
                  </a:lnTo>
                  <a:lnTo>
                    <a:pt x="16" y="92"/>
                  </a:lnTo>
                  <a:lnTo>
                    <a:pt x="16" y="90"/>
                  </a:lnTo>
                  <a:lnTo>
                    <a:pt x="21" y="88"/>
                  </a:lnTo>
                  <a:lnTo>
                    <a:pt x="24" y="88"/>
                  </a:lnTo>
                  <a:lnTo>
                    <a:pt x="24" y="88"/>
                  </a:lnTo>
                  <a:lnTo>
                    <a:pt x="26" y="88"/>
                  </a:lnTo>
                  <a:lnTo>
                    <a:pt x="26" y="88"/>
                  </a:lnTo>
                  <a:lnTo>
                    <a:pt x="28" y="88"/>
                  </a:lnTo>
                  <a:lnTo>
                    <a:pt x="31" y="88"/>
                  </a:lnTo>
                  <a:lnTo>
                    <a:pt x="33" y="90"/>
                  </a:lnTo>
                  <a:lnTo>
                    <a:pt x="35" y="90"/>
                  </a:lnTo>
                  <a:lnTo>
                    <a:pt x="35" y="88"/>
                  </a:lnTo>
                  <a:lnTo>
                    <a:pt x="35" y="88"/>
                  </a:lnTo>
                  <a:lnTo>
                    <a:pt x="35" y="85"/>
                  </a:lnTo>
                  <a:lnTo>
                    <a:pt x="35" y="83"/>
                  </a:lnTo>
                  <a:lnTo>
                    <a:pt x="38" y="81"/>
                  </a:lnTo>
                  <a:lnTo>
                    <a:pt x="40" y="81"/>
                  </a:lnTo>
                  <a:lnTo>
                    <a:pt x="40" y="81"/>
                  </a:lnTo>
                  <a:lnTo>
                    <a:pt x="42" y="81"/>
                  </a:lnTo>
                  <a:lnTo>
                    <a:pt x="47" y="81"/>
                  </a:lnTo>
                  <a:lnTo>
                    <a:pt x="47" y="81"/>
                  </a:lnTo>
                  <a:lnTo>
                    <a:pt x="47" y="81"/>
                  </a:lnTo>
                  <a:lnTo>
                    <a:pt x="50" y="78"/>
                  </a:lnTo>
                  <a:lnTo>
                    <a:pt x="52" y="78"/>
                  </a:lnTo>
                  <a:lnTo>
                    <a:pt x="50" y="76"/>
                  </a:lnTo>
                  <a:lnTo>
                    <a:pt x="50" y="74"/>
                  </a:lnTo>
                  <a:lnTo>
                    <a:pt x="52" y="69"/>
                  </a:lnTo>
                  <a:lnTo>
                    <a:pt x="57" y="64"/>
                  </a:lnTo>
                  <a:lnTo>
                    <a:pt x="57" y="64"/>
                  </a:lnTo>
                  <a:lnTo>
                    <a:pt x="57" y="62"/>
                  </a:lnTo>
                  <a:lnTo>
                    <a:pt x="59" y="62"/>
                  </a:lnTo>
                  <a:lnTo>
                    <a:pt x="59" y="62"/>
                  </a:lnTo>
                  <a:lnTo>
                    <a:pt x="61" y="62"/>
                  </a:lnTo>
                  <a:lnTo>
                    <a:pt x="64" y="62"/>
                  </a:lnTo>
                  <a:lnTo>
                    <a:pt x="68" y="66"/>
                  </a:lnTo>
                  <a:lnTo>
                    <a:pt x="68" y="66"/>
                  </a:lnTo>
                  <a:lnTo>
                    <a:pt x="68" y="69"/>
                  </a:lnTo>
                  <a:lnTo>
                    <a:pt x="68" y="71"/>
                  </a:lnTo>
                  <a:lnTo>
                    <a:pt x="68" y="71"/>
                  </a:lnTo>
                  <a:lnTo>
                    <a:pt x="68" y="74"/>
                  </a:lnTo>
                  <a:lnTo>
                    <a:pt x="71" y="74"/>
                  </a:lnTo>
                  <a:lnTo>
                    <a:pt x="73" y="74"/>
                  </a:lnTo>
                  <a:lnTo>
                    <a:pt x="73" y="74"/>
                  </a:lnTo>
                  <a:lnTo>
                    <a:pt x="73" y="74"/>
                  </a:lnTo>
                  <a:lnTo>
                    <a:pt x="73" y="76"/>
                  </a:lnTo>
                  <a:lnTo>
                    <a:pt x="71" y="78"/>
                  </a:lnTo>
                  <a:lnTo>
                    <a:pt x="73" y="81"/>
                  </a:lnTo>
                  <a:lnTo>
                    <a:pt x="71" y="83"/>
                  </a:lnTo>
                  <a:lnTo>
                    <a:pt x="71" y="83"/>
                  </a:lnTo>
                  <a:lnTo>
                    <a:pt x="71" y="88"/>
                  </a:lnTo>
                  <a:lnTo>
                    <a:pt x="71" y="90"/>
                  </a:lnTo>
                  <a:lnTo>
                    <a:pt x="71" y="92"/>
                  </a:lnTo>
                  <a:lnTo>
                    <a:pt x="73" y="97"/>
                  </a:lnTo>
                  <a:lnTo>
                    <a:pt x="76" y="100"/>
                  </a:lnTo>
                  <a:lnTo>
                    <a:pt x="76" y="100"/>
                  </a:lnTo>
                  <a:lnTo>
                    <a:pt x="76" y="100"/>
                  </a:lnTo>
                  <a:lnTo>
                    <a:pt x="78" y="100"/>
                  </a:lnTo>
                  <a:lnTo>
                    <a:pt x="83" y="97"/>
                  </a:lnTo>
                  <a:lnTo>
                    <a:pt x="85" y="95"/>
                  </a:lnTo>
                  <a:lnTo>
                    <a:pt x="92" y="92"/>
                  </a:lnTo>
                  <a:lnTo>
                    <a:pt x="94" y="92"/>
                  </a:lnTo>
                  <a:lnTo>
                    <a:pt x="94" y="90"/>
                  </a:lnTo>
                  <a:lnTo>
                    <a:pt x="97" y="88"/>
                  </a:lnTo>
                  <a:lnTo>
                    <a:pt x="97" y="88"/>
                  </a:lnTo>
                  <a:lnTo>
                    <a:pt x="99" y="88"/>
                  </a:lnTo>
                  <a:lnTo>
                    <a:pt x="102" y="85"/>
                  </a:lnTo>
                  <a:lnTo>
                    <a:pt x="104" y="85"/>
                  </a:lnTo>
                  <a:lnTo>
                    <a:pt x="106" y="83"/>
                  </a:lnTo>
                  <a:lnTo>
                    <a:pt x="109" y="83"/>
                  </a:lnTo>
                  <a:lnTo>
                    <a:pt x="109" y="83"/>
                  </a:lnTo>
                  <a:lnTo>
                    <a:pt x="109" y="83"/>
                  </a:lnTo>
                  <a:lnTo>
                    <a:pt x="111" y="83"/>
                  </a:lnTo>
                  <a:lnTo>
                    <a:pt x="111" y="88"/>
                  </a:lnTo>
                  <a:lnTo>
                    <a:pt x="113" y="88"/>
                  </a:lnTo>
                  <a:lnTo>
                    <a:pt x="113" y="88"/>
                  </a:lnTo>
                  <a:lnTo>
                    <a:pt x="116" y="85"/>
                  </a:lnTo>
                  <a:lnTo>
                    <a:pt x="116" y="88"/>
                  </a:lnTo>
                  <a:lnTo>
                    <a:pt x="116" y="88"/>
                  </a:lnTo>
                  <a:lnTo>
                    <a:pt x="120" y="85"/>
                  </a:lnTo>
                  <a:lnTo>
                    <a:pt x="123" y="85"/>
                  </a:lnTo>
                  <a:lnTo>
                    <a:pt x="125" y="85"/>
                  </a:lnTo>
                  <a:lnTo>
                    <a:pt x="128" y="85"/>
                  </a:lnTo>
                  <a:lnTo>
                    <a:pt x="130" y="85"/>
                  </a:lnTo>
                  <a:lnTo>
                    <a:pt x="130" y="88"/>
                  </a:lnTo>
                  <a:lnTo>
                    <a:pt x="130" y="88"/>
                  </a:lnTo>
                  <a:lnTo>
                    <a:pt x="130" y="88"/>
                  </a:lnTo>
                  <a:lnTo>
                    <a:pt x="132" y="88"/>
                  </a:lnTo>
                  <a:lnTo>
                    <a:pt x="132" y="88"/>
                  </a:lnTo>
                  <a:lnTo>
                    <a:pt x="132" y="76"/>
                  </a:lnTo>
                  <a:lnTo>
                    <a:pt x="130" y="69"/>
                  </a:lnTo>
                  <a:lnTo>
                    <a:pt x="130" y="62"/>
                  </a:lnTo>
                  <a:lnTo>
                    <a:pt x="128" y="59"/>
                  </a:lnTo>
                  <a:lnTo>
                    <a:pt x="120" y="59"/>
                  </a:lnTo>
                  <a:lnTo>
                    <a:pt x="116" y="62"/>
                  </a:lnTo>
                  <a:lnTo>
                    <a:pt x="111" y="59"/>
                  </a:lnTo>
                  <a:lnTo>
                    <a:pt x="109" y="52"/>
                  </a:lnTo>
                  <a:lnTo>
                    <a:pt x="109" y="48"/>
                  </a:lnTo>
                  <a:lnTo>
                    <a:pt x="113" y="36"/>
                  </a:lnTo>
                  <a:lnTo>
                    <a:pt x="113" y="36"/>
                  </a:lnTo>
                  <a:lnTo>
                    <a:pt x="106" y="36"/>
                  </a:lnTo>
                  <a:lnTo>
                    <a:pt x="106" y="41"/>
                  </a:lnTo>
                  <a:lnTo>
                    <a:pt x="102" y="41"/>
                  </a:lnTo>
                  <a:lnTo>
                    <a:pt x="99" y="41"/>
                  </a:lnTo>
                  <a:lnTo>
                    <a:pt x="94" y="41"/>
                  </a:lnTo>
                  <a:lnTo>
                    <a:pt x="90" y="41"/>
                  </a:lnTo>
                  <a:lnTo>
                    <a:pt x="85" y="43"/>
                  </a:lnTo>
                  <a:lnTo>
                    <a:pt x="83" y="41"/>
                  </a:lnTo>
                  <a:lnTo>
                    <a:pt x="78" y="43"/>
                  </a:lnTo>
                  <a:lnTo>
                    <a:pt x="76" y="38"/>
                  </a:lnTo>
                  <a:lnTo>
                    <a:pt x="73" y="36"/>
                  </a:lnTo>
                  <a:lnTo>
                    <a:pt x="71" y="36"/>
                  </a:lnTo>
                  <a:lnTo>
                    <a:pt x="61" y="38"/>
                  </a:lnTo>
                  <a:lnTo>
                    <a:pt x="59" y="38"/>
                  </a:lnTo>
                  <a:lnTo>
                    <a:pt x="57" y="36"/>
                  </a:lnTo>
                  <a:lnTo>
                    <a:pt x="54" y="36"/>
                  </a:lnTo>
                  <a:lnTo>
                    <a:pt x="52" y="36"/>
                  </a:lnTo>
                  <a:lnTo>
                    <a:pt x="45" y="36"/>
                  </a:lnTo>
                  <a:lnTo>
                    <a:pt x="40" y="36"/>
                  </a:lnTo>
                  <a:lnTo>
                    <a:pt x="38" y="36"/>
                  </a:lnTo>
                  <a:lnTo>
                    <a:pt x="35" y="36"/>
                  </a:lnTo>
                  <a:lnTo>
                    <a:pt x="33" y="33"/>
                  </a:lnTo>
                  <a:lnTo>
                    <a:pt x="33" y="29"/>
                  </a:lnTo>
                  <a:lnTo>
                    <a:pt x="33" y="26"/>
                  </a:lnTo>
                  <a:lnTo>
                    <a:pt x="38" y="24"/>
                  </a:lnTo>
                  <a:lnTo>
                    <a:pt x="40" y="24"/>
                  </a:lnTo>
                  <a:lnTo>
                    <a:pt x="42" y="24"/>
                  </a:lnTo>
                  <a:lnTo>
                    <a:pt x="47" y="24"/>
                  </a:lnTo>
                  <a:lnTo>
                    <a:pt x="50" y="24"/>
                  </a:lnTo>
                  <a:lnTo>
                    <a:pt x="54" y="26"/>
                  </a:lnTo>
                  <a:lnTo>
                    <a:pt x="57" y="26"/>
                  </a:lnTo>
                  <a:lnTo>
                    <a:pt x="59" y="24"/>
                  </a:lnTo>
                  <a:lnTo>
                    <a:pt x="61" y="22"/>
                  </a:lnTo>
                  <a:lnTo>
                    <a:pt x="61" y="19"/>
                  </a:lnTo>
                  <a:lnTo>
                    <a:pt x="61" y="19"/>
                  </a:lnTo>
                  <a:lnTo>
                    <a:pt x="59" y="22"/>
                  </a:lnTo>
                  <a:lnTo>
                    <a:pt x="57" y="22"/>
                  </a:lnTo>
                  <a:lnTo>
                    <a:pt x="54" y="19"/>
                  </a:lnTo>
                  <a:lnTo>
                    <a:pt x="52" y="15"/>
                  </a:lnTo>
                  <a:lnTo>
                    <a:pt x="54" y="12"/>
                  </a:lnTo>
                  <a:lnTo>
                    <a:pt x="57" y="10"/>
                  </a:lnTo>
                  <a:lnTo>
                    <a:pt x="59" y="10"/>
                  </a:lnTo>
                  <a:lnTo>
                    <a:pt x="59" y="5"/>
                  </a:lnTo>
                  <a:lnTo>
                    <a:pt x="57" y="5"/>
                  </a:lnTo>
                  <a:lnTo>
                    <a:pt x="57" y="3"/>
                  </a:lnTo>
                  <a:lnTo>
                    <a:pt x="54" y="0"/>
                  </a:lnTo>
                  <a:lnTo>
                    <a:pt x="52" y="3"/>
                  </a:lnTo>
                  <a:lnTo>
                    <a:pt x="50" y="5"/>
                  </a:lnTo>
                  <a:lnTo>
                    <a:pt x="45" y="7"/>
                  </a:lnTo>
                  <a:lnTo>
                    <a:pt x="42" y="10"/>
                  </a:lnTo>
                  <a:lnTo>
                    <a:pt x="40" y="10"/>
                  </a:lnTo>
                  <a:lnTo>
                    <a:pt x="38" y="10"/>
                  </a:lnTo>
                  <a:lnTo>
                    <a:pt x="35" y="10"/>
                  </a:lnTo>
                  <a:lnTo>
                    <a:pt x="35" y="12"/>
                  </a:lnTo>
                  <a:lnTo>
                    <a:pt x="33" y="15"/>
                  </a:lnTo>
                  <a:lnTo>
                    <a:pt x="33" y="17"/>
                  </a:lnTo>
                  <a:lnTo>
                    <a:pt x="33" y="19"/>
                  </a:lnTo>
                  <a:lnTo>
                    <a:pt x="33" y="22"/>
                  </a:lnTo>
                  <a:lnTo>
                    <a:pt x="31" y="24"/>
                  </a:lnTo>
                  <a:lnTo>
                    <a:pt x="26" y="24"/>
                  </a:lnTo>
                  <a:lnTo>
                    <a:pt x="24" y="24"/>
                  </a:lnTo>
                  <a:lnTo>
                    <a:pt x="24" y="29"/>
                  </a:lnTo>
                  <a:lnTo>
                    <a:pt x="19" y="36"/>
                  </a:lnTo>
                  <a:lnTo>
                    <a:pt x="16" y="36"/>
                  </a:lnTo>
                  <a:lnTo>
                    <a:pt x="12" y="36"/>
                  </a:lnTo>
                  <a:lnTo>
                    <a:pt x="9" y="36"/>
                  </a:lnTo>
                  <a:lnTo>
                    <a:pt x="7" y="33"/>
                  </a:lnTo>
                  <a:lnTo>
                    <a:pt x="5" y="33"/>
                  </a:lnTo>
                  <a:lnTo>
                    <a:pt x="2" y="36"/>
                  </a:lnTo>
                  <a:lnTo>
                    <a:pt x="2" y="38"/>
                  </a:lnTo>
                  <a:lnTo>
                    <a:pt x="2" y="41"/>
                  </a:lnTo>
                  <a:lnTo>
                    <a:pt x="0" y="41"/>
                  </a:lnTo>
                  <a:lnTo>
                    <a:pt x="2" y="43"/>
                  </a:lnTo>
                  <a:lnTo>
                    <a:pt x="5" y="45"/>
                  </a:lnTo>
                  <a:lnTo>
                    <a:pt x="5" y="48"/>
                  </a:lnTo>
                  <a:lnTo>
                    <a:pt x="7" y="48"/>
                  </a:lnTo>
                  <a:lnTo>
                    <a:pt x="9" y="48"/>
                  </a:lnTo>
                  <a:lnTo>
                    <a:pt x="12" y="48"/>
                  </a:lnTo>
                  <a:lnTo>
                    <a:pt x="14" y="50"/>
                  </a:lnTo>
                  <a:lnTo>
                    <a:pt x="12" y="55"/>
                  </a:lnTo>
                  <a:lnTo>
                    <a:pt x="12" y="57"/>
                  </a:lnTo>
                  <a:lnTo>
                    <a:pt x="12" y="62"/>
                  </a:lnTo>
                  <a:lnTo>
                    <a:pt x="14" y="64"/>
                  </a:lnTo>
                  <a:lnTo>
                    <a:pt x="16" y="64"/>
                  </a:lnTo>
                  <a:lnTo>
                    <a:pt x="16" y="66"/>
                  </a:lnTo>
                  <a:lnTo>
                    <a:pt x="16" y="69"/>
                  </a:lnTo>
                  <a:lnTo>
                    <a:pt x="14" y="71"/>
                  </a:lnTo>
                  <a:lnTo>
                    <a:pt x="12" y="71"/>
                  </a:lnTo>
                  <a:lnTo>
                    <a:pt x="12" y="74"/>
                  </a:lnTo>
                  <a:lnTo>
                    <a:pt x="9" y="78"/>
                  </a:lnTo>
                  <a:lnTo>
                    <a:pt x="7" y="83"/>
                  </a:lnTo>
                  <a:lnTo>
                    <a:pt x="7" y="83"/>
                  </a:lnTo>
                  <a:lnTo>
                    <a:pt x="7" y="85"/>
                  </a:lnTo>
                  <a:lnTo>
                    <a:pt x="5" y="88"/>
                  </a:lnTo>
                  <a:lnTo>
                    <a:pt x="5" y="88"/>
                  </a:lnTo>
                </a:path>
              </a:pathLst>
            </a:custGeom>
            <a:solidFill>
              <a:srgbClr val="9999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1" name="Freeform 274">
              <a:extLst>
                <a:ext uri="{FF2B5EF4-FFF2-40B4-BE49-F238E27FC236}">
                  <a16:creationId xmlns:a16="http://schemas.microsoft.com/office/drawing/2014/main" id="{85806E68-D115-47E5-BC33-E7CBC5E2964F}"/>
                </a:ext>
              </a:extLst>
            </p:cNvPr>
            <p:cNvSpPr>
              <a:spLocks/>
            </p:cNvSpPr>
            <p:nvPr/>
          </p:nvSpPr>
          <p:spPr bwMode="auto">
            <a:xfrm>
              <a:off x="3718682" y="2833694"/>
              <a:ext cx="873123" cy="431800"/>
            </a:xfrm>
            <a:custGeom>
              <a:avLst/>
              <a:gdLst>
                <a:gd name="T0" fmla="*/ 14 w 550"/>
                <a:gd name="T1" fmla="*/ 73 h 272"/>
                <a:gd name="T2" fmla="*/ 40 w 550"/>
                <a:gd name="T3" fmla="*/ 59 h 272"/>
                <a:gd name="T4" fmla="*/ 78 w 550"/>
                <a:gd name="T5" fmla="*/ 43 h 272"/>
                <a:gd name="T6" fmla="*/ 99 w 550"/>
                <a:gd name="T7" fmla="*/ 50 h 272"/>
                <a:gd name="T8" fmla="*/ 122 w 550"/>
                <a:gd name="T9" fmla="*/ 62 h 272"/>
                <a:gd name="T10" fmla="*/ 160 w 550"/>
                <a:gd name="T11" fmla="*/ 62 h 272"/>
                <a:gd name="T12" fmla="*/ 174 w 550"/>
                <a:gd name="T13" fmla="*/ 52 h 272"/>
                <a:gd name="T14" fmla="*/ 174 w 550"/>
                <a:gd name="T15" fmla="*/ 33 h 272"/>
                <a:gd name="T16" fmla="*/ 184 w 550"/>
                <a:gd name="T17" fmla="*/ 12 h 272"/>
                <a:gd name="T18" fmla="*/ 205 w 550"/>
                <a:gd name="T19" fmla="*/ 3 h 272"/>
                <a:gd name="T20" fmla="*/ 231 w 550"/>
                <a:gd name="T21" fmla="*/ 17 h 272"/>
                <a:gd name="T22" fmla="*/ 250 w 550"/>
                <a:gd name="T23" fmla="*/ 33 h 272"/>
                <a:gd name="T24" fmla="*/ 264 w 550"/>
                <a:gd name="T25" fmla="*/ 50 h 272"/>
                <a:gd name="T26" fmla="*/ 300 w 550"/>
                <a:gd name="T27" fmla="*/ 43 h 272"/>
                <a:gd name="T28" fmla="*/ 328 w 550"/>
                <a:gd name="T29" fmla="*/ 55 h 272"/>
                <a:gd name="T30" fmla="*/ 349 w 550"/>
                <a:gd name="T31" fmla="*/ 64 h 272"/>
                <a:gd name="T32" fmla="*/ 380 w 550"/>
                <a:gd name="T33" fmla="*/ 81 h 272"/>
                <a:gd name="T34" fmla="*/ 418 w 550"/>
                <a:gd name="T35" fmla="*/ 76 h 272"/>
                <a:gd name="T36" fmla="*/ 458 w 550"/>
                <a:gd name="T37" fmla="*/ 59 h 272"/>
                <a:gd name="T38" fmla="*/ 486 w 550"/>
                <a:gd name="T39" fmla="*/ 64 h 272"/>
                <a:gd name="T40" fmla="*/ 498 w 550"/>
                <a:gd name="T41" fmla="*/ 62 h 272"/>
                <a:gd name="T42" fmla="*/ 486 w 550"/>
                <a:gd name="T43" fmla="*/ 81 h 272"/>
                <a:gd name="T44" fmla="*/ 484 w 550"/>
                <a:gd name="T45" fmla="*/ 99 h 272"/>
                <a:gd name="T46" fmla="*/ 486 w 550"/>
                <a:gd name="T47" fmla="*/ 123 h 272"/>
                <a:gd name="T48" fmla="*/ 519 w 550"/>
                <a:gd name="T49" fmla="*/ 118 h 272"/>
                <a:gd name="T50" fmla="*/ 545 w 550"/>
                <a:gd name="T51" fmla="*/ 128 h 272"/>
                <a:gd name="T52" fmla="*/ 550 w 550"/>
                <a:gd name="T53" fmla="*/ 142 h 272"/>
                <a:gd name="T54" fmla="*/ 536 w 550"/>
                <a:gd name="T55" fmla="*/ 147 h 272"/>
                <a:gd name="T56" fmla="*/ 505 w 550"/>
                <a:gd name="T57" fmla="*/ 149 h 272"/>
                <a:gd name="T58" fmla="*/ 477 w 550"/>
                <a:gd name="T59" fmla="*/ 177 h 272"/>
                <a:gd name="T60" fmla="*/ 456 w 550"/>
                <a:gd name="T61" fmla="*/ 189 h 272"/>
                <a:gd name="T62" fmla="*/ 432 w 550"/>
                <a:gd name="T63" fmla="*/ 189 h 272"/>
                <a:gd name="T64" fmla="*/ 413 w 550"/>
                <a:gd name="T65" fmla="*/ 201 h 272"/>
                <a:gd name="T66" fmla="*/ 401 w 550"/>
                <a:gd name="T67" fmla="*/ 236 h 272"/>
                <a:gd name="T68" fmla="*/ 378 w 550"/>
                <a:gd name="T69" fmla="*/ 251 h 272"/>
                <a:gd name="T70" fmla="*/ 354 w 550"/>
                <a:gd name="T71" fmla="*/ 253 h 272"/>
                <a:gd name="T72" fmla="*/ 323 w 550"/>
                <a:gd name="T73" fmla="*/ 258 h 272"/>
                <a:gd name="T74" fmla="*/ 304 w 550"/>
                <a:gd name="T75" fmla="*/ 267 h 272"/>
                <a:gd name="T76" fmla="*/ 288 w 550"/>
                <a:gd name="T77" fmla="*/ 267 h 272"/>
                <a:gd name="T78" fmla="*/ 264 w 550"/>
                <a:gd name="T79" fmla="*/ 260 h 272"/>
                <a:gd name="T80" fmla="*/ 238 w 550"/>
                <a:gd name="T81" fmla="*/ 246 h 272"/>
                <a:gd name="T82" fmla="*/ 215 w 550"/>
                <a:gd name="T83" fmla="*/ 241 h 272"/>
                <a:gd name="T84" fmla="*/ 151 w 550"/>
                <a:gd name="T85" fmla="*/ 239 h 272"/>
                <a:gd name="T86" fmla="*/ 137 w 550"/>
                <a:gd name="T87" fmla="*/ 215 h 272"/>
                <a:gd name="T88" fmla="*/ 122 w 550"/>
                <a:gd name="T89" fmla="*/ 203 h 272"/>
                <a:gd name="T90" fmla="*/ 92 w 550"/>
                <a:gd name="T91" fmla="*/ 192 h 272"/>
                <a:gd name="T92" fmla="*/ 78 w 550"/>
                <a:gd name="T93" fmla="*/ 192 h 272"/>
                <a:gd name="T94" fmla="*/ 49 w 550"/>
                <a:gd name="T95" fmla="*/ 182 h 272"/>
                <a:gd name="T96" fmla="*/ 52 w 550"/>
                <a:gd name="T97" fmla="*/ 161 h 272"/>
                <a:gd name="T98" fmla="*/ 42 w 550"/>
                <a:gd name="T99" fmla="*/ 125 h 272"/>
                <a:gd name="T100" fmla="*/ 23 w 550"/>
                <a:gd name="T101" fmla="*/ 116 h 272"/>
                <a:gd name="T102" fmla="*/ 4 w 550"/>
                <a:gd name="T103" fmla="*/ 102 h 272"/>
                <a:gd name="T104" fmla="*/ 0 w 550"/>
                <a:gd name="T105" fmla="*/ 8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0" h="272">
                  <a:moveTo>
                    <a:pt x="0" y="88"/>
                  </a:moveTo>
                  <a:lnTo>
                    <a:pt x="2" y="81"/>
                  </a:lnTo>
                  <a:lnTo>
                    <a:pt x="9" y="76"/>
                  </a:lnTo>
                  <a:lnTo>
                    <a:pt x="14" y="73"/>
                  </a:lnTo>
                  <a:lnTo>
                    <a:pt x="21" y="71"/>
                  </a:lnTo>
                  <a:lnTo>
                    <a:pt x="26" y="69"/>
                  </a:lnTo>
                  <a:lnTo>
                    <a:pt x="33" y="62"/>
                  </a:lnTo>
                  <a:lnTo>
                    <a:pt x="40" y="59"/>
                  </a:lnTo>
                  <a:lnTo>
                    <a:pt x="49" y="52"/>
                  </a:lnTo>
                  <a:lnTo>
                    <a:pt x="61" y="48"/>
                  </a:lnTo>
                  <a:lnTo>
                    <a:pt x="68" y="45"/>
                  </a:lnTo>
                  <a:lnTo>
                    <a:pt x="78" y="43"/>
                  </a:lnTo>
                  <a:lnTo>
                    <a:pt x="82" y="45"/>
                  </a:lnTo>
                  <a:lnTo>
                    <a:pt x="89" y="48"/>
                  </a:lnTo>
                  <a:lnTo>
                    <a:pt x="92" y="50"/>
                  </a:lnTo>
                  <a:lnTo>
                    <a:pt x="99" y="50"/>
                  </a:lnTo>
                  <a:lnTo>
                    <a:pt x="106" y="48"/>
                  </a:lnTo>
                  <a:lnTo>
                    <a:pt x="111" y="50"/>
                  </a:lnTo>
                  <a:lnTo>
                    <a:pt x="120" y="59"/>
                  </a:lnTo>
                  <a:lnTo>
                    <a:pt x="122" y="62"/>
                  </a:lnTo>
                  <a:lnTo>
                    <a:pt x="127" y="62"/>
                  </a:lnTo>
                  <a:lnTo>
                    <a:pt x="141" y="59"/>
                  </a:lnTo>
                  <a:lnTo>
                    <a:pt x="146" y="62"/>
                  </a:lnTo>
                  <a:lnTo>
                    <a:pt x="160" y="62"/>
                  </a:lnTo>
                  <a:lnTo>
                    <a:pt x="172" y="59"/>
                  </a:lnTo>
                  <a:lnTo>
                    <a:pt x="177" y="59"/>
                  </a:lnTo>
                  <a:lnTo>
                    <a:pt x="177" y="57"/>
                  </a:lnTo>
                  <a:lnTo>
                    <a:pt x="174" y="52"/>
                  </a:lnTo>
                  <a:lnTo>
                    <a:pt x="177" y="48"/>
                  </a:lnTo>
                  <a:lnTo>
                    <a:pt x="179" y="43"/>
                  </a:lnTo>
                  <a:lnTo>
                    <a:pt x="179" y="38"/>
                  </a:lnTo>
                  <a:lnTo>
                    <a:pt x="174" y="33"/>
                  </a:lnTo>
                  <a:lnTo>
                    <a:pt x="174" y="26"/>
                  </a:lnTo>
                  <a:lnTo>
                    <a:pt x="174" y="22"/>
                  </a:lnTo>
                  <a:lnTo>
                    <a:pt x="179" y="17"/>
                  </a:lnTo>
                  <a:lnTo>
                    <a:pt x="184" y="12"/>
                  </a:lnTo>
                  <a:lnTo>
                    <a:pt x="191" y="7"/>
                  </a:lnTo>
                  <a:lnTo>
                    <a:pt x="193" y="3"/>
                  </a:lnTo>
                  <a:lnTo>
                    <a:pt x="198" y="0"/>
                  </a:lnTo>
                  <a:lnTo>
                    <a:pt x="205" y="3"/>
                  </a:lnTo>
                  <a:lnTo>
                    <a:pt x="210" y="7"/>
                  </a:lnTo>
                  <a:lnTo>
                    <a:pt x="222" y="10"/>
                  </a:lnTo>
                  <a:lnTo>
                    <a:pt x="224" y="14"/>
                  </a:lnTo>
                  <a:lnTo>
                    <a:pt x="231" y="17"/>
                  </a:lnTo>
                  <a:lnTo>
                    <a:pt x="241" y="17"/>
                  </a:lnTo>
                  <a:lnTo>
                    <a:pt x="245" y="19"/>
                  </a:lnTo>
                  <a:lnTo>
                    <a:pt x="248" y="24"/>
                  </a:lnTo>
                  <a:lnTo>
                    <a:pt x="250" y="33"/>
                  </a:lnTo>
                  <a:lnTo>
                    <a:pt x="250" y="40"/>
                  </a:lnTo>
                  <a:lnTo>
                    <a:pt x="250" y="40"/>
                  </a:lnTo>
                  <a:lnTo>
                    <a:pt x="255" y="45"/>
                  </a:lnTo>
                  <a:lnTo>
                    <a:pt x="264" y="50"/>
                  </a:lnTo>
                  <a:lnTo>
                    <a:pt x="274" y="55"/>
                  </a:lnTo>
                  <a:lnTo>
                    <a:pt x="283" y="52"/>
                  </a:lnTo>
                  <a:lnTo>
                    <a:pt x="290" y="48"/>
                  </a:lnTo>
                  <a:lnTo>
                    <a:pt x="300" y="43"/>
                  </a:lnTo>
                  <a:lnTo>
                    <a:pt x="309" y="45"/>
                  </a:lnTo>
                  <a:lnTo>
                    <a:pt x="323" y="52"/>
                  </a:lnTo>
                  <a:lnTo>
                    <a:pt x="328" y="55"/>
                  </a:lnTo>
                  <a:lnTo>
                    <a:pt x="328" y="55"/>
                  </a:lnTo>
                  <a:lnTo>
                    <a:pt x="330" y="57"/>
                  </a:lnTo>
                  <a:lnTo>
                    <a:pt x="337" y="62"/>
                  </a:lnTo>
                  <a:lnTo>
                    <a:pt x="345" y="62"/>
                  </a:lnTo>
                  <a:lnTo>
                    <a:pt x="349" y="64"/>
                  </a:lnTo>
                  <a:lnTo>
                    <a:pt x="354" y="71"/>
                  </a:lnTo>
                  <a:lnTo>
                    <a:pt x="363" y="76"/>
                  </a:lnTo>
                  <a:lnTo>
                    <a:pt x="373" y="78"/>
                  </a:lnTo>
                  <a:lnTo>
                    <a:pt x="380" y="81"/>
                  </a:lnTo>
                  <a:lnTo>
                    <a:pt x="387" y="81"/>
                  </a:lnTo>
                  <a:lnTo>
                    <a:pt x="394" y="81"/>
                  </a:lnTo>
                  <a:lnTo>
                    <a:pt x="401" y="83"/>
                  </a:lnTo>
                  <a:lnTo>
                    <a:pt x="418" y="76"/>
                  </a:lnTo>
                  <a:lnTo>
                    <a:pt x="430" y="73"/>
                  </a:lnTo>
                  <a:lnTo>
                    <a:pt x="437" y="73"/>
                  </a:lnTo>
                  <a:lnTo>
                    <a:pt x="448" y="64"/>
                  </a:lnTo>
                  <a:lnTo>
                    <a:pt x="458" y="59"/>
                  </a:lnTo>
                  <a:lnTo>
                    <a:pt x="465" y="55"/>
                  </a:lnTo>
                  <a:lnTo>
                    <a:pt x="472" y="59"/>
                  </a:lnTo>
                  <a:lnTo>
                    <a:pt x="479" y="64"/>
                  </a:lnTo>
                  <a:lnTo>
                    <a:pt x="486" y="64"/>
                  </a:lnTo>
                  <a:lnTo>
                    <a:pt x="491" y="64"/>
                  </a:lnTo>
                  <a:lnTo>
                    <a:pt x="496" y="62"/>
                  </a:lnTo>
                  <a:lnTo>
                    <a:pt x="498" y="62"/>
                  </a:lnTo>
                  <a:lnTo>
                    <a:pt x="498" y="62"/>
                  </a:lnTo>
                  <a:lnTo>
                    <a:pt x="498" y="64"/>
                  </a:lnTo>
                  <a:lnTo>
                    <a:pt x="493" y="66"/>
                  </a:lnTo>
                  <a:lnTo>
                    <a:pt x="489" y="76"/>
                  </a:lnTo>
                  <a:lnTo>
                    <a:pt x="486" y="81"/>
                  </a:lnTo>
                  <a:lnTo>
                    <a:pt x="484" y="83"/>
                  </a:lnTo>
                  <a:lnTo>
                    <a:pt x="484" y="88"/>
                  </a:lnTo>
                  <a:lnTo>
                    <a:pt x="486" y="92"/>
                  </a:lnTo>
                  <a:lnTo>
                    <a:pt x="484" y="99"/>
                  </a:lnTo>
                  <a:lnTo>
                    <a:pt x="482" y="104"/>
                  </a:lnTo>
                  <a:lnTo>
                    <a:pt x="482" y="111"/>
                  </a:lnTo>
                  <a:lnTo>
                    <a:pt x="484" y="118"/>
                  </a:lnTo>
                  <a:lnTo>
                    <a:pt x="486" y="123"/>
                  </a:lnTo>
                  <a:lnTo>
                    <a:pt x="498" y="125"/>
                  </a:lnTo>
                  <a:lnTo>
                    <a:pt x="508" y="125"/>
                  </a:lnTo>
                  <a:lnTo>
                    <a:pt x="515" y="123"/>
                  </a:lnTo>
                  <a:lnTo>
                    <a:pt x="519" y="118"/>
                  </a:lnTo>
                  <a:lnTo>
                    <a:pt x="529" y="111"/>
                  </a:lnTo>
                  <a:lnTo>
                    <a:pt x="531" y="116"/>
                  </a:lnTo>
                  <a:lnTo>
                    <a:pt x="536" y="121"/>
                  </a:lnTo>
                  <a:lnTo>
                    <a:pt x="545" y="128"/>
                  </a:lnTo>
                  <a:lnTo>
                    <a:pt x="548" y="133"/>
                  </a:lnTo>
                  <a:lnTo>
                    <a:pt x="545" y="137"/>
                  </a:lnTo>
                  <a:lnTo>
                    <a:pt x="545" y="140"/>
                  </a:lnTo>
                  <a:lnTo>
                    <a:pt x="550" y="142"/>
                  </a:lnTo>
                  <a:lnTo>
                    <a:pt x="550" y="147"/>
                  </a:lnTo>
                  <a:lnTo>
                    <a:pt x="548" y="149"/>
                  </a:lnTo>
                  <a:lnTo>
                    <a:pt x="543" y="149"/>
                  </a:lnTo>
                  <a:lnTo>
                    <a:pt x="536" y="147"/>
                  </a:lnTo>
                  <a:lnTo>
                    <a:pt x="529" y="149"/>
                  </a:lnTo>
                  <a:lnTo>
                    <a:pt x="519" y="149"/>
                  </a:lnTo>
                  <a:lnTo>
                    <a:pt x="512" y="149"/>
                  </a:lnTo>
                  <a:lnTo>
                    <a:pt x="505" y="149"/>
                  </a:lnTo>
                  <a:lnTo>
                    <a:pt x="500" y="154"/>
                  </a:lnTo>
                  <a:lnTo>
                    <a:pt x="484" y="173"/>
                  </a:lnTo>
                  <a:lnTo>
                    <a:pt x="479" y="175"/>
                  </a:lnTo>
                  <a:lnTo>
                    <a:pt x="477" y="177"/>
                  </a:lnTo>
                  <a:lnTo>
                    <a:pt x="472" y="177"/>
                  </a:lnTo>
                  <a:lnTo>
                    <a:pt x="470" y="177"/>
                  </a:lnTo>
                  <a:lnTo>
                    <a:pt x="463" y="185"/>
                  </a:lnTo>
                  <a:lnTo>
                    <a:pt x="456" y="189"/>
                  </a:lnTo>
                  <a:lnTo>
                    <a:pt x="448" y="196"/>
                  </a:lnTo>
                  <a:lnTo>
                    <a:pt x="441" y="196"/>
                  </a:lnTo>
                  <a:lnTo>
                    <a:pt x="437" y="194"/>
                  </a:lnTo>
                  <a:lnTo>
                    <a:pt x="432" y="189"/>
                  </a:lnTo>
                  <a:lnTo>
                    <a:pt x="427" y="189"/>
                  </a:lnTo>
                  <a:lnTo>
                    <a:pt x="420" y="192"/>
                  </a:lnTo>
                  <a:lnTo>
                    <a:pt x="418" y="196"/>
                  </a:lnTo>
                  <a:lnTo>
                    <a:pt x="413" y="201"/>
                  </a:lnTo>
                  <a:lnTo>
                    <a:pt x="413" y="206"/>
                  </a:lnTo>
                  <a:lnTo>
                    <a:pt x="418" y="215"/>
                  </a:lnTo>
                  <a:lnTo>
                    <a:pt x="420" y="220"/>
                  </a:lnTo>
                  <a:lnTo>
                    <a:pt x="401" y="236"/>
                  </a:lnTo>
                  <a:lnTo>
                    <a:pt x="399" y="241"/>
                  </a:lnTo>
                  <a:lnTo>
                    <a:pt x="392" y="246"/>
                  </a:lnTo>
                  <a:lnTo>
                    <a:pt x="387" y="248"/>
                  </a:lnTo>
                  <a:lnTo>
                    <a:pt x="378" y="251"/>
                  </a:lnTo>
                  <a:lnTo>
                    <a:pt x="368" y="253"/>
                  </a:lnTo>
                  <a:lnTo>
                    <a:pt x="368" y="253"/>
                  </a:lnTo>
                  <a:lnTo>
                    <a:pt x="359" y="251"/>
                  </a:lnTo>
                  <a:lnTo>
                    <a:pt x="354" y="253"/>
                  </a:lnTo>
                  <a:lnTo>
                    <a:pt x="345" y="253"/>
                  </a:lnTo>
                  <a:lnTo>
                    <a:pt x="340" y="255"/>
                  </a:lnTo>
                  <a:lnTo>
                    <a:pt x="328" y="255"/>
                  </a:lnTo>
                  <a:lnTo>
                    <a:pt x="323" y="258"/>
                  </a:lnTo>
                  <a:lnTo>
                    <a:pt x="321" y="260"/>
                  </a:lnTo>
                  <a:lnTo>
                    <a:pt x="319" y="262"/>
                  </a:lnTo>
                  <a:lnTo>
                    <a:pt x="314" y="262"/>
                  </a:lnTo>
                  <a:lnTo>
                    <a:pt x="304" y="267"/>
                  </a:lnTo>
                  <a:lnTo>
                    <a:pt x="300" y="270"/>
                  </a:lnTo>
                  <a:lnTo>
                    <a:pt x="295" y="272"/>
                  </a:lnTo>
                  <a:lnTo>
                    <a:pt x="293" y="270"/>
                  </a:lnTo>
                  <a:lnTo>
                    <a:pt x="288" y="267"/>
                  </a:lnTo>
                  <a:lnTo>
                    <a:pt x="285" y="267"/>
                  </a:lnTo>
                  <a:lnTo>
                    <a:pt x="278" y="265"/>
                  </a:lnTo>
                  <a:lnTo>
                    <a:pt x="271" y="265"/>
                  </a:lnTo>
                  <a:lnTo>
                    <a:pt x="264" y="260"/>
                  </a:lnTo>
                  <a:lnTo>
                    <a:pt x="255" y="258"/>
                  </a:lnTo>
                  <a:lnTo>
                    <a:pt x="248" y="255"/>
                  </a:lnTo>
                  <a:lnTo>
                    <a:pt x="243" y="251"/>
                  </a:lnTo>
                  <a:lnTo>
                    <a:pt x="238" y="246"/>
                  </a:lnTo>
                  <a:lnTo>
                    <a:pt x="236" y="246"/>
                  </a:lnTo>
                  <a:lnTo>
                    <a:pt x="224" y="241"/>
                  </a:lnTo>
                  <a:lnTo>
                    <a:pt x="219" y="241"/>
                  </a:lnTo>
                  <a:lnTo>
                    <a:pt x="215" y="241"/>
                  </a:lnTo>
                  <a:lnTo>
                    <a:pt x="167" y="246"/>
                  </a:lnTo>
                  <a:lnTo>
                    <a:pt x="160" y="246"/>
                  </a:lnTo>
                  <a:lnTo>
                    <a:pt x="156" y="244"/>
                  </a:lnTo>
                  <a:lnTo>
                    <a:pt x="151" y="239"/>
                  </a:lnTo>
                  <a:lnTo>
                    <a:pt x="146" y="234"/>
                  </a:lnTo>
                  <a:lnTo>
                    <a:pt x="141" y="229"/>
                  </a:lnTo>
                  <a:lnTo>
                    <a:pt x="139" y="222"/>
                  </a:lnTo>
                  <a:lnTo>
                    <a:pt x="137" y="215"/>
                  </a:lnTo>
                  <a:lnTo>
                    <a:pt x="132" y="210"/>
                  </a:lnTo>
                  <a:lnTo>
                    <a:pt x="130" y="206"/>
                  </a:lnTo>
                  <a:lnTo>
                    <a:pt x="125" y="206"/>
                  </a:lnTo>
                  <a:lnTo>
                    <a:pt x="122" y="203"/>
                  </a:lnTo>
                  <a:lnTo>
                    <a:pt x="111" y="201"/>
                  </a:lnTo>
                  <a:lnTo>
                    <a:pt x="106" y="196"/>
                  </a:lnTo>
                  <a:lnTo>
                    <a:pt x="101" y="194"/>
                  </a:lnTo>
                  <a:lnTo>
                    <a:pt x="92" y="192"/>
                  </a:lnTo>
                  <a:lnTo>
                    <a:pt x="89" y="189"/>
                  </a:lnTo>
                  <a:lnTo>
                    <a:pt x="85" y="189"/>
                  </a:lnTo>
                  <a:lnTo>
                    <a:pt x="80" y="192"/>
                  </a:lnTo>
                  <a:lnTo>
                    <a:pt x="78" y="192"/>
                  </a:lnTo>
                  <a:lnTo>
                    <a:pt x="66" y="187"/>
                  </a:lnTo>
                  <a:lnTo>
                    <a:pt x="56" y="187"/>
                  </a:lnTo>
                  <a:lnTo>
                    <a:pt x="52" y="185"/>
                  </a:lnTo>
                  <a:lnTo>
                    <a:pt x="49" y="182"/>
                  </a:lnTo>
                  <a:lnTo>
                    <a:pt x="49" y="177"/>
                  </a:lnTo>
                  <a:lnTo>
                    <a:pt x="52" y="173"/>
                  </a:lnTo>
                  <a:lnTo>
                    <a:pt x="52" y="166"/>
                  </a:lnTo>
                  <a:lnTo>
                    <a:pt x="52" y="161"/>
                  </a:lnTo>
                  <a:lnTo>
                    <a:pt x="52" y="151"/>
                  </a:lnTo>
                  <a:lnTo>
                    <a:pt x="47" y="137"/>
                  </a:lnTo>
                  <a:lnTo>
                    <a:pt x="45" y="133"/>
                  </a:lnTo>
                  <a:lnTo>
                    <a:pt x="42" y="125"/>
                  </a:lnTo>
                  <a:lnTo>
                    <a:pt x="40" y="121"/>
                  </a:lnTo>
                  <a:lnTo>
                    <a:pt x="33" y="118"/>
                  </a:lnTo>
                  <a:lnTo>
                    <a:pt x="28" y="116"/>
                  </a:lnTo>
                  <a:lnTo>
                    <a:pt x="23" y="116"/>
                  </a:lnTo>
                  <a:lnTo>
                    <a:pt x="21" y="118"/>
                  </a:lnTo>
                  <a:lnTo>
                    <a:pt x="16" y="116"/>
                  </a:lnTo>
                  <a:lnTo>
                    <a:pt x="14" y="109"/>
                  </a:lnTo>
                  <a:lnTo>
                    <a:pt x="4" y="102"/>
                  </a:lnTo>
                  <a:lnTo>
                    <a:pt x="0" y="92"/>
                  </a:lnTo>
                  <a:lnTo>
                    <a:pt x="0" y="90"/>
                  </a:lnTo>
                  <a:lnTo>
                    <a:pt x="0" y="88"/>
                  </a:lnTo>
                  <a:lnTo>
                    <a:pt x="0" y="88"/>
                  </a:lnTo>
                </a:path>
              </a:pathLst>
            </a:custGeom>
            <a:solidFill>
              <a:srgbClr val="FFE6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2" name="Freeform 277">
              <a:extLst>
                <a:ext uri="{FF2B5EF4-FFF2-40B4-BE49-F238E27FC236}">
                  <a16:creationId xmlns:a16="http://schemas.microsoft.com/office/drawing/2014/main" id="{4D2E45D7-69AC-4871-96DE-BB4CD8EF13D1}"/>
                </a:ext>
              </a:extLst>
            </p:cNvPr>
            <p:cNvSpPr>
              <a:spLocks/>
            </p:cNvSpPr>
            <p:nvPr/>
          </p:nvSpPr>
          <p:spPr bwMode="auto">
            <a:xfrm>
              <a:off x="1669303" y="2714590"/>
              <a:ext cx="273050" cy="258763"/>
            </a:xfrm>
            <a:custGeom>
              <a:avLst/>
              <a:gdLst>
                <a:gd name="T0" fmla="*/ 165 w 172"/>
                <a:gd name="T1" fmla="*/ 104 h 163"/>
                <a:gd name="T2" fmla="*/ 170 w 172"/>
                <a:gd name="T3" fmla="*/ 114 h 163"/>
                <a:gd name="T4" fmla="*/ 170 w 172"/>
                <a:gd name="T5" fmla="*/ 126 h 163"/>
                <a:gd name="T6" fmla="*/ 153 w 172"/>
                <a:gd name="T7" fmla="*/ 142 h 163"/>
                <a:gd name="T8" fmla="*/ 148 w 172"/>
                <a:gd name="T9" fmla="*/ 163 h 163"/>
                <a:gd name="T10" fmla="*/ 141 w 172"/>
                <a:gd name="T11" fmla="*/ 161 h 163"/>
                <a:gd name="T12" fmla="*/ 132 w 172"/>
                <a:gd name="T13" fmla="*/ 154 h 163"/>
                <a:gd name="T14" fmla="*/ 120 w 172"/>
                <a:gd name="T15" fmla="*/ 156 h 163"/>
                <a:gd name="T16" fmla="*/ 108 w 172"/>
                <a:gd name="T17" fmla="*/ 154 h 163"/>
                <a:gd name="T18" fmla="*/ 99 w 172"/>
                <a:gd name="T19" fmla="*/ 159 h 163"/>
                <a:gd name="T20" fmla="*/ 92 w 172"/>
                <a:gd name="T21" fmla="*/ 151 h 163"/>
                <a:gd name="T22" fmla="*/ 80 w 172"/>
                <a:gd name="T23" fmla="*/ 151 h 163"/>
                <a:gd name="T24" fmla="*/ 66 w 172"/>
                <a:gd name="T25" fmla="*/ 137 h 163"/>
                <a:gd name="T26" fmla="*/ 61 w 172"/>
                <a:gd name="T27" fmla="*/ 130 h 163"/>
                <a:gd name="T28" fmla="*/ 47 w 172"/>
                <a:gd name="T29" fmla="*/ 130 h 163"/>
                <a:gd name="T30" fmla="*/ 42 w 172"/>
                <a:gd name="T31" fmla="*/ 133 h 163"/>
                <a:gd name="T32" fmla="*/ 37 w 172"/>
                <a:gd name="T33" fmla="*/ 123 h 163"/>
                <a:gd name="T34" fmla="*/ 30 w 172"/>
                <a:gd name="T35" fmla="*/ 118 h 163"/>
                <a:gd name="T36" fmla="*/ 18 w 172"/>
                <a:gd name="T37" fmla="*/ 114 h 163"/>
                <a:gd name="T38" fmla="*/ 9 w 172"/>
                <a:gd name="T39" fmla="*/ 116 h 163"/>
                <a:gd name="T40" fmla="*/ 11 w 172"/>
                <a:gd name="T41" fmla="*/ 102 h 163"/>
                <a:gd name="T42" fmla="*/ 7 w 172"/>
                <a:gd name="T43" fmla="*/ 85 h 163"/>
                <a:gd name="T44" fmla="*/ 4 w 172"/>
                <a:gd name="T45" fmla="*/ 74 h 163"/>
                <a:gd name="T46" fmla="*/ 0 w 172"/>
                <a:gd name="T47" fmla="*/ 59 h 163"/>
                <a:gd name="T48" fmla="*/ 2 w 172"/>
                <a:gd name="T49" fmla="*/ 50 h 163"/>
                <a:gd name="T50" fmla="*/ 0 w 172"/>
                <a:gd name="T51" fmla="*/ 36 h 163"/>
                <a:gd name="T52" fmla="*/ 4 w 172"/>
                <a:gd name="T53" fmla="*/ 33 h 163"/>
                <a:gd name="T54" fmla="*/ 4 w 172"/>
                <a:gd name="T55" fmla="*/ 29 h 163"/>
                <a:gd name="T56" fmla="*/ 11 w 172"/>
                <a:gd name="T57" fmla="*/ 24 h 163"/>
                <a:gd name="T58" fmla="*/ 30 w 172"/>
                <a:gd name="T59" fmla="*/ 17 h 163"/>
                <a:gd name="T60" fmla="*/ 54 w 172"/>
                <a:gd name="T61" fmla="*/ 3 h 163"/>
                <a:gd name="T62" fmla="*/ 75 w 172"/>
                <a:gd name="T63" fmla="*/ 0 h 163"/>
                <a:gd name="T64" fmla="*/ 80 w 172"/>
                <a:gd name="T65" fmla="*/ 7 h 163"/>
                <a:gd name="T66" fmla="*/ 78 w 172"/>
                <a:gd name="T67" fmla="*/ 17 h 163"/>
                <a:gd name="T68" fmla="*/ 82 w 172"/>
                <a:gd name="T69" fmla="*/ 14 h 163"/>
                <a:gd name="T70" fmla="*/ 92 w 172"/>
                <a:gd name="T71" fmla="*/ 14 h 163"/>
                <a:gd name="T72" fmla="*/ 118 w 172"/>
                <a:gd name="T73" fmla="*/ 17 h 163"/>
                <a:gd name="T74" fmla="*/ 151 w 172"/>
                <a:gd name="T75" fmla="*/ 14 h 163"/>
                <a:gd name="T76" fmla="*/ 163 w 172"/>
                <a:gd name="T77" fmla="*/ 24 h 163"/>
                <a:gd name="T78" fmla="*/ 167 w 172"/>
                <a:gd name="T79" fmla="*/ 52 h 163"/>
                <a:gd name="T80" fmla="*/ 165 w 172"/>
                <a:gd name="T81" fmla="*/ 69 h 163"/>
                <a:gd name="T82" fmla="*/ 158 w 172"/>
                <a:gd name="T83" fmla="*/ 7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 h="163">
                  <a:moveTo>
                    <a:pt x="163" y="95"/>
                  </a:moveTo>
                  <a:lnTo>
                    <a:pt x="163" y="100"/>
                  </a:lnTo>
                  <a:lnTo>
                    <a:pt x="165" y="104"/>
                  </a:lnTo>
                  <a:lnTo>
                    <a:pt x="167" y="109"/>
                  </a:lnTo>
                  <a:lnTo>
                    <a:pt x="167" y="109"/>
                  </a:lnTo>
                  <a:lnTo>
                    <a:pt x="170" y="114"/>
                  </a:lnTo>
                  <a:lnTo>
                    <a:pt x="170" y="118"/>
                  </a:lnTo>
                  <a:lnTo>
                    <a:pt x="172" y="123"/>
                  </a:lnTo>
                  <a:lnTo>
                    <a:pt x="170" y="126"/>
                  </a:lnTo>
                  <a:lnTo>
                    <a:pt x="165" y="130"/>
                  </a:lnTo>
                  <a:lnTo>
                    <a:pt x="158" y="135"/>
                  </a:lnTo>
                  <a:lnTo>
                    <a:pt x="153" y="142"/>
                  </a:lnTo>
                  <a:lnTo>
                    <a:pt x="148" y="154"/>
                  </a:lnTo>
                  <a:lnTo>
                    <a:pt x="148" y="159"/>
                  </a:lnTo>
                  <a:lnTo>
                    <a:pt x="148" y="163"/>
                  </a:lnTo>
                  <a:lnTo>
                    <a:pt x="146" y="163"/>
                  </a:lnTo>
                  <a:lnTo>
                    <a:pt x="144" y="163"/>
                  </a:lnTo>
                  <a:lnTo>
                    <a:pt x="141" y="161"/>
                  </a:lnTo>
                  <a:lnTo>
                    <a:pt x="137" y="159"/>
                  </a:lnTo>
                  <a:lnTo>
                    <a:pt x="134" y="156"/>
                  </a:lnTo>
                  <a:lnTo>
                    <a:pt x="132" y="154"/>
                  </a:lnTo>
                  <a:lnTo>
                    <a:pt x="127" y="154"/>
                  </a:lnTo>
                  <a:lnTo>
                    <a:pt x="122" y="154"/>
                  </a:lnTo>
                  <a:lnTo>
                    <a:pt x="120" y="156"/>
                  </a:lnTo>
                  <a:lnTo>
                    <a:pt x="118" y="156"/>
                  </a:lnTo>
                  <a:lnTo>
                    <a:pt x="113" y="154"/>
                  </a:lnTo>
                  <a:lnTo>
                    <a:pt x="108" y="154"/>
                  </a:lnTo>
                  <a:lnTo>
                    <a:pt x="106" y="159"/>
                  </a:lnTo>
                  <a:lnTo>
                    <a:pt x="101" y="159"/>
                  </a:lnTo>
                  <a:lnTo>
                    <a:pt x="99" y="159"/>
                  </a:lnTo>
                  <a:lnTo>
                    <a:pt x="96" y="156"/>
                  </a:lnTo>
                  <a:lnTo>
                    <a:pt x="94" y="151"/>
                  </a:lnTo>
                  <a:lnTo>
                    <a:pt x="92" y="151"/>
                  </a:lnTo>
                  <a:lnTo>
                    <a:pt x="87" y="151"/>
                  </a:lnTo>
                  <a:lnTo>
                    <a:pt x="85" y="154"/>
                  </a:lnTo>
                  <a:lnTo>
                    <a:pt x="80" y="151"/>
                  </a:lnTo>
                  <a:lnTo>
                    <a:pt x="75" y="149"/>
                  </a:lnTo>
                  <a:lnTo>
                    <a:pt x="68" y="140"/>
                  </a:lnTo>
                  <a:lnTo>
                    <a:pt x="66" y="137"/>
                  </a:lnTo>
                  <a:lnTo>
                    <a:pt x="63" y="140"/>
                  </a:lnTo>
                  <a:lnTo>
                    <a:pt x="61" y="137"/>
                  </a:lnTo>
                  <a:lnTo>
                    <a:pt x="61" y="130"/>
                  </a:lnTo>
                  <a:lnTo>
                    <a:pt x="54" y="130"/>
                  </a:lnTo>
                  <a:lnTo>
                    <a:pt x="47" y="128"/>
                  </a:lnTo>
                  <a:lnTo>
                    <a:pt x="47" y="130"/>
                  </a:lnTo>
                  <a:lnTo>
                    <a:pt x="47" y="133"/>
                  </a:lnTo>
                  <a:lnTo>
                    <a:pt x="44" y="135"/>
                  </a:lnTo>
                  <a:lnTo>
                    <a:pt x="42" y="133"/>
                  </a:lnTo>
                  <a:lnTo>
                    <a:pt x="35" y="128"/>
                  </a:lnTo>
                  <a:lnTo>
                    <a:pt x="37" y="123"/>
                  </a:lnTo>
                  <a:lnTo>
                    <a:pt x="37" y="123"/>
                  </a:lnTo>
                  <a:lnTo>
                    <a:pt x="37" y="123"/>
                  </a:lnTo>
                  <a:lnTo>
                    <a:pt x="33" y="121"/>
                  </a:lnTo>
                  <a:lnTo>
                    <a:pt x="30" y="118"/>
                  </a:lnTo>
                  <a:lnTo>
                    <a:pt x="23" y="116"/>
                  </a:lnTo>
                  <a:lnTo>
                    <a:pt x="21" y="116"/>
                  </a:lnTo>
                  <a:lnTo>
                    <a:pt x="18" y="114"/>
                  </a:lnTo>
                  <a:lnTo>
                    <a:pt x="16" y="111"/>
                  </a:lnTo>
                  <a:lnTo>
                    <a:pt x="11" y="116"/>
                  </a:lnTo>
                  <a:lnTo>
                    <a:pt x="9" y="116"/>
                  </a:lnTo>
                  <a:lnTo>
                    <a:pt x="11" y="114"/>
                  </a:lnTo>
                  <a:lnTo>
                    <a:pt x="11" y="107"/>
                  </a:lnTo>
                  <a:lnTo>
                    <a:pt x="11" y="102"/>
                  </a:lnTo>
                  <a:lnTo>
                    <a:pt x="11" y="100"/>
                  </a:lnTo>
                  <a:lnTo>
                    <a:pt x="7" y="92"/>
                  </a:lnTo>
                  <a:lnTo>
                    <a:pt x="7" y="85"/>
                  </a:lnTo>
                  <a:lnTo>
                    <a:pt x="7" y="83"/>
                  </a:lnTo>
                  <a:lnTo>
                    <a:pt x="7" y="78"/>
                  </a:lnTo>
                  <a:lnTo>
                    <a:pt x="4" y="74"/>
                  </a:lnTo>
                  <a:lnTo>
                    <a:pt x="4" y="66"/>
                  </a:lnTo>
                  <a:lnTo>
                    <a:pt x="4" y="64"/>
                  </a:lnTo>
                  <a:lnTo>
                    <a:pt x="0" y="59"/>
                  </a:lnTo>
                  <a:lnTo>
                    <a:pt x="0" y="57"/>
                  </a:lnTo>
                  <a:lnTo>
                    <a:pt x="0" y="55"/>
                  </a:lnTo>
                  <a:lnTo>
                    <a:pt x="2" y="50"/>
                  </a:lnTo>
                  <a:lnTo>
                    <a:pt x="2" y="48"/>
                  </a:lnTo>
                  <a:lnTo>
                    <a:pt x="2" y="40"/>
                  </a:lnTo>
                  <a:lnTo>
                    <a:pt x="0" y="36"/>
                  </a:lnTo>
                  <a:lnTo>
                    <a:pt x="0" y="33"/>
                  </a:lnTo>
                  <a:lnTo>
                    <a:pt x="4" y="36"/>
                  </a:lnTo>
                  <a:lnTo>
                    <a:pt x="4" y="33"/>
                  </a:lnTo>
                  <a:lnTo>
                    <a:pt x="4" y="31"/>
                  </a:lnTo>
                  <a:lnTo>
                    <a:pt x="2" y="29"/>
                  </a:lnTo>
                  <a:lnTo>
                    <a:pt x="4" y="29"/>
                  </a:lnTo>
                  <a:lnTo>
                    <a:pt x="7" y="26"/>
                  </a:lnTo>
                  <a:lnTo>
                    <a:pt x="7" y="29"/>
                  </a:lnTo>
                  <a:lnTo>
                    <a:pt x="11" y="24"/>
                  </a:lnTo>
                  <a:lnTo>
                    <a:pt x="16" y="22"/>
                  </a:lnTo>
                  <a:lnTo>
                    <a:pt x="21" y="19"/>
                  </a:lnTo>
                  <a:lnTo>
                    <a:pt x="30" y="17"/>
                  </a:lnTo>
                  <a:lnTo>
                    <a:pt x="42" y="7"/>
                  </a:lnTo>
                  <a:lnTo>
                    <a:pt x="47" y="7"/>
                  </a:lnTo>
                  <a:lnTo>
                    <a:pt x="54" y="3"/>
                  </a:lnTo>
                  <a:lnTo>
                    <a:pt x="66" y="0"/>
                  </a:lnTo>
                  <a:lnTo>
                    <a:pt x="70" y="0"/>
                  </a:lnTo>
                  <a:lnTo>
                    <a:pt x="75" y="0"/>
                  </a:lnTo>
                  <a:lnTo>
                    <a:pt x="78" y="3"/>
                  </a:lnTo>
                  <a:lnTo>
                    <a:pt x="80" y="5"/>
                  </a:lnTo>
                  <a:lnTo>
                    <a:pt x="80" y="7"/>
                  </a:lnTo>
                  <a:lnTo>
                    <a:pt x="73" y="3"/>
                  </a:lnTo>
                  <a:lnTo>
                    <a:pt x="75" y="5"/>
                  </a:lnTo>
                  <a:lnTo>
                    <a:pt x="78" y="17"/>
                  </a:lnTo>
                  <a:lnTo>
                    <a:pt x="80" y="17"/>
                  </a:lnTo>
                  <a:lnTo>
                    <a:pt x="80" y="17"/>
                  </a:lnTo>
                  <a:lnTo>
                    <a:pt x="82" y="14"/>
                  </a:lnTo>
                  <a:lnTo>
                    <a:pt x="82" y="14"/>
                  </a:lnTo>
                  <a:lnTo>
                    <a:pt x="87" y="14"/>
                  </a:lnTo>
                  <a:lnTo>
                    <a:pt x="92" y="14"/>
                  </a:lnTo>
                  <a:lnTo>
                    <a:pt x="94" y="12"/>
                  </a:lnTo>
                  <a:lnTo>
                    <a:pt x="99" y="12"/>
                  </a:lnTo>
                  <a:lnTo>
                    <a:pt x="118" y="17"/>
                  </a:lnTo>
                  <a:lnTo>
                    <a:pt x="134" y="17"/>
                  </a:lnTo>
                  <a:lnTo>
                    <a:pt x="144" y="14"/>
                  </a:lnTo>
                  <a:lnTo>
                    <a:pt x="151" y="14"/>
                  </a:lnTo>
                  <a:lnTo>
                    <a:pt x="155" y="17"/>
                  </a:lnTo>
                  <a:lnTo>
                    <a:pt x="160" y="19"/>
                  </a:lnTo>
                  <a:lnTo>
                    <a:pt x="163" y="24"/>
                  </a:lnTo>
                  <a:lnTo>
                    <a:pt x="163" y="26"/>
                  </a:lnTo>
                  <a:lnTo>
                    <a:pt x="163" y="29"/>
                  </a:lnTo>
                  <a:lnTo>
                    <a:pt x="167" y="52"/>
                  </a:lnTo>
                  <a:lnTo>
                    <a:pt x="170" y="57"/>
                  </a:lnTo>
                  <a:lnTo>
                    <a:pt x="167" y="62"/>
                  </a:lnTo>
                  <a:lnTo>
                    <a:pt x="165" y="69"/>
                  </a:lnTo>
                  <a:lnTo>
                    <a:pt x="160" y="71"/>
                  </a:lnTo>
                  <a:lnTo>
                    <a:pt x="155" y="74"/>
                  </a:lnTo>
                  <a:lnTo>
                    <a:pt x="158" y="78"/>
                  </a:lnTo>
                  <a:lnTo>
                    <a:pt x="163" y="83"/>
                  </a:lnTo>
                  <a:lnTo>
                    <a:pt x="163" y="9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3" name="Freeform 278">
              <a:extLst>
                <a:ext uri="{FF2B5EF4-FFF2-40B4-BE49-F238E27FC236}">
                  <a16:creationId xmlns:a16="http://schemas.microsoft.com/office/drawing/2014/main" id="{459211BD-9937-47CA-92BD-A1C66FD83646}"/>
                </a:ext>
              </a:extLst>
            </p:cNvPr>
            <p:cNvSpPr>
              <a:spLocks/>
            </p:cNvSpPr>
            <p:nvPr/>
          </p:nvSpPr>
          <p:spPr bwMode="auto">
            <a:xfrm>
              <a:off x="1669303" y="2714590"/>
              <a:ext cx="273050" cy="258763"/>
            </a:xfrm>
            <a:custGeom>
              <a:avLst/>
              <a:gdLst>
                <a:gd name="T0" fmla="*/ 165 w 172"/>
                <a:gd name="T1" fmla="*/ 104 h 163"/>
                <a:gd name="T2" fmla="*/ 170 w 172"/>
                <a:gd name="T3" fmla="*/ 114 h 163"/>
                <a:gd name="T4" fmla="*/ 170 w 172"/>
                <a:gd name="T5" fmla="*/ 126 h 163"/>
                <a:gd name="T6" fmla="*/ 153 w 172"/>
                <a:gd name="T7" fmla="*/ 142 h 163"/>
                <a:gd name="T8" fmla="*/ 148 w 172"/>
                <a:gd name="T9" fmla="*/ 163 h 163"/>
                <a:gd name="T10" fmla="*/ 141 w 172"/>
                <a:gd name="T11" fmla="*/ 161 h 163"/>
                <a:gd name="T12" fmla="*/ 132 w 172"/>
                <a:gd name="T13" fmla="*/ 154 h 163"/>
                <a:gd name="T14" fmla="*/ 120 w 172"/>
                <a:gd name="T15" fmla="*/ 156 h 163"/>
                <a:gd name="T16" fmla="*/ 108 w 172"/>
                <a:gd name="T17" fmla="*/ 154 h 163"/>
                <a:gd name="T18" fmla="*/ 99 w 172"/>
                <a:gd name="T19" fmla="*/ 159 h 163"/>
                <a:gd name="T20" fmla="*/ 92 w 172"/>
                <a:gd name="T21" fmla="*/ 151 h 163"/>
                <a:gd name="T22" fmla="*/ 80 w 172"/>
                <a:gd name="T23" fmla="*/ 151 h 163"/>
                <a:gd name="T24" fmla="*/ 66 w 172"/>
                <a:gd name="T25" fmla="*/ 137 h 163"/>
                <a:gd name="T26" fmla="*/ 61 w 172"/>
                <a:gd name="T27" fmla="*/ 130 h 163"/>
                <a:gd name="T28" fmla="*/ 47 w 172"/>
                <a:gd name="T29" fmla="*/ 130 h 163"/>
                <a:gd name="T30" fmla="*/ 42 w 172"/>
                <a:gd name="T31" fmla="*/ 133 h 163"/>
                <a:gd name="T32" fmla="*/ 37 w 172"/>
                <a:gd name="T33" fmla="*/ 123 h 163"/>
                <a:gd name="T34" fmla="*/ 30 w 172"/>
                <a:gd name="T35" fmla="*/ 118 h 163"/>
                <a:gd name="T36" fmla="*/ 18 w 172"/>
                <a:gd name="T37" fmla="*/ 114 h 163"/>
                <a:gd name="T38" fmla="*/ 9 w 172"/>
                <a:gd name="T39" fmla="*/ 116 h 163"/>
                <a:gd name="T40" fmla="*/ 11 w 172"/>
                <a:gd name="T41" fmla="*/ 102 h 163"/>
                <a:gd name="T42" fmla="*/ 7 w 172"/>
                <a:gd name="T43" fmla="*/ 85 h 163"/>
                <a:gd name="T44" fmla="*/ 4 w 172"/>
                <a:gd name="T45" fmla="*/ 74 h 163"/>
                <a:gd name="T46" fmla="*/ 0 w 172"/>
                <a:gd name="T47" fmla="*/ 59 h 163"/>
                <a:gd name="T48" fmla="*/ 2 w 172"/>
                <a:gd name="T49" fmla="*/ 50 h 163"/>
                <a:gd name="T50" fmla="*/ 0 w 172"/>
                <a:gd name="T51" fmla="*/ 36 h 163"/>
                <a:gd name="T52" fmla="*/ 4 w 172"/>
                <a:gd name="T53" fmla="*/ 33 h 163"/>
                <a:gd name="T54" fmla="*/ 4 w 172"/>
                <a:gd name="T55" fmla="*/ 29 h 163"/>
                <a:gd name="T56" fmla="*/ 11 w 172"/>
                <a:gd name="T57" fmla="*/ 24 h 163"/>
                <a:gd name="T58" fmla="*/ 30 w 172"/>
                <a:gd name="T59" fmla="*/ 17 h 163"/>
                <a:gd name="T60" fmla="*/ 54 w 172"/>
                <a:gd name="T61" fmla="*/ 3 h 163"/>
                <a:gd name="T62" fmla="*/ 75 w 172"/>
                <a:gd name="T63" fmla="*/ 0 h 163"/>
                <a:gd name="T64" fmla="*/ 80 w 172"/>
                <a:gd name="T65" fmla="*/ 7 h 163"/>
                <a:gd name="T66" fmla="*/ 78 w 172"/>
                <a:gd name="T67" fmla="*/ 17 h 163"/>
                <a:gd name="T68" fmla="*/ 82 w 172"/>
                <a:gd name="T69" fmla="*/ 14 h 163"/>
                <a:gd name="T70" fmla="*/ 92 w 172"/>
                <a:gd name="T71" fmla="*/ 14 h 163"/>
                <a:gd name="T72" fmla="*/ 118 w 172"/>
                <a:gd name="T73" fmla="*/ 17 h 163"/>
                <a:gd name="T74" fmla="*/ 151 w 172"/>
                <a:gd name="T75" fmla="*/ 14 h 163"/>
                <a:gd name="T76" fmla="*/ 163 w 172"/>
                <a:gd name="T77" fmla="*/ 24 h 163"/>
                <a:gd name="T78" fmla="*/ 167 w 172"/>
                <a:gd name="T79" fmla="*/ 52 h 163"/>
                <a:gd name="T80" fmla="*/ 165 w 172"/>
                <a:gd name="T81" fmla="*/ 69 h 163"/>
                <a:gd name="T82" fmla="*/ 158 w 172"/>
                <a:gd name="T83" fmla="*/ 7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 h="163">
                  <a:moveTo>
                    <a:pt x="163" y="95"/>
                  </a:moveTo>
                  <a:lnTo>
                    <a:pt x="163" y="100"/>
                  </a:lnTo>
                  <a:lnTo>
                    <a:pt x="165" y="104"/>
                  </a:lnTo>
                  <a:lnTo>
                    <a:pt x="167" y="109"/>
                  </a:lnTo>
                  <a:lnTo>
                    <a:pt x="167" y="109"/>
                  </a:lnTo>
                  <a:lnTo>
                    <a:pt x="170" y="114"/>
                  </a:lnTo>
                  <a:lnTo>
                    <a:pt x="170" y="118"/>
                  </a:lnTo>
                  <a:lnTo>
                    <a:pt x="172" y="123"/>
                  </a:lnTo>
                  <a:lnTo>
                    <a:pt x="170" y="126"/>
                  </a:lnTo>
                  <a:lnTo>
                    <a:pt x="165" y="130"/>
                  </a:lnTo>
                  <a:lnTo>
                    <a:pt x="158" y="135"/>
                  </a:lnTo>
                  <a:lnTo>
                    <a:pt x="153" y="142"/>
                  </a:lnTo>
                  <a:lnTo>
                    <a:pt x="148" y="154"/>
                  </a:lnTo>
                  <a:lnTo>
                    <a:pt x="148" y="159"/>
                  </a:lnTo>
                  <a:lnTo>
                    <a:pt x="148" y="163"/>
                  </a:lnTo>
                  <a:lnTo>
                    <a:pt x="146" y="163"/>
                  </a:lnTo>
                  <a:lnTo>
                    <a:pt x="144" y="163"/>
                  </a:lnTo>
                  <a:lnTo>
                    <a:pt x="141" y="161"/>
                  </a:lnTo>
                  <a:lnTo>
                    <a:pt x="137" y="159"/>
                  </a:lnTo>
                  <a:lnTo>
                    <a:pt x="134" y="156"/>
                  </a:lnTo>
                  <a:lnTo>
                    <a:pt x="132" y="154"/>
                  </a:lnTo>
                  <a:lnTo>
                    <a:pt x="127" y="154"/>
                  </a:lnTo>
                  <a:lnTo>
                    <a:pt x="122" y="154"/>
                  </a:lnTo>
                  <a:lnTo>
                    <a:pt x="120" y="156"/>
                  </a:lnTo>
                  <a:lnTo>
                    <a:pt x="118" y="156"/>
                  </a:lnTo>
                  <a:lnTo>
                    <a:pt x="113" y="154"/>
                  </a:lnTo>
                  <a:lnTo>
                    <a:pt x="108" y="154"/>
                  </a:lnTo>
                  <a:lnTo>
                    <a:pt x="106" y="159"/>
                  </a:lnTo>
                  <a:lnTo>
                    <a:pt x="101" y="159"/>
                  </a:lnTo>
                  <a:lnTo>
                    <a:pt x="99" y="159"/>
                  </a:lnTo>
                  <a:lnTo>
                    <a:pt x="96" y="156"/>
                  </a:lnTo>
                  <a:lnTo>
                    <a:pt x="94" y="151"/>
                  </a:lnTo>
                  <a:lnTo>
                    <a:pt x="92" y="151"/>
                  </a:lnTo>
                  <a:lnTo>
                    <a:pt x="87" y="151"/>
                  </a:lnTo>
                  <a:lnTo>
                    <a:pt x="85" y="154"/>
                  </a:lnTo>
                  <a:lnTo>
                    <a:pt x="80" y="151"/>
                  </a:lnTo>
                  <a:lnTo>
                    <a:pt x="75" y="149"/>
                  </a:lnTo>
                  <a:lnTo>
                    <a:pt x="68" y="140"/>
                  </a:lnTo>
                  <a:lnTo>
                    <a:pt x="66" y="137"/>
                  </a:lnTo>
                  <a:lnTo>
                    <a:pt x="63" y="140"/>
                  </a:lnTo>
                  <a:lnTo>
                    <a:pt x="61" y="137"/>
                  </a:lnTo>
                  <a:lnTo>
                    <a:pt x="61" y="130"/>
                  </a:lnTo>
                  <a:lnTo>
                    <a:pt x="54" y="130"/>
                  </a:lnTo>
                  <a:lnTo>
                    <a:pt x="47" y="128"/>
                  </a:lnTo>
                  <a:lnTo>
                    <a:pt x="47" y="130"/>
                  </a:lnTo>
                  <a:lnTo>
                    <a:pt x="47" y="133"/>
                  </a:lnTo>
                  <a:lnTo>
                    <a:pt x="44" y="135"/>
                  </a:lnTo>
                  <a:lnTo>
                    <a:pt x="42" y="133"/>
                  </a:lnTo>
                  <a:lnTo>
                    <a:pt x="35" y="128"/>
                  </a:lnTo>
                  <a:lnTo>
                    <a:pt x="37" y="123"/>
                  </a:lnTo>
                  <a:lnTo>
                    <a:pt x="37" y="123"/>
                  </a:lnTo>
                  <a:lnTo>
                    <a:pt x="37" y="123"/>
                  </a:lnTo>
                  <a:lnTo>
                    <a:pt x="33" y="121"/>
                  </a:lnTo>
                  <a:lnTo>
                    <a:pt x="30" y="118"/>
                  </a:lnTo>
                  <a:lnTo>
                    <a:pt x="23" y="116"/>
                  </a:lnTo>
                  <a:lnTo>
                    <a:pt x="21" y="116"/>
                  </a:lnTo>
                  <a:lnTo>
                    <a:pt x="18" y="114"/>
                  </a:lnTo>
                  <a:lnTo>
                    <a:pt x="16" y="111"/>
                  </a:lnTo>
                  <a:lnTo>
                    <a:pt x="11" y="116"/>
                  </a:lnTo>
                  <a:lnTo>
                    <a:pt x="9" y="116"/>
                  </a:lnTo>
                  <a:lnTo>
                    <a:pt x="11" y="114"/>
                  </a:lnTo>
                  <a:lnTo>
                    <a:pt x="11" y="107"/>
                  </a:lnTo>
                  <a:lnTo>
                    <a:pt x="11" y="102"/>
                  </a:lnTo>
                  <a:lnTo>
                    <a:pt x="11" y="100"/>
                  </a:lnTo>
                  <a:lnTo>
                    <a:pt x="7" y="92"/>
                  </a:lnTo>
                  <a:lnTo>
                    <a:pt x="7" y="85"/>
                  </a:lnTo>
                  <a:lnTo>
                    <a:pt x="7" y="83"/>
                  </a:lnTo>
                  <a:lnTo>
                    <a:pt x="7" y="78"/>
                  </a:lnTo>
                  <a:lnTo>
                    <a:pt x="4" y="74"/>
                  </a:lnTo>
                  <a:lnTo>
                    <a:pt x="4" y="66"/>
                  </a:lnTo>
                  <a:lnTo>
                    <a:pt x="4" y="64"/>
                  </a:lnTo>
                  <a:lnTo>
                    <a:pt x="0" y="59"/>
                  </a:lnTo>
                  <a:lnTo>
                    <a:pt x="0" y="57"/>
                  </a:lnTo>
                  <a:lnTo>
                    <a:pt x="0" y="55"/>
                  </a:lnTo>
                  <a:lnTo>
                    <a:pt x="2" y="50"/>
                  </a:lnTo>
                  <a:lnTo>
                    <a:pt x="2" y="48"/>
                  </a:lnTo>
                  <a:lnTo>
                    <a:pt x="2" y="40"/>
                  </a:lnTo>
                  <a:lnTo>
                    <a:pt x="0" y="36"/>
                  </a:lnTo>
                  <a:lnTo>
                    <a:pt x="0" y="33"/>
                  </a:lnTo>
                  <a:lnTo>
                    <a:pt x="4" y="36"/>
                  </a:lnTo>
                  <a:lnTo>
                    <a:pt x="4" y="33"/>
                  </a:lnTo>
                  <a:lnTo>
                    <a:pt x="4" y="31"/>
                  </a:lnTo>
                  <a:lnTo>
                    <a:pt x="2" y="29"/>
                  </a:lnTo>
                  <a:lnTo>
                    <a:pt x="4" y="29"/>
                  </a:lnTo>
                  <a:lnTo>
                    <a:pt x="7" y="26"/>
                  </a:lnTo>
                  <a:lnTo>
                    <a:pt x="7" y="29"/>
                  </a:lnTo>
                  <a:lnTo>
                    <a:pt x="11" y="24"/>
                  </a:lnTo>
                  <a:lnTo>
                    <a:pt x="16" y="22"/>
                  </a:lnTo>
                  <a:lnTo>
                    <a:pt x="21" y="19"/>
                  </a:lnTo>
                  <a:lnTo>
                    <a:pt x="30" y="17"/>
                  </a:lnTo>
                  <a:lnTo>
                    <a:pt x="42" y="7"/>
                  </a:lnTo>
                  <a:lnTo>
                    <a:pt x="47" y="7"/>
                  </a:lnTo>
                  <a:lnTo>
                    <a:pt x="54" y="3"/>
                  </a:lnTo>
                  <a:lnTo>
                    <a:pt x="66" y="0"/>
                  </a:lnTo>
                  <a:lnTo>
                    <a:pt x="70" y="0"/>
                  </a:lnTo>
                  <a:lnTo>
                    <a:pt x="75" y="0"/>
                  </a:lnTo>
                  <a:lnTo>
                    <a:pt x="78" y="3"/>
                  </a:lnTo>
                  <a:lnTo>
                    <a:pt x="80" y="5"/>
                  </a:lnTo>
                  <a:lnTo>
                    <a:pt x="80" y="7"/>
                  </a:lnTo>
                  <a:lnTo>
                    <a:pt x="73" y="3"/>
                  </a:lnTo>
                  <a:lnTo>
                    <a:pt x="75" y="5"/>
                  </a:lnTo>
                  <a:lnTo>
                    <a:pt x="78" y="17"/>
                  </a:lnTo>
                  <a:lnTo>
                    <a:pt x="80" y="17"/>
                  </a:lnTo>
                  <a:lnTo>
                    <a:pt x="80" y="17"/>
                  </a:lnTo>
                  <a:lnTo>
                    <a:pt x="82" y="14"/>
                  </a:lnTo>
                  <a:lnTo>
                    <a:pt x="82" y="14"/>
                  </a:lnTo>
                  <a:lnTo>
                    <a:pt x="87" y="14"/>
                  </a:lnTo>
                  <a:lnTo>
                    <a:pt x="92" y="14"/>
                  </a:lnTo>
                  <a:lnTo>
                    <a:pt x="94" y="12"/>
                  </a:lnTo>
                  <a:lnTo>
                    <a:pt x="99" y="12"/>
                  </a:lnTo>
                  <a:lnTo>
                    <a:pt x="118" y="17"/>
                  </a:lnTo>
                  <a:lnTo>
                    <a:pt x="134" y="17"/>
                  </a:lnTo>
                  <a:lnTo>
                    <a:pt x="144" y="14"/>
                  </a:lnTo>
                  <a:lnTo>
                    <a:pt x="151" y="14"/>
                  </a:lnTo>
                  <a:lnTo>
                    <a:pt x="155" y="17"/>
                  </a:lnTo>
                  <a:lnTo>
                    <a:pt x="160" y="19"/>
                  </a:lnTo>
                  <a:lnTo>
                    <a:pt x="163" y="24"/>
                  </a:lnTo>
                  <a:lnTo>
                    <a:pt x="163" y="26"/>
                  </a:lnTo>
                  <a:lnTo>
                    <a:pt x="163" y="29"/>
                  </a:lnTo>
                  <a:lnTo>
                    <a:pt x="167" y="52"/>
                  </a:lnTo>
                  <a:lnTo>
                    <a:pt x="170" y="57"/>
                  </a:lnTo>
                  <a:lnTo>
                    <a:pt x="167" y="62"/>
                  </a:lnTo>
                  <a:lnTo>
                    <a:pt x="165" y="69"/>
                  </a:lnTo>
                  <a:lnTo>
                    <a:pt x="160" y="71"/>
                  </a:lnTo>
                  <a:lnTo>
                    <a:pt x="155" y="74"/>
                  </a:lnTo>
                  <a:lnTo>
                    <a:pt x="158" y="78"/>
                  </a:lnTo>
                  <a:lnTo>
                    <a:pt x="163" y="83"/>
                  </a:lnTo>
                  <a:lnTo>
                    <a:pt x="163" y="9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4" name="Freeform 279">
              <a:extLst>
                <a:ext uri="{FF2B5EF4-FFF2-40B4-BE49-F238E27FC236}">
                  <a16:creationId xmlns:a16="http://schemas.microsoft.com/office/drawing/2014/main" id="{02E8A12F-1E39-48A0-8389-7857039BBC5B}"/>
                </a:ext>
              </a:extLst>
            </p:cNvPr>
            <p:cNvSpPr>
              <a:spLocks/>
            </p:cNvSpPr>
            <p:nvPr/>
          </p:nvSpPr>
          <p:spPr bwMode="auto">
            <a:xfrm>
              <a:off x="1856628" y="2554253"/>
              <a:ext cx="206374" cy="119063"/>
            </a:xfrm>
            <a:custGeom>
              <a:avLst/>
              <a:gdLst>
                <a:gd name="T0" fmla="*/ 0 w 130"/>
                <a:gd name="T1" fmla="*/ 59 h 75"/>
                <a:gd name="T2" fmla="*/ 4 w 130"/>
                <a:gd name="T3" fmla="*/ 38 h 75"/>
                <a:gd name="T4" fmla="*/ 7 w 130"/>
                <a:gd name="T5" fmla="*/ 30 h 75"/>
                <a:gd name="T6" fmla="*/ 9 w 130"/>
                <a:gd name="T7" fmla="*/ 21 h 75"/>
                <a:gd name="T8" fmla="*/ 16 w 130"/>
                <a:gd name="T9" fmla="*/ 14 h 75"/>
                <a:gd name="T10" fmla="*/ 28 w 130"/>
                <a:gd name="T11" fmla="*/ 9 h 75"/>
                <a:gd name="T12" fmla="*/ 35 w 130"/>
                <a:gd name="T13" fmla="*/ 21 h 75"/>
                <a:gd name="T14" fmla="*/ 37 w 130"/>
                <a:gd name="T15" fmla="*/ 28 h 75"/>
                <a:gd name="T16" fmla="*/ 40 w 130"/>
                <a:gd name="T17" fmla="*/ 28 h 75"/>
                <a:gd name="T18" fmla="*/ 47 w 130"/>
                <a:gd name="T19" fmla="*/ 35 h 75"/>
                <a:gd name="T20" fmla="*/ 54 w 130"/>
                <a:gd name="T21" fmla="*/ 33 h 75"/>
                <a:gd name="T22" fmla="*/ 54 w 130"/>
                <a:gd name="T23" fmla="*/ 35 h 75"/>
                <a:gd name="T24" fmla="*/ 56 w 130"/>
                <a:gd name="T25" fmla="*/ 28 h 75"/>
                <a:gd name="T26" fmla="*/ 59 w 130"/>
                <a:gd name="T27" fmla="*/ 7 h 75"/>
                <a:gd name="T28" fmla="*/ 63 w 130"/>
                <a:gd name="T29" fmla="*/ 4 h 75"/>
                <a:gd name="T30" fmla="*/ 75 w 130"/>
                <a:gd name="T31" fmla="*/ 0 h 75"/>
                <a:gd name="T32" fmla="*/ 85 w 130"/>
                <a:gd name="T33" fmla="*/ 4 h 75"/>
                <a:gd name="T34" fmla="*/ 92 w 130"/>
                <a:gd name="T35" fmla="*/ 9 h 75"/>
                <a:gd name="T36" fmla="*/ 101 w 130"/>
                <a:gd name="T37" fmla="*/ 16 h 75"/>
                <a:gd name="T38" fmla="*/ 108 w 130"/>
                <a:gd name="T39" fmla="*/ 14 h 75"/>
                <a:gd name="T40" fmla="*/ 113 w 130"/>
                <a:gd name="T41" fmla="*/ 16 h 75"/>
                <a:gd name="T42" fmla="*/ 118 w 130"/>
                <a:gd name="T43" fmla="*/ 19 h 75"/>
                <a:gd name="T44" fmla="*/ 120 w 130"/>
                <a:gd name="T45" fmla="*/ 23 h 75"/>
                <a:gd name="T46" fmla="*/ 120 w 130"/>
                <a:gd name="T47" fmla="*/ 33 h 75"/>
                <a:gd name="T48" fmla="*/ 120 w 130"/>
                <a:gd name="T49" fmla="*/ 38 h 75"/>
                <a:gd name="T50" fmla="*/ 123 w 130"/>
                <a:gd name="T51" fmla="*/ 40 h 75"/>
                <a:gd name="T52" fmla="*/ 127 w 130"/>
                <a:gd name="T53" fmla="*/ 49 h 75"/>
                <a:gd name="T54" fmla="*/ 130 w 130"/>
                <a:gd name="T55" fmla="*/ 56 h 75"/>
                <a:gd name="T56" fmla="*/ 125 w 130"/>
                <a:gd name="T57" fmla="*/ 61 h 75"/>
                <a:gd name="T58" fmla="*/ 120 w 130"/>
                <a:gd name="T59" fmla="*/ 66 h 75"/>
                <a:gd name="T60" fmla="*/ 115 w 130"/>
                <a:gd name="T61" fmla="*/ 73 h 75"/>
                <a:gd name="T62" fmla="*/ 108 w 130"/>
                <a:gd name="T63" fmla="*/ 71 h 75"/>
                <a:gd name="T64" fmla="*/ 106 w 130"/>
                <a:gd name="T65" fmla="*/ 75 h 75"/>
                <a:gd name="T66" fmla="*/ 101 w 130"/>
                <a:gd name="T67" fmla="*/ 75 h 75"/>
                <a:gd name="T68" fmla="*/ 97 w 130"/>
                <a:gd name="T69" fmla="*/ 73 h 75"/>
                <a:gd name="T70" fmla="*/ 82 w 130"/>
                <a:gd name="T71" fmla="*/ 61 h 75"/>
                <a:gd name="T72" fmla="*/ 75 w 130"/>
                <a:gd name="T73" fmla="*/ 59 h 75"/>
                <a:gd name="T74" fmla="*/ 71 w 130"/>
                <a:gd name="T75" fmla="*/ 49 h 75"/>
                <a:gd name="T76" fmla="*/ 63 w 130"/>
                <a:gd name="T77" fmla="*/ 54 h 75"/>
                <a:gd name="T78" fmla="*/ 49 w 130"/>
                <a:gd name="T79" fmla="*/ 52 h 75"/>
                <a:gd name="T80" fmla="*/ 40 w 130"/>
                <a:gd name="T81" fmla="*/ 52 h 75"/>
                <a:gd name="T82" fmla="*/ 35 w 130"/>
                <a:gd name="T83" fmla="*/ 52 h 75"/>
                <a:gd name="T84" fmla="*/ 30 w 130"/>
                <a:gd name="T85" fmla="*/ 54 h 75"/>
                <a:gd name="T86" fmla="*/ 26 w 130"/>
                <a:gd name="T87" fmla="*/ 52 h 75"/>
                <a:gd name="T88" fmla="*/ 14 w 130"/>
                <a:gd name="T89" fmla="*/ 54 h 75"/>
                <a:gd name="T90" fmla="*/ 7 w 130"/>
                <a:gd name="T91" fmla="*/ 61 h 75"/>
                <a:gd name="T92" fmla="*/ 0 w 130"/>
                <a:gd name="T93"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0" h="75">
                  <a:moveTo>
                    <a:pt x="0" y="61"/>
                  </a:moveTo>
                  <a:lnTo>
                    <a:pt x="0" y="59"/>
                  </a:lnTo>
                  <a:lnTo>
                    <a:pt x="2" y="42"/>
                  </a:lnTo>
                  <a:lnTo>
                    <a:pt x="4" y="38"/>
                  </a:lnTo>
                  <a:lnTo>
                    <a:pt x="7" y="33"/>
                  </a:lnTo>
                  <a:lnTo>
                    <a:pt x="7" y="30"/>
                  </a:lnTo>
                  <a:lnTo>
                    <a:pt x="9" y="26"/>
                  </a:lnTo>
                  <a:lnTo>
                    <a:pt x="9" y="21"/>
                  </a:lnTo>
                  <a:lnTo>
                    <a:pt x="14" y="16"/>
                  </a:lnTo>
                  <a:lnTo>
                    <a:pt x="16" y="14"/>
                  </a:lnTo>
                  <a:lnTo>
                    <a:pt x="21" y="14"/>
                  </a:lnTo>
                  <a:lnTo>
                    <a:pt x="28" y="9"/>
                  </a:lnTo>
                  <a:lnTo>
                    <a:pt x="30" y="14"/>
                  </a:lnTo>
                  <a:lnTo>
                    <a:pt x="35" y="21"/>
                  </a:lnTo>
                  <a:lnTo>
                    <a:pt x="37" y="26"/>
                  </a:lnTo>
                  <a:lnTo>
                    <a:pt x="37" y="28"/>
                  </a:lnTo>
                  <a:lnTo>
                    <a:pt x="37" y="23"/>
                  </a:lnTo>
                  <a:lnTo>
                    <a:pt x="40" y="28"/>
                  </a:lnTo>
                  <a:lnTo>
                    <a:pt x="42" y="30"/>
                  </a:lnTo>
                  <a:lnTo>
                    <a:pt x="47" y="35"/>
                  </a:lnTo>
                  <a:lnTo>
                    <a:pt x="49" y="35"/>
                  </a:lnTo>
                  <a:lnTo>
                    <a:pt x="54" y="33"/>
                  </a:lnTo>
                  <a:lnTo>
                    <a:pt x="54" y="33"/>
                  </a:lnTo>
                  <a:lnTo>
                    <a:pt x="54" y="35"/>
                  </a:lnTo>
                  <a:lnTo>
                    <a:pt x="56" y="30"/>
                  </a:lnTo>
                  <a:lnTo>
                    <a:pt x="56" y="28"/>
                  </a:lnTo>
                  <a:lnTo>
                    <a:pt x="59" y="26"/>
                  </a:lnTo>
                  <a:lnTo>
                    <a:pt x="59" y="7"/>
                  </a:lnTo>
                  <a:lnTo>
                    <a:pt x="61" y="4"/>
                  </a:lnTo>
                  <a:lnTo>
                    <a:pt x="63" y="4"/>
                  </a:lnTo>
                  <a:lnTo>
                    <a:pt x="68" y="2"/>
                  </a:lnTo>
                  <a:lnTo>
                    <a:pt x="75" y="0"/>
                  </a:lnTo>
                  <a:lnTo>
                    <a:pt x="80" y="2"/>
                  </a:lnTo>
                  <a:lnTo>
                    <a:pt x="85" y="4"/>
                  </a:lnTo>
                  <a:lnTo>
                    <a:pt x="89" y="7"/>
                  </a:lnTo>
                  <a:lnTo>
                    <a:pt x="92" y="9"/>
                  </a:lnTo>
                  <a:lnTo>
                    <a:pt x="99" y="16"/>
                  </a:lnTo>
                  <a:lnTo>
                    <a:pt x="101" y="16"/>
                  </a:lnTo>
                  <a:lnTo>
                    <a:pt x="104" y="14"/>
                  </a:lnTo>
                  <a:lnTo>
                    <a:pt x="108" y="14"/>
                  </a:lnTo>
                  <a:lnTo>
                    <a:pt x="113" y="16"/>
                  </a:lnTo>
                  <a:lnTo>
                    <a:pt x="113" y="16"/>
                  </a:lnTo>
                  <a:lnTo>
                    <a:pt x="115" y="16"/>
                  </a:lnTo>
                  <a:lnTo>
                    <a:pt x="118" y="19"/>
                  </a:lnTo>
                  <a:lnTo>
                    <a:pt x="120" y="21"/>
                  </a:lnTo>
                  <a:lnTo>
                    <a:pt x="120" y="23"/>
                  </a:lnTo>
                  <a:lnTo>
                    <a:pt x="120" y="26"/>
                  </a:lnTo>
                  <a:lnTo>
                    <a:pt x="120" y="33"/>
                  </a:lnTo>
                  <a:lnTo>
                    <a:pt x="118" y="35"/>
                  </a:lnTo>
                  <a:lnTo>
                    <a:pt x="120" y="38"/>
                  </a:lnTo>
                  <a:lnTo>
                    <a:pt x="123" y="38"/>
                  </a:lnTo>
                  <a:lnTo>
                    <a:pt x="123" y="40"/>
                  </a:lnTo>
                  <a:lnTo>
                    <a:pt x="127" y="47"/>
                  </a:lnTo>
                  <a:lnTo>
                    <a:pt x="127" y="49"/>
                  </a:lnTo>
                  <a:lnTo>
                    <a:pt x="130" y="52"/>
                  </a:lnTo>
                  <a:lnTo>
                    <a:pt x="130" y="56"/>
                  </a:lnTo>
                  <a:lnTo>
                    <a:pt x="130" y="61"/>
                  </a:lnTo>
                  <a:lnTo>
                    <a:pt x="125" y="61"/>
                  </a:lnTo>
                  <a:lnTo>
                    <a:pt x="123" y="61"/>
                  </a:lnTo>
                  <a:lnTo>
                    <a:pt x="120" y="66"/>
                  </a:lnTo>
                  <a:lnTo>
                    <a:pt x="118" y="68"/>
                  </a:lnTo>
                  <a:lnTo>
                    <a:pt x="115" y="73"/>
                  </a:lnTo>
                  <a:lnTo>
                    <a:pt x="113" y="73"/>
                  </a:lnTo>
                  <a:lnTo>
                    <a:pt x="108" y="71"/>
                  </a:lnTo>
                  <a:lnTo>
                    <a:pt x="106" y="73"/>
                  </a:lnTo>
                  <a:lnTo>
                    <a:pt x="106" y="75"/>
                  </a:lnTo>
                  <a:lnTo>
                    <a:pt x="104" y="75"/>
                  </a:lnTo>
                  <a:lnTo>
                    <a:pt x="101" y="75"/>
                  </a:lnTo>
                  <a:lnTo>
                    <a:pt x="99" y="73"/>
                  </a:lnTo>
                  <a:lnTo>
                    <a:pt x="97" y="73"/>
                  </a:lnTo>
                  <a:lnTo>
                    <a:pt x="89" y="66"/>
                  </a:lnTo>
                  <a:lnTo>
                    <a:pt x="82" y="61"/>
                  </a:lnTo>
                  <a:lnTo>
                    <a:pt x="78" y="61"/>
                  </a:lnTo>
                  <a:lnTo>
                    <a:pt x="75" y="59"/>
                  </a:lnTo>
                  <a:lnTo>
                    <a:pt x="71" y="52"/>
                  </a:lnTo>
                  <a:lnTo>
                    <a:pt x="71" y="49"/>
                  </a:lnTo>
                  <a:lnTo>
                    <a:pt x="66" y="52"/>
                  </a:lnTo>
                  <a:lnTo>
                    <a:pt x="63" y="54"/>
                  </a:lnTo>
                  <a:lnTo>
                    <a:pt x="59" y="56"/>
                  </a:lnTo>
                  <a:lnTo>
                    <a:pt x="49" y="52"/>
                  </a:lnTo>
                  <a:lnTo>
                    <a:pt x="47" y="52"/>
                  </a:lnTo>
                  <a:lnTo>
                    <a:pt x="40" y="52"/>
                  </a:lnTo>
                  <a:lnTo>
                    <a:pt x="37" y="52"/>
                  </a:lnTo>
                  <a:lnTo>
                    <a:pt x="35" y="52"/>
                  </a:lnTo>
                  <a:lnTo>
                    <a:pt x="33" y="54"/>
                  </a:lnTo>
                  <a:lnTo>
                    <a:pt x="30" y="54"/>
                  </a:lnTo>
                  <a:lnTo>
                    <a:pt x="28" y="52"/>
                  </a:lnTo>
                  <a:lnTo>
                    <a:pt x="26" y="52"/>
                  </a:lnTo>
                  <a:lnTo>
                    <a:pt x="21" y="52"/>
                  </a:lnTo>
                  <a:lnTo>
                    <a:pt x="14" y="54"/>
                  </a:lnTo>
                  <a:lnTo>
                    <a:pt x="9" y="56"/>
                  </a:lnTo>
                  <a:lnTo>
                    <a:pt x="7" y="61"/>
                  </a:lnTo>
                  <a:lnTo>
                    <a:pt x="4" y="64"/>
                  </a:lnTo>
                  <a:lnTo>
                    <a:pt x="0" y="6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5" name="Freeform 280">
              <a:extLst>
                <a:ext uri="{FF2B5EF4-FFF2-40B4-BE49-F238E27FC236}">
                  <a16:creationId xmlns:a16="http://schemas.microsoft.com/office/drawing/2014/main" id="{84310661-F7E5-476F-A778-77DBD8B18D1D}"/>
                </a:ext>
              </a:extLst>
            </p:cNvPr>
            <p:cNvSpPr>
              <a:spLocks/>
            </p:cNvSpPr>
            <p:nvPr/>
          </p:nvSpPr>
          <p:spPr bwMode="auto">
            <a:xfrm>
              <a:off x="1856628" y="2554253"/>
              <a:ext cx="206374" cy="119063"/>
            </a:xfrm>
            <a:custGeom>
              <a:avLst/>
              <a:gdLst>
                <a:gd name="T0" fmla="*/ 0 w 130"/>
                <a:gd name="T1" fmla="*/ 59 h 75"/>
                <a:gd name="T2" fmla="*/ 4 w 130"/>
                <a:gd name="T3" fmla="*/ 38 h 75"/>
                <a:gd name="T4" fmla="*/ 7 w 130"/>
                <a:gd name="T5" fmla="*/ 30 h 75"/>
                <a:gd name="T6" fmla="*/ 9 w 130"/>
                <a:gd name="T7" fmla="*/ 21 h 75"/>
                <a:gd name="T8" fmla="*/ 16 w 130"/>
                <a:gd name="T9" fmla="*/ 14 h 75"/>
                <a:gd name="T10" fmla="*/ 28 w 130"/>
                <a:gd name="T11" fmla="*/ 9 h 75"/>
                <a:gd name="T12" fmla="*/ 35 w 130"/>
                <a:gd name="T13" fmla="*/ 21 h 75"/>
                <a:gd name="T14" fmla="*/ 37 w 130"/>
                <a:gd name="T15" fmla="*/ 28 h 75"/>
                <a:gd name="T16" fmla="*/ 40 w 130"/>
                <a:gd name="T17" fmla="*/ 28 h 75"/>
                <a:gd name="T18" fmla="*/ 47 w 130"/>
                <a:gd name="T19" fmla="*/ 35 h 75"/>
                <a:gd name="T20" fmla="*/ 54 w 130"/>
                <a:gd name="T21" fmla="*/ 33 h 75"/>
                <a:gd name="T22" fmla="*/ 54 w 130"/>
                <a:gd name="T23" fmla="*/ 35 h 75"/>
                <a:gd name="T24" fmla="*/ 56 w 130"/>
                <a:gd name="T25" fmla="*/ 28 h 75"/>
                <a:gd name="T26" fmla="*/ 59 w 130"/>
                <a:gd name="T27" fmla="*/ 7 h 75"/>
                <a:gd name="T28" fmla="*/ 63 w 130"/>
                <a:gd name="T29" fmla="*/ 4 h 75"/>
                <a:gd name="T30" fmla="*/ 75 w 130"/>
                <a:gd name="T31" fmla="*/ 0 h 75"/>
                <a:gd name="T32" fmla="*/ 85 w 130"/>
                <a:gd name="T33" fmla="*/ 4 h 75"/>
                <a:gd name="T34" fmla="*/ 92 w 130"/>
                <a:gd name="T35" fmla="*/ 9 h 75"/>
                <a:gd name="T36" fmla="*/ 101 w 130"/>
                <a:gd name="T37" fmla="*/ 16 h 75"/>
                <a:gd name="T38" fmla="*/ 108 w 130"/>
                <a:gd name="T39" fmla="*/ 14 h 75"/>
                <a:gd name="T40" fmla="*/ 113 w 130"/>
                <a:gd name="T41" fmla="*/ 16 h 75"/>
                <a:gd name="T42" fmla="*/ 118 w 130"/>
                <a:gd name="T43" fmla="*/ 19 h 75"/>
                <a:gd name="T44" fmla="*/ 120 w 130"/>
                <a:gd name="T45" fmla="*/ 23 h 75"/>
                <a:gd name="T46" fmla="*/ 120 w 130"/>
                <a:gd name="T47" fmla="*/ 33 h 75"/>
                <a:gd name="T48" fmla="*/ 120 w 130"/>
                <a:gd name="T49" fmla="*/ 38 h 75"/>
                <a:gd name="T50" fmla="*/ 123 w 130"/>
                <a:gd name="T51" fmla="*/ 40 h 75"/>
                <a:gd name="T52" fmla="*/ 127 w 130"/>
                <a:gd name="T53" fmla="*/ 49 h 75"/>
                <a:gd name="T54" fmla="*/ 130 w 130"/>
                <a:gd name="T55" fmla="*/ 56 h 75"/>
                <a:gd name="T56" fmla="*/ 125 w 130"/>
                <a:gd name="T57" fmla="*/ 61 h 75"/>
                <a:gd name="T58" fmla="*/ 120 w 130"/>
                <a:gd name="T59" fmla="*/ 66 h 75"/>
                <a:gd name="T60" fmla="*/ 115 w 130"/>
                <a:gd name="T61" fmla="*/ 73 h 75"/>
                <a:gd name="T62" fmla="*/ 108 w 130"/>
                <a:gd name="T63" fmla="*/ 71 h 75"/>
                <a:gd name="T64" fmla="*/ 106 w 130"/>
                <a:gd name="T65" fmla="*/ 75 h 75"/>
                <a:gd name="T66" fmla="*/ 101 w 130"/>
                <a:gd name="T67" fmla="*/ 75 h 75"/>
                <a:gd name="T68" fmla="*/ 97 w 130"/>
                <a:gd name="T69" fmla="*/ 73 h 75"/>
                <a:gd name="T70" fmla="*/ 82 w 130"/>
                <a:gd name="T71" fmla="*/ 61 h 75"/>
                <a:gd name="T72" fmla="*/ 75 w 130"/>
                <a:gd name="T73" fmla="*/ 59 h 75"/>
                <a:gd name="T74" fmla="*/ 71 w 130"/>
                <a:gd name="T75" fmla="*/ 49 h 75"/>
                <a:gd name="T76" fmla="*/ 63 w 130"/>
                <a:gd name="T77" fmla="*/ 54 h 75"/>
                <a:gd name="T78" fmla="*/ 49 w 130"/>
                <a:gd name="T79" fmla="*/ 52 h 75"/>
                <a:gd name="T80" fmla="*/ 40 w 130"/>
                <a:gd name="T81" fmla="*/ 52 h 75"/>
                <a:gd name="T82" fmla="*/ 35 w 130"/>
                <a:gd name="T83" fmla="*/ 52 h 75"/>
                <a:gd name="T84" fmla="*/ 30 w 130"/>
                <a:gd name="T85" fmla="*/ 54 h 75"/>
                <a:gd name="T86" fmla="*/ 26 w 130"/>
                <a:gd name="T87" fmla="*/ 52 h 75"/>
                <a:gd name="T88" fmla="*/ 14 w 130"/>
                <a:gd name="T89" fmla="*/ 54 h 75"/>
                <a:gd name="T90" fmla="*/ 7 w 130"/>
                <a:gd name="T91" fmla="*/ 61 h 75"/>
                <a:gd name="T92" fmla="*/ 0 w 130"/>
                <a:gd name="T93"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0" h="75">
                  <a:moveTo>
                    <a:pt x="0" y="61"/>
                  </a:moveTo>
                  <a:lnTo>
                    <a:pt x="0" y="59"/>
                  </a:lnTo>
                  <a:lnTo>
                    <a:pt x="2" y="42"/>
                  </a:lnTo>
                  <a:lnTo>
                    <a:pt x="4" y="38"/>
                  </a:lnTo>
                  <a:lnTo>
                    <a:pt x="7" y="33"/>
                  </a:lnTo>
                  <a:lnTo>
                    <a:pt x="7" y="30"/>
                  </a:lnTo>
                  <a:lnTo>
                    <a:pt x="9" y="26"/>
                  </a:lnTo>
                  <a:lnTo>
                    <a:pt x="9" y="21"/>
                  </a:lnTo>
                  <a:lnTo>
                    <a:pt x="14" y="16"/>
                  </a:lnTo>
                  <a:lnTo>
                    <a:pt x="16" y="14"/>
                  </a:lnTo>
                  <a:lnTo>
                    <a:pt x="21" y="14"/>
                  </a:lnTo>
                  <a:lnTo>
                    <a:pt x="28" y="9"/>
                  </a:lnTo>
                  <a:lnTo>
                    <a:pt x="30" y="14"/>
                  </a:lnTo>
                  <a:lnTo>
                    <a:pt x="35" y="21"/>
                  </a:lnTo>
                  <a:lnTo>
                    <a:pt x="37" y="26"/>
                  </a:lnTo>
                  <a:lnTo>
                    <a:pt x="37" y="28"/>
                  </a:lnTo>
                  <a:lnTo>
                    <a:pt x="37" y="23"/>
                  </a:lnTo>
                  <a:lnTo>
                    <a:pt x="40" y="28"/>
                  </a:lnTo>
                  <a:lnTo>
                    <a:pt x="42" y="30"/>
                  </a:lnTo>
                  <a:lnTo>
                    <a:pt x="47" y="35"/>
                  </a:lnTo>
                  <a:lnTo>
                    <a:pt x="49" y="35"/>
                  </a:lnTo>
                  <a:lnTo>
                    <a:pt x="54" y="33"/>
                  </a:lnTo>
                  <a:lnTo>
                    <a:pt x="54" y="33"/>
                  </a:lnTo>
                  <a:lnTo>
                    <a:pt x="54" y="35"/>
                  </a:lnTo>
                  <a:lnTo>
                    <a:pt x="56" y="30"/>
                  </a:lnTo>
                  <a:lnTo>
                    <a:pt x="56" y="28"/>
                  </a:lnTo>
                  <a:lnTo>
                    <a:pt x="59" y="26"/>
                  </a:lnTo>
                  <a:lnTo>
                    <a:pt x="59" y="7"/>
                  </a:lnTo>
                  <a:lnTo>
                    <a:pt x="61" y="4"/>
                  </a:lnTo>
                  <a:lnTo>
                    <a:pt x="63" y="4"/>
                  </a:lnTo>
                  <a:lnTo>
                    <a:pt x="68" y="2"/>
                  </a:lnTo>
                  <a:lnTo>
                    <a:pt x="75" y="0"/>
                  </a:lnTo>
                  <a:lnTo>
                    <a:pt x="80" y="2"/>
                  </a:lnTo>
                  <a:lnTo>
                    <a:pt x="85" y="4"/>
                  </a:lnTo>
                  <a:lnTo>
                    <a:pt x="89" y="7"/>
                  </a:lnTo>
                  <a:lnTo>
                    <a:pt x="92" y="9"/>
                  </a:lnTo>
                  <a:lnTo>
                    <a:pt x="99" y="16"/>
                  </a:lnTo>
                  <a:lnTo>
                    <a:pt x="101" y="16"/>
                  </a:lnTo>
                  <a:lnTo>
                    <a:pt x="104" y="14"/>
                  </a:lnTo>
                  <a:lnTo>
                    <a:pt x="108" y="14"/>
                  </a:lnTo>
                  <a:lnTo>
                    <a:pt x="113" y="16"/>
                  </a:lnTo>
                  <a:lnTo>
                    <a:pt x="113" y="16"/>
                  </a:lnTo>
                  <a:lnTo>
                    <a:pt x="115" y="16"/>
                  </a:lnTo>
                  <a:lnTo>
                    <a:pt x="118" y="19"/>
                  </a:lnTo>
                  <a:lnTo>
                    <a:pt x="120" y="21"/>
                  </a:lnTo>
                  <a:lnTo>
                    <a:pt x="120" y="23"/>
                  </a:lnTo>
                  <a:lnTo>
                    <a:pt x="120" y="26"/>
                  </a:lnTo>
                  <a:lnTo>
                    <a:pt x="120" y="33"/>
                  </a:lnTo>
                  <a:lnTo>
                    <a:pt x="118" y="35"/>
                  </a:lnTo>
                  <a:lnTo>
                    <a:pt x="120" y="38"/>
                  </a:lnTo>
                  <a:lnTo>
                    <a:pt x="123" y="38"/>
                  </a:lnTo>
                  <a:lnTo>
                    <a:pt x="123" y="40"/>
                  </a:lnTo>
                  <a:lnTo>
                    <a:pt x="127" y="47"/>
                  </a:lnTo>
                  <a:lnTo>
                    <a:pt x="127" y="49"/>
                  </a:lnTo>
                  <a:lnTo>
                    <a:pt x="130" y="52"/>
                  </a:lnTo>
                  <a:lnTo>
                    <a:pt x="130" y="56"/>
                  </a:lnTo>
                  <a:lnTo>
                    <a:pt x="130" y="61"/>
                  </a:lnTo>
                  <a:lnTo>
                    <a:pt x="125" y="61"/>
                  </a:lnTo>
                  <a:lnTo>
                    <a:pt x="123" y="61"/>
                  </a:lnTo>
                  <a:lnTo>
                    <a:pt x="120" y="66"/>
                  </a:lnTo>
                  <a:lnTo>
                    <a:pt x="118" y="68"/>
                  </a:lnTo>
                  <a:lnTo>
                    <a:pt x="115" y="73"/>
                  </a:lnTo>
                  <a:lnTo>
                    <a:pt x="113" y="73"/>
                  </a:lnTo>
                  <a:lnTo>
                    <a:pt x="108" y="71"/>
                  </a:lnTo>
                  <a:lnTo>
                    <a:pt x="106" y="73"/>
                  </a:lnTo>
                  <a:lnTo>
                    <a:pt x="106" y="75"/>
                  </a:lnTo>
                  <a:lnTo>
                    <a:pt x="104" y="75"/>
                  </a:lnTo>
                  <a:lnTo>
                    <a:pt x="101" y="75"/>
                  </a:lnTo>
                  <a:lnTo>
                    <a:pt x="99" y="73"/>
                  </a:lnTo>
                  <a:lnTo>
                    <a:pt x="97" y="73"/>
                  </a:lnTo>
                  <a:lnTo>
                    <a:pt x="89" y="66"/>
                  </a:lnTo>
                  <a:lnTo>
                    <a:pt x="82" y="61"/>
                  </a:lnTo>
                  <a:lnTo>
                    <a:pt x="78" y="61"/>
                  </a:lnTo>
                  <a:lnTo>
                    <a:pt x="75" y="59"/>
                  </a:lnTo>
                  <a:lnTo>
                    <a:pt x="71" y="52"/>
                  </a:lnTo>
                  <a:lnTo>
                    <a:pt x="71" y="49"/>
                  </a:lnTo>
                  <a:lnTo>
                    <a:pt x="66" y="52"/>
                  </a:lnTo>
                  <a:lnTo>
                    <a:pt x="63" y="54"/>
                  </a:lnTo>
                  <a:lnTo>
                    <a:pt x="59" y="56"/>
                  </a:lnTo>
                  <a:lnTo>
                    <a:pt x="49" y="52"/>
                  </a:lnTo>
                  <a:lnTo>
                    <a:pt x="47" y="52"/>
                  </a:lnTo>
                  <a:lnTo>
                    <a:pt x="40" y="52"/>
                  </a:lnTo>
                  <a:lnTo>
                    <a:pt x="37" y="52"/>
                  </a:lnTo>
                  <a:lnTo>
                    <a:pt x="35" y="52"/>
                  </a:lnTo>
                  <a:lnTo>
                    <a:pt x="33" y="54"/>
                  </a:lnTo>
                  <a:lnTo>
                    <a:pt x="30" y="54"/>
                  </a:lnTo>
                  <a:lnTo>
                    <a:pt x="28" y="52"/>
                  </a:lnTo>
                  <a:lnTo>
                    <a:pt x="26" y="52"/>
                  </a:lnTo>
                  <a:lnTo>
                    <a:pt x="21" y="52"/>
                  </a:lnTo>
                  <a:lnTo>
                    <a:pt x="14" y="54"/>
                  </a:lnTo>
                  <a:lnTo>
                    <a:pt x="9" y="56"/>
                  </a:lnTo>
                  <a:lnTo>
                    <a:pt x="7" y="61"/>
                  </a:lnTo>
                  <a:lnTo>
                    <a:pt x="4" y="64"/>
                  </a:lnTo>
                  <a:lnTo>
                    <a:pt x="0" y="6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6" name="Freeform 281">
              <a:extLst>
                <a:ext uri="{FF2B5EF4-FFF2-40B4-BE49-F238E27FC236}">
                  <a16:creationId xmlns:a16="http://schemas.microsoft.com/office/drawing/2014/main" id="{D531AC1D-0659-416F-91A2-F7810807E8AD}"/>
                </a:ext>
              </a:extLst>
            </p:cNvPr>
            <p:cNvSpPr>
              <a:spLocks/>
            </p:cNvSpPr>
            <p:nvPr/>
          </p:nvSpPr>
          <p:spPr bwMode="auto">
            <a:xfrm>
              <a:off x="1072404" y="2328827"/>
              <a:ext cx="7938" cy="7938"/>
            </a:xfrm>
            <a:custGeom>
              <a:avLst/>
              <a:gdLst>
                <a:gd name="T0" fmla="*/ 5 w 5"/>
                <a:gd name="T1" fmla="*/ 2 h 5"/>
                <a:gd name="T2" fmla="*/ 5 w 5"/>
                <a:gd name="T3" fmla="*/ 2 h 5"/>
                <a:gd name="T4" fmla="*/ 0 w 5"/>
                <a:gd name="T5" fmla="*/ 0 h 5"/>
                <a:gd name="T6" fmla="*/ 0 w 5"/>
                <a:gd name="T7" fmla="*/ 2 h 5"/>
                <a:gd name="T8" fmla="*/ 0 w 5"/>
                <a:gd name="T9" fmla="*/ 2 h 5"/>
                <a:gd name="T10" fmla="*/ 2 w 5"/>
                <a:gd name="T11" fmla="*/ 5 h 5"/>
                <a:gd name="T12" fmla="*/ 5 w 5"/>
                <a:gd name="T13" fmla="*/ 5 h 5"/>
                <a:gd name="T14" fmla="*/ 5 w 5"/>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2"/>
                  </a:moveTo>
                  <a:lnTo>
                    <a:pt x="5" y="2"/>
                  </a:lnTo>
                  <a:lnTo>
                    <a:pt x="0" y="0"/>
                  </a:lnTo>
                  <a:lnTo>
                    <a:pt x="0" y="2"/>
                  </a:lnTo>
                  <a:lnTo>
                    <a:pt x="0" y="2"/>
                  </a:lnTo>
                  <a:lnTo>
                    <a:pt x="2" y="5"/>
                  </a:lnTo>
                  <a:lnTo>
                    <a:pt x="5" y="5"/>
                  </a:lnTo>
                  <a:lnTo>
                    <a:pt x="5" y="2"/>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7" name="Freeform 282">
              <a:extLst>
                <a:ext uri="{FF2B5EF4-FFF2-40B4-BE49-F238E27FC236}">
                  <a16:creationId xmlns:a16="http://schemas.microsoft.com/office/drawing/2014/main" id="{72B0FA94-01FE-4041-8A05-06D9DF76FEF8}"/>
                </a:ext>
              </a:extLst>
            </p:cNvPr>
            <p:cNvSpPr>
              <a:spLocks/>
            </p:cNvSpPr>
            <p:nvPr/>
          </p:nvSpPr>
          <p:spPr bwMode="auto">
            <a:xfrm>
              <a:off x="1072404" y="2328827"/>
              <a:ext cx="7938" cy="7938"/>
            </a:xfrm>
            <a:custGeom>
              <a:avLst/>
              <a:gdLst>
                <a:gd name="T0" fmla="*/ 5 w 5"/>
                <a:gd name="T1" fmla="*/ 2 h 5"/>
                <a:gd name="T2" fmla="*/ 5 w 5"/>
                <a:gd name="T3" fmla="*/ 2 h 5"/>
                <a:gd name="T4" fmla="*/ 0 w 5"/>
                <a:gd name="T5" fmla="*/ 0 h 5"/>
                <a:gd name="T6" fmla="*/ 0 w 5"/>
                <a:gd name="T7" fmla="*/ 2 h 5"/>
                <a:gd name="T8" fmla="*/ 0 w 5"/>
                <a:gd name="T9" fmla="*/ 2 h 5"/>
                <a:gd name="T10" fmla="*/ 2 w 5"/>
                <a:gd name="T11" fmla="*/ 5 h 5"/>
                <a:gd name="T12" fmla="*/ 5 w 5"/>
                <a:gd name="T13" fmla="*/ 5 h 5"/>
                <a:gd name="T14" fmla="*/ 5 w 5"/>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2"/>
                  </a:moveTo>
                  <a:lnTo>
                    <a:pt x="5" y="2"/>
                  </a:lnTo>
                  <a:lnTo>
                    <a:pt x="0" y="0"/>
                  </a:lnTo>
                  <a:lnTo>
                    <a:pt x="0" y="2"/>
                  </a:lnTo>
                  <a:lnTo>
                    <a:pt x="0" y="2"/>
                  </a:lnTo>
                  <a:lnTo>
                    <a:pt x="2" y="5"/>
                  </a:lnTo>
                  <a:lnTo>
                    <a:pt x="5" y="5"/>
                  </a:lnTo>
                  <a:lnTo>
                    <a:pt x="5" y="2"/>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8" name="Freeform 283">
              <a:extLst>
                <a:ext uri="{FF2B5EF4-FFF2-40B4-BE49-F238E27FC236}">
                  <a16:creationId xmlns:a16="http://schemas.microsoft.com/office/drawing/2014/main" id="{19F82007-0ACB-4030-A8E0-C64FD4C8E3C8}"/>
                </a:ext>
              </a:extLst>
            </p:cNvPr>
            <p:cNvSpPr>
              <a:spLocks/>
            </p:cNvSpPr>
            <p:nvPr/>
          </p:nvSpPr>
          <p:spPr bwMode="auto">
            <a:xfrm>
              <a:off x="1075579" y="2320890"/>
              <a:ext cx="15875" cy="19050"/>
            </a:xfrm>
            <a:custGeom>
              <a:avLst/>
              <a:gdLst>
                <a:gd name="T0" fmla="*/ 10 w 10"/>
                <a:gd name="T1" fmla="*/ 12 h 12"/>
                <a:gd name="T2" fmla="*/ 10 w 10"/>
                <a:gd name="T3" fmla="*/ 12 h 12"/>
                <a:gd name="T4" fmla="*/ 10 w 10"/>
                <a:gd name="T5" fmla="*/ 10 h 12"/>
                <a:gd name="T6" fmla="*/ 7 w 10"/>
                <a:gd name="T7" fmla="*/ 5 h 12"/>
                <a:gd name="T8" fmla="*/ 5 w 10"/>
                <a:gd name="T9" fmla="*/ 3 h 12"/>
                <a:gd name="T10" fmla="*/ 3 w 10"/>
                <a:gd name="T11" fmla="*/ 0 h 12"/>
                <a:gd name="T12" fmla="*/ 0 w 10"/>
                <a:gd name="T13" fmla="*/ 3 h 12"/>
                <a:gd name="T14" fmla="*/ 0 w 10"/>
                <a:gd name="T15" fmla="*/ 5 h 12"/>
                <a:gd name="T16" fmla="*/ 5 w 10"/>
                <a:gd name="T17" fmla="*/ 7 h 12"/>
                <a:gd name="T18" fmla="*/ 7 w 10"/>
                <a:gd name="T19" fmla="*/ 10 h 12"/>
                <a:gd name="T20" fmla="*/ 7 w 10"/>
                <a:gd name="T21" fmla="*/ 12 h 12"/>
                <a:gd name="T22" fmla="*/ 7 w 10"/>
                <a:gd name="T23" fmla="*/ 12 h 12"/>
                <a:gd name="T24" fmla="*/ 10 w 10"/>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12"/>
                  </a:moveTo>
                  <a:lnTo>
                    <a:pt x="10" y="12"/>
                  </a:lnTo>
                  <a:lnTo>
                    <a:pt x="10" y="10"/>
                  </a:lnTo>
                  <a:lnTo>
                    <a:pt x="7" y="5"/>
                  </a:lnTo>
                  <a:lnTo>
                    <a:pt x="5" y="3"/>
                  </a:lnTo>
                  <a:lnTo>
                    <a:pt x="3" y="0"/>
                  </a:lnTo>
                  <a:lnTo>
                    <a:pt x="0" y="3"/>
                  </a:lnTo>
                  <a:lnTo>
                    <a:pt x="0" y="5"/>
                  </a:lnTo>
                  <a:lnTo>
                    <a:pt x="5" y="7"/>
                  </a:lnTo>
                  <a:lnTo>
                    <a:pt x="7" y="10"/>
                  </a:lnTo>
                  <a:lnTo>
                    <a:pt x="7" y="12"/>
                  </a:lnTo>
                  <a:lnTo>
                    <a:pt x="7" y="12"/>
                  </a:lnTo>
                  <a:lnTo>
                    <a:pt x="10" y="12"/>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29" name="Freeform 284">
              <a:extLst>
                <a:ext uri="{FF2B5EF4-FFF2-40B4-BE49-F238E27FC236}">
                  <a16:creationId xmlns:a16="http://schemas.microsoft.com/office/drawing/2014/main" id="{011B0EA6-DF56-4CA7-838F-1D1D63E98A58}"/>
                </a:ext>
              </a:extLst>
            </p:cNvPr>
            <p:cNvSpPr>
              <a:spLocks/>
            </p:cNvSpPr>
            <p:nvPr/>
          </p:nvSpPr>
          <p:spPr bwMode="auto">
            <a:xfrm>
              <a:off x="1075579" y="2320890"/>
              <a:ext cx="15875" cy="19050"/>
            </a:xfrm>
            <a:custGeom>
              <a:avLst/>
              <a:gdLst>
                <a:gd name="T0" fmla="*/ 10 w 10"/>
                <a:gd name="T1" fmla="*/ 12 h 12"/>
                <a:gd name="T2" fmla="*/ 10 w 10"/>
                <a:gd name="T3" fmla="*/ 12 h 12"/>
                <a:gd name="T4" fmla="*/ 10 w 10"/>
                <a:gd name="T5" fmla="*/ 10 h 12"/>
                <a:gd name="T6" fmla="*/ 7 w 10"/>
                <a:gd name="T7" fmla="*/ 5 h 12"/>
                <a:gd name="T8" fmla="*/ 5 w 10"/>
                <a:gd name="T9" fmla="*/ 3 h 12"/>
                <a:gd name="T10" fmla="*/ 3 w 10"/>
                <a:gd name="T11" fmla="*/ 0 h 12"/>
                <a:gd name="T12" fmla="*/ 0 w 10"/>
                <a:gd name="T13" fmla="*/ 3 h 12"/>
                <a:gd name="T14" fmla="*/ 0 w 10"/>
                <a:gd name="T15" fmla="*/ 5 h 12"/>
                <a:gd name="T16" fmla="*/ 5 w 10"/>
                <a:gd name="T17" fmla="*/ 7 h 12"/>
                <a:gd name="T18" fmla="*/ 7 w 10"/>
                <a:gd name="T19" fmla="*/ 10 h 12"/>
                <a:gd name="T20" fmla="*/ 7 w 10"/>
                <a:gd name="T21" fmla="*/ 12 h 12"/>
                <a:gd name="T22" fmla="*/ 7 w 10"/>
                <a:gd name="T23" fmla="*/ 12 h 12"/>
                <a:gd name="T24" fmla="*/ 10 w 10"/>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12"/>
                  </a:moveTo>
                  <a:lnTo>
                    <a:pt x="10" y="12"/>
                  </a:lnTo>
                  <a:lnTo>
                    <a:pt x="10" y="10"/>
                  </a:lnTo>
                  <a:lnTo>
                    <a:pt x="7" y="5"/>
                  </a:lnTo>
                  <a:lnTo>
                    <a:pt x="5" y="3"/>
                  </a:lnTo>
                  <a:lnTo>
                    <a:pt x="3" y="0"/>
                  </a:lnTo>
                  <a:lnTo>
                    <a:pt x="0" y="3"/>
                  </a:lnTo>
                  <a:lnTo>
                    <a:pt x="0" y="5"/>
                  </a:lnTo>
                  <a:lnTo>
                    <a:pt x="5" y="7"/>
                  </a:lnTo>
                  <a:lnTo>
                    <a:pt x="7" y="10"/>
                  </a:lnTo>
                  <a:lnTo>
                    <a:pt x="7" y="12"/>
                  </a:lnTo>
                  <a:lnTo>
                    <a:pt x="7" y="12"/>
                  </a:lnTo>
                  <a:lnTo>
                    <a:pt x="10" y="12"/>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0" name="Freeform 285">
              <a:extLst>
                <a:ext uri="{FF2B5EF4-FFF2-40B4-BE49-F238E27FC236}">
                  <a16:creationId xmlns:a16="http://schemas.microsoft.com/office/drawing/2014/main" id="{5C68FC1B-E31A-4BA9-852B-718F79FA8830}"/>
                </a:ext>
              </a:extLst>
            </p:cNvPr>
            <p:cNvSpPr>
              <a:spLocks/>
            </p:cNvSpPr>
            <p:nvPr/>
          </p:nvSpPr>
          <p:spPr bwMode="auto">
            <a:xfrm>
              <a:off x="1083517" y="2317714"/>
              <a:ext cx="11113" cy="14288"/>
            </a:xfrm>
            <a:custGeom>
              <a:avLst/>
              <a:gdLst>
                <a:gd name="T0" fmla="*/ 5 w 7"/>
                <a:gd name="T1" fmla="*/ 9 h 9"/>
                <a:gd name="T2" fmla="*/ 7 w 7"/>
                <a:gd name="T3" fmla="*/ 9 h 9"/>
                <a:gd name="T4" fmla="*/ 7 w 7"/>
                <a:gd name="T5" fmla="*/ 9 h 9"/>
                <a:gd name="T6" fmla="*/ 5 w 7"/>
                <a:gd name="T7" fmla="*/ 5 h 9"/>
                <a:gd name="T8" fmla="*/ 2 w 7"/>
                <a:gd name="T9" fmla="*/ 2 h 9"/>
                <a:gd name="T10" fmla="*/ 0 w 7"/>
                <a:gd name="T11" fmla="*/ 0 h 9"/>
                <a:gd name="T12" fmla="*/ 0 w 7"/>
                <a:gd name="T13" fmla="*/ 2 h 9"/>
                <a:gd name="T14" fmla="*/ 0 w 7"/>
                <a:gd name="T15" fmla="*/ 5 h 9"/>
                <a:gd name="T16" fmla="*/ 2 w 7"/>
                <a:gd name="T17" fmla="*/ 5 h 9"/>
                <a:gd name="T18" fmla="*/ 5 w 7"/>
                <a:gd name="T19" fmla="*/ 9 h 9"/>
                <a:gd name="T20" fmla="*/ 5 w 7"/>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5" y="9"/>
                  </a:moveTo>
                  <a:lnTo>
                    <a:pt x="7" y="9"/>
                  </a:lnTo>
                  <a:lnTo>
                    <a:pt x="7" y="9"/>
                  </a:lnTo>
                  <a:lnTo>
                    <a:pt x="5" y="5"/>
                  </a:lnTo>
                  <a:lnTo>
                    <a:pt x="2" y="2"/>
                  </a:lnTo>
                  <a:lnTo>
                    <a:pt x="0" y="0"/>
                  </a:lnTo>
                  <a:lnTo>
                    <a:pt x="0" y="2"/>
                  </a:lnTo>
                  <a:lnTo>
                    <a:pt x="0" y="5"/>
                  </a:lnTo>
                  <a:lnTo>
                    <a:pt x="2" y="5"/>
                  </a:lnTo>
                  <a:lnTo>
                    <a:pt x="5" y="9"/>
                  </a:lnTo>
                  <a:lnTo>
                    <a:pt x="5" y="9"/>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1" name="Freeform 286">
              <a:extLst>
                <a:ext uri="{FF2B5EF4-FFF2-40B4-BE49-F238E27FC236}">
                  <a16:creationId xmlns:a16="http://schemas.microsoft.com/office/drawing/2014/main" id="{9CD3FEC4-8023-4910-9EC4-20B86F6E2BAB}"/>
                </a:ext>
              </a:extLst>
            </p:cNvPr>
            <p:cNvSpPr>
              <a:spLocks/>
            </p:cNvSpPr>
            <p:nvPr/>
          </p:nvSpPr>
          <p:spPr bwMode="auto">
            <a:xfrm>
              <a:off x="1083517" y="2317714"/>
              <a:ext cx="11113" cy="14288"/>
            </a:xfrm>
            <a:custGeom>
              <a:avLst/>
              <a:gdLst>
                <a:gd name="T0" fmla="*/ 5 w 7"/>
                <a:gd name="T1" fmla="*/ 9 h 9"/>
                <a:gd name="T2" fmla="*/ 7 w 7"/>
                <a:gd name="T3" fmla="*/ 9 h 9"/>
                <a:gd name="T4" fmla="*/ 7 w 7"/>
                <a:gd name="T5" fmla="*/ 9 h 9"/>
                <a:gd name="T6" fmla="*/ 5 w 7"/>
                <a:gd name="T7" fmla="*/ 5 h 9"/>
                <a:gd name="T8" fmla="*/ 2 w 7"/>
                <a:gd name="T9" fmla="*/ 2 h 9"/>
                <a:gd name="T10" fmla="*/ 0 w 7"/>
                <a:gd name="T11" fmla="*/ 0 h 9"/>
                <a:gd name="T12" fmla="*/ 0 w 7"/>
                <a:gd name="T13" fmla="*/ 2 h 9"/>
                <a:gd name="T14" fmla="*/ 0 w 7"/>
                <a:gd name="T15" fmla="*/ 5 h 9"/>
                <a:gd name="T16" fmla="*/ 2 w 7"/>
                <a:gd name="T17" fmla="*/ 5 h 9"/>
                <a:gd name="T18" fmla="*/ 5 w 7"/>
                <a:gd name="T19" fmla="*/ 9 h 9"/>
                <a:gd name="T20" fmla="*/ 5 w 7"/>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5" y="9"/>
                  </a:moveTo>
                  <a:lnTo>
                    <a:pt x="7" y="9"/>
                  </a:lnTo>
                  <a:lnTo>
                    <a:pt x="7" y="9"/>
                  </a:lnTo>
                  <a:lnTo>
                    <a:pt x="5" y="5"/>
                  </a:lnTo>
                  <a:lnTo>
                    <a:pt x="2" y="2"/>
                  </a:lnTo>
                  <a:lnTo>
                    <a:pt x="0" y="0"/>
                  </a:lnTo>
                  <a:lnTo>
                    <a:pt x="0" y="2"/>
                  </a:lnTo>
                  <a:lnTo>
                    <a:pt x="0" y="5"/>
                  </a:lnTo>
                  <a:lnTo>
                    <a:pt x="2" y="5"/>
                  </a:lnTo>
                  <a:lnTo>
                    <a:pt x="5" y="9"/>
                  </a:lnTo>
                  <a:lnTo>
                    <a:pt x="5" y="9"/>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2" name="Freeform 287">
              <a:extLst>
                <a:ext uri="{FF2B5EF4-FFF2-40B4-BE49-F238E27FC236}">
                  <a16:creationId xmlns:a16="http://schemas.microsoft.com/office/drawing/2014/main" id="{B69E04B3-F090-452B-8EC1-A7E9ABB6EC23}"/>
                </a:ext>
              </a:extLst>
            </p:cNvPr>
            <p:cNvSpPr>
              <a:spLocks/>
            </p:cNvSpPr>
            <p:nvPr/>
          </p:nvSpPr>
          <p:spPr bwMode="auto">
            <a:xfrm>
              <a:off x="1091455" y="2320890"/>
              <a:ext cx="7938" cy="4763"/>
            </a:xfrm>
            <a:custGeom>
              <a:avLst/>
              <a:gdLst>
                <a:gd name="T0" fmla="*/ 5 w 5"/>
                <a:gd name="T1" fmla="*/ 0 h 3"/>
                <a:gd name="T2" fmla="*/ 5 w 5"/>
                <a:gd name="T3" fmla="*/ 0 h 3"/>
                <a:gd name="T4" fmla="*/ 0 w 5"/>
                <a:gd name="T5" fmla="*/ 0 h 3"/>
                <a:gd name="T6" fmla="*/ 0 w 5"/>
                <a:gd name="T7" fmla="*/ 0 h 3"/>
                <a:gd name="T8" fmla="*/ 2 w 5"/>
                <a:gd name="T9" fmla="*/ 3 h 3"/>
                <a:gd name="T10" fmla="*/ 2 w 5"/>
                <a:gd name="T11" fmla="*/ 3 h 3"/>
                <a:gd name="T12" fmla="*/ 5 w 5"/>
                <a:gd name="T13" fmla="*/ 3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5" y="0"/>
                  </a:lnTo>
                  <a:lnTo>
                    <a:pt x="0" y="0"/>
                  </a:lnTo>
                  <a:lnTo>
                    <a:pt x="0" y="0"/>
                  </a:lnTo>
                  <a:lnTo>
                    <a:pt x="2" y="3"/>
                  </a:lnTo>
                  <a:lnTo>
                    <a:pt x="2" y="3"/>
                  </a:lnTo>
                  <a:lnTo>
                    <a:pt x="5" y="3"/>
                  </a:lnTo>
                  <a:lnTo>
                    <a:pt x="5"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3" name="Freeform 288">
              <a:extLst>
                <a:ext uri="{FF2B5EF4-FFF2-40B4-BE49-F238E27FC236}">
                  <a16:creationId xmlns:a16="http://schemas.microsoft.com/office/drawing/2014/main" id="{E3B91C8D-EAB5-4F75-8AD6-E39A1C86FE62}"/>
                </a:ext>
              </a:extLst>
            </p:cNvPr>
            <p:cNvSpPr>
              <a:spLocks/>
            </p:cNvSpPr>
            <p:nvPr/>
          </p:nvSpPr>
          <p:spPr bwMode="auto">
            <a:xfrm>
              <a:off x="1091455" y="2320890"/>
              <a:ext cx="7938" cy="4763"/>
            </a:xfrm>
            <a:custGeom>
              <a:avLst/>
              <a:gdLst>
                <a:gd name="T0" fmla="*/ 5 w 5"/>
                <a:gd name="T1" fmla="*/ 0 h 3"/>
                <a:gd name="T2" fmla="*/ 5 w 5"/>
                <a:gd name="T3" fmla="*/ 0 h 3"/>
                <a:gd name="T4" fmla="*/ 0 w 5"/>
                <a:gd name="T5" fmla="*/ 0 h 3"/>
                <a:gd name="T6" fmla="*/ 0 w 5"/>
                <a:gd name="T7" fmla="*/ 0 h 3"/>
                <a:gd name="T8" fmla="*/ 2 w 5"/>
                <a:gd name="T9" fmla="*/ 3 h 3"/>
                <a:gd name="T10" fmla="*/ 2 w 5"/>
                <a:gd name="T11" fmla="*/ 3 h 3"/>
                <a:gd name="T12" fmla="*/ 5 w 5"/>
                <a:gd name="T13" fmla="*/ 3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5" y="0"/>
                  </a:lnTo>
                  <a:lnTo>
                    <a:pt x="0" y="0"/>
                  </a:lnTo>
                  <a:lnTo>
                    <a:pt x="0" y="0"/>
                  </a:lnTo>
                  <a:lnTo>
                    <a:pt x="2" y="3"/>
                  </a:lnTo>
                  <a:lnTo>
                    <a:pt x="2" y="3"/>
                  </a:lnTo>
                  <a:lnTo>
                    <a:pt x="5" y="3"/>
                  </a:lnTo>
                  <a:lnTo>
                    <a:pt x="5"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4" name="Freeform 289">
              <a:extLst>
                <a:ext uri="{FF2B5EF4-FFF2-40B4-BE49-F238E27FC236}">
                  <a16:creationId xmlns:a16="http://schemas.microsoft.com/office/drawing/2014/main" id="{07FE0445-2B99-4A61-AD5C-9B489C607B96}"/>
                </a:ext>
              </a:extLst>
            </p:cNvPr>
            <p:cNvSpPr>
              <a:spLocks/>
            </p:cNvSpPr>
            <p:nvPr/>
          </p:nvSpPr>
          <p:spPr bwMode="auto">
            <a:xfrm>
              <a:off x="1086692" y="2343115"/>
              <a:ext cx="7938" cy="7938"/>
            </a:xfrm>
            <a:custGeom>
              <a:avLst/>
              <a:gdLst>
                <a:gd name="T0" fmla="*/ 5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3 h 5"/>
                <a:gd name="T14" fmla="*/ 3 w 5"/>
                <a:gd name="T15" fmla="*/ 5 h 5"/>
                <a:gd name="T16" fmla="*/ 5 w 5"/>
                <a:gd name="T17" fmla="*/ 5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5" y="3"/>
                  </a:lnTo>
                  <a:lnTo>
                    <a:pt x="5" y="0"/>
                  </a:lnTo>
                  <a:lnTo>
                    <a:pt x="3" y="0"/>
                  </a:lnTo>
                  <a:lnTo>
                    <a:pt x="0" y="0"/>
                  </a:lnTo>
                  <a:lnTo>
                    <a:pt x="0" y="3"/>
                  </a:lnTo>
                  <a:lnTo>
                    <a:pt x="3" y="3"/>
                  </a:lnTo>
                  <a:lnTo>
                    <a:pt x="3" y="5"/>
                  </a:lnTo>
                  <a:lnTo>
                    <a:pt x="5" y="5"/>
                  </a:lnTo>
                  <a:lnTo>
                    <a:pt x="5" y="5"/>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5" name="Freeform 290">
              <a:extLst>
                <a:ext uri="{FF2B5EF4-FFF2-40B4-BE49-F238E27FC236}">
                  <a16:creationId xmlns:a16="http://schemas.microsoft.com/office/drawing/2014/main" id="{607E70A0-FFB0-4902-B849-778086816559}"/>
                </a:ext>
              </a:extLst>
            </p:cNvPr>
            <p:cNvSpPr>
              <a:spLocks/>
            </p:cNvSpPr>
            <p:nvPr/>
          </p:nvSpPr>
          <p:spPr bwMode="auto">
            <a:xfrm>
              <a:off x="1086692" y="2343115"/>
              <a:ext cx="7938" cy="7938"/>
            </a:xfrm>
            <a:custGeom>
              <a:avLst/>
              <a:gdLst>
                <a:gd name="T0" fmla="*/ 5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3 h 5"/>
                <a:gd name="T14" fmla="*/ 3 w 5"/>
                <a:gd name="T15" fmla="*/ 5 h 5"/>
                <a:gd name="T16" fmla="*/ 5 w 5"/>
                <a:gd name="T17" fmla="*/ 5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5" y="3"/>
                  </a:lnTo>
                  <a:lnTo>
                    <a:pt x="5" y="0"/>
                  </a:lnTo>
                  <a:lnTo>
                    <a:pt x="3" y="0"/>
                  </a:lnTo>
                  <a:lnTo>
                    <a:pt x="0" y="0"/>
                  </a:lnTo>
                  <a:lnTo>
                    <a:pt x="0" y="3"/>
                  </a:lnTo>
                  <a:lnTo>
                    <a:pt x="3" y="3"/>
                  </a:lnTo>
                  <a:lnTo>
                    <a:pt x="3" y="5"/>
                  </a:lnTo>
                  <a:lnTo>
                    <a:pt x="5" y="5"/>
                  </a:lnTo>
                  <a:lnTo>
                    <a:pt x="5" y="5"/>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6" name="Freeform 291">
              <a:extLst>
                <a:ext uri="{FF2B5EF4-FFF2-40B4-BE49-F238E27FC236}">
                  <a16:creationId xmlns:a16="http://schemas.microsoft.com/office/drawing/2014/main" id="{1086FED5-CADE-4B66-B53C-654CC1544E11}"/>
                </a:ext>
              </a:extLst>
            </p:cNvPr>
            <p:cNvSpPr>
              <a:spLocks/>
            </p:cNvSpPr>
            <p:nvPr/>
          </p:nvSpPr>
          <p:spPr bwMode="auto">
            <a:xfrm>
              <a:off x="1083517" y="2358990"/>
              <a:ext cx="7938" cy="14288"/>
            </a:xfrm>
            <a:custGeom>
              <a:avLst/>
              <a:gdLst>
                <a:gd name="T0" fmla="*/ 2 w 5"/>
                <a:gd name="T1" fmla="*/ 0 h 9"/>
                <a:gd name="T2" fmla="*/ 2 w 5"/>
                <a:gd name="T3" fmla="*/ 0 h 9"/>
                <a:gd name="T4" fmla="*/ 0 w 5"/>
                <a:gd name="T5" fmla="*/ 0 h 9"/>
                <a:gd name="T6" fmla="*/ 2 w 5"/>
                <a:gd name="T7" fmla="*/ 7 h 9"/>
                <a:gd name="T8" fmla="*/ 2 w 5"/>
                <a:gd name="T9" fmla="*/ 7 h 9"/>
                <a:gd name="T10" fmla="*/ 5 w 5"/>
                <a:gd name="T11" fmla="*/ 9 h 9"/>
                <a:gd name="T12" fmla="*/ 5 w 5"/>
                <a:gd name="T13" fmla="*/ 7 h 9"/>
                <a:gd name="T14" fmla="*/ 5 w 5"/>
                <a:gd name="T15" fmla="*/ 5 h 9"/>
                <a:gd name="T16" fmla="*/ 5 w 5"/>
                <a:gd name="T17" fmla="*/ 5 h 9"/>
                <a:gd name="T18" fmla="*/ 2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2" y="0"/>
                  </a:moveTo>
                  <a:lnTo>
                    <a:pt x="2" y="0"/>
                  </a:lnTo>
                  <a:lnTo>
                    <a:pt x="0" y="0"/>
                  </a:lnTo>
                  <a:lnTo>
                    <a:pt x="2" y="7"/>
                  </a:lnTo>
                  <a:lnTo>
                    <a:pt x="2" y="7"/>
                  </a:lnTo>
                  <a:lnTo>
                    <a:pt x="5" y="9"/>
                  </a:lnTo>
                  <a:lnTo>
                    <a:pt x="5" y="7"/>
                  </a:lnTo>
                  <a:lnTo>
                    <a:pt x="5" y="5"/>
                  </a:lnTo>
                  <a:lnTo>
                    <a:pt x="5" y="5"/>
                  </a:lnTo>
                  <a:lnTo>
                    <a:pt x="2"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7" name="Freeform 292">
              <a:extLst>
                <a:ext uri="{FF2B5EF4-FFF2-40B4-BE49-F238E27FC236}">
                  <a16:creationId xmlns:a16="http://schemas.microsoft.com/office/drawing/2014/main" id="{C723F694-FB50-40A8-ABE7-20075F1992DE}"/>
                </a:ext>
              </a:extLst>
            </p:cNvPr>
            <p:cNvSpPr>
              <a:spLocks/>
            </p:cNvSpPr>
            <p:nvPr/>
          </p:nvSpPr>
          <p:spPr bwMode="auto">
            <a:xfrm>
              <a:off x="1083517" y="2358990"/>
              <a:ext cx="7938" cy="14288"/>
            </a:xfrm>
            <a:custGeom>
              <a:avLst/>
              <a:gdLst>
                <a:gd name="T0" fmla="*/ 2 w 5"/>
                <a:gd name="T1" fmla="*/ 0 h 9"/>
                <a:gd name="T2" fmla="*/ 2 w 5"/>
                <a:gd name="T3" fmla="*/ 0 h 9"/>
                <a:gd name="T4" fmla="*/ 0 w 5"/>
                <a:gd name="T5" fmla="*/ 0 h 9"/>
                <a:gd name="T6" fmla="*/ 2 w 5"/>
                <a:gd name="T7" fmla="*/ 7 h 9"/>
                <a:gd name="T8" fmla="*/ 2 w 5"/>
                <a:gd name="T9" fmla="*/ 7 h 9"/>
                <a:gd name="T10" fmla="*/ 5 w 5"/>
                <a:gd name="T11" fmla="*/ 9 h 9"/>
                <a:gd name="T12" fmla="*/ 5 w 5"/>
                <a:gd name="T13" fmla="*/ 7 h 9"/>
                <a:gd name="T14" fmla="*/ 5 w 5"/>
                <a:gd name="T15" fmla="*/ 5 h 9"/>
                <a:gd name="T16" fmla="*/ 5 w 5"/>
                <a:gd name="T17" fmla="*/ 5 h 9"/>
                <a:gd name="T18" fmla="*/ 2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2" y="0"/>
                  </a:moveTo>
                  <a:lnTo>
                    <a:pt x="2" y="0"/>
                  </a:lnTo>
                  <a:lnTo>
                    <a:pt x="0" y="0"/>
                  </a:lnTo>
                  <a:lnTo>
                    <a:pt x="2" y="7"/>
                  </a:lnTo>
                  <a:lnTo>
                    <a:pt x="2" y="7"/>
                  </a:lnTo>
                  <a:lnTo>
                    <a:pt x="5" y="9"/>
                  </a:lnTo>
                  <a:lnTo>
                    <a:pt x="5" y="7"/>
                  </a:lnTo>
                  <a:lnTo>
                    <a:pt x="5" y="5"/>
                  </a:lnTo>
                  <a:lnTo>
                    <a:pt x="5" y="5"/>
                  </a:lnTo>
                  <a:lnTo>
                    <a:pt x="2"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8" name="Freeform 293">
              <a:extLst>
                <a:ext uri="{FF2B5EF4-FFF2-40B4-BE49-F238E27FC236}">
                  <a16:creationId xmlns:a16="http://schemas.microsoft.com/office/drawing/2014/main" id="{163FC3AC-A5B9-47F0-8EE3-ACE351B1DF14}"/>
                </a:ext>
              </a:extLst>
            </p:cNvPr>
            <p:cNvSpPr>
              <a:spLocks/>
            </p:cNvSpPr>
            <p:nvPr/>
          </p:nvSpPr>
          <p:spPr bwMode="auto">
            <a:xfrm>
              <a:off x="1680416" y="2697128"/>
              <a:ext cx="11113" cy="11113"/>
            </a:xfrm>
            <a:custGeom>
              <a:avLst/>
              <a:gdLst>
                <a:gd name="T0" fmla="*/ 7 w 7"/>
                <a:gd name="T1" fmla="*/ 7 h 7"/>
                <a:gd name="T2" fmla="*/ 7 w 7"/>
                <a:gd name="T3" fmla="*/ 2 h 7"/>
                <a:gd name="T4" fmla="*/ 4 w 7"/>
                <a:gd name="T5" fmla="*/ 0 h 7"/>
                <a:gd name="T6" fmla="*/ 2 w 7"/>
                <a:gd name="T7" fmla="*/ 0 h 7"/>
                <a:gd name="T8" fmla="*/ 0 w 7"/>
                <a:gd name="T9" fmla="*/ 4 h 7"/>
                <a:gd name="T10" fmla="*/ 2 w 7"/>
                <a:gd name="T11" fmla="*/ 7 h 7"/>
                <a:gd name="T12" fmla="*/ 4 w 7"/>
                <a:gd name="T13" fmla="*/ 7 h 7"/>
                <a:gd name="T14" fmla="*/ 7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7"/>
                  </a:moveTo>
                  <a:lnTo>
                    <a:pt x="7" y="2"/>
                  </a:lnTo>
                  <a:lnTo>
                    <a:pt x="4" y="0"/>
                  </a:lnTo>
                  <a:lnTo>
                    <a:pt x="2" y="0"/>
                  </a:lnTo>
                  <a:lnTo>
                    <a:pt x="0" y="4"/>
                  </a:lnTo>
                  <a:lnTo>
                    <a:pt x="2" y="7"/>
                  </a:lnTo>
                  <a:lnTo>
                    <a:pt x="4" y="7"/>
                  </a:lnTo>
                  <a:lnTo>
                    <a:pt x="7"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39" name="Freeform 294">
              <a:extLst>
                <a:ext uri="{FF2B5EF4-FFF2-40B4-BE49-F238E27FC236}">
                  <a16:creationId xmlns:a16="http://schemas.microsoft.com/office/drawing/2014/main" id="{B4274AF5-D88A-4494-BE4A-6B47E337ECFE}"/>
                </a:ext>
              </a:extLst>
            </p:cNvPr>
            <p:cNvSpPr>
              <a:spLocks/>
            </p:cNvSpPr>
            <p:nvPr/>
          </p:nvSpPr>
          <p:spPr bwMode="auto">
            <a:xfrm>
              <a:off x="1680416" y="2697128"/>
              <a:ext cx="11113" cy="11113"/>
            </a:xfrm>
            <a:custGeom>
              <a:avLst/>
              <a:gdLst>
                <a:gd name="T0" fmla="*/ 7 w 7"/>
                <a:gd name="T1" fmla="*/ 7 h 7"/>
                <a:gd name="T2" fmla="*/ 7 w 7"/>
                <a:gd name="T3" fmla="*/ 2 h 7"/>
                <a:gd name="T4" fmla="*/ 4 w 7"/>
                <a:gd name="T5" fmla="*/ 0 h 7"/>
                <a:gd name="T6" fmla="*/ 2 w 7"/>
                <a:gd name="T7" fmla="*/ 0 h 7"/>
                <a:gd name="T8" fmla="*/ 0 w 7"/>
                <a:gd name="T9" fmla="*/ 4 h 7"/>
                <a:gd name="T10" fmla="*/ 2 w 7"/>
                <a:gd name="T11" fmla="*/ 7 h 7"/>
                <a:gd name="T12" fmla="*/ 4 w 7"/>
                <a:gd name="T13" fmla="*/ 7 h 7"/>
                <a:gd name="T14" fmla="*/ 7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7"/>
                  </a:moveTo>
                  <a:lnTo>
                    <a:pt x="7" y="2"/>
                  </a:lnTo>
                  <a:lnTo>
                    <a:pt x="4" y="0"/>
                  </a:lnTo>
                  <a:lnTo>
                    <a:pt x="2" y="0"/>
                  </a:lnTo>
                  <a:lnTo>
                    <a:pt x="0" y="4"/>
                  </a:lnTo>
                  <a:lnTo>
                    <a:pt x="2" y="7"/>
                  </a:lnTo>
                  <a:lnTo>
                    <a:pt x="4" y="7"/>
                  </a:lnTo>
                  <a:lnTo>
                    <a:pt x="7"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0" name="Freeform 295">
              <a:extLst>
                <a:ext uri="{FF2B5EF4-FFF2-40B4-BE49-F238E27FC236}">
                  <a16:creationId xmlns:a16="http://schemas.microsoft.com/office/drawing/2014/main" id="{1E645D31-27B6-4D7A-88E1-FB74694040B9}"/>
                </a:ext>
              </a:extLst>
            </p:cNvPr>
            <p:cNvSpPr>
              <a:spLocks/>
            </p:cNvSpPr>
            <p:nvPr/>
          </p:nvSpPr>
          <p:spPr bwMode="auto">
            <a:xfrm>
              <a:off x="1604217" y="2711415"/>
              <a:ext cx="7938" cy="19050"/>
            </a:xfrm>
            <a:custGeom>
              <a:avLst/>
              <a:gdLst>
                <a:gd name="T0" fmla="*/ 0 w 5"/>
                <a:gd name="T1" fmla="*/ 0 h 12"/>
                <a:gd name="T2" fmla="*/ 0 w 5"/>
                <a:gd name="T3" fmla="*/ 0 h 12"/>
                <a:gd name="T4" fmla="*/ 3 w 5"/>
                <a:gd name="T5" fmla="*/ 0 h 12"/>
                <a:gd name="T6" fmla="*/ 3 w 5"/>
                <a:gd name="T7" fmla="*/ 0 h 12"/>
                <a:gd name="T8" fmla="*/ 5 w 5"/>
                <a:gd name="T9" fmla="*/ 2 h 12"/>
                <a:gd name="T10" fmla="*/ 5 w 5"/>
                <a:gd name="T11" fmla="*/ 5 h 12"/>
                <a:gd name="T12" fmla="*/ 5 w 5"/>
                <a:gd name="T13" fmla="*/ 5 h 12"/>
                <a:gd name="T14" fmla="*/ 3 w 5"/>
                <a:gd name="T15" fmla="*/ 7 h 12"/>
                <a:gd name="T16" fmla="*/ 3 w 5"/>
                <a:gd name="T17" fmla="*/ 12 h 12"/>
                <a:gd name="T18" fmla="*/ 3 w 5"/>
                <a:gd name="T19" fmla="*/ 9 h 12"/>
                <a:gd name="T20" fmla="*/ 3 w 5"/>
                <a:gd name="T21" fmla="*/ 5 h 12"/>
                <a:gd name="T22" fmla="*/ 0 w 5"/>
                <a:gd name="T23" fmla="*/ 5 h 12"/>
                <a:gd name="T24" fmla="*/ 0 w 5"/>
                <a:gd name="T25" fmla="*/ 2 h 12"/>
                <a:gd name="T26" fmla="*/ 0 w 5"/>
                <a:gd name="T27" fmla="*/ 2 h 12"/>
                <a:gd name="T28" fmla="*/ 0 w 5"/>
                <a:gd name="T29" fmla="*/ 0 h 12"/>
                <a:gd name="T30" fmla="*/ 0 w 5"/>
                <a:gd name="T31" fmla="*/ 0 h 12"/>
                <a:gd name="T32" fmla="*/ 0 w 5"/>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2">
                  <a:moveTo>
                    <a:pt x="0" y="0"/>
                  </a:moveTo>
                  <a:lnTo>
                    <a:pt x="0" y="0"/>
                  </a:lnTo>
                  <a:lnTo>
                    <a:pt x="3" y="0"/>
                  </a:lnTo>
                  <a:lnTo>
                    <a:pt x="3" y="0"/>
                  </a:lnTo>
                  <a:lnTo>
                    <a:pt x="5" y="2"/>
                  </a:lnTo>
                  <a:lnTo>
                    <a:pt x="5" y="5"/>
                  </a:lnTo>
                  <a:lnTo>
                    <a:pt x="5" y="5"/>
                  </a:lnTo>
                  <a:lnTo>
                    <a:pt x="3" y="7"/>
                  </a:lnTo>
                  <a:lnTo>
                    <a:pt x="3" y="12"/>
                  </a:lnTo>
                  <a:lnTo>
                    <a:pt x="3" y="9"/>
                  </a:lnTo>
                  <a:lnTo>
                    <a:pt x="3" y="5"/>
                  </a:lnTo>
                  <a:lnTo>
                    <a:pt x="0" y="5"/>
                  </a:lnTo>
                  <a:lnTo>
                    <a:pt x="0" y="2"/>
                  </a:lnTo>
                  <a:lnTo>
                    <a:pt x="0" y="2"/>
                  </a:lnTo>
                  <a:lnTo>
                    <a:pt x="0" y="0"/>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1" name="Freeform 296">
              <a:extLst>
                <a:ext uri="{FF2B5EF4-FFF2-40B4-BE49-F238E27FC236}">
                  <a16:creationId xmlns:a16="http://schemas.microsoft.com/office/drawing/2014/main" id="{73672488-04DF-4ED6-B21D-E8B9739938E8}"/>
                </a:ext>
              </a:extLst>
            </p:cNvPr>
            <p:cNvSpPr>
              <a:spLocks/>
            </p:cNvSpPr>
            <p:nvPr/>
          </p:nvSpPr>
          <p:spPr bwMode="auto">
            <a:xfrm>
              <a:off x="1604217" y="2711415"/>
              <a:ext cx="7938" cy="19050"/>
            </a:xfrm>
            <a:custGeom>
              <a:avLst/>
              <a:gdLst>
                <a:gd name="T0" fmla="*/ 0 w 5"/>
                <a:gd name="T1" fmla="*/ 0 h 12"/>
                <a:gd name="T2" fmla="*/ 0 w 5"/>
                <a:gd name="T3" fmla="*/ 0 h 12"/>
                <a:gd name="T4" fmla="*/ 3 w 5"/>
                <a:gd name="T5" fmla="*/ 0 h 12"/>
                <a:gd name="T6" fmla="*/ 3 w 5"/>
                <a:gd name="T7" fmla="*/ 0 h 12"/>
                <a:gd name="T8" fmla="*/ 5 w 5"/>
                <a:gd name="T9" fmla="*/ 2 h 12"/>
                <a:gd name="T10" fmla="*/ 5 w 5"/>
                <a:gd name="T11" fmla="*/ 5 h 12"/>
                <a:gd name="T12" fmla="*/ 5 w 5"/>
                <a:gd name="T13" fmla="*/ 5 h 12"/>
                <a:gd name="T14" fmla="*/ 3 w 5"/>
                <a:gd name="T15" fmla="*/ 7 h 12"/>
                <a:gd name="T16" fmla="*/ 3 w 5"/>
                <a:gd name="T17" fmla="*/ 12 h 12"/>
                <a:gd name="T18" fmla="*/ 3 w 5"/>
                <a:gd name="T19" fmla="*/ 9 h 12"/>
                <a:gd name="T20" fmla="*/ 3 w 5"/>
                <a:gd name="T21" fmla="*/ 5 h 12"/>
                <a:gd name="T22" fmla="*/ 0 w 5"/>
                <a:gd name="T23" fmla="*/ 5 h 12"/>
                <a:gd name="T24" fmla="*/ 0 w 5"/>
                <a:gd name="T25" fmla="*/ 2 h 12"/>
                <a:gd name="T26" fmla="*/ 0 w 5"/>
                <a:gd name="T27" fmla="*/ 2 h 12"/>
                <a:gd name="T28" fmla="*/ 0 w 5"/>
                <a:gd name="T29" fmla="*/ 0 h 12"/>
                <a:gd name="T30" fmla="*/ 0 w 5"/>
                <a:gd name="T31" fmla="*/ 0 h 12"/>
                <a:gd name="T32" fmla="*/ 0 w 5"/>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2">
                  <a:moveTo>
                    <a:pt x="0" y="0"/>
                  </a:moveTo>
                  <a:lnTo>
                    <a:pt x="0" y="0"/>
                  </a:lnTo>
                  <a:lnTo>
                    <a:pt x="3" y="0"/>
                  </a:lnTo>
                  <a:lnTo>
                    <a:pt x="3" y="0"/>
                  </a:lnTo>
                  <a:lnTo>
                    <a:pt x="5" y="2"/>
                  </a:lnTo>
                  <a:lnTo>
                    <a:pt x="5" y="5"/>
                  </a:lnTo>
                  <a:lnTo>
                    <a:pt x="5" y="5"/>
                  </a:lnTo>
                  <a:lnTo>
                    <a:pt x="3" y="7"/>
                  </a:lnTo>
                  <a:lnTo>
                    <a:pt x="3" y="12"/>
                  </a:lnTo>
                  <a:lnTo>
                    <a:pt x="3" y="9"/>
                  </a:lnTo>
                  <a:lnTo>
                    <a:pt x="3" y="5"/>
                  </a:lnTo>
                  <a:lnTo>
                    <a:pt x="0" y="5"/>
                  </a:lnTo>
                  <a:lnTo>
                    <a:pt x="0" y="2"/>
                  </a:lnTo>
                  <a:lnTo>
                    <a:pt x="0" y="2"/>
                  </a:lnTo>
                  <a:lnTo>
                    <a:pt x="0" y="0"/>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2" name="Freeform 297">
              <a:extLst>
                <a:ext uri="{FF2B5EF4-FFF2-40B4-BE49-F238E27FC236}">
                  <a16:creationId xmlns:a16="http://schemas.microsoft.com/office/drawing/2014/main" id="{C781F319-BCCB-4D96-8ADB-DF1E32AAC96C}"/>
                </a:ext>
              </a:extLst>
            </p:cNvPr>
            <p:cNvSpPr>
              <a:spLocks/>
            </p:cNvSpPr>
            <p:nvPr/>
          </p:nvSpPr>
          <p:spPr bwMode="auto">
            <a:xfrm>
              <a:off x="1581992" y="2711415"/>
              <a:ext cx="22225" cy="14288"/>
            </a:xfrm>
            <a:custGeom>
              <a:avLst/>
              <a:gdLst>
                <a:gd name="T0" fmla="*/ 5 w 14"/>
                <a:gd name="T1" fmla="*/ 0 h 9"/>
                <a:gd name="T2" fmla="*/ 5 w 14"/>
                <a:gd name="T3" fmla="*/ 0 h 9"/>
                <a:gd name="T4" fmla="*/ 5 w 14"/>
                <a:gd name="T5" fmla="*/ 0 h 9"/>
                <a:gd name="T6" fmla="*/ 7 w 14"/>
                <a:gd name="T7" fmla="*/ 0 h 9"/>
                <a:gd name="T8" fmla="*/ 7 w 14"/>
                <a:gd name="T9" fmla="*/ 2 h 9"/>
                <a:gd name="T10" fmla="*/ 10 w 14"/>
                <a:gd name="T11" fmla="*/ 2 h 9"/>
                <a:gd name="T12" fmla="*/ 10 w 14"/>
                <a:gd name="T13" fmla="*/ 2 h 9"/>
                <a:gd name="T14" fmla="*/ 10 w 14"/>
                <a:gd name="T15" fmla="*/ 2 h 9"/>
                <a:gd name="T16" fmla="*/ 10 w 14"/>
                <a:gd name="T17" fmla="*/ 2 h 9"/>
                <a:gd name="T18" fmla="*/ 12 w 14"/>
                <a:gd name="T19" fmla="*/ 2 h 9"/>
                <a:gd name="T20" fmla="*/ 12 w 14"/>
                <a:gd name="T21" fmla="*/ 2 h 9"/>
                <a:gd name="T22" fmla="*/ 12 w 14"/>
                <a:gd name="T23" fmla="*/ 5 h 9"/>
                <a:gd name="T24" fmla="*/ 14 w 14"/>
                <a:gd name="T25" fmla="*/ 7 h 9"/>
                <a:gd name="T26" fmla="*/ 12 w 14"/>
                <a:gd name="T27" fmla="*/ 9 h 9"/>
                <a:gd name="T28" fmla="*/ 10 w 14"/>
                <a:gd name="T29" fmla="*/ 7 h 9"/>
                <a:gd name="T30" fmla="*/ 10 w 14"/>
                <a:gd name="T31" fmla="*/ 9 h 9"/>
                <a:gd name="T32" fmla="*/ 7 w 14"/>
                <a:gd name="T33" fmla="*/ 9 h 9"/>
                <a:gd name="T34" fmla="*/ 5 w 14"/>
                <a:gd name="T35" fmla="*/ 7 h 9"/>
                <a:gd name="T36" fmla="*/ 0 w 14"/>
                <a:gd name="T37" fmla="*/ 5 h 9"/>
                <a:gd name="T38" fmla="*/ 0 w 14"/>
                <a:gd name="T39" fmla="*/ 2 h 9"/>
                <a:gd name="T40" fmla="*/ 3 w 14"/>
                <a:gd name="T41" fmla="*/ 5 h 9"/>
                <a:gd name="T42" fmla="*/ 3 w 14"/>
                <a:gd name="T43" fmla="*/ 2 h 9"/>
                <a:gd name="T44" fmla="*/ 3 w 14"/>
                <a:gd name="T45" fmla="*/ 2 h 9"/>
                <a:gd name="T46" fmla="*/ 0 w 14"/>
                <a:gd name="T47" fmla="*/ 0 h 9"/>
                <a:gd name="T48" fmla="*/ 3 w 14"/>
                <a:gd name="T49" fmla="*/ 0 h 9"/>
                <a:gd name="T50" fmla="*/ 5 w 14"/>
                <a:gd name="T51" fmla="*/ 0 h 9"/>
                <a:gd name="T52" fmla="*/ 5 w 14"/>
                <a:gd name="T5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9">
                  <a:moveTo>
                    <a:pt x="5" y="0"/>
                  </a:moveTo>
                  <a:lnTo>
                    <a:pt x="5" y="0"/>
                  </a:lnTo>
                  <a:lnTo>
                    <a:pt x="5" y="0"/>
                  </a:lnTo>
                  <a:lnTo>
                    <a:pt x="7" y="0"/>
                  </a:lnTo>
                  <a:lnTo>
                    <a:pt x="7" y="2"/>
                  </a:lnTo>
                  <a:lnTo>
                    <a:pt x="10" y="2"/>
                  </a:lnTo>
                  <a:lnTo>
                    <a:pt x="10" y="2"/>
                  </a:lnTo>
                  <a:lnTo>
                    <a:pt x="10" y="2"/>
                  </a:lnTo>
                  <a:lnTo>
                    <a:pt x="10" y="2"/>
                  </a:lnTo>
                  <a:lnTo>
                    <a:pt x="12" y="2"/>
                  </a:lnTo>
                  <a:lnTo>
                    <a:pt x="12" y="2"/>
                  </a:lnTo>
                  <a:lnTo>
                    <a:pt x="12" y="5"/>
                  </a:lnTo>
                  <a:lnTo>
                    <a:pt x="14" y="7"/>
                  </a:lnTo>
                  <a:lnTo>
                    <a:pt x="12" y="9"/>
                  </a:lnTo>
                  <a:lnTo>
                    <a:pt x="10" y="7"/>
                  </a:lnTo>
                  <a:lnTo>
                    <a:pt x="10" y="9"/>
                  </a:lnTo>
                  <a:lnTo>
                    <a:pt x="7" y="9"/>
                  </a:lnTo>
                  <a:lnTo>
                    <a:pt x="5" y="7"/>
                  </a:lnTo>
                  <a:lnTo>
                    <a:pt x="0" y="5"/>
                  </a:lnTo>
                  <a:lnTo>
                    <a:pt x="0" y="2"/>
                  </a:lnTo>
                  <a:lnTo>
                    <a:pt x="3" y="5"/>
                  </a:lnTo>
                  <a:lnTo>
                    <a:pt x="3" y="2"/>
                  </a:lnTo>
                  <a:lnTo>
                    <a:pt x="3" y="2"/>
                  </a:lnTo>
                  <a:lnTo>
                    <a:pt x="0" y="0"/>
                  </a:lnTo>
                  <a:lnTo>
                    <a:pt x="3" y="0"/>
                  </a:lnTo>
                  <a:lnTo>
                    <a:pt x="5" y="0"/>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3" name="Freeform 298">
              <a:extLst>
                <a:ext uri="{FF2B5EF4-FFF2-40B4-BE49-F238E27FC236}">
                  <a16:creationId xmlns:a16="http://schemas.microsoft.com/office/drawing/2014/main" id="{3ED760A0-F66D-41AC-BDA0-12530427BA06}"/>
                </a:ext>
              </a:extLst>
            </p:cNvPr>
            <p:cNvSpPr>
              <a:spLocks/>
            </p:cNvSpPr>
            <p:nvPr/>
          </p:nvSpPr>
          <p:spPr bwMode="auto">
            <a:xfrm>
              <a:off x="1581992" y="2711415"/>
              <a:ext cx="22225" cy="14288"/>
            </a:xfrm>
            <a:custGeom>
              <a:avLst/>
              <a:gdLst>
                <a:gd name="T0" fmla="*/ 5 w 14"/>
                <a:gd name="T1" fmla="*/ 0 h 9"/>
                <a:gd name="T2" fmla="*/ 5 w 14"/>
                <a:gd name="T3" fmla="*/ 0 h 9"/>
                <a:gd name="T4" fmla="*/ 5 w 14"/>
                <a:gd name="T5" fmla="*/ 0 h 9"/>
                <a:gd name="T6" fmla="*/ 7 w 14"/>
                <a:gd name="T7" fmla="*/ 0 h 9"/>
                <a:gd name="T8" fmla="*/ 7 w 14"/>
                <a:gd name="T9" fmla="*/ 2 h 9"/>
                <a:gd name="T10" fmla="*/ 10 w 14"/>
                <a:gd name="T11" fmla="*/ 2 h 9"/>
                <a:gd name="T12" fmla="*/ 10 w 14"/>
                <a:gd name="T13" fmla="*/ 2 h 9"/>
                <a:gd name="T14" fmla="*/ 10 w 14"/>
                <a:gd name="T15" fmla="*/ 2 h 9"/>
                <a:gd name="T16" fmla="*/ 10 w 14"/>
                <a:gd name="T17" fmla="*/ 2 h 9"/>
                <a:gd name="T18" fmla="*/ 12 w 14"/>
                <a:gd name="T19" fmla="*/ 2 h 9"/>
                <a:gd name="T20" fmla="*/ 12 w 14"/>
                <a:gd name="T21" fmla="*/ 2 h 9"/>
                <a:gd name="T22" fmla="*/ 12 w 14"/>
                <a:gd name="T23" fmla="*/ 5 h 9"/>
                <a:gd name="T24" fmla="*/ 14 w 14"/>
                <a:gd name="T25" fmla="*/ 7 h 9"/>
                <a:gd name="T26" fmla="*/ 12 w 14"/>
                <a:gd name="T27" fmla="*/ 9 h 9"/>
                <a:gd name="T28" fmla="*/ 10 w 14"/>
                <a:gd name="T29" fmla="*/ 7 h 9"/>
                <a:gd name="T30" fmla="*/ 10 w 14"/>
                <a:gd name="T31" fmla="*/ 9 h 9"/>
                <a:gd name="T32" fmla="*/ 7 w 14"/>
                <a:gd name="T33" fmla="*/ 9 h 9"/>
                <a:gd name="T34" fmla="*/ 5 w 14"/>
                <a:gd name="T35" fmla="*/ 7 h 9"/>
                <a:gd name="T36" fmla="*/ 0 w 14"/>
                <a:gd name="T37" fmla="*/ 5 h 9"/>
                <a:gd name="T38" fmla="*/ 0 w 14"/>
                <a:gd name="T39" fmla="*/ 2 h 9"/>
                <a:gd name="T40" fmla="*/ 3 w 14"/>
                <a:gd name="T41" fmla="*/ 5 h 9"/>
                <a:gd name="T42" fmla="*/ 3 w 14"/>
                <a:gd name="T43" fmla="*/ 2 h 9"/>
                <a:gd name="T44" fmla="*/ 3 w 14"/>
                <a:gd name="T45" fmla="*/ 2 h 9"/>
                <a:gd name="T46" fmla="*/ 0 w 14"/>
                <a:gd name="T47" fmla="*/ 0 h 9"/>
                <a:gd name="T48" fmla="*/ 3 w 14"/>
                <a:gd name="T49" fmla="*/ 0 h 9"/>
                <a:gd name="T50" fmla="*/ 5 w 14"/>
                <a:gd name="T51" fmla="*/ 0 h 9"/>
                <a:gd name="T52" fmla="*/ 5 w 14"/>
                <a:gd name="T5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9">
                  <a:moveTo>
                    <a:pt x="5" y="0"/>
                  </a:moveTo>
                  <a:lnTo>
                    <a:pt x="5" y="0"/>
                  </a:lnTo>
                  <a:lnTo>
                    <a:pt x="5" y="0"/>
                  </a:lnTo>
                  <a:lnTo>
                    <a:pt x="7" y="0"/>
                  </a:lnTo>
                  <a:lnTo>
                    <a:pt x="7" y="2"/>
                  </a:lnTo>
                  <a:lnTo>
                    <a:pt x="10" y="2"/>
                  </a:lnTo>
                  <a:lnTo>
                    <a:pt x="10" y="2"/>
                  </a:lnTo>
                  <a:lnTo>
                    <a:pt x="10" y="2"/>
                  </a:lnTo>
                  <a:lnTo>
                    <a:pt x="10" y="2"/>
                  </a:lnTo>
                  <a:lnTo>
                    <a:pt x="12" y="2"/>
                  </a:lnTo>
                  <a:lnTo>
                    <a:pt x="12" y="2"/>
                  </a:lnTo>
                  <a:lnTo>
                    <a:pt x="12" y="5"/>
                  </a:lnTo>
                  <a:lnTo>
                    <a:pt x="14" y="7"/>
                  </a:lnTo>
                  <a:lnTo>
                    <a:pt x="12" y="9"/>
                  </a:lnTo>
                  <a:lnTo>
                    <a:pt x="10" y="7"/>
                  </a:lnTo>
                  <a:lnTo>
                    <a:pt x="10" y="9"/>
                  </a:lnTo>
                  <a:lnTo>
                    <a:pt x="7" y="9"/>
                  </a:lnTo>
                  <a:lnTo>
                    <a:pt x="5" y="7"/>
                  </a:lnTo>
                  <a:lnTo>
                    <a:pt x="0" y="5"/>
                  </a:lnTo>
                  <a:lnTo>
                    <a:pt x="0" y="2"/>
                  </a:lnTo>
                  <a:lnTo>
                    <a:pt x="3" y="5"/>
                  </a:lnTo>
                  <a:lnTo>
                    <a:pt x="3" y="2"/>
                  </a:lnTo>
                  <a:lnTo>
                    <a:pt x="3" y="2"/>
                  </a:lnTo>
                  <a:lnTo>
                    <a:pt x="0" y="0"/>
                  </a:lnTo>
                  <a:lnTo>
                    <a:pt x="3" y="0"/>
                  </a:lnTo>
                  <a:lnTo>
                    <a:pt x="5"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4" name="Freeform 299">
              <a:extLst>
                <a:ext uri="{FF2B5EF4-FFF2-40B4-BE49-F238E27FC236}">
                  <a16:creationId xmlns:a16="http://schemas.microsoft.com/office/drawing/2014/main" id="{E0ADAE31-BEC0-4F37-81A6-75C2837F9C0F}"/>
                </a:ext>
              </a:extLst>
            </p:cNvPr>
            <p:cNvSpPr>
              <a:spLocks/>
            </p:cNvSpPr>
            <p:nvPr/>
          </p:nvSpPr>
          <p:spPr bwMode="auto">
            <a:xfrm>
              <a:off x="1548653" y="2678078"/>
              <a:ext cx="30163" cy="30163"/>
            </a:xfrm>
            <a:custGeom>
              <a:avLst/>
              <a:gdLst>
                <a:gd name="T0" fmla="*/ 5 w 19"/>
                <a:gd name="T1" fmla="*/ 2 h 19"/>
                <a:gd name="T2" fmla="*/ 5 w 19"/>
                <a:gd name="T3" fmla="*/ 2 h 19"/>
                <a:gd name="T4" fmla="*/ 9 w 19"/>
                <a:gd name="T5" fmla="*/ 2 h 19"/>
                <a:gd name="T6" fmla="*/ 12 w 19"/>
                <a:gd name="T7" fmla="*/ 2 h 19"/>
                <a:gd name="T8" fmla="*/ 14 w 19"/>
                <a:gd name="T9" fmla="*/ 2 h 19"/>
                <a:gd name="T10" fmla="*/ 14 w 19"/>
                <a:gd name="T11" fmla="*/ 0 h 19"/>
                <a:gd name="T12" fmla="*/ 14 w 19"/>
                <a:gd name="T13" fmla="*/ 0 h 19"/>
                <a:gd name="T14" fmla="*/ 17 w 19"/>
                <a:gd name="T15" fmla="*/ 4 h 19"/>
                <a:gd name="T16" fmla="*/ 17 w 19"/>
                <a:gd name="T17" fmla="*/ 7 h 19"/>
                <a:gd name="T18" fmla="*/ 17 w 19"/>
                <a:gd name="T19" fmla="*/ 9 h 19"/>
                <a:gd name="T20" fmla="*/ 17 w 19"/>
                <a:gd name="T21" fmla="*/ 9 h 19"/>
                <a:gd name="T22" fmla="*/ 19 w 19"/>
                <a:gd name="T23" fmla="*/ 9 h 19"/>
                <a:gd name="T24" fmla="*/ 19 w 19"/>
                <a:gd name="T25" fmla="*/ 12 h 19"/>
                <a:gd name="T26" fmla="*/ 19 w 19"/>
                <a:gd name="T27" fmla="*/ 12 h 19"/>
                <a:gd name="T28" fmla="*/ 19 w 19"/>
                <a:gd name="T29" fmla="*/ 14 h 19"/>
                <a:gd name="T30" fmla="*/ 17 w 19"/>
                <a:gd name="T31" fmla="*/ 16 h 19"/>
                <a:gd name="T32" fmla="*/ 14 w 19"/>
                <a:gd name="T33" fmla="*/ 16 h 19"/>
                <a:gd name="T34" fmla="*/ 14 w 19"/>
                <a:gd name="T35" fmla="*/ 19 h 19"/>
                <a:gd name="T36" fmla="*/ 12 w 19"/>
                <a:gd name="T37" fmla="*/ 19 h 19"/>
                <a:gd name="T38" fmla="*/ 9 w 19"/>
                <a:gd name="T39" fmla="*/ 16 h 19"/>
                <a:gd name="T40" fmla="*/ 5 w 19"/>
                <a:gd name="T41" fmla="*/ 16 h 19"/>
                <a:gd name="T42" fmla="*/ 5 w 19"/>
                <a:gd name="T43" fmla="*/ 16 h 19"/>
                <a:gd name="T44" fmla="*/ 7 w 19"/>
                <a:gd name="T45" fmla="*/ 14 h 19"/>
                <a:gd name="T46" fmla="*/ 5 w 19"/>
                <a:gd name="T47" fmla="*/ 14 h 19"/>
                <a:gd name="T48" fmla="*/ 2 w 19"/>
                <a:gd name="T49" fmla="*/ 12 h 19"/>
                <a:gd name="T50" fmla="*/ 2 w 19"/>
                <a:gd name="T51" fmla="*/ 9 h 19"/>
                <a:gd name="T52" fmla="*/ 0 w 19"/>
                <a:gd name="T53" fmla="*/ 9 h 19"/>
                <a:gd name="T54" fmla="*/ 0 w 19"/>
                <a:gd name="T55" fmla="*/ 7 h 19"/>
                <a:gd name="T56" fmla="*/ 0 w 19"/>
                <a:gd name="T57" fmla="*/ 7 h 19"/>
                <a:gd name="T58" fmla="*/ 0 w 19"/>
                <a:gd name="T59" fmla="*/ 7 h 19"/>
                <a:gd name="T60" fmla="*/ 0 w 19"/>
                <a:gd name="T61" fmla="*/ 4 h 19"/>
                <a:gd name="T62" fmla="*/ 0 w 19"/>
                <a:gd name="T63" fmla="*/ 4 h 19"/>
                <a:gd name="T64" fmla="*/ 0 w 19"/>
                <a:gd name="T65" fmla="*/ 2 h 19"/>
                <a:gd name="T66" fmla="*/ 0 w 19"/>
                <a:gd name="T67" fmla="*/ 2 h 19"/>
                <a:gd name="T68" fmla="*/ 2 w 19"/>
                <a:gd name="T69" fmla="*/ 4 h 19"/>
                <a:gd name="T70" fmla="*/ 5 w 19"/>
                <a:gd name="T71"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9">
                  <a:moveTo>
                    <a:pt x="5" y="2"/>
                  </a:moveTo>
                  <a:lnTo>
                    <a:pt x="5" y="2"/>
                  </a:lnTo>
                  <a:lnTo>
                    <a:pt x="9" y="2"/>
                  </a:lnTo>
                  <a:lnTo>
                    <a:pt x="12" y="2"/>
                  </a:lnTo>
                  <a:lnTo>
                    <a:pt x="14" y="2"/>
                  </a:lnTo>
                  <a:lnTo>
                    <a:pt x="14" y="0"/>
                  </a:lnTo>
                  <a:lnTo>
                    <a:pt x="14" y="0"/>
                  </a:lnTo>
                  <a:lnTo>
                    <a:pt x="17" y="4"/>
                  </a:lnTo>
                  <a:lnTo>
                    <a:pt x="17" y="7"/>
                  </a:lnTo>
                  <a:lnTo>
                    <a:pt x="17" y="9"/>
                  </a:lnTo>
                  <a:lnTo>
                    <a:pt x="17" y="9"/>
                  </a:lnTo>
                  <a:lnTo>
                    <a:pt x="19" y="9"/>
                  </a:lnTo>
                  <a:lnTo>
                    <a:pt x="19" y="12"/>
                  </a:lnTo>
                  <a:lnTo>
                    <a:pt x="19" y="12"/>
                  </a:lnTo>
                  <a:lnTo>
                    <a:pt x="19" y="14"/>
                  </a:lnTo>
                  <a:lnTo>
                    <a:pt x="17" y="16"/>
                  </a:lnTo>
                  <a:lnTo>
                    <a:pt x="14" y="16"/>
                  </a:lnTo>
                  <a:lnTo>
                    <a:pt x="14" y="19"/>
                  </a:lnTo>
                  <a:lnTo>
                    <a:pt x="12" y="19"/>
                  </a:lnTo>
                  <a:lnTo>
                    <a:pt x="9" y="16"/>
                  </a:lnTo>
                  <a:lnTo>
                    <a:pt x="5" y="16"/>
                  </a:lnTo>
                  <a:lnTo>
                    <a:pt x="5" y="16"/>
                  </a:lnTo>
                  <a:lnTo>
                    <a:pt x="7" y="14"/>
                  </a:lnTo>
                  <a:lnTo>
                    <a:pt x="5" y="14"/>
                  </a:lnTo>
                  <a:lnTo>
                    <a:pt x="2" y="12"/>
                  </a:lnTo>
                  <a:lnTo>
                    <a:pt x="2" y="9"/>
                  </a:lnTo>
                  <a:lnTo>
                    <a:pt x="0" y="9"/>
                  </a:lnTo>
                  <a:lnTo>
                    <a:pt x="0" y="7"/>
                  </a:lnTo>
                  <a:lnTo>
                    <a:pt x="0" y="7"/>
                  </a:lnTo>
                  <a:lnTo>
                    <a:pt x="0" y="7"/>
                  </a:lnTo>
                  <a:lnTo>
                    <a:pt x="0" y="4"/>
                  </a:lnTo>
                  <a:lnTo>
                    <a:pt x="0" y="4"/>
                  </a:lnTo>
                  <a:lnTo>
                    <a:pt x="0" y="2"/>
                  </a:lnTo>
                  <a:lnTo>
                    <a:pt x="0" y="2"/>
                  </a:lnTo>
                  <a:lnTo>
                    <a:pt x="2" y="4"/>
                  </a:lnTo>
                  <a:lnTo>
                    <a:pt x="5"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5" name="Freeform 300">
              <a:extLst>
                <a:ext uri="{FF2B5EF4-FFF2-40B4-BE49-F238E27FC236}">
                  <a16:creationId xmlns:a16="http://schemas.microsoft.com/office/drawing/2014/main" id="{71A30A44-1188-477B-BE3F-E418F0102741}"/>
                </a:ext>
              </a:extLst>
            </p:cNvPr>
            <p:cNvSpPr>
              <a:spLocks/>
            </p:cNvSpPr>
            <p:nvPr/>
          </p:nvSpPr>
          <p:spPr bwMode="auto">
            <a:xfrm>
              <a:off x="1548653" y="2678078"/>
              <a:ext cx="30163" cy="30163"/>
            </a:xfrm>
            <a:custGeom>
              <a:avLst/>
              <a:gdLst>
                <a:gd name="T0" fmla="*/ 5 w 19"/>
                <a:gd name="T1" fmla="*/ 2 h 19"/>
                <a:gd name="T2" fmla="*/ 5 w 19"/>
                <a:gd name="T3" fmla="*/ 2 h 19"/>
                <a:gd name="T4" fmla="*/ 9 w 19"/>
                <a:gd name="T5" fmla="*/ 2 h 19"/>
                <a:gd name="T6" fmla="*/ 12 w 19"/>
                <a:gd name="T7" fmla="*/ 2 h 19"/>
                <a:gd name="T8" fmla="*/ 14 w 19"/>
                <a:gd name="T9" fmla="*/ 2 h 19"/>
                <a:gd name="T10" fmla="*/ 14 w 19"/>
                <a:gd name="T11" fmla="*/ 0 h 19"/>
                <a:gd name="T12" fmla="*/ 14 w 19"/>
                <a:gd name="T13" fmla="*/ 0 h 19"/>
                <a:gd name="T14" fmla="*/ 17 w 19"/>
                <a:gd name="T15" fmla="*/ 4 h 19"/>
                <a:gd name="T16" fmla="*/ 17 w 19"/>
                <a:gd name="T17" fmla="*/ 7 h 19"/>
                <a:gd name="T18" fmla="*/ 17 w 19"/>
                <a:gd name="T19" fmla="*/ 9 h 19"/>
                <a:gd name="T20" fmla="*/ 17 w 19"/>
                <a:gd name="T21" fmla="*/ 9 h 19"/>
                <a:gd name="T22" fmla="*/ 19 w 19"/>
                <a:gd name="T23" fmla="*/ 9 h 19"/>
                <a:gd name="T24" fmla="*/ 19 w 19"/>
                <a:gd name="T25" fmla="*/ 12 h 19"/>
                <a:gd name="T26" fmla="*/ 19 w 19"/>
                <a:gd name="T27" fmla="*/ 12 h 19"/>
                <a:gd name="T28" fmla="*/ 19 w 19"/>
                <a:gd name="T29" fmla="*/ 14 h 19"/>
                <a:gd name="T30" fmla="*/ 17 w 19"/>
                <a:gd name="T31" fmla="*/ 16 h 19"/>
                <a:gd name="T32" fmla="*/ 14 w 19"/>
                <a:gd name="T33" fmla="*/ 16 h 19"/>
                <a:gd name="T34" fmla="*/ 14 w 19"/>
                <a:gd name="T35" fmla="*/ 19 h 19"/>
                <a:gd name="T36" fmla="*/ 12 w 19"/>
                <a:gd name="T37" fmla="*/ 19 h 19"/>
                <a:gd name="T38" fmla="*/ 9 w 19"/>
                <a:gd name="T39" fmla="*/ 16 h 19"/>
                <a:gd name="T40" fmla="*/ 5 w 19"/>
                <a:gd name="T41" fmla="*/ 16 h 19"/>
                <a:gd name="T42" fmla="*/ 5 w 19"/>
                <a:gd name="T43" fmla="*/ 16 h 19"/>
                <a:gd name="T44" fmla="*/ 7 w 19"/>
                <a:gd name="T45" fmla="*/ 14 h 19"/>
                <a:gd name="T46" fmla="*/ 5 w 19"/>
                <a:gd name="T47" fmla="*/ 14 h 19"/>
                <a:gd name="T48" fmla="*/ 2 w 19"/>
                <a:gd name="T49" fmla="*/ 12 h 19"/>
                <a:gd name="T50" fmla="*/ 2 w 19"/>
                <a:gd name="T51" fmla="*/ 9 h 19"/>
                <a:gd name="T52" fmla="*/ 0 w 19"/>
                <a:gd name="T53" fmla="*/ 9 h 19"/>
                <a:gd name="T54" fmla="*/ 0 w 19"/>
                <a:gd name="T55" fmla="*/ 7 h 19"/>
                <a:gd name="T56" fmla="*/ 0 w 19"/>
                <a:gd name="T57" fmla="*/ 7 h 19"/>
                <a:gd name="T58" fmla="*/ 0 w 19"/>
                <a:gd name="T59" fmla="*/ 7 h 19"/>
                <a:gd name="T60" fmla="*/ 0 w 19"/>
                <a:gd name="T61" fmla="*/ 4 h 19"/>
                <a:gd name="T62" fmla="*/ 0 w 19"/>
                <a:gd name="T63" fmla="*/ 4 h 19"/>
                <a:gd name="T64" fmla="*/ 0 w 19"/>
                <a:gd name="T65" fmla="*/ 2 h 19"/>
                <a:gd name="T66" fmla="*/ 0 w 19"/>
                <a:gd name="T67" fmla="*/ 2 h 19"/>
                <a:gd name="T68" fmla="*/ 2 w 19"/>
                <a:gd name="T69" fmla="*/ 4 h 19"/>
                <a:gd name="T70" fmla="*/ 5 w 19"/>
                <a:gd name="T71"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9">
                  <a:moveTo>
                    <a:pt x="5" y="2"/>
                  </a:moveTo>
                  <a:lnTo>
                    <a:pt x="5" y="2"/>
                  </a:lnTo>
                  <a:lnTo>
                    <a:pt x="9" y="2"/>
                  </a:lnTo>
                  <a:lnTo>
                    <a:pt x="12" y="2"/>
                  </a:lnTo>
                  <a:lnTo>
                    <a:pt x="14" y="2"/>
                  </a:lnTo>
                  <a:lnTo>
                    <a:pt x="14" y="0"/>
                  </a:lnTo>
                  <a:lnTo>
                    <a:pt x="14" y="0"/>
                  </a:lnTo>
                  <a:lnTo>
                    <a:pt x="17" y="4"/>
                  </a:lnTo>
                  <a:lnTo>
                    <a:pt x="17" y="7"/>
                  </a:lnTo>
                  <a:lnTo>
                    <a:pt x="17" y="9"/>
                  </a:lnTo>
                  <a:lnTo>
                    <a:pt x="17" y="9"/>
                  </a:lnTo>
                  <a:lnTo>
                    <a:pt x="19" y="9"/>
                  </a:lnTo>
                  <a:lnTo>
                    <a:pt x="19" y="12"/>
                  </a:lnTo>
                  <a:lnTo>
                    <a:pt x="19" y="12"/>
                  </a:lnTo>
                  <a:lnTo>
                    <a:pt x="19" y="14"/>
                  </a:lnTo>
                  <a:lnTo>
                    <a:pt x="17" y="16"/>
                  </a:lnTo>
                  <a:lnTo>
                    <a:pt x="14" y="16"/>
                  </a:lnTo>
                  <a:lnTo>
                    <a:pt x="14" y="19"/>
                  </a:lnTo>
                  <a:lnTo>
                    <a:pt x="12" y="19"/>
                  </a:lnTo>
                  <a:lnTo>
                    <a:pt x="9" y="16"/>
                  </a:lnTo>
                  <a:lnTo>
                    <a:pt x="5" y="16"/>
                  </a:lnTo>
                  <a:lnTo>
                    <a:pt x="5" y="16"/>
                  </a:lnTo>
                  <a:lnTo>
                    <a:pt x="7" y="14"/>
                  </a:lnTo>
                  <a:lnTo>
                    <a:pt x="5" y="14"/>
                  </a:lnTo>
                  <a:lnTo>
                    <a:pt x="2" y="12"/>
                  </a:lnTo>
                  <a:lnTo>
                    <a:pt x="2" y="9"/>
                  </a:lnTo>
                  <a:lnTo>
                    <a:pt x="0" y="9"/>
                  </a:lnTo>
                  <a:lnTo>
                    <a:pt x="0" y="7"/>
                  </a:lnTo>
                  <a:lnTo>
                    <a:pt x="0" y="7"/>
                  </a:lnTo>
                  <a:lnTo>
                    <a:pt x="0" y="7"/>
                  </a:lnTo>
                  <a:lnTo>
                    <a:pt x="0" y="4"/>
                  </a:lnTo>
                  <a:lnTo>
                    <a:pt x="0" y="4"/>
                  </a:lnTo>
                  <a:lnTo>
                    <a:pt x="0" y="2"/>
                  </a:lnTo>
                  <a:lnTo>
                    <a:pt x="0" y="2"/>
                  </a:lnTo>
                  <a:lnTo>
                    <a:pt x="2" y="4"/>
                  </a:lnTo>
                  <a:lnTo>
                    <a:pt x="5"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6" name="Freeform 301">
              <a:extLst>
                <a:ext uri="{FF2B5EF4-FFF2-40B4-BE49-F238E27FC236}">
                  <a16:creationId xmlns:a16="http://schemas.microsoft.com/office/drawing/2014/main" id="{1C4C4806-451E-4A2B-8936-CC19084DFC51}"/>
                </a:ext>
              </a:extLst>
            </p:cNvPr>
            <p:cNvSpPr>
              <a:spLocks/>
            </p:cNvSpPr>
            <p:nvPr/>
          </p:nvSpPr>
          <p:spPr bwMode="auto">
            <a:xfrm>
              <a:off x="1570878" y="2700303"/>
              <a:ext cx="11113" cy="22225"/>
            </a:xfrm>
            <a:custGeom>
              <a:avLst/>
              <a:gdLst>
                <a:gd name="T0" fmla="*/ 5 w 7"/>
                <a:gd name="T1" fmla="*/ 2 h 14"/>
                <a:gd name="T2" fmla="*/ 5 w 7"/>
                <a:gd name="T3" fmla="*/ 0 h 14"/>
                <a:gd name="T4" fmla="*/ 5 w 7"/>
                <a:gd name="T5" fmla="*/ 0 h 14"/>
                <a:gd name="T6" fmla="*/ 7 w 7"/>
                <a:gd name="T7" fmla="*/ 0 h 14"/>
                <a:gd name="T8" fmla="*/ 7 w 7"/>
                <a:gd name="T9" fmla="*/ 5 h 14"/>
                <a:gd name="T10" fmla="*/ 5 w 7"/>
                <a:gd name="T11" fmla="*/ 7 h 14"/>
                <a:gd name="T12" fmla="*/ 5 w 7"/>
                <a:gd name="T13" fmla="*/ 9 h 14"/>
                <a:gd name="T14" fmla="*/ 5 w 7"/>
                <a:gd name="T15" fmla="*/ 9 h 14"/>
                <a:gd name="T16" fmla="*/ 3 w 7"/>
                <a:gd name="T17" fmla="*/ 14 h 14"/>
                <a:gd name="T18" fmla="*/ 3 w 7"/>
                <a:gd name="T19" fmla="*/ 14 h 14"/>
                <a:gd name="T20" fmla="*/ 3 w 7"/>
                <a:gd name="T21" fmla="*/ 12 h 14"/>
                <a:gd name="T22" fmla="*/ 0 w 7"/>
                <a:gd name="T23" fmla="*/ 9 h 14"/>
                <a:gd name="T24" fmla="*/ 3 w 7"/>
                <a:gd name="T25" fmla="*/ 9 h 14"/>
                <a:gd name="T26" fmla="*/ 3 w 7"/>
                <a:gd name="T27" fmla="*/ 5 h 14"/>
                <a:gd name="T28" fmla="*/ 3 w 7"/>
                <a:gd name="T29" fmla="*/ 5 h 14"/>
                <a:gd name="T30" fmla="*/ 5 w 7"/>
                <a:gd name="T3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4">
                  <a:moveTo>
                    <a:pt x="5" y="2"/>
                  </a:moveTo>
                  <a:lnTo>
                    <a:pt x="5" y="0"/>
                  </a:lnTo>
                  <a:lnTo>
                    <a:pt x="5" y="0"/>
                  </a:lnTo>
                  <a:lnTo>
                    <a:pt x="7" y="0"/>
                  </a:lnTo>
                  <a:lnTo>
                    <a:pt x="7" y="5"/>
                  </a:lnTo>
                  <a:lnTo>
                    <a:pt x="5" y="7"/>
                  </a:lnTo>
                  <a:lnTo>
                    <a:pt x="5" y="9"/>
                  </a:lnTo>
                  <a:lnTo>
                    <a:pt x="5" y="9"/>
                  </a:lnTo>
                  <a:lnTo>
                    <a:pt x="3" y="14"/>
                  </a:lnTo>
                  <a:lnTo>
                    <a:pt x="3" y="14"/>
                  </a:lnTo>
                  <a:lnTo>
                    <a:pt x="3" y="12"/>
                  </a:lnTo>
                  <a:lnTo>
                    <a:pt x="0" y="9"/>
                  </a:lnTo>
                  <a:lnTo>
                    <a:pt x="3" y="9"/>
                  </a:lnTo>
                  <a:lnTo>
                    <a:pt x="3" y="5"/>
                  </a:lnTo>
                  <a:lnTo>
                    <a:pt x="3" y="5"/>
                  </a:lnTo>
                  <a:lnTo>
                    <a:pt x="5"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7" name="Freeform 302">
              <a:extLst>
                <a:ext uri="{FF2B5EF4-FFF2-40B4-BE49-F238E27FC236}">
                  <a16:creationId xmlns:a16="http://schemas.microsoft.com/office/drawing/2014/main" id="{C1CCA77A-659E-4290-A006-C61370A394D0}"/>
                </a:ext>
              </a:extLst>
            </p:cNvPr>
            <p:cNvSpPr>
              <a:spLocks/>
            </p:cNvSpPr>
            <p:nvPr/>
          </p:nvSpPr>
          <p:spPr bwMode="auto">
            <a:xfrm>
              <a:off x="1570878" y="2700303"/>
              <a:ext cx="11113" cy="22225"/>
            </a:xfrm>
            <a:custGeom>
              <a:avLst/>
              <a:gdLst>
                <a:gd name="T0" fmla="*/ 5 w 7"/>
                <a:gd name="T1" fmla="*/ 2 h 14"/>
                <a:gd name="T2" fmla="*/ 5 w 7"/>
                <a:gd name="T3" fmla="*/ 0 h 14"/>
                <a:gd name="T4" fmla="*/ 5 w 7"/>
                <a:gd name="T5" fmla="*/ 0 h 14"/>
                <a:gd name="T6" fmla="*/ 7 w 7"/>
                <a:gd name="T7" fmla="*/ 0 h 14"/>
                <a:gd name="T8" fmla="*/ 7 w 7"/>
                <a:gd name="T9" fmla="*/ 5 h 14"/>
                <a:gd name="T10" fmla="*/ 5 w 7"/>
                <a:gd name="T11" fmla="*/ 7 h 14"/>
                <a:gd name="T12" fmla="*/ 5 w 7"/>
                <a:gd name="T13" fmla="*/ 9 h 14"/>
                <a:gd name="T14" fmla="*/ 5 w 7"/>
                <a:gd name="T15" fmla="*/ 9 h 14"/>
                <a:gd name="T16" fmla="*/ 3 w 7"/>
                <a:gd name="T17" fmla="*/ 14 h 14"/>
                <a:gd name="T18" fmla="*/ 3 w 7"/>
                <a:gd name="T19" fmla="*/ 14 h 14"/>
                <a:gd name="T20" fmla="*/ 3 w 7"/>
                <a:gd name="T21" fmla="*/ 12 h 14"/>
                <a:gd name="T22" fmla="*/ 0 w 7"/>
                <a:gd name="T23" fmla="*/ 9 h 14"/>
                <a:gd name="T24" fmla="*/ 3 w 7"/>
                <a:gd name="T25" fmla="*/ 9 h 14"/>
                <a:gd name="T26" fmla="*/ 3 w 7"/>
                <a:gd name="T27" fmla="*/ 5 h 14"/>
                <a:gd name="T28" fmla="*/ 3 w 7"/>
                <a:gd name="T29" fmla="*/ 5 h 14"/>
                <a:gd name="T30" fmla="*/ 5 w 7"/>
                <a:gd name="T3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4">
                  <a:moveTo>
                    <a:pt x="5" y="2"/>
                  </a:moveTo>
                  <a:lnTo>
                    <a:pt x="5" y="0"/>
                  </a:lnTo>
                  <a:lnTo>
                    <a:pt x="5" y="0"/>
                  </a:lnTo>
                  <a:lnTo>
                    <a:pt x="7" y="0"/>
                  </a:lnTo>
                  <a:lnTo>
                    <a:pt x="7" y="5"/>
                  </a:lnTo>
                  <a:lnTo>
                    <a:pt x="5" y="7"/>
                  </a:lnTo>
                  <a:lnTo>
                    <a:pt x="5" y="9"/>
                  </a:lnTo>
                  <a:lnTo>
                    <a:pt x="5" y="9"/>
                  </a:lnTo>
                  <a:lnTo>
                    <a:pt x="3" y="14"/>
                  </a:lnTo>
                  <a:lnTo>
                    <a:pt x="3" y="14"/>
                  </a:lnTo>
                  <a:lnTo>
                    <a:pt x="3" y="12"/>
                  </a:lnTo>
                  <a:lnTo>
                    <a:pt x="0" y="9"/>
                  </a:lnTo>
                  <a:lnTo>
                    <a:pt x="3" y="9"/>
                  </a:lnTo>
                  <a:lnTo>
                    <a:pt x="3" y="5"/>
                  </a:lnTo>
                  <a:lnTo>
                    <a:pt x="3" y="5"/>
                  </a:lnTo>
                  <a:lnTo>
                    <a:pt x="5"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8" name="Freeform 303">
              <a:extLst>
                <a:ext uri="{FF2B5EF4-FFF2-40B4-BE49-F238E27FC236}">
                  <a16:creationId xmlns:a16="http://schemas.microsoft.com/office/drawing/2014/main" id="{5B48D958-8F19-42D4-9D00-2F5C2F7911A0}"/>
                </a:ext>
              </a:extLst>
            </p:cNvPr>
            <p:cNvSpPr>
              <a:spLocks/>
            </p:cNvSpPr>
            <p:nvPr/>
          </p:nvSpPr>
          <p:spPr bwMode="auto">
            <a:xfrm>
              <a:off x="1581992" y="2651090"/>
              <a:ext cx="49213" cy="57150"/>
            </a:xfrm>
            <a:custGeom>
              <a:avLst/>
              <a:gdLst>
                <a:gd name="T0" fmla="*/ 10 w 31"/>
                <a:gd name="T1" fmla="*/ 7 h 36"/>
                <a:gd name="T2" fmla="*/ 14 w 31"/>
                <a:gd name="T3" fmla="*/ 7 h 36"/>
                <a:gd name="T4" fmla="*/ 12 w 31"/>
                <a:gd name="T5" fmla="*/ 10 h 36"/>
                <a:gd name="T6" fmla="*/ 12 w 31"/>
                <a:gd name="T7" fmla="*/ 12 h 36"/>
                <a:gd name="T8" fmla="*/ 14 w 31"/>
                <a:gd name="T9" fmla="*/ 14 h 36"/>
                <a:gd name="T10" fmla="*/ 14 w 31"/>
                <a:gd name="T11" fmla="*/ 14 h 36"/>
                <a:gd name="T12" fmla="*/ 17 w 31"/>
                <a:gd name="T13" fmla="*/ 10 h 36"/>
                <a:gd name="T14" fmla="*/ 17 w 31"/>
                <a:gd name="T15" fmla="*/ 10 h 36"/>
                <a:gd name="T16" fmla="*/ 17 w 31"/>
                <a:gd name="T17" fmla="*/ 7 h 36"/>
                <a:gd name="T18" fmla="*/ 19 w 31"/>
                <a:gd name="T19" fmla="*/ 14 h 36"/>
                <a:gd name="T20" fmla="*/ 17 w 31"/>
                <a:gd name="T21" fmla="*/ 14 h 36"/>
                <a:gd name="T22" fmla="*/ 17 w 31"/>
                <a:gd name="T23" fmla="*/ 14 h 36"/>
                <a:gd name="T24" fmla="*/ 19 w 31"/>
                <a:gd name="T25" fmla="*/ 7 h 36"/>
                <a:gd name="T26" fmla="*/ 17 w 31"/>
                <a:gd name="T27" fmla="*/ 7 h 36"/>
                <a:gd name="T28" fmla="*/ 19 w 31"/>
                <a:gd name="T29" fmla="*/ 3 h 36"/>
                <a:gd name="T30" fmla="*/ 22 w 31"/>
                <a:gd name="T31" fmla="*/ 0 h 36"/>
                <a:gd name="T32" fmla="*/ 26 w 31"/>
                <a:gd name="T33" fmla="*/ 3 h 36"/>
                <a:gd name="T34" fmla="*/ 29 w 31"/>
                <a:gd name="T35" fmla="*/ 7 h 36"/>
                <a:gd name="T36" fmla="*/ 29 w 31"/>
                <a:gd name="T37" fmla="*/ 10 h 36"/>
                <a:gd name="T38" fmla="*/ 29 w 31"/>
                <a:gd name="T39" fmla="*/ 12 h 36"/>
                <a:gd name="T40" fmla="*/ 29 w 31"/>
                <a:gd name="T41" fmla="*/ 17 h 36"/>
                <a:gd name="T42" fmla="*/ 24 w 31"/>
                <a:gd name="T43" fmla="*/ 17 h 36"/>
                <a:gd name="T44" fmla="*/ 22 w 31"/>
                <a:gd name="T45" fmla="*/ 21 h 36"/>
                <a:gd name="T46" fmla="*/ 24 w 31"/>
                <a:gd name="T47" fmla="*/ 24 h 36"/>
                <a:gd name="T48" fmla="*/ 26 w 31"/>
                <a:gd name="T49" fmla="*/ 29 h 36"/>
                <a:gd name="T50" fmla="*/ 22 w 31"/>
                <a:gd name="T51" fmla="*/ 31 h 36"/>
                <a:gd name="T52" fmla="*/ 22 w 31"/>
                <a:gd name="T53" fmla="*/ 31 h 36"/>
                <a:gd name="T54" fmla="*/ 22 w 31"/>
                <a:gd name="T55" fmla="*/ 33 h 36"/>
                <a:gd name="T56" fmla="*/ 22 w 31"/>
                <a:gd name="T57" fmla="*/ 36 h 36"/>
                <a:gd name="T58" fmla="*/ 17 w 31"/>
                <a:gd name="T59" fmla="*/ 36 h 36"/>
                <a:gd name="T60" fmla="*/ 12 w 31"/>
                <a:gd name="T61" fmla="*/ 33 h 36"/>
                <a:gd name="T62" fmla="*/ 14 w 31"/>
                <a:gd name="T63" fmla="*/ 33 h 36"/>
                <a:gd name="T64" fmla="*/ 14 w 31"/>
                <a:gd name="T65" fmla="*/ 31 h 36"/>
                <a:gd name="T66" fmla="*/ 10 w 31"/>
                <a:gd name="T67" fmla="*/ 29 h 36"/>
                <a:gd name="T68" fmla="*/ 5 w 31"/>
                <a:gd name="T69" fmla="*/ 26 h 36"/>
                <a:gd name="T70" fmla="*/ 3 w 31"/>
                <a:gd name="T71" fmla="*/ 26 h 36"/>
                <a:gd name="T72" fmla="*/ 3 w 31"/>
                <a:gd name="T73" fmla="*/ 24 h 36"/>
                <a:gd name="T74" fmla="*/ 3 w 31"/>
                <a:gd name="T75" fmla="*/ 17 h 36"/>
                <a:gd name="T76" fmla="*/ 0 w 31"/>
                <a:gd name="T77" fmla="*/ 17 h 36"/>
                <a:gd name="T78" fmla="*/ 0 w 31"/>
                <a:gd name="T79" fmla="*/ 14 h 36"/>
                <a:gd name="T80" fmla="*/ 0 w 31"/>
                <a:gd name="T81" fmla="*/ 14 h 36"/>
                <a:gd name="T82" fmla="*/ 5 w 31"/>
                <a:gd name="T83" fmla="*/ 12 h 36"/>
                <a:gd name="T84" fmla="*/ 7 w 31"/>
                <a:gd name="T85" fmla="*/ 10 h 36"/>
                <a:gd name="T86" fmla="*/ 10 w 31"/>
                <a:gd name="T87" fmla="*/ 10 h 36"/>
                <a:gd name="T88" fmla="*/ 7 w 31"/>
                <a:gd name="T89"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36">
                  <a:moveTo>
                    <a:pt x="7" y="5"/>
                  </a:moveTo>
                  <a:lnTo>
                    <a:pt x="10" y="7"/>
                  </a:lnTo>
                  <a:lnTo>
                    <a:pt x="14" y="7"/>
                  </a:lnTo>
                  <a:lnTo>
                    <a:pt x="14" y="7"/>
                  </a:lnTo>
                  <a:lnTo>
                    <a:pt x="14" y="7"/>
                  </a:lnTo>
                  <a:lnTo>
                    <a:pt x="12" y="10"/>
                  </a:lnTo>
                  <a:lnTo>
                    <a:pt x="12" y="12"/>
                  </a:lnTo>
                  <a:lnTo>
                    <a:pt x="12" y="12"/>
                  </a:lnTo>
                  <a:lnTo>
                    <a:pt x="14" y="12"/>
                  </a:lnTo>
                  <a:lnTo>
                    <a:pt x="14" y="14"/>
                  </a:lnTo>
                  <a:lnTo>
                    <a:pt x="14" y="14"/>
                  </a:lnTo>
                  <a:lnTo>
                    <a:pt x="14" y="14"/>
                  </a:lnTo>
                  <a:lnTo>
                    <a:pt x="17" y="12"/>
                  </a:lnTo>
                  <a:lnTo>
                    <a:pt x="17" y="10"/>
                  </a:lnTo>
                  <a:lnTo>
                    <a:pt x="17" y="10"/>
                  </a:lnTo>
                  <a:lnTo>
                    <a:pt x="17" y="10"/>
                  </a:lnTo>
                  <a:lnTo>
                    <a:pt x="17" y="7"/>
                  </a:lnTo>
                  <a:lnTo>
                    <a:pt x="17" y="7"/>
                  </a:lnTo>
                  <a:lnTo>
                    <a:pt x="19" y="12"/>
                  </a:lnTo>
                  <a:lnTo>
                    <a:pt x="19" y="14"/>
                  </a:lnTo>
                  <a:lnTo>
                    <a:pt x="17" y="14"/>
                  </a:lnTo>
                  <a:lnTo>
                    <a:pt x="17" y="14"/>
                  </a:lnTo>
                  <a:lnTo>
                    <a:pt x="17" y="14"/>
                  </a:lnTo>
                  <a:lnTo>
                    <a:pt x="17" y="14"/>
                  </a:lnTo>
                  <a:lnTo>
                    <a:pt x="19" y="14"/>
                  </a:lnTo>
                  <a:lnTo>
                    <a:pt x="19" y="7"/>
                  </a:lnTo>
                  <a:lnTo>
                    <a:pt x="19" y="7"/>
                  </a:lnTo>
                  <a:lnTo>
                    <a:pt x="17" y="7"/>
                  </a:lnTo>
                  <a:lnTo>
                    <a:pt x="17" y="5"/>
                  </a:lnTo>
                  <a:lnTo>
                    <a:pt x="19" y="3"/>
                  </a:lnTo>
                  <a:lnTo>
                    <a:pt x="22" y="3"/>
                  </a:lnTo>
                  <a:lnTo>
                    <a:pt x="22" y="0"/>
                  </a:lnTo>
                  <a:lnTo>
                    <a:pt x="24" y="0"/>
                  </a:lnTo>
                  <a:lnTo>
                    <a:pt x="26" y="3"/>
                  </a:lnTo>
                  <a:lnTo>
                    <a:pt x="26" y="7"/>
                  </a:lnTo>
                  <a:lnTo>
                    <a:pt x="29" y="7"/>
                  </a:lnTo>
                  <a:lnTo>
                    <a:pt x="29" y="10"/>
                  </a:lnTo>
                  <a:lnTo>
                    <a:pt x="29" y="10"/>
                  </a:lnTo>
                  <a:lnTo>
                    <a:pt x="29" y="10"/>
                  </a:lnTo>
                  <a:lnTo>
                    <a:pt x="29" y="12"/>
                  </a:lnTo>
                  <a:lnTo>
                    <a:pt x="31" y="17"/>
                  </a:lnTo>
                  <a:lnTo>
                    <a:pt x="29" y="17"/>
                  </a:lnTo>
                  <a:lnTo>
                    <a:pt x="26" y="17"/>
                  </a:lnTo>
                  <a:lnTo>
                    <a:pt x="24" y="17"/>
                  </a:lnTo>
                  <a:lnTo>
                    <a:pt x="24" y="19"/>
                  </a:lnTo>
                  <a:lnTo>
                    <a:pt x="22" y="21"/>
                  </a:lnTo>
                  <a:lnTo>
                    <a:pt x="22" y="24"/>
                  </a:lnTo>
                  <a:lnTo>
                    <a:pt x="24" y="24"/>
                  </a:lnTo>
                  <a:lnTo>
                    <a:pt x="26" y="26"/>
                  </a:lnTo>
                  <a:lnTo>
                    <a:pt x="26" y="29"/>
                  </a:lnTo>
                  <a:lnTo>
                    <a:pt x="22" y="29"/>
                  </a:lnTo>
                  <a:lnTo>
                    <a:pt x="22" y="31"/>
                  </a:lnTo>
                  <a:lnTo>
                    <a:pt x="22" y="31"/>
                  </a:lnTo>
                  <a:lnTo>
                    <a:pt x="22" y="31"/>
                  </a:lnTo>
                  <a:lnTo>
                    <a:pt x="22" y="33"/>
                  </a:lnTo>
                  <a:lnTo>
                    <a:pt x="22" y="33"/>
                  </a:lnTo>
                  <a:lnTo>
                    <a:pt x="22" y="33"/>
                  </a:lnTo>
                  <a:lnTo>
                    <a:pt x="22" y="36"/>
                  </a:lnTo>
                  <a:lnTo>
                    <a:pt x="19" y="36"/>
                  </a:lnTo>
                  <a:lnTo>
                    <a:pt x="17" y="36"/>
                  </a:lnTo>
                  <a:lnTo>
                    <a:pt x="12" y="36"/>
                  </a:lnTo>
                  <a:lnTo>
                    <a:pt x="12" y="33"/>
                  </a:lnTo>
                  <a:lnTo>
                    <a:pt x="12" y="33"/>
                  </a:lnTo>
                  <a:lnTo>
                    <a:pt x="14" y="33"/>
                  </a:lnTo>
                  <a:lnTo>
                    <a:pt x="12" y="31"/>
                  </a:lnTo>
                  <a:lnTo>
                    <a:pt x="14" y="31"/>
                  </a:lnTo>
                  <a:lnTo>
                    <a:pt x="14" y="31"/>
                  </a:lnTo>
                  <a:lnTo>
                    <a:pt x="10" y="29"/>
                  </a:lnTo>
                  <a:lnTo>
                    <a:pt x="5" y="31"/>
                  </a:lnTo>
                  <a:lnTo>
                    <a:pt x="5" y="26"/>
                  </a:lnTo>
                  <a:lnTo>
                    <a:pt x="3" y="26"/>
                  </a:lnTo>
                  <a:lnTo>
                    <a:pt x="3" y="26"/>
                  </a:lnTo>
                  <a:lnTo>
                    <a:pt x="3" y="24"/>
                  </a:lnTo>
                  <a:lnTo>
                    <a:pt x="3" y="24"/>
                  </a:lnTo>
                  <a:lnTo>
                    <a:pt x="3" y="24"/>
                  </a:lnTo>
                  <a:lnTo>
                    <a:pt x="3" y="17"/>
                  </a:lnTo>
                  <a:lnTo>
                    <a:pt x="3" y="17"/>
                  </a:lnTo>
                  <a:lnTo>
                    <a:pt x="0" y="17"/>
                  </a:lnTo>
                  <a:lnTo>
                    <a:pt x="0" y="17"/>
                  </a:lnTo>
                  <a:lnTo>
                    <a:pt x="0" y="14"/>
                  </a:lnTo>
                  <a:lnTo>
                    <a:pt x="0" y="14"/>
                  </a:lnTo>
                  <a:lnTo>
                    <a:pt x="0" y="14"/>
                  </a:lnTo>
                  <a:lnTo>
                    <a:pt x="0" y="12"/>
                  </a:lnTo>
                  <a:lnTo>
                    <a:pt x="5" y="12"/>
                  </a:lnTo>
                  <a:lnTo>
                    <a:pt x="7" y="12"/>
                  </a:lnTo>
                  <a:lnTo>
                    <a:pt x="7" y="10"/>
                  </a:lnTo>
                  <a:lnTo>
                    <a:pt x="10" y="10"/>
                  </a:lnTo>
                  <a:lnTo>
                    <a:pt x="10" y="10"/>
                  </a:lnTo>
                  <a:lnTo>
                    <a:pt x="10" y="7"/>
                  </a:lnTo>
                  <a:lnTo>
                    <a:pt x="7"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49" name="Freeform 304">
              <a:extLst>
                <a:ext uri="{FF2B5EF4-FFF2-40B4-BE49-F238E27FC236}">
                  <a16:creationId xmlns:a16="http://schemas.microsoft.com/office/drawing/2014/main" id="{7CEA89CB-FD10-4E1B-9738-A6A79ABA035B}"/>
                </a:ext>
              </a:extLst>
            </p:cNvPr>
            <p:cNvSpPr>
              <a:spLocks/>
            </p:cNvSpPr>
            <p:nvPr/>
          </p:nvSpPr>
          <p:spPr bwMode="auto">
            <a:xfrm>
              <a:off x="1581992" y="2651090"/>
              <a:ext cx="49213" cy="57150"/>
            </a:xfrm>
            <a:custGeom>
              <a:avLst/>
              <a:gdLst>
                <a:gd name="T0" fmla="*/ 10 w 31"/>
                <a:gd name="T1" fmla="*/ 7 h 36"/>
                <a:gd name="T2" fmla="*/ 14 w 31"/>
                <a:gd name="T3" fmla="*/ 7 h 36"/>
                <a:gd name="T4" fmla="*/ 12 w 31"/>
                <a:gd name="T5" fmla="*/ 10 h 36"/>
                <a:gd name="T6" fmla="*/ 12 w 31"/>
                <a:gd name="T7" fmla="*/ 12 h 36"/>
                <a:gd name="T8" fmla="*/ 14 w 31"/>
                <a:gd name="T9" fmla="*/ 14 h 36"/>
                <a:gd name="T10" fmla="*/ 14 w 31"/>
                <a:gd name="T11" fmla="*/ 14 h 36"/>
                <a:gd name="T12" fmla="*/ 17 w 31"/>
                <a:gd name="T13" fmla="*/ 10 h 36"/>
                <a:gd name="T14" fmla="*/ 17 w 31"/>
                <a:gd name="T15" fmla="*/ 10 h 36"/>
                <a:gd name="T16" fmla="*/ 17 w 31"/>
                <a:gd name="T17" fmla="*/ 7 h 36"/>
                <a:gd name="T18" fmla="*/ 19 w 31"/>
                <a:gd name="T19" fmla="*/ 14 h 36"/>
                <a:gd name="T20" fmla="*/ 17 w 31"/>
                <a:gd name="T21" fmla="*/ 14 h 36"/>
                <a:gd name="T22" fmla="*/ 17 w 31"/>
                <a:gd name="T23" fmla="*/ 14 h 36"/>
                <a:gd name="T24" fmla="*/ 19 w 31"/>
                <a:gd name="T25" fmla="*/ 7 h 36"/>
                <a:gd name="T26" fmla="*/ 17 w 31"/>
                <a:gd name="T27" fmla="*/ 7 h 36"/>
                <a:gd name="T28" fmla="*/ 19 w 31"/>
                <a:gd name="T29" fmla="*/ 3 h 36"/>
                <a:gd name="T30" fmla="*/ 22 w 31"/>
                <a:gd name="T31" fmla="*/ 0 h 36"/>
                <a:gd name="T32" fmla="*/ 26 w 31"/>
                <a:gd name="T33" fmla="*/ 3 h 36"/>
                <a:gd name="T34" fmla="*/ 29 w 31"/>
                <a:gd name="T35" fmla="*/ 7 h 36"/>
                <a:gd name="T36" fmla="*/ 29 w 31"/>
                <a:gd name="T37" fmla="*/ 10 h 36"/>
                <a:gd name="T38" fmla="*/ 29 w 31"/>
                <a:gd name="T39" fmla="*/ 12 h 36"/>
                <a:gd name="T40" fmla="*/ 29 w 31"/>
                <a:gd name="T41" fmla="*/ 17 h 36"/>
                <a:gd name="T42" fmla="*/ 24 w 31"/>
                <a:gd name="T43" fmla="*/ 17 h 36"/>
                <a:gd name="T44" fmla="*/ 22 w 31"/>
                <a:gd name="T45" fmla="*/ 21 h 36"/>
                <a:gd name="T46" fmla="*/ 24 w 31"/>
                <a:gd name="T47" fmla="*/ 24 h 36"/>
                <a:gd name="T48" fmla="*/ 26 w 31"/>
                <a:gd name="T49" fmla="*/ 29 h 36"/>
                <a:gd name="T50" fmla="*/ 22 w 31"/>
                <a:gd name="T51" fmla="*/ 31 h 36"/>
                <a:gd name="T52" fmla="*/ 22 w 31"/>
                <a:gd name="T53" fmla="*/ 31 h 36"/>
                <a:gd name="T54" fmla="*/ 22 w 31"/>
                <a:gd name="T55" fmla="*/ 33 h 36"/>
                <a:gd name="T56" fmla="*/ 22 w 31"/>
                <a:gd name="T57" fmla="*/ 36 h 36"/>
                <a:gd name="T58" fmla="*/ 17 w 31"/>
                <a:gd name="T59" fmla="*/ 36 h 36"/>
                <a:gd name="T60" fmla="*/ 12 w 31"/>
                <a:gd name="T61" fmla="*/ 33 h 36"/>
                <a:gd name="T62" fmla="*/ 14 w 31"/>
                <a:gd name="T63" fmla="*/ 33 h 36"/>
                <a:gd name="T64" fmla="*/ 14 w 31"/>
                <a:gd name="T65" fmla="*/ 31 h 36"/>
                <a:gd name="T66" fmla="*/ 10 w 31"/>
                <a:gd name="T67" fmla="*/ 29 h 36"/>
                <a:gd name="T68" fmla="*/ 5 w 31"/>
                <a:gd name="T69" fmla="*/ 26 h 36"/>
                <a:gd name="T70" fmla="*/ 3 w 31"/>
                <a:gd name="T71" fmla="*/ 26 h 36"/>
                <a:gd name="T72" fmla="*/ 3 w 31"/>
                <a:gd name="T73" fmla="*/ 24 h 36"/>
                <a:gd name="T74" fmla="*/ 3 w 31"/>
                <a:gd name="T75" fmla="*/ 17 h 36"/>
                <a:gd name="T76" fmla="*/ 0 w 31"/>
                <a:gd name="T77" fmla="*/ 17 h 36"/>
                <a:gd name="T78" fmla="*/ 0 w 31"/>
                <a:gd name="T79" fmla="*/ 14 h 36"/>
                <a:gd name="T80" fmla="*/ 0 w 31"/>
                <a:gd name="T81" fmla="*/ 14 h 36"/>
                <a:gd name="T82" fmla="*/ 5 w 31"/>
                <a:gd name="T83" fmla="*/ 12 h 36"/>
                <a:gd name="T84" fmla="*/ 7 w 31"/>
                <a:gd name="T85" fmla="*/ 10 h 36"/>
                <a:gd name="T86" fmla="*/ 10 w 31"/>
                <a:gd name="T87" fmla="*/ 10 h 36"/>
                <a:gd name="T88" fmla="*/ 7 w 31"/>
                <a:gd name="T89"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36">
                  <a:moveTo>
                    <a:pt x="7" y="5"/>
                  </a:moveTo>
                  <a:lnTo>
                    <a:pt x="10" y="7"/>
                  </a:lnTo>
                  <a:lnTo>
                    <a:pt x="14" y="7"/>
                  </a:lnTo>
                  <a:lnTo>
                    <a:pt x="14" y="7"/>
                  </a:lnTo>
                  <a:lnTo>
                    <a:pt x="14" y="7"/>
                  </a:lnTo>
                  <a:lnTo>
                    <a:pt x="12" y="10"/>
                  </a:lnTo>
                  <a:lnTo>
                    <a:pt x="12" y="12"/>
                  </a:lnTo>
                  <a:lnTo>
                    <a:pt x="12" y="12"/>
                  </a:lnTo>
                  <a:lnTo>
                    <a:pt x="14" y="12"/>
                  </a:lnTo>
                  <a:lnTo>
                    <a:pt x="14" y="14"/>
                  </a:lnTo>
                  <a:lnTo>
                    <a:pt x="14" y="14"/>
                  </a:lnTo>
                  <a:lnTo>
                    <a:pt x="14" y="14"/>
                  </a:lnTo>
                  <a:lnTo>
                    <a:pt x="17" y="12"/>
                  </a:lnTo>
                  <a:lnTo>
                    <a:pt x="17" y="10"/>
                  </a:lnTo>
                  <a:lnTo>
                    <a:pt x="17" y="10"/>
                  </a:lnTo>
                  <a:lnTo>
                    <a:pt x="17" y="10"/>
                  </a:lnTo>
                  <a:lnTo>
                    <a:pt x="17" y="7"/>
                  </a:lnTo>
                  <a:lnTo>
                    <a:pt x="17" y="7"/>
                  </a:lnTo>
                  <a:lnTo>
                    <a:pt x="19" y="12"/>
                  </a:lnTo>
                  <a:lnTo>
                    <a:pt x="19" y="14"/>
                  </a:lnTo>
                  <a:lnTo>
                    <a:pt x="17" y="14"/>
                  </a:lnTo>
                  <a:lnTo>
                    <a:pt x="17" y="14"/>
                  </a:lnTo>
                  <a:lnTo>
                    <a:pt x="17" y="14"/>
                  </a:lnTo>
                  <a:lnTo>
                    <a:pt x="17" y="14"/>
                  </a:lnTo>
                  <a:lnTo>
                    <a:pt x="19" y="14"/>
                  </a:lnTo>
                  <a:lnTo>
                    <a:pt x="19" y="7"/>
                  </a:lnTo>
                  <a:lnTo>
                    <a:pt x="19" y="7"/>
                  </a:lnTo>
                  <a:lnTo>
                    <a:pt x="17" y="7"/>
                  </a:lnTo>
                  <a:lnTo>
                    <a:pt x="17" y="5"/>
                  </a:lnTo>
                  <a:lnTo>
                    <a:pt x="19" y="3"/>
                  </a:lnTo>
                  <a:lnTo>
                    <a:pt x="22" y="3"/>
                  </a:lnTo>
                  <a:lnTo>
                    <a:pt x="22" y="0"/>
                  </a:lnTo>
                  <a:lnTo>
                    <a:pt x="24" y="0"/>
                  </a:lnTo>
                  <a:lnTo>
                    <a:pt x="26" y="3"/>
                  </a:lnTo>
                  <a:lnTo>
                    <a:pt x="26" y="7"/>
                  </a:lnTo>
                  <a:lnTo>
                    <a:pt x="29" y="7"/>
                  </a:lnTo>
                  <a:lnTo>
                    <a:pt x="29" y="10"/>
                  </a:lnTo>
                  <a:lnTo>
                    <a:pt x="29" y="10"/>
                  </a:lnTo>
                  <a:lnTo>
                    <a:pt x="29" y="10"/>
                  </a:lnTo>
                  <a:lnTo>
                    <a:pt x="29" y="12"/>
                  </a:lnTo>
                  <a:lnTo>
                    <a:pt x="31" y="17"/>
                  </a:lnTo>
                  <a:lnTo>
                    <a:pt x="29" y="17"/>
                  </a:lnTo>
                  <a:lnTo>
                    <a:pt x="26" y="17"/>
                  </a:lnTo>
                  <a:lnTo>
                    <a:pt x="24" y="17"/>
                  </a:lnTo>
                  <a:lnTo>
                    <a:pt x="24" y="19"/>
                  </a:lnTo>
                  <a:lnTo>
                    <a:pt x="22" y="21"/>
                  </a:lnTo>
                  <a:lnTo>
                    <a:pt x="22" y="24"/>
                  </a:lnTo>
                  <a:lnTo>
                    <a:pt x="24" y="24"/>
                  </a:lnTo>
                  <a:lnTo>
                    <a:pt x="26" y="26"/>
                  </a:lnTo>
                  <a:lnTo>
                    <a:pt x="26" y="29"/>
                  </a:lnTo>
                  <a:lnTo>
                    <a:pt x="22" y="29"/>
                  </a:lnTo>
                  <a:lnTo>
                    <a:pt x="22" y="31"/>
                  </a:lnTo>
                  <a:lnTo>
                    <a:pt x="22" y="31"/>
                  </a:lnTo>
                  <a:lnTo>
                    <a:pt x="22" y="31"/>
                  </a:lnTo>
                  <a:lnTo>
                    <a:pt x="22" y="33"/>
                  </a:lnTo>
                  <a:lnTo>
                    <a:pt x="22" y="33"/>
                  </a:lnTo>
                  <a:lnTo>
                    <a:pt x="22" y="33"/>
                  </a:lnTo>
                  <a:lnTo>
                    <a:pt x="22" y="36"/>
                  </a:lnTo>
                  <a:lnTo>
                    <a:pt x="19" y="36"/>
                  </a:lnTo>
                  <a:lnTo>
                    <a:pt x="17" y="36"/>
                  </a:lnTo>
                  <a:lnTo>
                    <a:pt x="12" y="36"/>
                  </a:lnTo>
                  <a:lnTo>
                    <a:pt x="12" y="33"/>
                  </a:lnTo>
                  <a:lnTo>
                    <a:pt x="12" y="33"/>
                  </a:lnTo>
                  <a:lnTo>
                    <a:pt x="14" y="33"/>
                  </a:lnTo>
                  <a:lnTo>
                    <a:pt x="12" y="31"/>
                  </a:lnTo>
                  <a:lnTo>
                    <a:pt x="14" y="31"/>
                  </a:lnTo>
                  <a:lnTo>
                    <a:pt x="14" y="31"/>
                  </a:lnTo>
                  <a:lnTo>
                    <a:pt x="10" y="29"/>
                  </a:lnTo>
                  <a:lnTo>
                    <a:pt x="5" y="31"/>
                  </a:lnTo>
                  <a:lnTo>
                    <a:pt x="5" y="26"/>
                  </a:lnTo>
                  <a:lnTo>
                    <a:pt x="3" y="26"/>
                  </a:lnTo>
                  <a:lnTo>
                    <a:pt x="3" y="26"/>
                  </a:lnTo>
                  <a:lnTo>
                    <a:pt x="3" y="24"/>
                  </a:lnTo>
                  <a:lnTo>
                    <a:pt x="3" y="24"/>
                  </a:lnTo>
                  <a:lnTo>
                    <a:pt x="3" y="24"/>
                  </a:lnTo>
                  <a:lnTo>
                    <a:pt x="3" y="17"/>
                  </a:lnTo>
                  <a:lnTo>
                    <a:pt x="3" y="17"/>
                  </a:lnTo>
                  <a:lnTo>
                    <a:pt x="0" y="17"/>
                  </a:lnTo>
                  <a:lnTo>
                    <a:pt x="0" y="17"/>
                  </a:lnTo>
                  <a:lnTo>
                    <a:pt x="0" y="14"/>
                  </a:lnTo>
                  <a:lnTo>
                    <a:pt x="0" y="14"/>
                  </a:lnTo>
                  <a:lnTo>
                    <a:pt x="0" y="14"/>
                  </a:lnTo>
                  <a:lnTo>
                    <a:pt x="0" y="12"/>
                  </a:lnTo>
                  <a:lnTo>
                    <a:pt x="5" y="12"/>
                  </a:lnTo>
                  <a:lnTo>
                    <a:pt x="7" y="12"/>
                  </a:lnTo>
                  <a:lnTo>
                    <a:pt x="7" y="10"/>
                  </a:lnTo>
                  <a:lnTo>
                    <a:pt x="10" y="10"/>
                  </a:lnTo>
                  <a:lnTo>
                    <a:pt x="10" y="10"/>
                  </a:lnTo>
                  <a:lnTo>
                    <a:pt x="10" y="7"/>
                  </a:lnTo>
                  <a:lnTo>
                    <a:pt x="7"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0" name="Freeform 305">
              <a:extLst>
                <a:ext uri="{FF2B5EF4-FFF2-40B4-BE49-F238E27FC236}">
                  <a16:creationId xmlns:a16="http://schemas.microsoft.com/office/drawing/2014/main" id="{72929EB0-37C3-46F9-A41B-16D374991F78}"/>
                </a:ext>
              </a:extLst>
            </p:cNvPr>
            <p:cNvSpPr>
              <a:spLocks/>
            </p:cNvSpPr>
            <p:nvPr/>
          </p:nvSpPr>
          <p:spPr bwMode="auto">
            <a:xfrm>
              <a:off x="1499441" y="2573303"/>
              <a:ext cx="79375" cy="141288"/>
            </a:xfrm>
            <a:custGeom>
              <a:avLst/>
              <a:gdLst>
                <a:gd name="T0" fmla="*/ 14 w 50"/>
                <a:gd name="T1" fmla="*/ 87 h 89"/>
                <a:gd name="T2" fmla="*/ 24 w 50"/>
                <a:gd name="T3" fmla="*/ 89 h 89"/>
                <a:gd name="T4" fmla="*/ 26 w 50"/>
                <a:gd name="T5" fmla="*/ 87 h 89"/>
                <a:gd name="T6" fmla="*/ 26 w 50"/>
                <a:gd name="T7" fmla="*/ 87 h 89"/>
                <a:gd name="T8" fmla="*/ 29 w 50"/>
                <a:gd name="T9" fmla="*/ 87 h 89"/>
                <a:gd name="T10" fmla="*/ 26 w 50"/>
                <a:gd name="T11" fmla="*/ 85 h 89"/>
                <a:gd name="T12" fmla="*/ 24 w 50"/>
                <a:gd name="T13" fmla="*/ 82 h 89"/>
                <a:gd name="T14" fmla="*/ 26 w 50"/>
                <a:gd name="T15" fmla="*/ 78 h 89"/>
                <a:gd name="T16" fmla="*/ 26 w 50"/>
                <a:gd name="T17" fmla="*/ 78 h 89"/>
                <a:gd name="T18" fmla="*/ 26 w 50"/>
                <a:gd name="T19" fmla="*/ 70 h 89"/>
                <a:gd name="T20" fmla="*/ 29 w 50"/>
                <a:gd name="T21" fmla="*/ 66 h 89"/>
                <a:gd name="T22" fmla="*/ 26 w 50"/>
                <a:gd name="T23" fmla="*/ 63 h 89"/>
                <a:gd name="T24" fmla="*/ 33 w 50"/>
                <a:gd name="T25" fmla="*/ 63 h 89"/>
                <a:gd name="T26" fmla="*/ 31 w 50"/>
                <a:gd name="T27" fmla="*/ 59 h 89"/>
                <a:gd name="T28" fmla="*/ 36 w 50"/>
                <a:gd name="T29" fmla="*/ 59 h 89"/>
                <a:gd name="T30" fmla="*/ 38 w 50"/>
                <a:gd name="T31" fmla="*/ 52 h 89"/>
                <a:gd name="T32" fmla="*/ 40 w 50"/>
                <a:gd name="T33" fmla="*/ 47 h 89"/>
                <a:gd name="T34" fmla="*/ 43 w 50"/>
                <a:gd name="T35" fmla="*/ 52 h 89"/>
                <a:gd name="T36" fmla="*/ 43 w 50"/>
                <a:gd name="T37" fmla="*/ 49 h 89"/>
                <a:gd name="T38" fmla="*/ 50 w 50"/>
                <a:gd name="T39" fmla="*/ 42 h 89"/>
                <a:gd name="T40" fmla="*/ 48 w 50"/>
                <a:gd name="T41" fmla="*/ 37 h 89"/>
                <a:gd name="T42" fmla="*/ 40 w 50"/>
                <a:gd name="T43" fmla="*/ 40 h 89"/>
                <a:gd name="T44" fmla="*/ 38 w 50"/>
                <a:gd name="T45" fmla="*/ 37 h 89"/>
                <a:gd name="T46" fmla="*/ 36 w 50"/>
                <a:gd name="T47" fmla="*/ 37 h 89"/>
                <a:gd name="T48" fmla="*/ 38 w 50"/>
                <a:gd name="T49" fmla="*/ 35 h 89"/>
                <a:gd name="T50" fmla="*/ 36 w 50"/>
                <a:gd name="T51" fmla="*/ 35 h 89"/>
                <a:gd name="T52" fmla="*/ 38 w 50"/>
                <a:gd name="T53" fmla="*/ 33 h 89"/>
                <a:gd name="T54" fmla="*/ 38 w 50"/>
                <a:gd name="T55" fmla="*/ 28 h 89"/>
                <a:gd name="T56" fmla="*/ 38 w 50"/>
                <a:gd name="T57" fmla="*/ 21 h 89"/>
                <a:gd name="T58" fmla="*/ 43 w 50"/>
                <a:gd name="T59" fmla="*/ 11 h 89"/>
                <a:gd name="T60" fmla="*/ 40 w 50"/>
                <a:gd name="T61" fmla="*/ 2 h 89"/>
                <a:gd name="T62" fmla="*/ 40 w 50"/>
                <a:gd name="T63" fmla="*/ 0 h 89"/>
                <a:gd name="T64" fmla="*/ 31 w 50"/>
                <a:gd name="T65" fmla="*/ 4 h 89"/>
                <a:gd name="T66" fmla="*/ 26 w 50"/>
                <a:gd name="T67" fmla="*/ 14 h 89"/>
                <a:gd name="T68" fmla="*/ 10 w 50"/>
                <a:gd name="T69" fmla="*/ 18 h 89"/>
                <a:gd name="T70" fmla="*/ 5 w 50"/>
                <a:gd name="T71" fmla="*/ 26 h 89"/>
                <a:gd name="T72" fmla="*/ 3 w 50"/>
                <a:gd name="T73" fmla="*/ 37 h 89"/>
                <a:gd name="T74" fmla="*/ 0 w 50"/>
                <a:gd name="T75" fmla="*/ 47 h 89"/>
                <a:gd name="T76" fmla="*/ 3 w 50"/>
                <a:gd name="T77" fmla="*/ 59 h 89"/>
                <a:gd name="T78" fmla="*/ 0 w 50"/>
                <a:gd name="T79" fmla="*/ 68 h 89"/>
                <a:gd name="T80" fmla="*/ 5 w 50"/>
                <a:gd name="T81" fmla="*/ 68 h 89"/>
                <a:gd name="T82" fmla="*/ 10 w 50"/>
                <a:gd name="T83" fmla="*/ 70 h 89"/>
                <a:gd name="T84" fmla="*/ 10 w 50"/>
                <a:gd name="T85"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89">
                  <a:moveTo>
                    <a:pt x="12" y="87"/>
                  </a:moveTo>
                  <a:lnTo>
                    <a:pt x="14" y="87"/>
                  </a:lnTo>
                  <a:lnTo>
                    <a:pt x="22" y="89"/>
                  </a:lnTo>
                  <a:lnTo>
                    <a:pt x="24" y="89"/>
                  </a:lnTo>
                  <a:lnTo>
                    <a:pt x="24" y="87"/>
                  </a:lnTo>
                  <a:lnTo>
                    <a:pt x="26" y="87"/>
                  </a:lnTo>
                  <a:lnTo>
                    <a:pt x="26" y="87"/>
                  </a:lnTo>
                  <a:lnTo>
                    <a:pt x="26" y="87"/>
                  </a:lnTo>
                  <a:lnTo>
                    <a:pt x="29" y="89"/>
                  </a:lnTo>
                  <a:lnTo>
                    <a:pt x="29" y="87"/>
                  </a:lnTo>
                  <a:lnTo>
                    <a:pt x="29" y="85"/>
                  </a:lnTo>
                  <a:lnTo>
                    <a:pt x="26" y="85"/>
                  </a:lnTo>
                  <a:lnTo>
                    <a:pt x="24" y="85"/>
                  </a:lnTo>
                  <a:lnTo>
                    <a:pt x="24" y="82"/>
                  </a:lnTo>
                  <a:lnTo>
                    <a:pt x="24" y="80"/>
                  </a:lnTo>
                  <a:lnTo>
                    <a:pt x="26" y="78"/>
                  </a:lnTo>
                  <a:lnTo>
                    <a:pt x="26" y="78"/>
                  </a:lnTo>
                  <a:lnTo>
                    <a:pt x="26" y="78"/>
                  </a:lnTo>
                  <a:lnTo>
                    <a:pt x="26" y="75"/>
                  </a:lnTo>
                  <a:lnTo>
                    <a:pt x="26" y="70"/>
                  </a:lnTo>
                  <a:lnTo>
                    <a:pt x="26" y="70"/>
                  </a:lnTo>
                  <a:lnTo>
                    <a:pt x="29" y="66"/>
                  </a:lnTo>
                  <a:lnTo>
                    <a:pt x="29" y="66"/>
                  </a:lnTo>
                  <a:lnTo>
                    <a:pt x="26" y="63"/>
                  </a:lnTo>
                  <a:lnTo>
                    <a:pt x="29" y="63"/>
                  </a:lnTo>
                  <a:lnTo>
                    <a:pt x="33" y="63"/>
                  </a:lnTo>
                  <a:lnTo>
                    <a:pt x="33" y="61"/>
                  </a:lnTo>
                  <a:lnTo>
                    <a:pt x="31" y="59"/>
                  </a:lnTo>
                  <a:lnTo>
                    <a:pt x="33" y="56"/>
                  </a:lnTo>
                  <a:lnTo>
                    <a:pt x="36" y="59"/>
                  </a:lnTo>
                  <a:lnTo>
                    <a:pt x="38" y="56"/>
                  </a:lnTo>
                  <a:lnTo>
                    <a:pt x="38" y="52"/>
                  </a:lnTo>
                  <a:lnTo>
                    <a:pt x="38" y="47"/>
                  </a:lnTo>
                  <a:lnTo>
                    <a:pt x="40" y="47"/>
                  </a:lnTo>
                  <a:lnTo>
                    <a:pt x="40" y="49"/>
                  </a:lnTo>
                  <a:lnTo>
                    <a:pt x="43" y="52"/>
                  </a:lnTo>
                  <a:lnTo>
                    <a:pt x="43" y="49"/>
                  </a:lnTo>
                  <a:lnTo>
                    <a:pt x="43" y="49"/>
                  </a:lnTo>
                  <a:lnTo>
                    <a:pt x="48" y="44"/>
                  </a:lnTo>
                  <a:lnTo>
                    <a:pt x="50" y="42"/>
                  </a:lnTo>
                  <a:lnTo>
                    <a:pt x="48" y="40"/>
                  </a:lnTo>
                  <a:lnTo>
                    <a:pt x="48" y="37"/>
                  </a:lnTo>
                  <a:lnTo>
                    <a:pt x="43" y="40"/>
                  </a:lnTo>
                  <a:lnTo>
                    <a:pt x="40" y="40"/>
                  </a:lnTo>
                  <a:lnTo>
                    <a:pt x="40" y="37"/>
                  </a:lnTo>
                  <a:lnTo>
                    <a:pt x="38" y="37"/>
                  </a:lnTo>
                  <a:lnTo>
                    <a:pt x="36" y="40"/>
                  </a:lnTo>
                  <a:lnTo>
                    <a:pt x="36" y="37"/>
                  </a:lnTo>
                  <a:lnTo>
                    <a:pt x="36" y="37"/>
                  </a:lnTo>
                  <a:lnTo>
                    <a:pt x="38" y="35"/>
                  </a:lnTo>
                  <a:lnTo>
                    <a:pt x="38" y="33"/>
                  </a:lnTo>
                  <a:lnTo>
                    <a:pt x="36" y="35"/>
                  </a:lnTo>
                  <a:lnTo>
                    <a:pt x="36" y="33"/>
                  </a:lnTo>
                  <a:lnTo>
                    <a:pt x="38" y="33"/>
                  </a:lnTo>
                  <a:lnTo>
                    <a:pt x="38" y="30"/>
                  </a:lnTo>
                  <a:lnTo>
                    <a:pt x="38" y="28"/>
                  </a:lnTo>
                  <a:lnTo>
                    <a:pt x="38" y="26"/>
                  </a:lnTo>
                  <a:lnTo>
                    <a:pt x="38" y="21"/>
                  </a:lnTo>
                  <a:lnTo>
                    <a:pt x="43" y="14"/>
                  </a:lnTo>
                  <a:lnTo>
                    <a:pt x="43" y="11"/>
                  </a:lnTo>
                  <a:lnTo>
                    <a:pt x="40" y="7"/>
                  </a:lnTo>
                  <a:lnTo>
                    <a:pt x="40" y="2"/>
                  </a:lnTo>
                  <a:lnTo>
                    <a:pt x="43" y="0"/>
                  </a:lnTo>
                  <a:lnTo>
                    <a:pt x="40" y="0"/>
                  </a:lnTo>
                  <a:lnTo>
                    <a:pt x="38" y="2"/>
                  </a:lnTo>
                  <a:lnTo>
                    <a:pt x="31" y="4"/>
                  </a:lnTo>
                  <a:lnTo>
                    <a:pt x="26" y="11"/>
                  </a:lnTo>
                  <a:lnTo>
                    <a:pt x="26" y="14"/>
                  </a:lnTo>
                  <a:lnTo>
                    <a:pt x="22" y="16"/>
                  </a:lnTo>
                  <a:lnTo>
                    <a:pt x="10" y="18"/>
                  </a:lnTo>
                  <a:lnTo>
                    <a:pt x="7" y="23"/>
                  </a:lnTo>
                  <a:lnTo>
                    <a:pt x="5" y="26"/>
                  </a:lnTo>
                  <a:lnTo>
                    <a:pt x="3" y="33"/>
                  </a:lnTo>
                  <a:lnTo>
                    <a:pt x="3" y="37"/>
                  </a:lnTo>
                  <a:lnTo>
                    <a:pt x="0" y="42"/>
                  </a:lnTo>
                  <a:lnTo>
                    <a:pt x="0" y="47"/>
                  </a:lnTo>
                  <a:lnTo>
                    <a:pt x="0" y="56"/>
                  </a:lnTo>
                  <a:lnTo>
                    <a:pt x="3" y="59"/>
                  </a:lnTo>
                  <a:lnTo>
                    <a:pt x="3" y="63"/>
                  </a:lnTo>
                  <a:lnTo>
                    <a:pt x="0" y="68"/>
                  </a:lnTo>
                  <a:lnTo>
                    <a:pt x="3" y="68"/>
                  </a:lnTo>
                  <a:lnTo>
                    <a:pt x="5" y="68"/>
                  </a:lnTo>
                  <a:lnTo>
                    <a:pt x="7" y="68"/>
                  </a:lnTo>
                  <a:lnTo>
                    <a:pt x="10" y="70"/>
                  </a:lnTo>
                  <a:lnTo>
                    <a:pt x="10" y="75"/>
                  </a:lnTo>
                  <a:lnTo>
                    <a:pt x="10" y="85"/>
                  </a:lnTo>
                  <a:lnTo>
                    <a:pt x="12" y="8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1" name="Freeform 306">
              <a:extLst>
                <a:ext uri="{FF2B5EF4-FFF2-40B4-BE49-F238E27FC236}">
                  <a16:creationId xmlns:a16="http://schemas.microsoft.com/office/drawing/2014/main" id="{F96CBA45-1D6E-4471-963A-3847BF887D07}"/>
                </a:ext>
              </a:extLst>
            </p:cNvPr>
            <p:cNvSpPr>
              <a:spLocks/>
            </p:cNvSpPr>
            <p:nvPr/>
          </p:nvSpPr>
          <p:spPr bwMode="auto">
            <a:xfrm>
              <a:off x="1499441" y="2573303"/>
              <a:ext cx="79375" cy="141288"/>
            </a:xfrm>
            <a:custGeom>
              <a:avLst/>
              <a:gdLst>
                <a:gd name="T0" fmla="*/ 14 w 50"/>
                <a:gd name="T1" fmla="*/ 87 h 89"/>
                <a:gd name="T2" fmla="*/ 24 w 50"/>
                <a:gd name="T3" fmla="*/ 89 h 89"/>
                <a:gd name="T4" fmla="*/ 26 w 50"/>
                <a:gd name="T5" fmla="*/ 87 h 89"/>
                <a:gd name="T6" fmla="*/ 26 w 50"/>
                <a:gd name="T7" fmla="*/ 87 h 89"/>
                <a:gd name="T8" fmla="*/ 29 w 50"/>
                <a:gd name="T9" fmla="*/ 87 h 89"/>
                <a:gd name="T10" fmla="*/ 26 w 50"/>
                <a:gd name="T11" fmla="*/ 85 h 89"/>
                <a:gd name="T12" fmla="*/ 24 w 50"/>
                <a:gd name="T13" fmla="*/ 82 h 89"/>
                <a:gd name="T14" fmla="*/ 26 w 50"/>
                <a:gd name="T15" fmla="*/ 78 h 89"/>
                <a:gd name="T16" fmla="*/ 26 w 50"/>
                <a:gd name="T17" fmla="*/ 78 h 89"/>
                <a:gd name="T18" fmla="*/ 26 w 50"/>
                <a:gd name="T19" fmla="*/ 70 h 89"/>
                <a:gd name="T20" fmla="*/ 29 w 50"/>
                <a:gd name="T21" fmla="*/ 66 h 89"/>
                <a:gd name="T22" fmla="*/ 26 w 50"/>
                <a:gd name="T23" fmla="*/ 63 h 89"/>
                <a:gd name="T24" fmla="*/ 33 w 50"/>
                <a:gd name="T25" fmla="*/ 63 h 89"/>
                <a:gd name="T26" fmla="*/ 31 w 50"/>
                <a:gd name="T27" fmla="*/ 59 h 89"/>
                <a:gd name="T28" fmla="*/ 36 w 50"/>
                <a:gd name="T29" fmla="*/ 59 h 89"/>
                <a:gd name="T30" fmla="*/ 38 w 50"/>
                <a:gd name="T31" fmla="*/ 52 h 89"/>
                <a:gd name="T32" fmla="*/ 40 w 50"/>
                <a:gd name="T33" fmla="*/ 47 h 89"/>
                <a:gd name="T34" fmla="*/ 43 w 50"/>
                <a:gd name="T35" fmla="*/ 52 h 89"/>
                <a:gd name="T36" fmla="*/ 43 w 50"/>
                <a:gd name="T37" fmla="*/ 49 h 89"/>
                <a:gd name="T38" fmla="*/ 50 w 50"/>
                <a:gd name="T39" fmla="*/ 42 h 89"/>
                <a:gd name="T40" fmla="*/ 48 w 50"/>
                <a:gd name="T41" fmla="*/ 37 h 89"/>
                <a:gd name="T42" fmla="*/ 40 w 50"/>
                <a:gd name="T43" fmla="*/ 40 h 89"/>
                <a:gd name="T44" fmla="*/ 38 w 50"/>
                <a:gd name="T45" fmla="*/ 37 h 89"/>
                <a:gd name="T46" fmla="*/ 36 w 50"/>
                <a:gd name="T47" fmla="*/ 37 h 89"/>
                <a:gd name="T48" fmla="*/ 38 w 50"/>
                <a:gd name="T49" fmla="*/ 35 h 89"/>
                <a:gd name="T50" fmla="*/ 36 w 50"/>
                <a:gd name="T51" fmla="*/ 35 h 89"/>
                <a:gd name="T52" fmla="*/ 38 w 50"/>
                <a:gd name="T53" fmla="*/ 33 h 89"/>
                <a:gd name="T54" fmla="*/ 38 w 50"/>
                <a:gd name="T55" fmla="*/ 28 h 89"/>
                <a:gd name="T56" fmla="*/ 38 w 50"/>
                <a:gd name="T57" fmla="*/ 21 h 89"/>
                <a:gd name="T58" fmla="*/ 43 w 50"/>
                <a:gd name="T59" fmla="*/ 11 h 89"/>
                <a:gd name="T60" fmla="*/ 40 w 50"/>
                <a:gd name="T61" fmla="*/ 2 h 89"/>
                <a:gd name="T62" fmla="*/ 40 w 50"/>
                <a:gd name="T63" fmla="*/ 0 h 89"/>
                <a:gd name="T64" fmla="*/ 31 w 50"/>
                <a:gd name="T65" fmla="*/ 4 h 89"/>
                <a:gd name="T66" fmla="*/ 26 w 50"/>
                <a:gd name="T67" fmla="*/ 14 h 89"/>
                <a:gd name="T68" fmla="*/ 10 w 50"/>
                <a:gd name="T69" fmla="*/ 18 h 89"/>
                <a:gd name="T70" fmla="*/ 5 w 50"/>
                <a:gd name="T71" fmla="*/ 26 h 89"/>
                <a:gd name="T72" fmla="*/ 3 w 50"/>
                <a:gd name="T73" fmla="*/ 37 h 89"/>
                <a:gd name="T74" fmla="*/ 0 w 50"/>
                <a:gd name="T75" fmla="*/ 47 h 89"/>
                <a:gd name="T76" fmla="*/ 3 w 50"/>
                <a:gd name="T77" fmla="*/ 59 h 89"/>
                <a:gd name="T78" fmla="*/ 0 w 50"/>
                <a:gd name="T79" fmla="*/ 68 h 89"/>
                <a:gd name="T80" fmla="*/ 5 w 50"/>
                <a:gd name="T81" fmla="*/ 68 h 89"/>
                <a:gd name="T82" fmla="*/ 10 w 50"/>
                <a:gd name="T83" fmla="*/ 70 h 89"/>
                <a:gd name="T84" fmla="*/ 10 w 50"/>
                <a:gd name="T85"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89">
                  <a:moveTo>
                    <a:pt x="12" y="87"/>
                  </a:moveTo>
                  <a:lnTo>
                    <a:pt x="14" y="87"/>
                  </a:lnTo>
                  <a:lnTo>
                    <a:pt x="22" y="89"/>
                  </a:lnTo>
                  <a:lnTo>
                    <a:pt x="24" y="89"/>
                  </a:lnTo>
                  <a:lnTo>
                    <a:pt x="24" y="87"/>
                  </a:lnTo>
                  <a:lnTo>
                    <a:pt x="26" y="87"/>
                  </a:lnTo>
                  <a:lnTo>
                    <a:pt x="26" y="87"/>
                  </a:lnTo>
                  <a:lnTo>
                    <a:pt x="26" y="87"/>
                  </a:lnTo>
                  <a:lnTo>
                    <a:pt x="29" y="89"/>
                  </a:lnTo>
                  <a:lnTo>
                    <a:pt x="29" y="87"/>
                  </a:lnTo>
                  <a:lnTo>
                    <a:pt x="29" y="85"/>
                  </a:lnTo>
                  <a:lnTo>
                    <a:pt x="26" y="85"/>
                  </a:lnTo>
                  <a:lnTo>
                    <a:pt x="24" y="85"/>
                  </a:lnTo>
                  <a:lnTo>
                    <a:pt x="24" y="82"/>
                  </a:lnTo>
                  <a:lnTo>
                    <a:pt x="24" y="80"/>
                  </a:lnTo>
                  <a:lnTo>
                    <a:pt x="26" y="78"/>
                  </a:lnTo>
                  <a:lnTo>
                    <a:pt x="26" y="78"/>
                  </a:lnTo>
                  <a:lnTo>
                    <a:pt x="26" y="78"/>
                  </a:lnTo>
                  <a:lnTo>
                    <a:pt x="26" y="75"/>
                  </a:lnTo>
                  <a:lnTo>
                    <a:pt x="26" y="70"/>
                  </a:lnTo>
                  <a:lnTo>
                    <a:pt x="26" y="70"/>
                  </a:lnTo>
                  <a:lnTo>
                    <a:pt x="29" y="66"/>
                  </a:lnTo>
                  <a:lnTo>
                    <a:pt x="29" y="66"/>
                  </a:lnTo>
                  <a:lnTo>
                    <a:pt x="26" y="63"/>
                  </a:lnTo>
                  <a:lnTo>
                    <a:pt x="29" y="63"/>
                  </a:lnTo>
                  <a:lnTo>
                    <a:pt x="33" y="63"/>
                  </a:lnTo>
                  <a:lnTo>
                    <a:pt x="33" y="61"/>
                  </a:lnTo>
                  <a:lnTo>
                    <a:pt x="31" y="59"/>
                  </a:lnTo>
                  <a:lnTo>
                    <a:pt x="33" y="56"/>
                  </a:lnTo>
                  <a:lnTo>
                    <a:pt x="36" y="59"/>
                  </a:lnTo>
                  <a:lnTo>
                    <a:pt x="38" y="56"/>
                  </a:lnTo>
                  <a:lnTo>
                    <a:pt x="38" y="52"/>
                  </a:lnTo>
                  <a:lnTo>
                    <a:pt x="38" y="47"/>
                  </a:lnTo>
                  <a:lnTo>
                    <a:pt x="40" y="47"/>
                  </a:lnTo>
                  <a:lnTo>
                    <a:pt x="40" y="49"/>
                  </a:lnTo>
                  <a:lnTo>
                    <a:pt x="43" y="52"/>
                  </a:lnTo>
                  <a:lnTo>
                    <a:pt x="43" y="49"/>
                  </a:lnTo>
                  <a:lnTo>
                    <a:pt x="43" y="49"/>
                  </a:lnTo>
                  <a:lnTo>
                    <a:pt x="48" y="44"/>
                  </a:lnTo>
                  <a:lnTo>
                    <a:pt x="50" y="42"/>
                  </a:lnTo>
                  <a:lnTo>
                    <a:pt x="48" y="40"/>
                  </a:lnTo>
                  <a:lnTo>
                    <a:pt x="48" y="37"/>
                  </a:lnTo>
                  <a:lnTo>
                    <a:pt x="43" y="40"/>
                  </a:lnTo>
                  <a:lnTo>
                    <a:pt x="40" y="40"/>
                  </a:lnTo>
                  <a:lnTo>
                    <a:pt x="40" y="37"/>
                  </a:lnTo>
                  <a:lnTo>
                    <a:pt x="38" y="37"/>
                  </a:lnTo>
                  <a:lnTo>
                    <a:pt x="36" y="40"/>
                  </a:lnTo>
                  <a:lnTo>
                    <a:pt x="36" y="37"/>
                  </a:lnTo>
                  <a:lnTo>
                    <a:pt x="36" y="37"/>
                  </a:lnTo>
                  <a:lnTo>
                    <a:pt x="38" y="35"/>
                  </a:lnTo>
                  <a:lnTo>
                    <a:pt x="38" y="33"/>
                  </a:lnTo>
                  <a:lnTo>
                    <a:pt x="36" y="35"/>
                  </a:lnTo>
                  <a:lnTo>
                    <a:pt x="36" y="33"/>
                  </a:lnTo>
                  <a:lnTo>
                    <a:pt x="38" y="33"/>
                  </a:lnTo>
                  <a:lnTo>
                    <a:pt x="38" y="30"/>
                  </a:lnTo>
                  <a:lnTo>
                    <a:pt x="38" y="28"/>
                  </a:lnTo>
                  <a:lnTo>
                    <a:pt x="38" y="26"/>
                  </a:lnTo>
                  <a:lnTo>
                    <a:pt x="38" y="21"/>
                  </a:lnTo>
                  <a:lnTo>
                    <a:pt x="43" y="14"/>
                  </a:lnTo>
                  <a:lnTo>
                    <a:pt x="43" y="11"/>
                  </a:lnTo>
                  <a:lnTo>
                    <a:pt x="40" y="7"/>
                  </a:lnTo>
                  <a:lnTo>
                    <a:pt x="40" y="2"/>
                  </a:lnTo>
                  <a:lnTo>
                    <a:pt x="43" y="0"/>
                  </a:lnTo>
                  <a:lnTo>
                    <a:pt x="40" y="0"/>
                  </a:lnTo>
                  <a:lnTo>
                    <a:pt x="38" y="2"/>
                  </a:lnTo>
                  <a:lnTo>
                    <a:pt x="31" y="4"/>
                  </a:lnTo>
                  <a:lnTo>
                    <a:pt x="26" y="11"/>
                  </a:lnTo>
                  <a:lnTo>
                    <a:pt x="26" y="14"/>
                  </a:lnTo>
                  <a:lnTo>
                    <a:pt x="22" y="16"/>
                  </a:lnTo>
                  <a:lnTo>
                    <a:pt x="10" y="18"/>
                  </a:lnTo>
                  <a:lnTo>
                    <a:pt x="7" y="23"/>
                  </a:lnTo>
                  <a:lnTo>
                    <a:pt x="5" y="26"/>
                  </a:lnTo>
                  <a:lnTo>
                    <a:pt x="3" y="33"/>
                  </a:lnTo>
                  <a:lnTo>
                    <a:pt x="3" y="37"/>
                  </a:lnTo>
                  <a:lnTo>
                    <a:pt x="0" y="42"/>
                  </a:lnTo>
                  <a:lnTo>
                    <a:pt x="0" y="47"/>
                  </a:lnTo>
                  <a:lnTo>
                    <a:pt x="0" y="56"/>
                  </a:lnTo>
                  <a:lnTo>
                    <a:pt x="3" y="59"/>
                  </a:lnTo>
                  <a:lnTo>
                    <a:pt x="3" y="63"/>
                  </a:lnTo>
                  <a:lnTo>
                    <a:pt x="0" y="68"/>
                  </a:lnTo>
                  <a:lnTo>
                    <a:pt x="3" y="68"/>
                  </a:lnTo>
                  <a:lnTo>
                    <a:pt x="5" y="68"/>
                  </a:lnTo>
                  <a:lnTo>
                    <a:pt x="7" y="68"/>
                  </a:lnTo>
                  <a:lnTo>
                    <a:pt x="10" y="70"/>
                  </a:lnTo>
                  <a:lnTo>
                    <a:pt x="10" y="75"/>
                  </a:lnTo>
                  <a:lnTo>
                    <a:pt x="10" y="85"/>
                  </a:lnTo>
                  <a:lnTo>
                    <a:pt x="12" y="8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2" name="Freeform 307">
              <a:extLst>
                <a:ext uri="{FF2B5EF4-FFF2-40B4-BE49-F238E27FC236}">
                  <a16:creationId xmlns:a16="http://schemas.microsoft.com/office/drawing/2014/main" id="{973BD0D2-6160-447A-BD25-6440F4EA5F8C}"/>
                </a:ext>
              </a:extLst>
            </p:cNvPr>
            <p:cNvSpPr>
              <a:spLocks/>
            </p:cNvSpPr>
            <p:nvPr/>
          </p:nvSpPr>
          <p:spPr bwMode="auto">
            <a:xfrm>
              <a:off x="1432767" y="2928903"/>
              <a:ext cx="19050" cy="25400"/>
            </a:xfrm>
            <a:custGeom>
              <a:avLst/>
              <a:gdLst>
                <a:gd name="T0" fmla="*/ 7 w 12"/>
                <a:gd name="T1" fmla="*/ 16 h 16"/>
                <a:gd name="T2" fmla="*/ 12 w 12"/>
                <a:gd name="T3" fmla="*/ 16 h 16"/>
                <a:gd name="T4" fmla="*/ 12 w 12"/>
                <a:gd name="T5" fmla="*/ 14 h 16"/>
                <a:gd name="T6" fmla="*/ 12 w 12"/>
                <a:gd name="T7" fmla="*/ 9 h 16"/>
                <a:gd name="T8" fmla="*/ 12 w 12"/>
                <a:gd name="T9" fmla="*/ 7 h 16"/>
                <a:gd name="T10" fmla="*/ 9 w 12"/>
                <a:gd name="T11" fmla="*/ 5 h 16"/>
                <a:gd name="T12" fmla="*/ 9 w 12"/>
                <a:gd name="T13" fmla="*/ 2 h 16"/>
                <a:gd name="T14" fmla="*/ 9 w 12"/>
                <a:gd name="T15" fmla="*/ 0 h 16"/>
                <a:gd name="T16" fmla="*/ 7 w 12"/>
                <a:gd name="T17" fmla="*/ 0 h 16"/>
                <a:gd name="T18" fmla="*/ 4 w 12"/>
                <a:gd name="T19" fmla="*/ 0 h 16"/>
                <a:gd name="T20" fmla="*/ 2 w 12"/>
                <a:gd name="T21" fmla="*/ 2 h 16"/>
                <a:gd name="T22" fmla="*/ 0 w 12"/>
                <a:gd name="T23" fmla="*/ 7 h 16"/>
                <a:gd name="T24" fmla="*/ 2 w 12"/>
                <a:gd name="T25" fmla="*/ 9 h 16"/>
                <a:gd name="T26" fmla="*/ 2 w 12"/>
                <a:gd name="T27" fmla="*/ 14 h 16"/>
                <a:gd name="T28" fmla="*/ 7 w 1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6">
                  <a:moveTo>
                    <a:pt x="7" y="16"/>
                  </a:moveTo>
                  <a:lnTo>
                    <a:pt x="12" y="16"/>
                  </a:lnTo>
                  <a:lnTo>
                    <a:pt x="12" y="14"/>
                  </a:lnTo>
                  <a:lnTo>
                    <a:pt x="12" y="9"/>
                  </a:lnTo>
                  <a:lnTo>
                    <a:pt x="12" y="7"/>
                  </a:lnTo>
                  <a:lnTo>
                    <a:pt x="9" y="5"/>
                  </a:lnTo>
                  <a:lnTo>
                    <a:pt x="9" y="2"/>
                  </a:lnTo>
                  <a:lnTo>
                    <a:pt x="9" y="0"/>
                  </a:lnTo>
                  <a:lnTo>
                    <a:pt x="7" y="0"/>
                  </a:lnTo>
                  <a:lnTo>
                    <a:pt x="4" y="0"/>
                  </a:lnTo>
                  <a:lnTo>
                    <a:pt x="2" y="2"/>
                  </a:lnTo>
                  <a:lnTo>
                    <a:pt x="0" y="7"/>
                  </a:lnTo>
                  <a:lnTo>
                    <a:pt x="2" y="9"/>
                  </a:lnTo>
                  <a:lnTo>
                    <a:pt x="2" y="14"/>
                  </a:lnTo>
                  <a:lnTo>
                    <a:pt x="7" y="1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3" name="Freeform 308">
              <a:extLst>
                <a:ext uri="{FF2B5EF4-FFF2-40B4-BE49-F238E27FC236}">
                  <a16:creationId xmlns:a16="http://schemas.microsoft.com/office/drawing/2014/main" id="{F9B5282C-4A8C-46E8-99E3-7690C40F0BD6}"/>
                </a:ext>
              </a:extLst>
            </p:cNvPr>
            <p:cNvSpPr>
              <a:spLocks/>
            </p:cNvSpPr>
            <p:nvPr/>
          </p:nvSpPr>
          <p:spPr bwMode="auto">
            <a:xfrm>
              <a:off x="1432767" y="2928903"/>
              <a:ext cx="19050" cy="25400"/>
            </a:xfrm>
            <a:custGeom>
              <a:avLst/>
              <a:gdLst>
                <a:gd name="T0" fmla="*/ 7 w 12"/>
                <a:gd name="T1" fmla="*/ 16 h 16"/>
                <a:gd name="T2" fmla="*/ 12 w 12"/>
                <a:gd name="T3" fmla="*/ 16 h 16"/>
                <a:gd name="T4" fmla="*/ 12 w 12"/>
                <a:gd name="T5" fmla="*/ 14 h 16"/>
                <a:gd name="T6" fmla="*/ 12 w 12"/>
                <a:gd name="T7" fmla="*/ 9 h 16"/>
                <a:gd name="T8" fmla="*/ 12 w 12"/>
                <a:gd name="T9" fmla="*/ 7 h 16"/>
                <a:gd name="T10" fmla="*/ 9 w 12"/>
                <a:gd name="T11" fmla="*/ 5 h 16"/>
                <a:gd name="T12" fmla="*/ 9 w 12"/>
                <a:gd name="T13" fmla="*/ 2 h 16"/>
                <a:gd name="T14" fmla="*/ 9 w 12"/>
                <a:gd name="T15" fmla="*/ 0 h 16"/>
                <a:gd name="T16" fmla="*/ 7 w 12"/>
                <a:gd name="T17" fmla="*/ 0 h 16"/>
                <a:gd name="T18" fmla="*/ 4 w 12"/>
                <a:gd name="T19" fmla="*/ 0 h 16"/>
                <a:gd name="T20" fmla="*/ 2 w 12"/>
                <a:gd name="T21" fmla="*/ 2 h 16"/>
                <a:gd name="T22" fmla="*/ 0 w 12"/>
                <a:gd name="T23" fmla="*/ 7 h 16"/>
                <a:gd name="T24" fmla="*/ 2 w 12"/>
                <a:gd name="T25" fmla="*/ 9 h 16"/>
                <a:gd name="T26" fmla="*/ 2 w 12"/>
                <a:gd name="T27" fmla="*/ 14 h 16"/>
                <a:gd name="T28" fmla="*/ 7 w 1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6">
                  <a:moveTo>
                    <a:pt x="7" y="16"/>
                  </a:moveTo>
                  <a:lnTo>
                    <a:pt x="12" y="16"/>
                  </a:lnTo>
                  <a:lnTo>
                    <a:pt x="12" y="14"/>
                  </a:lnTo>
                  <a:lnTo>
                    <a:pt x="12" y="9"/>
                  </a:lnTo>
                  <a:lnTo>
                    <a:pt x="12" y="7"/>
                  </a:lnTo>
                  <a:lnTo>
                    <a:pt x="9" y="5"/>
                  </a:lnTo>
                  <a:lnTo>
                    <a:pt x="9" y="2"/>
                  </a:lnTo>
                  <a:lnTo>
                    <a:pt x="9" y="0"/>
                  </a:lnTo>
                  <a:lnTo>
                    <a:pt x="7" y="0"/>
                  </a:lnTo>
                  <a:lnTo>
                    <a:pt x="4" y="0"/>
                  </a:lnTo>
                  <a:lnTo>
                    <a:pt x="2" y="2"/>
                  </a:lnTo>
                  <a:lnTo>
                    <a:pt x="0" y="7"/>
                  </a:lnTo>
                  <a:lnTo>
                    <a:pt x="2" y="9"/>
                  </a:lnTo>
                  <a:lnTo>
                    <a:pt x="2" y="14"/>
                  </a:lnTo>
                  <a:lnTo>
                    <a:pt x="7" y="1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4" name="Freeform 315">
              <a:extLst>
                <a:ext uri="{FF2B5EF4-FFF2-40B4-BE49-F238E27FC236}">
                  <a16:creationId xmlns:a16="http://schemas.microsoft.com/office/drawing/2014/main" id="{5AF53C03-5EA8-4EB6-8BA0-9C707DC71C56}"/>
                </a:ext>
              </a:extLst>
            </p:cNvPr>
            <p:cNvSpPr>
              <a:spLocks/>
            </p:cNvSpPr>
            <p:nvPr/>
          </p:nvSpPr>
          <p:spPr bwMode="auto">
            <a:xfrm>
              <a:off x="2099516" y="4417979"/>
              <a:ext cx="146050" cy="149225"/>
            </a:xfrm>
            <a:custGeom>
              <a:avLst/>
              <a:gdLst>
                <a:gd name="T0" fmla="*/ 73 w 92"/>
                <a:gd name="T1" fmla="*/ 0 h 94"/>
                <a:gd name="T2" fmla="*/ 66 w 92"/>
                <a:gd name="T3" fmla="*/ 4 h 94"/>
                <a:gd name="T4" fmla="*/ 55 w 92"/>
                <a:gd name="T5" fmla="*/ 4 h 94"/>
                <a:gd name="T6" fmla="*/ 45 w 92"/>
                <a:gd name="T7" fmla="*/ 7 h 94"/>
                <a:gd name="T8" fmla="*/ 38 w 92"/>
                <a:gd name="T9" fmla="*/ 7 h 94"/>
                <a:gd name="T10" fmla="*/ 31 w 92"/>
                <a:gd name="T11" fmla="*/ 7 h 94"/>
                <a:gd name="T12" fmla="*/ 24 w 92"/>
                <a:gd name="T13" fmla="*/ 7 h 94"/>
                <a:gd name="T14" fmla="*/ 21 w 92"/>
                <a:gd name="T15" fmla="*/ 9 h 94"/>
                <a:gd name="T16" fmla="*/ 19 w 92"/>
                <a:gd name="T17" fmla="*/ 19 h 94"/>
                <a:gd name="T18" fmla="*/ 21 w 92"/>
                <a:gd name="T19" fmla="*/ 28 h 94"/>
                <a:gd name="T20" fmla="*/ 24 w 92"/>
                <a:gd name="T21" fmla="*/ 30 h 94"/>
                <a:gd name="T22" fmla="*/ 29 w 92"/>
                <a:gd name="T23" fmla="*/ 33 h 94"/>
                <a:gd name="T24" fmla="*/ 26 w 92"/>
                <a:gd name="T25" fmla="*/ 37 h 94"/>
                <a:gd name="T26" fmla="*/ 21 w 92"/>
                <a:gd name="T27" fmla="*/ 42 h 94"/>
                <a:gd name="T28" fmla="*/ 17 w 92"/>
                <a:gd name="T29" fmla="*/ 45 h 94"/>
                <a:gd name="T30" fmla="*/ 14 w 92"/>
                <a:gd name="T31" fmla="*/ 49 h 94"/>
                <a:gd name="T32" fmla="*/ 7 w 92"/>
                <a:gd name="T33" fmla="*/ 59 h 94"/>
                <a:gd name="T34" fmla="*/ 5 w 92"/>
                <a:gd name="T35" fmla="*/ 63 h 94"/>
                <a:gd name="T36" fmla="*/ 3 w 92"/>
                <a:gd name="T37" fmla="*/ 78 h 94"/>
                <a:gd name="T38" fmla="*/ 0 w 92"/>
                <a:gd name="T39" fmla="*/ 94 h 94"/>
                <a:gd name="T40" fmla="*/ 5 w 92"/>
                <a:gd name="T41" fmla="*/ 94 h 94"/>
                <a:gd name="T42" fmla="*/ 10 w 92"/>
                <a:gd name="T43" fmla="*/ 92 h 94"/>
                <a:gd name="T44" fmla="*/ 12 w 92"/>
                <a:gd name="T45" fmla="*/ 89 h 94"/>
                <a:gd name="T46" fmla="*/ 21 w 92"/>
                <a:gd name="T47" fmla="*/ 89 h 94"/>
                <a:gd name="T48" fmla="*/ 24 w 92"/>
                <a:gd name="T49" fmla="*/ 87 h 94"/>
                <a:gd name="T50" fmla="*/ 36 w 92"/>
                <a:gd name="T51" fmla="*/ 85 h 94"/>
                <a:gd name="T52" fmla="*/ 38 w 92"/>
                <a:gd name="T53" fmla="*/ 75 h 94"/>
                <a:gd name="T54" fmla="*/ 43 w 92"/>
                <a:gd name="T55" fmla="*/ 73 h 94"/>
                <a:gd name="T56" fmla="*/ 47 w 92"/>
                <a:gd name="T57" fmla="*/ 68 h 94"/>
                <a:gd name="T58" fmla="*/ 50 w 92"/>
                <a:gd name="T59" fmla="*/ 71 h 94"/>
                <a:gd name="T60" fmla="*/ 52 w 92"/>
                <a:gd name="T61" fmla="*/ 68 h 94"/>
                <a:gd name="T62" fmla="*/ 59 w 92"/>
                <a:gd name="T63" fmla="*/ 71 h 94"/>
                <a:gd name="T64" fmla="*/ 64 w 92"/>
                <a:gd name="T65" fmla="*/ 66 h 94"/>
                <a:gd name="T66" fmla="*/ 71 w 92"/>
                <a:gd name="T67" fmla="*/ 66 h 94"/>
                <a:gd name="T68" fmla="*/ 76 w 92"/>
                <a:gd name="T69" fmla="*/ 66 h 94"/>
                <a:gd name="T70" fmla="*/ 83 w 92"/>
                <a:gd name="T71" fmla="*/ 56 h 94"/>
                <a:gd name="T72" fmla="*/ 88 w 92"/>
                <a:gd name="T73" fmla="*/ 52 h 94"/>
                <a:gd name="T74" fmla="*/ 92 w 92"/>
                <a:gd name="T75" fmla="*/ 45 h 94"/>
                <a:gd name="T76" fmla="*/ 92 w 92"/>
                <a:gd name="T77" fmla="*/ 35 h 94"/>
                <a:gd name="T78" fmla="*/ 92 w 92"/>
                <a:gd name="T79" fmla="*/ 26 h 94"/>
                <a:gd name="T80" fmla="*/ 90 w 92"/>
                <a:gd name="T81" fmla="*/ 21 h 94"/>
                <a:gd name="T82" fmla="*/ 85 w 92"/>
                <a:gd name="T83" fmla="*/ 19 h 94"/>
                <a:gd name="T84" fmla="*/ 83 w 92"/>
                <a:gd name="T85" fmla="*/ 14 h 94"/>
                <a:gd name="T86" fmla="*/ 81 w 92"/>
                <a:gd name="T87" fmla="*/ 4 h 94"/>
                <a:gd name="T88" fmla="*/ 81 w 92"/>
                <a:gd name="T89" fmla="*/ 2 h 94"/>
                <a:gd name="T90" fmla="*/ 76 w 92"/>
                <a:gd name="T91" fmla="*/ 2 h 94"/>
                <a:gd name="T92" fmla="*/ 73 w 92"/>
                <a:gd name="T9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94">
                  <a:moveTo>
                    <a:pt x="73" y="0"/>
                  </a:moveTo>
                  <a:lnTo>
                    <a:pt x="73" y="0"/>
                  </a:lnTo>
                  <a:lnTo>
                    <a:pt x="73" y="0"/>
                  </a:lnTo>
                  <a:lnTo>
                    <a:pt x="66" y="4"/>
                  </a:lnTo>
                  <a:lnTo>
                    <a:pt x="59" y="4"/>
                  </a:lnTo>
                  <a:lnTo>
                    <a:pt x="55" y="4"/>
                  </a:lnTo>
                  <a:lnTo>
                    <a:pt x="50" y="7"/>
                  </a:lnTo>
                  <a:lnTo>
                    <a:pt x="45" y="7"/>
                  </a:lnTo>
                  <a:lnTo>
                    <a:pt x="40" y="9"/>
                  </a:lnTo>
                  <a:lnTo>
                    <a:pt x="38" y="7"/>
                  </a:lnTo>
                  <a:lnTo>
                    <a:pt x="36" y="7"/>
                  </a:lnTo>
                  <a:lnTo>
                    <a:pt x="31" y="7"/>
                  </a:lnTo>
                  <a:lnTo>
                    <a:pt x="29" y="7"/>
                  </a:lnTo>
                  <a:lnTo>
                    <a:pt x="24" y="7"/>
                  </a:lnTo>
                  <a:lnTo>
                    <a:pt x="21" y="7"/>
                  </a:lnTo>
                  <a:lnTo>
                    <a:pt x="21" y="9"/>
                  </a:lnTo>
                  <a:lnTo>
                    <a:pt x="21" y="11"/>
                  </a:lnTo>
                  <a:lnTo>
                    <a:pt x="19" y="19"/>
                  </a:lnTo>
                  <a:lnTo>
                    <a:pt x="19" y="23"/>
                  </a:lnTo>
                  <a:lnTo>
                    <a:pt x="21" y="28"/>
                  </a:lnTo>
                  <a:lnTo>
                    <a:pt x="21" y="28"/>
                  </a:lnTo>
                  <a:lnTo>
                    <a:pt x="24" y="30"/>
                  </a:lnTo>
                  <a:lnTo>
                    <a:pt x="26" y="30"/>
                  </a:lnTo>
                  <a:lnTo>
                    <a:pt x="29" y="33"/>
                  </a:lnTo>
                  <a:lnTo>
                    <a:pt x="29" y="35"/>
                  </a:lnTo>
                  <a:lnTo>
                    <a:pt x="26" y="37"/>
                  </a:lnTo>
                  <a:lnTo>
                    <a:pt x="24" y="40"/>
                  </a:lnTo>
                  <a:lnTo>
                    <a:pt x="21" y="42"/>
                  </a:lnTo>
                  <a:lnTo>
                    <a:pt x="19" y="45"/>
                  </a:lnTo>
                  <a:lnTo>
                    <a:pt x="17" y="45"/>
                  </a:lnTo>
                  <a:lnTo>
                    <a:pt x="17" y="47"/>
                  </a:lnTo>
                  <a:lnTo>
                    <a:pt x="14" y="49"/>
                  </a:lnTo>
                  <a:lnTo>
                    <a:pt x="12" y="54"/>
                  </a:lnTo>
                  <a:lnTo>
                    <a:pt x="7" y="59"/>
                  </a:lnTo>
                  <a:lnTo>
                    <a:pt x="5" y="59"/>
                  </a:lnTo>
                  <a:lnTo>
                    <a:pt x="5" y="63"/>
                  </a:lnTo>
                  <a:lnTo>
                    <a:pt x="3" y="73"/>
                  </a:lnTo>
                  <a:lnTo>
                    <a:pt x="3" y="78"/>
                  </a:lnTo>
                  <a:lnTo>
                    <a:pt x="0" y="87"/>
                  </a:lnTo>
                  <a:lnTo>
                    <a:pt x="0" y="94"/>
                  </a:lnTo>
                  <a:lnTo>
                    <a:pt x="3" y="94"/>
                  </a:lnTo>
                  <a:lnTo>
                    <a:pt x="5" y="94"/>
                  </a:lnTo>
                  <a:lnTo>
                    <a:pt x="7" y="94"/>
                  </a:lnTo>
                  <a:lnTo>
                    <a:pt x="10" y="92"/>
                  </a:lnTo>
                  <a:lnTo>
                    <a:pt x="10" y="89"/>
                  </a:lnTo>
                  <a:lnTo>
                    <a:pt x="12" y="89"/>
                  </a:lnTo>
                  <a:lnTo>
                    <a:pt x="14" y="87"/>
                  </a:lnTo>
                  <a:lnTo>
                    <a:pt x="21" y="89"/>
                  </a:lnTo>
                  <a:lnTo>
                    <a:pt x="24" y="87"/>
                  </a:lnTo>
                  <a:lnTo>
                    <a:pt x="24" y="87"/>
                  </a:lnTo>
                  <a:lnTo>
                    <a:pt x="38" y="87"/>
                  </a:lnTo>
                  <a:lnTo>
                    <a:pt x="36" y="85"/>
                  </a:lnTo>
                  <a:lnTo>
                    <a:pt x="40" y="78"/>
                  </a:lnTo>
                  <a:lnTo>
                    <a:pt x="38" y="75"/>
                  </a:lnTo>
                  <a:lnTo>
                    <a:pt x="40" y="73"/>
                  </a:lnTo>
                  <a:lnTo>
                    <a:pt x="43" y="73"/>
                  </a:lnTo>
                  <a:lnTo>
                    <a:pt x="45" y="71"/>
                  </a:lnTo>
                  <a:lnTo>
                    <a:pt x="47" y="68"/>
                  </a:lnTo>
                  <a:lnTo>
                    <a:pt x="50" y="71"/>
                  </a:lnTo>
                  <a:lnTo>
                    <a:pt x="50" y="71"/>
                  </a:lnTo>
                  <a:lnTo>
                    <a:pt x="52" y="68"/>
                  </a:lnTo>
                  <a:lnTo>
                    <a:pt x="52" y="68"/>
                  </a:lnTo>
                  <a:lnTo>
                    <a:pt x="57" y="68"/>
                  </a:lnTo>
                  <a:lnTo>
                    <a:pt x="59" y="71"/>
                  </a:lnTo>
                  <a:lnTo>
                    <a:pt x="62" y="66"/>
                  </a:lnTo>
                  <a:lnTo>
                    <a:pt x="64" y="66"/>
                  </a:lnTo>
                  <a:lnTo>
                    <a:pt x="69" y="68"/>
                  </a:lnTo>
                  <a:lnTo>
                    <a:pt x="71" y="66"/>
                  </a:lnTo>
                  <a:lnTo>
                    <a:pt x="73" y="68"/>
                  </a:lnTo>
                  <a:lnTo>
                    <a:pt x="76" y="66"/>
                  </a:lnTo>
                  <a:lnTo>
                    <a:pt x="78" y="66"/>
                  </a:lnTo>
                  <a:lnTo>
                    <a:pt x="83" y="56"/>
                  </a:lnTo>
                  <a:lnTo>
                    <a:pt x="85" y="54"/>
                  </a:lnTo>
                  <a:lnTo>
                    <a:pt x="88" y="52"/>
                  </a:lnTo>
                  <a:lnTo>
                    <a:pt x="90" y="49"/>
                  </a:lnTo>
                  <a:lnTo>
                    <a:pt x="92" y="45"/>
                  </a:lnTo>
                  <a:lnTo>
                    <a:pt x="92" y="40"/>
                  </a:lnTo>
                  <a:lnTo>
                    <a:pt x="92" y="35"/>
                  </a:lnTo>
                  <a:lnTo>
                    <a:pt x="92" y="30"/>
                  </a:lnTo>
                  <a:lnTo>
                    <a:pt x="92" y="26"/>
                  </a:lnTo>
                  <a:lnTo>
                    <a:pt x="92" y="23"/>
                  </a:lnTo>
                  <a:lnTo>
                    <a:pt x="90" y="21"/>
                  </a:lnTo>
                  <a:lnTo>
                    <a:pt x="88" y="19"/>
                  </a:lnTo>
                  <a:lnTo>
                    <a:pt x="85" y="19"/>
                  </a:lnTo>
                  <a:lnTo>
                    <a:pt x="85" y="16"/>
                  </a:lnTo>
                  <a:lnTo>
                    <a:pt x="83" y="14"/>
                  </a:lnTo>
                  <a:lnTo>
                    <a:pt x="83" y="7"/>
                  </a:lnTo>
                  <a:lnTo>
                    <a:pt x="81" y="4"/>
                  </a:lnTo>
                  <a:lnTo>
                    <a:pt x="81" y="4"/>
                  </a:lnTo>
                  <a:lnTo>
                    <a:pt x="81" y="2"/>
                  </a:lnTo>
                  <a:lnTo>
                    <a:pt x="81" y="2"/>
                  </a:lnTo>
                  <a:lnTo>
                    <a:pt x="76" y="2"/>
                  </a:lnTo>
                  <a:lnTo>
                    <a:pt x="76" y="0"/>
                  </a:lnTo>
                  <a:lnTo>
                    <a:pt x="7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5" name="Freeform 316">
              <a:extLst>
                <a:ext uri="{FF2B5EF4-FFF2-40B4-BE49-F238E27FC236}">
                  <a16:creationId xmlns:a16="http://schemas.microsoft.com/office/drawing/2014/main" id="{6B4E5F22-A088-462B-9A99-AD733198142A}"/>
                </a:ext>
              </a:extLst>
            </p:cNvPr>
            <p:cNvSpPr>
              <a:spLocks/>
            </p:cNvSpPr>
            <p:nvPr/>
          </p:nvSpPr>
          <p:spPr bwMode="auto">
            <a:xfrm>
              <a:off x="2099516" y="4417979"/>
              <a:ext cx="146050" cy="149225"/>
            </a:xfrm>
            <a:custGeom>
              <a:avLst/>
              <a:gdLst>
                <a:gd name="T0" fmla="*/ 73 w 92"/>
                <a:gd name="T1" fmla="*/ 0 h 94"/>
                <a:gd name="T2" fmla="*/ 66 w 92"/>
                <a:gd name="T3" fmla="*/ 4 h 94"/>
                <a:gd name="T4" fmla="*/ 55 w 92"/>
                <a:gd name="T5" fmla="*/ 4 h 94"/>
                <a:gd name="T6" fmla="*/ 45 w 92"/>
                <a:gd name="T7" fmla="*/ 7 h 94"/>
                <a:gd name="T8" fmla="*/ 38 w 92"/>
                <a:gd name="T9" fmla="*/ 7 h 94"/>
                <a:gd name="T10" fmla="*/ 31 w 92"/>
                <a:gd name="T11" fmla="*/ 7 h 94"/>
                <a:gd name="T12" fmla="*/ 24 w 92"/>
                <a:gd name="T13" fmla="*/ 7 h 94"/>
                <a:gd name="T14" fmla="*/ 21 w 92"/>
                <a:gd name="T15" fmla="*/ 9 h 94"/>
                <a:gd name="T16" fmla="*/ 19 w 92"/>
                <a:gd name="T17" fmla="*/ 19 h 94"/>
                <a:gd name="T18" fmla="*/ 21 w 92"/>
                <a:gd name="T19" fmla="*/ 28 h 94"/>
                <a:gd name="T20" fmla="*/ 24 w 92"/>
                <a:gd name="T21" fmla="*/ 30 h 94"/>
                <a:gd name="T22" fmla="*/ 29 w 92"/>
                <a:gd name="T23" fmla="*/ 33 h 94"/>
                <a:gd name="T24" fmla="*/ 26 w 92"/>
                <a:gd name="T25" fmla="*/ 37 h 94"/>
                <a:gd name="T26" fmla="*/ 21 w 92"/>
                <a:gd name="T27" fmla="*/ 42 h 94"/>
                <a:gd name="T28" fmla="*/ 17 w 92"/>
                <a:gd name="T29" fmla="*/ 45 h 94"/>
                <a:gd name="T30" fmla="*/ 14 w 92"/>
                <a:gd name="T31" fmla="*/ 49 h 94"/>
                <a:gd name="T32" fmla="*/ 7 w 92"/>
                <a:gd name="T33" fmla="*/ 59 h 94"/>
                <a:gd name="T34" fmla="*/ 5 w 92"/>
                <a:gd name="T35" fmla="*/ 63 h 94"/>
                <a:gd name="T36" fmla="*/ 3 w 92"/>
                <a:gd name="T37" fmla="*/ 78 h 94"/>
                <a:gd name="T38" fmla="*/ 0 w 92"/>
                <a:gd name="T39" fmla="*/ 94 h 94"/>
                <a:gd name="T40" fmla="*/ 5 w 92"/>
                <a:gd name="T41" fmla="*/ 94 h 94"/>
                <a:gd name="T42" fmla="*/ 10 w 92"/>
                <a:gd name="T43" fmla="*/ 92 h 94"/>
                <a:gd name="T44" fmla="*/ 12 w 92"/>
                <a:gd name="T45" fmla="*/ 89 h 94"/>
                <a:gd name="T46" fmla="*/ 21 w 92"/>
                <a:gd name="T47" fmla="*/ 89 h 94"/>
                <a:gd name="T48" fmla="*/ 24 w 92"/>
                <a:gd name="T49" fmla="*/ 87 h 94"/>
                <a:gd name="T50" fmla="*/ 36 w 92"/>
                <a:gd name="T51" fmla="*/ 85 h 94"/>
                <a:gd name="T52" fmla="*/ 38 w 92"/>
                <a:gd name="T53" fmla="*/ 75 h 94"/>
                <a:gd name="T54" fmla="*/ 43 w 92"/>
                <a:gd name="T55" fmla="*/ 73 h 94"/>
                <a:gd name="T56" fmla="*/ 47 w 92"/>
                <a:gd name="T57" fmla="*/ 68 h 94"/>
                <a:gd name="T58" fmla="*/ 50 w 92"/>
                <a:gd name="T59" fmla="*/ 71 h 94"/>
                <a:gd name="T60" fmla="*/ 52 w 92"/>
                <a:gd name="T61" fmla="*/ 68 h 94"/>
                <a:gd name="T62" fmla="*/ 59 w 92"/>
                <a:gd name="T63" fmla="*/ 71 h 94"/>
                <a:gd name="T64" fmla="*/ 64 w 92"/>
                <a:gd name="T65" fmla="*/ 66 h 94"/>
                <a:gd name="T66" fmla="*/ 71 w 92"/>
                <a:gd name="T67" fmla="*/ 66 h 94"/>
                <a:gd name="T68" fmla="*/ 76 w 92"/>
                <a:gd name="T69" fmla="*/ 66 h 94"/>
                <a:gd name="T70" fmla="*/ 83 w 92"/>
                <a:gd name="T71" fmla="*/ 56 h 94"/>
                <a:gd name="T72" fmla="*/ 88 w 92"/>
                <a:gd name="T73" fmla="*/ 52 h 94"/>
                <a:gd name="T74" fmla="*/ 92 w 92"/>
                <a:gd name="T75" fmla="*/ 45 h 94"/>
                <a:gd name="T76" fmla="*/ 92 w 92"/>
                <a:gd name="T77" fmla="*/ 35 h 94"/>
                <a:gd name="T78" fmla="*/ 92 w 92"/>
                <a:gd name="T79" fmla="*/ 26 h 94"/>
                <a:gd name="T80" fmla="*/ 90 w 92"/>
                <a:gd name="T81" fmla="*/ 21 h 94"/>
                <a:gd name="T82" fmla="*/ 85 w 92"/>
                <a:gd name="T83" fmla="*/ 19 h 94"/>
                <a:gd name="T84" fmla="*/ 83 w 92"/>
                <a:gd name="T85" fmla="*/ 14 h 94"/>
                <a:gd name="T86" fmla="*/ 81 w 92"/>
                <a:gd name="T87" fmla="*/ 4 h 94"/>
                <a:gd name="T88" fmla="*/ 81 w 92"/>
                <a:gd name="T89" fmla="*/ 2 h 94"/>
                <a:gd name="T90" fmla="*/ 76 w 92"/>
                <a:gd name="T91" fmla="*/ 2 h 94"/>
                <a:gd name="T92" fmla="*/ 73 w 92"/>
                <a:gd name="T9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94">
                  <a:moveTo>
                    <a:pt x="73" y="0"/>
                  </a:moveTo>
                  <a:lnTo>
                    <a:pt x="73" y="0"/>
                  </a:lnTo>
                  <a:lnTo>
                    <a:pt x="73" y="0"/>
                  </a:lnTo>
                  <a:lnTo>
                    <a:pt x="66" y="4"/>
                  </a:lnTo>
                  <a:lnTo>
                    <a:pt x="59" y="4"/>
                  </a:lnTo>
                  <a:lnTo>
                    <a:pt x="55" y="4"/>
                  </a:lnTo>
                  <a:lnTo>
                    <a:pt x="50" y="7"/>
                  </a:lnTo>
                  <a:lnTo>
                    <a:pt x="45" y="7"/>
                  </a:lnTo>
                  <a:lnTo>
                    <a:pt x="40" y="9"/>
                  </a:lnTo>
                  <a:lnTo>
                    <a:pt x="38" y="7"/>
                  </a:lnTo>
                  <a:lnTo>
                    <a:pt x="36" y="7"/>
                  </a:lnTo>
                  <a:lnTo>
                    <a:pt x="31" y="7"/>
                  </a:lnTo>
                  <a:lnTo>
                    <a:pt x="29" y="7"/>
                  </a:lnTo>
                  <a:lnTo>
                    <a:pt x="24" y="7"/>
                  </a:lnTo>
                  <a:lnTo>
                    <a:pt x="21" y="7"/>
                  </a:lnTo>
                  <a:lnTo>
                    <a:pt x="21" y="9"/>
                  </a:lnTo>
                  <a:lnTo>
                    <a:pt x="21" y="11"/>
                  </a:lnTo>
                  <a:lnTo>
                    <a:pt x="19" y="19"/>
                  </a:lnTo>
                  <a:lnTo>
                    <a:pt x="19" y="23"/>
                  </a:lnTo>
                  <a:lnTo>
                    <a:pt x="21" y="28"/>
                  </a:lnTo>
                  <a:lnTo>
                    <a:pt x="21" y="28"/>
                  </a:lnTo>
                  <a:lnTo>
                    <a:pt x="24" y="30"/>
                  </a:lnTo>
                  <a:lnTo>
                    <a:pt x="26" y="30"/>
                  </a:lnTo>
                  <a:lnTo>
                    <a:pt x="29" y="33"/>
                  </a:lnTo>
                  <a:lnTo>
                    <a:pt x="29" y="35"/>
                  </a:lnTo>
                  <a:lnTo>
                    <a:pt x="26" y="37"/>
                  </a:lnTo>
                  <a:lnTo>
                    <a:pt x="24" y="40"/>
                  </a:lnTo>
                  <a:lnTo>
                    <a:pt x="21" y="42"/>
                  </a:lnTo>
                  <a:lnTo>
                    <a:pt x="19" y="45"/>
                  </a:lnTo>
                  <a:lnTo>
                    <a:pt x="17" y="45"/>
                  </a:lnTo>
                  <a:lnTo>
                    <a:pt x="17" y="47"/>
                  </a:lnTo>
                  <a:lnTo>
                    <a:pt x="14" y="49"/>
                  </a:lnTo>
                  <a:lnTo>
                    <a:pt x="12" y="54"/>
                  </a:lnTo>
                  <a:lnTo>
                    <a:pt x="7" y="59"/>
                  </a:lnTo>
                  <a:lnTo>
                    <a:pt x="5" y="59"/>
                  </a:lnTo>
                  <a:lnTo>
                    <a:pt x="5" y="63"/>
                  </a:lnTo>
                  <a:lnTo>
                    <a:pt x="3" y="73"/>
                  </a:lnTo>
                  <a:lnTo>
                    <a:pt x="3" y="78"/>
                  </a:lnTo>
                  <a:lnTo>
                    <a:pt x="0" y="87"/>
                  </a:lnTo>
                  <a:lnTo>
                    <a:pt x="0" y="94"/>
                  </a:lnTo>
                  <a:lnTo>
                    <a:pt x="3" y="94"/>
                  </a:lnTo>
                  <a:lnTo>
                    <a:pt x="5" y="94"/>
                  </a:lnTo>
                  <a:lnTo>
                    <a:pt x="7" y="94"/>
                  </a:lnTo>
                  <a:lnTo>
                    <a:pt x="10" y="92"/>
                  </a:lnTo>
                  <a:lnTo>
                    <a:pt x="10" y="89"/>
                  </a:lnTo>
                  <a:lnTo>
                    <a:pt x="12" y="89"/>
                  </a:lnTo>
                  <a:lnTo>
                    <a:pt x="14" y="87"/>
                  </a:lnTo>
                  <a:lnTo>
                    <a:pt x="21" y="89"/>
                  </a:lnTo>
                  <a:lnTo>
                    <a:pt x="24" y="87"/>
                  </a:lnTo>
                  <a:lnTo>
                    <a:pt x="24" y="87"/>
                  </a:lnTo>
                  <a:lnTo>
                    <a:pt x="38" y="87"/>
                  </a:lnTo>
                  <a:lnTo>
                    <a:pt x="36" y="85"/>
                  </a:lnTo>
                  <a:lnTo>
                    <a:pt x="40" y="78"/>
                  </a:lnTo>
                  <a:lnTo>
                    <a:pt x="38" y="75"/>
                  </a:lnTo>
                  <a:lnTo>
                    <a:pt x="40" y="73"/>
                  </a:lnTo>
                  <a:lnTo>
                    <a:pt x="43" y="73"/>
                  </a:lnTo>
                  <a:lnTo>
                    <a:pt x="45" y="71"/>
                  </a:lnTo>
                  <a:lnTo>
                    <a:pt x="47" y="68"/>
                  </a:lnTo>
                  <a:lnTo>
                    <a:pt x="50" y="71"/>
                  </a:lnTo>
                  <a:lnTo>
                    <a:pt x="50" y="71"/>
                  </a:lnTo>
                  <a:lnTo>
                    <a:pt x="52" y="68"/>
                  </a:lnTo>
                  <a:lnTo>
                    <a:pt x="52" y="68"/>
                  </a:lnTo>
                  <a:lnTo>
                    <a:pt x="57" y="68"/>
                  </a:lnTo>
                  <a:lnTo>
                    <a:pt x="59" y="71"/>
                  </a:lnTo>
                  <a:lnTo>
                    <a:pt x="62" y="66"/>
                  </a:lnTo>
                  <a:lnTo>
                    <a:pt x="64" y="66"/>
                  </a:lnTo>
                  <a:lnTo>
                    <a:pt x="69" y="68"/>
                  </a:lnTo>
                  <a:lnTo>
                    <a:pt x="71" y="66"/>
                  </a:lnTo>
                  <a:lnTo>
                    <a:pt x="73" y="68"/>
                  </a:lnTo>
                  <a:lnTo>
                    <a:pt x="76" y="66"/>
                  </a:lnTo>
                  <a:lnTo>
                    <a:pt x="78" y="66"/>
                  </a:lnTo>
                  <a:lnTo>
                    <a:pt x="83" y="56"/>
                  </a:lnTo>
                  <a:lnTo>
                    <a:pt x="85" y="54"/>
                  </a:lnTo>
                  <a:lnTo>
                    <a:pt x="88" y="52"/>
                  </a:lnTo>
                  <a:lnTo>
                    <a:pt x="90" y="49"/>
                  </a:lnTo>
                  <a:lnTo>
                    <a:pt x="92" y="45"/>
                  </a:lnTo>
                  <a:lnTo>
                    <a:pt x="92" y="40"/>
                  </a:lnTo>
                  <a:lnTo>
                    <a:pt x="92" y="35"/>
                  </a:lnTo>
                  <a:lnTo>
                    <a:pt x="92" y="30"/>
                  </a:lnTo>
                  <a:lnTo>
                    <a:pt x="92" y="26"/>
                  </a:lnTo>
                  <a:lnTo>
                    <a:pt x="92" y="23"/>
                  </a:lnTo>
                  <a:lnTo>
                    <a:pt x="90" y="21"/>
                  </a:lnTo>
                  <a:lnTo>
                    <a:pt x="88" y="19"/>
                  </a:lnTo>
                  <a:lnTo>
                    <a:pt x="85" y="19"/>
                  </a:lnTo>
                  <a:lnTo>
                    <a:pt x="85" y="16"/>
                  </a:lnTo>
                  <a:lnTo>
                    <a:pt x="83" y="14"/>
                  </a:lnTo>
                  <a:lnTo>
                    <a:pt x="83" y="7"/>
                  </a:lnTo>
                  <a:lnTo>
                    <a:pt x="81" y="4"/>
                  </a:lnTo>
                  <a:lnTo>
                    <a:pt x="81" y="4"/>
                  </a:lnTo>
                  <a:lnTo>
                    <a:pt x="81" y="2"/>
                  </a:lnTo>
                  <a:lnTo>
                    <a:pt x="81" y="2"/>
                  </a:lnTo>
                  <a:lnTo>
                    <a:pt x="76" y="2"/>
                  </a:lnTo>
                  <a:lnTo>
                    <a:pt x="76" y="0"/>
                  </a:lnTo>
                  <a:lnTo>
                    <a:pt x="73" y="0"/>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6" name="Freeform 368">
              <a:extLst>
                <a:ext uri="{FF2B5EF4-FFF2-40B4-BE49-F238E27FC236}">
                  <a16:creationId xmlns:a16="http://schemas.microsoft.com/office/drawing/2014/main" id="{7F529287-78A5-4015-BFDC-4DDB2F4E3A77}"/>
                </a:ext>
              </a:extLst>
            </p:cNvPr>
            <p:cNvSpPr>
              <a:spLocks/>
            </p:cNvSpPr>
            <p:nvPr/>
          </p:nvSpPr>
          <p:spPr bwMode="auto">
            <a:xfrm>
              <a:off x="1728042" y="2590765"/>
              <a:ext cx="19050" cy="57150"/>
            </a:xfrm>
            <a:custGeom>
              <a:avLst/>
              <a:gdLst>
                <a:gd name="T0" fmla="*/ 0 w 12"/>
                <a:gd name="T1" fmla="*/ 36 h 36"/>
                <a:gd name="T2" fmla="*/ 3 w 12"/>
                <a:gd name="T3" fmla="*/ 31 h 36"/>
                <a:gd name="T4" fmla="*/ 3 w 12"/>
                <a:gd name="T5" fmla="*/ 29 h 36"/>
                <a:gd name="T6" fmla="*/ 5 w 12"/>
                <a:gd name="T7" fmla="*/ 22 h 36"/>
                <a:gd name="T8" fmla="*/ 7 w 12"/>
                <a:gd name="T9" fmla="*/ 12 h 36"/>
                <a:gd name="T10" fmla="*/ 10 w 12"/>
                <a:gd name="T11" fmla="*/ 3 h 36"/>
                <a:gd name="T12" fmla="*/ 12 w 12"/>
                <a:gd name="T13" fmla="*/ 0 h 36"/>
                <a:gd name="T14" fmla="*/ 12 w 12"/>
                <a:gd name="T15" fmla="*/ 0 h 36"/>
                <a:gd name="T16" fmla="*/ 10 w 12"/>
                <a:gd name="T17" fmla="*/ 0 h 36"/>
                <a:gd name="T18" fmla="*/ 7 w 12"/>
                <a:gd name="T19" fmla="*/ 3 h 36"/>
                <a:gd name="T20" fmla="*/ 5 w 12"/>
                <a:gd name="T21" fmla="*/ 15 h 36"/>
                <a:gd name="T22" fmla="*/ 3 w 12"/>
                <a:gd name="T23" fmla="*/ 17 h 36"/>
                <a:gd name="T24" fmla="*/ 0 w 12"/>
                <a:gd name="T25" fmla="*/ 22 h 36"/>
                <a:gd name="T26" fmla="*/ 0 w 12"/>
                <a:gd name="T27" fmla="*/ 26 h 36"/>
                <a:gd name="T28" fmla="*/ 0 w 12"/>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36">
                  <a:moveTo>
                    <a:pt x="0" y="36"/>
                  </a:moveTo>
                  <a:lnTo>
                    <a:pt x="3" y="31"/>
                  </a:lnTo>
                  <a:lnTo>
                    <a:pt x="3" y="29"/>
                  </a:lnTo>
                  <a:lnTo>
                    <a:pt x="5" y="22"/>
                  </a:lnTo>
                  <a:lnTo>
                    <a:pt x="7" y="12"/>
                  </a:lnTo>
                  <a:lnTo>
                    <a:pt x="10" y="3"/>
                  </a:lnTo>
                  <a:lnTo>
                    <a:pt x="12" y="0"/>
                  </a:lnTo>
                  <a:lnTo>
                    <a:pt x="12" y="0"/>
                  </a:lnTo>
                  <a:lnTo>
                    <a:pt x="10" y="0"/>
                  </a:lnTo>
                  <a:lnTo>
                    <a:pt x="7" y="3"/>
                  </a:lnTo>
                  <a:lnTo>
                    <a:pt x="5" y="15"/>
                  </a:lnTo>
                  <a:lnTo>
                    <a:pt x="3" y="17"/>
                  </a:lnTo>
                  <a:lnTo>
                    <a:pt x="0" y="22"/>
                  </a:lnTo>
                  <a:lnTo>
                    <a:pt x="0" y="26"/>
                  </a:lnTo>
                  <a:lnTo>
                    <a:pt x="0" y="3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7" name="Freeform 369">
              <a:extLst>
                <a:ext uri="{FF2B5EF4-FFF2-40B4-BE49-F238E27FC236}">
                  <a16:creationId xmlns:a16="http://schemas.microsoft.com/office/drawing/2014/main" id="{47A9CBB8-1C16-4A86-9986-4075668C4C81}"/>
                </a:ext>
              </a:extLst>
            </p:cNvPr>
            <p:cNvSpPr>
              <a:spLocks/>
            </p:cNvSpPr>
            <p:nvPr/>
          </p:nvSpPr>
          <p:spPr bwMode="auto">
            <a:xfrm>
              <a:off x="1728042" y="2590765"/>
              <a:ext cx="19050" cy="57150"/>
            </a:xfrm>
            <a:custGeom>
              <a:avLst/>
              <a:gdLst>
                <a:gd name="T0" fmla="*/ 0 w 12"/>
                <a:gd name="T1" fmla="*/ 36 h 36"/>
                <a:gd name="T2" fmla="*/ 3 w 12"/>
                <a:gd name="T3" fmla="*/ 31 h 36"/>
                <a:gd name="T4" fmla="*/ 3 w 12"/>
                <a:gd name="T5" fmla="*/ 29 h 36"/>
                <a:gd name="T6" fmla="*/ 5 w 12"/>
                <a:gd name="T7" fmla="*/ 22 h 36"/>
                <a:gd name="T8" fmla="*/ 7 w 12"/>
                <a:gd name="T9" fmla="*/ 12 h 36"/>
                <a:gd name="T10" fmla="*/ 10 w 12"/>
                <a:gd name="T11" fmla="*/ 3 h 36"/>
                <a:gd name="T12" fmla="*/ 12 w 12"/>
                <a:gd name="T13" fmla="*/ 0 h 36"/>
                <a:gd name="T14" fmla="*/ 12 w 12"/>
                <a:gd name="T15" fmla="*/ 0 h 36"/>
                <a:gd name="T16" fmla="*/ 10 w 12"/>
                <a:gd name="T17" fmla="*/ 0 h 36"/>
                <a:gd name="T18" fmla="*/ 7 w 12"/>
                <a:gd name="T19" fmla="*/ 3 h 36"/>
                <a:gd name="T20" fmla="*/ 5 w 12"/>
                <a:gd name="T21" fmla="*/ 15 h 36"/>
                <a:gd name="T22" fmla="*/ 3 w 12"/>
                <a:gd name="T23" fmla="*/ 17 h 36"/>
                <a:gd name="T24" fmla="*/ 0 w 12"/>
                <a:gd name="T25" fmla="*/ 22 h 36"/>
                <a:gd name="T26" fmla="*/ 0 w 12"/>
                <a:gd name="T27" fmla="*/ 26 h 36"/>
                <a:gd name="T28" fmla="*/ 0 w 12"/>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36">
                  <a:moveTo>
                    <a:pt x="0" y="36"/>
                  </a:moveTo>
                  <a:lnTo>
                    <a:pt x="3" y="31"/>
                  </a:lnTo>
                  <a:lnTo>
                    <a:pt x="3" y="29"/>
                  </a:lnTo>
                  <a:lnTo>
                    <a:pt x="5" y="22"/>
                  </a:lnTo>
                  <a:lnTo>
                    <a:pt x="7" y="12"/>
                  </a:lnTo>
                  <a:lnTo>
                    <a:pt x="10" y="3"/>
                  </a:lnTo>
                  <a:lnTo>
                    <a:pt x="12" y="0"/>
                  </a:lnTo>
                  <a:lnTo>
                    <a:pt x="12" y="0"/>
                  </a:lnTo>
                  <a:lnTo>
                    <a:pt x="10" y="0"/>
                  </a:lnTo>
                  <a:lnTo>
                    <a:pt x="7" y="3"/>
                  </a:lnTo>
                  <a:lnTo>
                    <a:pt x="5" y="15"/>
                  </a:lnTo>
                  <a:lnTo>
                    <a:pt x="3" y="17"/>
                  </a:lnTo>
                  <a:lnTo>
                    <a:pt x="0" y="22"/>
                  </a:lnTo>
                  <a:lnTo>
                    <a:pt x="0" y="26"/>
                  </a:lnTo>
                  <a:lnTo>
                    <a:pt x="0" y="3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8" name="Freeform 370">
              <a:extLst>
                <a:ext uri="{FF2B5EF4-FFF2-40B4-BE49-F238E27FC236}">
                  <a16:creationId xmlns:a16="http://schemas.microsoft.com/office/drawing/2014/main" id="{20A8EE99-12F1-4F8D-84C8-97F21686813F}"/>
                </a:ext>
              </a:extLst>
            </p:cNvPr>
            <p:cNvSpPr>
              <a:spLocks/>
            </p:cNvSpPr>
            <p:nvPr/>
          </p:nvSpPr>
          <p:spPr bwMode="auto">
            <a:xfrm>
              <a:off x="1777253" y="2560603"/>
              <a:ext cx="22225" cy="49213"/>
            </a:xfrm>
            <a:custGeom>
              <a:avLst/>
              <a:gdLst>
                <a:gd name="T0" fmla="*/ 0 w 14"/>
                <a:gd name="T1" fmla="*/ 31 h 31"/>
                <a:gd name="T2" fmla="*/ 2 w 14"/>
                <a:gd name="T3" fmla="*/ 31 h 31"/>
                <a:gd name="T4" fmla="*/ 5 w 14"/>
                <a:gd name="T5" fmla="*/ 26 h 31"/>
                <a:gd name="T6" fmla="*/ 10 w 14"/>
                <a:gd name="T7" fmla="*/ 22 h 31"/>
                <a:gd name="T8" fmla="*/ 10 w 14"/>
                <a:gd name="T9" fmla="*/ 19 h 31"/>
                <a:gd name="T10" fmla="*/ 12 w 14"/>
                <a:gd name="T11" fmla="*/ 17 h 31"/>
                <a:gd name="T12" fmla="*/ 12 w 14"/>
                <a:gd name="T13" fmla="*/ 15 h 31"/>
                <a:gd name="T14" fmla="*/ 12 w 14"/>
                <a:gd name="T15" fmla="*/ 8 h 31"/>
                <a:gd name="T16" fmla="*/ 12 w 14"/>
                <a:gd name="T17" fmla="*/ 5 h 31"/>
                <a:gd name="T18" fmla="*/ 14 w 14"/>
                <a:gd name="T19" fmla="*/ 5 h 31"/>
                <a:gd name="T20" fmla="*/ 14 w 14"/>
                <a:gd name="T21" fmla="*/ 0 h 31"/>
                <a:gd name="T22" fmla="*/ 12 w 14"/>
                <a:gd name="T23" fmla="*/ 0 h 31"/>
                <a:gd name="T24" fmla="*/ 10 w 14"/>
                <a:gd name="T25" fmla="*/ 3 h 31"/>
                <a:gd name="T26" fmla="*/ 7 w 14"/>
                <a:gd name="T27" fmla="*/ 0 h 31"/>
                <a:gd name="T28" fmla="*/ 2 w 14"/>
                <a:gd name="T29" fmla="*/ 10 h 31"/>
                <a:gd name="T30" fmla="*/ 0 w 14"/>
                <a:gd name="T31" fmla="*/ 12 h 31"/>
                <a:gd name="T32" fmla="*/ 0 w 14"/>
                <a:gd name="T33" fmla="*/ 15 h 31"/>
                <a:gd name="T34" fmla="*/ 0 w 14"/>
                <a:gd name="T35" fmla="*/ 19 h 31"/>
                <a:gd name="T36" fmla="*/ 0 w 14"/>
                <a:gd name="T37" fmla="*/ 22 h 31"/>
                <a:gd name="T38" fmla="*/ 0 w 14"/>
                <a:gd name="T39" fmla="*/ 24 h 31"/>
                <a:gd name="T40" fmla="*/ 0 w 14"/>
                <a:gd name="T41" fmla="*/ 24 h 31"/>
                <a:gd name="T42" fmla="*/ 0 w 14"/>
                <a:gd name="T43" fmla="*/ 26 h 31"/>
                <a:gd name="T44" fmla="*/ 2 w 14"/>
                <a:gd name="T45" fmla="*/ 26 h 31"/>
                <a:gd name="T46" fmla="*/ 0 w 14"/>
                <a:gd name="T47" fmla="*/ 29 h 31"/>
                <a:gd name="T48" fmla="*/ 0 w 14"/>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31">
                  <a:moveTo>
                    <a:pt x="0" y="31"/>
                  </a:moveTo>
                  <a:lnTo>
                    <a:pt x="2" y="31"/>
                  </a:lnTo>
                  <a:lnTo>
                    <a:pt x="5" y="26"/>
                  </a:lnTo>
                  <a:lnTo>
                    <a:pt x="10" y="22"/>
                  </a:lnTo>
                  <a:lnTo>
                    <a:pt x="10" y="19"/>
                  </a:lnTo>
                  <a:lnTo>
                    <a:pt x="12" y="17"/>
                  </a:lnTo>
                  <a:lnTo>
                    <a:pt x="12" y="15"/>
                  </a:lnTo>
                  <a:lnTo>
                    <a:pt x="12" y="8"/>
                  </a:lnTo>
                  <a:lnTo>
                    <a:pt x="12" y="5"/>
                  </a:lnTo>
                  <a:lnTo>
                    <a:pt x="14" y="5"/>
                  </a:lnTo>
                  <a:lnTo>
                    <a:pt x="14" y="0"/>
                  </a:lnTo>
                  <a:lnTo>
                    <a:pt x="12" y="0"/>
                  </a:lnTo>
                  <a:lnTo>
                    <a:pt x="10" y="3"/>
                  </a:lnTo>
                  <a:lnTo>
                    <a:pt x="7" y="0"/>
                  </a:lnTo>
                  <a:lnTo>
                    <a:pt x="2" y="10"/>
                  </a:lnTo>
                  <a:lnTo>
                    <a:pt x="0" y="12"/>
                  </a:lnTo>
                  <a:lnTo>
                    <a:pt x="0" y="15"/>
                  </a:lnTo>
                  <a:lnTo>
                    <a:pt x="0" y="19"/>
                  </a:lnTo>
                  <a:lnTo>
                    <a:pt x="0" y="22"/>
                  </a:lnTo>
                  <a:lnTo>
                    <a:pt x="0" y="24"/>
                  </a:lnTo>
                  <a:lnTo>
                    <a:pt x="0" y="24"/>
                  </a:lnTo>
                  <a:lnTo>
                    <a:pt x="0" y="26"/>
                  </a:lnTo>
                  <a:lnTo>
                    <a:pt x="2" y="26"/>
                  </a:lnTo>
                  <a:lnTo>
                    <a:pt x="0" y="29"/>
                  </a:lnTo>
                  <a:lnTo>
                    <a:pt x="0" y="3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59" name="Freeform 371">
              <a:extLst>
                <a:ext uri="{FF2B5EF4-FFF2-40B4-BE49-F238E27FC236}">
                  <a16:creationId xmlns:a16="http://schemas.microsoft.com/office/drawing/2014/main" id="{866D4D8A-5FD9-4FC3-8171-120017459596}"/>
                </a:ext>
              </a:extLst>
            </p:cNvPr>
            <p:cNvSpPr>
              <a:spLocks/>
            </p:cNvSpPr>
            <p:nvPr/>
          </p:nvSpPr>
          <p:spPr bwMode="auto">
            <a:xfrm>
              <a:off x="1777253" y="2560603"/>
              <a:ext cx="22225" cy="49213"/>
            </a:xfrm>
            <a:custGeom>
              <a:avLst/>
              <a:gdLst>
                <a:gd name="T0" fmla="*/ 0 w 14"/>
                <a:gd name="T1" fmla="*/ 31 h 31"/>
                <a:gd name="T2" fmla="*/ 2 w 14"/>
                <a:gd name="T3" fmla="*/ 31 h 31"/>
                <a:gd name="T4" fmla="*/ 5 w 14"/>
                <a:gd name="T5" fmla="*/ 26 h 31"/>
                <a:gd name="T6" fmla="*/ 10 w 14"/>
                <a:gd name="T7" fmla="*/ 22 h 31"/>
                <a:gd name="T8" fmla="*/ 10 w 14"/>
                <a:gd name="T9" fmla="*/ 19 h 31"/>
                <a:gd name="T10" fmla="*/ 12 w 14"/>
                <a:gd name="T11" fmla="*/ 17 h 31"/>
                <a:gd name="T12" fmla="*/ 12 w 14"/>
                <a:gd name="T13" fmla="*/ 15 h 31"/>
                <a:gd name="T14" fmla="*/ 12 w 14"/>
                <a:gd name="T15" fmla="*/ 8 h 31"/>
                <a:gd name="T16" fmla="*/ 12 w 14"/>
                <a:gd name="T17" fmla="*/ 5 h 31"/>
                <a:gd name="T18" fmla="*/ 14 w 14"/>
                <a:gd name="T19" fmla="*/ 5 h 31"/>
                <a:gd name="T20" fmla="*/ 14 w 14"/>
                <a:gd name="T21" fmla="*/ 0 h 31"/>
                <a:gd name="T22" fmla="*/ 12 w 14"/>
                <a:gd name="T23" fmla="*/ 0 h 31"/>
                <a:gd name="T24" fmla="*/ 10 w 14"/>
                <a:gd name="T25" fmla="*/ 3 h 31"/>
                <a:gd name="T26" fmla="*/ 7 w 14"/>
                <a:gd name="T27" fmla="*/ 0 h 31"/>
                <a:gd name="T28" fmla="*/ 2 w 14"/>
                <a:gd name="T29" fmla="*/ 10 h 31"/>
                <a:gd name="T30" fmla="*/ 0 w 14"/>
                <a:gd name="T31" fmla="*/ 12 h 31"/>
                <a:gd name="T32" fmla="*/ 0 w 14"/>
                <a:gd name="T33" fmla="*/ 15 h 31"/>
                <a:gd name="T34" fmla="*/ 0 w 14"/>
                <a:gd name="T35" fmla="*/ 19 h 31"/>
                <a:gd name="T36" fmla="*/ 0 w 14"/>
                <a:gd name="T37" fmla="*/ 22 h 31"/>
                <a:gd name="T38" fmla="*/ 0 w 14"/>
                <a:gd name="T39" fmla="*/ 24 h 31"/>
                <a:gd name="T40" fmla="*/ 0 w 14"/>
                <a:gd name="T41" fmla="*/ 24 h 31"/>
                <a:gd name="T42" fmla="*/ 0 w 14"/>
                <a:gd name="T43" fmla="*/ 26 h 31"/>
                <a:gd name="T44" fmla="*/ 2 w 14"/>
                <a:gd name="T45" fmla="*/ 26 h 31"/>
                <a:gd name="T46" fmla="*/ 0 w 14"/>
                <a:gd name="T47" fmla="*/ 29 h 31"/>
                <a:gd name="T48" fmla="*/ 0 w 14"/>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31">
                  <a:moveTo>
                    <a:pt x="0" y="31"/>
                  </a:moveTo>
                  <a:lnTo>
                    <a:pt x="2" y="31"/>
                  </a:lnTo>
                  <a:lnTo>
                    <a:pt x="5" y="26"/>
                  </a:lnTo>
                  <a:lnTo>
                    <a:pt x="10" y="22"/>
                  </a:lnTo>
                  <a:lnTo>
                    <a:pt x="10" y="19"/>
                  </a:lnTo>
                  <a:lnTo>
                    <a:pt x="12" y="17"/>
                  </a:lnTo>
                  <a:lnTo>
                    <a:pt x="12" y="15"/>
                  </a:lnTo>
                  <a:lnTo>
                    <a:pt x="12" y="8"/>
                  </a:lnTo>
                  <a:lnTo>
                    <a:pt x="12" y="5"/>
                  </a:lnTo>
                  <a:lnTo>
                    <a:pt x="14" y="5"/>
                  </a:lnTo>
                  <a:lnTo>
                    <a:pt x="14" y="0"/>
                  </a:lnTo>
                  <a:lnTo>
                    <a:pt x="12" y="0"/>
                  </a:lnTo>
                  <a:lnTo>
                    <a:pt x="10" y="3"/>
                  </a:lnTo>
                  <a:lnTo>
                    <a:pt x="7" y="0"/>
                  </a:lnTo>
                  <a:lnTo>
                    <a:pt x="2" y="10"/>
                  </a:lnTo>
                  <a:lnTo>
                    <a:pt x="0" y="12"/>
                  </a:lnTo>
                  <a:lnTo>
                    <a:pt x="0" y="15"/>
                  </a:lnTo>
                  <a:lnTo>
                    <a:pt x="0" y="19"/>
                  </a:lnTo>
                  <a:lnTo>
                    <a:pt x="0" y="22"/>
                  </a:lnTo>
                  <a:lnTo>
                    <a:pt x="0" y="24"/>
                  </a:lnTo>
                  <a:lnTo>
                    <a:pt x="0" y="24"/>
                  </a:lnTo>
                  <a:lnTo>
                    <a:pt x="0" y="26"/>
                  </a:lnTo>
                  <a:lnTo>
                    <a:pt x="2" y="26"/>
                  </a:lnTo>
                  <a:lnTo>
                    <a:pt x="0" y="29"/>
                  </a:lnTo>
                  <a:lnTo>
                    <a:pt x="0" y="3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0" name="Freeform 372">
              <a:extLst>
                <a:ext uri="{FF2B5EF4-FFF2-40B4-BE49-F238E27FC236}">
                  <a16:creationId xmlns:a16="http://schemas.microsoft.com/office/drawing/2014/main" id="{DB75E500-ACFE-42F6-90F9-870617501168}"/>
                </a:ext>
              </a:extLst>
            </p:cNvPr>
            <p:cNvSpPr>
              <a:spLocks/>
            </p:cNvSpPr>
            <p:nvPr/>
          </p:nvSpPr>
          <p:spPr bwMode="auto">
            <a:xfrm>
              <a:off x="1410542" y="2790790"/>
              <a:ext cx="6350" cy="14288"/>
            </a:xfrm>
            <a:custGeom>
              <a:avLst/>
              <a:gdLst>
                <a:gd name="T0" fmla="*/ 4 w 4"/>
                <a:gd name="T1" fmla="*/ 4 h 9"/>
                <a:gd name="T2" fmla="*/ 4 w 4"/>
                <a:gd name="T3" fmla="*/ 0 h 9"/>
                <a:gd name="T4" fmla="*/ 4 w 4"/>
                <a:gd name="T5" fmla="*/ 0 h 9"/>
                <a:gd name="T6" fmla="*/ 4 w 4"/>
                <a:gd name="T7" fmla="*/ 4 h 9"/>
                <a:gd name="T8" fmla="*/ 0 w 4"/>
                <a:gd name="T9" fmla="*/ 7 h 9"/>
                <a:gd name="T10" fmla="*/ 0 w 4"/>
                <a:gd name="T11" fmla="*/ 9 h 9"/>
                <a:gd name="T12" fmla="*/ 2 w 4"/>
                <a:gd name="T13" fmla="*/ 7 h 9"/>
                <a:gd name="T14" fmla="*/ 4 w 4"/>
                <a:gd name="T15" fmla="*/ 4 h 9"/>
                <a:gd name="T16" fmla="*/ 4 w 4"/>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4"/>
                  </a:moveTo>
                  <a:lnTo>
                    <a:pt x="4" y="0"/>
                  </a:lnTo>
                  <a:lnTo>
                    <a:pt x="4" y="0"/>
                  </a:lnTo>
                  <a:lnTo>
                    <a:pt x="4" y="4"/>
                  </a:lnTo>
                  <a:lnTo>
                    <a:pt x="0" y="7"/>
                  </a:lnTo>
                  <a:lnTo>
                    <a:pt x="0" y="9"/>
                  </a:lnTo>
                  <a:lnTo>
                    <a:pt x="2" y="7"/>
                  </a:lnTo>
                  <a:lnTo>
                    <a:pt x="4" y="4"/>
                  </a:lnTo>
                  <a:lnTo>
                    <a:pt x="4" y="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1" name="Freeform 373">
              <a:extLst>
                <a:ext uri="{FF2B5EF4-FFF2-40B4-BE49-F238E27FC236}">
                  <a16:creationId xmlns:a16="http://schemas.microsoft.com/office/drawing/2014/main" id="{4FEC4C8E-2516-42F9-8AF3-3D720EAA5F8D}"/>
                </a:ext>
              </a:extLst>
            </p:cNvPr>
            <p:cNvSpPr>
              <a:spLocks/>
            </p:cNvSpPr>
            <p:nvPr/>
          </p:nvSpPr>
          <p:spPr bwMode="auto">
            <a:xfrm>
              <a:off x="1410542" y="2790790"/>
              <a:ext cx="6350" cy="14288"/>
            </a:xfrm>
            <a:custGeom>
              <a:avLst/>
              <a:gdLst>
                <a:gd name="T0" fmla="*/ 4 w 4"/>
                <a:gd name="T1" fmla="*/ 4 h 9"/>
                <a:gd name="T2" fmla="*/ 4 w 4"/>
                <a:gd name="T3" fmla="*/ 0 h 9"/>
                <a:gd name="T4" fmla="*/ 4 w 4"/>
                <a:gd name="T5" fmla="*/ 0 h 9"/>
                <a:gd name="T6" fmla="*/ 4 w 4"/>
                <a:gd name="T7" fmla="*/ 4 h 9"/>
                <a:gd name="T8" fmla="*/ 0 w 4"/>
                <a:gd name="T9" fmla="*/ 7 h 9"/>
                <a:gd name="T10" fmla="*/ 0 w 4"/>
                <a:gd name="T11" fmla="*/ 9 h 9"/>
                <a:gd name="T12" fmla="*/ 2 w 4"/>
                <a:gd name="T13" fmla="*/ 7 h 9"/>
                <a:gd name="T14" fmla="*/ 4 w 4"/>
                <a:gd name="T15" fmla="*/ 4 h 9"/>
                <a:gd name="T16" fmla="*/ 4 w 4"/>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4"/>
                  </a:moveTo>
                  <a:lnTo>
                    <a:pt x="4" y="0"/>
                  </a:lnTo>
                  <a:lnTo>
                    <a:pt x="4" y="0"/>
                  </a:lnTo>
                  <a:lnTo>
                    <a:pt x="4" y="4"/>
                  </a:lnTo>
                  <a:lnTo>
                    <a:pt x="0" y="7"/>
                  </a:lnTo>
                  <a:lnTo>
                    <a:pt x="0" y="9"/>
                  </a:lnTo>
                  <a:lnTo>
                    <a:pt x="2" y="7"/>
                  </a:lnTo>
                  <a:lnTo>
                    <a:pt x="4" y="4"/>
                  </a:lnTo>
                  <a:lnTo>
                    <a:pt x="4" y="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2" name="Freeform 374">
              <a:extLst>
                <a:ext uri="{FF2B5EF4-FFF2-40B4-BE49-F238E27FC236}">
                  <a16:creationId xmlns:a16="http://schemas.microsoft.com/office/drawing/2014/main" id="{39A878B0-B9D0-4979-BCB1-A47670AE7EA7}"/>
                </a:ext>
              </a:extLst>
            </p:cNvPr>
            <p:cNvSpPr>
              <a:spLocks/>
            </p:cNvSpPr>
            <p:nvPr/>
          </p:nvSpPr>
          <p:spPr bwMode="auto">
            <a:xfrm>
              <a:off x="1386729" y="2857465"/>
              <a:ext cx="11113" cy="3175"/>
            </a:xfrm>
            <a:custGeom>
              <a:avLst/>
              <a:gdLst>
                <a:gd name="T0" fmla="*/ 3 w 7"/>
                <a:gd name="T1" fmla="*/ 0 h 2"/>
                <a:gd name="T2" fmla="*/ 0 w 7"/>
                <a:gd name="T3" fmla="*/ 0 h 2"/>
                <a:gd name="T4" fmla="*/ 3 w 7"/>
                <a:gd name="T5" fmla="*/ 0 h 2"/>
                <a:gd name="T6" fmla="*/ 7 w 7"/>
                <a:gd name="T7" fmla="*/ 2 h 2"/>
                <a:gd name="T8" fmla="*/ 7 w 7"/>
                <a:gd name="T9" fmla="*/ 2 h 2"/>
                <a:gd name="T10" fmla="*/ 3 w 7"/>
                <a:gd name="T11" fmla="*/ 0 h 2"/>
              </a:gdLst>
              <a:ahLst/>
              <a:cxnLst>
                <a:cxn ang="0">
                  <a:pos x="T0" y="T1"/>
                </a:cxn>
                <a:cxn ang="0">
                  <a:pos x="T2" y="T3"/>
                </a:cxn>
                <a:cxn ang="0">
                  <a:pos x="T4" y="T5"/>
                </a:cxn>
                <a:cxn ang="0">
                  <a:pos x="T6" y="T7"/>
                </a:cxn>
                <a:cxn ang="0">
                  <a:pos x="T8" y="T9"/>
                </a:cxn>
                <a:cxn ang="0">
                  <a:pos x="T10" y="T11"/>
                </a:cxn>
              </a:cxnLst>
              <a:rect l="0" t="0" r="r" b="b"/>
              <a:pathLst>
                <a:path w="7" h="2">
                  <a:moveTo>
                    <a:pt x="3" y="0"/>
                  </a:moveTo>
                  <a:lnTo>
                    <a:pt x="0" y="0"/>
                  </a:lnTo>
                  <a:lnTo>
                    <a:pt x="3" y="0"/>
                  </a:lnTo>
                  <a:lnTo>
                    <a:pt x="7" y="2"/>
                  </a:lnTo>
                  <a:lnTo>
                    <a:pt x="7" y="2"/>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3" name="Freeform 375">
              <a:extLst>
                <a:ext uri="{FF2B5EF4-FFF2-40B4-BE49-F238E27FC236}">
                  <a16:creationId xmlns:a16="http://schemas.microsoft.com/office/drawing/2014/main" id="{F25AF0A5-446E-4E58-A294-BCA425641690}"/>
                </a:ext>
              </a:extLst>
            </p:cNvPr>
            <p:cNvSpPr>
              <a:spLocks/>
            </p:cNvSpPr>
            <p:nvPr/>
          </p:nvSpPr>
          <p:spPr bwMode="auto">
            <a:xfrm>
              <a:off x="1386729" y="2857465"/>
              <a:ext cx="11113" cy="3175"/>
            </a:xfrm>
            <a:custGeom>
              <a:avLst/>
              <a:gdLst>
                <a:gd name="T0" fmla="*/ 3 w 7"/>
                <a:gd name="T1" fmla="*/ 0 h 2"/>
                <a:gd name="T2" fmla="*/ 0 w 7"/>
                <a:gd name="T3" fmla="*/ 0 h 2"/>
                <a:gd name="T4" fmla="*/ 3 w 7"/>
                <a:gd name="T5" fmla="*/ 0 h 2"/>
                <a:gd name="T6" fmla="*/ 7 w 7"/>
                <a:gd name="T7" fmla="*/ 2 h 2"/>
                <a:gd name="T8" fmla="*/ 7 w 7"/>
                <a:gd name="T9" fmla="*/ 2 h 2"/>
                <a:gd name="T10" fmla="*/ 3 w 7"/>
                <a:gd name="T11" fmla="*/ 0 h 2"/>
              </a:gdLst>
              <a:ahLst/>
              <a:cxnLst>
                <a:cxn ang="0">
                  <a:pos x="T0" y="T1"/>
                </a:cxn>
                <a:cxn ang="0">
                  <a:pos x="T2" y="T3"/>
                </a:cxn>
                <a:cxn ang="0">
                  <a:pos x="T4" y="T5"/>
                </a:cxn>
                <a:cxn ang="0">
                  <a:pos x="T6" y="T7"/>
                </a:cxn>
                <a:cxn ang="0">
                  <a:pos x="T8" y="T9"/>
                </a:cxn>
                <a:cxn ang="0">
                  <a:pos x="T10" y="T11"/>
                </a:cxn>
              </a:cxnLst>
              <a:rect l="0" t="0" r="r" b="b"/>
              <a:pathLst>
                <a:path w="7" h="2">
                  <a:moveTo>
                    <a:pt x="3" y="0"/>
                  </a:moveTo>
                  <a:lnTo>
                    <a:pt x="0" y="0"/>
                  </a:lnTo>
                  <a:lnTo>
                    <a:pt x="3" y="0"/>
                  </a:lnTo>
                  <a:lnTo>
                    <a:pt x="7" y="2"/>
                  </a:lnTo>
                  <a:lnTo>
                    <a:pt x="7" y="2"/>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4" name="Freeform 376">
              <a:extLst>
                <a:ext uri="{FF2B5EF4-FFF2-40B4-BE49-F238E27FC236}">
                  <a16:creationId xmlns:a16="http://schemas.microsoft.com/office/drawing/2014/main" id="{146AC18B-E629-4E38-88A0-9FE79989444B}"/>
                </a:ext>
              </a:extLst>
            </p:cNvPr>
            <p:cNvSpPr>
              <a:spLocks/>
            </p:cNvSpPr>
            <p:nvPr/>
          </p:nvSpPr>
          <p:spPr bwMode="auto">
            <a:xfrm>
              <a:off x="1383554" y="2860641"/>
              <a:ext cx="7938" cy="4763"/>
            </a:xfrm>
            <a:custGeom>
              <a:avLst/>
              <a:gdLst>
                <a:gd name="T0" fmla="*/ 0 w 5"/>
                <a:gd name="T1" fmla="*/ 0 h 3"/>
                <a:gd name="T2" fmla="*/ 2 w 5"/>
                <a:gd name="T3" fmla="*/ 0 h 3"/>
                <a:gd name="T4" fmla="*/ 5 w 5"/>
                <a:gd name="T5" fmla="*/ 0 h 3"/>
                <a:gd name="T6" fmla="*/ 5 w 5"/>
                <a:gd name="T7" fmla="*/ 3 h 3"/>
                <a:gd name="T8" fmla="*/ 0 w 5"/>
                <a:gd name="T9" fmla="*/ 0 h 3"/>
              </a:gdLst>
              <a:ahLst/>
              <a:cxnLst>
                <a:cxn ang="0">
                  <a:pos x="T0" y="T1"/>
                </a:cxn>
                <a:cxn ang="0">
                  <a:pos x="T2" y="T3"/>
                </a:cxn>
                <a:cxn ang="0">
                  <a:pos x="T4" y="T5"/>
                </a:cxn>
                <a:cxn ang="0">
                  <a:pos x="T6" y="T7"/>
                </a:cxn>
                <a:cxn ang="0">
                  <a:pos x="T8" y="T9"/>
                </a:cxn>
              </a:cxnLst>
              <a:rect l="0" t="0" r="r" b="b"/>
              <a:pathLst>
                <a:path w="5" h="3">
                  <a:moveTo>
                    <a:pt x="0" y="0"/>
                  </a:moveTo>
                  <a:lnTo>
                    <a:pt x="2" y="0"/>
                  </a:lnTo>
                  <a:lnTo>
                    <a:pt x="5" y="0"/>
                  </a:lnTo>
                  <a:lnTo>
                    <a:pt x="5"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5" name="Freeform 377">
              <a:extLst>
                <a:ext uri="{FF2B5EF4-FFF2-40B4-BE49-F238E27FC236}">
                  <a16:creationId xmlns:a16="http://schemas.microsoft.com/office/drawing/2014/main" id="{D28F8099-692C-4022-93BC-1257C81C8BE5}"/>
                </a:ext>
              </a:extLst>
            </p:cNvPr>
            <p:cNvSpPr>
              <a:spLocks/>
            </p:cNvSpPr>
            <p:nvPr/>
          </p:nvSpPr>
          <p:spPr bwMode="auto">
            <a:xfrm>
              <a:off x="1383554" y="2860641"/>
              <a:ext cx="7938" cy="4763"/>
            </a:xfrm>
            <a:custGeom>
              <a:avLst/>
              <a:gdLst>
                <a:gd name="T0" fmla="*/ 0 w 5"/>
                <a:gd name="T1" fmla="*/ 0 h 3"/>
                <a:gd name="T2" fmla="*/ 2 w 5"/>
                <a:gd name="T3" fmla="*/ 0 h 3"/>
                <a:gd name="T4" fmla="*/ 5 w 5"/>
                <a:gd name="T5" fmla="*/ 0 h 3"/>
                <a:gd name="T6" fmla="*/ 5 w 5"/>
                <a:gd name="T7" fmla="*/ 3 h 3"/>
                <a:gd name="T8" fmla="*/ 0 w 5"/>
                <a:gd name="T9" fmla="*/ 0 h 3"/>
              </a:gdLst>
              <a:ahLst/>
              <a:cxnLst>
                <a:cxn ang="0">
                  <a:pos x="T0" y="T1"/>
                </a:cxn>
                <a:cxn ang="0">
                  <a:pos x="T2" y="T3"/>
                </a:cxn>
                <a:cxn ang="0">
                  <a:pos x="T4" y="T5"/>
                </a:cxn>
                <a:cxn ang="0">
                  <a:pos x="T6" y="T7"/>
                </a:cxn>
                <a:cxn ang="0">
                  <a:pos x="T8" y="T9"/>
                </a:cxn>
              </a:cxnLst>
              <a:rect l="0" t="0" r="r" b="b"/>
              <a:pathLst>
                <a:path w="5" h="3">
                  <a:moveTo>
                    <a:pt x="0" y="0"/>
                  </a:moveTo>
                  <a:lnTo>
                    <a:pt x="2" y="0"/>
                  </a:lnTo>
                  <a:lnTo>
                    <a:pt x="5" y="0"/>
                  </a:lnTo>
                  <a:lnTo>
                    <a:pt x="5"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6" name="Freeform 378">
              <a:extLst>
                <a:ext uri="{FF2B5EF4-FFF2-40B4-BE49-F238E27FC236}">
                  <a16:creationId xmlns:a16="http://schemas.microsoft.com/office/drawing/2014/main" id="{7AE2C7C4-1556-42C7-9C95-B62440918D1B}"/>
                </a:ext>
              </a:extLst>
            </p:cNvPr>
            <p:cNvSpPr>
              <a:spLocks/>
            </p:cNvSpPr>
            <p:nvPr/>
          </p:nvSpPr>
          <p:spPr bwMode="auto">
            <a:xfrm>
              <a:off x="1380379" y="2868578"/>
              <a:ext cx="0" cy="4763"/>
            </a:xfrm>
            <a:custGeom>
              <a:avLst/>
              <a:gdLst>
                <a:gd name="T0" fmla="*/ 0 h 3"/>
                <a:gd name="T1" fmla="*/ 3 h 3"/>
                <a:gd name="T2" fmla="*/ 3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3"/>
                  </a:lnTo>
                  <a:lnTo>
                    <a:pt x="0" y="3"/>
                  </a:lnTo>
                  <a:lnTo>
                    <a:pt x="0" y="3"/>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7" name="Freeform 379">
              <a:extLst>
                <a:ext uri="{FF2B5EF4-FFF2-40B4-BE49-F238E27FC236}">
                  <a16:creationId xmlns:a16="http://schemas.microsoft.com/office/drawing/2014/main" id="{DBC9AD6C-BF44-4437-8F16-1BE3D408AA02}"/>
                </a:ext>
              </a:extLst>
            </p:cNvPr>
            <p:cNvSpPr>
              <a:spLocks/>
            </p:cNvSpPr>
            <p:nvPr/>
          </p:nvSpPr>
          <p:spPr bwMode="auto">
            <a:xfrm>
              <a:off x="1380379" y="2868578"/>
              <a:ext cx="0" cy="4763"/>
            </a:xfrm>
            <a:custGeom>
              <a:avLst/>
              <a:gdLst>
                <a:gd name="T0" fmla="*/ 0 h 3"/>
                <a:gd name="T1" fmla="*/ 3 h 3"/>
                <a:gd name="T2" fmla="*/ 3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lnTo>
                    <a:pt x="0" y="3"/>
                  </a:lnTo>
                  <a:lnTo>
                    <a:pt x="0" y="3"/>
                  </a:lnTo>
                  <a:lnTo>
                    <a:pt x="0" y="3"/>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8" name="Freeform 380">
              <a:extLst>
                <a:ext uri="{FF2B5EF4-FFF2-40B4-BE49-F238E27FC236}">
                  <a16:creationId xmlns:a16="http://schemas.microsoft.com/office/drawing/2014/main" id="{AA76C622-284D-404F-93DB-2174C1736DFD}"/>
                </a:ext>
              </a:extLst>
            </p:cNvPr>
            <p:cNvSpPr>
              <a:spLocks/>
            </p:cNvSpPr>
            <p:nvPr/>
          </p:nvSpPr>
          <p:spPr bwMode="auto">
            <a:xfrm>
              <a:off x="1515316" y="3213066"/>
              <a:ext cx="25399" cy="65088"/>
            </a:xfrm>
            <a:custGeom>
              <a:avLst/>
              <a:gdLst>
                <a:gd name="T0" fmla="*/ 14 w 16"/>
                <a:gd name="T1" fmla="*/ 0 h 41"/>
                <a:gd name="T2" fmla="*/ 14 w 16"/>
                <a:gd name="T3" fmla="*/ 3 h 41"/>
                <a:gd name="T4" fmla="*/ 14 w 16"/>
                <a:gd name="T5" fmla="*/ 12 h 41"/>
                <a:gd name="T6" fmla="*/ 16 w 16"/>
                <a:gd name="T7" fmla="*/ 19 h 41"/>
                <a:gd name="T8" fmla="*/ 16 w 16"/>
                <a:gd name="T9" fmla="*/ 24 h 41"/>
                <a:gd name="T10" fmla="*/ 14 w 16"/>
                <a:gd name="T11" fmla="*/ 26 h 41"/>
                <a:gd name="T12" fmla="*/ 14 w 16"/>
                <a:gd name="T13" fmla="*/ 31 h 41"/>
                <a:gd name="T14" fmla="*/ 14 w 16"/>
                <a:gd name="T15" fmla="*/ 34 h 41"/>
                <a:gd name="T16" fmla="*/ 12 w 16"/>
                <a:gd name="T17" fmla="*/ 38 h 41"/>
                <a:gd name="T18" fmla="*/ 12 w 16"/>
                <a:gd name="T19" fmla="*/ 41 h 41"/>
                <a:gd name="T20" fmla="*/ 9 w 16"/>
                <a:gd name="T21" fmla="*/ 38 h 41"/>
                <a:gd name="T22" fmla="*/ 7 w 16"/>
                <a:gd name="T23" fmla="*/ 38 h 41"/>
                <a:gd name="T24" fmla="*/ 4 w 16"/>
                <a:gd name="T25" fmla="*/ 36 h 41"/>
                <a:gd name="T26" fmla="*/ 4 w 16"/>
                <a:gd name="T27" fmla="*/ 34 h 41"/>
                <a:gd name="T28" fmla="*/ 4 w 16"/>
                <a:gd name="T29" fmla="*/ 31 h 41"/>
                <a:gd name="T30" fmla="*/ 2 w 16"/>
                <a:gd name="T31" fmla="*/ 31 h 41"/>
                <a:gd name="T32" fmla="*/ 2 w 16"/>
                <a:gd name="T33" fmla="*/ 29 h 41"/>
                <a:gd name="T34" fmla="*/ 2 w 16"/>
                <a:gd name="T35" fmla="*/ 22 h 41"/>
                <a:gd name="T36" fmla="*/ 0 w 16"/>
                <a:gd name="T37" fmla="*/ 22 h 41"/>
                <a:gd name="T38" fmla="*/ 0 w 16"/>
                <a:gd name="T39" fmla="*/ 15 h 41"/>
                <a:gd name="T40" fmla="*/ 2 w 16"/>
                <a:gd name="T41" fmla="*/ 12 h 41"/>
                <a:gd name="T42" fmla="*/ 4 w 16"/>
                <a:gd name="T43" fmla="*/ 12 h 41"/>
                <a:gd name="T44" fmla="*/ 4 w 16"/>
                <a:gd name="T45" fmla="*/ 10 h 41"/>
                <a:gd name="T46" fmla="*/ 9 w 16"/>
                <a:gd name="T47" fmla="*/ 8 h 41"/>
                <a:gd name="T48" fmla="*/ 12 w 16"/>
                <a:gd name="T49" fmla="*/ 8 h 41"/>
                <a:gd name="T50" fmla="*/ 12 w 16"/>
                <a:gd name="T51" fmla="*/ 5 h 41"/>
                <a:gd name="T52" fmla="*/ 14 w 16"/>
                <a:gd name="T5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1">
                  <a:moveTo>
                    <a:pt x="14" y="0"/>
                  </a:moveTo>
                  <a:lnTo>
                    <a:pt x="14" y="3"/>
                  </a:lnTo>
                  <a:lnTo>
                    <a:pt x="14" y="12"/>
                  </a:lnTo>
                  <a:lnTo>
                    <a:pt x="16" y="19"/>
                  </a:lnTo>
                  <a:lnTo>
                    <a:pt x="16" y="24"/>
                  </a:lnTo>
                  <a:lnTo>
                    <a:pt x="14" y="26"/>
                  </a:lnTo>
                  <a:lnTo>
                    <a:pt x="14" y="31"/>
                  </a:lnTo>
                  <a:lnTo>
                    <a:pt x="14" y="34"/>
                  </a:lnTo>
                  <a:lnTo>
                    <a:pt x="12" y="38"/>
                  </a:lnTo>
                  <a:lnTo>
                    <a:pt x="12" y="41"/>
                  </a:lnTo>
                  <a:lnTo>
                    <a:pt x="9" y="38"/>
                  </a:lnTo>
                  <a:lnTo>
                    <a:pt x="7" y="38"/>
                  </a:lnTo>
                  <a:lnTo>
                    <a:pt x="4" y="36"/>
                  </a:lnTo>
                  <a:lnTo>
                    <a:pt x="4" y="34"/>
                  </a:lnTo>
                  <a:lnTo>
                    <a:pt x="4" y="31"/>
                  </a:lnTo>
                  <a:lnTo>
                    <a:pt x="2" y="31"/>
                  </a:lnTo>
                  <a:lnTo>
                    <a:pt x="2" y="29"/>
                  </a:lnTo>
                  <a:lnTo>
                    <a:pt x="2" y="22"/>
                  </a:lnTo>
                  <a:lnTo>
                    <a:pt x="0" y="22"/>
                  </a:lnTo>
                  <a:lnTo>
                    <a:pt x="0" y="15"/>
                  </a:lnTo>
                  <a:lnTo>
                    <a:pt x="2" y="12"/>
                  </a:lnTo>
                  <a:lnTo>
                    <a:pt x="4" y="12"/>
                  </a:lnTo>
                  <a:lnTo>
                    <a:pt x="4" y="10"/>
                  </a:lnTo>
                  <a:lnTo>
                    <a:pt x="9" y="8"/>
                  </a:lnTo>
                  <a:lnTo>
                    <a:pt x="12" y="8"/>
                  </a:lnTo>
                  <a:lnTo>
                    <a:pt x="12" y="5"/>
                  </a:lnTo>
                  <a:lnTo>
                    <a:pt x="1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69" name="Freeform 381">
              <a:extLst>
                <a:ext uri="{FF2B5EF4-FFF2-40B4-BE49-F238E27FC236}">
                  <a16:creationId xmlns:a16="http://schemas.microsoft.com/office/drawing/2014/main" id="{D4B3275B-91B4-40C6-83FC-607CA32492FC}"/>
                </a:ext>
              </a:extLst>
            </p:cNvPr>
            <p:cNvSpPr>
              <a:spLocks/>
            </p:cNvSpPr>
            <p:nvPr/>
          </p:nvSpPr>
          <p:spPr bwMode="auto">
            <a:xfrm>
              <a:off x="1515316" y="3213066"/>
              <a:ext cx="25399" cy="65088"/>
            </a:xfrm>
            <a:custGeom>
              <a:avLst/>
              <a:gdLst>
                <a:gd name="T0" fmla="*/ 14 w 16"/>
                <a:gd name="T1" fmla="*/ 0 h 41"/>
                <a:gd name="T2" fmla="*/ 14 w 16"/>
                <a:gd name="T3" fmla="*/ 3 h 41"/>
                <a:gd name="T4" fmla="*/ 14 w 16"/>
                <a:gd name="T5" fmla="*/ 12 h 41"/>
                <a:gd name="T6" fmla="*/ 16 w 16"/>
                <a:gd name="T7" fmla="*/ 19 h 41"/>
                <a:gd name="T8" fmla="*/ 16 w 16"/>
                <a:gd name="T9" fmla="*/ 24 h 41"/>
                <a:gd name="T10" fmla="*/ 14 w 16"/>
                <a:gd name="T11" fmla="*/ 26 h 41"/>
                <a:gd name="T12" fmla="*/ 14 w 16"/>
                <a:gd name="T13" fmla="*/ 31 h 41"/>
                <a:gd name="T14" fmla="*/ 14 w 16"/>
                <a:gd name="T15" fmla="*/ 34 h 41"/>
                <a:gd name="T16" fmla="*/ 12 w 16"/>
                <a:gd name="T17" fmla="*/ 38 h 41"/>
                <a:gd name="T18" fmla="*/ 12 w 16"/>
                <a:gd name="T19" fmla="*/ 41 h 41"/>
                <a:gd name="T20" fmla="*/ 9 w 16"/>
                <a:gd name="T21" fmla="*/ 38 h 41"/>
                <a:gd name="T22" fmla="*/ 7 w 16"/>
                <a:gd name="T23" fmla="*/ 38 h 41"/>
                <a:gd name="T24" fmla="*/ 4 w 16"/>
                <a:gd name="T25" fmla="*/ 36 h 41"/>
                <a:gd name="T26" fmla="*/ 4 w 16"/>
                <a:gd name="T27" fmla="*/ 34 h 41"/>
                <a:gd name="T28" fmla="*/ 4 w 16"/>
                <a:gd name="T29" fmla="*/ 31 h 41"/>
                <a:gd name="T30" fmla="*/ 2 w 16"/>
                <a:gd name="T31" fmla="*/ 31 h 41"/>
                <a:gd name="T32" fmla="*/ 2 w 16"/>
                <a:gd name="T33" fmla="*/ 29 h 41"/>
                <a:gd name="T34" fmla="*/ 2 w 16"/>
                <a:gd name="T35" fmla="*/ 22 h 41"/>
                <a:gd name="T36" fmla="*/ 0 w 16"/>
                <a:gd name="T37" fmla="*/ 22 h 41"/>
                <a:gd name="T38" fmla="*/ 0 w 16"/>
                <a:gd name="T39" fmla="*/ 15 h 41"/>
                <a:gd name="T40" fmla="*/ 2 w 16"/>
                <a:gd name="T41" fmla="*/ 12 h 41"/>
                <a:gd name="T42" fmla="*/ 4 w 16"/>
                <a:gd name="T43" fmla="*/ 12 h 41"/>
                <a:gd name="T44" fmla="*/ 4 w 16"/>
                <a:gd name="T45" fmla="*/ 10 h 41"/>
                <a:gd name="T46" fmla="*/ 9 w 16"/>
                <a:gd name="T47" fmla="*/ 8 h 41"/>
                <a:gd name="T48" fmla="*/ 12 w 16"/>
                <a:gd name="T49" fmla="*/ 8 h 41"/>
                <a:gd name="T50" fmla="*/ 12 w 16"/>
                <a:gd name="T51" fmla="*/ 5 h 41"/>
                <a:gd name="T52" fmla="*/ 14 w 16"/>
                <a:gd name="T5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1">
                  <a:moveTo>
                    <a:pt x="14" y="0"/>
                  </a:moveTo>
                  <a:lnTo>
                    <a:pt x="14" y="3"/>
                  </a:lnTo>
                  <a:lnTo>
                    <a:pt x="14" y="12"/>
                  </a:lnTo>
                  <a:lnTo>
                    <a:pt x="16" y="19"/>
                  </a:lnTo>
                  <a:lnTo>
                    <a:pt x="16" y="24"/>
                  </a:lnTo>
                  <a:lnTo>
                    <a:pt x="14" y="26"/>
                  </a:lnTo>
                  <a:lnTo>
                    <a:pt x="14" y="31"/>
                  </a:lnTo>
                  <a:lnTo>
                    <a:pt x="14" y="34"/>
                  </a:lnTo>
                  <a:lnTo>
                    <a:pt x="12" y="38"/>
                  </a:lnTo>
                  <a:lnTo>
                    <a:pt x="12" y="41"/>
                  </a:lnTo>
                  <a:lnTo>
                    <a:pt x="9" y="38"/>
                  </a:lnTo>
                  <a:lnTo>
                    <a:pt x="7" y="38"/>
                  </a:lnTo>
                  <a:lnTo>
                    <a:pt x="4" y="36"/>
                  </a:lnTo>
                  <a:lnTo>
                    <a:pt x="4" y="34"/>
                  </a:lnTo>
                  <a:lnTo>
                    <a:pt x="4" y="31"/>
                  </a:lnTo>
                  <a:lnTo>
                    <a:pt x="2" y="31"/>
                  </a:lnTo>
                  <a:lnTo>
                    <a:pt x="2" y="29"/>
                  </a:lnTo>
                  <a:lnTo>
                    <a:pt x="2" y="22"/>
                  </a:lnTo>
                  <a:lnTo>
                    <a:pt x="0" y="22"/>
                  </a:lnTo>
                  <a:lnTo>
                    <a:pt x="0" y="15"/>
                  </a:lnTo>
                  <a:lnTo>
                    <a:pt x="2" y="12"/>
                  </a:lnTo>
                  <a:lnTo>
                    <a:pt x="4" y="12"/>
                  </a:lnTo>
                  <a:lnTo>
                    <a:pt x="4" y="10"/>
                  </a:lnTo>
                  <a:lnTo>
                    <a:pt x="9" y="8"/>
                  </a:lnTo>
                  <a:lnTo>
                    <a:pt x="12" y="8"/>
                  </a:lnTo>
                  <a:lnTo>
                    <a:pt x="12" y="5"/>
                  </a:lnTo>
                  <a:lnTo>
                    <a:pt x="14"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0" name="Freeform 382">
              <a:extLst>
                <a:ext uri="{FF2B5EF4-FFF2-40B4-BE49-F238E27FC236}">
                  <a16:creationId xmlns:a16="http://schemas.microsoft.com/office/drawing/2014/main" id="{E587B64C-C0F3-4FDA-8805-E1A5DD5E38E4}"/>
                </a:ext>
              </a:extLst>
            </p:cNvPr>
            <p:cNvSpPr>
              <a:spLocks/>
            </p:cNvSpPr>
            <p:nvPr/>
          </p:nvSpPr>
          <p:spPr bwMode="auto">
            <a:xfrm>
              <a:off x="2759914" y="3840129"/>
              <a:ext cx="11113" cy="7938"/>
            </a:xfrm>
            <a:custGeom>
              <a:avLst/>
              <a:gdLst>
                <a:gd name="T0" fmla="*/ 0 w 7"/>
                <a:gd name="T1" fmla="*/ 2 h 5"/>
                <a:gd name="T2" fmla="*/ 2 w 7"/>
                <a:gd name="T3" fmla="*/ 5 h 5"/>
                <a:gd name="T4" fmla="*/ 5 w 7"/>
                <a:gd name="T5" fmla="*/ 2 h 5"/>
                <a:gd name="T6" fmla="*/ 5 w 7"/>
                <a:gd name="T7" fmla="*/ 5 h 5"/>
                <a:gd name="T8" fmla="*/ 7 w 7"/>
                <a:gd name="T9" fmla="*/ 2 h 5"/>
                <a:gd name="T10" fmla="*/ 5 w 7"/>
                <a:gd name="T11" fmla="*/ 2 h 5"/>
                <a:gd name="T12" fmla="*/ 5 w 7"/>
                <a:gd name="T13" fmla="*/ 2 h 5"/>
                <a:gd name="T14" fmla="*/ 5 w 7"/>
                <a:gd name="T15" fmla="*/ 2 h 5"/>
                <a:gd name="T16" fmla="*/ 5 w 7"/>
                <a:gd name="T17" fmla="*/ 0 h 5"/>
                <a:gd name="T18" fmla="*/ 2 w 7"/>
                <a:gd name="T19" fmla="*/ 2 h 5"/>
                <a:gd name="T20" fmla="*/ 0 w 7"/>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0" y="2"/>
                  </a:moveTo>
                  <a:lnTo>
                    <a:pt x="2" y="5"/>
                  </a:lnTo>
                  <a:lnTo>
                    <a:pt x="5" y="2"/>
                  </a:lnTo>
                  <a:lnTo>
                    <a:pt x="5" y="5"/>
                  </a:lnTo>
                  <a:lnTo>
                    <a:pt x="7" y="2"/>
                  </a:lnTo>
                  <a:lnTo>
                    <a:pt x="5" y="2"/>
                  </a:lnTo>
                  <a:lnTo>
                    <a:pt x="5" y="2"/>
                  </a:lnTo>
                  <a:lnTo>
                    <a:pt x="5" y="2"/>
                  </a:lnTo>
                  <a:lnTo>
                    <a:pt x="5" y="0"/>
                  </a:lnTo>
                  <a:lnTo>
                    <a:pt x="2"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1" name="Freeform 383">
              <a:extLst>
                <a:ext uri="{FF2B5EF4-FFF2-40B4-BE49-F238E27FC236}">
                  <a16:creationId xmlns:a16="http://schemas.microsoft.com/office/drawing/2014/main" id="{50B8B1A9-161A-4CF4-8177-2A52F8EF061D}"/>
                </a:ext>
              </a:extLst>
            </p:cNvPr>
            <p:cNvSpPr>
              <a:spLocks/>
            </p:cNvSpPr>
            <p:nvPr/>
          </p:nvSpPr>
          <p:spPr bwMode="auto">
            <a:xfrm>
              <a:off x="2759914" y="3840129"/>
              <a:ext cx="11113" cy="7938"/>
            </a:xfrm>
            <a:custGeom>
              <a:avLst/>
              <a:gdLst>
                <a:gd name="T0" fmla="*/ 0 w 7"/>
                <a:gd name="T1" fmla="*/ 2 h 5"/>
                <a:gd name="T2" fmla="*/ 2 w 7"/>
                <a:gd name="T3" fmla="*/ 5 h 5"/>
                <a:gd name="T4" fmla="*/ 5 w 7"/>
                <a:gd name="T5" fmla="*/ 2 h 5"/>
                <a:gd name="T6" fmla="*/ 5 w 7"/>
                <a:gd name="T7" fmla="*/ 5 h 5"/>
                <a:gd name="T8" fmla="*/ 7 w 7"/>
                <a:gd name="T9" fmla="*/ 2 h 5"/>
                <a:gd name="T10" fmla="*/ 5 w 7"/>
                <a:gd name="T11" fmla="*/ 2 h 5"/>
                <a:gd name="T12" fmla="*/ 5 w 7"/>
                <a:gd name="T13" fmla="*/ 2 h 5"/>
                <a:gd name="T14" fmla="*/ 5 w 7"/>
                <a:gd name="T15" fmla="*/ 2 h 5"/>
                <a:gd name="T16" fmla="*/ 5 w 7"/>
                <a:gd name="T17" fmla="*/ 0 h 5"/>
                <a:gd name="T18" fmla="*/ 2 w 7"/>
                <a:gd name="T19" fmla="*/ 2 h 5"/>
                <a:gd name="T20" fmla="*/ 0 w 7"/>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0" y="2"/>
                  </a:moveTo>
                  <a:lnTo>
                    <a:pt x="2" y="5"/>
                  </a:lnTo>
                  <a:lnTo>
                    <a:pt x="5" y="2"/>
                  </a:lnTo>
                  <a:lnTo>
                    <a:pt x="5" y="5"/>
                  </a:lnTo>
                  <a:lnTo>
                    <a:pt x="7" y="2"/>
                  </a:lnTo>
                  <a:lnTo>
                    <a:pt x="5" y="2"/>
                  </a:lnTo>
                  <a:lnTo>
                    <a:pt x="5" y="2"/>
                  </a:lnTo>
                  <a:lnTo>
                    <a:pt x="5" y="2"/>
                  </a:lnTo>
                  <a:lnTo>
                    <a:pt x="5" y="0"/>
                  </a:lnTo>
                  <a:lnTo>
                    <a:pt x="2"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2" name="Freeform 384">
              <a:extLst>
                <a:ext uri="{FF2B5EF4-FFF2-40B4-BE49-F238E27FC236}">
                  <a16:creationId xmlns:a16="http://schemas.microsoft.com/office/drawing/2014/main" id="{C5EFE0D7-06FC-4281-AD92-D12B75E9370F}"/>
                </a:ext>
              </a:extLst>
            </p:cNvPr>
            <p:cNvSpPr>
              <a:spLocks/>
            </p:cNvSpPr>
            <p:nvPr/>
          </p:nvSpPr>
          <p:spPr bwMode="auto">
            <a:xfrm>
              <a:off x="2456702" y="4151280"/>
              <a:ext cx="3175" cy="3175"/>
            </a:xfrm>
            <a:custGeom>
              <a:avLst/>
              <a:gdLst>
                <a:gd name="T0" fmla="*/ 2 w 2"/>
                <a:gd name="T1" fmla="*/ 0 h 2"/>
                <a:gd name="T2" fmla="*/ 2 w 2"/>
                <a:gd name="T3" fmla="*/ 0 h 2"/>
                <a:gd name="T4" fmla="*/ 0 w 2"/>
                <a:gd name="T5" fmla="*/ 2 h 2"/>
                <a:gd name="T6" fmla="*/ 2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2" y="0"/>
                  </a:lnTo>
                  <a:lnTo>
                    <a:pt x="2" y="0"/>
                  </a:lnTo>
                  <a:lnTo>
                    <a:pt x="2"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3" name="Freeform 385">
              <a:extLst>
                <a:ext uri="{FF2B5EF4-FFF2-40B4-BE49-F238E27FC236}">
                  <a16:creationId xmlns:a16="http://schemas.microsoft.com/office/drawing/2014/main" id="{8A932FFE-47D8-40C6-9914-D8CD39FADAD2}"/>
                </a:ext>
              </a:extLst>
            </p:cNvPr>
            <p:cNvSpPr>
              <a:spLocks/>
            </p:cNvSpPr>
            <p:nvPr/>
          </p:nvSpPr>
          <p:spPr bwMode="auto">
            <a:xfrm>
              <a:off x="2456702" y="4151280"/>
              <a:ext cx="3175" cy="3175"/>
            </a:xfrm>
            <a:custGeom>
              <a:avLst/>
              <a:gdLst>
                <a:gd name="T0" fmla="*/ 2 w 2"/>
                <a:gd name="T1" fmla="*/ 0 h 2"/>
                <a:gd name="T2" fmla="*/ 2 w 2"/>
                <a:gd name="T3" fmla="*/ 0 h 2"/>
                <a:gd name="T4" fmla="*/ 0 w 2"/>
                <a:gd name="T5" fmla="*/ 2 h 2"/>
                <a:gd name="T6" fmla="*/ 2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2" y="0"/>
                  </a:lnTo>
                  <a:lnTo>
                    <a:pt x="2" y="0"/>
                  </a:lnTo>
                  <a:lnTo>
                    <a:pt x="2"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4" name="Freeform 386">
              <a:extLst>
                <a:ext uri="{FF2B5EF4-FFF2-40B4-BE49-F238E27FC236}">
                  <a16:creationId xmlns:a16="http://schemas.microsoft.com/office/drawing/2014/main" id="{B2466FC6-28D8-40C0-85DC-2B2F0551AC2C}"/>
                </a:ext>
              </a:extLst>
            </p:cNvPr>
            <p:cNvSpPr>
              <a:spLocks/>
            </p:cNvSpPr>
            <p:nvPr/>
          </p:nvSpPr>
          <p:spPr bwMode="auto">
            <a:xfrm>
              <a:off x="2456702" y="4143341"/>
              <a:ext cx="3175" cy="4763"/>
            </a:xfrm>
            <a:custGeom>
              <a:avLst/>
              <a:gdLst>
                <a:gd name="T0" fmla="*/ 0 w 2"/>
                <a:gd name="T1" fmla="*/ 0 h 3"/>
                <a:gd name="T2" fmla="*/ 2 w 2"/>
                <a:gd name="T3" fmla="*/ 0 h 3"/>
                <a:gd name="T4" fmla="*/ 2 w 2"/>
                <a:gd name="T5" fmla="*/ 3 h 3"/>
                <a:gd name="T6" fmla="*/ 2 w 2"/>
                <a:gd name="T7" fmla="*/ 0 h 3"/>
                <a:gd name="T8" fmla="*/ 2 w 2"/>
                <a:gd name="T9" fmla="*/ 0 h 3"/>
                <a:gd name="T10" fmla="*/ 2 w 2"/>
                <a:gd name="T11" fmla="*/ 0 h 3"/>
                <a:gd name="T12" fmla="*/ 2 w 2"/>
                <a:gd name="T13" fmla="*/ 0 h 3"/>
                <a:gd name="T14" fmla="*/ 0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0"/>
                  </a:moveTo>
                  <a:lnTo>
                    <a:pt x="2" y="0"/>
                  </a:lnTo>
                  <a:lnTo>
                    <a:pt x="2" y="3"/>
                  </a:lnTo>
                  <a:lnTo>
                    <a:pt x="2" y="0"/>
                  </a:lnTo>
                  <a:lnTo>
                    <a:pt x="2" y="0"/>
                  </a:lnTo>
                  <a:lnTo>
                    <a:pt x="2" y="0"/>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5" name="Freeform 387">
              <a:extLst>
                <a:ext uri="{FF2B5EF4-FFF2-40B4-BE49-F238E27FC236}">
                  <a16:creationId xmlns:a16="http://schemas.microsoft.com/office/drawing/2014/main" id="{EC8ABBAB-1F03-4DBF-8A06-F0A9FFB8DB65}"/>
                </a:ext>
              </a:extLst>
            </p:cNvPr>
            <p:cNvSpPr>
              <a:spLocks/>
            </p:cNvSpPr>
            <p:nvPr/>
          </p:nvSpPr>
          <p:spPr bwMode="auto">
            <a:xfrm>
              <a:off x="2456702" y="4143341"/>
              <a:ext cx="3175" cy="4763"/>
            </a:xfrm>
            <a:custGeom>
              <a:avLst/>
              <a:gdLst>
                <a:gd name="T0" fmla="*/ 0 w 2"/>
                <a:gd name="T1" fmla="*/ 0 h 3"/>
                <a:gd name="T2" fmla="*/ 2 w 2"/>
                <a:gd name="T3" fmla="*/ 0 h 3"/>
                <a:gd name="T4" fmla="*/ 2 w 2"/>
                <a:gd name="T5" fmla="*/ 3 h 3"/>
                <a:gd name="T6" fmla="*/ 2 w 2"/>
                <a:gd name="T7" fmla="*/ 0 h 3"/>
                <a:gd name="T8" fmla="*/ 2 w 2"/>
                <a:gd name="T9" fmla="*/ 0 h 3"/>
                <a:gd name="T10" fmla="*/ 2 w 2"/>
                <a:gd name="T11" fmla="*/ 0 h 3"/>
                <a:gd name="T12" fmla="*/ 2 w 2"/>
                <a:gd name="T13" fmla="*/ 0 h 3"/>
                <a:gd name="T14" fmla="*/ 0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0"/>
                  </a:moveTo>
                  <a:lnTo>
                    <a:pt x="2" y="0"/>
                  </a:lnTo>
                  <a:lnTo>
                    <a:pt x="2" y="3"/>
                  </a:lnTo>
                  <a:lnTo>
                    <a:pt x="2" y="0"/>
                  </a:lnTo>
                  <a:lnTo>
                    <a:pt x="2" y="0"/>
                  </a:lnTo>
                  <a:lnTo>
                    <a:pt x="2" y="0"/>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6" name="Freeform 388">
              <a:extLst>
                <a:ext uri="{FF2B5EF4-FFF2-40B4-BE49-F238E27FC236}">
                  <a16:creationId xmlns:a16="http://schemas.microsoft.com/office/drawing/2014/main" id="{D596C600-C1A5-45E5-A303-F91BEC211B45}"/>
                </a:ext>
              </a:extLst>
            </p:cNvPr>
            <p:cNvSpPr>
              <a:spLocks/>
            </p:cNvSpPr>
            <p:nvPr/>
          </p:nvSpPr>
          <p:spPr bwMode="auto">
            <a:xfrm>
              <a:off x="2451940" y="4102067"/>
              <a:ext cx="4763" cy="4763"/>
            </a:xfrm>
            <a:custGeom>
              <a:avLst/>
              <a:gdLst>
                <a:gd name="T0" fmla="*/ 0 w 3"/>
                <a:gd name="T1" fmla="*/ 3 h 3"/>
                <a:gd name="T2" fmla="*/ 0 w 3"/>
                <a:gd name="T3" fmla="*/ 3 h 3"/>
                <a:gd name="T4" fmla="*/ 3 w 3"/>
                <a:gd name="T5" fmla="*/ 0 h 3"/>
                <a:gd name="T6" fmla="*/ 3 w 3"/>
                <a:gd name="T7" fmla="*/ 0 h 3"/>
                <a:gd name="T8" fmla="*/ 0 w 3"/>
                <a:gd name="T9" fmla="*/ 0 h 3"/>
                <a:gd name="T10" fmla="*/ 0 w 3"/>
                <a:gd name="T11" fmla="*/ 0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0" y="3"/>
                  </a:lnTo>
                  <a:lnTo>
                    <a:pt x="3" y="0"/>
                  </a:lnTo>
                  <a:lnTo>
                    <a:pt x="3" y="0"/>
                  </a:lnTo>
                  <a:lnTo>
                    <a:pt x="0" y="0"/>
                  </a:lnTo>
                  <a:lnTo>
                    <a:pt x="0" y="0"/>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7" name="Freeform 389">
              <a:extLst>
                <a:ext uri="{FF2B5EF4-FFF2-40B4-BE49-F238E27FC236}">
                  <a16:creationId xmlns:a16="http://schemas.microsoft.com/office/drawing/2014/main" id="{610A9CCF-6BED-4B5E-9C71-46B23567295C}"/>
                </a:ext>
              </a:extLst>
            </p:cNvPr>
            <p:cNvSpPr>
              <a:spLocks/>
            </p:cNvSpPr>
            <p:nvPr/>
          </p:nvSpPr>
          <p:spPr bwMode="auto">
            <a:xfrm>
              <a:off x="2451940" y="4102067"/>
              <a:ext cx="4763" cy="4763"/>
            </a:xfrm>
            <a:custGeom>
              <a:avLst/>
              <a:gdLst>
                <a:gd name="T0" fmla="*/ 0 w 3"/>
                <a:gd name="T1" fmla="*/ 3 h 3"/>
                <a:gd name="T2" fmla="*/ 0 w 3"/>
                <a:gd name="T3" fmla="*/ 3 h 3"/>
                <a:gd name="T4" fmla="*/ 3 w 3"/>
                <a:gd name="T5" fmla="*/ 0 h 3"/>
                <a:gd name="T6" fmla="*/ 3 w 3"/>
                <a:gd name="T7" fmla="*/ 0 h 3"/>
                <a:gd name="T8" fmla="*/ 0 w 3"/>
                <a:gd name="T9" fmla="*/ 0 h 3"/>
                <a:gd name="T10" fmla="*/ 0 w 3"/>
                <a:gd name="T11" fmla="*/ 0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0" y="3"/>
                  </a:lnTo>
                  <a:lnTo>
                    <a:pt x="3" y="0"/>
                  </a:lnTo>
                  <a:lnTo>
                    <a:pt x="3" y="0"/>
                  </a:lnTo>
                  <a:lnTo>
                    <a:pt x="0" y="0"/>
                  </a:lnTo>
                  <a:lnTo>
                    <a:pt x="0" y="0"/>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8" name="Freeform 491">
              <a:extLst>
                <a:ext uri="{FF2B5EF4-FFF2-40B4-BE49-F238E27FC236}">
                  <a16:creationId xmlns:a16="http://schemas.microsoft.com/office/drawing/2014/main" id="{76D29D83-890C-4407-BF62-080DBB5B1225}"/>
                </a:ext>
              </a:extLst>
            </p:cNvPr>
            <p:cNvSpPr>
              <a:spLocks/>
            </p:cNvSpPr>
            <p:nvPr/>
          </p:nvSpPr>
          <p:spPr bwMode="auto">
            <a:xfrm>
              <a:off x="2861514" y="5092667"/>
              <a:ext cx="11113" cy="14288"/>
            </a:xfrm>
            <a:custGeom>
              <a:avLst/>
              <a:gdLst>
                <a:gd name="T0" fmla="*/ 2 w 7"/>
                <a:gd name="T1" fmla="*/ 2 h 9"/>
                <a:gd name="T2" fmla="*/ 2 w 7"/>
                <a:gd name="T3" fmla="*/ 0 h 9"/>
                <a:gd name="T4" fmla="*/ 5 w 7"/>
                <a:gd name="T5" fmla="*/ 0 h 9"/>
                <a:gd name="T6" fmla="*/ 7 w 7"/>
                <a:gd name="T7" fmla="*/ 2 h 9"/>
                <a:gd name="T8" fmla="*/ 7 w 7"/>
                <a:gd name="T9" fmla="*/ 5 h 9"/>
                <a:gd name="T10" fmla="*/ 7 w 7"/>
                <a:gd name="T11" fmla="*/ 7 h 9"/>
                <a:gd name="T12" fmla="*/ 5 w 7"/>
                <a:gd name="T13" fmla="*/ 9 h 9"/>
                <a:gd name="T14" fmla="*/ 2 w 7"/>
                <a:gd name="T15" fmla="*/ 9 h 9"/>
                <a:gd name="T16" fmla="*/ 0 w 7"/>
                <a:gd name="T17" fmla="*/ 7 h 9"/>
                <a:gd name="T18" fmla="*/ 2 w 7"/>
                <a:gd name="T19" fmla="*/ 2 h 9"/>
                <a:gd name="T20" fmla="*/ 2 w 7"/>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2" y="2"/>
                  </a:moveTo>
                  <a:lnTo>
                    <a:pt x="2" y="0"/>
                  </a:lnTo>
                  <a:lnTo>
                    <a:pt x="5" y="0"/>
                  </a:lnTo>
                  <a:lnTo>
                    <a:pt x="7" y="2"/>
                  </a:lnTo>
                  <a:lnTo>
                    <a:pt x="7" y="5"/>
                  </a:lnTo>
                  <a:lnTo>
                    <a:pt x="7" y="7"/>
                  </a:lnTo>
                  <a:lnTo>
                    <a:pt x="5" y="9"/>
                  </a:lnTo>
                  <a:lnTo>
                    <a:pt x="2" y="9"/>
                  </a:lnTo>
                  <a:lnTo>
                    <a:pt x="0" y="7"/>
                  </a:lnTo>
                  <a:lnTo>
                    <a:pt x="2" y="2"/>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79" name="Freeform 492">
              <a:extLst>
                <a:ext uri="{FF2B5EF4-FFF2-40B4-BE49-F238E27FC236}">
                  <a16:creationId xmlns:a16="http://schemas.microsoft.com/office/drawing/2014/main" id="{B4C1879B-AEA4-4338-93F7-089CA638BCCF}"/>
                </a:ext>
              </a:extLst>
            </p:cNvPr>
            <p:cNvSpPr>
              <a:spLocks/>
            </p:cNvSpPr>
            <p:nvPr/>
          </p:nvSpPr>
          <p:spPr bwMode="auto">
            <a:xfrm>
              <a:off x="2861514" y="5092667"/>
              <a:ext cx="11113" cy="14288"/>
            </a:xfrm>
            <a:custGeom>
              <a:avLst/>
              <a:gdLst>
                <a:gd name="T0" fmla="*/ 2 w 7"/>
                <a:gd name="T1" fmla="*/ 2 h 9"/>
                <a:gd name="T2" fmla="*/ 2 w 7"/>
                <a:gd name="T3" fmla="*/ 0 h 9"/>
                <a:gd name="T4" fmla="*/ 5 w 7"/>
                <a:gd name="T5" fmla="*/ 0 h 9"/>
                <a:gd name="T6" fmla="*/ 7 w 7"/>
                <a:gd name="T7" fmla="*/ 2 h 9"/>
                <a:gd name="T8" fmla="*/ 7 w 7"/>
                <a:gd name="T9" fmla="*/ 5 h 9"/>
                <a:gd name="T10" fmla="*/ 7 w 7"/>
                <a:gd name="T11" fmla="*/ 7 h 9"/>
                <a:gd name="T12" fmla="*/ 5 w 7"/>
                <a:gd name="T13" fmla="*/ 9 h 9"/>
                <a:gd name="T14" fmla="*/ 2 w 7"/>
                <a:gd name="T15" fmla="*/ 9 h 9"/>
                <a:gd name="T16" fmla="*/ 0 w 7"/>
                <a:gd name="T17" fmla="*/ 7 h 9"/>
                <a:gd name="T18" fmla="*/ 2 w 7"/>
                <a:gd name="T19" fmla="*/ 2 h 9"/>
                <a:gd name="T20" fmla="*/ 2 w 7"/>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2" y="2"/>
                  </a:moveTo>
                  <a:lnTo>
                    <a:pt x="2" y="0"/>
                  </a:lnTo>
                  <a:lnTo>
                    <a:pt x="5" y="0"/>
                  </a:lnTo>
                  <a:lnTo>
                    <a:pt x="7" y="2"/>
                  </a:lnTo>
                  <a:lnTo>
                    <a:pt x="7" y="5"/>
                  </a:lnTo>
                  <a:lnTo>
                    <a:pt x="7" y="7"/>
                  </a:lnTo>
                  <a:lnTo>
                    <a:pt x="5" y="9"/>
                  </a:lnTo>
                  <a:lnTo>
                    <a:pt x="2" y="9"/>
                  </a:lnTo>
                  <a:lnTo>
                    <a:pt x="0" y="7"/>
                  </a:lnTo>
                  <a:lnTo>
                    <a:pt x="2" y="2"/>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0" name="Freeform 493">
              <a:extLst>
                <a:ext uri="{FF2B5EF4-FFF2-40B4-BE49-F238E27FC236}">
                  <a16:creationId xmlns:a16="http://schemas.microsoft.com/office/drawing/2014/main" id="{F65A4E8A-0858-4785-98C1-5D489BC82C1B}"/>
                </a:ext>
              </a:extLst>
            </p:cNvPr>
            <p:cNvSpPr>
              <a:spLocks/>
            </p:cNvSpPr>
            <p:nvPr/>
          </p:nvSpPr>
          <p:spPr bwMode="auto">
            <a:xfrm>
              <a:off x="921593" y="4324317"/>
              <a:ext cx="12700" cy="3175"/>
            </a:xfrm>
            <a:custGeom>
              <a:avLst/>
              <a:gdLst>
                <a:gd name="T0" fmla="*/ 8 w 8"/>
                <a:gd name="T1" fmla="*/ 0 h 2"/>
                <a:gd name="T2" fmla="*/ 8 w 8"/>
                <a:gd name="T3" fmla="*/ 0 h 2"/>
                <a:gd name="T4" fmla="*/ 5 w 8"/>
                <a:gd name="T5" fmla="*/ 0 h 2"/>
                <a:gd name="T6" fmla="*/ 3 w 8"/>
                <a:gd name="T7" fmla="*/ 0 h 2"/>
                <a:gd name="T8" fmla="*/ 0 w 8"/>
                <a:gd name="T9" fmla="*/ 0 h 2"/>
                <a:gd name="T10" fmla="*/ 3 w 8"/>
                <a:gd name="T11" fmla="*/ 2 h 2"/>
                <a:gd name="T12" fmla="*/ 5 w 8"/>
                <a:gd name="T13" fmla="*/ 2 h 2"/>
                <a:gd name="T14" fmla="*/ 5 w 8"/>
                <a:gd name="T15" fmla="*/ 2 h 2"/>
                <a:gd name="T16" fmla="*/ 8 w 8"/>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
                  <a:moveTo>
                    <a:pt x="8" y="0"/>
                  </a:moveTo>
                  <a:lnTo>
                    <a:pt x="8" y="0"/>
                  </a:lnTo>
                  <a:lnTo>
                    <a:pt x="5" y="0"/>
                  </a:lnTo>
                  <a:lnTo>
                    <a:pt x="3" y="0"/>
                  </a:lnTo>
                  <a:lnTo>
                    <a:pt x="0" y="0"/>
                  </a:lnTo>
                  <a:lnTo>
                    <a:pt x="3" y="2"/>
                  </a:lnTo>
                  <a:lnTo>
                    <a:pt x="5" y="2"/>
                  </a:lnTo>
                  <a:lnTo>
                    <a:pt x="5" y="2"/>
                  </a:lnTo>
                  <a:lnTo>
                    <a:pt x="8"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1" name="Freeform 494">
              <a:extLst>
                <a:ext uri="{FF2B5EF4-FFF2-40B4-BE49-F238E27FC236}">
                  <a16:creationId xmlns:a16="http://schemas.microsoft.com/office/drawing/2014/main" id="{7741F1E3-B1B0-47D4-9C20-B03E3C004609}"/>
                </a:ext>
              </a:extLst>
            </p:cNvPr>
            <p:cNvSpPr>
              <a:spLocks/>
            </p:cNvSpPr>
            <p:nvPr/>
          </p:nvSpPr>
          <p:spPr bwMode="auto">
            <a:xfrm>
              <a:off x="921593" y="4324317"/>
              <a:ext cx="12700" cy="3175"/>
            </a:xfrm>
            <a:custGeom>
              <a:avLst/>
              <a:gdLst>
                <a:gd name="T0" fmla="*/ 8 w 8"/>
                <a:gd name="T1" fmla="*/ 0 h 2"/>
                <a:gd name="T2" fmla="*/ 8 w 8"/>
                <a:gd name="T3" fmla="*/ 0 h 2"/>
                <a:gd name="T4" fmla="*/ 5 w 8"/>
                <a:gd name="T5" fmla="*/ 0 h 2"/>
                <a:gd name="T6" fmla="*/ 3 w 8"/>
                <a:gd name="T7" fmla="*/ 0 h 2"/>
                <a:gd name="T8" fmla="*/ 0 w 8"/>
                <a:gd name="T9" fmla="*/ 0 h 2"/>
                <a:gd name="T10" fmla="*/ 3 w 8"/>
                <a:gd name="T11" fmla="*/ 2 h 2"/>
                <a:gd name="T12" fmla="*/ 5 w 8"/>
                <a:gd name="T13" fmla="*/ 2 h 2"/>
                <a:gd name="T14" fmla="*/ 5 w 8"/>
                <a:gd name="T15" fmla="*/ 2 h 2"/>
                <a:gd name="T16" fmla="*/ 8 w 8"/>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
                  <a:moveTo>
                    <a:pt x="8" y="0"/>
                  </a:moveTo>
                  <a:lnTo>
                    <a:pt x="8" y="0"/>
                  </a:lnTo>
                  <a:lnTo>
                    <a:pt x="5" y="0"/>
                  </a:lnTo>
                  <a:lnTo>
                    <a:pt x="3" y="0"/>
                  </a:lnTo>
                  <a:lnTo>
                    <a:pt x="0" y="0"/>
                  </a:lnTo>
                  <a:lnTo>
                    <a:pt x="3" y="2"/>
                  </a:lnTo>
                  <a:lnTo>
                    <a:pt x="5" y="2"/>
                  </a:lnTo>
                  <a:lnTo>
                    <a:pt x="5" y="2"/>
                  </a:lnTo>
                  <a:lnTo>
                    <a:pt x="8"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2" name="Freeform 495">
              <a:extLst>
                <a:ext uri="{FF2B5EF4-FFF2-40B4-BE49-F238E27FC236}">
                  <a16:creationId xmlns:a16="http://schemas.microsoft.com/office/drawing/2014/main" id="{12917C94-41DB-4E36-84DA-151FD0AD18D9}"/>
                </a:ext>
              </a:extLst>
            </p:cNvPr>
            <p:cNvSpPr>
              <a:spLocks/>
            </p:cNvSpPr>
            <p:nvPr/>
          </p:nvSpPr>
          <p:spPr bwMode="auto">
            <a:xfrm>
              <a:off x="2377328" y="4665630"/>
              <a:ext cx="7938" cy="14288"/>
            </a:xfrm>
            <a:custGeom>
              <a:avLst/>
              <a:gdLst>
                <a:gd name="T0" fmla="*/ 2 w 5"/>
                <a:gd name="T1" fmla="*/ 2 h 9"/>
                <a:gd name="T2" fmla="*/ 5 w 5"/>
                <a:gd name="T3" fmla="*/ 4 h 9"/>
                <a:gd name="T4" fmla="*/ 2 w 5"/>
                <a:gd name="T5" fmla="*/ 9 h 9"/>
                <a:gd name="T6" fmla="*/ 0 w 5"/>
                <a:gd name="T7" fmla="*/ 7 h 9"/>
                <a:gd name="T8" fmla="*/ 0 w 5"/>
                <a:gd name="T9" fmla="*/ 4 h 9"/>
                <a:gd name="T10" fmla="*/ 0 w 5"/>
                <a:gd name="T11" fmla="*/ 0 h 9"/>
                <a:gd name="T12" fmla="*/ 2 w 5"/>
                <a:gd name="T13" fmla="*/ 0 h 9"/>
                <a:gd name="T14" fmla="*/ 2 w 5"/>
                <a:gd name="T15" fmla="*/ 0 h 9"/>
                <a:gd name="T16" fmla="*/ 2 w 5"/>
                <a:gd name="T17" fmla="*/ 4 h 9"/>
                <a:gd name="T18" fmla="*/ 2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2" y="2"/>
                  </a:moveTo>
                  <a:lnTo>
                    <a:pt x="5" y="4"/>
                  </a:lnTo>
                  <a:lnTo>
                    <a:pt x="2" y="9"/>
                  </a:lnTo>
                  <a:lnTo>
                    <a:pt x="0" y="7"/>
                  </a:lnTo>
                  <a:lnTo>
                    <a:pt x="0" y="4"/>
                  </a:lnTo>
                  <a:lnTo>
                    <a:pt x="0" y="0"/>
                  </a:lnTo>
                  <a:lnTo>
                    <a:pt x="2" y="0"/>
                  </a:lnTo>
                  <a:lnTo>
                    <a:pt x="2" y="0"/>
                  </a:lnTo>
                  <a:lnTo>
                    <a:pt x="2" y="4"/>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3" name="Freeform 496">
              <a:extLst>
                <a:ext uri="{FF2B5EF4-FFF2-40B4-BE49-F238E27FC236}">
                  <a16:creationId xmlns:a16="http://schemas.microsoft.com/office/drawing/2014/main" id="{E6DE19A1-CA58-4388-BE3F-A185603046F1}"/>
                </a:ext>
              </a:extLst>
            </p:cNvPr>
            <p:cNvSpPr>
              <a:spLocks/>
            </p:cNvSpPr>
            <p:nvPr/>
          </p:nvSpPr>
          <p:spPr bwMode="auto">
            <a:xfrm>
              <a:off x="2377328" y="4665630"/>
              <a:ext cx="7938" cy="14288"/>
            </a:xfrm>
            <a:custGeom>
              <a:avLst/>
              <a:gdLst>
                <a:gd name="T0" fmla="*/ 2 w 5"/>
                <a:gd name="T1" fmla="*/ 2 h 9"/>
                <a:gd name="T2" fmla="*/ 5 w 5"/>
                <a:gd name="T3" fmla="*/ 4 h 9"/>
                <a:gd name="T4" fmla="*/ 2 w 5"/>
                <a:gd name="T5" fmla="*/ 9 h 9"/>
                <a:gd name="T6" fmla="*/ 0 w 5"/>
                <a:gd name="T7" fmla="*/ 7 h 9"/>
                <a:gd name="T8" fmla="*/ 0 w 5"/>
                <a:gd name="T9" fmla="*/ 4 h 9"/>
                <a:gd name="T10" fmla="*/ 0 w 5"/>
                <a:gd name="T11" fmla="*/ 0 h 9"/>
                <a:gd name="T12" fmla="*/ 2 w 5"/>
                <a:gd name="T13" fmla="*/ 0 h 9"/>
                <a:gd name="T14" fmla="*/ 2 w 5"/>
                <a:gd name="T15" fmla="*/ 0 h 9"/>
                <a:gd name="T16" fmla="*/ 2 w 5"/>
                <a:gd name="T17" fmla="*/ 4 h 9"/>
                <a:gd name="T18" fmla="*/ 2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2" y="2"/>
                  </a:moveTo>
                  <a:lnTo>
                    <a:pt x="5" y="4"/>
                  </a:lnTo>
                  <a:lnTo>
                    <a:pt x="2" y="9"/>
                  </a:lnTo>
                  <a:lnTo>
                    <a:pt x="0" y="7"/>
                  </a:lnTo>
                  <a:lnTo>
                    <a:pt x="0" y="4"/>
                  </a:lnTo>
                  <a:lnTo>
                    <a:pt x="0" y="0"/>
                  </a:lnTo>
                  <a:lnTo>
                    <a:pt x="2" y="0"/>
                  </a:lnTo>
                  <a:lnTo>
                    <a:pt x="2" y="0"/>
                  </a:lnTo>
                  <a:lnTo>
                    <a:pt x="2" y="4"/>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4" name="Freeform 497">
              <a:extLst>
                <a:ext uri="{FF2B5EF4-FFF2-40B4-BE49-F238E27FC236}">
                  <a16:creationId xmlns:a16="http://schemas.microsoft.com/office/drawing/2014/main" id="{D10AFD32-7A58-40B8-80B2-38BDE4049050}"/>
                </a:ext>
              </a:extLst>
            </p:cNvPr>
            <p:cNvSpPr>
              <a:spLocks/>
            </p:cNvSpPr>
            <p:nvPr/>
          </p:nvSpPr>
          <p:spPr bwMode="auto">
            <a:xfrm>
              <a:off x="2366215" y="4687855"/>
              <a:ext cx="7938" cy="19050"/>
            </a:xfrm>
            <a:custGeom>
              <a:avLst/>
              <a:gdLst>
                <a:gd name="T0" fmla="*/ 2 w 5"/>
                <a:gd name="T1" fmla="*/ 0 h 12"/>
                <a:gd name="T2" fmla="*/ 2 w 5"/>
                <a:gd name="T3" fmla="*/ 4 h 12"/>
                <a:gd name="T4" fmla="*/ 2 w 5"/>
                <a:gd name="T5" fmla="*/ 7 h 12"/>
                <a:gd name="T6" fmla="*/ 2 w 5"/>
                <a:gd name="T7" fmla="*/ 9 h 12"/>
                <a:gd name="T8" fmla="*/ 5 w 5"/>
                <a:gd name="T9" fmla="*/ 9 h 12"/>
                <a:gd name="T10" fmla="*/ 5 w 5"/>
                <a:gd name="T11" fmla="*/ 12 h 12"/>
                <a:gd name="T12" fmla="*/ 0 w 5"/>
                <a:gd name="T13" fmla="*/ 9 h 12"/>
                <a:gd name="T14" fmla="*/ 0 w 5"/>
                <a:gd name="T15" fmla="*/ 2 h 12"/>
                <a:gd name="T16" fmla="*/ 0 w 5"/>
                <a:gd name="T17" fmla="*/ 0 h 12"/>
                <a:gd name="T18" fmla="*/ 2 w 5"/>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2">
                  <a:moveTo>
                    <a:pt x="2" y="0"/>
                  </a:moveTo>
                  <a:lnTo>
                    <a:pt x="2" y="4"/>
                  </a:lnTo>
                  <a:lnTo>
                    <a:pt x="2" y="7"/>
                  </a:lnTo>
                  <a:lnTo>
                    <a:pt x="2" y="9"/>
                  </a:lnTo>
                  <a:lnTo>
                    <a:pt x="5" y="9"/>
                  </a:lnTo>
                  <a:lnTo>
                    <a:pt x="5" y="12"/>
                  </a:lnTo>
                  <a:lnTo>
                    <a:pt x="0" y="9"/>
                  </a:lnTo>
                  <a:lnTo>
                    <a:pt x="0" y="2"/>
                  </a:lnTo>
                  <a:lnTo>
                    <a:pt x="0"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5" name="Freeform 498">
              <a:extLst>
                <a:ext uri="{FF2B5EF4-FFF2-40B4-BE49-F238E27FC236}">
                  <a16:creationId xmlns:a16="http://schemas.microsoft.com/office/drawing/2014/main" id="{CCBF4D92-ED6E-4CF2-9947-0EFEC2355118}"/>
                </a:ext>
              </a:extLst>
            </p:cNvPr>
            <p:cNvSpPr>
              <a:spLocks/>
            </p:cNvSpPr>
            <p:nvPr/>
          </p:nvSpPr>
          <p:spPr bwMode="auto">
            <a:xfrm>
              <a:off x="2366215" y="4687855"/>
              <a:ext cx="7938" cy="19050"/>
            </a:xfrm>
            <a:custGeom>
              <a:avLst/>
              <a:gdLst>
                <a:gd name="T0" fmla="*/ 2 w 5"/>
                <a:gd name="T1" fmla="*/ 0 h 12"/>
                <a:gd name="T2" fmla="*/ 2 w 5"/>
                <a:gd name="T3" fmla="*/ 4 h 12"/>
                <a:gd name="T4" fmla="*/ 2 w 5"/>
                <a:gd name="T5" fmla="*/ 7 h 12"/>
                <a:gd name="T6" fmla="*/ 2 w 5"/>
                <a:gd name="T7" fmla="*/ 9 h 12"/>
                <a:gd name="T8" fmla="*/ 5 w 5"/>
                <a:gd name="T9" fmla="*/ 9 h 12"/>
                <a:gd name="T10" fmla="*/ 5 w 5"/>
                <a:gd name="T11" fmla="*/ 12 h 12"/>
                <a:gd name="T12" fmla="*/ 0 w 5"/>
                <a:gd name="T13" fmla="*/ 9 h 12"/>
                <a:gd name="T14" fmla="*/ 0 w 5"/>
                <a:gd name="T15" fmla="*/ 2 h 12"/>
                <a:gd name="T16" fmla="*/ 0 w 5"/>
                <a:gd name="T17" fmla="*/ 0 h 12"/>
                <a:gd name="T18" fmla="*/ 2 w 5"/>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2">
                  <a:moveTo>
                    <a:pt x="2" y="0"/>
                  </a:moveTo>
                  <a:lnTo>
                    <a:pt x="2" y="4"/>
                  </a:lnTo>
                  <a:lnTo>
                    <a:pt x="2" y="7"/>
                  </a:lnTo>
                  <a:lnTo>
                    <a:pt x="2" y="9"/>
                  </a:lnTo>
                  <a:lnTo>
                    <a:pt x="5" y="9"/>
                  </a:lnTo>
                  <a:lnTo>
                    <a:pt x="5" y="12"/>
                  </a:lnTo>
                  <a:lnTo>
                    <a:pt x="0" y="9"/>
                  </a:lnTo>
                  <a:lnTo>
                    <a:pt x="0" y="2"/>
                  </a:lnTo>
                  <a:lnTo>
                    <a:pt x="0"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6" name="Freeform 499">
              <a:extLst>
                <a:ext uri="{FF2B5EF4-FFF2-40B4-BE49-F238E27FC236}">
                  <a16:creationId xmlns:a16="http://schemas.microsoft.com/office/drawing/2014/main" id="{E4EF518A-065F-41BE-9F51-E75088764F55}"/>
                </a:ext>
              </a:extLst>
            </p:cNvPr>
            <p:cNvSpPr>
              <a:spLocks/>
            </p:cNvSpPr>
            <p:nvPr/>
          </p:nvSpPr>
          <p:spPr bwMode="auto">
            <a:xfrm>
              <a:off x="2718640" y="4192555"/>
              <a:ext cx="11113" cy="3175"/>
            </a:xfrm>
            <a:custGeom>
              <a:avLst/>
              <a:gdLst>
                <a:gd name="T0" fmla="*/ 2 w 7"/>
                <a:gd name="T1" fmla="*/ 0 h 2"/>
                <a:gd name="T2" fmla="*/ 2 w 7"/>
                <a:gd name="T3" fmla="*/ 0 h 2"/>
                <a:gd name="T4" fmla="*/ 5 w 7"/>
                <a:gd name="T5" fmla="*/ 0 h 2"/>
                <a:gd name="T6" fmla="*/ 5 w 7"/>
                <a:gd name="T7" fmla="*/ 0 h 2"/>
                <a:gd name="T8" fmla="*/ 7 w 7"/>
                <a:gd name="T9" fmla="*/ 2 h 2"/>
                <a:gd name="T10" fmla="*/ 7 w 7"/>
                <a:gd name="T11" fmla="*/ 0 h 2"/>
                <a:gd name="T12" fmla="*/ 7 w 7"/>
                <a:gd name="T13" fmla="*/ 0 h 2"/>
                <a:gd name="T14" fmla="*/ 5 w 7"/>
                <a:gd name="T15" fmla="*/ 0 h 2"/>
                <a:gd name="T16" fmla="*/ 2 w 7"/>
                <a:gd name="T17" fmla="*/ 0 h 2"/>
                <a:gd name="T18" fmla="*/ 0 w 7"/>
                <a:gd name="T19" fmla="*/ 0 h 2"/>
                <a:gd name="T20" fmla="*/ 2 w 7"/>
                <a:gd name="T21" fmla="*/ 0 h 2"/>
                <a:gd name="T22" fmla="*/ 2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2" y="0"/>
                  </a:moveTo>
                  <a:lnTo>
                    <a:pt x="2" y="0"/>
                  </a:lnTo>
                  <a:lnTo>
                    <a:pt x="5" y="0"/>
                  </a:lnTo>
                  <a:lnTo>
                    <a:pt x="5" y="0"/>
                  </a:lnTo>
                  <a:lnTo>
                    <a:pt x="7" y="2"/>
                  </a:lnTo>
                  <a:lnTo>
                    <a:pt x="7" y="0"/>
                  </a:lnTo>
                  <a:lnTo>
                    <a:pt x="7" y="0"/>
                  </a:lnTo>
                  <a:lnTo>
                    <a:pt x="5" y="0"/>
                  </a:lnTo>
                  <a:lnTo>
                    <a:pt x="2" y="0"/>
                  </a:lnTo>
                  <a:lnTo>
                    <a:pt x="0" y="0"/>
                  </a:lnTo>
                  <a:lnTo>
                    <a:pt x="2"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7" name="Freeform 500">
              <a:extLst>
                <a:ext uri="{FF2B5EF4-FFF2-40B4-BE49-F238E27FC236}">
                  <a16:creationId xmlns:a16="http://schemas.microsoft.com/office/drawing/2014/main" id="{FCCE24EF-69A7-48EE-AC43-E412084A19FD}"/>
                </a:ext>
              </a:extLst>
            </p:cNvPr>
            <p:cNvSpPr>
              <a:spLocks/>
            </p:cNvSpPr>
            <p:nvPr/>
          </p:nvSpPr>
          <p:spPr bwMode="auto">
            <a:xfrm>
              <a:off x="2718640" y="4192555"/>
              <a:ext cx="11113" cy="3175"/>
            </a:xfrm>
            <a:custGeom>
              <a:avLst/>
              <a:gdLst>
                <a:gd name="T0" fmla="*/ 2 w 7"/>
                <a:gd name="T1" fmla="*/ 0 h 2"/>
                <a:gd name="T2" fmla="*/ 2 w 7"/>
                <a:gd name="T3" fmla="*/ 0 h 2"/>
                <a:gd name="T4" fmla="*/ 5 w 7"/>
                <a:gd name="T5" fmla="*/ 0 h 2"/>
                <a:gd name="T6" fmla="*/ 5 w 7"/>
                <a:gd name="T7" fmla="*/ 0 h 2"/>
                <a:gd name="T8" fmla="*/ 7 w 7"/>
                <a:gd name="T9" fmla="*/ 2 h 2"/>
                <a:gd name="T10" fmla="*/ 7 w 7"/>
                <a:gd name="T11" fmla="*/ 0 h 2"/>
                <a:gd name="T12" fmla="*/ 7 w 7"/>
                <a:gd name="T13" fmla="*/ 0 h 2"/>
                <a:gd name="T14" fmla="*/ 5 w 7"/>
                <a:gd name="T15" fmla="*/ 0 h 2"/>
                <a:gd name="T16" fmla="*/ 2 w 7"/>
                <a:gd name="T17" fmla="*/ 0 h 2"/>
                <a:gd name="T18" fmla="*/ 0 w 7"/>
                <a:gd name="T19" fmla="*/ 0 h 2"/>
                <a:gd name="T20" fmla="*/ 2 w 7"/>
                <a:gd name="T21" fmla="*/ 0 h 2"/>
                <a:gd name="T22" fmla="*/ 2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2" y="0"/>
                  </a:moveTo>
                  <a:lnTo>
                    <a:pt x="2" y="0"/>
                  </a:lnTo>
                  <a:lnTo>
                    <a:pt x="5" y="0"/>
                  </a:lnTo>
                  <a:lnTo>
                    <a:pt x="5" y="0"/>
                  </a:lnTo>
                  <a:lnTo>
                    <a:pt x="7" y="2"/>
                  </a:lnTo>
                  <a:lnTo>
                    <a:pt x="7" y="0"/>
                  </a:lnTo>
                  <a:lnTo>
                    <a:pt x="7" y="0"/>
                  </a:lnTo>
                  <a:lnTo>
                    <a:pt x="5" y="0"/>
                  </a:lnTo>
                  <a:lnTo>
                    <a:pt x="2" y="0"/>
                  </a:lnTo>
                  <a:lnTo>
                    <a:pt x="0" y="0"/>
                  </a:lnTo>
                  <a:lnTo>
                    <a:pt x="2"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8" name="Freeform 501">
              <a:extLst>
                <a:ext uri="{FF2B5EF4-FFF2-40B4-BE49-F238E27FC236}">
                  <a16:creationId xmlns:a16="http://schemas.microsoft.com/office/drawing/2014/main" id="{4FA007FB-27C4-4DE4-B5E9-9F814298FEAA}"/>
                </a:ext>
              </a:extLst>
            </p:cNvPr>
            <p:cNvSpPr>
              <a:spLocks/>
            </p:cNvSpPr>
            <p:nvPr/>
          </p:nvSpPr>
          <p:spPr bwMode="auto">
            <a:xfrm>
              <a:off x="2756739" y="4178267"/>
              <a:ext cx="30163" cy="14288"/>
            </a:xfrm>
            <a:custGeom>
              <a:avLst/>
              <a:gdLst>
                <a:gd name="T0" fmla="*/ 16 w 19"/>
                <a:gd name="T1" fmla="*/ 2 h 9"/>
                <a:gd name="T2" fmla="*/ 19 w 19"/>
                <a:gd name="T3" fmla="*/ 2 h 9"/>
                <a:gd name="T4" fmla="*/ 19 w 19"/>
                <a:gd name="T5" fmla="*/ 4 h 9"/>
                <a:gd name="T6" fmla="*/ 16 w 19"/>
                <a:gd name="T7" fmla="*/ 7 h 9"/>
                <a:gd name="T8" fmla="*/ 14 w 19"/>
                <a:gd name="T9" fmla="*/ 7 h 9"/>
                <a:gd name="T10" fmla="*/ 9 w 19"/>
                <a:gd name="T11" fmla="*/ 9 h 9"/>
                <a:gd name="T12" fmla="*/ 2 w 19"/>
                <a:gd name="T13" fmla="*/ 7 h 9"/>
                <a:gd name="T14" fmla="*/ 0 w 19"/>
                <a:gd name="T15" fmla="*/ 4 h 9"/>
                <a:gd name="T16" fmla="*/ 0 w 19"/>
                <a:gd name="T17" fmla="*/ 2 h 9"/>
                <a:gd name="T18" fmla="*/ 2 w 19"/>
                <a:gd name="T19" fmla="*/ 0 h 9"/>
                <a:gd name="T20" fmla="*/ 4 w 19"/>
                <a:gd name="T21" fmla="*/ 2 h 9"/>
                <a:gd name="T22" fmla="*/ 7 w 19"/>
                <a:gd name="T23" fmla="*/ 2 h 9"/>
                <a:gd name="T24" fmla="*/ 11 w 19"/>
                <a:gd name="T25" fmla="*/ 2 h 9"/>
                <a:gd name="T26" fmla="*/ 16 w 19"/>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9">
                  <a:moveTo>
                    <a:pt x="16" y="2"/>
                  </a:moveTo>
                  <a:lnTo>
                    <a:pt x="19" y="2"/>
                  </a:lnTo>
                  <a:lnTo>
                    <a:pt x="19" y="4"/>
                  </a:lnTo>
                  <a:lnTo>
                    <a:pt x="16" y="7"/>
                  </a:lnTo>
                  <a:lnTo>
                    <a:pt x="14" y="7"/>
                  </a:lnTo>
                  <a:lnTo>
                    <a:pt x="9" y="9"/>
                  </a:lnTo>
                  <a:lnTo>
                    <a:pt x="2" y="7"/>
                  </a:lnTo>
                  <a:lnTo>
                    <a:pt x="0" y="4"/>
                  </a:lnTo>
                  <a:lnTo>
                    <a:pt x="0" y="2"/>
                  </a:lnTo>
                  <a:lnTo>
                    <a:pt x="2" y="0"/>
                  </a:lnTo>
                  <a:lnTo>
                    <a:pt x="4" y="2"/>
                  </a:lnTo>
                  <a:lnTo>
                    <a:pt x="7" y="2"/>
                  </a:lnTo>
                  <a:lnTo>
                    <a:pt x="11" y="2"/>
                  </a:lnTo>
                  <a:lnTo>
                    <a:pt x="16"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89" name="Freeform 502">
              <a:extLst>
                <a:ext uri="{FF2B5EF4-FFF2-40B4-BE49-F238E27FC236}">
                  <a16:creationId xmlns:a16="http://schemas.microsoft.com/office/drawing/2014/main" id="{5A6AF1D1-58C8-4D49-9589-617A4B0EF5EA}"/>
                </a:ext>
              </a:extLst>
            </p:cNvPr>
            <p:cNvSpPr>
              <a:spLocks/>
            </p:cNvSpPr>
            <p:nvPr/>
          </p:nvSpPr>
          <p:spPr bwMode="auto">
            <a:xfrm>
              <a:off x="2756739" y="4178267"/>
              <a:ext cx="30163" cy="14288"/>
            </a:xfrm>
            <a:custGeom>
              <a:avLst/>
              <a:gdLst>
                <a:gd name="T0" fmla="*/ 16 w 19"/>
                <a:gd name="T1" fmla="*/ 2 h 9"/>
                <a:gd name="T2" fmla="*/ 19 w 19"/>
                <a:gd name="T3" fmla="*/ 2 h 9"/>
                <a:gd name="T4" fmla="*/ 19 w 19"/>
                <a:gd name="T5" fmla="*/ 4 h 9"/>
                <a:gd name="T6" fmla="*/ 16 w 19"/>
                <a:gd name="T7" fmla="*/ 7 h 9"/>
                <a:gd name="T8" fmla="*/ 14 w 19"/>
                <a:gd name="T9" fmla="*/ 7 h 9"/>
                <a:gd name="T10" fmla="*/ 9 w 19"/>
                <a:gd name="T11" fmla="*/ 9 h 9"/>
                <a:gd name="T12" fmla="*/ 2 w 19"/>
                <a:gd name="T13" fmla="*/ 7 h 9"/>
                <a:gd name="T14" fmla="*/ 0 w 19"/>
                <a:gd name="T15" fmla="*/ 4 h 9"/>
                <a:gd name="T16" fmla="*/ 0 w 19"/>
                <a:gd name="T17" fmla="*/ 2 h 9"/>
                <a:gd name="T18" fmla="*/ 2 w 19"/>
                <a:gd name="T19" fmla="*/ 0 h 9"/>
                <a:gd name="T20" fmla="*/ 4 w 19"/>
                <a:gd name="T21" fmla="*/ 2 h 9"/>
                <a:gd name="T22" fmla="*/ 7 w 19"/>
                <a:gd name="T23" fmla="*/ 2 h 9"/>
                <a:gd name="T24" fmla="*/ 11 w 19"/>
                <a:gd name="T25" fmla="*/ 2 h 9"/>
                <a:gd name="T26" fmla="*/ 16 w 19"/>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9">
                  <a:moveTo>
                    <a:pt x="16" y="2"/>
                  </a:moveTo>
                  <a:lnTo>
                    <a:pt x="19" y="2"/>
                  </a:lnTo>
                  <a:lnTo>
                    <a:pt x="19" y="4"/>
                  </a:lnTo>
                  <a:lnTo>
                    <a:pt x="16" y="7"/>
                  </a:lnTo>
                  <a:lnTo>
                    <a:pt x="14" y="7"/>
                  </a:lnTo>
                  <a:lnTo>
                    <a:pt x="9" y="9"/>
                  </a:lnTo>
                  <a:lnTo>
                    <a:pt x="2" y="7"/>
                  </a:lnTo>
                  <a:lnTo>
                    <a:pt x="0" y="4"/>
                  </a:lnTo>
                  <a:lnTo>
                    <a:pt x="0" y="2"/>
                  </a:lnTo>
                  <a:lnTo>
                    <a:pt x="2" y="0"/>
                  </a:lnTo>
                  <a:lnTo>
                    <a:pt x="4" y="2"/>
                  </a:lnTo>
                  <a:lnTo>
                    <a:pt x="7" y="2"/>
                  </a:lnTo>
                  <a:lnTo>
                    <a:pt x="11" y="2"/>
                  </a:lnTo>
                  <a:lnTo>
                    <a:pt x="16"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0" name="Freeform 505">
              <a:extLst>
                <a:ext uri="{FF2B5EF4-FFF2-40B4-BE49-F238E27FC236}">
                  <a16:creationId xmlns:a16="http://schemas.microsoft.com/office/drawing/2014/main" id="{A42362EC-081D-45CE-B1E5-5DD4988DE2CE}"/>
                </a:ext>
              </a:extLst>
            </p:cNvPr>
            <p:cNvSpPr>
              <a:spLocks/>
            </p:cNvSpPr>
            <p:nvPr/>
          </p:nvSpPr>
          <p:spPr bwMode="auto">
            <a:xfrm>
              <a:off x="5077660" y="2700303"/>
              <a:ext cx="25399" cy="25400"/>
            </a:xfrm>
            <a:custGeom>
              <a:avLst/>
              <a:gdLst>
                <a:gd name="T0" fmla="*/ 0 w 16"/>
                <a:gd name="T1" fmla="*/ 12 h 16"/>
                <a:gd name="T2" fmla="*/ 0 w 16"/>
                <a:gd name="T3" fmla="*/ 14 h 16"/>
                <a:gd name="T4" fmla="*/ 2 w 16"/>
                <a:gd name="T5" fmla="*/ 12 h 16"/>
                <a:gd name="T6" fmla="*/ 5 w 16"/>
                <a:gd name="T7" fmla="*/ 14 h 16"/>
                <a:gd name="T8" fmla="*/ 7 w 16"/>
                <a:gd name="T9" fmla="*/ 16 h 16"/>
                <a:gd name="T10" fmla="*/ 7 w 16"/>
                <a:gd name="T11" fmla="*/ 16 h 16"/>
                <a:gd name="T12" fmla="*/ 12 w 16"/>
                <a:gd name="T13" fmla="*/ 14 h 16"/>
                <a:gd name="T14" fmla="*/ 12 w 16"/>
                <a:gd name="T15" fmla="*/ 12 h 16"/>
                <a:gd name="T16" fmla="*/ 14 w 16"/>
                <a:gd name="T17" fmla="*/ 7 h 16"/>
                <a:gd name="T18" fmla="*/ 16 w 16"/>
                <a:gd name="T19" fmla="*/ 5 h 16"/>
                <a:gd name="T20" fmla="*/ 12 w 16"/>
                <a:gd name="T21" fmla="*/ 2 h 16"/>
                <a:gd name="T22" fmla="*/ 7 w 16"/>
                <a:gd name="T23" fmla="*/ 0 h 16"/>
                <a:gd name="T24" fmla="*/ 5 w 16"/>
                <a:gd name="T25" fmla="*/ 7 h 16"/>
                <a:gd name="T26" fmla="*/ 0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0" y="12"/>
                  </a:moveTo>
                  <a:lnTo>
                    <a:pt x="0" y="14"/>
                  </a:lnTo>
                  <a:lnTo>
                    <a:pt x="2" y="12"/>
                  </a:lnTo>
                  <a:lnTo>
                    <a:pt x="5" y="14"/>
                  </a:lnTo>
                  <a:lnTo>
                    <a:pt x="7" y="16"/>
                  </a:lnTo>
                  <a:lnTo>
                    <a:pt x="7" y="16"/>
                  </a:lnTo>
                  <a:lnTo>
                    <a:pt x="12" y="14"/>
                  </a:lnTo>
                  <a:lnTo>
                    <a:pt x="12" y="12"/>
                  </a:lnTo>
                  <a:lnTo>
                    <a:pt x="14" y="7"/>
                  </a:lnTo>
                  <a:lnTo>
                    <a:pt x="16" y="5"/>
                  </a:lnTo>
                  <a:lnTo>
                    <a:pt x="12" y="2"/>
                  </a:lnTo>
                  <a:lnTo>
                    <a:pt x="7" y="0"/>
                  </a:lnTo>
                  <a:lnTo>
                    <a:pt x="5" y="7"/>
                  </a:lnTo>
                  <a:lnTo>
                    <a:pt x="0"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1" name="Freeform 506">
              <a:extLst>
                <a:ext uri="{FF2B5EF4-FFF2-40B4-BE49-F238E27FC236}">
                  <a16:creationId xmlns:a16="http://schemas.microsoft.com/office/drawing/2014/main" id="{CA3099FA-3424-4ED8-8021-ED5898B2B3D1}"/>
                </a:ext>
              </a:extLst>
            </p:cNvPr>
            <p:cNvSpPr>
              <a:spLocks/>
            </p:cNvSpPr>
            <p:nvPr/>
          </p:nvSpPr>
          <p:spPr bwMode="auto">
            <a:xfrm>
              <a:off x="5077660" y="2700303"/>
              <a:ext cx="25399" cy="25400"/>
            </a:xfrm>
            <a:custGeom>
              <a:avLst/>
              <a:gdLst>
                <a:gd name="T0" fmla="*/ 0 w 16"/>
                <a:gd name="T1" fmla="*/ 12 h 16"/>
                <a:gd name="T2" fmla="*/ 0 w 16"/>
                <a:gd name="T3" fmla="*/ 14 h 16"/>
                <a:gd name="T4" fmla="*/ 2 w 16"/>
                <a:gd name="T5" fmla="*/ 12 h 16"/>
                <a:gd name="T6" fmla="*/ 5 w 16"/>
                <a:gd name="T7" fmla="*/ 14 h 16"/>
                <a:gd name="T8" fmla="*/ 7 w 16"/>
                <a:gd name="T9" fmla="*/ 16 h 16"/>
                <a:gd name="T10" fmla="*/ 7 w 16"/>
                <a:gd name="T11" fmla="*/ 16 h 16"/>
                <a:gd name="T12" fmla="*/ 12 w 16"/>
                <a:gd name="T13" fmla="*/ 14 h 16"/>
                <a:gd name="T14" fmla="*/ 12 w 16"/>
                <a:gd name="T15" fmla="*/ 12 h 16"/>
                <a:gd name="T16" fmla="*/ 14 w 16"/>
                <a:gd name="T17" fmla="*/ 7 h 16"/>
                <a:gd name="T18" fmla="*/ 16 w 16"/>
                <a:gd name="T19" fmla="*/ 5 h 16"/>
                <a:gd name="T20" fmla="*/ 12 w 16"/>
                <a:gd name="T21" fmla="*/ 2 h 16"/>
                <a:gd name="T22" fmla="*/ 7 w 16"/>
                <a:gd name="T23" fmla="*/ 0 h 16"/>
                <a:gd name="T24" fmla="*/ 5 w 16"/>
                <a:gd name="T25" fmla="*/ 7 h 16"/>
                <a:gd name="T26" fmla="*/ 0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0" y="12"/>
                  </a:moveTo>
                  <a:lnTo>
                    <a:pt x="0" y="14"/>
                  </a:lnTo>
                  <a:lnTo>
                    <a:pt x="2" y="12"/>
                  </a:lnTo>
                  <a:lnTo>
                    <a:pt x="5" y="14"/>
                  </a:lnTo>
                  <a:lnTo>
                    <a:pt x="7" y="16"/>
                  </a:lnTo>
                  <a:lnTo>
                    <a:pt x="7" y="16"/>
                  </a:lnTo>
                  <a:lnTo>
                    <a:pt x="12" y="14"/>
                  </a:lnTo>
                  <a:lnTo>
                    <a:pt x="12" y="12"/>
                  </a:lnTo>
                  <a:lnTo>
                    <a:pt x="14" y="7"/>
                  </a:lnTo>
                  <a:lnTo>
                    <a:pt x="16" y="5"/>
                  </a:lnTo>
                  <a:lnTo>
                    <a:pt x="12" y="2"/>
                  </a:lnTo>
                  <a:lnTo>
                    <a:pt x="7" y="0"/>
                  </a:lnTo>
                  <a:lnTo>
                    <a:pt x="5" y="7"/>
                  </a:lnTo>
                  <a:lnTo>
                    <a:pt x="0" y="1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2" name="Freeform 507">
              <a:extLst>
                <a:ext uri="{FF2B5EF4-FFF2-40B4-BE49-F238E27FC236}">
                  <a16:creationId xmlns:a16="http://schemas.microsoft.com/office/drawing/2014/main" id="{0A936116-C407-4B03-B423-52E1C7F556C2}"/>
                </a:ext>
              </a:extLst>
            </p:cNvPr>
            <p:cNvSpPr>
              <a:spLocks/>
            </p:cNvSpPr>
            <p:nvPr/>
          </p:nvSpPr>
          <p:spPr bwMode="auto">
            <a:xfrm>
              <a:off x="5796797" y="2493928"/>
              <a:ext cx="38100" cy="41275"/>
            </a:xfrm>
            <a:custGeom>
              <a:avLst/>
              <a:gdLst>
                <a:gd name="T0" fmla="*/ 19 w 24"/>
                <a:gd name="T1" fmla="*/ 2 h 26"/>
                <a:gd name="T2" fmla="*/ 17 w 24"/>
                <a:gd name="T3" fmla="*/ 5 h 26"/>
                <a:gd name="T4" fmla="*/ 8 w 24"/>
                <a:gd name="T5" fmla="*/ 7 h 26"/>
                <a:gd name="T6" fmla="*/ 5 w 24"/>
                <a:gd name="T7" fmla="*/ 9 h 26"/>
                <a:gd name="T8" fmla="*/ 10 w 24"/>
                <a:gd name="T9" fmla="*/ 9 h 26"/>
                <a:gd name="T10" fmla="*/ 8 w 24"/>
                <a:gd name="T11" fmla="*/ 14 h 26"/>
                <a:gd name="T12" fmla="*/ 0 w 24"/>
                <a:gd name="T13" fmla="*/ 26 h 26"/>
                <a:gd name="T14" fmla="*/ 8 w 24"/>
                <a:gd name="T15" fmla="*/ 19 h 26"/>
                <a:gd name="T16" fmla="*/ 15 w 24"/>
                <a:gd name="T17" fmla="*/ 17 h 26"/>
                <a:gd name="T18" fmla="*/ 19 w 24"/>
                <a:gd name="T19" fmla="*/ 12 h 26"/>
                <a:gd name="T20" fmla="*/ 24 w 24"/>
                <a:gd name="T21" fmla="*/ 9 h 26"/>
                <a:gd name="T22" fmla="*/ 22 w 24"/>
                <a:gd name="T23" fmla="*/ 5 h 26"/>
                <a:gd name="T24" fmla="*/ 22 w 24"/>
                <a:gd name="T25" fmla="*/ 0 h 26"/>
                <a:gd name="T26" fmla="*/ 19 w 24"/>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6">
                  <a:moveTo>
                    <a:pt x="19" y="2"/>
                  </a:moveTo>
                  <a:lnTo>
                    <a:pt x="17" y="5"/>
                  </a:lnTo>
                  <a:lnTo>
                    <a:pt x="8" y="7"/>
                  </a:lnTo>
                  <a:lnTo>
                    <a:pt x="5" y="9"/>
                  </a:lnTo>
                  <a:lnTo>
                    <a:pt x="10" y="9"/>
                  </a:lnTo>
                  <a:lnTo>
                    <a:pt x="8" y="14"/>
                  </a:lnTo>
                  <a:lnTo>
                    <a:pt x="0" y="26"/>
                  </a:lnTo>
                  <a:lnTo>
                    <a:pt x="8" y="19"/>
                  </a:lnTo>
                  <a:lnTo>
                    <a:pt x="15" y="17"/>
                  </a:lnTo>
                  <a:lnTo>
                    <a:pt x="19" y="12"/>
                  </a:lnTo>
                  <a:lnTo>
                    <a:pt x="24" y="9"/>
                  </a:lnTo>
                  <a:lnTo>
                    <a:pt x="22" y="5"/>
                  </a:lnTo>
                  <a:lnTo>
                    <a:pt x="22" y="0"/>
                  </a:lnTo>
                  <a:lnTo>
                    <a:pt x="19"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3" name="Freeform 508">
              <a:extLst>
                <a:ext uri="{FF2B5EF4-FFF2-40B4-BE49-F238E27FC236}">
                  <a16:creationId xmlns:a16="http://schemas.microsoft.com/office/drawing/2014/main" id="{D843A985-9880-487D-9805-B94AD674AC87}"/>
                </a:ext>
              </a:extLst>
            </p:cNvPr>
            <p:cNvSpPr>
              <a:spLocks/>
            </p:cNvSpPr>
            <p:nvPr/>
          </p:nvSpPr>
          <p:spPr bwMode="auto">
            <a:xfrm>
              <a:off x="5796797" y="2493928"/>
              <a:ext cx="38100" cy="41275"/>
            </a:xfrm>
            <a:custGeom>
              <a:avLst/>
              <a:gdLst>
                <a:gd name="T0" fmla="*/ 19 w 24"/>
                <a:gd name="T1" fmla="*/ 2 h 26"/>
                <a:gd name="T2" fmla="*/ 17 w 24"/>
                <a:gd name="T3" fmla="*/ 5 h 26"/>
                <a:gd name="T4" fmla="*/ 8 w 24"/>
                <a:gd name="T5" fmla="*/ 7 h 26"/>
                <a:gd name="T6" fmla="*/ 5 w 24"/>
                <a:gd name="T7" fmla="*/ 9 h 26"/>
                <a:gd name="T8" fmla="*/ 10 w 24"/>
                <a:gd name="T9" fmla="*/ 9 h 26"/>
                <a:gd name="T10" fmla="*/ 8 w 24"/>
                <a:gd name="T11" fmla="*/ 14 h 26"/>
                <a:gd name="T12" fmla="*/ 0 w 24"/>
                <a:gd name="T13" fmla="*/ 26 h 26"/>
                <a:gd name="T14" fmla="*/ 8 w 24"/>
                <a:gd name="T15" fmla="*/ 19 h 26"/>
                <a:gd name="T16" fmla="*/ 15 w 24"/>
                <a:gd name="T17" fmla="*/ 17 h 26"/>
                <a:gd name="T18" fmla="*/ 19 w 24"/>
                <a:gd name="T19" fmla="*/ 12 h 26"/>
                <a:gd name="T20" fmla="*/ 24 w 24"/>
                <a:gd name="T21" fmla="*/ 9 h 26"/>
                <a:gd name="T22" fmla="*/ 22 w 24"/>
                <a:gd name="T23" fmla="*/ 5 h 26"/>
                <a:gd name="T24" fmla="*/ 22 w 24"/>
                <a:gd name="T25" fmla="*/ 0 h 26"/>
                <a:gd name="T26" fmla="*/ 19 w 24"/>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6">
                  <a:moveTo>
                    <a:pt x="19" y="2"/>
                  </a:moveTo>
                  <a:lnTo>
                    <a:pt x="17" y="5"/>
                  </a:lnTo>
                  <a:lnTo>
                    <a:pt x="8" y="7"/>
                  </a:lnTo>
                  <a:lnTo>
                    <a:pt x="5" y="9"/>
                  </a:lnTo>
                  <a:lnTo>
                    <a:pt x="10" y="9"/>
                  </a:lnTo>
                  <a:lnTo>
                    <a:pt x="8" y="14"/>
                  </a:lnTo>
                  <a:lnTo>
                    <a:pt x="0" y="26"/>
                  </a:lnTo>
                  <a:lnTo>
                    <a:pt x="8" y="19"/>
                  </a:lnTo>
                  <a:lnTo>
                    <a:pt x="15" y="17"/>
                  </a:lnTo>
                  <a:lnTo>
                    <a:pt x="19" y="12"/>
                  </a:lnTo>
                  <a:lnTo>
                    <a:pt x="24" y="9"/>
                  </a:lnTo>
                  <a:lnTo>
                    <a:pt x="22" y="5"/>
                  </a:lnTo>
                  <a:lnTo>
                    <a:pt x="22" y="0"/>
                  </a:lnTo>
                  <a:lnTo>
                    <a:pt x="19"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4" name="Freeform 509">
              <a:extLst>
                <a:ext uri="{FF2B5EF4-FFF2-40B4-BE49-F238E27FC236}">
                  <a16:creationId xmlns:a16="http://schemas.microsoft.com/office/drawing/2014/main" id="{E8B22416-70C6-4A9D-BC83-06DCA08B06C1}"/>
                </a:ext>
              </a:extLst>
            </p:cNvPr>
            <p:cNvSpPr>
              <a:spLocks/>
            </p:cNvSpPr>
            <p:nvPr/>
          </p:nvSpPr>
          <p:spPr bwMode="auto">
            <a:xfrm>
              <a:off x="5603122" y="2898740"/>
              <a:ext cx="6350" cy="7938"/>
            </a:xfrm>
            <a:custGeom>
              <a:avLst/>
              <a:gdLst>
                <a:gd name="T0" fmla="*/ 4 w 4"/>
                <a:gd name="T1" fmla="*/ 0 h 5"/>
                <a:gd name="T2" fmla="*/ 4 w 4"/>
                <a:gd name="T3" fmla="*/ 0 h 5"/>
                <a:gd name="T4" fmla="*/ 2 w 4"/>
                <a:gd name="T5" fmla="*/ 2 h 5"/>
                <a:gd name="T6" fmla="*/ 0 w 4"/>
                <a:gd name="T7" fmla="*/ 5 h 5"/>
                <a:gd name="T8" fmla="*/ 0 w 4"/>
                <a:gd name="T9" fmla="*/ 5 h 5"/>
                <a:gd name="T10" fmla="*/ 2 w 4"/>
                <a:gd name="T11" fmla="*/ 5 h 5"/>
                <a:gd name="T12" fmla="*/ 4 w 4"/>
                <a:gd name="T13" fmla="*/ 2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2" y="2"/>
                  </a:lnTo>
                  <a:lnTo>
                    <a:pt x="0" y="5"/>
                  </a:lnTo>
                  <a:lnTo>
                    <a:pt x="0" y="5"/>
                  </a:lnTo>
                  <a:lnTo>
                    <a:pt x="2" y="5"/>
                  </a:lnTo>
                  <a:lnTo>
                    <a:pt x="4" y="2"/>
                  </a:lnTo>
                  <a:lnTo>
                    <a:pt x="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5" name="Freeform 510">
              <a:extLst>
                <a:ext uri="{FF2B5EF4-FFF2-40B4-BE49-F238E27FC236}">
                  <a16:creationId xmlns:a16="http://schemas.microsoft.com/office/drawing/2014/main" id="{FAFD2756-EC0A-48C0-B7CD-40C567D2477D}"/>
                </a:ext>
              </a:extLst>
            </p:cNvPr>
            <p:cNvSpPr>
              <a:spLocks/>
            </p:cNvSpPr>
            <p:nvPr/>
          </p:nvSpPr>
          <p:spPr bwMode="auto">
            <a:xfrm>
              <a:off x="5603122" y="2898740"/>
              <a:ext cx="6350" cy="7938"/>
            </a:xfrm>
            <a:custGeom>
              <a:avLst/>
              <a:gdLst>
                <a:gd name="T0" fmla="*/ 4 w 4"/>
                <a:gd name="T1" fmla="*/ 0 h 5"/>
                <a:gd name="T2" fmla="*/ 4 w 4"/>
                <a:gd name="T3" fmla="*/ 0 h 5"/>
                <a:gd name="T4" fmla="*/ 2 w 4"/>
                <a:gd name="T5" fmla="*/ 2 h 5"/>
                <a:gd name="T6" fmla="*/ 0 w 4"/>
                <a:gd name="T7" fmla="*/ 5 h 5"/>
                <a:gd name="T8" fmla="*/ 0 w 4"/>
                <a:gd name="T9" fmla="*/ 5 h 5"/>
                <a:gd name="T10" fmla="*/ 2 w 4"/>
                <a:gd name="T11" fmla="*/ 5 h 5"/>
                <a:gd name="T12" fmla="*/ 4 w 4"/>
                <a:gd name="T13" fmla="*/ 2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2" y="2"/>
                  </a:lnTo>
                  <a:lnTo>
                    <a:pt x="0" y="5"/>
                  </a:lnTo>
                  <a:lnTo>
                    <a:pt x="0" y="5"/>
                  </a:lnTo>
                  <a:lnTo>
                    <a:pt x="2" y="5"/>
                  </a:lnTo>
                  <a:lnTo>
                    <a:pt x="4" y="2"/>
                  </a:lnTo>
                  <a:lnTo>
                    <a:pt x="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6" name="Freeform 511">
              <a:extLst>
                <a:ext uri="{FF2B5EF4-FFF2-40B4-BE49-F238E27FC236}">
                  <a16:creationId xmlns:a16="http://schemas.microsoft.com/office/drawing/2014/main" id="{E37CEF7D-58BB-4CA8-B299-19BC6DFF0122}"/>
                </a:ext>
              </a:extLst>
            </p:cNvPr>
            <p:cNvSpPr>
              <a:spLocks/>
            </p:cNvSpPr>
            <p:nvPr/>
          </p:nvSpPr>
          <p:spPr bwMode="auto">
            <a:xfrm>
              <a:off x="5576134" y="2906678"/>
              <a:ext cx="26988" cy="30163"/>
            </a:xfrm>
            <a:custGeom>
              <a:avLst/>
              <a:gdLst>
                <a:gd name="T0" fmla="*/ 14 w 17"/>
                <a:gd name="T1" fmla="*/ 0 h 19"/>
                <a:gd name="T2" fmla="*/ 12 w 17"/>
                <a:gd name="T3" fmla="*/ 2 h 19"/>
                <a:gd name="T4" fmla="*/ 7 w 17"/>
                <a:gd name="T5" fmla="*/ 7 h 19"/>
                <a:gd name="T6" fmla="*/ 7 w 17"/>
                <a:gd name="T7" fmla="*/ 9 h 19"/>
                <a:gd name="T8" fmla="*/ 5 w 17"/>
                <a:gd name="T9" fmla="*/ 9 h 19"/>
                <a:gd name="T10" fmla="*/ 2 w 17"/>
                <a:gd name="T11" fmla="*/ 12 h 19"/>
                <a:gd name="T12" fmla="*/ 0 w 17"/>
                <a:gd name="T13" fmla="*/ 12 h 19"/>
                <a:gd name="T14" fmla="*/ 0 w 17"/>
                <a:gd name="T15" fmla="*/ 12 h 19"/>
                <a:gd name="T16" fmla="*/ 0 w 17"/>
                <a:gd name="T17" fmla="*/ 16 h 19"/>
                <a:gd name="T18" fmla="*/ 0 w 17"/>
                <a:gd name="T19" fmla="*/ 19 h 19"/>
                <a:gd name="T20" fmla="*/ 7 w 17"/>
                <a:gd name="T21" fmla="*/ 14 h 19"/>
                <a:gd name="T22" fmla="*/ 10 w 17"/>
                <a:gd name="T23" fmla="*/ 12 h 19"/>
                <a:gd name="T24" fmla="*/ 12 w 17"/>
                <a:gd name="T25" fmla="*/ 9 h 19"/>
                <a:gd name="T26" fmla="*/ 14 w 17"/>
                <a:gd name="T27" fmla="*/ 7 h 19"/>
                <a:gd name="T28" fmla="*/ 17 w 17"/>
                <a:gd name="T29" fmla="*/ 5 h 19"/>
                <a:gd name="T30" fmla="*/ 17 w 17"/>
                <a:gd name="T31" fmla="*/ 2 h 19"/>
                <a:gd name="T32" fmla="*/ 14 w 17"/>
                <a:gd name="T33" fmla="*/ 0 h 19"/>
                <a:gd name="T34" fmla="*/ 14 w 17"/>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9">
                  <a:moveTo>
                    <a:pt x="14" y="0"/>
                  </a:moveTo>
                  <a:lnTo>
                    <a:pt x="12" y="2"/>
                  </a:lnTo>
                  <a:lnTo>
                    <a:pt x="7" y="7"/>
                  </a:lnTo>
                  <a:lnTo>
                    <a:pt x="7" y="9"/>
                  </a:lnTo>
                  <a:lnTo>
                    <a:pt x="5" y="9"/>
                  </a:lnTo>
                  <a:lnTo>
                    <a:pt x="2" y="12"/>
                  </a:lnTo>
                  <a:lnTo>
                    <a:pt x="0" y="12"/>
                  </a:lnTo>
                  <a:lnTo>
                    <a:pt x="0" y="12"/>
                  </a:lnTo>
                  <a:lnTo>
                    <a:pt x="0" y="16"/>
                  </a:lnTo>
                  <a:lnTo>
                    <a:pt x="0" y="19"/>
                  </a:lnTo>
                  <a:lnTo>
                    <a:pt x="7" y="14"/>
                  </a:lnTo>
                  <a:lnTo>
                    <a:pt x="10" y="12"/>
                  </a:lnTo>
                  <a:lnTo>
                    <a:pt x="12" y="9"/>
                  </a:lnTo>
                  <a:lnTo>
                    <a:pt x="14" y="7"/>
                  </a:lnTo>
                  <a:lnTo>
                    <a:pt x="17" y="5"/>
                  </a:lnTo>
                  <a:lnTo>
                    <a:pt x="17" y="2"/>
                  </a:lnTo>
                  <a:lnTo>
                    <a:pt x="14" y="0"/>
                  </a:lnTo>
                  <a:lnTo>
                    <a:pt x="1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7" name="Freeform 512">
              <a:extLst>
                <a:ext uri="{FF2B5EF4-FFF2-40B4-BE49-F238E27FC236}">
                  <a16:creationId xmlns:a16="http://schemas.microsoft.com/office/drawing/2014/main" id="{03F31CA3-7697-4CFD-B0CB-41DBF950AEAA}"/>
                </a:ext>
              </a:extLst>
            </p:cNvPr>
            <p:cNvSpPr>
              <a:spLocks/>
            </p:cNvSpPr>
            <p:nvPr/>
          </p:nvSpPr>
          <p:spPr bwMode="auto">
            <a:xfrm>
              <a:off x="5576134" y="2906678"/>
              <a:ext cx="26988" cy="30163"/>
            </a:xfrm>
            <a:custGeom>
              <a:avLst/>
              <a:gdLst>
                <a:gd name="T0" fmla="*/ 14 w 17"/>
                <a:gd name="T1" fmla="*/ 0 h 19"/>
                <a:gd name="T2" fmla="*/ 12 w 17"/>
                <a:gd name="T3" fmla="*/ 2 h 19"/>
                <a:gd name="T4" fmla="*/ 7 w 17"/>
                <a:gd name="T5" fmla="*/ 7 h 19"/>
                <a:gd name="T6" fmla="*/ 7 w 17"/>
                <a:gd name="T7" fmla="*/ 9 h 19"/>
                <a:gd name="T8" fmla="*/ 5 w 17"/>
                <a:gd name="T9" fmla="*/ 9 h 19"/>
                <a:gd name="T10" fmla="*/ 2 w 17"/>
                <a:gd name="T11" fmla="*/ 12 h 19"/>
                <a:gd name="T12" fmla="*/ 0 w 17"/>
                <a:gd name="T13" fmla="*/ 12 h 19"/>
                <a:gd name="T14" fmla="*/ 0 w 17"/>
                <a:gd name="T15" fmla="*/ 12 h 19"/>
                <a:gd name="T16" fmla="*/ 0 w 17"/>
                <a:gd name="T17" fmla="*/ 16 h 19"/>
                <a:gd name="T18" fmla="*/ 0 w 17"/>
                <a:gd name="T19" fmla="*/ 19 h 19"/>
                <a:gd name="T20" fmla="*/ 7 w 17"/>
                <a:gd name="T21" fmla="*/ 14 h 19"/>
                <a:gd name="T22" fmla="*/ 10 w 17"/>
                <a:gd name="T23" fmla="*/ 12 h 19"/>
                <a:gd name="T24" fmla="*/ 12 w 17"/>
                <a:gd name="T25" fmla="*/ 9 h 19"/>
                <a:gd name="T26" fmla="*/ 14 w 17"/>
                <a:gd name="T27" fmla="*/ 7 h 19"/>
                <a:gd name="T28" fmla="*/ 17 w 17"/>
                <a:gd name="T29" fmla="*/ 5 h 19"/>
                <a:gd name="T30" fmla="*/ 17 w 17"/>
                <a:gd name="T31" fmla="*/ 2 h 19"/>
                <a:gd name="T32" fmla="*/ 14 w 17"/>
                <a:gd name="T33" fmla="*/ 0 h 19"/>
                <a:gd name="T34" fmla="*/ 14 w 17"/>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9">
                  <a:moveTo>
                    <a:pt x="14" y="0"/>
                  </a:moveTo>
                  <a:lnTo>
                    <a:pt x="12" y="2"/>
                  </a:lnTo>
                  <a:lnTo>
                    <a:pt x="7" y="7"/>
                  </a:lnTo>
                  <a:lnTo>
                    <a:pt x="7" y="9"/>
                  </a:lnTo>
                  <a:lnTo>
                    <a:pt x="5" y="9"/>
                  </a:lnTo>
                  <a:lnTo>
                    <a:pt x="2" y="12"/>
                  </a:lnTo>
                  <a:lnTo>
                    <a:pt x="0" y="12"/>
                  </a:lnTo>
                  <a:lnTo>
                    <a:pt x="0" y="12"/>
                  </a:lnTo>
                  <a:lnTo>
                    <a:pt x="0" y="16"/>
                  </a:lnTo>
                  <a:lnTo>
                    <a:pt x="0" y="19"/>
                  </a:lnTo>
                  <a:lnTo>
                    <a:pt x="7" y="14"/>
                  </a:lnTo>
                  <a:lnTo>
                    <a:pt x="10" y="12"/>
                  </a:lnTo>
                  <a:lnTo>
                    <a:pt x="12" y="9"/>
                  </a:lnTo>
                  <a:lnTo>
                    <a:pt x="14" y="7"/>
                  </a:lnTo>
                  <a:lnTo>
                    <a:pt x="17" y="5"/>
                  </a:lnTo>
                  <a:lnTo>
                    <a:pt x="17" y="2"/>
                  </a:lnTo>
                  <a:lnTo>
                    <a:pt x="14" y="0"/>
                  </a:lnTo>
                  <a:lnTo>
                    <a:pt x="1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8" name="Freeform 513">
              <a:extLst>
                <a:ext uri="{FF2B5EF4-FFF2-40B4-BE49-F238E27FC236}">
                  <a16:creationId xmlns:a16="http://schemas.microsoft.com/office/drawing/2014/main" id="{0A07F350-D329-4A71-9865-480B089D4146}"/>
                </a:ext>
              </a:extLst>
            </p:cNvPr>
            <p:cNvSpPr>
              <a:spLocks/>
            </p:cNvSpPr>
            <p:nvPr/>
          </p:nvSpPr>
          <p:spPr bwMode="auto">
            <a:xfrm>
              <a:off x="5557085" y="2951128"/>
              <a:ext cx="4763" cy="15875"/>
            </a:xfrm>
            <a:custGeom>
              <a:avLst/>
              <a:gdLst>
                <a:gd name="T0" fmla="*/ 3 w 3"/>
                <a:gd name="T1" fmla="*/ 0 h 10"/>
                <a:gd name="T2" fmla="*/ 0 w 3"/>
                <a:gd name="T3" fmla="*/ 7 h 10"/>
                <a:gd name="T4" fmla="*/ 0 w 3"/>
                <a:gd name="T5" fmla="*/ 10 h 10"/>
                <a:gd name="T6" fmla="*/ 3 w 3"/>
                <a:gd name="T7" fmla="*/ 7 h 10"/>
                <a:gd name="T8" fmla="*/ 3 w 3"/>
                <a:gd name="T9" fmla="*/ 5 h 10"/>
                <a:gd name="T10" fmla="*/ 3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3" y="0"/>
                  </a:moveTo>
                  <a:lnTo>
                    <a:pt x="0" y="7"/>
                  </a:lnTo>
                  <a:lnTo>
                    <a:pt x="0" y="10"/>
                  </a:lnTo>
                  <a:lnTo>
                    <a:pt x="3" y="7"/>
                  </a:lnTo>
                  <a:lnTo>
                    <a:pt x="3" y="5"/>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699" name="Freeform 514">
              <a:extLst>
                <a:ext uri="{FF2B5EF4-FFF2-40B4-BE49-F238E27FC236}">
                  <a16:creationId xmlns:a16="http://schemas.microsoft.com/office/drawing/2014/main" id="{3A2AA010-45D3-4873-9D57-5583C6C5E0DC}"/>
                </a:ext>
              </a:extLst>
            </p:cNvPr>
            <p:cNvSpPr>
              <a:spLocks/>
            </p:cNvSpPr>
            <p:nvPr/>
          </p:nvSpPr>
          <p:spPr bwMode="auto">
            <a:xfrm>
              <a:off x="5557085" y="2951128"/>
              <a:ext cx="4763" cy="15875"/>
            </a:xfrm>
            <a:custGeom>
              <a:avLst/>
              <a:gdLst>
                <a:gd name="T0" fmla="*/ 3 w 3"/>
                <a:gd name="T1" fmla="*/ 0 h 10"/>
                <a:gd name="T2" fmla="*/ 0 w 3"/>
                <a:gd name="T3" fmla="*/ 7 h 10"/>
                <a:gd name="T4" fmla="*/ 0 w 3"/>
                <a:gd name="T5" fmla="*/ 10 h 10"/>
                <a:gd name="T6" fmla="*/ 3 w 3"/>
                <a:gd name="T7" fmla="*/ 7 h 10"/>
                <a:gd name="T8" fmla="*/ 3 w 3"/>
                <a:gd name="T9" fmla="*/ 5 h 10"/>
                <a:gd name="T10" fmla="*/ 3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3" y="0"/>
                  </a:moveTo>
                  <a:lnTo>
                    <a:pt x="0" y="7"/>
                  </a:lnTo>
                  <a:lnTo>
                    <a:pt x="0" y="10"/>
                  </a:lnTo>
                  <a:lnTo>
                    <a:pt x="3" y="7"/>
                  </a:lnTo>
                  <a:lnTo>
                    <a:pt x="3" y="5"/>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0" name="Freeform 515">
              <a:extLst>
                <a:ext uri="{FF2B5EF4-FFF2-40B4-BE49-F238E27FC236}">
                  <a16:creationId xmlns:a16="http://schemas.microsoft.com/office/drawing/2014/main" id="{1552B320-21FC-4A57-9A40-F40C600C79EE}"/>
                </a:ext>
              </a:extLst>
            </p:cNvPr>
            <p:cNvSpPr>
              <a:spLocks/>
            </p:cNvSpPr>
            <p:nvPr/>
          </p:nvSpPr>
          <p:spPr bwMode="auto">
            <a:xfrm>
              <a:off x="5542797" y="2981290"/>
              <a:ext cx="3175" cy="7938"/>
            </a:xfrm>
            <a:custGeom>
              <a:avLst/>
              <a:gdLst>
                <a:gd name="T0" fmla="*/ 2 w 2"/>
                <a:gd name="T1" fmla="*/ 0 h 5"/>
                <a:gd name="T2" fmla="*/ 0 w 2"/>
                <a:gd name="T3" fmla="*/ 5 h 5"/>
                <a:gd name="T4" fmla="*/ 2 w 2"/>
                <a:gd name="T5" fmla="*/ 2 h 5"/>
                <a:gd name="T6" fmla="*/ 2 w 2"/>
                <a:gd name="T7" fmla="*/ 2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5"/>
                  </a:lnTo>
                  <a:lnTo>
                    <a:pt x="2" y="2"/>
                  </a:lnTo>
                  <a:lnTo>
                    <a:pt x="2"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1" name="Freeform 516">
              <a:extLst>
                <a:ext uri="{FF2B5EF4-FFF2-40B4-BE49-F238E27FC236}">
                  <a16:creationId xmlns:a16="http://schemas.microsoft.com/office/drawing/2014/main" id="{CA6E1731-0071-4754-8A28-452D6F854A88}"/>
                </a:ext>
              </a:extLst>
            </p:cNvPr>
            <p:cNvSpPr>
              <a:spLocks/>
            </p:cNvSpPr>
            <p:nvPr/>
          </p:nvSpPr>
          <p:spPr bwMode="auto">
            <a:xfrm>
              <a:off x="5542797" y="2981290"/>
              <a:ext cx="3175" cy="7938"/>
            </a:xfrm>
            <a:custGeom>
              <a:avLst/>
              <a:gdLst>
                <a:gd name="T0" fmla="*/ 2 w 2"/>
                <a:gd name="T1" fmla="*/ 0 h 5"/>
                <a:gd name="T2" fmla="*/ 0 w 2"/>
                <a:gd name="T3" fmla="*/ 5 h 5"/>
                <a:gd name="T4" fmla="*/ 2 w 2"/>
                <a:gd name="T5" fmla="*/ 2 h 5"/>
                <a:gd name="T6" fmla="*/ 2 w 2"/>
                <a:gd name="T7" fmla="*/ 2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5"/>
                  </a:lnTo>
                  <a:lnTo>
                    <a:pt x="2" y="2"/>
                  </a:lnTo>
                  <a:lnTo>
                    <a:pt x="2" y="2"/>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2" name="Freeform 517">
              <a:extLst>
                <a:ext uri="{FF2B5EF4-FFF2-40B4-BE49-F238E27FC236}">
                  <a16:creationId xmlns:a16="http://schemas.microsoft.com/office/drawing/2014/main" id="{D36024FF-9261-4F30-95E5-820B5BD1520A}"/>
                </a:ext>
              </a:extLst>
            </p:cNvPr>
            <p:cNvSpPr>
              <a:spLocks/>
            </p:cNvSpPr>
            <p:nvPr/>
          </p:nvSpPr>
          <p:spPr bwMode="auto">
            <a:xfrm>
              <a:off x="5479297" y="3055903"/>
              <a:ext cx="14288" cy="11113"/>
            </a:xfrm>
            <a:custGeom>
              <a:avLst/>
              <a:gdLst>
                <a:gd name="T0" fmla="*/ 9 w 9"/>
                <a:gd name="T1" fmla="*/ 0 h 7"/>
                <a:gd name="T2" fmla="*/ 9 w 9"/>
                <a:gd name="T3" fmla="*/ 3 h 7"/>
                <a:gd name="T4" fmla="*/ 4 w 9"/>
                <a:gd name="T5" fmla="*/ 5 h 7"/>
                <a:gd name="T6" fmla="*/ 2 w 9"/>
                <a:gd name="T7" fmla="*/ 7 h 7"/>
                <a:gd name="T8" fmla="*/ 0 w 9"/>
                <a:gd name="T9" fmla="*/ 7 h 7"/>
                <a:gd name="T10" fmla="*/ 2 w 9"/>
                <a:gd name="T11" fmla="*/ 5 h 7"/>
                <a:gd name="T12" fmla="*/ 4 w 9"/>
                <a:gd name="T13" fmla="*/ 3 h 7"/>
                <a:gd name="T14" fmla="*/ 7 w 9"/>
                <a:gd name="T15" fmla="*/ 0 h 7"/>
                <a:gd name="T16" fmla="*/ 9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0"/>
                  </a:moveTo>
                  <a:lnTo>
                    <a:pt x="9" y="3"/>
                  </a:lnTo>
                  <a:lnTo>
                    <a:pt x="4" y="5"/>
                  </a:lnTo>
                  <a:lnTo>
                    <a:pt x="2" y="7"/>
                  </a:lnTo>
                  <a:lnTo>
                    <a:pt x="0" y="7"/>
                  </a:lnTo>
                  <a:lnTo>
                    <a:pt x="2" y="5"/>
                  </a:lnTo>
                  <a:lnTo>
                    <a:pt x="4" y="3"/>
                  </a:lnTo>
                  <a:lnTo>
                    <a:pt x="7" y="0"/>
                  </a:lnTo>
                  <a:lnTo>
                    <a:pt x="9"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3" name="Freeform 518">
              <a:extLst>
                <a:ext uri="{FF2B5EF4-FFF2-40B4-BE49-F238E27FC236}">
                  <a16:creationId xmlns:a16="http://schemas.microsoft.com/office/drawing/2014/main" id="{DE7C9C31-2AFD-48ED-9E17-3F5DAA2D03F1}"/>
                </a:ext>
              </a:extLst>
            </p:cNvPr>
            <p:cNvSpPr>
              <a:spLocks/>
            </p:cNvSpPr>
            <p:nvPr/>
          </p:nvSpPr>
          <p:spPr bwMode="auto">
            <a:xfrm>
              <a:off x="5479297" y="3055903"/>
              <a:ext cx="14288" cy="11113"/>
            </a:xfrm>
            <a:custGeom>
              <a:avLst/>
              <a:gdLst>
                <a:gd name="T0" fmla="*/ 9 w 9"/>
                <a:gd name="T1" fmla="*/ 0 h 7"/>
                <a:gd name="T2" fmla="*/ 9 w 9"/>
                <a:gd name="T3" fmla="*/ 3 h 7"/>
                <a:gd name="T4" fmla="*/ 4 w 9"/>
                <a:gd name="T5" fmla="*/ 5 h 7"/>
                <a:gd name="T6" fmla="*/ 2 w 9"/>
                <a:gd name="T7" fmla="*/ 7 h 7"/>
                <a:gd name="T8" fmla="*/ 0 w 9"/>
                <a:gd name="T9" fmla="*/ 7 h 7"/>
                <a:gd name="T10" fmla="*/ 2 w 9"/>
                <a:gd name="T11" fmla="*/ 5 h 7"/>
                <a:gd name="T12" fmla="*/ 4 w 9"/>
                <a:gd name="T13" fmla="*/ 3 h 7"/>
                <a:gd name="T14" fmla="*/ 7 w 9"/>
                <a:gd name="T15" fmla="*/ 0 h 7"/>
                <a:gd name="T16" fmla="*/ 9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0"/>
                  </a:moveTo>
                  <a:lnTo>
                    <a:pt x="9" y="3"/>
                  </a:lnTo>
                  <a:lnTo>
                    <a:pt x="4" y="5"/>
                  </a:lnTo>
                  <a:lnTo>
                    <a:pt x="2" y="7"/>
                  </a:lnTo>
                  <a:lnTo>
                    <a:pt x="0" y="7"/>
                  </a:lnTo>
                  <a:lnTo>
                    <a:pt x="2" y="5"/>
                  </a:lnTo>
                  <a:lnTo>
                    <a:pt x="4" y="3"/>
                  </a:lnTo>
                  <a:lnTo>
                    <a:pt x="7" y="0"/>
                  </a:lnTo>
                  <a:lnTo>
                    <a:pt x="9"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4" name="Freeform 519">
              <a:extLst>
                <a:ext uri="{FF2B5EF4-FFF2-40B4-BE49-F238E27FC236}">
                  <a16:creationId xmlns:a16="http://schemas.microsoft.com/office/drawing/2014/main" id="{1239CFEF-C176-4CDD-9441-CB25F2986AB2}"/>
                </a:ext>
              </a:extLst>
            </p:cNvPr>
            <p:cNvSpPr>
              <a:spLocks/>
            </p:cNvSpPr>
            <p:nvPr/>
          </p:nvSpPr>
          <p:spPr bwMode="auto">
            <a:xfrm>
              <a:off x="5418972" y="3090829"/>
              <a:ext cx="25399" cy="25400"/>
            </a:xfrm>
            <a:custGeom>
              <a:avLst/>
              <a:gdLst>
                <a:gd name="T0" fmla="*/ 16 w 16"/>
                <a:gd name="T1" fmla="*/ 2 h 16"/>
                <a:gd name="T2" fmla="*/ 16 w 16"/>
                <a:gd name="T3" fmla="*/ 4 h 16"/>
                <a:gd name="T4" fmla="*/ 7 w 16"/>
                <a:gd name="T5" fmla="*/ 11 h 16"/>
                <a:gd name="T6" fmla="*/ 2 w 16"/>
                <a:gd name="T7" fmla="*/ 16 h 16"/>
                <a:gd name="T8" fmla="*/ 0 w 16"/>
                <a:gd name="T9" fmla="*/ 16 h 16"/>
                <a:gd name="T10" fmla="*/ 2 w 16"/>
                <a:gd name="T11" fmla="*/ 14 h 16"/>
                <a:gd name="T12" fmla="*/ 7 w 16"/>
                <a:gd name="T13" fmla="*/ 4 h 16"/>
                <a:gd name="T14" fmla="*/ 14 w 16"/>
                <a:gd name="T15" fmla="*/ 0 h 16"/>
                <a:gd name="T16" fmla="*/ 16 w 16"/>
                <a:gd name="T17" fmla="*/ 0 h 16"/>
                <a:gd name="T18" fmla="*/ 16 w 16"/>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6" y="2"/>
                  </a:moveTo>
                  <a:lnTo>
                    <a:pt x="16" y="4"/>
                  </a:lnTo>
                  <a:lnTo>
                    <a:pt x="7" y="11"/>
                  </a:lnTo>
                  <a:lnTo>
                    <a:pt x="2" y="16"/>
                  </a:lnTo>
                  <a:lnTo>
                    <a:pt x="0" y="16"/>
                  </a:lnTo>
                  <a:lnTo>
                    <a:pt x="2" y="14"/>
                  </a:lnTo>
                  <a:lnTo>
                    <a:pt x="7" y="4"/>
                  </a:lnTo>
                  <a:lnTo>
                    <a:pt x="14" y="0"/>
                  </a:lnTo>
                  <a:lnTo>
                    <a:pt x="16" y="0"/>
                  </a:lnTo>
                  <a:lnTo>
                    <a:pt x="16"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5" name="Freeform 520">
              <a:extLst>
                <a:ext uri="{FF2B5EF4-FFF2-40B4-BE49-F238E27FC236}">
                  <a16:creationId xmlns:a16="http://schemas.microsoft.com/office/drawing/2014/main" id="{553F6797-FD35-4769-8CBE-8616884FA6A1}"/>
                </a:ext>
              </a:extLst>
            </p:cNvPr>
            <p:cNvSpPr>
              <a:spLocks/>
            </p:cNvSpPr>
            <p:nvPr/>
          </p:nvSpPr>
          <p:spPr bwMode="auto">
            <a:xfrm>
              <a:off x="5418972" y="3090829"/>
              <a:ext cx="25399" cy="25400"/>
            </a:xfrm>
            <a:custGeom>
              <a:avLst/>
              <a:gdLst>
                <a:gd name="T0" fmla="*/ 16 w 16"/>
                <a:gd name="T1" fmla="*/ 2 h 16"/>
                <a:gd name="T2" fmla="*/ 16 w 16"/>
                <a:gd name="T3" fmla="*/ 4 h 16"/>
                <a:gd name="T4" fmla="*/ 7 w 16"/>
                <a:gd name="T5" fmla="*/ 11 h 16"/>
                <a:gd name="T6" fmla="*/ 2 w 16"/>
                <a:gd name="T7" fmla="*/ 16 h 16"/>
                <a:gd name="T8" fmla="*/ 0 w 16"/>
                <a:gd name="T9" fmla="*/ 16 h 16"/>
                <a:gd name="T10" fmla="*/ 2 w 16"/>
                <a:gd name="T11" fmla="*/ 14 h 16"/>
                <a:gd name="T12" fmla="*/ 7 w 16"/>
                <a:gd name="T13" fmla="*/ 4 h 16"/>
                <a:gd name="T14" fmla="*/ 14 w 16"/>
                <a:gd name="T15" fmla="*/ 0 h 16"/>
                <a:gd name="T16" fmla="*/ 16 w 16"/>
                <a:gd name="T17" fmla="*/ 0 h 16"/>
                <a:gd name="T18" fmla="*/ 16 w 16"/>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6" y="2"/>
                  </a:moveTo>
                  <a:lnTo>
                    <a:pt x="16" y="4"/>
                  </a:lnTo>
                  <a:lnTo>
                    <a:pt x="7" y="11"/>
                  </a:lnTo>
                  <a:lnTo>
                    <a:pt x="2" y="16"/>
                  </a:lnTo>
                  <a:lnTo>
                    <a:pt x="0" y="16"/>
                  </a:lnTo>
                  <a:lnTo>
                    <a:pt x="2" y="14"/>
                  </a:lnTo>
                  <a:lnTo>
                    <a:pt x="7" y="4"/>
                  </a:lnTo>
                  <a:lnTo>
                    <a:pt x="14" y="0"/>
                  </a:lnTo>
                  <a:lnTo>
                    <a:pt x="16" y="0"/>
                  </a:lnTo>
                  <a:lnTo>
                    <a:pt x="16"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6" name="Freeform 521">
              <a:extLst>
                <a:ext uri="{FF2B5EF4-FFF2-40B4-BE49-F238E27FC236}">
                  <a16:creationId xmlns:a16="http://schemas.microsoft.com/office/drawing/2014/main" id="{8554E03C-32D2-4542-AEC0-9ADD7F2FF9D8}"/>
                </a:ext>
              </a:extLst>
            </p:cNvPr>
            <p:cNvSpPr>
              <a:spLocks/>
            </p:cNvSpPr>
            <p:nvPr/>
          </p:nvSpPr>
          <p:spPr bwMode="auto">
            <a:xfrm>
              <a:off x="5347535" y="3119404"/>
              <a:ext cx="52388" cy="41275"/>
            </a:xfrm>
            <a:custGeom>
              <a:avLst/>
              <a:gdLst>
                <a:gd name="T0" fmla="*/ 33 w 33"/>
                <a:gd name="T1" fmla="*/ 3 h 26"/>
                <a:gd name="T2" fmla="*/ 33 w 33"/>
                <a:gd name="T3" fmla="*/ 3 h 26"/>
                <a:gd name="T4" fmla="*/ 33 w 33"/>
                <a:gd name="T5" fmla="*/ 5 h 26"/>
                <a:gd name="T6" fmla="*/ 28 w 33"/>
                <a:gd name="T7" fmla="*/ 8 h 26"/>
                <a:gd name="T8" fmla="*/ 16 w 33"/>
                <a:gd name="T9" fmla="*/ 15 h 26"/>
                <a:gd name="T10" fmla="*/ 14 w 33"/>
                <a:gd name="T11" fmla="*/ 15 h 26"/>
                <a:gd name="T12" fmla="*/ 12 w 33"/>
                <a:gd name="T13" fmla="*/ 17 h 26"/>
                <a:gd name="T14" fmla="*/ 12 w 33"/>
                <a:gd name="T15" fmla="*/ 19 h 26"/>
                <a:gd name="T16" fmla="*/ 7 w 33"/>
                <a:gd name="T17" fmla="*/ 22 h 26"/>
                <a:gd name="T18" fmla="*/ 2 w 33"/>
                <a:gd name="T19" fmla="*/ 26 h 26"/>
                <a:gd name="T20" fmla="*/ 0 w 33"/>
                <a:gd name="T21" fmla="*/ 26 h 26"/>
                <a:gd name="T22" fmla="*/ 2 w 33"/>
                <a:gd name="T23" fmla="*/ 24 h 26"/>
                <a:gd name="T24" fmla="*/ 2 w 33"/>
                <a:gd name="T25" fmla="*/ 22 h 26"/>
                <a:gd name="T26" fmla="*/ 5 w 33"/>
                <a:gd name="T27" fmla="*/ 19 h 26"/>
                <a:gd name="T28" fmla="*/ 5 w 33"/>
                <a:gd name="T29" fmla="*/ 17 h 26"/>
                <a:gd name="T30" fmla="*/ 9 w 33"/>
                <a:gd name="T31" fmla="*/ 12 h 26"/>
                <a:gd name="T32" fmla="*/ 12 w 33"/>
                <a:gd name="T33" fmla="*/ 10 h 26"/>
                <a:gd name="T34" fmla="*/ 14 w 33"/>
                <a:gd name="T35" fmla="*/ 10 h 26"/>
                <a:gd name="T36" fmla="*/ 16 w 33"/>
                <a:gd name="T37" fmla="*/ 5 h 26"/>
                <a:gd name="T38" fmla="*/ 19 w 33"/>
                <a:gd name="T39" fmla="*/ 5 h 26"/>
                <a:gd name="T40" fmla="*/ 19 w 33"/>
                <a:gd name="T41" fmla="*/ 5 h 26"/>
                <a:gd name="T42" fmla="*/ 19 w 33"/>
                <a:gd name="T43" fmla="*/ 8 h 26"/>
                <a:gd name="T44" fmla="*/ 21 w 33"/>
                <a:gd name="T45" fmla="*/ 8 h 26"/>
                <a:gd name="T46" fmla="*/ 26 w 33"/>
                <a:gd name="T47" fmla="*/ 5 h 26"/>
                <a:gd name="T48" fmla="*/ 28 w 33"/>
                <a:gd name="T49" fmla="*/ 0 h 26"/>
                <a:gd name="T50" fmla="*/ 31 w 33"/>
                <a:gd name="T51" fmla="*/ 0 h 26"/>
                <a:gd name="T52" fmla="*/ 33 w 33"/>
                <a:gd name="T53" fmla="*/ 0 h 26"/>
                <a:gd name="T54" fmla="*/ 33 w 33"/>
                <a:gd name="T55"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26">
                  <a:moveTo>
                    <a:pt x="33" y="3"/>
                  </a:moveTo>
                  <a:lnTo>
                    <a:pt x="33" y="3"/>
                  </a:lnTo>
                  <a:lnTo>
                    <a:pt x="33" y="5"/>
                  </a:lnTo>
                  <a:lnTo>
                    <a:pt x="28" y="8"/>
                  </a:lnTo>
                  <a:lnTo>
                    <a:pt x="16" y="15"/>
                  </a:lnTo>
                  <a:lnTo>
                    <a:pt x="14" y="15"/>
                  </a:lnTo>
                  <a:lnTo>
                    <a:pt x="12" y="17"/>
                  </a:lnTo>
                  <a:lnTo>
                    <a:pt x="12" y="19"/>
                  </a:lnTo>
                  <a:lnTo>
                    <a:pt x="7" y="22"/>
                  </a:lnTo>
                  <a:lnTo>
                    <a:pt x="2" y="26"/>
                  </a:lnTo>
                  <a:lnTo>
                    <a:pt x="0" y="26"/>
                  </a:lnTo>
                  <a:lnTo>
                    <a:pt x="2" y="24"/>
                  </a:lnTo>
                  <a:lnTo>
                    <a:pt x="2" y="22"/>
                  </a:lnTo>
                  <a:lnTo>
                    <a:pt x="5" y="19"/>
                  </a:lnTo>
                  <a:lnTo>
                    <a:pt x="5" y="17"/>
                  </a:lnTo>
                  <a:lnTo>
                    <a:pt x="9" y="12"/>
                  </a:lnTo>
                  <a:lnTo>
                    <a:pt x="12" y="10"/>
                  </a:lnTo>
                  <a:lnTo>
                    <a:pt x="14" y="10"/>
                  </a:lnTo>
                  <a:lnTo>
                    <a:pt x="16" y="5"/>
                  </a:lnTo>
                  <a:lnTo>
                    <a:pt x="19" y="5"/>
                  </a:lnTo>
                  <a:lnTo>
                    <a:pt x="19" y="5"/>
                  </a:lnTo>
                  <a:lnTo>
                    <a:pt x="19" y="8"/>
                  </a:lnTo>
                  <a:lnTo>
                    <a:pt x="21" y="8"/>
                  </a:lnTo>
                  <a:lnTo>
                    <a:pt x="26" y="5"/>
                  </a:lnTo>
                  <a:lnTo>
                    <a:pt x="28" y="0"/>
                  </a:lnTo>
                  <a:lnTo>
                    <a:pt x="31" y="0"/>
                  </a:lnTo>
                  <a:lnTo>
                    <a:pt x="33" y="0"/>
                  </a:lnTo>
                  <a:lnTo>
                    <a:pt x="33"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7" name="Freeform 522">
              <a:extLst>
                <a:ext uri="{FF2B5EF4-FFF2-40B4-BE49-F238E27FC236}">
                  <a16:creationId xmlns:a16="http://schemas.microsoft.com/office/drawing/2014/main" id="{041034F9-D5BD-4BE5-9295-1AB0C4AF2E79}"/>
                </a:ext>
              </a:extLst>
            </p:cNvPr>
            <p:cNvSpPr>
              <a:spLocks/>
            </p:cNvSpPr>
            <p:nvPr/>
          </p:nvSpPr>
          <p:spPr bwMode="auto">
            <a:xfrm>
              <a:off x="5347535" y="3119404"/>
              <a:ext cx="52388" cy="41275"/>
            </a:xfrm>
            <a:custGeom>
              <a:avLst/>
              <a:gdLst>
                <a:gd name="T0" fmla="*/ 33 w 33"/>
                <a:gd name="T1" fmla="*/ 3 h 26"/>
                <a:gd name="T2" fmla="*/ 33 w 33"/>
                <a:gd name="T3" fmla="*/ 3 h 26"/>
                <a:gd name="T4" fmla="*/ 33 w 33"/>
                <a:gd name="T5" fmla="*/ 5 h 26"/>
                <a:gd name="T6" fmla="*/ 28 w 33"/>
                <a:gd name="T7" fmla="*/ 8 h 26"/>
                <a:gd name="T8" fmla="*/ 16 w 33"/>
                <a:gd name="T9" fmla="*/ 15 h 26"/>
                <a:gd name="T10" fmla="*/ 14 w 33"/>
                <a:gd name="T11" fmla="*/ 15 h 26"/>
                <a:gd name="T12" fmla="*/ 12 w 33"/>
                <a:gd name="T13" fmla="*/ 17 h 26"/>
                <a:gd name="T14" fmla="*/ 12 w 33"/>
                <a:gd name="T15" fmla="*/ 19 h 26"/>
                <a:gd name="T16" fmla="*/ 7 w 33"/>
                <a:gd name="T17" fmla="*/ 22 h 26"/>
                <a:gd name="T18" fmla="*/ 2 w 33"/>
                <a:gd name="T19" fmla="*/ 26 h 26"/>
                <a:gd name="T20" fmla="*/ 0 w 33"/>
                <a:gd name="T21" fmla="*/ 26 h 26"/>
                <a:gd name="T22" fmla="*/ 2 w 33"/>
                <a:gd name="T23" fmla="*/ 24 h 26"/>
                <a:gd name="T24" fmla="*/ 2 w 33"/>
                <a:gd name="T25" fmla="*/ 22 h 26"/>
                <a:gd name="T26" fmla="*/ 5 w 33"/>
                <a:gd name="T27" fmla="*/ 19 h 26"/>
                <a:gd name="T28" fmla="*/ 5 w 33"/>
                <a:gd name="T29" fmla="*/ 17 h 26"/>
                <a:gd name="T30" fmla="*/ 9 w 33"/>
                <a:gd name="T31" fmla="*/ 12 h 26"/>
                <a:gd name="T32" fmla="*/ 12 w 33"/>
                <a:gd name="T33" fmla="*/ 10 h 26"/>
                <a:gd name="T34" fmla="*/ 14 w 33"/>
                <a:gd name="T35" fmla="*/ 10 h 26"/>
                <a:gd name="T36" fmla="*/ 16 w 33"/>
                <a:gd name="T37" fmla="*/ 5 h 26"/>
                <a:gd name="T38" fmla="*/ 19 w 33"/>
                <a:gd name="T39" fmla="*/ 5 h 26"/>
                <a:gd name="T40" fmla="*/ 19 w 33"/>
                <a:gd name="T41" fmla="*/ 5 h 26"/>
                <a:gd name="T42" fmla="*/ 19 w 33"/>
                <a:gd name="T43" fmla="*/ 8 h 26"/>
                <a:gd name="T44" fmla="*/ 21 w 33"/>
                <a:gd name="T45" fmla="*/ 8 h 26"/>
                <a:gd name="T46" fmla="*/ 26 w 33"/>
                <a:gd name="T47" fmla="*/ 5 h 26"/>
                <a:gd name="T48" fmla="*/ 28 w 33"/>
                <a:gd name="T49" fmla="*/ 0 h 26"/>
                <a:gd name="T50" fmla="*/ 31 w 33"/>
                <a:gd name="T51" fmla="*/ 0 h 26"/>
                <a:gd name="T52" fmla="*/ 33 w 33"/>
                <a:gd name="T53" fmla="*/ 0 h 26"/>
                <a:gd name="T54" fmla="*/ 33 w 33"/>
                <a:gd name="T55"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26">
                  <a:moveTo>
                    <a:pt x="33" y="3"/>
                  </a:moveTo>
                  <a:lnTo>
                    <a:pt x="33" y="3"/>
                  </a:lnTo>
                  <a:lnTo>
                    <a:pt x="33" y="5"/>
                  </a:lnTo>
                  <a:lnTo>
                    <a:pt x="28" y="8"/>
                  </a:lnTo>
                  <a:lnTo>
                    <a:pt x="16" y="15"/>
                  </a:lnTo>
                  <a:lnTo>
                    <a:pt x="14" y="15"/>
                  </a:lnTo>
                  <a:lnTo>
                    <a:pt x="12" y="17"/>
                  </a:lnTo>
                  <a:lnTo>
                    <a:pt x="12" y="19"/>
                  </a:lnTo>
                  <a:lnTo>
                    <a:pt x="7" y="22"/>
                  </a:lnTo>
                  <a:lnTo>
                    <a:pt x="2" y="26"/>
                  </a:lnTo>
                  <a:lnTo>
                    <a:pt x="0" y="26"/>
                  </a:lnTo>
                  <a:lnTo>
                    <a:pt x="2" y="24"/>
                  </a:lnTo>
                  <a:lnTo>
                    <a:pt x="2" y="22"/>
                  </a:lnTo>
                  <a:lnTo>
                    <a:pt x="5" y="19"/>
                  </a:lnTo>
                  <a:lnTo>
                    <a:pt x="5" y="17"/>
                  </a:lnTo>
                  <a:lnTo>
                    <a:pt x="9" y="12"/>
                  </a:lnTo>
                  <a:lnTo>
                    <a:pt x="12" y="10"/>
                  </a:lnTo>
                  <a:lnTo>
                    <a:pt x="14" y="10"/>
                  </a:lnTo>
                  <a:lnTo>
                    <a:pt x="16" y="5"/>
                  </a:lnTo>
                  <a:lnTo>
                    <a:pt x="19" y="5"/>
                  </a:lnTo>
                  <a:lnTo>
                    <a:pt x="19" y="5"/>
                  </a:lnTo>
                  <a:lnTo>
                    <a:pt x="19" y="8"/>
                  </a:lnTo>
                  <a:lnTo>
                    <a:pt x="21" y="8"/>
                  </a:lnTo>
                  <a:lnTo>
                    <a:pt x="26" y="5"/>
                  </a:lnTo>
                  <a:lnTo>
                    <a:pt x="28" y="0"/>
                  </a:lnTo>
                  <a:lnTo>
                    <a:pt x="31" y="0"/>
                  </a:lnTo>
                  <a:lnTo>
                    <a:pt x="33" y="0"/>
                  </a:lnTo>
                  <a:lnTo>
                    <a:pt x="33"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8" name="Freeform 523">
              <a:extLst>
                <a:ext uri="{FF2B5EF4-FFF2-40B4-BE49-F238E27FC236}">
                  <a16:creationId xmlns:a16="http://schemas.microsoft.com/office/drawing/2014/main" id="{CD9858F5-E62B-45C7-9FA7-0C7550951EC7}"/>
                </a:ext>
              </a:extLst>
            </p:cNvPr>
            <p:cNvSpPr>
              <a:spLocks/>
            </p:cNvSpPr>
            <p:nvPr/>
          </p:nvSpPr>
          <p:spPr bwMode="auto">
            <a:xfrm>
              <a:off x="5336423" y="3184491"/>
              <a:ext cx="11113" cy="6350"/>
            </a:xfrm>
            <a:custGeom>
              <a:avLst/>
              <a:gdLst>
                <a:gd name="T0" fmla="*/ 5 w 7"/>
                <a:gd name="T1" fmla="*/ 0 h 4"/>
                <a:gd name="T2" fmla="*/ 7 w 7"/>
                <a:gd name="T3" fmla="*/ 2 h 4"/>
                <a:gd name="T4" fmla="*/ 5 w 7"/>
                <a:gd name="T5" fmla="*/ 2 h 4"/>
                <a:gd name="T6" fmla="*/ 2 w 7"/>
                <a:gd name="T7" fmla="*/ 4 h 4"/>
                <a:gd name="T8" fmla="*/ 0 w 7"/>
                <a:gd name="T9" fmla="*/ 2 h 4"/>
                <a:gd name="T10" fmla="*/ 2 w 7"/>
                <a:gd name="T11" fmla="*/ 2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lnTo>
                    <a:pt x="7" y="2"/>
                  </a:lnTo>
                  <a:lnTo>
                    <a:pt x="5" y="2"/>
                  </a:lnTo>
                  <a:lnTo>
                    <a:pt x="2" y="4"/>
                  </a:lnTo>
                  <a:lnTo>
                    <a:pt x="0" y="2"/>
                  </a:lnTo>
                  <a:lnTo>
                    <a:pt x="2" y="2"/>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09" name="Freeform 524">
              <a:extLst>
                <a:ext uri="{FF2B5EF4-FFF2-40B4-BE49-F238E27FC236}">
                  <a16:creationId xmlns:a16="http://schemas.microsoft.com/office/drawing/2014/main" id="{FD582DE3-BB62-4D00-9AE7-1AE9DB5C3C3B}"/>
                </a:ext>
              </a:extLst>
            </p:cNvPr>
            <p:cNvSpPr>
              <a:spLocks/>
            </p:cNvSpPr>
            <p:nvPr/>
          </p:nvSpPr>
          <p:spPr bwMode="auto">
            <a:xfrm>
              <a:off x="5336423" y="3184491"/>
              <a:ext cx="11113" cy="6350"/>
            </a:xfrm>
            <a:custGeom>
              <a:avLst/>
              <a:gdLst>
                <a:gd name="T0" fmla="*/ 5 w 7"/>
                <a:gd name="T1" fmla="*/ 0 h 4"/>
                <a:gd name="T2" fmla="*/ 7 w 7"/>
                <a:gd name="T3" fmla="*/ 2 h 4"/>
                <a:gd name="T4" fmla="*/ 5 w 7"/>
                <a:gd name="T5" fmla="*/ 2 h 4"/>
                <a:gd name="T6" fmla="*/ 2 w 7"/>
                <a:gd name="T7" fmla="*/ 4 h 4"/>
                <a:gd name="T8" fmla="*/ 0 w 7"/>
                <a:gd name="T9" fmla="*/ 2 h 4"/>
                <a:gd name="T10" fmla="*/ 2 w 7"/>
                <a:gd name="T11" fmla="*/ 2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lnTo>
                    <a:pt x="7" y="2"/>
                  </a:lnTo>
                  <a:lnTo>
                    <a:pt x="5" y="2"/>
                  </a:lnTo>
                  <a:lnTo>
                    <a:pt x="2" y="4"/>
                  </a:lnTo>
                  <a:lnTo>
                    <a:pt x="0" y="2"/>
                  </a:lnTo>
                  <a:lnTo>
                    <a:pt x="2" y="2"/>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0" name="Freeform 525">
              <a:extLst>
                <a:ext uri="{FF2B5EF4-FFF2-40B4-BE49-F238E27FC236}">
                  <a16:creationId xmlns:a16="http://schemas.microsoft.com/office/drawing/2014/main" id="{6AEEACDB-C348-4E0F-BF24-6BD81A89F024}"/>
                </a:ext>
              </a:extLst>
            </p:cNvPr>
            <p:cNvSpPr>
              <a:spLocks/>
            </p:cNvSpPr>
            <p:nvPr/>
          </p:nvSpPr>
          <p:spPr bwMode="auto">
            <a:xfrm>
              <a:off x="5306260" y="3160678"/>
              <a:ext cx="22225" cy="30163"/>
            </a:xfrm>
            <a:custGeom>
              <a:avLst/>
              <a:gdLst>
                <a:gd name="T0" fmla="*/ 12 w 14"/>
                <a:gd name="T1" fmla="*/ 0 h 19"/>
                <a:gd name="T2" fmla="*/ 12 w 14"/>
                <a:gd name="T3" fmla="*/ 0 h 19"/>
                <a:gd name="T4" fmla="*/ 14 w 14"/>
                <a:gd name="T5" fmla="*/ 3 h 19"/>
                <a:gd name="T6" fmla="*/ 14 w 14"/>
                <a:gd name="T7" fmla="*/ 5 h 19"/>
                <a:gd name="T8" fmla="*/ 14 w 14"/>
                <a:gd name="T9" fmla="*/ 5 h 19"/>
                <a:gd name="T10" fmla="*/ 2 w 14"/>
                <a:gd name="T11" fmla="*/ 17 h 19"/>
                <a:gd name="T12" fmla="*/ 0 w 14"/>
                <a:gd name="T13" fmla="*/ 19 h 19"/>
                <a:gd name="T14" fmla="*/ 0 w 14"/>
                <a:gd name="T15" fmla="*/ 17 h 19"/>
                <a:gd name="T16" fmla="*/ 9 w 14"/>
                <a:gd name="T17" fmla="*/ 5 h 19"/>
                <a:gd name="T18" fmla="*/ 9 w 14"/>
                <a:gd name="T19" fmla="*/ 0 h 19"/>
                <a:gd name="T20" fmla="*/ 12 w 1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9">
                  <a:moveTo>
                    <a:pt x="12" y="0"/>
                  </a:moveTo>
                  <a:lnTo>
                    <a:pt x="12" y="0"/>
                  </a:lnTo>
                  <a:lnTo>
                    <a:pt x="14" y="3"/>
                  </a:lnTo>
                  <a:lnTo>
                    <a:pt x="14" y="5"/>
                  </a:lnTo>
                  <a:lnTo>
                    <a:pt x="14" y="5"/>
                  </a:lnTo>
                  <a:lnTo>
                    <a:pt x="2" y="17"/>
                  </a:lnTo>
                  <a:lnTo>
                    <a:pt x="0" y="19"/>
                  </a:lnTo>
                  <a:lnTo>
                    <a:pt x="0" y="17"/>
                  </a:lnTo>
                  <a:lnTo>
                    <a:pt x="9" y="5"/>
                  </a:lnTo>
                  <a:lnTo>
                    <a:pt x="9" y="0"/>
                  </a:lnTo>
                  <a:lnTo>
                    <a:pt x="1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1" name="Freeform 526">
              <a:extLst>
                <a:ext uri="{FF2B5EF4-FFF2-40B4-BE49-F238E27FC236}">
                  <a16:creationId xmlns:a16="http://schemas.microsoft.com/office/drawing/2014/main" id="{82030F73-BAEF-4753-ACA6-D46043CF4045}"/>
                </a:ext>
              </a:extLst>
            </p:cNvPr>
            <p:cNvSpPr>
              <a:spLocks/>
            </p:cNvSpPr>
            <p:nvPr/>
          </p:nvSpPr>
          <p:spPr bwMode="auto">
            <a:xfrm>
              <a:off x="5306260" y="3160678"/>
              <a:ext cx="22225" cy="30163"/>
            </a:xfrm>
            <a:custGeom>
              <a:avLst/>
              <a:gdLst>
                <a:gd name="T0" fmla="*/ 12 w 14"/>
                <a:gd name="T1" fmla="*/ 0 h 19"/>
                <a:gd name="T2" fmla="*/ 12 w 14"/>
                <a:gd name="T3" fmla="*/ 0 h 19"/>
                <a:gd name="T4" fmla="*/ 14 w 14"/>
                <a:gd name="T5" fmla="*/ 3 h 19"/>
                <a:gd name="T6" fmla="*/ 14 w 14"/>
                <a:gd name="T7" fmla="*/ 5 h 19"/>
                <a:gd name="T8" fmla="*/ 14 w 14"/>
                <a:gd name="T9" fmla="*/ 5 h 19"/>
                <a:gd name="T10" fmla="*/ 2 w 14"/>
                <a:gd name="T11" fmla="*/ 17 h 19"/>
                <a:gd name="T12" fmla="*/ 0 w 14"/>
                <a:gd name="T13" fmla="*/ 19 h 19"/>
                <a:gd name="T14" fmla="*/ 0 w 14"/>
                <a:gd name="T15" fmla="*/ 17 h 19"/>
                <a:gd name="T16" fmla="*/ 9 w 14"/>
                <a:gd name="T17" fmla="*/ 5 h 19"/>
                <a:gd name="T18" fmla="*/ 9 w 14"/>
                <a:gd name="T19" fmla="*/ 0 h 19"/>
                <a:gd name="T20" fmla="*/ 12 w 1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9">
                  <a:moveTo>
                    <a:pt x="12" y="0"/>
                  </a:moveTo>
                  <a:lnTo>
                    <a:pt x="12" y="0"/>
                  </a:lnTo>
                  <a:lnTo>
                    <a:pt x="14" y="3"/>
                  </a:lnTo>
                  <a:lnTo>
                    <a:pt x="14" y="5"/>
                  </a:lnTo>
                  <a:lnTo>
                    <a:pt x="14" y="5"/>
                  </a:lnTo>
                  <a:lnTo>
                    <a:pt x="2" y="17"/>
                  </a:lnTo>
                  <a:lnTo>
                    <a:pt x="0" y="19"/>
                  </a:lnTo>
                  <a:lnTo>
                    <a:pt x="0" y="17"/>
                  </a:lnTo>
                  <a:lnTo>
                    <a:pt x="9" y="5"/>
                  </a:lnTo>
                  <a:lnTo>
                    <a:pt x="9" y="0"/>
                  </a:lnTo>
                  <a:lnTo>
                    <a:pt x="1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2" name="Freeform 545">
              <a:extLst>
                <a:ext uri="{FF2B5EF4-FFF2-40B4-BE49-F238E27FC236}">
                  <a16:creationId xmlns:a16="http://schemas.microsoft.com/office/drawing/2014/main" id="{7578C37F-D9F6-49AF-9DDA-DB1CE95FB86B}"/>
                </a:ext>
              </a:extLst>
            </p:cNvPr>
            <p:cNvSpPr>
              <a:spLocks/>
            </p:cNvSpPr>
            <p:nvPr/>
          </p:nvSpPr>
          <p:spPr bwMode="auto">
            <a:xfrm>
              <a:off x="2704352" y="1489039"/>
              <a:ext cx="168275" cy="258763"/>
            </a:xfrm>
            <a:custGeom>
              <a:avLst/>
              <a:gdLst>
                <a:gd name="T0" fmla="*/ 47 w 106"/>
                <a:gd name="T1" fmla="*/ 7 h 163"/>
                <a:gd name="T2" fmla="*/ 61 w 106"/>
                <a:gd name="T3" fmla="*/ 0 h 163"/>
                <a:gd name="T4" fmla="*/ 73 w 106"/>
                <a:gd name="T5" fmla="*/ 7 h 163"/>
                <a:gd name="T6" fmla="*/ 87 w 106"/>
                <a:gd name="T7" fmla="*/ 16 h 163"/>
                <a:gd name="T8" fmla="*/ 85 w 106"/>
                <a:gd name="T9" fmla="*/ 24 h 163"/>
                <a:gd name="T10" fmla="*/ 73 w 106"/>
                <a:gd name="T11" fmla="*/ 28 h 163"/>
                <a:gd name="T12" fmla="*/ 82 w 106"/>
                <a:gd name="T13" fmla="*/ 31 h 163"/>
                <a:gd name="T14" fmla="*/ 75 w 106"/>
                <a:gd name="T15" fmla="*/ 38 h 163"/>
                <a:gd name="T16" fmla="*/ 75 w 106"/>
                <a:gd name="T17" fmla="*/ 40 h 163"/>
                <a:gd name="T18" fmla="*/ 73 w 106"/>
                <a:gd name="T19" fmla="*/ 52 h 163"/>
                <a:gd name="T20" fmla="*/ 70 w 106"/>
                <a:gd name="T21" fmla="*/ 54 h 163"/>
                <a:gd name="T22" fmla="*/ 68 w 106"/>
                <a:gd name="T23" fmla="*/ 61 h 163"/>
                <a:gd name="T24" fmla="*/ 70 w 106"/>
                <a:gd name="T25" fmla="*/ 73 h 163"/>
                <a:gd name="T26" fmla="*/ 68 w 106"/>
                <a:gd name="T27" fmla="*/ 85 h 163"/>
                <a:gd name="T28" fmla="*/ 73 w 106"/>
                <a:gd name="T29" fmla="*/ 106 h 163"/>
                <a:gd name="T30" fmla="*/ 78 w 106"/>
                <a:gd name="T31" fmla="*/ 120 h 163"/>
                <a:gd name="T32" fmla="*/ 87 w 106"/>
                <a:gd name="T33" fmla="*/ 137 h 163"/>
                <a:gd name="T34" fmla="*/ 96 w 106"/>
                <a:gd name="T35" fmla="*/ 144 h 163"/>
                <a:gd name="T36" fmla="*/ 106 w 106"/>
                <a:gd name="T37" fmla="*/ 151 h 163"/>
                <a:gd name="T38" fmla="*/ 101 w 106"/>
                <a:gd name="T39" fmla="*/ 156 h 163"/>
                <a:gd name="T40" fmla="*/ 99 w 106"/>
                <a:gd name="T41" fmla="*/ 161 h 163"/>
                <a:gd name="T42" fmla="*/ 94 w 106"/>
                <a:gd name="T43" fmla="*/ 161 h 163"/>
                <a:gd name="T44" fmla="*/ 89 w 106"/>
                <a:gd name="T45" fmla="*/ 151 h 163"/>
                <a:gd name="T46" fmla="*/ 82 w 106"/>
                <a:gd name="T47" fmla="*/ 153 h 163"/>
                <a:gd name="T48" fmla="*/ 85 w 106"/>
                <a:gd name="T49" fmla="*/ 156 h 163"/>
                <a:gd name="T50" fmla="*/ 78 w 106"/>
                <a:gd name="T51" fmla="*/ 158 h 163"/>
                <a:gd name="T52" fmla="*/ 75 w 106"/>
                <a:gd name="T53" fmla="*/ 158 h 163"/>
                <a:gd name="T54" fmla="*/ 68 w 106"/>
                <a:gd name="T55" fmla="*/ 153 h 163"/>
                <a:gd name="T56" fmla="*/ 66 w 106"/>
                <a:gd name="T57" fmla="*/ 156 h 163"/>
                <a:gd name="T58" fmla="*/ 56 w 106"/>
                <a:gd name="T59" fmla="*/ 153 h 163"/>
                <a:gd name="T60" fmla="*/ 59 w 106"/>
                <a:gd name="T61" fmla="*/ 149 h 163"/>
                <a:gd name="T62" fmla="*/ 44 w 106"/>
                <a:gd name="T63" fmla="*/ 151 h 163"/>
                <a:gd name="T64" fmla="*/ 40 w 106"/>
                <a:gd name="T65" fmla="*/ 149 h 163"/>
                <a:gd name="T66" fmla="*/ 40 w 106"/>
                <a:gd name="T67" fmla="*/ 139 h 163"/>
                <a:gd name="T68" fmla="*/ 37 w 106"/>
                <a:gd name="T69" fmla="*/ 135 h 163"/>
                <a:gd name="T70" fmla="*/ 42 w 106"/>
                <a:gd name="T71" fmla="*/ 132 h 163"/>
                <a:gd name="T72" fmla="*/ 49 w 106"/>
                <a:gd name="T73" fmla="*/ 132 h 163"/>
                <a:gd name="T74" fmla="*/ 44 w 106"/>
                <a:gd name="T75" fmla="*/ 127 h 163"/>
                <a:gd name="T76" fmla="*/ 35 w 106"/>
                <a:gd name="T77" fmla="*/ 123 h 163"/>
                <a:gd name="T78" fmla="*/ 42 w 106"/>
                <a:gd name="T79" fmla="*/ 111 h 163"/>
                <a:gd name="T80" fmla="*/ 33 w 106"/>
                <a:gd name="T81" fmla="*/ 123 h 163"/>
                <a:gd name="T82" fmla="*/ 33 w 106"/>
                <a:gd name="T83" fmla="*/ 111 h 163"/>
                <a:gd name="T84" fmla="*/ 28 w 106"/>
                <a:gd name="T85" fmla="*/ 111 h 163"/>
                <a:gd name="T86" fmla="*/ 23 w 106"/>
                <a:gd name="T87" fmla="*/ 113 h 163"/>
                <a:gd name="T88" fmla="*/ 18 w 106"/>
                <a:gd name="T89" fmla="*/ 102 h 163"/>
                <a:gd name="T90" fmla="*/ 14 w 106"/>
                <a:gd name="T91" fmla="*/ 106 h 163"/>
                <a:gd name="T92" fmla="*/ 9 w 106"/>
                <a:gd name="T93" fmla="*/ 111 h 163"/>
                <a:gd name="T94" fmla="*/ 4 w 106"/>
                <a:gd name="T95" fmla="*/ 109 h 163"/>
                <a:gd name="T96" fmla="*/ 0 w 106"/>
                <a:gd name="T97" fmla="*/ 94 h 163"/>
                <a:gd name="T98" fmla="*/ 0 w 106"/>
                <a:gd name="T99" fmla="*/ 83 h 163"/>
                <a:gd name="T100" fmla="*/ 7 w 106"/>
                <a:gd name="T101" fmla="*/ 78 h 163"/>
                <a:gd name="T102" fmla="*/ 11 w 106"/>
                <a:gd name="T103" fmla="*/ 78 h 163"/>
                <a:gd name="T104" fmla="*/ 16 w 106"/>
                <a:gd name="T105" fmla="*/ 76 h 163"/>
                <a:gd name="T106" fmla="*/ 18 w 106"/>
                <a:gd name="T107" fmla="*/ 66 h 163"/>
                <a:gd name="T108" fmla="*/ 21 w 106"/>
                <a:gd name="T109" fmla="*/ 61 h 163"/>
                <a:gd name="T110" fmla="*/ 23 w 106"/>
                <a:gd name="T111" fmla="*/ 52 h 163"/>
                <a:gd name="T112" fmla="*/ 23 w 106"/>
                <a:gd name="T113" fmla="*/ 52 h 163"/>
                <a:gd name="T114" fmla="*/ 21 w 106"/>
                <a:gd name="T115" fmla="*/ 47 h 163"/>
                <a:gd name="T116" fmla="*/ 21 w 106"/>
                <a:gd name="T117" fmla="*/ 31 h 163"/>
                <a:gd name="T118" fmla="*/ 30 w 106"/>
                <a:gd name="T119" fmla="*/ 28 h 163"/>
                <a:gd name="T120" fmla="*/ 28 w 106"/>
                <a:gd name="T121" fmla="*/ 24 h 163"/>
                <a:gd name="T122" fmla="*/ 28 w 106"/>
                <a:gd name="T123" fmla="*/ 21 h 163"/>
                <a:gd name="T124" fmla="*/ 37 w 106"/>
                <a:gd name="T125" fmla="*/ 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63">
                  <a:moveTo>
                    <a:pt x="37" y="7"/>
                  </a:moveTo>
                  <a:lnTo>
                    <a:pt x="40" y="7"/>
                  </a:lnTo>
                  <a:lnTo>
                    <a:pt x="47" y="7"/>
                  </a:lnTo>
                  <a:lnTo>
                    <a:pt x="49" y="5"/>
                  </a:lnTo>
                  <a:lnTo>
                    <a:pt x="59" y="0"/>
                  </a:lnTo>
                  <a:lnTo>
                    <a:pt x="61" y="0"/>
                  </a:lnTo>
                  <a:lnTo>
                    <a:pt x="66" y="5"/>
                  </a:lnTo>
                  <a:lnTo>
                    <a:pt x="68" y="5"/>
                  </a:lnTo>
                  <a:lnTo>
                    <a:pt x="73" y="7"/>
                  </a:lnTo>
                  <a:lnTo>
                    <a:pt x="80" y="12"/>
                  </a:lnTo>
                  <a:lnTo>
                    <a:pt x="85" y="12"/>
                  </a:lnTo>
                  <a:lnTo>
                    <a:pt x="87" y="16"/>
                  </a:lnTo>
                  <a:lnTo>
                    <a:pt x="87" y="19"/>
                  </a:lnTo>
                  <a:lnTo>
                    <a:pt x="75" y="21"/>
                  </a:lnTo>
                  <a:lnTo>
                    <a:pt x="85" y="24"/>
                  </a:lnTo>
                  <a:lnTo>
                    <a:pt x="85" y="26"/>
                  </a:lnTo>
                  <a:lnTo>
                    <a:pt x="80" y="24"/>
                  </a:lnTo>
                  <a:lnTo>
                    <a:pt x="73" y="28"/>
                  </a:lnTo>
                  <a:lnTo>
                    <a:pt x="78" y="28"/>
                  </a:lnTo>
                  <a:lnTo>
                    <a:pt x="82" y="28"/>
                  </a:lnTo>
                  <a:lnTo>
                    <a:pt x="82" y="31"/>
                  </a:lnTo>
                  <a:lnTo>
                    <a:pt x="82" y="33"/>
                  </a:lnTo>
                  <a:lnTo>
                    <a:pt x="80" y="35"/>
                  </a:lnTo>
                  <a:lnTo>
                    <a:pt x="75" y="38"/>
                  </a:lnTo>
                  <a:lnTo>
                    <a:pt x="70" y="38"/>
                  </a:lnTo>
                  <a:lnTo>
                    <a:pt x="68" y="40"/>
                  </a:lnTo>
                  <a:lnTo>
                    <a:pt x="75" y="40"/>
                  </a:lnTo>
                  <a:lnTo>
                    <a:pt x="75" y="42"/>
                  </a:lnTo>
                  <a:lnTo>
                    <a:pt x="73" y="47"/>
                  </a:lnTo>
                  <a:lnTo>
                    <a:pt x="73" y="52"/>
                  </a:lnTo>
                  <a:lnTo>
                    <a:pt x="70" y="50"/>
                  </a:lnTo>
                  <a:lnTo>
                    <a:pt x="68" y="52"/>
                  </a:lnTo>
                  <a:lnTo>
                    <a:pt x="70" y="54"/>
                  </a:lnTo>
                  <a:lnTo>
                    <a:pt x="70" y="57"/>
                  </a:lnTo>
                  <a:lnTo>
                    <a:pt x="68" y="57"/>
                  </a:lnTo>
                  <a:lnTo>
                    <a:pt x="68" y="61"/>
                  </a:lnTo>
                  <a:lnTo>
                    <a:pt x="68" y="66"/>
                  </a:lnTo>
                  <a:lnTo>
                    <a:pt x="68" y="68"/>
                  </a:lnTo>
                  <a:lnTo>
                    <a:pt x="70" y="73"/>
                  </a:lnTo>
                  <a:lnTo>
                    <a:pt x="70" y="76"/>
                  </a:lnTo>
                  <a:lnTo>
                    <a:pt x="68" y="83"/>
                  </a:lnTo>
                  <a:lnTo>
                    <a:pt x="68" y="85"/>
                  </a:lnTo>
                  <a:lnTo>
                    <a:pt x="68" y="87"/>
                  </a:lnTo>
                  <a:lnTo>
                    <a:pt x="70" y="102"/>
                  </a:lnTo>
                  <a:lnTo>
                    <a:pt x="73" y="106"/>
                  </a:lnTo>
                  <a:lnTo>
                    <a:pt x="73" y="109"/>
                  </a:lnTo>
                  <a:lnTo>
                    <a:pt x="75" y="113"/>
                  </a:lnTo>
                  <a:lnTo>
                    <a:pt x="78" y="120"/>
                  </a:lnTo>
                  <a:lnTo>
                    <a:pt x="80" y="123"/>
                  </a:lnTo>
                  <a:lnTo>
                    <a:pt x="80" y="125"/>
                  </a:lnTo>
                  <a:lnTo>
                    <a:pt x="87" y="137"/>
                  </a:lnTo>
                  <a:lnTo>
                    <a:pt x="89" y="139"/>
                  </a:lnTo>
                  <a:lnTo>
                    <a:pt x="92" y="142"/>
                  </a:lnTo>
                  <a:lnTo>
                    <a:pt x="96" y="144"/>
                  </a:lnTo>
                  <a:lnTo>
                    <a:pt x="101" y="149"/>
                  </a:lnTo>
                  <a:lnTo>
                    <a:pt x="104" y="149"/>
                  </a:lnTo>
                  <a:lnTo>
                    <a:pt x="106" y="151"/>
                  </a:lnTo>
                  <a:lnTo>
                    <a:pt x="104" y="151"/>
                  </a:lnTo>
                  <a:lnTo>
                    <a:pt x="104" y="156"/>
                  </a:lnTo>
                  <a:lnTo>
                    <a:pt x="101" y="156"/>
                  </a:lnTo>
                  <a:lnTo>
                    <a:pt x="94" y="156"/>
                  </a:lnTo>
                  <a:lnTo>
                    <a:pt x="92" y="158"/>
                  </a:lnTo>
                  <a:lnTo>
                    <a:pt x="99" y="161"/>
                  </a:lnTo>
                  <a:lnTo>
                    <a:pt x="96" y="161"/>
                  </a:lnTo>
                  <a:lnTo>
                    <a:pt x="96" y="163"/>
                  </a:lnTo>
                  <a:lnTo>
                    <a:pt x="94" y="161"/>
                  </a:lnTo>
                  <a:lnTo>
                    <a:pt x="89" y="156"/>
                  </a:lnTo>
                  <a:lnTo>
                    <a:pt x="87" y="153"/>
                  </a:lnTo>
                  <a:lnTo>
                    <a:pt x="89" y="151"/>
                  </a:lnTo>
                  <a:lnTo>
                    <a:pt x="85" y="151"/>
                  </a:lnTo>
                  <a:lnTo>
                    <a:pt x="82" y="151"/>
                  </a:lnTo>
                  <a:lnTo>
                    <a:pt x="82" y="153"/>
                  </a:lnTo>
                  <a:lnTo>
                    <a:pt x="82" y="156"/>
                  </a:lnTo>
                  <a:lnTo>
                    <a:pt x="85" y="158"/>
                  </a:lnTo>
                  <a:lnTo>
                    <a:pt x="85" y="156"/>
                  </a:lnTo>
                  <a:lnTo>
                    <a:pt x="87" y="161"/>
                  </a:lnTo>
                  <a:lnTo>
                    <a:pt x="82" y="161"/>
                  </a:lnTo>
                  <a:lnTo>
                    <a:pt x="78" y="158"/>
                  </a:lnTo>
                  <a:lnTo>
                    <a:pt x="78" y="158"/>
                  </a:lnTo>
                  <a:lnTo>
                    <a:pt x="78" y="161"/>
                  </a:lnTo>
                  <a:lnTo>
                    <a:pt x="75" y="158"/>
                  </a:lnTo>
                  <a:lnTo>
                    <a:pt x="73" y="153"/>
                  </a:lnTo>
                  <a:lnTo>
                    <a:pt x="70" y="153"/>
                  </a:lnTo>
                  <a:lnTo>
                    <a:pt x="68" y="153"/>
                  </a:lnTo>
                  <a:lnTo>
                    <a:pt x="68" y="156"/>
                  </a:lnTo>
                  <a:lnTo>
                    <a:pt x="66" y="156"/>
                  </a:lnTo>
                  <a:lnTo>
                    <a:pt x="66" y="156"/>
                  </a:lnTo>
                  <a:lnTo>
                    <a:pt x="66" y="161"/>
                  </a:lnTo>
                  <a:lnTo>
                    <a:pt x="63" y="161"/>
                  </a:lnTo>
                  <a:lnTo>
                    <a:pt x="56" y="153"/>
                  </a:lnTo>
                  <a:lnTo>
                    <a:pt x="56" y="151"/>
                  </a:lnTo>
                  <a:lnTo>
                    <a:pt x="59" y="151"/>
                  </a:lnTo>
                  <a:lnTo>
                    <a:pt x="59" y="149"/>
                  </a:lnTo>
                  <a:lnTo>
                    <a:pt x="54" y="149"/>
                  </a:lnTo>
                  <a:lnTo>
                    <a:pt x="47" y="151"/>
                  </a:lnTo>
                  <a:lnTo>
                    <a:pt x="44" y="151"/>
                  </a:lnTo>
                  <a:lnTo>
                    <a:pt x="42" y="149"/>
                  </a:lnTo>
                  <a:lnTo>
                    <a:pt x="42" y="149"/>
                  </a:lnTo>
                  <a:lnTo>
                    <a:pt x="40" y="149"/>
                  </a:lnTo>
                  <a:lnTo>
                    <a:pt x="37" y="146"/>
                  </a:lnTo>
                  <a:lnTo>
                    <a:pt x="37" y="144"/>
                  </a:lnTo>
                  <a:lnTo>
                    <a:pt x="40" y="139"/>
                  </a:lnTo>
                  <a:lnTo>
                    <a:pt x="37" y="139"/>
                  </a:lnTo>
                  <a:lnTo>
                    <a:pt x="37" y="137"/>
                  </a:lnTo>
                  <a:lnTo>
                    <a:pt x="37" y="135"/>
                  </a:lnTo>
                  <a:lnTo>
                    <a:pt x="42" y="137"/>
                  </a:lnTo>
                  <a:lnTo>
                    <a:pt x="42" y="135"/>
                  </a:lnTo>
                  <a:lnTo>
                    <a:pt x="42" y="132"/>
                  </a:lnTo>
                  <a:lnTo>
                    <a:pt x="44" y="135"/>
                  </a:lnTo>
                  <a:lnTo>
                    <a:pt x="47" y="135"/>
                  </a:lnTo>
                  <a:lnTo>
                    <a:pt x="49" y="132"/>
                  </a:lnTo>
                  <a:lnTo>
                    <a:pt x="44" y="132"/>
                  </a:lnTo>
                  <a:lnTo>
                    <a:pt x="47" y="130"/>
                  </a:lnTo>
                  <a:lnTo>
                    <a:pt x="44" y="127"/>
                  </a:lnTo>
                  <a:lnTo>
                    <a:pt x="37" y="127"/>
                  </a:lnTo>
                  <a:lnTo>
                    <a:pt x="35" y="125"/>
                  </a:lnTo>
                  <a:lnTo>
                    <a:pt x="35" y="123"/>
                  </a:lnTo>
                  <a:lnTo>
                    <a:pt x="37" y="123"/>
                  </a:lnTo>
                  <a:lnTo>
                    <a:pt x="37" y="120"/>
                  </a:lnTo>
                  <a:lnTo>
                    <a:pt x="42" y="111"/>
                  </a:lnTo>
                  <a:lnTo>
                    <a:pt x="37" y="116"/>
                  </a:lnTo>
                  <a:lnTo>
                    <a:pt x="35" y="120"/>
                  </a:lnTo>
                  <a:lnTo>
                    <a:pt x="33" y="123"/>
                  </a:lnTo>
                  <a:lnTo>
                    <a:pt x="33" y="118"/>
                  </a:lnTo>
                  <a:lnTo>
                    <a:pt x="33" y="113"/>
                  </a:lnTo>
                  <a:lnTo>
                    <a:pt x="33" y="111"/>
                  </a:lnTo>
                  <a:lnTo>
                    <a:pt x="33" y="109"/>
                  </a:lnTo>
                  <a:lnTo>
                    <a:pt x="30" y="111"/>
                  </a:lnTo>
                  <a:lnTo>
                    <a:pt x="28" y="111"/>
                  </a:lnTo>
                  <a:lnTo>
                    <a:pt x="26" y="113"/>
                  </a:lnTo>
                  <a:lnTo>
                    <a:pt x="23" y="111"/>
                  </a:lnTo>
                  <a:lnTo>
                    <a:pt x="23" y="113"/>
                  </a:lnTo>
                  <a:lnTo>
                    <a:pt x="21" y="109"/>
                  </a:lnTo>
                  <a:lnTo>
                    <a:pt x="21" y="104"/>
                  </a:lnTo>
                  <a:lnTo>
                    <a:pt x="18" y="102"/>
                  </a:lnTo>
                  <a:lnTo>
                    <a:pt x="16" y="109"/>
                  </a:lnTo>
                  <a:lnTo>
                    <a:pt x="16" y="111"/>
                  </a:lnTo>
                  <a:lnTo>
                    <a:pt x="14" y="106"/>
                  </a:lnTo>
                  <a:lnTo>
                    <a:pt x="14" y="109"/>
                  </a:lnTo>
                  <a:lnTo>
                    <a:pt x="14" y="111"/>
                  </a:lnTo>
                  <a:lnTo>
                    <a:pt x="9" y="111"/>
                  </a:lnTo>
                  <a:lnTo>
                    <a:pt x="7" y="111"/>
                  </a:lnTo>
                  <a:lnTo>
                    <a:pt x="7" y="109"/>
                  </a:lnTo>
                  <a:lnTo>
                    <a:pt x="4" y="109"/>
                  </a:lnTo>
                  <a:lnTo>
                    <a:pt x="2" y="106"/>
                  </a:lnTo>
                  <a:lnTo>
                    <a:pt x="0" y="99"/>
                  </a:lnTo>
                  <a:lnTo>
                    <a:pt x="0" y="94"/>
                  </a:lnTo>
                  <a:lnTo>
                    <a:pt x="0" y="90"/>
                  </a:lnTo>
                  <a:lnTo>
                    <a:pt x="0" y="87"/>
                  </a:lnTo>
                  <a:lnTo>
                    <a:pt x="0" y="83"/>
                  </a:lnTo>
                  <a:lnTo>
                    <a:pt x="0" y="80"/>
                  </a:lnTo>
                  <a:lnTo>
                    <a:pt x="4" y="76"/>
                  </a:lnTo>
                  <a:lnTo>
                    <a:pt x="7" y="78"/>
                  </a:lnTo>
                  <a:lnTo>
                    <a:pt x="9" y="76"/>
                  </a:lnTo>
                  <a:lnTo>
                    <a:pt x="11" y="76"/>
                  </a:lnTo>
                  <a:lnTo>
                    <a:pt x="11" y="78"/>
                  </a:lnTo>
                  <a:lnTo>
                    <a:pt x="14" y="80"/>
                  </a:lnTo>
                  <a:lnTo>
                    <a:pt x="14" y="78"/>
                  </a:lnTo>
                  <a:lnTo>
                    <a:pt x="16" y="76"/>
                  </a:lnTo>
                  <a:lnTo>
                    <a:pt x="16" y="73"/>
                  </a:lnTo>
                  <a:lnTo>
                    <a:pt x="16" y="66"/>
                  </a:lnTo>
                  <a:lnTo>
                    <a:pt x="18" y="66"/>
                  </a:lnTo>
                  <a:lnTo>
                    <a:pt x="18" y="64"/>
                  </a:lnTo>
                  <a:lnTo>
                    <a:pt x="18" y="61"/>
                  </a:lnTo>
                  <a:lnTo>
                    <a:pt x="21" y="61"/>
                  </a:lnTo>
                  <a:lnTo>
                    <a:pt x="21" y="57"/>
                  </a:lnTo>
                  <a:lnTo>
                    <a:pt x="23" y="57"/>
                  </a:lnTo>
                  <a:lnTo>
                    <a:pt x="23" y="52"/>
                  </a:lnTo>
                  <a:lnTo>
                    <a:pt x="26" y="50"/>
                  </a:lnTo>
                  <a:lnTo>
                    <a:pt x="26" y="50"/>
                  </a:lnTo>
                  <a:lnTo>
                    <a:pt x="23" y="52"/>
                  </a:lnTo>
                  <a:lnTo>
                    <a:pt x="21" y="50"/>
                  </a:lnTo>
                  <a:lnTo>
                    <a:pt x="23" y="45"/>
                  </a:lnTo>
                  <a:lnTo>
                    <a:pt x="21" y="47"/>
                  </a:lnTo>
                  <a:lnTo>
                    <a:pt x="16" y="40"/>
                  </a:lnTo>
                  <a:lnTo>
                    <a:pt x="16" y="35"/>
                  </a:lnTo>
                  <a:lnTo>
                    <a:pt x="21" y="31"/>
                  </a:lnTo>
                  <a:lnTo>
                    <a:pt x="26" y="31"/>
                  </a:lnTo>
                  <a:lnTo>
                    <a:pt x="28" y="31"/>
                  </a:lnTo>
                  <a:lnTo>
                    <a:pt x="30" y="28"/>
                  </a:lnTo>
                  <a:lnTo>
                    <a:pt x="28" y="28"/>
                  </a:lnTo>
                  <a:lnTo>
                    <a:pt x="28" y="26"/>
                  </a:lnTo>
                  <a:lnTo>
                    <a:pt x="28" y="24"/>
                  </a:lnTo>
                  <a:lnTo>
                    <a:pt x="30" y="24"/>
                  </a:lnTo>
                  <a:lnTo>
                    <a:pt x="30" y="21"/>
                  </a:lnTo>
                  <a:lnTo>
                    <a:pt x="28" y="21"/>
                  </a:lnTo>
                  <a:lnTo>
                    <a:pt x="28" y="19"/>
                  </a:lnTo>
                  <a:lnTo>
                    <a:pt x="33" y="12"/>
                  </a:lnTo>
                  <a:lnTo>
                    <a:pt x="37" y="7"/>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3" name="Freeform 546">
              <a:extLst>
                <a:ext uri="{FF2B5EF4-FFF2-40B4-BE49-F238E27FC236}">
                  <a16:creationId xmlns:a16="http://schemas.microsoft.com/office/drawing/2014/main" id="{3CA8E009-FB54-4B8F-8809-C0AD51426F51}"/>
                </a:ext>
              </a:extLst>
            </p:cNvPr>
            <p:cNvSpPr>
              <a:spLocks/>
            </p:cNvSpPr>
            <p:nvPr/>
          </p:nvSpPr>
          <p:spPr bwMode="auto">
            <a:xfrm>
              <a:off x="2704352" y="1489039"/>
              <a:ext cx="168275" cy="258763"/>
            </a:xfrm>
            <a:custGeom>
              <a:avLst/>
              <a:gdLst>
                <a:gd name="T0" fmla="*/ 47 w 106"/>
                <a:gd name="T1" fmla="*/ 7 h 163"/>
                <a:gd name="T2" fmla="*/ 61 w 106"/>
                <a:gd name="T3" fmla="*/ 0 h 163"/>
                <a:gd name="T4" fmla="*/ 73 w 106"/>
                <a:gd name="T5" fmla="*/ 7 h 163"/>
                <a:gd name="T6" fmla="*/ 87 w 106"/>
                <a:gd name="T7" fmla="*/ 16 h 163"/>
                <a:gd name="T8" fmla="*/ 85 w 106"/>
                <a:gd name="T9" fmla="*/ 24 h 163"/>
                <a:gd name="T10" fmla="*/ 73 w 106"/>
                <a:gd name="T11" fmla="*/ 28 h 163"/>
                <a:gd name="T12" fmla="*/ 82 w 106"/>
                <a:gd name="T13" fmla="*/ 31 h 163"/>
                <a:gd name="T14" fmla="*/ 75 w 106"/>
                <a:gd name="T15" fmla="*/ 38 h 163"/>
                <a:gd name="T16" fmla="*/ 75 w 106"/>
                <a:gd name="T17" fmla="*/ 40 h 163"/>
                <a:gd name="T18" fmla="*/ 73 w 106"/>
                <a:gd name="T19" fmla="*/ 52 h 163"/>
                <a:gd name="T20" fmla="*/ 70 w 106"/>
                <a:gd name="T21" fmla="*/ 54 h 163"/>
                <a:gd name="T22" fmla="*/ 68 w 106"/>
                <a:gd name="T23" fmla="*/ 61 h 163"/>
                <a:gd name="T24" fmla="*/ 70 w 106"/>
                <a:gd name="T25" fmla="*/ 73 h 163"/>
                <a:gd name="T26" fmla="*/ 68 w 106"/>
                <a:gd name="T27" fmla="*/ 85 h 163"/>
                <a:gd name="T28" fmla="*/ 73 w 106"/>
                <a:gd name="T29" fmla="*/ 106 h 163"/>
                <a:gd name="T30" fmla="*/ 78 w 106"/>
                <a:gd name="T31" fmla="*/ 120 h 163"/>
                <a:gd name="T32" fmla="*/ 87 w 106"/>
                <a:gd name="T33" fmla="*/ 137 h 163"/>
                <a:gd name="T34" fmla="*/ 96 w 106"/>
                <a:gd name="T35" fmla="*/ 144 h 163"/>
                <a:gd name="T36" fmla="*/ 106 w 106"/>
                <a:gd name="T37" fmla="*/ 151 h 163"/>
                <a:gd name="T38" fmla="*/ 101 w 106"/>
                <a:gd name="T39" fmla="*/ 156 h 163"/>
                <a:gd name="T40" fmla="*/ 99 w 106"/>
                <a:gd name="T41" fmla="*/ 161 h 163"/>
                <a:gd name="T42" fmla="*/ 94 w 106"/>
                <a:gd name="T43" fmla="*/ 161 h 163"/>
                <a:gd name="T44" fmla="*/ 89 w 106"/>
                <a:gd name="T45" fmla="*/ 151 h 163"/>
                <a:gd name="T46" fmla="*/ 82 w 106"/>
                <a:gd name="T47" fmla="*/ 153 h 163"/>
                <a:gd name="T48" fmla="*/ 85 w 106"/>
                <a:gd name="T49" fmla="*/ 156 h 163"/>
                <a:gd name="T50" fmla="*/ 78 w 106"/>
                <a:gd name="T51" fmla="*/ 158 h 163"/>
                <a:gd name="T52" fmla="*/ 75 w 106"/>
                <a:gd name="T53" fmla="*/ 158 h 163"/>
                <a:gd name="T54" fmla="*/ 68 w 106"/>
                <a:gd name="T55" fmla="*/ 153 h 163"/>
                <a:gd name="T56" fmla="*/ 66 w 106"/>
                <a:gd name="T57" fmla="*/ 156 h 163"/>
                <a:gd name="T58" fmla="*/ 56 w 106"/>
                <a:gd name="T59" fmla="*/ 153 h 163"/>
                <a:gd name="T60" fmla="*/ 59 w 106"/>
                <a:gd name="T61" fmla="*/ 149 h 163"/>
                <a:gd name="T62" fmla="*/ 44 w 106"/>
                <a:gd name="T63" fmla="*/ 151 h 163"/>
                <a:gd name="T64" fmla="*/ 40 w 106"/>
                <a:gd name="T65" fmla="*/ 149 h 163"/>
                <a:gd name="T66" fmla="*/ 40 w 106"/>
                <a:gd name="T67" fmla="*/ 139 h 163"/>
                <a:gd name="T68" fmla="*/ 37 w 106"/>
                <a:gd name="T69" fmla="*/ 135 h 163"/>
                <a:gd name="T70" fmla="*/ 42 w 106"/>
                <a:gd name="T71" fmla="*/ 132 h 163"/>
                <a:gd name="T72" fmla="*/ 49 w 106"/>
                <a:gd name="T73" fmla="*/ 132 h 163"/>
                <a:gd name="T74" fmla="*/ 44 w 106"/>
                <a:gd name="T75" fmla="*/ 127 h 163"/>
                <a:gd name="T76" fmla="*/ 35 w 106"/>
                <a:gd name="T77" fmla="*/ 123 h 163"/>
                <a:gd name="T78" fmla="*/ 42 w 106"/>
                <a:gd name="T79" fmla="*/ 111 h 163"/>
                <a:gd name="T80" fmla="*/ 33 w 106"/>
                <a:gd name="T81" fmla="*/ 123 h 163"/>
                <a:gd name="T82" fmla="*/ 33 w 106"/>
                <a:gd name="T83" fmla="*/ 111 h 163"/>
                <a:gd name="T84" fmla="*/ 28 w 106"/>
                <a:gd name="T85" fmla="*/ 111 h 163"/>
                <a:gd name="T86" fmla="*/ 23 w 106"/>
                <a:gd name="T87" fmla="*/ 113 h 163"/>
                <a:gd name="T88" fmla="*/ 18 w 106"/>
                <a:gd name="T89" fmla="*/ 102 h 163"/>
                <a:gd name="T90" fmla="*/ 14 w 106"/>
                <a:gd name="T91" fmla="*/ 106 h 163"/>
                <a:gd name="T92" fmla="*/ 9 w 106"/>
                <a:gd name="T93" fmla="*/ 111 h 163"/>
                <a:gd name="T94" fmla="*/ 4 w 106"/>
                <a:gd name="T95" fmla="*/ 109 h 163"/>
                <a:gd name="T96" fmla="*/ 0 w 106"/>
                <a:gd name="T97" fmla="*/ 94 h 163"/>
                <a:gd name="T98" fmla="*/ 0 w 106"/>
                <a:gd name="T99" fmla="*/ 83 h 163"/>
                <a:gd name="T100" fmla="*/ 7 w 106"/>
                <a:gd name="T101" fmla="*/ 78 h 163"/>
                <a:gd name="T102" fmla="*/ 11 w 106"/>
                <a:gd name="T103" fmla="*/ 78 h 163"/>
                <a:gd name="T104" fmla="*/ 16 w 106"/>
                <a:gd name="T105" fmla="*/ 76 h 163"/>
                <a:gd name="T106" fmla="*/ 18 w 106"/>
                <a:gd name="T107" fmla="*/ 66 h 163"/>
                <a:gd name="T108" fmla="*/ 21 w 106"/>
                <a:gd name="T109" fmla="*/ 61 h 163"/>
                <a:gd name="T110" fmla="*/ 23 w 106"/>
                <a:gd name="T111" fmla="*/ 52 h 163"/>
                <a:gd name="T112" fmla="*/ 23 w 106"/>
                <a:gd name="T113" fmla="*/ 52 h 163"/>
                <a:gd name="T114" fmla="*/ 21 w 106"/>
                <a:gd name="T115" fmla="*/ 47 h 163"/>
                <a:gd name="T116" fmla="*/ 21 w 106"/>
                <a:gd name="T117" fmla="*/ 31 h 163"/>
                <a:gd name="T118" fmla="*/ 30 w 106"/>
                <a:gd name="T119" fmla="*/ 28 h 163"/>
                <a:gd name="T120" fmla="*/ 28 w 106"/>
                <a:gd name="T121" fmla="*/ 24 h 163"/>
                <a:gd name="T122" fmla="*/ 28 w 106"/>
                <a:gd name="T123" fmla="*/ 21 h 163"/>
                <a:gd name="T124" fmla="*/ 37 w 106"/>
                <a:gd name="T125" fmla="*/ 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63">
                  <a:moveTo>
                    <a:pt x="37" y="7"/>
                  </a:moveTo>
                  <a:lnTo>
                    <a:pt x="40" y="7"/>
                  </a:lnTo>
                  <a:lnTo>
                    <a:pt x="47" y="7"/>
                  </a:lnTo>
                  <a:lnTo>
                    <a:pt x="49" y="5"/>
                  </a:lnTo>
                  <a:lnTo>
                    <a:pt x="59" y="0"/>
                  </a:lnTo>
                  <a:lnTo>
                    <a:pt x="61" y="0"/>
                  </a:lnTo>
                  <a:lnTo>
                    <a:pt x="66" y="5"/>
                  </a:lnTo>
                  <a:lnTo>
                    <a:pt x="68" y="5"/>
                  </a:lnTo>
                  <a:lnTo>
                    <a:pt x="73" y="7"/>
                  </a:lnTo>
                  <a:lnTo>
                    <a:pt x="80" y="12"/>
                  </a:lnTo>
                  <a:lnTo>
                    <a:pt x="85" y="12"/>
                  </a:lnTo>
                  <a:lnTo>
                    <a:pt x="87" y="16"/>
                  </a:lnTo>
                  <a:lnTo>
                    <a:pt x="87" y="19"/>
                  </a:lnTo>
                  <a:lnTo>
                    <a:pt x="75" y="21"/>
                  </a:lnTo>
                  <a:lnTo>
                    <a:pt x="85" y="24"/>
                  </a:lnTo>
                  <a:lnTo>
                    <a:pt x="85" y="26"/>
                  </a:lnTo>
                  <a:lnTo>
                    <a:pt x="80" y="24"/>
                  </a:lnTo>
                  <a:lnTo>
                    <a:pt x="73" y="28"/>
                  </a:lnTo>
                  <a:lnTo>
                    <a:pt x="78" y="28"/>
                  </a:lnTo>
                  <a:lnTo>
                    <a:pt x="82" y="28"/>
                  </a:lnTo>
                  <a:lnTo>
                    <a:pt x="82" y="31"/>
                  </a:lnTo>
                  <a:lnTo>
                    <a:pt x="82" y="33"/>
                  </a:lnTo>
                  <a:lnTo>
                    <a:pt x="80" y="35"/>
                  </a:lnTo>
                  <a:lnTo>
                    <a:pt x="75" y="38"/>
                  </a:lnTo>
                  <a:lnTo>
                    <a:pt x="70" y="38"/>
                  </a:lnTo>
                  <a:lnTo>
                    <a:pt x="68" y="40"/>
                  </a:lnTo>
                  <a:lnTo>
                    <a:pt x="75" y="40"/>
                  </a:lnTo>
                  <a:lnTo>
                    <a:pt x="75" y="42"/>
                  </a:lnTo>
                  <a:lnTo>
                    <a:pt x="73" y="47"/>
                  </a:lnTo>
                  <a:lnTo>
                    <a:pt x="73" y="52"/>
                  </a:lnTo>
                  <a:lnTo>
                    <a:pt x="70" y="50"/>
                  </a:lnTo>
                  <a:lnTo>
                    <a:pt x="68" y="52"/>
                  </a:lnTo>
                  <a:lnTo>
                    <a:pt x="70" y="54"/>
                  </a:lnTo>
                  <a:lnTo>
                    <a:pt x="70" y="57"/>
                  </a:lnTo>
                  <a:lnTo>
                    <a:pt x="68" y="57"/>
                  </a:lnTo>
                  <a:lnTo>
                    <a:pt x="68" y="61"/>
                  </a:lnTo>
                  <a:lnTo>
                    <a:pt x="68" y="66"/>
                  </a:lnTo>
                  <a:lnTo>
                    <a:pt x="68" y="68"/>
                  </a:lnTo>
                  <a:lnTo>
                    <a:pt x="70" y="73"/>
                  </a:lnTo>
                  <a:lnTo>
                    <a:pt x="70" y="76"/>
                  </a:lnTo>
                  <a:lnTo>
                    <a:pt x="68" y="83"/>
                  </a:lnTo>
                  <a:lnTo>
                    <a:pt x="68" y="85"/>
                  </a:lnTo>
                  <a:lnTo>
                    <a:pt x="68" y="87"/>
                  </a:lnTo>
                  <a:lnTo>
                    <a:pt x="70" y="102"/>
                  </a:lnTo>
                  <a:lnTo>
                    <a:pt x="73" y="106"/>
                  </a:lnTo>
                  <a:lnTo>
                    <a:pt x="73" y="109"/>
                  </a:lnTo>
                  <a:lnTo>
                    <a:pt x="75" y="113"/>
                  </a:lnTo>
                  <a:lnTo>
                    <a:pt x="78" y="120"/>
                  </a:lnTo>
                  <a:lnTo>
                    <a:pt x="80" y="123"/>
                  </a:lnTo>
                  <a:lnTo>
                    <a:pt x="80" y="125"/>
                  </a:lnTo>
                  <a:lnTo>
                    <a:pt x="87" y="137"/>
                  </a:lnTo>
                  <a:lnTo>
                    <a:pt x="89" y="139"/>
                  </a:lnTo>
                  <a:lnTo>
                    <a:pt x="92" y="142"/>
                  </a:lnTo>
                  <a:lnTo>
                    <a:pt x="96" y="144"/>
                  </a:lnTo>
                  <a:lnTo>
                    <a:pt x="101" y="149"/>
                  </a:lnTo>
                  <a:lnTo>
                    <a:pt x="104" y="149"/>
                  </a:lnTo>
                  <a:lnTo>
                    <a:pt x="106" y="151"/>
                  </a:lnTo>
                  <a:lnTo>
                    <a:pt x="104" y="151"/>
                  </a:lnTo>
                  <a:lnTo>
                    <a:pt x="104" y="156"/>
                  </a:lnTo>
                  <a:lnTo>
                    <a:pt x="101" y="156"/>
                  </a:lnTo>
                  <a:lnTo>
                    <a:pt x="94" y="156"/>
                  </a:lnTo>
                  <a:lnTo>
                    <a:pt x="92" y="158"/>
                  </a:lnTo>
                  <a:lnTo>
                    <a:pt x="99" y="161"/>
                  </a:lnTo>
                  <a:lnTo>
                    <a:pt x="96" y="161"/>
                  </a:lnTo>
                  <a:lnTo>
                    <a:pt x="96" y="163"/>
                  </a:lnTo>
                  <a:lnTo>
                    <a:pt x="94" y="161"/>
                  </a:lnTo>
                  <a:lnTo>
                    <a:pt x="89" y="156"/>
                  </a:lnTo>
                  <a:lnTo>
                    <a:pt x="87" y="153"/>
                  </a:lnTo>
                  <a:lnTo>
                    <a:pt x="89" y="151"/>
                  </a:lnTo>
                  <a:lnTo>
                    <a:pt x="85" y="151"/>
                  </a:lnTo>
                  <a:lnTo>
                    <a:pt x="82" y="151"/>
                  </a:lnTo>
                  <a:lnTo>
                    <a:pt x="82" y="153"/>
                  </a:lnTo>
                  <a:lnTo>
                    <a:pt x="82" y="156"/>
                  </a:lnTo>
                  <a:lnTo>
                    <a:pt x="85" y="158"/>
                  </a:lnTo>
                  <a:lnTo>
                    <a:pt x="85" y="156"/>
                  </a:lnTo>
                  <a:lnTo>
                    <a:pt x="87" y="161"/>
                  </a:lnTo>
                  <a:lnTo>
                    <a:pt x="82" y="161"/>
                  </a:lnTo>
                  <a:lnTo>
                    <a:pt x="78" y="158"/>
                  </a:lnTo>
                  <a:lnTo>
                    <a:pt x="78" y="158"/>
                  </a:lnTo>
                  <a:lnTo>
                    <a:pt x="78" y="161"/>
                  </a:lnTo>
                  <a:lnTo>
                    <a:pt x="75" y="158"/>
                  </a:lnTo>
                  <a:lnTo>
                    <a:pt x="73" y="153"/>
                  </a:lnTo>
                  <a:lnTo>
                    <a:pt x="70" y="153"/>
                  </a:lnTo>
                  <a:lnTo>
                    <a:pt x="68" y="153"/>
                  </a:lnTo>
                  <a:lnTo>
                    <a:pt x="68" y="156"/>
                  </a:lnTo>
                  <a:lnTo>
                    <a:pt x="66" y="156"/>
                  </a:lnTo>
                  <a:lnTo>
                    <a:pt x="66" y="156"/>
                  </a:lnTo>
                  <a:lnTo>
                    <a:pt x="66" y="161"/>
                  </a:lnTo>
                  <a:lnTo>
                    <a:pt x="63" y="161"/>
                  </a:lnTo>
                  <a:lnTo>
                    <a:pt x="56" y="153"/>
                  </a:lnTo>
                  <a:lnTo>
                    <a:pt x="56" y="151"/>
                  </a:lnTo>
                  <a:lnTo>
                    <a:pt x="59" y="151"/>
                  </a:lnTo>
                  <a:lnTo>
                    <a:pt x="59" y="149"/>
                  </a:lnTo>
                  <a:lnTo>
                    <a:pt x="54" y="149"/>
                  </a:lnTo>
                  <a:lnTo>
                    <a:pt x="47" y="151"/>
                  </a:lnTo>
                  <a:lnTo>
                    <a:pt x="44" y="151"/>
                  </a:lnTo>
                  <a:lnTo>
                    <a:pt x="42" y="149"/>
                  </a:lnTo>
                  <a:lnTo>
                    <a:pt x="42" y="149"/>
                  </a:lnTo>
                  <a:lnTo>
                    <a:pt x="40" y="149"/>
                  </a:lnTo>
                  <a:lnTo>
                    <a:pt x="37" y="146"/>
                  </a:lnTo>
                  <a:lnTo>
                    <a:pt x="37" y="144"/>
                  </a:lnTo>
                  <a:lnTo>
                    <a:pt x="40" y="139"/>
                  </a:lnTo>
                  <a:lnTo>
                    <a:pt x="37" y="139"/>
                  </a:lnTo>
                  <a:lnTo>
                    <a:pt x="37" y="137"/>
                  </a:lnTo>
                  <a:lnTo>
                    <a:pt x="37" y="135"/>
                  </a:lnTo>
                  <a:lnTo>
                    <a:pt x="42" y="137"/>
                  </a:lnTo>
                  <a:lnTo>
                    <a:pt x="42" y="135"/>
                  </a:lnTo>
                  <a:lnTo>
                    <a:pt x="42" y="132"/>
                  </a:lnTo>
                  <a:lnTo>
                    <a:pt x="44" y="135"/>
                  </a:lnTo>
                  <a:lnTo>
                    <a:pt x="47" y="135"/>
                  </a:lnTo>
                  <a:lnTo>
                    <a:pt x="49" y="132"/>
                  </a:lnTo>
                  <a:lnTo>
                    <a:pt x="44" y="132"/>
                  </a:lnTo>
                  <a:lnTo>
                    <a:pt x="47" y="130"/>
                  </a:lnTo>
                  <a:lnTo>
                    <a:pt x="44" y="127"/>
                  </a:lnTo>
                  <a:lnTo>
                    <a:pt x="37" y="127"/>
                  </a:lnTo>
                  <a:lnTo>
                    <a:pt x="35" y="125"/>
                  </a:lnTo>
                  <a:lnTo>
                    <a:pt x="35" y="123"/>
                  </a:lnTo>
                  <a:lnTo>
                    <a:pt x="37" y="123"/>
                  </a:lnTo>
                  <a:lnTo>
                    <a:pt x="37" y="120"/>
                  </a:lnTo>
                  <a:lnTo>
                    <a:pt x="42" y="111"/>
                  </a:lnTo>
                  <a:lnTo>
                    <a:pt x="37" y="116"/>
                  </a:lnTo>
                  <a:lnTo>
                    <a:pt x="35" y="120"/>
                  </a:lnTo>
                  <a:lnTo>
                    <a:pt x="33" y="123"/>
                  </a:lnTo>
                  <a:lnTo>
                    <a:pt x="33" y="118"/>
                  </a:lnTo>
                  <a:lnTo>
                    <a:pt x="33" y="113"/>
                  </a:lnTo>
                  <a:lnTo>
                    <a:pt x="33" y="111"/>
                  </a:lnTo>
                  <a:lnTo>
                    <a:pt x="33" y="109"/>
                  </a:lnTo>
                  <a:lnTo>
                    <a:pt x="30" y="111"/>
                  </a:lnTo>
                  <a:lnTo>
                    <a:pt x="28" y="111"/>
                  </a:lnTo>
                  <a:lnTo>
                    <a:pt x="26" y="113"/>
                  </a:lnTo>
                  <a:lnTo>
                    <a:pt x="23" y="111"/>
                  </a:lnTo>
                  <a:lnTo>
                    <a:pt x="23" y="113"/>
                  </a:lnTo>
                  <a:lnTo>
                    <a:pt x="21" y="109"/>
                  </a:lnTo>
                  <a:lnTo>
                    <a:pt x="21" y="104"/>
                  </a:lnTo>
                  <a:lnTo>
                    <a:pt x="18" y="102"/>
                  </a:lnTo>
                  <a:lnTo>
                    <a:pt x="16" y="109"/>
                  </a:lnTo>
                  <a:lnTo>
                    <a:pt x="16" y="111"/>
                  </a:lnTo>
                  <a:lnTo>
                    <a:pt x="14" y="106"/>
                  </a:lnTo>
                  <a:lnTo>
                    <a:pt x="14" y="109"/>
                  </a:lnTo>
                  <a:lnTo>
                    <a:pt x="14" y="111"/>
                  </a:lnTo>
                  <a:lnTo>
                    <a:pt x="9" y="111"/>
                  </a:lnTo>
                  <a:lnTo>
                    <a:pt x="7" y="111"/>
                  </a:lnTo>
                  <a:lnTo>
                    <a:pt x="7" y="109"/>
                  </a:lnTo>
                  <a:lnTo>
                    <a:pt x="4" y="109"/>
                  </a:lnTo>
                  <a:lnTo>
                    <a:pt x="2" y="106"/>
                  </a:lnTo>
                  <a:lnTo>
                    <a:pt x="0" y="99"/>
                  </a:lnTo>
                  <a:lnTo>
                    <a:pt x="0" y="94"/>
                  </a:lnTo>
                  <a:lnTo>
                    <a:pt x="0" y="90"/>
                  </a:lnTo>
                  <a:lnTo>
                    <a:pt x="0" y="87"/>
                  </a:lnTo>
                  <a:lnTo>
                    <a:pt x="0" y="83"/>
                  </a:lnTo>
                  <a:lnTo>
                    <a:pt x="0" y="80"/>
                  </a:lnTo>
                  <a:lnTo>
                    <a:pt x="4" y="76"/>
                  </a:lnTo>
                  <a:lnTo>
                    <a:pt x="7" y="78"/>
                  </a:lnTo>
                  <a:lnTo>
                    <a:pt x="9" y="76"/>
                  </a:lnTo>
                  <a:lnTo>
                    <a:pt x="11" y="76"/>
                  </a:lnTo>
                  <a:lnTo>
                    <a:pt x="11" y="78"/>
                  </a:lnTo>
                  <a:lnTo>
                    <a:pt x="14" y="80"/>
                  </a:lnTo>
                  <a:lnTo>
                    <a:pt x="14" y="78"/>
                  </a:lnTo>
                  <a:lnTo>
                    <a:pt x="16" y="76"/>
                  </a:lnTo>
                  <a:lnTo>
                    <a:pt x="16" y="73"/>
                  </a:lnTo>
                  <a:lnTo>
                    <a:pt x="16" y="66"/>
                  </a:lnTo>
                  <a:lnTo>
                    <a:pt x="18" y="66"/>
                  </a:lnTo>
                  <a:lnTo>
                    <a:pt x="18" y="64"/>
                  </a:lnTo>
                  <a:lnTo>
                    <a:pt x="18" y="61"/>
                  </a:lnTo>
                  <a:lnTo>
                    <a:pt x="21" y="61"/>
                  </a:lnTo>
                  <a:lnTo>
                    <a:pt x="21" y="57"/>
                  </a:lnTo>
                  <a:lnTo>
                    <a:pt x="23" y="57"/>
                  </a:lnTo>
                  <a:lnTo>
                    <a:pt x="23" y="52"/>
                  </a:lnTo>
                  <a:lnTo>
                    <a:pt x="26" y="50"/>
                  </a:lnTo>
                  <a:lnTo>
                    <a:pt x="26" y="50"/>
                  </a:lnTo>
                  <a:lnTo>
                    <a:pt x="23" y="52"/>
                  </a:lnTo>
                  <a:lnTo>
                    <a:pt x="21" y="50"/>
                  </a:lnTo>
                  <a:lnTo>
                    <a:pt x="23" y="45"/>
                  </a:lnTo>
                  <a:lnTo>
                    <a:pt x="21" y="47"/>
                  </a:lnTo>
                  <a:lnTo>
                    <a:pt x="16" y="40"/>
                  </a:lnTo>
                  <a:lnTo>
                    <a:pt x="16" y="35"/>
                  </a:lnTo>
                  <a:lnTo>
                    <a:pt x="21" y="31"/>
                  </a:lnTo>
                  <a:lnTo>
                    <a:pt x="26" y="31"/>
                  </a:lnTo>
                  <a:lnTo>
                    <a:pt x="28" y="31"/>
                  </a:lnTo>
                  <a:lnTo>
                    <a:pt x="30" y="28"/>
                  </a:lnTo>
                  <a:lnTo>
                    <a:pt x="28" y="28"/>
                  </a:lnTo>
                  <a:lnTo>
                    <a:pt x="28" y="26"/>
                  </a:lnTo>
                  <a:lnTo>
                    <a:pt x="28" y="24"/>
                  </a:lnTo>
                  <a:lnTo>
                    <a:pt x="30" y="24"/>
                  </a:lnTo>
                  <a:lnTo>
                    <a:pt x="30" y="21"/>
                  </a:lnTo>
                  <a:lnTo>
                    <a:pt x="28" y="21"/>
                  </a:lnTo>
                  <a:lnTo>
                    <a:pt x="28" y="19"/>
                  </a:lnTo>
                  <a:lnTo>
                    <a:pt x="33" y="12"/>
                  </a:lnTo>
                  <a:lnTo>
                    <a:pt x="37" y="7"/>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4" name="Freeform 547">
              <a:extLst>
                <a:ext uri="{FF2B5EF4-FFF2-40B4-BE49-F238E27FC236}">
                  <a16:creationId xmlns:a16="http://schemas.microsoft.com/office/drawing/2014/main" id="{C8C13FC5-1D36-4F09-A93B-C27647D3228F}"/>
                </a:ext>
              </a:extLst>
            </p:cNvPr>
            <p:cNvSpPr>
              <a:spLocks/>
            </p:cNvSpPr>
            <p:nvPr/>
          </p:nvSpPr>
          <p:spPr bwMode="auto">
            <a:xfrm>
              <a:off x="2763090" y="1103276"/>
              <a:ext cx="423862" cy="400051"/>
            </a:xfrm>
            <a:custGeom>
              <a:avLst/>
              <a:gdLst>
                <a:gd name="T0" fmla="*/ 10 w 267"/>
                <a:gd name="T1" fmla="*/ 212 h 252"/>
                <a:gd name="T2" fmla="*/ 29 w 267"/>
                <a:gd name="T3" fmla="*/ 200 h 252"/>
                <a:gd name="T4" fmla="*/ 26 w 267"/>
                <a:gd name="T5" fmla="*/ 196 h 252"/>
                <a:gd name="T6" fmla="*/ 26 w 267"/>
                <a:gd name="T7" fmla="*/ 184 h 252"/>
                <a:gd name="T8" fmla="*/ 36 w 267"/>
                <a:gd name="T9" fmla="*/ 174 h 252"/>
                <a:gd name="T10" fmla="*/ 33 w 267"/>
                <a:gd name="T11" fmla="*/ 167 h 252"/>
                <a:gd name="T12" fmla="*/ 45 w 267"/>
                <a:gd name="T13" fmla="*/ 160 h 252"/>
                <a:gd name="T14" fmla="*/ 36 w 267"/>
                <a:gd name="T15" fmla="*/ 153 h 252"/>
                <a:gd name="T16" fmla="*/ 33 w 267"/>
                <a:gd name="T17" fmla="*/ 144 h 252"/>
                <a:gd name="T18" fmla="*/ 33 w 267"/>
                <a:gd name="T19" fmla="*/ 130 h 252"/>
                <a:gd name="T20" fmla="*/ 52 w 267"/>
                <a:gd name="T21" fmla="*/ 127 h 252"/>
                <a:gd name="T22" fmla="*/ 74 w 267"/>
                <a:gd name="T23" fmla="*/ 111 h 252"/>
                <a:gd name="T24" fmla="*/ 83 w 267"/>
                <a:gd name="T25" fmla="*/ 99 h 252"/>
                <a:gd name="T26" fmla="*/ 95 w 267"/>
                <a:gd name="T27" fmla="*/ 80 h 252"/>
                <a:gd name="T28" fmla="*/ 118 w 267"/>
                <a:gd name="T29" fmla="*/ 61 h 252"/>
                <a:gd name="T30" fmla="*/ 123 w 267"/>
                <a:gd name="T31" fmla="*/ 71 h 252"/>
                <a:gd name="T32" fmla="*/ 126 w 267"/>
                <a:gd name="T33" fmla="*/ 54 h 252"/>
                <a:gd name="T34" fmla="*/ 135 w 267"/>
                <a:gd name="T35" fmla="*/ 52 h 252"/>
                <a:gd name="T36" fmla="*/ 159 w 267"/>
                <a:gd name="T37" fmla="*/ 59 h 252"/>
                <a:gd name="T38" fmla="*/ 182 w 267"/>
                <a:gd name="T39" fmla="*/ 52 h 252"/>
                <a:gd name="T40" fmla="*/ 196 w 267"/>
                <a:gd name="T41" fmla="*/ 40 h 252"/>
                <a:gd name="T42" fmla="*/ 211 w 267"/>
                <a:gd name="T43" fmla="*/ 33 h 252"/>
                <a:gd name="T44" fmla="*/ 220 w 267"/>
                <a:gd name="T45" fmla="*/ 11 h 252"/>
                <a:gd name="T46" fmla="*/ 239 w 267"/>
                <a:gd name="T47" fmla="*/ 0 h 252"/>
                <a:gd name="T48" fmla="*/ 265 w 267"/>
                <a:gd name="T49" fmla="*/ 11 h 252"/>
                <a:gd name="T50" fmla="*/ 263 w 267"/>
                <a:gd name="T51" fmla="*/ 35 h 252"/>
                <a:gd name="T52" fmla="*/ 253 w 267"/>
                <a:gd name="T53" fmla="*/ 56 h 252"/>
                <a:gd name="T54" fmla="*/ 232 w 267"/>
                <a:gd name="T55" fmla="*/ 71 h 252"/>
                <a:gd name="T56" fmla="*/ 206 w 267"/>
                <a:gd name="T57" fmla="*/ 78 h 252"/>
                <a:gd name="T58" fmla="*/ 194 w 267"/>
                <a:gd name="T59" fmla="*/ 87 h 252"/>
                <a:gd name="T60" fmla="*/ 173 w 267"/>
                <a:gd name="T61" fmla="*/ 97 h 252"/>
                <a:gd name="T62" fmla="*/ 152 w 267"/>
                <a:gd name="T63" fmla="*/ 118 h 252"/>
                <a:gd name="T64" fmla="*/ 123 w 267"/>
                <a:gd name="T65" fmla="*/ 139 h 252"/>
                <a:gd name="T66" fmla="*/ 118 w 267"/>
                <a:gd name="T67" fmla="*/ 144 h 252"/>
                <a:gd name="T68" fmla="*/ 114 w 267"/>
                <a:gd name="T69" fmla="*/ 163 h 252"/>
                <a:gd name="T70" fmla="*/ 104 w 267"/>
                <a:gd name="T71" fmla="*/ 165 h 252"/>
                <a:gd name="T72" fmla="*/ 92 w 267"/>
                <a:gd name="T73" fmla="*/ 167 h 252"/>
                <a:gd name="T74" fmla="*/ 95 w 267"/>
                <a:gd name="T75" fmla="*/ 179 h 252"/>
                <a:gd name="T76" fmla="*/ 78 w 267"/>
                <a:gd name="T77" fmla="*/ 174 h 252"/>
                <a:gd name="T78" fmla="*/ 88 w 267"/>
                <a:gd name="T79" fmla="*/ 191 h 252"/>
                <a:gd name="T80" fmla="*/ 83 w 267"/>
                <a:gd name="T81" fmla="*/ 198 h 252"/>
                <a:gd name="T82" fmla="*/ 81 w 267"/>
                <a:gd name="T83" fmla="*/ 208 h 252"/>
                <a:gd name="T84" fmla="*/ 69 w 267"/>
                <a:gd name="T85" fmla="*/ 191 h 252"/>
                <a:gd name="T86" fmla="*/ 71 w 267"/>
                <a:gd name="T87" fmla="*/ 208 h 252"/>
                <a:gd name="T88" fmla="*/ 74 w 267"/>
                <a:gd name="T89" fmla="*/ 217 h 252"/>
                <a:gd name="T90" fmla="*/ 57 w 267"/>
                <a:gd name="T91" fmla="*/ 215 h 252"/>
                <a:gd name="T92" fmla="*/ 67 w 267"/>
                <a:gd name="T93" fmla="*/ 229 h 252"/>
                <a:gd name="T94" fmla="*/ 59 w 267"/>
                <a:gd name="T95" fmla="*/ 229 h 252"/>
                <a:gd name="T96" fmla="*/ 62 w 267"/>
                <a:gd name="T97" fmla="*/ 241 h 252"/>
                <a:gd name="T98" fmla="*/ 50 w 267"/>
                <a:gd name="T99" fmla="*/ 252 h 252"/>
                <a:gd name="T100" fmla="*/ 26 w 267"/>
                <a:gd name="T101" fmla="*/ 241 h 252"/>
                <a:gd name="T102" fmla="*/ 12 w 267"/>
                <a:gd name="T103" fmla="*/ 241 h 252"/>
                <a:gd name="T104" fmla="*/ 19 w 267"/>
                <a:gd name="T105" fmla="*/ 229 h 252"/>
                <a:gd name="T106" fmla="*/ 17 w 267"/>
                <a:gd name="T107" fmla="*/ 226 h 252"/>
                <a:gd name="T108" fmla="*/ 0 w 267"/>
                <a:gd name="T109" fmla="*/ 21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7" h="252">
                  <a:moveTo>
                    <a:pt x="0" y="219"/>
                  </a:moveTo>
                  <a:lnTo>
                    <a:pt x="0" y="219"/>
                  </a:lnTo>
                  <a:lnTo>
                    <a:pt x="0" y="219"/>
                  </a:lnTo>
                  <a:lnTo>
                    <a:pt x="5" y="219"/>
                  </a:lnTo>
                  <a:lnTo>
                    <a:pt x="10" y="212"/>
                  </a:lnTo>
                  <a:lnTo>
                    <a:pt x="19" y="210"/>
                  </a:lnTo>
                  <a:lnTo>
                    <a:pt x="17" y="208"/>
                  </a:lnTo>
                  <a:lnTo>
                    <a:pt x="19" y="203"/>
                  </a:lnTo>
                  <a:lnTo>
                    <a:pt x="24" y="198"/>
                  </a:lnTo>
                  <a:lnTo>
                    <a:pt x="29" y="200"/>
                  </a:lnTo>
                  <a:lnTo>
                    <a:pt x="33" y="200"/>
                  </a:lnTo>
                  <a:lnTo>
                    <a:pt x="36" y="203"/>
                  </a:lnTo>
                  <a:lnTo>
                    <a:pt x="43" y="205"/>
                  </a:lnTo>
                  <a:lnTo>
                    <a:pt x="38" y="200"/>
                  </a:lnTo>
                  <a:lnTo>
                    <a:pt x="26" y="196"/>
                  </a:lnTo>
                  <a:lnTo>
                    <a:pt x="24" y="191"/>
                  </a:lnTo>
                  <a:lnTo>
                    <a:pt x="26" y="193"/>
                  </a:lnTo>
                  <a:lnTo>
                    <a:pt x="33" y="191"/>
                  </a:lnTo>
                  <a:lnTo>
                    <a:pt x="33" y="189"/>
                  </a:lnTo>
                  <a:lnTo>
                    <a:pt x="26" y="184"/>
                  </a:lnTo>
                  <a:lnTo>
                    <a:pt x="26" y="182"/>
                  </a:lnTo>
                  <a:lnTo>
                    <a:pt x="38" y="182"/>
                  </a:lnTo>
                  <a:lnTo>
                    <a:pt x="41" y="179"/>
                  </a:lnTo>
                  <a:lnTo>
                    <a:pt x="38" y="177"/>
                  </a:lnTo>
                  <a:lnTo>
                    <a:pt x="36" y="174"/>
                  </a:lnTo>
                  <a:lnTo>
                    <a:pt x="33" y="172"/>
                  </a:lnTo>
                  <a:lnTo>
                    <a:pt x="31" y="170"/>
                  </a:lnTo>
                  <a:lnTo>
                    <a:pt x="31" y="165"/>
                  </a:lnTo>
                  <a:lnTo>
                    <a:pt x="31" y="165"/>
                  </a:lnTo>
                  <a:lnTo>
                    <a:pt x="33" y="167"/>
                  </a:lnTo>
                  <a:lnTo>
                    <a:pt x="41" y="163"/>
                  </a:lnTo>
                  <a:lnTo>
                    <a:pt x="48" y="165"/>
                  </a:lnTo>
                  <a:lnTo>
                    <a:pt x="52" y="163"/>
                  </a:lnTo>
                  <a:lnTo>
                    <a:pt x="48" y="163"/>
                  </a:lnTo>
                  <a:lnTo>
                    <a:pt x="45" y="160"/>
                  </a:lnTo>
                  <a:lnTo>
                    <a:pt x="45" y="158"/>
                  </a:lnTo>
                  <a:lnTo>
                    <a:pt x="41" y="156"/>
                  </a:lnTo>
                  <a:lnTo>
                    <a:pt x="33" y="158"/>
                  </a:lnTo>
                  <a:lnTo>
                    <a:pt x="33" y="156"/>
                  </a:lnTo>
                  <a:lnTo>
                    <a:pt x="36" y="153"/>
                  </a:lnTo>
                  <a:lnTo>
                    <a:pt x="38" y="144"/>
                  </a:lnTo>
                  <a:lnTo>
                    <a:pt x="38" y="144"/>
                  </a:lnTo>
                  <a:lnTo>
                    <a:pt x="36" y="144"/>
                  </a:lnTo>
                  <a:lnTo>
                    <a:pt x="36" y="141"/>
                  </a:lnTo>
                  <a:lnTo>
                    <a:pt x="33" y="144"/>
                  </a:lnTo>
                  <a:lnTo>
                    <a:pt x="33" y="139"/>
                  </a:lnTo>
                  <a:lnTo>
                    <a:pt x="31" y="139"/>
                  </a:lnTo>
                  <a:lnTo>
                    <a:pt x="33" y="134"/>
                  </a:lnTo>
                  <a:lnTo>
                    <a:pt x="31" y="134"/>
                  </a:lnTo>
                  <a:lnTo>
                    <a:pt x="33" y="130"/>
                  </a:lnTo>
                  <a:lnTo>
                    <a:pt x="38" y="130"/>
                  </a:lnTo>
                  <a:lnTo>
                    <a:pt x="38" y="134"/>
                  </a:lnTo>
                  <a:lnTo>
                    <a:pt x="43" y="137"/>
                  </a:lnTo>
                  <a:lnTo>
                    <a:pt x="48" y="132"/>
                  </a:lnTo>
                  <a:lnTo>
                    <a:pt x="52" y="127"/>
                  </a:lnTo>
                  <a:lnTo>
                    <a:pt x="52" y="122"/>
                  </a:lnTo>
                  <a:lnTo>
                    <a:pt x="59" y="120"/>
                  </a:lnTo>
                  <a:lnTo>
                    <a:pt x="67" y="122"/>
                  </a:lnTo>
                  <a:lnTo>
                    <a:pt x="74" y="115"/>
                  </a:lnTo>
                  <a:lnTo>
                    <a:pt x="74" y="111"/>
                  </a:lnTo>
                  <a:lnTo>
                    <a:pt x="71" y="108"/>
                  </a:lnTo>
                  <a:lnTo>
                    <a:pt x="76" y="106"/>
                  </a:lnTo>
                  <a:lnTo>
                    <a:pt x="74" y="101"/>
                  </a:lnTo>
                  <a:lnTo>
                    <a:pt x="78" y="97"/>
                  </a:lnTo>
                  <a:lnTo>
                    <a:pt x="83" y="99"/>
                  </a:lnTo>
                  <a:lnTo>
                    <a:pt x="85" y="97"/>
                  </a:lnTo>
                  <a:lnTo>
                    <a:pt x="83" y="94"/>
                  </a:lnTo>
                  <a:lnTo>
                    <a:pt x="85" y="87"/>
                  </a:lnTo>
                  <a:lnTo>
                    <a:pt x="88" y="85"/>
                  </a:lnTo>
                  <a:lnTo>
                    <a:pt x="95" y="80"/>
                  </a:lnTo>
                  <a:lnTo>
                    <a:pt x="107" y="75"/>
                  </a:lnTo>
                  <a:lnTo>
                    <a:pt x="109" y="73"/>
                  </a:lnTo>
                  <a:lnTo>
                    <a:pt x="109" y="71"/>
                  </a:lnTo>
                  <a:lnTo>
                    <a:pt x="111" y="66"/>
                  </a:lnTo>
                  <a:lnTo>
                    <a:pt x="118" y="61"/>
                  </a:lnTo>
                  <a:lnTo>
                    <a:pt x="121" y="63"/>
                  </a:lnTo>
                  <a:lnTo>
                    <a:pt x="121" y="68"/>
                  </a:lnTo>
                  <a:lnTo>
                    <a:pt x="118" y="73"/>
                  </a:lnTo>
                  <a:lnTo>
                    <a:pt x="121" y="73"/>
                  </a:lnTo>
                  <a:lnTo>
                    <a:pt x="123" y="71"/>
                  </a:lnTo>
                  <a:lnTo>
                    <a:pt x="128" y="68"/>
                  </a:lnTo>
                  <a:lnTo>
                    <a:pt x="130" y="63"/>
                  </a:lnTo>
                  <a:lnTo>
                    <a:pt x="128" y="61"/>
                  </a:lnTo>
                  <a:lnTo>
                    <a:pt x="126" y="59"/>
                  </a:lnTo>
                  <a:lnTo>
                    <a:pt x="126" y="54"/>
                  </a:lnTo>
                  <a:lnTo>
                    <a:pt x="128" y="54"/>
                  </a:lnTo>
                  <a:lnTo>
                    <a:pt x="130" y="52"/>
                  </a:lnTo>
                  <a:lnTo>
                    <a:pt x="128" y="49"/>
                  </a:lnTo>
                  <a:lnTo>
                    <a:pt x="135" y="47"/>
                  </a:lnTo>
                  <a:lnTo>
                    <a:pt x="135" y="52"/>
                  </a:lnTo>
                  <a:lnTo>
                    <a:pt x="149" y="52"/>
                  </a:lnTo>
                  <a:lnTo>
                    <a:pt x="149" y="59"/>
                  </a:lnTo>
                  <a:lnTo>
                    <a:pt x="154" y="61"/>
                  </a:lnTo>
                  <a:lnTo>
                    <a:pt x="156" y="56"/>
                  </a:lnTo>
                  <a:lnTo>
                    <a:pt x="159" y="59"/>
                  </a:lnTo>
                  <a:lnTo>
                    <a:pt x="173" y="49"/>
                  </a:lnTo>
                  <a:lnTo>
                    <a:pt x="178" y="49"/>
                  </a:lnTo>
                  <a:lnTo>
                    <a:pt x="178" y="52"/>
                  </a:lnTo>
                  <a:lnTo>
                    <a:pt x="180" y="52"/>
                  </a:lnTo>
                  <a:lnTo>
                    <a:pt x="182" y="52"/>
                  </a:lnTo>
                  <a:lnTo>
                    <a:pt x="182" y="49"/>
                  </a:lnTo>
                  <a:lnTo>
                    <a:pt x="185" y="49"/>
                  </a:lnTo>
                  <a:lnTo>
                    <a:pt x="187" y="47"/>
                  </a:lnTo>
                  <a:lnTo>
                    <a:pt x="189" y="47"/>
                  </a:lnTo>
                  <a:lnTo>
                    <a:pt x="196" y="40"/>
                  </a:lnTo>
                  <a:lnTo>
                    <a:pt x="201" y="40"/>
                  </a:lnTo>
                  <a:lnTo>
                    <a:pt x="204" y="37"/>
                  </a:lnTo>
                  <a:lnTo>
                    <a:pt x="204" y="33"/>
                  </a:lnTo>
                  <a:lnTo>
                    <a:pt x="208" y="35"/>
                  </a:lnTo>
                  <a:lnTo>
                    <a:pt x="211" y="33"/>
                  </a:lnTo>
                  <a:lnTo>
                    <a:pt x="213" y="30"/>
                  </a:lnTo>
                  <a:lnTo>
                    <a:pt x="211" y="21"/>
                  </a:lnTo>
                  <a:lnTo>
                    <a:pt x="213" y="19"/>
                  </a:lnTo>
                  <a:lnTo>
                    <a:pt x="215" y="16"/>
                  </a:lnTo>
                  <a:lnTo>
                    <a:pt x="220" y="11"/>
                  </a:lnTo>
                  <a:lnTo>
                    <a:pt x="222" y="11"/>
                  </a:lnTo>
                  <a:lnTo>
                    <a:pt x="225" y="7"/>
                  </a:lnTo>
                  <a:lnTo>
                    <a:pt x="227" y="4"/>
                  </a:lnTo>
                  <a:lnTo>
                    <a:pt x="229" y="7"/>
                  </a:lnTo>
                  <a:lnTo>
                    <a:pt x="239" y="0"/>
                  </a:lnTo>
                  <a:lnTo>
                    <a:pt x="248" y="0"/>
                  </a:lnTo>
                  <a:lnTo>
                    <a:pt x="258" y="4"/>
                  </a:lnTo>
                  <a:lnTo>
                    <a:pt x="260" y="7"/>
                  </a:lnTo>
                  <a:lnTo>
                    <a:pt x="263" y="9"/>
                  </a:lnTo>
                  <a:lnTo>
                    <a:pt x="265" y="11"/>
                  </a:lnTo>
                  <a:lnTo>
                    <a:pt x="265" y="14"/>
                  </a:lnTo>
                  <a:lnTo>
                    <a:pt x="267" y="23"/>
                  </a:lnTo>
                  <a:lnTo>
                    <a:pt x="267" y="28"/>
                  </a:lnTo>
                  <a:lnTo>
                    <a:pt x="265" y="30"/>
                  </a:lnTo>
                  <a:lnTo>
                    <a:pt x="263" y="35"/>
                  </a:lnTo>
                  <a:lnTo>
                    <a:pt x="267" y="35"/>
                  </a:lnTo>
                  <a:lnTo>
                    <a:pt x="267" y="37"/>
                  </a:lnTo>
                  <a:lnTo>
                    <a:pt x="263" y="40"/>
                  </a:lnTo>
                  <a:lnTo>
                    <a:pt x="260" y="45"/>
                  </a:lnTo>
                  <a:lnTo>
                    <a:pt x="253" y="56"/>
                  </a:lnTo>
                  <a:lnTo>
                    <a:pt x="255" y="59"/>
                  </a:lnTo>
                  <a:lnTo>
                    <a:pt x="251" y="56"/>
                  </a:lnTo>
                  <a:lnTo>
                    <a:pt x="248" y="56"/>
                  </a:lnTo>
                  <a:lnTo>
                    <a:pt x="246" y="59"/>
                  </a:lnTo>
                  <a:lnTo>
                    <a:pt x="232" y="71"/>
                  </a:lnTo>
                  <a:lnTo>
                    <a:pt x="227" y="73"/>
                  </a:lnTo>
                  <a:lnTo>
                    <a:pt x="222" y="73"/>
                  </a:lnTo>
                  <a:lnTo>
                    <a:pt x="215" y="75"/>
                  </a:lnTo>
                  <a:lnTo>
                    <a:pt x="213" y="75"/>
                  </a:lnTo>
                  <a:lnTo>
                    <a:pt x="206" y="78"/>
                  </a:lnTo>
                  <a:lnTo>
                    <a:pt x="204" y="80"/>
                  </a:lnTo>
                  <a:lnTo>
                    <a:pt x="204" y="82"/>
                  </a:lnTo>
                  <a:lnTo>
                    <a:pt x="199" y="87"/>
                  </a:lnTo>
                  <a:lnTo>
                    <a:pt x="199" y="82"/>
                  </a:lnTo>
                  <a:lnTo>
                    <a:pt x="194" y="87"/>
                  </a:lnTo>
                  <a:lnTo>
                    <a:pt x="178" y="99"/>
                  </a:lnTo>
                  <a:lnTo>
                    <a:pt x="175" y="99"/>
                  </a:lnTo>
                  <a:lnTo>
                    <a:pt x="173" y="92"/>
                  </a:lnTo>
                  <a:lnTo>
                    <a:pt x="170" y="94"/>
                  </a:lnTo>
                  <a:lnTo>
                    <a:pt x="173" y="97"/>
                  </a:lnTo>
                  <a:lnTo>
                    <a:pt x="170" y="97"/>
                  </a:lnTo>
                  <a:lnTo>
                    <a:pt x="170" y="101"/>
                  </a:lnTo>
                  <a:lnTo>
                    <a:pt x="161" y="111"/>
                  </a:lnTo>
                  <a:lnTo>
                    <a:pt x="154" y="113"/>
                  </a:lnTo>
                  <a:lnTo>
                    <a:pt x="152" y="118"/>
                  </a:lnTo>
                  <a:lnTo>
                    <a:pt x="149" y="115"/>
                  </a:lnTo>
                  <a:lnTo>
                    <a:pt x="142" y="125"/>
                  </a:lnTo>
                  <a:lnTo>
                    <a:pt x="135" y="137"/>
                  </a:lnTo>
                  <a:lnTo>
                    <a:pt x="126" y="139"/>
                  </a:lnTo>
                  <a:lnTo>
                    <a:pt x="123" y="139"/>
                  </a:lnTo>
                  <a:lnTo>
                    <a:pt x="123" y="137"/>
                  </a:lnTo>
                  <a:lnTo>
                    <a:pt x="121" y="139"/>
                  </a:lnTo>
                  <a:lnTo>
                    <a:pt x="118" y="137"/>
                  </a:lnTo>
                  <a:lnTo>
                    <a:pt x="116" y="141"/>
                  </a:lnTo>
                  <a:lnTo>
                    <a:pt x="118" y="144"/>
                  </a:lnTo>
                  <a:lnTo>
                    <a:pt x="121" y="144"/>
                  </a:lnTo>
                  <a:lnTo>
                    <a:pt x="123" y="148"/>
                  </a:lnTo>
                  <a:lnTo>
                    <a:pt x="114" y="156"/>
                  </a:lnTo>
                  <a:lnTo>
                    <a:pt x="116" y="158"/>
                  </a:lnTo>
                  <a:lnTo>
                    <a:pt x="114" y="163"/>
                  </a:lnTo>
                  <a:lnTo>
                    <a:pt x="109" y="163"/>
                  </a:lnTo>
                  <a:lnTo>
                    <a:pt x="104" y="160"/>
                  </a:lnTo>
                  <a:lnTo>
                    <a:pt x="100" y="158"/>
                  </a:lnTo>
                  <a:lnTo>
                    <a:pt x="102" y="160"/>
                  </a:lnTo>
                  <a:lnTo>
                    <a:pt x="104" y="165"/>
                  </a:lnTo>
                  <a:lnTo>
                    <a:pt x="109" y="172"/>
                  </a:lnTo>
                  <a:lnTo>
                    <a:pt x="97" y="163"/>
                  </a:lnTo>
                  <a:lnTo>
                    <a:pt x="92" y="165"/>
                  </a:lnTo>
                  <a:lnTo>
                    <a:pt x="95" y="167"/>
                  </a:lnTo>
                  <a:lnTo>
                    <a:pt x="92" y="167"/>
                  </a:lnTo>
                  <a:lnTo>
                    <a:pt x="95" y="172"/>
                  </a:lnTo>
                  <a:lnTo>
                    <a:pt x="97" y="174"/>
                  </a:lnTo>
                  <a:lnTo>
                    <a:pt x="92" y="172"/>
                  </a:lnTo>
                  <a:lnTo>
                    <a:pt x="92" y="174"/>
                  </a:lnTo>
                  <a:lnTo>
                    <a:pt x="95" y="179"/>
                  </a:lnTo>
                  <a:lnTo>
                    <a:pt x="92" y="182"/>
                  </a:lnTo>
                  <a:lnTo>
                    <a:pt x="90" y="182"/>
                  </a:lnTo>
                  <a:lnTo>
                    <a:pt x="90" y="177"/>
                  </a:lnTo>
                  <a:lnTo>
                    <a:pt x="81" y="170"/>
                  </a:lnTo>
                  <a:lnTo>
                    <a:pt x="78" y="174"/>
                  </a:lnTo>
                  <a:lnTo>
                    <a:pt x="83" y="177"/>
                  </a:lnTo>
                  <a:lnTo>
                    <a:pt x="85" y="182"/>
                  </a:lnTo>
                  <a:lnTo>
                    <a:pt x="88" y="189"/>
                  </a:lnTo>
                  <a:lnTo>
                    <a:pt x="88" y="191"/>
                  </a:lnTo>
                  <a:lnTo>
                    <a:pt x="88" y="191"/>
                  </a:lnTo>
                  <a:lnTo>
                    <a:pt x="85" y="193"/>
                  </a:lnTo>
                  <a:lnTo>
                    <a:pt x="85" y="196"/>
                  </a:lnTo>
                  <a:lnTo>
                    <a:pt x="83" y="193"/>
                  </a:lnTo>
                  <a:lnTo>
                    <a:pt x="83" y="193"/>
                  </a:lnTo>
                  <a:lnTo>
                    <a:pt x="83" y="198"/>
                  </a:lnTo>
                  <a:lnTo>
                    <a:pt x="83" y="200"/>
                  </a:lnTo>
                  <a:lnTo>
                    <a:pt x="83" y="200"/>
                  </a:lnTo>
                  <a:lnTo>
                    <a:pt x="81" y="198"/>
                  </a:lnTo>
                  <a:lnTo>
                    <a:pt x="78" y="203"/>
                  </a:lnTo>
                  <a:lnTo>
                    <a:pt x="81" y="208"/>
                  </a:lnTo>
                  <a:lnTo>
                    <a:pt x="78" y="208"/>
                  </a:lnTo>
                  <a:lnTo>
                    <a:pt x="76" y="205"/>
                  </a:lnTo>
                  <a:lnTo>
                    <a:pt x="74" y="205"/>
                  </a:lnTo>
                  <a:lnTo>
                    <a:pt x="74" y="200"/>
                  </a:lnTo>
                  <a:lnTo>
                    <a:pt x="69" y="191"/>
                  </a:lnTo>
                  <a:lnTo>
                    <a:pt x="67" y="198"/>
                  </a:lnTo>
                  <a:lnTo>
                    <a:pt x="67" y="200"/>
                  </a:lnTo>
                  <a:lnTo>
                    <a:pt x="62" y="203"/>
                  </a:lnTo>
                  <a:lnTo>
                    <a:pt x="69" y="205"/>
                  </a:lnTo>
                  <a:lnTo>
                    <a:pt x="71" y="208"/>
                  </a:lnTo>
                  <a:lnTo>
                    <a:pt x="71" y="210"/>
                  </a:lnTo>
                  <a:lnTo>
                    <a:pt x="74" y="212"/>
                  </a:lnTo>
                  <a:lnTo>
                    <a:pt x="71" y="212"/>
                  </a:lnTo>
                  <a:lnTo>
                    <a:pt x="71" y="215"/>
                  </a:lnTo>
                  <a:lnTo>
                    <a:pt x="74" y="217"/>
                  </a:lnTo>
                  <a:lnTo>
                    <a:pt x="71" y="222"/>
                  </a:lnTo>
                  <a:lnTo>
                    <a:pt x="69" y="222"/>
                  </a:lnTo>
                  <a:lnTo>
                    <a:pt x="67" y="217"/>
                  </a:lnTo>
                  <a:lnTo>
                    <a:pt x="64" y="217"/>
                  </a:lnTo>
                  <a:lnTo>
                    <a:pt x="57" y="215"/>
                  </a:lnTo>
                  <a:lnTo>
                    <a:pt x="55" y="217"/>
                  </a:lnTo>
                  <a:lnTo>
                    <a:pt x="57" y="219"/>
                  </a:lnTo>
                  <a:lnTo>
                    <a:pt x="62" y="219"/>
                  </a:lnTo>
                  <a:lnTo>
                    <a:pt x="67" y="226"/>
                  </a:lnTo>
                  <a:lnTo>
                    <a:pt x="67" y="229"/>
                  </a:lnTo>
                  <a:lnTo>
                    <a:pt x="67" y="231"/>
                  </a:lnTo>
                  <a:lnTo>
                    <a:pt x="64" y="234"/>
                  </a:lnTo>
                  <a:lnTo>
                    <a:pt x="64" y="234"/>
                  </a:lnTo>
                  <a:lnTo>
                    <a:pt x="59" y="231"/>
                  </a:lnTo>
                  <a:lnTo>
                    <a:pt x="59" y="229"/>
                  </a:lnTo>
                  <a:lnTo>
                    <a:pt x="55" y="226"/>
                  </a:lnTo>
                  <a:lnTo>
                    <a:pt x="57" y="234"/>
                  </a:lnTo>
                  <a:lnTo>
                    <a:pt x="59" y="236"/>
                  </a:lnTo>
                  <a:lnTo>
                    <a:pt x="62" y="238"/>
                  </a:lnTo>
                  <a:lnTo>
                    <a:pt x="62" y="241"/>
                  </a:lnTo>
                  <a:lnTo>
                    <a:pt x="59" y="243"/>
                  </a:lnTo>
                  <a:lnTo>
                    <a:pt x="57" y="248"/>
                  </a:lnTo>
                  <a:lnTo>
                    <a:pt x="55" y="248"/>
                  </a:lnTo>
                  <a:lnTo>
                    <a:pt x="52" y="252"/>
                  </a:lnTo>
                  <a:lnTo>
                    <a:pt x="50" y="252"/>
                  </a:lnTo>
                  <a:lnTo>
                    <a:pt x="48" y="250"/>
                  </a:lnTo>
                  <a:lnTo>
                    <a:pt x="43" y="250"/>
                  </a:lnTo>
                  <a:lnTo>
                    <a:pt x="36" y="248"/>
                  </a:lnTo>
                  <a:lnTo>
                    <a:pt x="31" y="245"/>
                  </a:lnTo>
                  <a:lnTo>
                    <a:pt x="26" y="241"/>
                  </a:lnTo>
                  <a:lnTo>
                    <a:pt x="19" y="243"/>
                  </a:lnTo>
                  <a:lnTo>
                    <a:pt x="12" y="248"/>
                  </a:lnTo>
                  <a:lnTo>
                    <a:pt x="7" y="245"/>
                  </a:lnTo>
                  <a:lnTo>
                    <a:pt x="12" y="243"/>
                  </a:lnTo>
                  <a:lnTo>
                    <a:pt x="12" y="241"/>
                  </a:lnTo>
                  <a:lnTo>
                    <a:pt x="10" y="241"/>
                  </a:lnTo>
                  <a:lnTo>
                    <a:pt x="10" y="236"/>
                  </a:lnTo>
                  <a:lnTo>
                    <a:pt x="12" y="234"/>
                  </a:lnTo>
                  <a:lnTo>
                    <a:pt x="17" y="229"/>
                  </a:lnTo>
                  <a:lnTo>
                    <a:pt x="19" y="229"/>
                  </a:lnTo>
                  <a:lnTo>
                    <a:pt x="24" y="226"/>
                  </a:lnTo>
                  <a:lnTo>
                    <a:pt x="24" y="226"/>
                  </a:lnTo>
                  <a:lnTo>
                    <a:pt x="22" y="224"/>
                  </a:lnTo>
                  <a:lnTo>
                    <a:pt x="19" y="226"/>
                  </a:lnTo>
                  <a:lnTo>
                    <a:pt x="17" y="226"/>
                  </a:lnTo>
                  <a:lnTo>
                    <a:pt x="12" y="231"/>
                  </a:lnTo>
                  <a:lnTo>
                    <a:pt x="5" y="229"/>
                  </a:lnTo>
                  <a:lnTo>
                    <a:pt x="5" y="226"/>
                  </a:lnTo>
                  <a:lnTo>
                    <a:pt x="0" y="224"/>
                  </a:lnTo>
                  <a:lnTo>
                    <a:pt x="0" y="21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5" name="Freeform 548">
              <a:extLst>
                <a:ext uri="{FF2B5EF4-FFF2-40B4-BE49-F238E27FC236}">
                  <a16:creationId xmlns:a16="http://schemas.microsoft.com/office/drawing/2014/main" id="{F2C11272-9BC7-4535-96BD-2A9D98BA7DF4}"/>
                </a:ext>
              </a:extLst>
            </p:cNvPr>
            <p:cNvSpPr>
              <a:spLocks/>
            </p:cNvSpPr>
            <p:nvPr/>
          </p:nvSpPr>
          <p:spPr bwMode="auto">
            <a:xfrm>
              <a:off x="2763090" y="1103276"/>
              <a:ext cx="423862" cy="400051"/>
            </a:xfrm>
            <a:custGeom>
              <a:avLst/>
              <a:gdLst>
                <a:gd name="T0" fmla="*/ 10 w 267"/>
                <a:gd name="T1" fmla="*/ 212 h 252"/>
                <a:gd name="T2" fmla="*/ 29 w 267"/>
                <a:gd name="T3" fmla="*/ 200 h 252"/>
                <a:gd name="T4" fmla="*/ 26 w 267"/>
                <a:gd name="T5" fmla="*/ 196 h 252"/>
                <a:gd name="T6" fmla="*/ 26 w 267"/>
                <a:gd name="T7" fmla="*/ 184 h 252"/>
                <a:gd name="T8" fmla="*/ 36 w 267"/>
                <a:gd name="T9" fmla="*/ 174 h 252"/>
                <a:gd name="T10" fmla="*/ 33 w 267"/>
                <a:gd name="T11" fmla="*/ 167 h 252"/>
                <a:gd name="T12" fmla="*/ 45 w 267"/>
                <a:gd name="T13" fmla="*/ 160 h 252"/>
                <a:gd name="T14" fmla="*/ 36 w 267"/>
                <a:gd name="T15" fmla="*/ 153 h 252"/>
                <a:gd name="T16" fmla="*/ 33 w 267"/>
                <a:gd name="T17" fmla="*/ 144 h 252"/>
                <a:gd name="T18" fmla="*/ 33 w 267"/>
                <a:gd name="T19" fmla="*/ 130 h 252"/>
                <a:gd name="T20" fmla="*/ 52 w 267"/>
                <a:gd name="T21" fmla="*/ 127 h 252"/>
                <a:gd name="T22" fmla="*/ 74 w 267"/>
                <a:gd name="T23" fmla="*/ 111 h 252"/>
                <a:gd name="T24" fmla="*/ 83 w 267"/>
                <a:gd name="T25" fmla="*/ 99 h 252"/>
                <a:gd name="T26" fmla="*/ 95 w 267"/>
                <a:gd name="T27" fmla="*/ 80 h 252"/>
                <a:gd name="T28" fmla="*/ 118 w 267"/>
                <a:gd name="T29" fmla="*/ 61 h 252"/>
                <a:gd name="T30" fmla="*/ 123 w 267"/>
                <a:gd name="T31" fmla="*/ 71 h 252"/>
                <a:gd name="T32" fmla="*/ 126 w 267"/>
                <a:gd name="T33" fmla="*/ 54 h 252"/>
                <a:gd name="T34" fmla="*/ 135 w 267"/>
                <a:gd name="T35" fmla="*/ 52 h 252"/>
                <a:gd name="T36" fmla="*/ 159 w 267"/>
                <a:gd name="T37" fmla="*/ 59 h 252"/>
                <a:gd name="T38" fmla="*/ 182 w 267"/>
                <a:gd name="T39" fmla="*/ 52 h 252"/>
                <a:gd name="T40" fmla="*/ 196 w 267"/>
                <a:gd name="T41" fmla="*/ 40 h 252"/>
                <a:gd name="T42" fmla="*/ 211 w 267"/>
                <a:gd name="T43" fmla="*/ 33 h 252"/>
                <a:gd name="T44" fmla="*/ 220 w 267"/>
                <a:gd name="T45" fmla="*/ 11 h 252"/>
                <a:gd name="T46" fmla="*/ 239 w 267"/>
                <a:gd name="T47" fmla="*/ 0 h 252"/>
                <a:gd name="T48" fmla="*/ 265 w 267"/>
                <a:gd name="T49" fmla="*/ 11 h 252"/>
                <a:gd name="T50" fmla="*/ 263 w 267"/>
                <a:gd name="T51" fmla="*/ 35 h 252"/>
                <a:gd name="T52" fmla="*/ 253 w 267"/>
                <a:gd name="T53" fmla="*/ 56 h 252"/>
                <a:gd name="T54" fmla="*/ 232 w 267"/>
                <a:gd name="T55" fmla="*/ 71 h 252"/>
                <a:gd name="T56" fmla="*/ 206 w 267"/>
                <a:gd name="T57" fmla="*/ 78 h 252"/>
                <a:gd name="T58" fmla="*/ 194 w 267"/>
                <a:gd name="T59" fmla="*/ 87 h 252"/>
                <a:gd name="T60" fmla="*/ 173 w 267"/>
                <a:gd name="T61" fmla="*/ 97 h 252"/>
                <a:gd name="T62" fmla="*/ 152 w 267"/>
                <a:gd name="T63" fmla="*/ 118 h 252"/>
                <a:gd name="T64" fmla="*/ 123 w 267"/>
                <a:gd name="T65" fmla="*/ 139 h 252"/>
                <a:gd name="T66" fmla="*/ 118 w 267"/>
                <a:gd name="T67" fmla="*/ 144 h 252"/>
                <a:gd name="T68" fmla="*/ 114 w 267"/>
                <a:gd name="T69" fmla="*/ 163 h 252"/>
                <a:gd name="T70" fmla="*/ 104 w 267"/>
                <a:gd name="T71" fmla="*/ 165 h 252"/>
                <a:gd name="T72" fmla="*/ 92 w 267"/>
                <a:gd name="T73" fmla="*/ 167 h 252"/>
                <a:gd name="T74" fmla="*/ 95 w 267"/>
                <a:gd name="T75" fmla="*/ 179 h 252"/>
                <a:gd name="T76" fmla="*/ 78 w 267"/>
                <a:gd name="T77" fmla="*/ 174 h 252"/>
                <a:gd name="T78" fmla="*/ 88 w 267"/>
                <a:gd name="T79" fmla="*/ 191 h 252"/>
                <a:gd name="T80" fmla="*/ 83 w 267"/>
                <a:gd name="T81" fmla="*/ 198 h 252"/>
                <a:gd name="T82" fmla="*/ 81 w 267"/>
                <a:gd name="T83" fmla="*/ 208 h 252"/>
                <a:gd name="T84" fmla="*/ 69 w 267"/>
                <a:gd name="T85" fmla="*/ 191 h 252"/>
                <a:gd name="T86" fmla="*/ 71 w 267"/>
                <a:gd name="T87" fmla="*/ 208 h 252"/>
                <a:gd name="T88" fmla="*/ 74 w 267"/>
                <a:gd name="T89" fmla="*/ 217 h 252"/>
                <a:gd name="T90" fmla="*/ 57 w 267"/>
                <a:gd name="T91" fmla="*/ 215 h 252"/>
                <a:gd name="T92" fmla="*/ 67 w 267"/>
                <a:gd name="T93" fmla="*/ 229 h 252"/>
                <a:gd name="T94" fmla="*/ 59 w 267"/>
                <a:gd name="T95" fmla="*/ 229 h 252"/>
                <a:gd name="T96" fmla="*/ 62 w 267"/>
                <a:gd name="T97" fmla="*/ 241 h 252"/>
                <a:gd name="T98" fmla="*/ 50 w 267"/>
                <a:gd name="T99" fmla="*/ 252 h 252"/>
                <a:gd name="T100" fmla="*/ 26 w 267"/>
                <a:gd name="T101" fmla="*/ 241 h 252"/>
                <a:gd name="T102" fmla="*/ 12 w 267"/>
                <a:gd name="T103" fmla="*/ 241 h 252"/>
                <a:gd name="T104" fmla="*/ 19 w 267"/>
                <a:gd name="T105" fmla="*/ 229 h 252"/>
                <a:gd name="T106" fmla="*/ 17 w 267"/>
                <a:gd name="T107" fmla="*/ 226 h 252"/>
                <a:gd name="T108" fmla="*/ 0 w 267"/>
                <a:gd name="T109" fmla="*/ 21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7" h="252">
                  <a:moveTo>
                    <a:pt x="0" y="219"/>
                  </a:moveTo>
                  <a:lnTo>
                    <a:pt x="0" y="219"/>
                  </a:lnTo>
                  <a:lnTo>
                    <a:pt x="0" y="219"/>
                  </a:lnTo>
                  <a:lnTo>
                    <a:pt x="5" y="219"/>
                  </a:lnTo>
                  <a:lnTo>
                    <a:pt x="10" y="212"/>
                  </a:lnTo>
                  <a:lnTo>
                    <a:pt x="19" y="210"/>
                  </a:lnTo>
                  <a:lnTo>
                    <a:pt x="17" y="208"/>
                  </a:lnTo>
                  <a:lnTo>
                    <a:pt x="19" y="203"/>
                  </a:lnTo>
                  <a:lnTo>
                    <a:pt x="24" y="198"/>
                  </a:lnTo>
                  <a:lnTo>
                    <a:pt x="29" y="200"/>
                  </a:lnTo>
                  <a:lnTo>
                    <a:pt x="33" y="200"/>
                  </a:lnTo>
                  <a:lnTo>
                    <a:pt x="36" y="203"/>
                  </a:lnTo>
                  <a:lnTo>
                    <a:pt x="43" y="205"/>
                  </a:lnTo>
                  <a:lnTo>
                    <a:pt x="38" y="200"/>
                  </a:lnTo>
                  <a:lnTo>
                    <a:pt x="26" y="196"/>
                  </a:lnTo>
                  <a:lnTo>
                    <a:pt x="24" y="191"/>
                  </a:lnTo>
                  <a:lnTo>
                    <a:pt x="26" y="193"/>
                  </a:lnTo>
                  <a:lnTo>
                    <a:pt x="33" y="191"/>
                  </a:lnTo>
                  <a:lnTo>
                    <a:pt x="33" y="189"/>
                  </a:lnTo>
                  <a:lnTo>
                    <a:pt x="26" y="184"/>
                  </a:lnTo>
                  <a:lnTo>
                    <a:pt x="26" y="182"/>
                  </a:lnTo>
                  <a:lnTo>
                    <a:pt x="38" y="182"/>
                  </a:lnTo>
                  <a:lnTo>
                    <a:pt x="41" y="179"/>
                  </a:lnTo>
                  <a:lnTo>
                    <a:pt x="38" y="177"/>
                  </a:lnTo>
                  <a:lnTo>
                    <a:pt x="36" y="174"/>
                  </a:lnTo>
                  <a:lnTo>
                    <a:pt x="33" y="172"/>
                  </a:lnTo>
                  <a:lnTo>
                    <a:pt x="31" y="170"/>
                  </a:lnTo>
                  <a:lnTo>
                    <a:pt x="31" y="165"/>
                  </a:lnTo>
                  <a:lnTo>
                    <a:pt x="31" y="165"/>
                  </a:lnTo>
                  <a:lnTo>
                    <a:pt x="33" y="167"/>
                  </a:lnTo>
                  <a:lnTo>
                    <a:pt x="41" y="163"/>
                  </a:lnTo>
                  <a:lnTo>
                    <a:pt x="48" y="165"/>
                  </a:lnTo>
                  <a:lnTo>
                    <a:pt x="52" y="163"/>
                  </a:lnTo>
                  <a:lnTo>
                    <a:pt x="48" y="163"/>
                  </a:lnTo>
                  <a:lnTo>
                    <a:pt x="45" y="160"/>
                  </a:lnTo>
                  <a:lnTo>
                    <a:pt x="45" y="158"/>
                  </a:lnTo>
                  <a:lnTo>
                    <a:pt x="41" y="156"/>
                  </a:lnTo>
                  <a:lnTo>
                    <a:pt x="33" y="158"/>
                  </a:lnTo>
                  <a:lnTo>
                    <a:pt x="33" y="156"/>
                  </a:lnTo>
                  <a:lnTo>
                    <a:pt x="36" y="153"/>
                  </a:lnTo>
                  <a:lnTo>
                    <a:pt x="38" y="144"/>
                  </a:lnTo>
                  <a:lnTo>
                    <a:pt x="38" y="144"/>
                  </a:lnTo>
                  <a:lnTo>
                    <a:pt x="36" y="144"/>
                  </a:lnTo>
                  <a:lnTo>
                    <a:pt x="36" y="141"/>
                  </a:lnTo>
                  <a:lnTo>
                    <a:pt x="33" y="144"/>
                  </a:lnTo>
                  <a:lnTo>
                    <a:pt x="33" y="139"/>
                  </a:lnTo>
                  <a:lnTo>
                    <a:pt x="31" y="139"/>
                  </a:lnTo>
                  <a:lnTo>
                    <a:pt x="33" y="134"/>
                  </a:lnTo>
                  <a:lnTo>
                    <a:pt x="31" y="134"/>
                  </a:lnTo>
                  <a:lnTo>
                    <a:pt x="33" y="130"/>
                  </a:lnTo>
                  <a:lnTo>
                    <a:pt x="38" y="130"/>
                  </a:lnTo>
                  <a:lnTo>
                    <a:pt x="38" y="134"/>
                  </a:lnTo>
                  <a:lnTo>
                    <a:pt x="43" y="137"/>
                  </a:lnTo>
                  <a:lnTo>
                    <a:pt x="48" y="132"/>
                  </a:lnTo>
                  <a:lnTo>
                    <a:pt x="52" y="127"/>
                  </a:lnTo>
                  <a:lnTo>
                    <a:pt x="52" y="122"/>
                  </a:lnTo>
                  <a:lnTo>
                    <a:pt x="59" y="120"/>
                  </a:lnTo>
                  <a:lnTo>
                    <a:pt x="67" y="122"/>
                  </a:lnTo>
                  <a:lnTo>
                    <a:pt x="74" y="115"/>
                  </a:lnTo>
                  <a:lnTo>
                    <a:pt x="74" y="111"/>
                  </a:lnTo>
                  <a:lnTo>
                    <a:pt x="71" y="108"/>
                  </a:lnTo>
                  <a:lnTo>
                    <a:pt x="76" y="106"/>
                  </a:lnTo>
                  <a:lnTo>
                    <a:pt x="74" y="101"/>
                  </a:lnTo>
                  <a:lnTo>
                    <a:pt x="78" y="97"/>
                  </a:lnTo>
                  <a:lnTo>
                    <a:pt x="83" y="99"/>
                  </a:lnTo>
                  <a:lnTo>
                    <a:pt x="85" y="97"/>
                  </a:lnTo>
                  <a:lnTo>
                    <a:pt x="83" y="94"/>
                  </a:lnTo>
                  <a:lnTo>
                    <a:pt x="85" y="87"/>
                  </a:lnTo>
                  <a:lnTo>
                    <a:pt x="88" y="85"/>
                  </a:lnTo>
                  <a:lnTo>
                    <a:pt x="95" y="80"/>
                  </a:lnTo>
                  <a:lnTo>
                    <a:pt x="107" y="75"/>
                  </a:lnTo>
                  <a:lnTo>
                    <a:pt x="109" y="73"/>
                  </a:lnTo>
                  <a:lnTo>
                    <a:pt x="109" y="71"/>
                  </a:lnTo>
                  <a:lnTo>
                    <a:pt x="111" y="66"/>
                  </a:lnTo>
                  <a:lnTo>
                    <a:pt x="118" y="61"/>
                  </a:lnTo>
                  <a:lnTo>
                    <a:pt x="121" y="63"/>
                  </a:lnTo>
                  <a:lnTo>
                    <a:pt x="121" y="68"/>
                  </a:lnTo>
                  <a:lnTo>
                    <a:pt x="118" y="73"/>
                  </a:lnTo>
                  <a:lnTo>
                    <a:pt x="121" y="73"/>
                  </a:lnTo>
                  <a:lnTo>
                    <a:pt x="123" y="71"/>
                  </a:lnTo>
                  <a:lnTo>
                    <a:pt x="128" y="68"/>
                  </a:lnTo>
                  <a:lnTo>
                    <a:pt x="130" y="63"/>
                  </a:lnTo>
                  <a:lnTo>
                    <a:pt x="128" y="61"/>
                  </a:lnTo>
                  <a:lnTo>
                    <a:pt x="126" y="59"/>
                  </a:lnTo>
                  <a:lnTo>
                    <a:pt x="126" y="54"/>
                  </a:lnTo>
                  <a:lnTo>
                    <a:pt x="128" y="54"/>
                  </a:lnTo>
                  <a:lnTo>
                    <a:pt x="130" y="52"/>
                  </a:lnTo>
                  <a:lnTo>
                    <a:pt x="128" y="49"/>
                  </a:lnTo>
                  <a:lnTo>
                    <a:pt x="135" y="47"/>
                  </a:lnTo>
                  <a:lnTo>
                    <a:pt x="135" y="52"/>
                  </a:lnTo>
                  <a:lnTo>
                    <a:pt x="149" y="52"/>
                  </a:lnTo>
                  <a:lnTo>
                    <a:pt x="149" y="59"/>
                  </a:lnTo>
                  <a:lnTo>
                    <a:pt x="154" y="61"/>
                  </a:lnTo>
                  <a:lnTo>
                    <a:pt x="156" y="56"/>
                  </a:lnTo>
                  <a:lnTo>
                    <a:pt x="159" y="59"/>
                  </a:lnTo>
                  <a:lnTo>
                    <a:pt x="173" y="49"/>
                  </a:lnTo>
                  <a:lnTo>
                    <a:pt x="178" y="49"/>
                  </a:lnTo>
                  <a:lnTo>
                    <a:pt x="178" y="52"/>
                  </a:lnTo>
                  <a:lnTo>
                    <a:pt x="180" y="52"/>
                  </a:lnTo>
                  <a:lnTo>
                    <a:pt x="182" y="52"/>
                  </a:lnTo>
                  <a:lnTo>
                    <a:pt x="182" y="49"/>
                  </a:lnTo>
                  <a:lnTo>
                    <a:pt x="185" y="49"/>
                  </a:lnTo>
                  <a:lnTo>
                    <a:pt x="187" y="47"/>
                  </a:lnTo>
                  <a:lnTo>
                    <a:pt x="189" y="47"/>
                  </a:lnTo>
                  <a:lnTo>
                    <a:pt x="196" y="40"/>
                  </a:lnTo>
                  <a:lnTo>
                    <a:pt x="201" y="40"/>
                  </a:lnTo>
                  <a:lnTo>
                    <a:pt x="204" y="37"/>
                  </a:lnTo>
                  <a:lnTo>
                    <a:pt x="204" y="33"/>
                  </a:lnTo>
                  <a:lnTo>
                    <a:pt x="208" y="35"/>
                  </a:lnTo>
                  <a:lnTo>
                    <a:pt x="211" y="33"/>
                  </a:lnTo>
                  <a:lnTo>
                    <a:pt x="213" y="30"/>
                  </a:lnTo>
                  <a:lnTo>
                    <a:pt x="211" y="21"/>
                  </a:lnTo>
                  <a:lnTo>
                    <a:pt x="213" y="19"/>
                  </a:lnTo>
                  <a:lnTo>
                    <a:pt x="215" y="16"/>
                  </a:lnTo>
                  <a:lnTo>
                    <a:pt x="220" y="11"/>
                  </a:lnTo>
                  <a:lnTo>
                    <a:pt x="222" y="11"/>
                  </a:lnTo>
                  <a:lnTo>
                    <a:pt x="225" y="7"/>
                  </a:lnTo>
                  <a:lnTo>
                    <a:pt x="227" y="4"/>
                  </a:lnTo>
                  <a:lnTo>
                    <a:pt x="229" y="7"/>
                  </a:lnTo>
                  <a:lnTo>
                    <a:pt x="239" y="0"/>
                  </a:lnTo>
                  <a:lnTo>
                    <a:pt x="248" y="0"/>
                  </a:lnTo>
                  <a:lnTo>
                    <a:pt x="258" y="4"/>
                  </a:lnTo>
                  <a:lnTo>
                    <a:pt x="260" y="7"/>
                  </a:lnTo>
                  <a:lnTo>
                    <a:pt x="263" y="9"/>
                  </a:lnTo>
                  <a:lnTo>
                    <a:pt x="265" y="11"/>
                  </a:lnTo>
                  <a:lnTo>
                    <a:pt x="265" y="14"/>
                  </a:lnTo>
                  <a:lnTo>
                    <a:pt x="267" y="23"/>
                  </a:lnTo>
                  <a:lnTo>
                    <a:pt x="267" y="28"/>
                  </a:lnTo>
                  <a:lnTo>
                    <a:pt x="265" y="30"/>
                  </a:lnTo>
                  <a:lnTo>
                    <a:pt x="263" y="35"/>
                  </a:lnTo>
                  <a:lnTo>
                    <a:pt x="267" y="35"/>
                  </a:lnTo>
                  <a:lnTo>
                    <a:pt x="267" y="37"/>
                  </a:lnTo>
                  <a:lnTo>
                    <a:pt x="263" y="40"/>
                  </a:lnTo>
                  <a:lnTo>
                    <a:pt x="260" y="45"/>
                  </a:lnTo>
                  <a:lnTo>
                    <a:pt x="253" y="56"/>
                  </a:lnTo>
                  <a:lnTo>
                    <a:pt x="255" y="59"/>
                  </a:lnTo>
                  <a:lnTo>
                    <a:pt x="251" y="56"/>
                  </a:lnTo>
                  <a:lnTo>
                    <a:pt x="248" y="56"/>
                  </a:lnTo>
                  <a:lnTo>
                    <a:pt x="246" y="59"/>
                  </a:lnTo>
                  <a:lnTo>
                    <a:pt x="232" y="71"/>
                  </a:lnTo>
                  <a:lnTo>
                    <a:pt x="227" y="73"/>
                  </a:lnTo>
                  <a:lnTo>
                    <a:pt x="222" y="73"/>
                  </a:lnTo>
                  <a:lnTo>
                    <a:pt x="215" y="75"/>
                  </a:lnTo>
                  <a:lnTo>
                    <a:pt x="213" y="75"/>
                  </a:lnTo>
                  <a:lnTo>
                    <a:pt x="206" y="78"/>
                  </a:lnTo>
                  <a:lnTo>
                    <a:pt x="204" y="80"/>
                  </a:lnTo>
                  <a:lnTo>
                    <a:pt x="204" y="82"/>
                  </a:lnTo>
                  <a:lnTo>
                    <a:pt x="199" y="87"/>
                  </a:lnTo>
                  <a:lnTo>
                    <a:pt x="199" y="82"/>
                  </a:lnTo>
                  <a:lnTo>
                    <a:pt x="194" y="87"/>
                  </a:lnTo>
                  <a:lnTo>
                    <a:pt x="178" y="99"/>
                  </a:lnTo>
                  <a:lnTo>
                    <a:pt x="175" y="99"/>
                  </a:lnTo>
                  <a:lnTo>
                    <a:pt x="173" y="92"/>
                  </a:lnTo>
                  <a:lnTo>
                    <a:pt x="170" y="94"/>
                  </a:lnTo>
                  <a:lnTo>
                    <a:pt x="173" y="97"/>
                  </a:lnTo>
                  <a:lnTo>
                    <a:pt x="170" y="97"/>
                  </a:lnTo>
                  <a:lnTo>
                    <a:pt x="170" y="101"/>
                  </a:lnTo>
                  <a:lnTo>
                    <a:pt x="161" y="111"/>
                  </a:lnTo>
                  <a:lnTo>
                    <a:pt x="154" y="113"/>
                  </a:lnTo>
                  <a:lnTo>
                    <a:pt x="152" y="118"/>
                  </a:lnTo>
                  <a:lnTo>
                    <a:pt x="149" y="115"/>
                  </a:lnTo>
                  <a:lnTo>
                    <a:pt x="142" y="125"/>
                  </a:lnTo>
                  <a:lnTo>
                    <a:pt x="135" y="137"/>
                  </a:lnTo>
                  <a:lnTo>
                    <a:pt x="126" y="139"/>
                  </a:lnTo>
                  <a:lnTo>
                    <a:pt x="123" y="139"/>
                  </a:lnTo>
                  <a:lnTo>
                    <a:pt x="123" y="137"/>
                  </a:lnTo>
                  <a:lnTo>
                    <a:pt x="121" y="139"/>
                  </a:lnTo>
                  <a:lnTo>
                    <a:pt x="118" y="137"/>
                  </a:lnTo>
                  <a:lnTo>
                    <a:pt x="116" y="141"/>
                  </a:lnTo>
                  <a:lnTo>
                    <a:pt x="118" y="144"/>
                  </a:lnTo>
                  <a:lnTo>
                    <a:pt x="121" y="144"/>
                  </a:lnTo>
                  <a:lnTo>
                    <a:pt x="123" y="148"/>
                  </a:lnTo>
                  <a:lnTo>
                    <a:pt x="114" y="156"/>
                  </a:lnTo>
                  <a:lnTo>
                    <a:pt x="116" y="158"/>
                  </a:lnTo>
                  <a:lnTo>
                    <a:pt x="114" y="163"/>
                  </a:lnTo>
                  <a:lnTo>
                    <a:pt x="109" y="163"/>
                  </a:lnTo>
                  <a:lnTo>
                    <a:pt x="104" y="160"/>
                  </a:lnTo>
                  <a:lnTo>
                    <a:pt x="100" y="158"/>
                  </a:lnTo>
                  <a:lnTo>
                    <a:pt x="102" y="160"/>
                  </a:lnTo>
                  <a:lnTo>
                    <a:pt x="104" y="165"/>
                  </a:lnTo>
                  <a:lnTo>
                    <a:pt x="109" y="172"/>
                  </a:lnTo>
                  <a:lnTo>
                    <a:pt x="97" y="163"/>
                  </a:lnTo>
                  <a:lnTo>
                    <a:pt x="92" y="165"/>
                  </a:lnTo>
                  <a:lnTo>
                    <a:pt x="95" y="167"/>
                  </a:lnTo>
                  <a:lnTo>
                    <a:pt x="92" y="167"/>
                  </a:lnTo>
                  <a:lnTo>
                    <a:pt x="95" y="172"/>
                  </a:lnTo>
                  <a:lnTo>
                    <a:pt x="97" y="174"/>
                  </a:lnTo>
                  <a:lnTo>
                    <a:pt x="92" y="172"/>
                  </a:lnTo>
                  <a:lnTo>
                    <a:pt x="92" y="174"/>
                  </a:lnTo>
                  <a:lnTo>
                    <a:pt x="95" y="179"/>
                  </a:lnTo>
                  <a:lnTo>
                    <a:pt x="92" y="182"/>
                  </a:lnTo>
                  <a:lnTo>
                    <a:pt x="90" y="182"/>
                  </a:lnTo>
                  <a:lnTo>
                    <a:pt x="90" y="177"/>
                  </a:lnTo>
                  <a:lnTo>
                    <a:pt x="81" y="170"/>
                  </a:lnTo>
                  <a:lnTo>
                    <a:pt x="78" y="174"/>
                  </a:lnTo>
                  <a:lnTo>
                    <a:pt x="83" y="177"/>
                  </a:lnTo>
                  <a:lnTo>
                    <a:pt x="85" y="182"/>
                  </a:lnTo>
                  <a:lnTo>
                    <a:pt x="88" y="189"/>
                  </a:lnTo>
                  <a:lnTo>
                    <a:pt x="88" y="191"/>
                  </a:lnTo>
                  <a:lnTo>
                    <a:pt x="88" y="191"/>
                  </a:lnTo>
                  <a:lnTo>
                    <a:pt x="85" y="193"/>
                  </a:lnTo>
                  <a:lnTo>
                    <a:pt x="85" y="196"/>
                  </a:lnTo>
                  <a:lnTo>
                    <a:pt x="83" y="193"/>
                  </a:lnTo>
                  <a:lnTo>
                    <a:pt x="83" y="193"/>
                  </a:lnTo>
                  <a:lnTo>
                    <a:pt x="83" y="198"/>
                  </a:lnTo>
                  <a:lnTo>
                    <a:pt x="83" y="200"/>
                  </a:lnTo>
                  <a:lnTo>
                    <a:pt x="83" y="200"/>
                  </a:lnTo>
                  <a:lnTo>
                    <a:pt x="81" y="198"/>
                  </a:lnTo>
                  <a:lnTo>
                    <a:pt x="78" y="203"/>
                  </a:lnTo>
                  <a:lnTo>
                    <a:pt x="81" y="208"/>
                  </a:lnTo>
                  <a:lnTo>
                    <a:pt x="78" y="208"/>
                  </a:lnTo>
                  <a:lnTo>
                    <a:pt x="76" y="205"/>
                  </a:lnTo>
                  <a:lnTo>
                    <a:pt x="74" y="205"/>
                  </a:lnTo>
                  <a:lnTo>
                    <a:pt x="74" y="200"/>
                  </a:lnTo>
                  <a:lnTo>
                    <a:pt x="69" y="191"/>
                  </a:lnTo>
                  <a:lnTo>
                    <a:pt x="67" y="198"/>
                  </a:lnTo>
                  <a:lnTo>
                    <a:pt x="67" y="200"/>
                  </a:lnTo>
                  <a:lnTo>
                    <a:pt x="62" y="203"/>
                  </a:lnTo>
                  <a:lnTo>
                    <a:pt x="69" y="205"/>
                  </a:lnTo>
                  <a:lnTo>
                    <a:pt x="71" y="208"/>
                  </a:lnTo>
                  <a:lnTo>
                    <a:pt x="71" y="210"/>
                  </a:lnTo>
                  <a:lnTo>
                    <a:pt x="74" y="212"/>
                  </a:lnTo>
                  <a:lnTo>
                    <a:pt x="71" y="212"/>
                  </a:lnTo>
                  <a:lnTo>
                    <a:pt x="71" y="215"/>
                  </a:lnTo>
                  <a:lnTo>
                    <a:pt x="74" y="217"/>
                  </a:lnTo>
                  <a:lnTo>
                    <a:pt x="71" y="222"/>
                  </a:lnTo>
                  <a:lnTo>
                    <a:pt x="69" y="222"/>
                  </a:lnTo>
                  <a:lnTo>
                    <a:pt x="67" y="217"/>
                  </a:lnTo>
                  <a:lnTo>
                    <a:pt x="64" y="217"/>
                  </a:lnTo>
                  <a:lnTo>
                    <a:pt x="57" y="215"/>
                  </a:lnTo>
                  <a:lnTo>
                    <a:pt x="55" y="217"/>
                  </a:lnTo>
                  <a:lnTo>
                    <a:pt x="57" y="219"/>
                  </a:lnTo>
                  <a:lnTo>
                    <a:pt x="62" y="219"/>
                  </a:lnTo>
                  <a:lnTo>
                    <a:pt x="67" y="226"/>
                  </a:lnTo>
                  <a:lnTo>
                    <a:pt x="67" y="229"/>
                  </a:lnTo>
                  <a:lnTo>
                    <a:pt x="67" y="231"/>
                  </a:lnTo>
                  <a:lnTo>
                    <a:pt x="64" y="234"/>
                  </a:lnTo>
                  <a:lnTo>
                    <a:pt x="64" y="234"/>
                  </a:lnTo>
                  <a:lnTo>
                    <a:pt x="59" y="231"/>
                  </a:lnTo>
                  <a:lnTo>
                    <a:pt x="59" y="229"/>
                  </a:lnTo>
                  <a:lnTo>
                    <a:pt x="55" y="226"/>
                  </a:lnTo>
                  <a:lnTo>
                    <a:pt x="57" y="234"/>
                  </a:lnTo>
                  <a:lnTo>
                    <a:pt x="59" y="236"/>
                  </a:lnTo>
                  <a:lnTo>
                    <a:pt x="62" y="238"/>
                  </a:lnTo>
                  <a:lnTo>
                    <a:pt x="62" y="241"/>
                  </a:lnTo>
                  <a:lnTo>
                    <a:pt x="59" y="243"/>
                  </a:lnTo>
                  <a:lnTo>
                    <a:pt x="57" y="248"/>
                  </a:lnTo>
                  <a:lnTo>
                    <a:pt x="55" y="248"/>
                  </a:lnTo>
                  <a:lnTo>
                    <a:pt x="52" y="252"/>
                  </a:lnTo>
                  <a:lnTo>
                    <a:pt x="50" y="252"/>
                  </a:lnTo>
                  <a:lnTo>
                    <a:pt x="48" y="250"/>
                  </a:lnTo>
                  <a:lnTo>
                    <a:pt x="43" y="250"/>
                  </a:lnTo>
                  <a:lnTo>
                    <a:pt x="36" y="248"/>
                  </a:lnTo>
                  <a:lnTo>
                    <a:pt x="31" y="245"/>
                  </a:lnTo>
                  <a:lnTo>
                    <a:pt x="26" y="241"/>
                  </a:lnTo>
                  <a:lnTo>
                    <a:pt x="19" y="243"/>
                  </a:lnTo>
                  <a:lnTo>
                    <a:pt x="12" y="248"/>
                  </a:lnTo>
                  <a:lnTo>
                    <a:pt x="7" y="245"/>
                  </a:lnTo>
                  <a:lnTo>
                    <a:pt x="12" y="243"/>
                  </a:lnTo>
                  <a:lnTo>
                    <a:pt x="12" y="241"/>
                  </a:lnTo>
                  <a:lnTo>
                    <a:pt x="10" y="241"/>
                  </a:lnTo>
                  <a:lnTo>
                    <a:pt x="10" y="236"/>
                  </a:lnTo>
                  <a:lnTo>
                    <a:pt x="12" y="234"/>
                  </a:lnTo>
                  <a:lnTo>
                    <a:pt x="17" y="229"/>
                  </a:lnTo>
                  <a:lnTo>
                    <a:pt x="19" y="229"/>
                  </a:lnTo>
                  <a:lnTo>
                    <a:pt x="24" y="226"/>
                  </a:lnTo>
                  <a:lnTo>
                    <a:pt x="24" y="226"/>
                  </a:lnTo>
                  <a:lnTo>
                    <a:pt x="22" y="224"/>
                  </a:lnTo>
                  <a:lnTo>
                    <a:pt x="19" y="226"/>
                  </a:lnTo>
                  <a:lnTo>
                    <a:pt x="17" y="226"/>
                  </a:lnTo>
                  <a:lnTo>
                    <a:pt x="12" y="231"/>
                  </a:lnTo>
                  <a:lnTo>
                    <a:pt x="5" y="229"/>
                  </a:lnTo>
                  <a:lnTo>
                    <a:pt x="5" y="226"/>
                  </a:lnTo>
                  <a:lnTo>
                    <a:pt x="0" y="224"/>
                  </a:lnTo>
                  <a:lnTo>
                    <a:pt x="0" y="219"/>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6" name="Freeform 549">
              <a:extLst>
                <a:ext uri="{FF2B5EF4-FFF2-40B4-BE49-F238E27FC236}">
                  <a16:creationId xmlns:a16="http://schemas.microsoft.com/office/drawing/2014/main" id="{3EEEBD7C-F99D-4533-8DE7-68BB39CF3EE5}"/>
                </a:ext>
              </a:extLst>
            </p:cNvPr>
            <p:cNvSpPr>
              <a:spLocks/>
            </p:cNvSpPr>
            <p:nvPr/>
          </p:nvSpPr>
          <p:spPr bwMode="auto">
            <a:xfrm>
              <a:off x="2726577" y="1676363"/>
              <a:ext cx="22225" cy="38100"/>
            </a:xfrm>
            <a:custGeom>
              <a:avLst/>
              <a:gdLst>
                <a:gd name="T0" fmla="*/ 0 w 14"/>
                <a:gd name="T1" fmla="*/ 2 h 24"/>
                <a:gd name="T2" fmla="*/ 0 w 14"/>
                <a:gd name="T3" fmla="*/ 2 h 24"/>
                <a:gd name="T4" fmla="*/ 4 w 14"/>
                <a:gd name="T5" fmla="*/ 0 h 24"/>
                <a:gd name="T6" fmla="*/ 7 w 14"/>
                <a:gd name="T7" fmla="*/ 0 h 24"/>
                <a:gd name="T8" fmla="*/ 9 w 14"/>
                <a:gd name="T9" fmla="*/ 5 h 24"/>
                <a:gd name="T10" fmla="*/ 12 w 14"/>
                <a:gd name="T11" fmla="*/ 2 h 24"/>
                <a:gd name="T12" fmla="*/ 14 w 14"/>
                <a:gd name="T13" fmla="*/ 7 h 24"/>
                <a:gd name="T14" fmla="*/ 14 w 14"/>
                <a:gd name="T15" fmla="*/ 12 h 24"/>
                <a:gd name="T16" fmla="*/ 14 w 14"/>
                <a:gd name="T17" fmla="*/ 17 h 24"/>
                <a:gd name="T18" fmla="*/ 14 w 14"/>
                <a:gd name="T19" fmla="*/ 17 h 24"/>
                <a:gd name="T20" fmla="*/ 14 w 14"/>
                <a:gd name="T21" fmla="*/ 21 h 24"/>
                <a:gd name="T22" fmla="*/ 14 w 14"/>
                <a:gd name="T23" fmla="*/ 24 h 24"/>
                <a:gd name="T24" fmla="*/ 14 w 14"/>
                <a:gd name="T25" fmla="*/ 24 h 24"/>
                <a:gd name="T26" fmla="*/ 12 w 14"/>
                <a:gd name="T27" fmla="*/ 17 h 24"/>
                <a:gd name="T28" fmla="*/ 9 w 14"/>
                <a:gd name="T29" fmla="*/ 14 h 24"/>
                <a:gd name="T30" fmla="*/ 7 w 14"/>
                <a:gd name="T31" fmla="*/ 7 h 24"/>
                <a:gd name="T32" fmla="*/ 0 w 14"/>
                <a:gd name="T33" fmla="*/ 5 h 24"/>
                <a:gd name="T34" fmla="*/ 0 w 14"/>
                <a:gd name="T35"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4">
                  <a:moveTo>
                    <a:pt x="0" y="2"/>
                  </a:moveTo>
                  <a:lnTo>
                    <a:pt x="0" y="2"/>
                  </a:lnTo>
                  <a:lnTo>
                    <a:pt x="4" y="0"/>
                  </a:lnTo>
                  <a:lnTo>
                    <a:pt x="7" y="0"/>
                  </a:lnTo>
                  <a:lnTo>
                    <a:pt x="9" y="5"/>
                  </a:lnTo>
                  <a:lnTo>
                    <a:pt x="12" y="2"/>
                  </a:lnTo>
                  <a:lnTo>
                    <a:pt x="14" y="7"/>
                  </a:lnTo>
                  <a:lnTo>
                    <a:pt x="14" y="12"/>
                  </a:lnTo>
                  <a:lnTo>
                    <a:pt x="14" y="17"/>
                  </a:lnTo>
                  <a:lnTo>
                    <a:pt x="14" y="17"/>
                  </a:lnTo>
                  <a:lnTo>
                    <a:pt x="14" y="21"/>
                  </a:lnTo>
                  <a:lnTo>
                    <a:pt x="14" y="24"/>
                  </a:lnTo>
                  <a:lnTo>
                    <a:pt x="14" y="24"/>
                  </a:lnTo>
                  <a:lnTo>
                    <a:pt x="12" y="17"/>
                  </a:lnTo>
                  <a:lnTo>
                    <a:pt x="9" y="14"/>
                  </a:lnTo>
                  <a:lnTo>
                    <a:pt x="7" y="7"/>
                  </a:lnTo>
                  <a:lnTo>
                    <a:pt x="0" y="5"/>
                  </a:lnTo>
                  <a:lnTo>
                    <a:pt x="0" y="2"/>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7" name="Freeform 550">
              <a:extLst>
                <a:ext uri="{FF2B5EF4-FFF2-40B4-BE49-F238E27FC236}">
                  <a16:creationId xmlns:a16="http://schemas.microsoft.com/office/drawing/2014/main" id="{F3E65AD6-AFE3-4882-B41E-DB9C6D2F6F00}"/>
                </a:ext>
              </a:extLst>
            </p:cNvPr>
            <p:cNvSpPr>
              <a:spLocks/>
            </p:cNvSpPr>
            <p:nvPr/>
          </p:nvSpPr>
          <p:spPr bwMode="auto">
            <a:xfrm>
              <a:off x="2726577" y="1676363"/>
              <a:ext cx="22225" cy="38100"/>
            </a:xfrm>
            <a:custGeom>
              <a:avLst/>
              <a:gdLst>
                <a:gd name="T0" fmla="*/ 0 w 14"/>
                <a:gd name="T1" fmla="*/ 2 h 24"/>
                <a:gd name="T2" fmla="*/ 0 w 14"/>
                <a:gd name="T3" fmla="*/ 2 h 24"/>
                <a:gd name="T4" fmla="*/ 4 w 14"/>
                <a:gd name="T5" fmla="*/ 0 h 24"/>
                <a:gd name="T6" fmla="*/ 7 w 14"/>
                <a:gd name="T7" fmla="*/ 0 h 24"/>
                <a:gd name="T8" fmla="*/ 9 w 14"/>
                <a:gd name="T9" fmla="*/ 5 h 24"/>
                <a:gd name="T10" fmla="*/ 12 w 14"/>
                <a:gd name="T11" fmla="*/ 2 h 24"/>
                <a:gd name="T12" fmla="*/ 14 w 14"/>
                <a:gd name="T13" fmla="*/ 7 h 24"/>
                <a:gd name="T14" fmla="*/ 14 w 14"/>
                <a:gd name="T15" fmla="*/ 12 h 24"/>
                <a:gd name="T16" fmla="*/ 14 w 14"/>
                <a:gd name="T17" fmla="*/ 17 h 24"/>
                <a:gd name="T18" fmla="*/ 14 w 14"/>
                <a:gd name="T19" fmla="*/ 17 h 24"/>
                <a:gd name="T20" fmla="*/ 14 w 14"/>
                <a:gd name="T21" fmla="*/ 21 h 24"/>
                <a:gd name="T22" fmla="*/ 14 w 14"/>
                <a:gd name="T23" fmla="*/ 24 h 24"/>
                <a:gd name="T24" fmla="*/ 14 w 14"/>
                <a:gd name="T25" fmla="*/ 24 h 24"/>
                <a:gd name="T26" fmla="*/ 12 w 14"/>
                <a:gd name="T27" fmla="*/ 17 h 24"/>
                <a:gd name="T28" fmla="*/ 9 w 14"/>
                <a:gd name="T29" fmla="*/ 14 h 24"/>
                <a:gd name="T30" fmla="*/ 7 w 14"/>
                <a:gd name="T31" fmla="*/ 7 h 24"/>
                <a:gd name="T32" fmla="*/ 0 w 14"/>
                <a:gd name="T33" fmla="*/ 5 h 24"/>
                <a:gd name="T34" fmla="*/ 0 w 14"/>
                <a:gd name="T35"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4">
                  <a:moveTo>
                    <a:pt x="0" y="2"/>
                  </a:moveTo>
                  <a:lnTo>
                    <a:pt x="0" y="2"/>
                  </a:lnTo>
                  <a:lnTo>
                    <a:pt x="4" y="0"/>
                  </a:lnTo>
                  <a:lnTo>
                    <a:pt x="7" y="0"/>
                  </a:lnTo>
                  <a:lnTo>
                    <a:pt x="9" y="5"/>
                  </a:lnTo>
                  <a:lnTo>
                    <a:pt x="12" y="2"/>
                  </a:lnTo>
                  <a:lnTo>
                    <a:pt x="14" y="7"/>
                  </a:lnTo>
                  <a:lnTo>
                    <a:pt x="14" y="12"/>
                  </a:lnTo>
                  <a:lnTo>
                    <a:pt x="14" y="17"/>
                  </a:lnTo>
                  <a:lnTo>
                    <a:pt x="14" y="17"/>
                  </a:lnTo>
                  <a:lnTo>
                    <a:pt x="14" y="21"/>
                  </a:lnTo>
                  <a:lnTo>
                    <a:pt x="14" y="24"/>
                  </a:lnTo>
                  <a:lnTo>
                    <a:pt x="14" y="24"/>
                  </a:lnTo>
                  <a:lnTo>
                    <a:pt x="12" y="17"/>
                  </a:lnTo>
                  <a:lnTo>
                    <a:pt x="9" y="14"/>
                  </a:lnTo>
                  <a:lnTo>
                    <a:pt x="7" y="7"/>
                  </a:lnTo>
                  <a:lnTo>
                    <a:pt x="0" y="5"/>
                  </a:lnTo>
                  <a:lnTo>
                    <a:pt x="0" y="2"/>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8" name="Freeform 551">
              <a:extLst>
                <a:ext uri="{FF2B5EF4-FFF2-40B4-BE49-F238E27FC236}">
                  <a16:creationId xmlns:a16="http://schemas.microsoft.com/office/drawing/2014/main" id="{37244D68-1A22-4B75-9AF4-83B417C36217}"/>
                </a:ext>
              </a:extLst>
            </p:cNvPr>
            <p:cNvSpPr>
              <a:spLocks/>
            </p:cNvSpPr>
            <p:nvPr/>
          </p:nvSpPr>
          <p:spPr bwMode="auto">
            <a:xfrm>
              <a:off x="3745750" y="1057239"/>
              <a:ext cx="11113" cy="22225"/>
            </a:xfrm>
            <a:custGeom>
              <a:avLst/>
              <a:gdLst>
                <a:gd name="T0" fmla="*/ 5 w 7"/>
                <a:gd name="T1" fmla="*/ 0 h 14"/>
                <a:gd name="T2" fmla="*/ 5 w 7"/>
                <a:gd name="T3" fmla="*/ 0 h 14"/>
                <a:gd name="T4" fmla="*/ 5 w 7"/>
                <a:gd name="T5" fmla="*/ 3 h 14"/>
                <a:gd name="T6" fmla="*/ 5 w 7"/>
                <a:gd name="T7" fmla="*/ 5 h 14"/>
                <a:gd name="T8" fmla="*/ 5 w 7"/>
                <a:gd name="T9" fmla="*/ 7 h 14"/>
                <a:gd name="T10" fmla="*/ 7 w 7"/>
                <a:gd name="T11" fmla="*/ 10 h 14"/>
                <a:gd name="T12" fmla="*/ 7 w 7"/>
                <a:gd name="T13" fmla="*/ 12 h 14"/>
                <a:gd name="T14" fmla="*/ 5 w 7"/>
                <a:gd name="T15" fmla="*/ 14 h 14"/>
                <a:gd name="T16" fmla="*/ 3 w 7"/>
                <a:gd name="T17" fmla="*/ 12 h 14"/>
                <a:gd name="T18" fmla="*/ 3 w 7"/>
                <a:gd name="T19" fmla="*/ 14 h 14"/>
                <a:gd name="T20" fmla="*/ 0 w 7"/>
                <a:gd name="T21" fmla="*/ 14 h 14"/>
                <a:gd name="T22" fmla="*/ 0 w 7"/>
                <a:gd name="T23" fmla="*/ 7 h 14"/>
                <a:gd name="T24" fmla="*/ 0 w 7"/>
                <a:gd name="T25" fmla="*/ 5 h 14"/>
                <a:gd name="T26" fmla="*/ 3 w 7"/>
                <a:gd name="T27" fmla="*/ 3 h 14"/>
                <a:gd name="T28" fmla="*/ 5 w 7"/>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4">
                  <a:moveTo>
                    <a:pt x="5" y="0"/>
                  </a:moveTo>
                  <a:lnTo>
                    <a:pt x="5" y="0"/>
                  </a:lnTo>
                  <a:lnTo>
                    <a:pt x="5" y="3"/>
                  </a:lnTo>
                  <a:lnTo>
                    <a:pt x="5" y="5"/>
                  </a:lnTo>
                  <a:lnTo>
                    <a:pt x="5" y="7"/>
                  </a:lnTo>
                  <a:lnTo>
                    <a:pt x="7" y="10"/>
                  </a:lnTo>
                  <a:lnTo>
                    <a:pt x="7" y="12"/>
                  </a:lnTo>
                  <a:lnTo>
                    <a:pt x="5" y="14"/>
                  </a:lnTo>
                  <a:lnTo>
                    <a:pt x="3" y="12"/>
                  </a:lnTo>
                  <a:lnTo>
                    <a:pt x="3" y="14"/>
                  </a:lnTo>
                  <a:lnTo>
                    <a:pt x="0" y="14"/>
                  </a:lnTo>
                  <a:lnTo>
                    <a:pt x="0" y="7"/>
                  </a:lnTo>
                  <a:lnTo>
                    <a:pt x="0" y="5"/>
                  </a:lnTo>
                  <a:lnTo>
                    <a:pt x="3" y="3"/>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19" name="Freeform 552">
              <a:extLst>
                <a:ext uri="{FF2B5EF4-FFF2-40B4-BE49-F238E27FC236}">
                  <a16:creationId xmlns:a16="http://schemas.microsoft.com/office/drawing/2014/main" id="{D8E6ECB2-9DC2-46A7-8F5B-79430121C06B}"/>
                </a:ext>
              </a:extLst>
            </p:cNvPr>
            <p:cNvSpPr>
              <a:spLocks/>
            </p:cNvSpPr>
            <p:nvPr/>
          </p:nvSpPr>
          <p:spPr bwMode="auto">
            <a:xfrm>
              <a:off x="3745750" y="1057239"/>
              <a:ext cx="11113" cy="22225"/>
            </a:xfrm>
            <a:custGeom>
              <a:avLst/>
              <a:gdLst>
                <a:gd name="T0" fmla="*/ 5 w 7"/>
                <a:gd name="T1" fmla="*/ 0 h 14"/>
                <a:gd name="T2" fmla="*/ 5 w 7"/>
                <a:gd name="T3" fmla="*/ 0 h 14"/>
                <a:gd name="T4" fmla="*/ 5 w 7"/>
                <a:gd name="T5" fmla="*/ 3 h 14"/>
                <a:gd name="T6" fmla="*/ 5 w 7"/>
                <a:gd name="T7" fmla="*/ 5 h 14"/>
                <a:gd name="T8" fmla="*/ 5 w 7"/>
                <a:gd name="T9" fmla="*/ 7 h 14"/>
                <a:gd name="T10" fmla="*/ 7 w 7"/>
                <a:gd name="T11" fmla="*/ 10 h 14"/>
                <a:gd name="T12" fmla="*/ 7 w 7"/>
                <a:gd name="T13" fmla="*/ 12 h 14"/>
                <a:gd name="T14" fmla="*/ 5 w 7"/>
                <a:gd name="T15" fmla="*/ 14 h 14"/>
                <a:gd name="T16" fmla="*/ 3 w 7"/>
                <a:gd name="T17" fmla="*/ 12 h 14"/>
                <a:gd name="T18" fmla="*/ 3 w 7"/>
                <a:gd name="T19" fmla="*/ 14 h 14"/>
                <a:gd name="T20" fmla="*/ 0 w 7"/>
                <a:gd name="T21" fmla="*/ 14 h 14"/>
                <a:gd name="T22" fmla="*/ 0 w 7"/>
                <a:gd name="T23" fmla="*/ 7 h 14"/>
                <a:gd name="T24" fmla="*/ 0 w 7"/>
                <a:gd name="T25" fmla="*/ 5 h 14"/>
                <a:gd name="T26" fmla="*/ 3 w 7"/>
                <a:gd name="T27" fmla="*/ 3 h 14"/>
                <a:gd name="T28" fmla="*/ 5 w 7"/>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4">
                  <a:moveTo>
                    <a:pt x="5" y="0"/>
                  </a:moveTo>
                  <a:lnTo>
                    <a:pt x="5" y="0"/>
                  </a:lnTo>
                  <a:lnTo>
                    <a:pt x="5" y="3"/>
                  </a:lnTo>
                  <a:lnTo>
                    <a:pt x="5" y="5"/>
                  </a:lnTo>
                  <a:lnTo>
                    <a:pt x="5" y="7"/>
                  </a:lnTo>
                  <a:lnTo>
                    <a:pt x="7" y="10"/>
                  </a:lnTo>
                  <a:lnTo>
                    <a:pt x="7" y="12"/>
                  </a:lnTo>
                  <a:lnTo>
                    <a:pt x="5" y="14"/>
                  </a:lnTo>
                  <a:lnTo>
                    <a:pt x="3" y="12"/>
                  </a:lnTo>
                  <a:lnTo>
                    <a:pt x="3" y="14"/>
                  </a:lnTo>
                  <a:lnTo>
                    <a:pt x="0" y="14"/>
                  </a:lnTo>
                  <a:lnTo>
                    <a:pt x="0" y="7"/>
                  </a:lnTo>
                  <a:lnTo>
                    <a:pt x="0" y="5"/>
                  </a:lnTo>
                  <a:lnTo>
                    <a:pt x="3" y="3"/>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0" name="Freeform 553">
              <a:extLst>
                <a:ext uri="{FF2B5EF4-FFF2-40B4-BE49-F238E27FC236}">
                  <a16:creationId xmlns:a16="http://schemas.microsoft.com/office/drawing/2014/main" id="{44346DCB-EF5B-47D9-8F1B-A8B11974846A}"/>
                </a:ext>
              </a:extLst>
            </p:cNvPr>
            <p:cNvSpPr>
              <a:spLocks/>
            </p:cNvSpPr>
            <p:nvPr/>
          </p:nvSpPr>
          <p:spPr bwMode="auto">
            <a:xfrm>
              <a:off x="3915612" y="1181063"/>
              <a:ext cx="36513" cy="19050"/>
            </a:xfrm>
            <a:custGeom>
              <a:avLst/>
              <a:gdLst>
                <a:gd name="T0" fmla="*/ 18 w 23"/>
                <a:gd name="T1" fmla="*/ 0 h 12"/>
                <a:gd name="T2" fmla="*/ 16 w 23"/>
                <a:gd name="T3" fmla="*/ 3 h 12"/>
                <a:gd name="T4" fmla="*/ 16 w 23"/>
                <a:gd name="T5" fmla="*/ 5 h 12"/>
                <a:gd name="T6" fmla="*/ 18 w 23"/>
                <a:gd name="T7" fmla="*/ 7 h 12"/>
                <a:gd name="T8" fmla="*/ 18 w 23"/>
                <a:gd name="T9" fmla="*/ 10 h 12"/>
                <a:gd name="T10" fmla="*/ 18 w 23"/>
                <a:gd name="T11" fmla="*/ 12 h 12"/>
                <a:gd name="T12" fmla="*/ 7 w 23"/>
                <a:gd name="T13" fmla="*/ 10 h 12"/>
                <a:gd name="T14" fmla="*/ 4 w 23"/>
                <a:gd name="T15" fmla="*/ 7 h 12"/>
                <a:gd name="T16" fmla="*/ 0 w 23"/>
                <a:gd name="T17" fmla="*/ 5 h 12"/>
                <a:gd name="T18" fmla="*/ 0 w 23"/>
                <a:gd name="T19" fmla="*/ 3 h 12"/>
                <a:gd name="T20" fmla="*/ 0 w 23"/>
                <a:gd name="T21" fmla="*/ 3 h 12"/>
                <a:gd name="T22" fmla="*/ 2 w 23"/>
                <a:gd name="T23" fmla="*/ 3 h 12"/>
                <a:gd name="T24" fmla="*/ 2 w 23"/>
                <a:gd name="T25" fmla="*/ 5 h 12"/>
                <a:gd name="T26" fmla="*/ 4 w 23"/>
                <a:gd name="T27" fmla="*/ 3 h 12"/>
                <a:gd name="T28" fmla="*/ 4 w 23"/>
                <a:gd name="T29" fmla="*/ 3 h 12"/>
                <a:gd name="T30" fmla="*/ 7 w 23"/>
                <a:gd name="T31" fmla="*/ 0 h 12"/>
                <a:gd name="T32" fmla="*/ 14 w 23"/>
                <a:gd name="T33" fmla="*/ 5 h 12"/>
                <a:gd name="T34" fmla="*/ 16 w 23"/>
                <a:gd name="T35" fmla="*/ 0 h 12"/>
                <a:gd name="T36" fmla="*/ 18 w 23"/>
                <a:gd name="T37" fmla="*/ 0 h 12"/>
                <a:gd name="T38" fmla="*/ 21 w 23"/>
                <a:gd name="T39" fmla="*/ 3 h 12"/>
                <a:gd name="T40" fmla="*/ 23 w 23"/>
                <a:gd name="T41" fmla="*/ 5 h 12"/>
                <a:gd name="T42" fmla="*/ 21 w 23"/>
                <a:gd name="T43" fmla="*/ 10 h 12"/>
                <a:gd name="T44" fmla="*/ 21 w 23"/>
                <a:gd name="T45" fmla="*/ 7 h 12"/>
                <a:gd name="T46" fmla="*/ 21 w 23"/>
                <a:gd name="T47" fmla="*/ 5 h 12"/>
                <a:gd name="T48" fmla="*/ 18 w 23"/>
                <a:gd name="T4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12">
                  <a:moveTo>
                    <a:pt x="18" y="0"/>
                  </a:moveTo>
                  <a:lnTo>
                    <a:pt x="16" y="3"/>
                  </a:lnTo>
                  <a:lnTo>
                    <a:pt x="16" y="5"/>
                  </a:lnTo>
                  <a:lnTo>
                    <a:pt x="18" y="7"/>
                  </a:lnTo>
                  <a:lnTo>
                    <a:pt x="18" y="10"/>
                  </a:lnTo>
                  <a:lnTo>
                    <a:pt x="18" y="12"/>
                  </a:lnTo>
                  <a:lnTo>
                    <a:pt x="7" y="10"/>
                  </a:lnTo>
                  <a:lnTo>
                    <a:pt x="4" y="7"/>
                  </a:lnTo>
                  <a:lnTo>
                    <a:pt x="0" y="5"/>
                  </a:lnTo>
                  <a:lnTo>
                    <a:pt x="0" y="3"/>
                  </a:lnTo>
                  <a:lnTo>
                    <a:pt x="0" y="3"/>
                  </a:lnTo>
                  <a:lnTo>
                    <a:pt x="2" y="3"/>
                  </a:lnTo>
                  <a:lnTo>
                    <a:pt x="2" y="5"/>
                  </a:lnTo>
                  <a:lnTo>
                    <a:pt x="4" y="3"/>
                  </a:lnTo>
                  <a:lnTo>
                    <a:pt x="4" y="3"/>
                  </a:lnTo>
                  <a:lnTo>
                    <a:pt x="7" y="0"/>
                  </a:lnTo>
                  <a:lnTo>
                    <a:pt x="14" y="5"/>
                  </a:lnTo>
                  <a:lnTo>
                    <a:pt x="16" y="0"/>
                  </a:lnTo>
                  <a:lnTo>
                    <a:pt x="18" y="0"/>
                  </a:lnTo>
                  <a:lnTo>
                    <a:pt x="21" y="3"/>
                  </a:lnTo>
                  <a:lnTo>
                    <a:pt x="23" y="5"/>
                  </a:lnTo>
                  <a:lnTo>
                    <a:pt x="21" y="10"/>
                  </a:lnTo>
                  <a:lnTo>
                    <a:pt x="21" y="7"/>
                  </a:lnTo>
                  <a:lnTo>
                    <a:pt x="21" y="5"/>
                  </a:lnTo>
                  <a:lnTo>
                    <a:pt x="18"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1" name="Freeform 554">
              <a:extLst>
                <a:ext uri="{FF2B5EF4-FFF2-40B4-BE49-F238E27FC236}">
                  <a16:creationId xmlns:a16="http://schemas.microsoft.com/office/drawing/2014/main" id="{703A9347-A156-4BAD-B2DE-6464FC2AB479}"/>
                </a:ext>
              </a:extLst>
            </p:cNvPr>
            <p:cNvSpPr>
              <a:spLocks/>
            </p:cNvSpPr>
            <p:nvPr/>
          </p:nvSpPr>
          <p:spPr bwMode="auto">
            <a:xfrm>
              <a:off x="3915612" y="1181063"/>
              <a:ext cx="36513" cy="19050"/>
            </a:xfrm>
            <a:custGeom>
              <a:avLst/>
              <a:gdLst>
                <a:gd name="T0" fmla="*/ 18 w 23"/>
                <a:gd name="T1" fmla="*/ 0 h 12"/>
                <a:gd name="T2" fmla="*/ 16 w 23"/>
                <a:gd name="T3" fmla="*/ 3 h 12"/>
                <a:gd name="T4" fmla="*/ 16 w 23"/>
                <a:gd name="T5" fmla="*/ 5 h 12"/>
                <a:gd name="T6" fmla="*/ 18 w 23"/>
                <a:gd name="T7" fmla="*/ 7 h 12"/>
                <a:gd name="T8" fmla="*/ 18 w 23"/>
                <a:gd name="T9" fmla="*/ 10 h 12"/>
                <a:gd name="T10" fmla="*/ 18 w 23"/>
                <a:gd name="T11" fmla="*/ 12 h 12"/>
                <a:gd name="T12" fmla="*/ 7 w 23"/>
                <a:gd name="T13" fmla="*/ 10 h 12"/>
                <a:gd name="T14" fmla="*/ 4 w 23"/>
                <a:gd name="T15" fmla="*/ 7 h 12"/>
                <a:gd name="T16" fmla="*/ 0 w 23"/>
                <a:gd name="T17" fmla="*/ 5 h 12"/>
                <a:gd name="T18" fmla="*/ 0 w 23"/>
                <a:gd name="T19" fmla="*/ 3 h 12"/>
                <a:gd name="T20" fmla="*/ 0 w 23"/>
                <a:gd name="T21" fmla="*/ 3 h 12"/>
                <a:gd name="T22" fmla="*/ 2 w 23"/>
                <a:gd name="T23" fmla="*/ 3 h 12"/>
                <a:gd name="T24" fmla="*/ 2 w 23"/>
                <a:gd name="T25" fmla="*/ 5 h 12"/>
                <a:gd name="T26" fmla="*/ 4 w 23"/>
                <a:gd name="T27" fmla="*/ 3 h 12"/>
                <a:gd name="T28" fmla="*/ 4 w 23"/>
                <a:gd name="T29" fmla="*/ 3 h 12"/>
                <a:gd name="T30" fmla="*/ 7 w 23"/>
                <a:gd name="T31" fmla="*/ 0 h 12"/>
                <a:gd name="T32" fmla="*/ 14 w 23"/>
                <a:gd name="T33" fmla="*/ 5 h 12"/>
                <a:gd name="T34" fmla="*/ 16 w 23"/>
                <a:gd name="T35" fmla="*/ 0 h 12"/>
                <a:gd name="T36" fmla="*/ 18 w 23"/>
                <a:gd name="T37" fmla="*/ 0 h 12"/>
                <a:gd name="T38" fmla="*/ 21 w 23"/>
                <a:gd name="T39" fmla="*/ 3 h 12"/>
                <a:gd name="T40" fmla="*/ 23 w 23"/>
                <a:gd name="T41" fmla="*/ 5 h 12"/>
                <a:gd name="T42" fmla="*/ 21 w 23"/>
                <a:gd name="T43" fmla="*/ 10 h 12"/>
                <a:gd name="T44" fmla="*/ 21 w 23"/>
                <a:gd name="T45" fmla="*/ 7 h 12"/>
                <a:gd name="T46" fmla="*/ 21 w 23"/>
                <a:gd name="T47" fmla="*/ 5 h 12"/>
                <a:gd name="T48" fmla="*/ 18 w 23"/>
                <a:gd name="T4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12">
                  <a:moveTo>
                    <a:pt x="18" y="0"/>
                  </a:moveTo>
                  <a:lnTo>
                    <a:pt x="16" y="3"/>
                  </a:lnTo>
                  <a:lnTo>
                    <a:pt x="16" y="5"/>
                  </a:lnTo>
                  <a:lnTo>
                    <a:pt x="18" y="7"/>
                  </a:lnTo>
                  <a:lnTo>
                    <a:pt x="18" y="10"/>
                  </a:lnTo>
                  <a:lnTo>
                    <a:pt x="18" y="12"/>
                  </a:lnTo>
                  <a:lnTo>
                    <a:pt x="7" y="10"/>
                  </a:lnTo>
                  <a:lnTo>
                    <a:pt x="4" y="7"/>
                  </a:lnTo>
                  <a:lnTo>
                    <a:pt x="0" y="5"/>
                  </a:lnTo>
                  <a:lnTo>
                    <a:pt x="0" y="3"/>
                  </a:lnTo>
                  <a:lnTo>
                    <a:pt x="0" y="3"/>
                  </a:lnTo>
                  <a:lnTo>
                    <a:pt x="2" y="3"/>
                  </a:lnTo>
                  <a:lnTo>
                    <a:pt x="2" y="5"/>
                  </a:lnTo>
                  <a:lnTo>
                    <a:pt x="4" y="3"/>
                  </a:lnTo>
                  <a:lnTo>
                    <a:pt x="4" y="3"/>
                  </a:lnTo>
                  <a:lnTo>
                    <a:pt x="7" y="0"/>
                  </a:lnTo>
                  <a:lnTo>
                    <a:pt x="14" y="5"/>
                  </a:lnTo>
                  <a:lnTo>
                    <a:pt x="16" y="0"/>
                  </a:lnTo>
                  <a:lnTo>
                    <a:pt x="18" y="0"/>
                  </a:lnTo>
                  <a:lnTo>
                    <a:pt x="21" y="3"/>
                  </a:lnTo>
                  <a:lnTo>
                    <a:pt x="23" y="5"/>
                  </a:lnTo>
                  <a:lnTo>
                    <a:pt x="21" y="10"/>
                  </a:lnTo>
                  <a:lnTo>
                    <a:pt x="21" y="7"/>
                  </a:lnTo>
                  <a:lnTo>
                    <a:pt x="21" y="5"/>
                  </a:lnTo>
                  <a:lnTo>
                    <a:pt x="18"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2" name="Freeform 555">
              <a:extLst>
                <a:ext uri="{FF2B5EF4-FFF2-40B4-BE49-F238E27FC236}">
                  <a16:creationId xmlns:a16="http://schemas.microsoft.com/office/drawing/2014/main" id="{DB546733-BBF1-4832-BFF4-70C186965DF8}"/>
                </a:ext>
              </a:extLst>
            </p:cNvPr>
            <p:cNvSpPr>
              <a:spLocks/>
            </p:cNvSpPr>
            <p:nvPr/>
          </p:nvSpPr>
          <p:spPr bwMode="auto">
            <a:xfrm>
              <a:off x="3910850" y="1076288"/>
              <a:ext cx="33338" cy="38100"/>
            </a:xfrm>
            <a:custGeom>
              <a:avLst/>
              <a:gdLst>
                <a:gd name="T0" fmla="*/ 19 w 21"/>
                <a:gd name="T1" fmla="*/ 12 h 24"/>
                <a:gd name="T2" fmla="*/ 19 w 21"/>
                <a:gd name="T3" fmla="*/ 14 h 24"/>
                <a:gd name="T4" fmla="*/ 14 w 21"/>
                <a:gd name="T5" fmla="*/ 19 h 24"/>
                <a:gd name="T6" fmla="*/ 10 w 21"/>
                <a:gd name="T7" fmla="*/ 24 h 24"/>
                <a:gd name="T8" fmla="*/ 10 w 21"/>
                <a:gd name="T9" fmla="*/ 21 h 24"/>
                <a:gd name="T10" fmla="*/ 10 w 21"/>
                <a:gd name="T11" fmla="*/ 21 h 24"/>
                <a:gd name="T12" fmla="*/ 10 w 21"/>
                <a:gd name="T13" fmla="*/ 21 h 24"/>
                <a:gd name="T14" fmla="*/ 12 w 21"/>
                <a:gd name="T15" fmla="*/ 17 h 24"/>
                <a:gd name="T16" fmla="*/ 12 w 21"/>
                <a:gd name="T17" fmla="*/ 17 h 24"/>
                <a:gd name="T18" fmla="*/ 7 w 21"/>
                <a:gd name="T19" fmla="*/ 19 h 24"/>
                <a:gd name="T20" fmla="*/ 3 w 21"/>
                <a:gd name="T21" fmla="*/ 21 h 24"/>
                <a:gd name="T22" fmla="*/ 0 w 21"/>
                <a:gd name="T23" fmla="*/ 19 h 24"/>
                <a:gd name="T24" fmla="*/ 5 w 21"/>
                <a:gd name="T25" fmla="*/ 12 h 24"/>
                <a:gd name="T26" fmla="*/ 10 w 21"/>
                <a:gd name="T27" fmla="*/ 12 h 24"/>
                <a:gd name="T28" fmla="*/ 17 w 21"/>
                <a:gd name="T29" fmla="*/ 7 h 24"/>
                <a:gd name="T30" fmla="*/ 19 w 21"/>
                <a:gd name="T31" fmla="*/ 0 h 24"/>
                <a:gd name="T32" fmla="*/ 21 w 21"/>
                <a:gd name="T33" fmla="*/ 5 h 24"/>
                <a:gd name="T34" fmla="*/ 21 w 21"/>
                <a:gd name="T35" fmla="*/ 10 h 24"/>
                <a:gd name="T36" fmla="*/ 21 w 21"/>
                <a:gd name="T37" fmla="*/ 12 h 24"/>
                <a:gd name="T38" fmla="*/ 21 w 21"/>
                <a:gd name="T39" fmla="*/ 12 h 24"/>
                <a:gd name="T40" fmla="*/ 19 w 21"/>
                <a:gd name="T4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4">
                  <a:moveTo>
                    <a:pt x="19" y="12"/>
                  </a:moveTo>
                  <a:lnTo>
                    <a:pt x="19" y="14"/>
                  </a:lnTo>
                  <a:lnTo>
                    <a:pt x="14" y="19"/>
                  </a:lnTo>
                  <a:lnTo>
                    <a:pt x="10" y="24"/>
                  </a:lnTo>
                  <a:lnTo>
                    <a:pt x="10" y="21"/>
                  </a:lnTo>
                  <a:lnTo>
                    <a:pt x="10" y="21"/>
                  </a:lnTo>
                  <a:lnTo>
                    <a:pt x="10" y="21"/>
                  </a:lnTo>
                  <a:lnTo>
                    <a:pt x="12" y="17"/>
                  </a:lnTo>
                  <a:lnTo>
                    <a:pt x="12" y="17"/>
                  </a:lnTo>
                  <a:lnTo>
                    <a:pt x="7" y="19"/>
                  </a:lnTo>
                  <a:lnTo>
                    <a:pt x="3" y="21"/>
                  </a:lnTo>
                  <a:lnTo>
                    <a:pt x="0" y="19"/>
                  </a:lnTo>
                  <a:lnTo>
                    <a:pt x="5" y="12"/>
                  </a:lnTo>
                  <a:lnTo>
                    <a:pt x="10" y="12"/>
                  </a:lnTo>
                  <a:lnTo>
                    <a:pt x="17" y="7"/>
                  </a:lnTo>
                  <a:lnTo>
                    <a:pt x="19" y="0"/>
                  </a:lnTo>
                  <a:lnTo>
                    <a:pt x="21" y="5"/>
                  </a:lnTo>
                  <a:lnTo>
                    <a:pt x="21" y="10"/>
                  </a:lnTo>
                  <a:lnTo>
                    <a:pt x="21" y="12"/>
                  </a:lnTo>
                  <a:lnTo>
                    <a:pt x="21" y="12"/>
                  </a:lnTo>
                  <a:lnTo>
                    <a:pt x="19"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3" name="Freeform 556">
              <a:extLst>
                <a:ext uri="{FF2B5EF4-FFF2-40B4-BE49-F238E27FC236}">
                  <a16:creationId xmlns:a16="http://schemas.microsoft.com/office/drawing/2014/main" id="{5FEF241C-DA8C-4FCC-9A35-EB97308F872C}"/>
                </a:ext>
              </a:extLst>
            </p:cNvPr>
            <p:cNvSpPr>
              <a:spLocks/>
            </p:cNvSpPr>
            <p:nvPr/>
          </p:nvSpPr>
          <p:spPr bwMode="auto">
            <a:xfrm>
              <a:off x="3910850" y="1076288"/>
              <a:ext cx="33338" cy="38100"/>
            </a:xfrm>
            <a:custGeom>
              <a:avLst/>
              <a:gdLst>
                <a:gd name="T0" fmla="*/ 19 w 21"/>
                <a:gd name="T1" fmla="*/ 12 h 24"/>
                <a:gd name="T2" fmla="*/ 19 w 21"/>
                <a:gd name="T3" fmla="*/ 14 h 24"/>
                <a:gd name="T4" fmla="*/ 14 w 21"/>
                <a:gd name="T5" fmla="*/ 19 h 24"/>
                <a:gd name="T6" fmla="*/ 10 w 21"/>
                <a:gd name="T7" fmla="*/ 24 h 24"/>
                <a:gd name="T8" fmla="*/ 10 w 21"/>
                <a:gd name="T9" fmla="*/ 21 h 24"/>
                <a:gd name="T10" fmla="*/ 10 w 21"/>
                <a:gd name="T11" fmla="*/ 21 h 24"/>
                <a:gd name="T12" fmla="*/ 10 w 21"/>
                <a:gd name="T13" fmla="*/ 21 h 24"/>
                <a:gd name="T14" fmla="*/ 12 w 21"/>
                <a:gd name="T15" fmla="*/ 17 h 24"/>
                <a:gd name="T16" fmla="*/ 12 w 21"/>
                <a:gd name="T17" fmla="*/ 17 h 24"/>
                <a:gd name="T18" fmla="*/ 7 w 21"/>
                <a:gd name="T19" fmla="*/ 19 h 24"/>
                <a:gd name="T20" fmla="*/ 3 w 21"/>
                <a:gd name="T21" fmla="*/ 21 h 24"/>
                <a:gd name="T22" fmla="*/ 0 w 21"/>
                <a:gd name="T23" fmla="*/ 19 h 24"/>
                <a:gd name="T24" fmla="*/ 5 w 21"/>
                <a:gd name="T25" fmla="*/ 12 h 24"/>
                <a:gd name="T26" fmla="*/ 10 w 21"/>
                <a:gd name="T27" fmla="*/ 12 h 24"/>
                <a:gd name="T28" fmla="*/ 17 w 21"/>
                <a:gd name="T29" fmla="*/ 7 h 24"/>
                <a:gd name="T30" fmla="*/ 19 w 21"/>
                <a:gd name="T31" fmla="*/ 0 h 24"/>
                <a:gd name="T32" fmla="*/ 21 w 21"/>
                <a:gd name="T33" fmla="*/ 5 h 24"/>
                <a:gd name="T34" fmla="*/ 21 w 21"/>
                <a:gd name="T35" fmla="*/ 10 h 24"/>
                <a:gd name="T36" fmla="*/ 21 w 21"/>
                <a:gd name="T37" fmla="*/ 12 h 24"/>
                <a:gd name="T38" fmla="*/ 21 w 21"/>
                <a:gd name="T39" fmla="*/ 12 h 24"/>
                <a:gd name="T40" fmla="*/ 19 w 21"/>
                <a:gd name="T4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4">
                  <a:moveTo>
                    <a:pt x="19" y="12"/>
                  </a:moveTo>
                  <a:lnTo>
                    <a:pt x="19" y="14"/>
                  </a:lnTo>
                  <a:lnTo>
                    <a:pt x="14" y="19"/>
                  </a:lnTo>
                  <a:lnTo>
                    <a:pt x="10" y="24"/>
                  </a:lnTo>
                  <a:lnTo>
                    <a:pt x="10" y="21"/>
                  </a:lnTo>
                  <a:lnTo>
                    <a:pt x="10" y="21"/>
                  </a:lnTo>
                  <a:lnTo>
                    <a:pt x="10" y="21"/>
                  </a:lnTo>
                  <a:lnTo>
                    <a:pt x="12" y="17"/>
                  </a:lnTo>
                  <a:lnTo>
                    <a:pt x="12" y="17"/>
                  </a:lnTo>
                  <a:lnTo>
                    <a:pt x="7" y="19"/>
                  </a:lnTo>
                  <a:lnTo>
                    <a:pt x="3" y="21"/>
                  </a:lnTo>
                  <a:lnTo>
                    <a:pt x="0" y="19"/>
                  </a:lnTo>
                  <a:lnTo>
                    <a:pt x="5" y="12"/>
                  </a:lnTo>
                  <a:lnTo>
                    <a:pt x="10" y="12"/>
                  </a:lnTo>
                  <a:lnTo>
                    <a:pt x="17" y="7"/>
                  </a:lnTo>
                  <a:lnTo>
                    <a:pt x="19" y="0"/>
                  </a:lnTo>
                  <a:lnTo>
                    <a:pt x="21" y="5"/>
                  </a:lnTo>
                  <a:lnTo>
                    <a:pt x="21" y="10"/>
                  </a:lnTo>
                  <a:lnTo>
                    <a:pt x="21" y="12"/>
                  </a:lnTo>
                  <a:lnTo>
                    <a:pt x="21" y="12"/>
                  </a:lnTo>
                  <a:lnTo>
                    <a:pt x="19" y="1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4" name="Freeform 557">
              <a:extLst>
                <a:ext uri="{FF2B5EF4-FFF2-40B4-BE49-F238E27FC236}">
                  <a16:creationId xmlns:a16="http://schemas.microsoft.com/office/drawing/2014/main" id="{F1B62CA8-FD03-4096-96B0-7B7BE8518068}"/>
                </a:ext>
              </a:extLst>
            </p:cNvPr>
            <p:cNvSpPr>
              <a:spLocks/>
            </p:cNvSpPr>
            <p:nvPr/>
          </p:nvSpPr>
          <p:spPr bwMode="auto">
            <a:xfrm>
              <a:off x="4361700" y="1373151"/>
              <a:ext cx="52388" cy="44450"/>
            </a:xfrm>
            <a:custGeom>
              <a:avLst/>
              <a:gdLst>
                <a:gd name="T0" fmla="*/ 28 w 33"/>
                <a:gd name="T1" fmla="*/ 2 h 28"/>
                <a:gd name="T2" fmla="*/ 30 w 33"/>
                <a:gd name="T3" fmla="*/ 4 h 28"/>
                <a:gd name="T4" fmla="*/ 33 w 33"/>
                <a:gd name="T5" fmla="*/ 4 h 28"/>
                <a:gd name="T6" fmla="*/ 33 w 33"/>
                <a:gd name="T7" fmla="*/ 7 h 28"/>
                <a:gd name="T8" fmla="*/ 33 w 33"/>
                <a:gd name="T9" fmla="*/ 14 h 28"/>
                <a:gd name="T10" fmla="*/ 30 w 33"/>
                <a:gd name="T11" fmla="*/ 21 h 28"/>
                <a:gd name="T12" fmla="*/ 28 w 33"/>
                <a:gd name="T13" fmla="*/ 23 h 28"/>
                <a:gd name="T14" fmla="*/ 23 w 33"/>
                <a:gd name="T15" fmla="*/ 28 h 28"/>
                <a:gd name="T16" fmla="*/ 16 w 33"/>
                <a:gd name="T17" fmla="*/ 26 h 28"/>
                <a:gd name="T18" fmla="*/ 14 w 33"/>
                <a:gd name="T19" fmla="*/ 26 h 28"/>
                <a:gd name="T20" fmla="*/ 9 w 33"/>
                <a:gd name="T21" fmla="*/ 21 h 28"/>
                <a:gd name="T22" fmla="*/ 2 w 33"/>
                <a:gd name="T23" fmla="*/ 19 h 28"/>
                <a:gd name="T24" fmla="*/ 0 w 33"/>
                <a:gd name="T25" fmla="*/ 16 h 28"/>
                <a:gd name="T26" fmla="*/ 2 w 33"/>
                <a:gd name="T27" fmla="*/ 14 h 28"/>
                <a:gd name="T28" fmla="*/ 2 w 33"/>
                <a:gd name="T29" fmla="*/ 12 h 28"/>
                <a:gd name="T30" fmla="*/ 4 w 33"/>
                <a:gd name="T31" fmla="*/ 14 h 28"/>
                <a:gd name="T32" fmla="*/ 7 w 33"/>
                <a:gd name="T33" fmla="*/ 14 h 28"/>
                <a:gd name="T34" fmla="*/ 9 w 33"/>
                <a:gd name="T35" fmla="*/ 12 h 28"/>
                <a:gd name="T36" fmla="*/ 9 w 33"/>
                <a:gd name="T37" fmla="*/ 9 h 28"/>
                <a:gd name="T38" fmla="*/ 9 w 33"/>
                <a:gd name="T39" fmla="*/ 7 h 28"/>
                <a:gd name="T40" fmla="*/ 9 w 33"/>
                <a:gd name="T41" fmla="*/ 2 h 28"/>
                <a:gd name="T42" fmla="*/ 9 w 33"/>
                <a:gd name="T43" fmla="*/ 0 h 28"/>
                <a:gd name="T44" fmla="*/ 21 w 33"/>
                <a:gd name="T45" fmla="*/ 2 h 28"/>
                <a:gd name="T46" fmla="*/ 23 w 33"/>
                <a:gd name="T47" fmla="*/ 2 h 28"/>
                <a:gd name="T48" fmla="*/ 28 w 33"/>
                <a:gd name="T4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28">
                  <a:moveTo>
                    <a:pt x="28" y="2"/>
                  </a:moveTo>
                  <a:lnTo>
                    <a:pt x="30" y="4"/>
                  </a:lnTo>
                  <a:lnTo>
                    <a:pt x="33" y="4"/>
                  </a:lnTo>
                  <a:lnTo>
                    <a:pt x="33" y="7"/>
                  </a:lnTo>
                  <a:lnTo>
                    <a:pt x="33" y="14"/>
                  </a:lnTo>
                  <a:lnTo>
                    <a:pt x="30" y="21"/>
                  </a:lnTo>
                  <a:lnTo>
                    <a:pt x="28" y="23"/>
                  </a:lnTo>
                  <a:lnTo>
                    <a:pt x="23" y="28"/>
                  </a:lnTo>
                  <a:lnTo>
                    <a:pt x="16" y="26"/>
                  </a:lnTo>
                  <a:lnTo>
                    <a:pt x="14" y="26"/>
                  </a:lnTo>
                  <a:lnTo>
                    <a:pt x="9" y="21"/>
                  </a:lnTo>
                  <a:lnTo>
                    <a:pt x="2" y="19"/>
                  </a:lnTo>
                  <a:lnTo>
                    <a:pt x="0" y="16"/>
                  </a:lnTo>
                  <a:lnTo>
                    <a:pt x="2" y="14"/>
                  </a:lnTo>
                  <a:lnTo>
                    <a:pt x="2" y="12"/>
                  </a:lnTo>
                  <a:lnTo>
                    <a:pt x="4" y="14"/>
                  </a:lnTo>
                  <a:lnTo>
                    <a:pt x="7" y="14"/>
                  </a:lnTo>
                  <a:lnTo>
                    <a:pt x="9" y="12"/>
                  </a:lnTo>
                  <a:lnTo>
                    <a:pt x="9" y="9"/>
                  </a:lnTo>
                  <a:lnTo>
                    <a:pt x="9" y="7"/>
                  </a:lnTo>
                  <a:lnTo>
                    <a:pt x="9" y="2"/>
                  </a:lnTo>
                  <a:lnTo>
                    <a:pt x="9" y="0"/>
                  </a:lnTo>
                  <a:lnTo>
                    <a:pt x="21" y="2"/>
                  </a:lnTo>
                  <a:lnTo>
                    <a:pt x="23" y="2"/>
                  </a:lnTo>
                  <a:lnTo>
                    <a:pt x="28"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5" name="Freeform 558">
              <a:extLst>
                <a:ext uri="{FF2B5EF4-FFF2-40B4-BE49-F238E27FC236}">
                  <a16:creationId xmlns:a16="http://schemas.microsoft.com/office/drawing/2014/main" id="{A5DCD92F-7CFA-4C39-84EB-A125F931C1BC}"/>
                </a:ext>
              </a:extLst>
            </p:cNvPr>
            <p:cNvSpPr>
              <a:spLocks/>
            </p:cNvSpPr>
            <p:nvPr/>
          </p:nvSpPr>
          <p:spPr bwMode="auto">
            <a:xfrm>
              <a:off x="4361700" y="1373151"/>
              <a:ext cx="52388" cy="44450"/>
            </a:xfrm>
            <a:custGeom>
              <a:avLst/>
              <a:gdLst>
                <a:gd name="T0" fmla="*/ 28 w 33"/>
                <a:gd name="T1" fmla="*/ 2 h 28"/>
                <a:gd name="T2" fmla="*/ 30 w 33"/>
                <a:gd name="T3" fmla="*/ 4 h 28"/>
                <a:gd name="T4" fmla="*/ 33 w 33"/>
                <a:gd name="T5" fmla="*/ 4 h 28"/>
                <a:gd name="T6" fmla="*/ 33 w 33"/>
                <a:gd name="T7" fmla="*/ 7 h 28"/>
                <a:gd name="T8" fmla="*/ 33 w 33"/>
                <a:gd name="T9" fmla="*/ 14 h 28"/>
                <a:gd name="T10" fmla="*/ 30 w 33"/>
                <a:gd name="T11" fmla="*/ 21 h 28"/>
                <a:gd name="T12" fmla="*/ 28 w 33"/>
                <a:gd name="T13" fmla="*/ 23 h 28"/>
                <a:gd name="T14" fmla="*/ 23 w 33"/>
                <a:gd name="T15" fmla="*/ 28 h 28"/>
                <a:gd name="T16" fmla="*/ 16 w 33"/>
                <a:gd name="T17" fmla="*/ 26 h 28"/>
                <a:gd name="T18" fmla="*/ 14 w 33"/>
                <a:gd name="T19" fmla="*/ 26 h 28"/>
                <a:gd name="T20" fmla="*/ 9 w 33"/>
                <a:gd name="T21" fmla="*/ 21 h 28"/>
                <a:gd name="T22" fmla="*/ 2 w 33"/>
                <a:gd name="T23" fmla="*/ 19 h 28"/>
                <a:gd name="T24" fmla="*/ 0 w 33"/>
                <a:gd name="T25" fmla="*/ 16 h 28"/>
                <a:gd name="T26" fmla="*/ 2 w 33"/>
                <a:gd name="T27" fmla="*/ 14 h 28"/>
                <a:gd name="T28" fmla="*/ 2 w 33"/>
                <a:gd name="T29" fmla="*/ 12 h 28"/>
                <a:gd name="T30" fmla="*/ 4 w 33"/>
                <a:gd name="T31" fmla="*/ 14 h 28"/>
                <a:gd name="T32" fmla="*/ 7 w 33"/>
                <a:gd name="T33" fmla="*/ 14 h 28"/>
                <a:gd name="T34" fmla="*/ 9 w 33"/>
                <a:gd name="T35" fmla="*/ 12 h 28"/>
                <a:gd name="T36" fmla="*/ 9 w 33"/>
                <a:gd name="T37" fmla="*/ 9 h 28"/>
                <a:gd name="T38" fmla="*/ 9 w 33"/>
                <a:gd name="T39" fmla="*/ 7 h 28"/>
                <a:gd name="T40" fmla="*/ 9 w 33"/>
                <a:gd name="T41" fmla="*/ 2 h 28"/>
                <a:gd name="T42" fmla="*/ 9 w 33"/>
                <a:gd name="T43" fmla="*/ 0 h 28"/>
                <a:gd name="T44" fmla="*/ 21 w 33"/>
                <a:gd name="T45" fmla="*/ 2 h 28"/>
                <a:gd name="T46" fmla="*/ 23 w 33"/>
                <a:gd name="T47" fmla="*/ 2 h 28"/>
                <a:gd name="T48" fmla="*/ 28 w 33"/>
                <a:gd name="T4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28">
                  <a:moveTo>
                    <a:pt x="28" y="2"/>
                  </a:moveTo>
                  <a:lnTo>
                    <a:pt x="30" y="4"/>
                  </a:lnTo>
                  <a:lnTo>
                    <a:pt x="33" y="4"/>
                  </a:lnTo>
                  <a:lnTo>
                    <a:pt x="33" y="7"/>
                  </a:lnTo>
                  <a:lnTo>
                    <a:pt x="33" y="14"/>
                  </a:lnTo>
                  <a:lnTo>
                    <a:pt x="30" y="21"/>
                  </a:lnTo>
                  <a:lnTo>
                    <a:pt x="28" y="23"/>
                  </a:lnTo>
                  <a:lnTo>
                    <a:pt x="23" y="28"/>
                  </a:lnTo>
                  <a:lnTo>
                    <a:pt x="16" y="26"/>
                  </a:lnTo>
                  <a:lnTo>
                    <a:pt x="14" y="26"/>
                  </a:lnTo>
                  <a:lnTo>
                    <a:pt x="9" y="21"/>
                  </a:lnTo>
                  <a:lnTo>
                    <a:pt x="2" y="19"/>
                  </a:lnTo>
                  <a:lnTo>
                    <a:pt x="0" y="16"/>
                  </a:lnTo>
                  <a:lnTo>
                    <a:pt x="2" y="14"/>
                  </a:lnTo>
                  <a:lnTo>
                    <a:pt x="2" y="12"/>
                  </a:lnTo>
                  <a:lnTo>
                    <a:pt x="4" y="14"/>
                  </a:lnTo>
                  <a:lnTo>
                    <a:pt x="7" y="14"/>
                  </a:lnTo>
                  <a:lnTo>
                    <a:pt x="9" y="12"/>
                  </a:lnTo>
                  <a:lnTo>
                    <a:pt x="9" y="9"/>
                  </a:lnTo>
                  <a:lnTo>
                    <a:pt x="9" y="7"/>
                  </a:lnTo>
                  <a:lnTo>
                    <a:pt x="9" y="2"/>
                  </a:lnTo>
                  <a:lnTo>
                    <a:pt x="9" y="0"/>
                  </a:lnTo>
                  <a:lnTo>
                    <a:pt x="21" y="2"/>
                  </a:lnTo>
                  <a:lnTo>
                    <a:pt x="23" y="2"/>
                  </a:lnTo>
                  <a:lnTo>
                    <a:pt x="28"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6" name="Freeform 567">
              <a:extLst>
                <a:ext uri="{FF2B5EF4-FFF2-40B4-BE49-F238E27FC236}">
                  <a16:creationId xmlns:a16="http://schemas.microsoft.com/office/drawing/2014/main" id="{8D9D3728-2B94-480F-B47F-16D6B4FBC94E}"/>
                </a:ext>
              </a:extLst>
            </p:cNvPr>
            <p:cNvSpPr>
              <a:spLocks/>
            </p:cNvSpPr>
            <p:nvPr/>
          </p:nvSpPr>
          <p:spPr bwMode="auto">
            <a:xfrm>
              <a:off x="2610690" y="1827177"/>
              <a:ext cx="58738" cy="63500"/>
            </a:xfrm>
            <a:custGeom>
              <a:avLst/>
              <a:gdLst>
                <a:gd name="T0" fmla="*/ 9 w 37"/>
                <a:gd name="T1" fmla="*/ 4 h 40"/>
                <a:gd name="T2" fmla="*/ 9 w 37"/>
                <a:gd name="T3" fmla="*/ 2 h 40"/>
                <a:gd name="T4" fmla="*/ 11 w 37"/>
                <a:gd name="T5" fmla="*/ 2 h 40"/>
                <a:gd name="T6" fmla="*/ 11 w 37"/>
                <a:gd name="T7" fmla="*/ 2 h 40"/>
                <a:gd name="T8" fmla="*/ 16 w 37"/>
                <a:gd name="T9" fmla="*/ 0 h 40"/>
                <a:gd name="T10" fmla="*/ 18 w 37"/>
                <a:gd name="T11" fmla="*/ 0 h 40"/>
                <a:gd name="T12" fmla="*/ 30 w 37"/>
                <a:gd name="T13" fmla="*/ 11 h 40"/>
                <a:gd name="T14" fmla="*/ 33 w 37"/>
                <a:gd name="T15" fmla="*/ 16 h 40"/>
                <a:gd name="T16" fmla="*/ 33 w 37"/>
                <a:gd name="T17" fmla="*/ 16 h 40"/>
                <a:gd name="T18" fmla="*/ 33 w 37"/>
                <a:gd name="T19" fmla="*/ 11 h 40"/>
                <a:gd name="T20" fmla="*/ 35 w 37"/>
                <a:gd name="T21" fmla="*/ 16 h 40"/>
                <a:gd name="T22" fmla="*/ 37 w 37"/>
                <a:gd name="T23" fmla="*/ 21 h 40"/>
                <a:gd name="T24" fmla="*/ 37 w 37"/>
                <a:gd name="T25" fmla="*/ 26 h 40"/>
                <a:gd name="T26" fmla="*/ 35 w 37"/>
                <a:gd name="T27" fmla="*/ 21 h 40"/>
                <a:gd name="T28" fmla="*/ 30 w 37"/>
                <a:gd name="T29" fmla="*/ 26 h 40"/>
                <a:gd name="T30" fmla="*/ 25 w 37"/>
                <a:gd name="T31" fmla="*/ 35 h 40"/>
                <a:gd name="T32" fmla="*/ 21 w 37"/>
                <a:gd name="T33" fmla="*/ 37 h 40"/>
                <a:gd name="T34" fmla="*/ 18 w 37"/>
                <a:gd name="T35" fmla="*/ 37 h 40"/>
                <a:gd name="T36" fmla="*/ 14 w 37"/>
                <a:gd name="T37" fmla="*/ 40 h 40"/>
                <a:gd name="T38" fmla="*/ 11 w 37"/>
                <a:gd name="T39" fmla="*/ 40 h 40"/>
                <a:gd name="T40" fmla="*/ 9 w 37"/>
                <a:gd name="T41" fmla="*/ 37 h 40"/>
                <a:gd name="T42" fmla="*/ 9 w 37"/>
                <a:gd name="T43" fmla="*/ 40 h 40"/>
                <a:gd name="T44" fmla="*/ 7 w 37"/>
                <a:gd name="T45" fmla="*/ 37 h 40"/>
                <a:gd name="T46" fmla="*/ 4 w 37"/>
                <a:gd name="T47" fmla="*/ 35 h 40"/>
                <a:gd name="T48" fmla="*/ 2 w 37"/>
                <a:gd name="T49" fmla="*/ 35 h 40"/>
                <a:gd name="T50" fmla="*/ 2 w 37"/>
                <a:gd name="T51" fmla="*/ 37 h 40"/>
                <a:gd name="T52" fmla="*/ 2 w 37"/>
                <a:gd name="T53" fmla="*/ 40 h 40"/>
                <a:gd name="T54" fmla="*/ 2 w 37"/>
                <a:gd name="T55" fmla="*/ 37 h 40"/>
                <a:gd name="T56" fmla="*/ 0 w 37"/>
                <a:gd name="T57" fmla="*/ 33 h 40"/>
                <a:gd name="T58" fmla="*/ 2 w 37"/>
                <a:gd name="T59" fmla="*/ 30 h 40"/>
                <a:gd name="T60" fmla="*/ 2 w 37"/>
                <a:gd name="T61" fmla="*/ 18 h 40"/>
                <a:gd name="T62" fmla="*/ 2 w 37"/>
                <a:gd name="T63" fmla="*/ 14 h 40"/>
                <a:gd name="T64" fmla="*/ 7 w 37"/>
                <a:gd name="T65" fmla="*/ 7 h 40"/>
                <a:gd name="T66" fmla="*/ 9 w 37"/>
                <a:gd name="T6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40">
                  <a:moveTo>
                    <a:pt x="9" y="4"/>
                  </a:moveTo>
                  <a:lnTo>
                    <a:pt x="9" y="2"/>
                  </a:lnTo>
                  <a:lnTo>
                    <a:pt x="11" y="2"/>
                  </a:lnTo>
                  <a:lnTo>
                    <a:pt x="11" y="2"/>
                  </a:lnTo>
                  <a:lnTo>
                    <a:pt x="16" y="0"/>
                  </a:lnTo>
                  <a:lnTo>
                    <a:pt x="18" y="0"/>
                  </a:lnTo>
                  <a:lnTo>
                    <a:pt x="30" y="11"/>
                  </a:lnTo>
                  <a:lnTo>
                    <a:pt x="33" y="16"/>
                  </a:lnTo>
                  <a:lnTo>
                    <a:pt x="33" y="16"/>
                  </a:lnTo>
                  <a:lnTo>
                    <a:pt x="33" y="11"/>
                  </a:lnTo>
                  <a:lnTo>
                    <a:pt x="35" y="16"/>
                  </a:lnTo>
                  <a:lnTo>
                    <a:pt x="37" y="21"/>
                  </a:lnTo>
                  <a:lnTo>
                    <a:pt x="37" y="26"/>
                  </a:lnTo>
                  <a:lnTo>
                    <a:pt x="35" y="21"/>
                  </a:lnTo>
                  <a:lnTo>
                    <a:pt x="30" y="26"/>
                  </a:lnTo>
                  <a:lnTo>
                    <a:pt x="25" y="35"/>
                  </a:lnTo>
                  <a:lnTo>
                    <a:pt x="21" y="37"/>
                  </a:lnTo>
                  <a:lnTo>
                    <a:pt x="18" y="37"/>
                  </a:lnTo>
                  <a:lnTo>
                    <a:pt x="14" y="40"/>
                  </a:lnTo>
                  <a:lnTo>
                    <a:pt x="11" y="40"/>
                  </a:lnTo>
                  <a:lnTo>
                    <a:pt x="9" y="37"/>
                  </a:lnTo>
                  <a:lnTo>
                    <a:pt x="9" y="40"/>
                  </a:lnTo>
                  <a:lnTo>
                    <a:pt x="7" y="37"/>
                  </a:lnTo>
                  <a:lnTo>
                    <a:pt x="4" y="35"/>
                  </a:lnTo>
                  <a:lnTo>
                    <a:pt x="2" y="35"/>
                  </a:lnTo>
                  <a:lnTo>
                    <a:pt x="2" y="37"/>
                  </a:lnTo>
                  <a:lnTo>
                    <a:pt x="2" y="40"/>
                  </a:lnTo>
                  <a:lnTo>
                    <a:pt x="2" y="37"/>
                  </a:lnTo>
                  <a:lnTo>
                    <a:pt x="0" y="33"/>
                  </a:lnTo>
                  <a:lnTo>
                    <a:pt x="2" y="30"/>
                  </a:lnTo>
                  <a:lnTo>
                    <a:pt x="2" y="18"/>
                  </a:lnTo>
                  <a:lnTo>
                    <a:pt x="2" y="14"/>
                  </a:lnTo>
                  <a:lnTo>
                    <a:pt x="7" y="7"/>
                  </a:lnTo>
                  <a:lnTo>
                    <a:pt x="9" y="4"/>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7" name="Freeform 569">
              <a:extLst>
                <a:ext uri="{FF2B5EF4-FFF2-40B4-BE49-F238E27FC236}">
                  <a16:creationId xmlns:a16="http://schemas.microsoft.com/office/drawing/2014/main" id="{13FF3435-0A57-4B8B-A999-7E14289DD6FF}"/>
                </a:ext>
              </a:extLst>
            </p:cNvPr>
            <p:cNvSpPr>
              <a:spLocks/>
            </p:cNvSpPr>
            <p:nvPr/>
          </p:nvSpPr>
          <p:spPr bwMode="auto">
            <a:xfrm>
              <a:off x="2898027" y="1750977"/>
              <a:ext cx="57150" cy="63500"/>
            </a:xfrm>
            <a:custGeom>
              <a:avLst/>
              <a:gdLst>
                <a:gd name="T0" fmla="*/ 5 w 36"/>
                <a:gd name="T1" fmla="*/ 26 h 40"/>
                <a:gd name="T2" fmla="*/ 3 w 36"/>
                <a:gd name="T3" fmla="*/ 24 h 40"/>
                <a:gd name="T4" fmla="*/ 3 w 36"/>
                <a:gd name="T5" fmla="*/ 19 h 40"/>
                <a:gd name="T6" fmla="*/ 3 w 36"/>
                <a:gd name="T7" fmla="*/ 17 h 40"/>
                <a:gd name="T8" fmla="*/ 0 w 36"/>
                <a:gd name="T9" fmla="*/ 17 h 40"/>
                <a:gd name="T10" fmla="*/ 0 w 36"/>
                <a:gd name="T11" fmla="*/ 12 h 40"/>
                <a:gd name="T12" fmla="*/ 3 w 36"/>
                <a:gd name="T13" fmla="*/ 14 h 40"/>
                <a:gd name="T14" fmla="*/ 5 w 36"/>
                <a:gd name="T15" fmla="*/ 14 h 40"/>
                <a:gd name="T16" fmla="*/ 0 w 36"/>
                <a:gd name="T17" fmla="*/ 10 h 40"/>
                <a:gd name="T18" fmla="*/ 3 w 36"/>
                <a:gd name="T19" fmla="*/ 10 h 40"/>
                <a:gd name="T20" fmla="*/ 5 w 36"/>
                <a:gd name="T21" fmla="*/ 5 h 40"/>
                <a:gd name="T22" fmla="*/ 5 w 36"/>
                <a:gd name="T23" fmla="*/ 3 h 40"/>
                <a:gd name="T24" fmla="*/ 7 w 36"/>
                <a:gd name="T25" fmla="*/ 0 h 40"/>
                <a:gd name="T26" fmla="*/ 12 w 36"/>
                <a:gd name="T27" fmla="*/ 7 h 40"/>
                <a:gd name="T28" fmla="*/ 15 w 36"/>
                <a:gd name="T29" fmla="*/ 7 h 40"/>
                <a:gd name="T30" fmla="*/ 17 w 36"/>
                <a:gd name="T31" fmla="*/ 12 h 40"/>
                <a:gd name="T32" fmla="*/ 22 w 36"/>
                <a:gd name="T33" fmla="*/ 17 h 40"/>
                <a:gd name="T34" fmla="*/ 26 w 36"/>
                <a:gd name="T35" fmla="*/ 22 h 40"/>
                <a:gd name="T36" fmla="*/ 33 w 36"/>
                <a:gd name="T37" fmla="*/ 33 h 40"/>
                <a:gd name="T38" fmla="*/ 36 w 36"/>
                <a:gd name="T39" fmla="*/ 36 h 40"/>
                <a:gd name="T40" fmla="*/ 33 w 36"/>
                <a:gd name="T41" fmla="*/ 40 h 40"/>
                <a:gd name="T42" fmla="*/ 31 w 36"/>
                <a:gd name="T43" fmla="*/ 38 h 40"/>
                <a:gd name="T44" fmla="*/ 29 w 36"/>
                <a:gd name="T45" fmla="*/ 38 h 40"/>
                <a:gd name="T46" fmla="*/ 26 w 36"/>
                <a:gd name="T47" fmla="*/ 40 h 40"/>
                <a:gd name="T48" fmla="*/ 24 w 36"/>
                <a:gd name="T49" fmla="*/ 40 h 40"/>
                <a:gd name="T50" fmla="*/ 19 w 36"/>
                <a:gd name="T51" fmla="*/ 36 h 40"/>
                <a:gd name="T52" fmla="*/ 19 w 36"/>
                <a:gd name="T53" fmla="*/ 33 h 40"/>
                <a:gd name="T54" fmla="*/ 17 w 36"/>
                <a:gd name="T55" fmla="*/ 31 h 40"/>
                <a:gd name="T56" fmla="*/ 15 w 36"/>
                <a:gd name="T57" fmla="*/ 31 h 40"/>
                <a:gd name="T58" fmla="*/ 7 w 36"/>
                <a:gd name="T59" fmla="*/ 29 h 40"/>
                <a:gd name="T60" fmla="*/ 10 w 36"/>
                <a:gd name="T61" fmla="*/ 31 h 40"/>
                <a:gd name="T62" fmla="*/ 12 w 36"/>
                <a:gd name="T63" fmla="*/ 36 h 40"/>
                <a:gd name="T64" fmla="*/ 12 w 36"/>
                <a:gd name="T65" fmla="*/ 38 h 40"/>
                <a:gd name="T66" fmla="*/ 7 w 36"/>
                <a:gd name="T67" fmla="*/ 31 h 40"/>
                <a:gd name="T68" fmla="*/ 5 w 36"/>
                <a:gd name="T69"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0">
                  <a:moveTo>
                    <a:pt x="5" y="26"/>
                  </a:moveTo>
                  <a:lnTo>
                    <a:pt x="3" y="24"/>
                  </a:lnTo>
                  <a:lnTo>
                    <a:pt x="3" y="19"/>
                  </a:lnTo>
                  <a:lnTo>
                    <a:pt x="3" y="17"/>
                  </a:lnTo>
                  <a:lnTo>
                    <a:pt x="0" y="17"/>
                  </a:lnTo>
                  <a:lnTo>
                    <a:pt x="0" y="12"/>
                  </a:lnTo>
                  <a:lnTo>
                    <a:pt x="3" y="14"/>
                  </a:lnTo>
                  <a:lnTo>
                    <a:pt x="5" y="14"/>
                  </a:lnTo>
                  <a:lnTo>
                    <a:pt x="0" y="10"/>
                  </a:lnTo>
                  <a:lnTo>
                    <a:pt x="3" y="10"/>
                  </a:lnTo>
                  <a:lnTo>
                    <a:pt x="5" y="5"/>
                  </a:lnTo>
                  <a:lnTo>
                    <a:pt x="5" y="3"/>
                  </a:lnTo>
                  <a:lnTo>
                    <a:pt x="7" y="0"/>
                  </a:lnTo>
                  <a:lnTo>
                    <a:pt x="12" y="7"/>
                  </a:lnTo>
                  <a:lnTo>
                    <a:pt x="15" y="7"/>
                  </a:lnTo>
                  <a:lnTo>
                    <a:pt x="17" y="12"/>
                  </a:lnTo>
                  <a:lnTo>
                    <a:pt x="22" y="17"/>
                  </a:lnTo>
                  <a:lnTo>
                    <a:pt x="26" y="22"/>
                  </a:lnTo>
                  <a:lnTo>
                    <a:pt x="33" y="33"/>
                  </a:lnTo>
                  <a:lnTo>
                    <a:pt x="36" y="36"/>
                  </a:lnTo>
                  <a:lnTo>
                    <a:pt x="33" y="40"/>
                  </a:lnTo>
                  <a:lnTo>
                    <a:pt x="31" y="38"/>
                  </a:lnTo>
                  <a:lnTo>
                    <a:pt x="29" y="38"/>
                  </a:lnTo>
                  <a:lnTo>
                    <a:pt x="26" y="40"/>
                  </a:lnTo>
                  <a:lnTo>
                    <a:pt x="24" y="40"/>
                  </a:lnTo>
                  <a:lnTo>
                    <a:pt x="19" y="36"/>
                  </a:lnTo>
                  <a:lnTo>
                    <a:pt x="19" y="33"/>
                  </a:lnTo>
                  <a:lnTo>
                    <a:pt x="17" y="31"/>
                  </a:lnTo>
                  <a:lnTo>
                    <a:pt x="15" y="31"/>
                  </a:lnTo>
                  <a:lnTo>
                    <a:pt x="7" y="29"/>
                  </a:lnTo>
                  <a:lnTo>
                    <a:pt x="10" y="31"/>
                  </a:lnTo>
                  <a:lnTo>
                    <a:pt x="12" y="36"/>
                  </a:lnTo>
                  <a:lnTo>
                    <a:pt x="12" y="38"/>
                  </a:lnTo>
                  <a:lnTo>
                    <a:pt x="7" y="31"/>
                  </a:lnTo>
                  <a:lnTo>
                    <a:pt x="5" y="26"/>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8" name="Freeform 570">
              <a:extLst>
                <a:ext uri="{FF2B5EF4-FFF2-40B4-BE49-F238E27FC236}">
                  <a16:creationId xmlns:a16="http://schemas.microsoft.com/office/drawing/2014/main" id="{E2206D21-A870-4513-85FD-8CD716A325BA}"/>
                </a:ext>
              </a:extLst>
            </p:cNvPr>
            <p:cNvSpPr>
              <a:spLocks/>
            </p:cNvSpPr>
            <p:nvPr/>
          </p:nvSpPr>
          <p:spPr bwMode="auto">
            <a:xfrm>
              <a:off x="2898027" y="1750977"/>
              <a:ext cx="57150" cy="63500"/>
            </a:xfrm>
            <a:custGeom>
              <a:avLst/>
              <a:gdLst>
                <a:gd name="T0" fmla="*/ 5 w 36"/>
                <a:gd name="T1" fmla="*/ 26 h 40"/>
                <a:gd name="T2" fmla="*/ 3 w 36"/>
                <a:gd name="T3" fmla="*/ 24 h 40"/>
                <a:gd name="T4" fmla="*/ 3 w 36"/>
                <a:gd name="T5" fmla="*/ 19 h 40"/>
                <a:gd name="T6" fmla="*/ 3 w 36"/>
                <a:gd name="T7" fmla="*/ 17 h 40"/>
                <a:gd name="T8" fmla="*/ 0 w 36"/>
                <a:gd name="T9" fmla="*/ 17 h 40"/>
                <a:gd name="T10" fmla="*/ 0 w 36"/>
                <a:gd name="T11" fmla="*/ 12 h 40"/>
                <a:gd name="T12" fmla="*/ 3 w 36"/>
                <a:gd name="T13" fmla="*/ 14 h 40"/>
                <a:gd name="T14" fmla="*/ 5 w 36"/>
                <a:gd name="T15" fmla="*/ 14 h 40"/>
                <a:gd name="T16" fmla="*/ 0 w 36"/>
                <a:gd name="T17" fmla="*/ 10 h 40"/>
                <a:gd name="T18" fmla="*/ 3 w 36"/>
                <a:gd name="T19" fmla="*/ 10 h 40"/>
                <a:gd name="T20" fmla="*/ 5 w 36"/>
                <a:gd name="T21" fmla="*/ 5 h 40"/>
                <a:gd name="T22" fmla="*/ 5 w 36"/>
                <a:gd name="T23" fmla="*/ 3 h 40"/>
                <a:gd name="T24" fmla="*/ 7 w 36"/>
                <a:gd name="T25" fmla="*/ 0 h 40"/>
                <a:gd name="T26" fmla="*/ 12 w 36"/>
                <a:gd name="T27" fmla="*/ 7 h 40"/>
                <a:gd name="T28" fmla="*/ 15 w 36"/>
                <a:gd name="T29" fmla="*/ 7 h 40"/>
                <a:gd name="T30" fmla="*/ 17 w 36"/>
                <a:gd name="T31" fmla="*/ 12 h 40"/>
                <a:gd name="T32" fmla="*/ 22 w 36"/>
                <a:gd name="T33" fmla="*/ 17 h 40"/>
                <a:gd name="T34" fmla="*/ 26 w 36"/>
                <a:gd name="T35" fmla="*/ 22 h 40"/>
                <a:gd name="T36" fmla="*/ 33 w 36"/>
                <a:gd name="T37" fmla="*/ 33 h 40"/>
                <a:gd name="T38" fmla="*/ 36 w 36"/>
                <a:gd name="T39" fmla="*/ 36 h 40"/>
                <a:gd name="T40" fmla="*/ 33 w 36"/>
                <a:gd name="T41" fmla="*/ 40 h 40"/>
                <a:gd name="T42" fmla="*/ 31 w 36"/>
                <a:gd name="T43" fmla="*/ 38 h 40"/>
                <a:gd name="T44" fmla="*/ 29 w 36"/>
                <a:gd name="T45" fmla="*/ 38 h 40"/>
                <a:gd name="T46" fmla="*/ 26 w 36"/>
                <a:gd name="T47" fmla="*/ 40 h 40"/>
                <a:gd name="T48" fmla="*/ 24 w 36"/>
                <a:gd name="T49" fmla="*/ 40 h 40"/>
                <a:gd name="T50" fmla="*/ 19 w 36"/>
                <a:gd name="T51" fmla="*/ 36 h 40"/>
                <a:gd name="T52" fmla="*/ 19 w 36"/>
                <a:gd name="T53" fmla="*/ 33 h 40"/>
                <a:gd name="T54" fmla="*/ 17 w 36"/>
                <a:gd name="T55" fmla="*/ 31 h 40"/>
                <a:gd name="T56" fmla="*/ 15 w 36"/>
                <a:gd name="T57" fmla="*/ 31 h 40"/>
                <a:gd name="T58" fmla="*/ 7 w 36"/>
                <a:gd name="T59" fmla="*/ 29 h 40"/>
                <a:gd name="T60" fmla="*/ 10 w 36"/>
                <a:gd name="T61" fmla="*/ 31 h 40"/>
                <a:gd name="T62" fmla="*/ 12 w 36"/>
                <a:gd name="T63" fmla="*/ 36 h 40"/>
                <a:gd name="T64" fmla="*/ 12 w 36"/>
                <a:gd name="T65" fmla="*/ 38 h 40"/>
                <a:gd name="T66" fmla="*/ 7 w 36"/>
                <a:gd name="T67" fmla="*/ 31 h 40"/>
                <a:gd name="T68" fmla="*/ 5 w 36"/>
                <a:gd name="T69"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0">
                  <a:moveTo>
                    <a:pt x="5" y="26"/>
                  </a:moveTo>
                  <a:lnTo>
                    <a:pt x="3" y="24"/>
                  </a:lnTo>
                  <a:lnTo>
                    <a:pt x="3" y="19"/>
                  </a:lnTo>
                  <a:lnTo>
                    <a:pt x="3" y="17"/>
                  </a:lnTo>
                  <a:lnTo>
                    <a:pt x="0" y="17"/>
                  </a:lnTo>
                  <a:lnTo>
                    <a:pt x="0" y="12"/>
                  </a:lnTo>
                  <a:lnTo>
                    <a:pt x="3" y="14"/>
                  </a:lnTo>
                  <a:lnTo>
                    <a:pt x="5" y="14"/>
                  </a:lnTo>
                  <a:lnTo>
                    <a:pt x="0" y="10"/>
                  </a:lnTo>
                  <a:lnTo>
                    <a:pt x="3" y="10"/>
                  </a:lnTo>
                  <a:lnTo>
                    <a:pt x="5" y="5"/>
                  </a:lnTo>
                  <a:lnTo>
                    <a:pt x="5" y="3"/>
                  </a:lnTo>
                  <a:lnTo>
                    <a:pt x="7" y="0"/>
                  </a:lnTo>
                  <a:lnTo>
                    <a:pt x="12" y="7"/>
                  </a:lnTo>
                  <a:lnTo>
                    <a:pt x="15" y="7"/>
                  </a:lnTo>
                  <a:lnTo>
                    <a:pt x="17" y="12"/>
                  </a:lnTo>
                  <a:lnTo>
                    <a:pt x="22" y="17"/>
                  </a:lnTo>
                  <a:lnTo>
                    <a:pt x="26" y="22"/>
                  </a:lnTo>
                  <a:lnTo>
                    <a:pt x="33" y="33"/>
                  </a:lnTo>
                  <a:lnTo>
                    <a:pt x="36" y="36"/>
                  </a:lnTo>
                  <a:lnTo>
                    <a:pt x="33" y="40"/>
                  </a:lnTo>
                  <a:lnTo>
                    <a:pt x="31" y="38"/>
                  </a:lnTo>
                  <a:lnTo>
                    <a:pt x="29" y="38"/>
                  </a:lnTo>
                  <a:lnTo>
                    <a:pt x="26" y="40"/>
                  </a:lnTo>
                  <a:lnTo>
                    <a:pt x="24" y="40"/>
                  </a:lnTo>
                  <a:lnTo>
                    <a:pt x="19" y="36"/>
                  </a:lnTo>
                  <a:lnTo>
                    <a:pt x="19" y="33"/>
                  </a:lnTo>
                  <a:lnTo>
                    <a:pt x="17" y="31"/>
                  </a:lnTo>
                  <a:lnTo>
                    <a:pt x="15" y="31"/>
                  </a:lnTo>
                  <a:lnTo>
                    <a:pt x="7" y="29"/>
                  </a:lnTo>
                  <a:lnTo>
                    <a:pt x="10" y="31"/>
                  </a:lnTo>
                  <a:lnTo>
                    <a:pt x="12" y="36"/>
                  </a:lnTo>
                  <a:lnTo>
                    <a:pt x="12" y="38"/>
                  </a:lnTo>
                  <a:lnTo>
                    <a:pt x="7" y="31"/>
                  </a:lnTo>
                  <a:lnTo>
                    <a:pt x="5" y="26"/>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29" name="Freeform 571">
              <a:extLst>
                <a:ext uri="{FF2B5EF4-FFF2-40B4-BE49-F238E27FC236}">
                  <a16:creationId xmlns:a16="http://schemas.microsoft.com/office/drawing/2014/main" id="{AAFBB17B-42C1-4CC6-9FC4-D8512473B5EF}"/>
                </a:ext>
              </a:extLst>
            </p:cNvPr>
            <p:cNvSpPr>
              <a:spLocks/>
            </p:cNvSpPr>
            <p:nvPr/>
          </p:nvSpPr>
          <p:spPr bwMode="auto">
            <a:xfrm>
              <a:off x="3217113" y="1481101"/>
              <a:ext cx="41275" cy="41275"/>
            </a:xfrm>
            <a:custGeom>
              <a:avLst/>
              <a:gdLst>
                <a:gd name="T0" fmla="*/ 3 w 26"/>
                <a:gd name="T1" fmla="*/ 26 h 26"/>
                <a:gd name="T2" fmla="*/ 0 w 26"/>
                <a:gd name="T3" fmla="*/ 26 h 26"/>
                <a:gd name="T4" fmla="*/ 3 w 26"/>
                <a:gd name="T5" fmla="*/ 19 h 26"/>
                <a:gd name="T6" fmla="*/ 3 w 26"/>
                <a:gd name="T7" fmla="*/ 17 h 26"/>
                <a:gd name="T8" fmla="*/ 3 w 26"/>
                <a:gd name="T9" fmla="*/ 12 h 26"/>
                <a:gd name="T10" fmla="*/ 7 w 26"/>
                <a:gd name="T11" fmla="*/ 3 h 26"/>
                <a:gd name="T12" fmla="*/ 12 w 26"/>
                <a:gd name="T13" fmla="*/ 0 h 26"/>
                <a:gd name="T14" fmla="*/ 17 w 26"/>
                <a:gd name="T15" fmla="*/ 3 h 26"/>
                <a:gd name="T16" fmla="*/ 19 w 26"/>
                <a:gd name="T17" fmla="*/ 5 h 26"/>
                <a:gd name="T18" fmla="*/ 17 w 26"/>
                <a:gd name="T19" fmla="*/ 14 h 26"/>
                <a:gd name="T20" fmla="*/ 26 w 26"/>
                <a:gd name="T21" fmla="*/ 14 h 26"/>
                <a:gd name="T22" fmla="*/ 26 w 26"/>
                <a:gd name="T23" fmla="*/ 17 h 26"/>
                <a:gd name="T24" fmla="*/ 21 w 26"/>
                <a:gd name="T25" fmla="*/ 19 h 26"/>
                <a:gd name="T26" fmla="*/ 19 w 26"/>
                <a:gd name="T27" fmla="*/ 24 h 26"/>
                <a:gd name="T28" fmla="*/ 14 w 26"/>
                <a:gd name="T29" fmla="*/ 21 h 26"/>
                <a:gd name="T30" fmla="*/ 7 w 26"/>
                <a:gd name="T31" fmla="*/ 26 h 26"/>
                <a:gd name="T32" fmla="*/ 7 w 26"/>
                <a:gd name="T33" fmla="*/ 21 h 26"/>
                <a:gd name="T34" fmla="*/ 5 w 26"/>
                <a:gd name="T35" fmla="*/ 26 h 26"/>
                <a:gd name="T36" fmla="*/ 3 w 26"/>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6">
                  <a:moveTo>
                    <a:pt x="3" y="26"/>
                  </a:moveTo>
                  <a:lnTo>
                    <a:pt x="0" y="26"/>
                  </a:lnTo>
                  <a:lnTo>
                    <a:pt x="3" y="19"/>
                  </a:lnTo>
                  <a:lnTo>
                    <a:pt x="3" y="17"/>
                  </a:lnTo>
                  <a:lnTo>
                    <a:pt x="3" y="12"/>
                  </a:lnTo>
                  <a:lnTo>
                    <a:pt x="7" y="3"/>
                  </a:lnTo>
                  <a:lnTo>
                    <a:pt x="12" y="0"/>
                  </a:lnTo>
                  <a:lnTo>
                    <a:pt x="17" y="3"/>
                  </a:lnTo>
                  <a:lnTo>
                    <a:pt x="19" y="5"/>
                  </a:lnTo>
                  <a:lnTo>
                    <a:pt x="17" y="14"/>
                  </a:lnTo>
                  <a:lnTo>
                    <a:pt x="26" y="14"/>
                  </a:lnTo>
                  <a:lnTo>
                    <a:pt x="26" y="17"/>
                  </a:lnTo>
                  <a:lnTo>
                    <a:pt x="21" y="19"/>
                  </a:lnTo>
                  <a:lnTo>
                    <a:pt x="19" y="24"/>
                  </a:lnTo>
                  <a:lnTo>
                    <a:pt x="14" y="21"/>
                  </a:lnTo>
                  <a:lnTo>
                    <a:pt x="7" y="26"/>
                  </a:lnTo>
                  <a:lnTo>
                    <a:pt x="7" y="21"/>
                  </a:lnTo>
                  <a:lnTo>
                    <a:pt x="5" y="26"/>
                  </a:lnTo>
                  <a:lnTo>
                    <a:pt x="3" y="2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0" name="Freeform 572">
              <a:extLst>
                <a:ext uri="{FF2B5EF4-FFF2-40B4-BE49-F238E27FC236}">
                  <a16:creationId xmlns:a16="http://schemas.microsoft.com/office/drawing/2014/main" id="{F4A59B89-8532-48B9-A255-1C3EEC13CEE9}"/>
                </a:ext>
              </a:extLst>
            </p:cNvPr>
            <p:cNvSpPr>
              <a:spLocks/>
            </p:cNvSpPr>
            <p:nvPr/>
          </p:nvSpPr>
          <p:spPr bwMode="auto">
            <a:xfrm>
              <a:off x="3217113" y="1481101"/>
              <a:ext cx="41275" cy="41275"/>
            </a:xfrm>
            <a:custGeom>
              <a:avLst/>
              <a:gdLst>
                <a:gd name="T0" fmla="*/ 3 w 26"/>
                <a:gd name="T1" fmla="*/ 26 h 26"/>
                <a:gd name="T2" fmla="*/ 0 w 26"/>
                <a:gd name="T3" fmla="*/ 26 h 26"/>
                <a:gd name="T4" fmla="*/ 3 w 26"/>
                <a:gd name="T5" fmla="*/ 19 h 26"/>
                <a:gd name="T6" fmla="*/ 3 w 26"/>
                <a:gd name="T7" fmla="*/ 17 h 26"/>
                <a:gd name="T8" fmla="*/ 3 w 26"/>
                <a:gd name="T9" fmla="*/ 12 h 26"/>
                <a:gd name="T10" fmla="*/ 7 w 26"/>
                <a:gd name="T11" fmla="*/ 3 h 26"/>
                <a:gd name="T12" fmla="*/ 12 w 26"/>
                <a:gd name="T13" fmla="*/ 0 h 26"/>
                <a:gd name="T14" fmla="*/ 17 w 26"/>
                <a:gd name="T15" fmla="*/ 3 h 26"/>
                <a:gd name="T16" fmla="*/ 19 w 26"/>
                <a:gd name="T17" fmla="*/ 5 h 26"/>
                <a:gd name="T18" fmla="*/ 17 w 26"/>
                <a:gd name="T19" fmla="*/ 14 h 26"/>
                <a:gd name="T20" fmla="*/ 26 w 26"/>
                <a:gd name="T21" fmla="*/ 14 h 26"/>
                <a:gd name="T22" fmla="*/ 26 w 26"/>
                <a:gd name="T23" fmla="*/ 17 h 26"/>
                <a:gd name="T24" fmla="*/ 21 w 26"/>
                <a:gd name="T25" fmla="*/ 19 h 26"/>
                <a:gd name="T26" fmla="*/ 19 w 26"/>
                <a:gd name="T27" fmla="*/ 24 h 26"/>
                <a:gd name="T28" fmla="*/ 14 w 26"/>
                <a:gd name="T29" fmla="*/ 21 h 26"/>
                <a:gd name="T30" fmla="*/ 7 w 26"/>
                <a:gd name="T31" fmla="*/ 26 h 26"/>
                <a:gd name="T32" fmla="*/ 7 w 26"/>
                <a:gd name="T33" fmla="*/ 21 h 26"/>
                <a:gd name="T34" fmla="*/ 5 w 26"/>
                <a:gd name="T35" fmla="*/ 26 h 26"/>
                <a:gd name="T36" fmla="*/ 3 w 26"/>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6">
                  <a:moveTo>
                    <a:pt x="3" y="26"/>
                  </a:moveTo>
                  <a:lnTo>
                    <a:pt x="0" y="26"/>
                  </a:lnTo>
                  <a:lnTo>
                    <a:pt x="3" y="19"/>
                  </a:lnTo>
                  <a:lnTo>
                    <a:pt x="3" y="17"/>
                  </a:lnTo>
                  <a:lnTo>
                    <a:pt x="3" y="12"/>
                  </a:lnTo>
                  <a:lnTo>
                    <a:pt x="7" y="3"/>
                  </a:lnTo>
                  <a:lnTo>
                    <a:pt x="12" y="0"/>
                  </a:lnTo>
                  <a:lnTo>
                    <a:pt x="17" y="3"/>
                  </a:lnTo>
                  <a:lnTo>
                    <a:pt x="19" y="5"/>
                  </a:lnTo>
                  <a:lnTo>
                    <a:pt x="17" y="14"/>
                  </a:lnTo>
                  <a:lnTo>
                    <a:pt x="26" y="14"/>
                  </a:lnTo>
                  <a:lnTo>
                    <a:pt x="26" y="17"/>
                  </a:lnTo>
                  <a:lnTo>
                    <a:pt x="21" y="19"/>
                  </a:lnTo>
                  <a:lnTo>
                    <a:pt x="19" y="24"/>
                  </a:lnTo>
                  <a:lnTo>
                    <a:pt x="14" y="21"/>
                  </a:lnTo>
                  <a:lnTo>
                    <a:pt x="7" y="26"/>
                  </a:lnTo>
                  <a:lnTo>
                    <a:pt x="7" y="21"/>
                  </a:lnTo>
                  <a:lnTo>
                    <a:pt x="5" y="26"/>
                  </a:lnTo>
                  <a:lnTo>
                    <a:pt x="3" y="2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1" name="Freeform 573">
              <a:extLst>
                <a:ext uri="{FF2B5EF4-FFF2-40B4-BE49-F238E27FC236}">
                  <a16:creationId xmlns:a16="http://schemas.microsoft.com/office/drawing/2014/main" id="{1E503BB8-9369-4497-B96A-C8BD3D470957}"/>
                </a:ext>
              </a:extLst>
            </p:cNvPr>
            <p:cNvSpPr>
              <a:spLocks/>
            </p:cNvSpPr>
            <p:nvPr/>
          </p:nvSpPr>
          <p:spPr bwMode="auto">
            <a:xfrm>
              <a:off x="3329826" y="1519201"/>
              <a:ext cx="19050" cy="22225"/>
            </a:xfrm>
            <a:custGeom>
              <a:avLst/>
              <a:gdLst>
                <a:gd name="T0" fmla="*/ 0 w 12"/>
                <a:gd name="T1" fmla="*/ 2 h 14"/>
                <a:gd name="T2" fmla="*/ 2 w 12"/>
                <a:gd name="T3" fmla="*/ 0 h 14"/>
                <a:gd name="T4" fmla="*/ 5 w 12"/>
                <a:gd name="T5" fmla="*/ 0 h 14"/>
                <a:gd name="T6" fmla="*/ 12 w 12"/>
                <a:gd name="T7" fmla="*/ 2 h 14"/>
                <a:gd name="T8" fmla="*/ 12 w 12"/>
                <a:gd name="T9" fmla="*/ 2 h 14"/>
                <a:gd name="T10" fmla="*/ 10 w 12"/>
                <a:gd name="T11" fmla="*/ 5 h 14"/>
                <a:gd name="T12" fmla="*/ 10 w 12"/>
                <a:gd name="T13" fmla="*/ 9 h 14"/>
                <a:gd name="T14" fmla="*/ 10 w 12"/>
                <a:gd name="T15" fmla="*/ 14 h 14"/>
                <a:gd name="T16" fmla="*/ 0 w 12"/>
                <a:gd name="T17" fmla="*/ 7 h 14"/>
                <a:gd name="T18" fmla="*/ 0 w 12"/>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4">
                  <a:moveTo>
                    <a:pt x="0" y="2"/>
                  </a:moveTo>
                  <a:lnTo>
                    <a:pt x="2" y="0"/>
                  </a:lnTo>
                  <a:lnTo>
                    <a:pt x="5" y="0"/>
                  </a:lnTo>
                  <a:lnTo>
                    <a:pt x="12" y="2"/>
                  </a:lnTo>
                  <a:lnTo>
                    <a:pt x="12" y="2"/>
                  </a:lnTo>
                  <a:lnTo>
                    <a:pt x="10" y="5"/>
                  </a:lnTo>
                  <a:lnTo>
                    <a:pt x="10" y="9"/>
                  </a:lnTo>
                  <a:lnTo>
                    <a:pt x="10" y="14"/>
                  </a:lnTo>
                  <a:lnTo>
                    <a:pt x="0" y="7"/>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2" name="Freeform 574">
              <a:extLst>
                <a:ext uri="{FF2B5EF4-FFF2-40B4-BE49-F238E27FC236}">
                  <a16:creationId xmlns:a16="http://schemas.microsoft.com/office/drawing/2014/main" id="{66DEBABE-1B07-4A0A-825D-5D5E10A28F54}"/>
                </a:ext>
              </a:extLst>
            </p:cNvPr>
            <p:cNvSpPr>
              <a:spLocks/>
            </p:cNvSpPr>
            <p:nvPr/>
          </p:nvSpPr>
          <p:spPr bwMode="auto">
            <a:xfrm>
              <a:off x="3329826" y="1519201"/>
              <a:ext cx="19050" cy="22225"/>
            </a:xfrm>
            <a:custGeom>
              <a:avLst/>
              <a:gdLst>
                <a:gd name="T0" fmla="*/ 0 w 12"/>
                <a:gd name="T1" fmla="*/ 2 h 14"/>
                <a:gd name="T2" fmla="*/ 2 w 12"/>
                <a:gd name="T3" fmla="*/ 0 h 14"/>
                <a:gd name="T4" fmla="*/ 5 w 12"/>
                <a:gd name="T5" fmla="*/ 0 h 14"/>
                <a:gd name="T6" fmla="*/ 12 w 12"/>
                <a:gd name="T7" fmla="*/ 2 h 14"/>
                <a:gd name="T8" fmla="*/ 12 w 12"/>
                <a:gd name="T9" fmla="*/ 2 h 14"/>
                <a:gd name="T10" fmla="*/ 10 w 12"/>
                <a:gd name="T11" fmla="*/ 5 h 14"/>
                <a:gd name="T12" fmla="*/ 10 w 12"/>
                <a:gd name="T13" fmla="*/ 9 h 14"/>
                <a:gd name="T14" fmla="*/ 10 w 12"/>
                <a:gd name="T15" fmla="*/ 14 h 14"/>
                <a:gd name="T16" fmla="*/ 0 w 12"/>
                <a:gd name="T17" fmla="*/ 7 h 14"/>
                <a:gd name="T18" fmla="*/ 0 w 12"/>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4">
                  <a:moveTo>
                    <a:pt x="0" y="2"/>
                  </a:moveTo>
                  <a:lnTo>
                    <a:pt x="2" y="0"/>
                  </a:lnTo>
                  <a:lnTo>
                    <a:pt x="5" y="0"/>
                  </a:lnTo>
                  <a:lnTo>
                    <a:pt x="12" y="2"/>
                  </a:lnTo>
                  <a:lnTo>
                    <a:pt x="12" y="2"/>
                  </a:lnTo>
                  <a:lnTo>
                    <a:pt x="10" y="5"/>
                  </a:lnTo>
                  <a:lnTo>
                    <a:pt x="10" y="9"/>
                  </a:lnTo>
                  <a:lnTo>
                    <a:pt x="10" y="14"/>
                  </a:lnTo>
                  <a:lnTo>
                    <a:pt x="0" y="7"/>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3" name="Freeform 575">
              <a:extLst>
                <a:ext uri="{FF2B5EF4-FFF2-40B4-BE49-F238E27FC236}">
                  <a16:creationId xmlns:a16="http://schemas.microsoft.com/office/drawing/2014/main" id="{BDECFA13-D2F8-45EC-BB98-3C68B114D0FD}"/>
                </a:ext>
              </a:extLst>
            </p:cNvPr>
            <p:cNvSpPr>
              <a:spLocks/>
            </p:cNvSpPr>
            <p:nvPr/>
          </p:nvSpPr>
          <p:spPr bwMode="auto">
            <a:xfrm>
              <a:off x="3456826" y="1522377"/>
              <a:ext cx="23813" cy="33338"/>
            </a:xfrm>
            <a:custGeom>
              <a:avLst/>
              <a:gdLst>
                <a:gd name="T0" fmla="*/ 10 w 15"/>
                <a:gd name="T1" fmla="*/ 3 h 21"/>
                <a:gd name="T2" fmla="*/ 10 w 15"/>
                <a:gd name="T3" fmla="*/ 5 h 21"/>
                <a:gd name="T4" fmla="*/ 12 w 15"/>
                <a:gd name="T5" fmla="*/ 10 h 21"/>
                <a:gd name="T6" fmla="*/ 15 w 15"/>
                <a:gd name="T7" fmla="*/ 14 h 21"/>
                <a:gd name="T8" fmla="*/ 15 w 15"/>
                <a:gd name="T9" fmla="*/ 19 h 21"/>
                <a:gd name="T10" fmla="*/ 12 w 15"/>
                <a:gd name="T11" fmla="*/ 21 h 21"/>
                <a:gd name="T12" fmla="*/ 10 w 15"/>
                <a:gd name="T13" fmla="*/ 19 h 21"/>
                <a:gd name="T14" fmla="*/ 5 w 15"/>
                <a:gd name="T15" fmla="*/ 19 h 21"/>
                <a:gd name="T16" fmla="*/ 3 w 15"/>
                <a:gd name="T17" fmla="*/ 17 h 21"/>
                <a:gd name="T18" fmla="*/ 0 w 15"/>
                <a:gd name="T19" fmla="*/ 14 h 21"/>
                <a:gd name="T20" fmla="*/ 0 w 15"/>
                <a:gd name="T21" fmla="*/ 10 h 21"/>
                <a:gd name="T22" fmla="*/ 7 w 15"/>
                <a:gd name="T23" fmla="*/ 0 h 21"/>
                <a:gd name="T24" fmla="*/ 10 w 15"/>
                <a:gd name="T25" fmla="*/ 0 h 21"/>
                <a:gd name="T26" fmla="*/ 10 w 15"/>
                <a:gd name="T27"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3"/>
                  </a:moveTo>
                  <a:lnTo>
                    <a:pt x="10" y="5"/>
                  </a:lnTo>
                  <a:lnTo>
                    <a:pt x="12" y="10"/>
                  </a:lnTo>
                  <a:lnTo>
                    <a:pt x="15" y="14"/>
                  </a:lnTo>
                  <a:lnTo>
                    <a:pt x="15" y="19"/>
                  </a:lnTo>
                  <a:lnTo>
                    <a:pt x="12" y="21"/>
                  </a:lnTo>
                  <a:lnTo>
                    <a:pt x="10" y="19"/>
                  </a:lnTo>
                  <a:lnTo>
                    <a:pt x="5" y="19"/>
                  </a:lnTo>
                  <a:lnTo>
                    <a:pt x="3" y="17"/>
                  </a:lnTo>
                  <a:lnTo>
                    <a:pt x="0" y="14"/>
                  </a:lnTo>
                  <a:lnTo>
                    <a:pt x="0" y="10"/>
                  </a:lnTo>
                  <a:lnTo>
                    <a:pt x="7" y="0"/>
                  </a:lnTo>
                  <a:lnTo>
                    <a:pt x="10" y="0"/>
                  </a:lnTo>
                  <a:lnTo>
                    <a:pt x="1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4" name="Freeform 576">
              <a:extLst>
                <a:ext uri="{FF2B5EF4-FFF2-40B4-BE49-F238E27FC236}">
                  <a16:creationId xmlns:a16="http://schemas.microsoft.com/office/drawing/2014/main" id="{07421A6F-B90D-4BC9-8A26-221C1693151E}"/>
                </a:ext>
              </a:extLst>
            </p:cNvPr>
            <p:cNvSpPr>
              <a:spLocks/>
            </p:cNvSpPr>
            <p:nvPr/>
          </p:nvSpPr>
          <p:spPr bwMode="auto">
            <a:xfrm>
              <a:off x="3456826" y="1522377"/>
              <a:ext cx="23813" cy="33338"/>
            </a:xfrm>
            <a:custGeom>
              <a:avLst/>
              <a:gdLst>
                <a:gd name="T0" fmla="*/ 10 w 15"/>
                <a:gd name="T1" fmla="*/ 3 h 21"/>
                <a:gd name="T2" fmla="*/ 10 w 15"/>
                <a:gd name="T3" fmla="*/ 5 h 21"/>
                <a:gd name="T4" fmla="*/ 12 w 15"/>
                <a:gd name="T5" fmla="*/ 10 h 21"/>
                <a:gd name="T6" fmla="*/ 15 w 15"/>
                <a:gd name="T7" fmla="*/ 14 h 21"/>
                <a:gd name="T8" fmla="*/ 15 w 15"/>
                <a:gd name="T9" fmla="*/ 19 h 21"/>
                <a:gd name="T10" fmla="*/ 12 w 15"/>
                <a:gd name="T11" fmla="*/ 21 h 21"/>
                <a:gd name="T12" fmla="*/ 10 w 15"/>
                <a:gd name="T13" fmla="*/ 19 h 21"/>
                <a:gd name="T14" fmla="*/ 5 w 15"/>
                <a:gd name="T15" fmla="*/ 19 h 21"/>
                <a:gd name="T16" fmla="*/ 3 w 15"/>
                <a:gd name="T17" fmla="*/ 17 h 21"/>
                <a:gd name="T18" fmla="*/ 0 w 15"/>
                <a:gd name="T19" fmla="*/ 14 h 21"/>
                <a:gd name="T20" fmla="*/ 0 w 15"/>
                <a:gd name="T21" fmla="*/ 10 h 21"/>
                <a:gd name="T22" fmla="*/ 7 w 15"/>
                <a:gd name="T23" fmla="*/ 0 h 21"/>
                <a:gd name="T24" fmla="*/ 10 w 15"/>
                <a:gd name="T25" fmla="*/ 0 h 21"/>
                <a:gd name="T26" fmla="*/ 10 w 15"/>
                <a:gd name="T27"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3"/>
                  </a:moveTo>
                  <a:lnTo>
                    <a:pt x="10" y="5"/>
                  </a:lnTo>
                  <a:lnTo>
                    <a:pt x="12" y="10"/>
                  </a:lnTo>
                  <a:lnTo>
                    <a:pt x="15" y="14"/>
                  </a:lnTo>
                  <a:lnTo>
                    <a:pt x="15" y="19"/>
                  </a:lnTo>
                  <a:lnTo>
                    <a:pt x="12" y="21"/>
                  </a:lnTo>
                  <a:lnTo>
                    <a:pt x="10" y="19"/>
                  </a:lnTo>
                  <a:lnTo>
                    <a:pt x="5" y="19"/>
                  </a:lnTo>
                  <a:lnTo>
                    <a:pt x="3" y="17"/>
                  </a:lnTo>
                  <a:lnTo>
                    <a:pt x="0" y="14"/>
                  </a:lnTo>
                  <a:lnTo>
                    <a:pt x="0" y="10"/>
                  </a:lnTo>
                  <a:lnTo>
                    <a:pt x="7" y="0"/>
                  </a:lnTo>
                  <a:lnTo>
                    <a:pt x="10" y="0"/>
                  </a:lnTo>
                  <a:lnTo>
                    <a:pt x="1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5" name="Freeform 577">
              <a:extLst>
                <a:ext uri="{FF2B5EF4-FFF2-40B4-BE49-F238E27FC236}">
                  <a16:creationId xmlns:a16="http://schemas.microsoft.com/office/drawing/2014/main" id="{D7E06B31-7C10-4740-A110-4A611AAAAC4C}"/>
                </a:ext>
              </a:extLst>
            </p:cNvPr>
            <p:cNvSpPr>
              <a:spLocks/>
            </p:cNvSpPr>
            <p:nvPr/>
          </p:nvSpPr>
          <p:spPr bwMode="auto">
            <a:xfrm>
              <a:off x="3409201" y="1563651"/>
              <a:ext cx="36513" cy="33338"/>
            </a:xfrm>
            <a:custGeom>
              <a:avLst/>
              <a:gdLst>
                <a:gd name="T0" fmla="*/ 7 w 23"/>
                <a:gd name="T1" fmla="*/ 5 h 21"/>
                <a:gd name="T2" fmla="*/ 7 w 23"/>
                <a:gd name="T3" fmla="*/ 5 h 21"/>
                <a:gd name="T4" fmla="*/ 9 w 23"/>
                <a:gd name="T5" fmla="*/ 0 h 21"/>
                <a:gd name="T6" fmla="*/ 21 w 23"/>
                <a:gd name="T7" fmla="*/ 5 h 21"/>
                <a:gd name="T8" fmla="*/ 23 w 23"/>
                <a:gd name="T9" fmla="*/ 7 h 21"/>
                <a:gd name="T10" fmla="*/ 21 w 23"/>
                <a:gd name="T11" fmla="*/ 12 h 21"/>
                <a:gd name="T12" fmla="*/ 19 w 23"/>
                <a:gd name="T13" fmla="*/ 14 h 21"/>
                <a:gd name="T14" fmla="*/ 16 w 23"/>
                <a:gd name="T15" fmla="*/ 19 h 21"/>
                <a:gd name="T16" fmla="*/ 0 w 23"/>
                <a:gd name="T17" fmla="*/ 21 h 21"/>
                <a:gd name="T18" fmla="*/ 0 w 23"/>
                <a:gd name="T19" fmla="*/ 17 h 21"/>
                <a:gd name="T20" fmla="*/ 2 w 23"/>
                <a:gd name="T21" fmla="*/ 12 h 21"/>
                <a:gd name="T22" fmla="*/ 7 w 23"/>
                <a:gd name="T23"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1">
                  <a:moveTo>
                    <a:pt x="7" y="5"/>
                  </a:moveTo>
                  <a:lnTo>
                    <a:pt x="7" y="5"/>
                  </a:lnTo>
                  <a:lnTo>
                    <a:pt x="9" y="0"/>
                  </a:lnTo>
                  <a:lnTo>
                    <a:pt x="21" y="5"/>
                  </a:lnTo>
                  <a:lnTo>
                    <a:pt x="23" y="7"/>
                  </a:lnTo>
                  <a:lnTo>
                    <a:pt x="21" y="12"/>
                  </a:lnTo>
                  <a:lnTo>
                    <a:pt x="19" y="14"/>
                  </a:lnTo>
                  <a:lnTo>
                    <a:pt x="16" y="19"/>
                  </a:lnTo>
                  <a:lnTo>
                    <a:pt x="0" y="21"/>
                  </a:lnTo>
                  <a:lnTo>
                    <a:pt x="0" y="17"/>
                  </a:lnTo>
                  <a:lnTo>
                    <a:pt x="2" y="12"/>
                  </a:lnTo>
                  <a:lnTo>
                    <a:pt x="7"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6" name="Freeform 578">
              <a:extLst>
                <a:ext uri="{FF2B5EF4-FFF2-40B4-BE49-F238E27FC236}">
                  <a16:creationId xmlns:a16="http://schemas.microsoft.com/office/drawing/2014/main" id="{42FCB36D-5618-48FF-B40A-2F35E4E0E6D7}"/>
                </a:ext>
              </a:extLst>
            </p:cNvPr>
            <p:cNvSpPr>
              <a:spLocks/>
            </p:cNvSpPr>
            <p:nvPr/>
          </p:nvSpPr>
          <p:spPr bwMode="auto">
            <a:xfrm>
              <a:off x="3409201" y="1563651"/>
              <a:ext cx="36513" cy="33338"/>
            </a:xfrm>
            <a:custGeom>
              <a:avLst/>
              <a:gdLst>
                <a:gd name="T0" fmla="*/ 7 w 23"/>
                <a:gd name="T1" fmla="*/ 5 h 21"/>
                <a:gd name="T2" fmla="*/ 7 w 23"/>
                <a:gd name="T3" fmla="*/ 5 h 21"/>
                <a:gd name="T4" fmla="*/ 9 w 23"/>
                <a:gd name="T5" fmla="*/ 0 h 21"/>
                <a:gd name="T6" fmla="*/ 21 w 23"/>
                <a:gd name="T7" fmla="*/ 5 h 21"/>
                <a:gd name="T8" fmla="*/ 23 w 23"/>
                <a:gd name="T9" fmla="*/ 7 h 21"/>
                <a:gd name="T10" fmla="*/ 21 w 23"/>
                <a:gd name="T11" fmla="*/ 12 h 21"/>
                <a:gd name="T12" fmla="*/ 19 w 23"/>
                <a:gd name="T13" fmla="*/ 14 h 21"/>
                <a:gd name="T14" fmla="*/ 16 w 23"/>
                <a:gd name="T15" fmla="*/ 19 h 21"/>
                <a:gd name="T16" fmla="*/ 0 w 23"/>
                <a:gd name="T17" fmla="*/ 21 h 21"/>
                <a:gd name="T18" fmla="*/ 0 w 23"/>
                <a:gd name="T19" fmla="*/ 17 h 21"/>
                <a:gd name="T20" fmla="*/ 2 w 23"/>
                <a:gd name="T21" fmla="*/ 12 h 21"/>
                <a:gd name="T22" fmla="*/ 7 w 23"/>
                <a:gd name="T23"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1">
                  <a:moveTo>
                    <a:pt x="7" y="5"/>
                  </a:moveTo>
                  <a:lnTo>
                    <a:pt x="7" y="5"/>
                  </a:lnTo>
                  <a:lnTo>
                    <a:pt x="9" y="0"/>
                  </a:lnTo>
                  <a:lnTo>
                    <a:pt x="21" y="5"/>
                  </a:lnTo>
                  <a:lnTo>
                    <a:pt x="23" y="7"/>
                  </a:lnTo>
                  <a:lnTo>
                    <a:pt x="21" y="12"/>
                  </a:lnTo>
                  <a:lnTo>
                    <a:pt x="19" y="14"/>
                  </a:lnTo>
                  <a:lnTo>
                    <a:pt x="16" y="19"/>
                  </a:lnTo>
                  <a:lnTo>
                    <a:pt x="0" y="21"/>
                  </a:lnTo>
                  <a:lnTo>
                    <a:pt x="0" y="17"/>
                  </a:lnTo>
                  <a:lnTo>
                    <a:pt x="2" y="12"/>
                  </a:lnTo>
                  <a:lnTo>
                    <a:pt x="7"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7" name="Freeform 579">
              <a:extLst>
                <a:ext uri="{FF2B5EF4-FFF2-40B4-BE49-F238E27FC236}">
                  <a16:creationId xmlns:a16="http://schemas.microsoft.com/office/drawing/2014/main" id="{2ADEDCE1-BC74-44C8-A7A3-DAF2F8FB560C}"/>
                </a:ext>
              </a:extLst>
            </p:cNvPr>
            <p:cNvSpPr>
              <a:spLocks/>
            </p:cNvSpPr>
            <p:nvPr/>
          </p:nvSpPr>
          <p:spPr bwMode="auto">
            <a:xfrm>
              <a:off x="3533026" y="1268376"/>
              <a:ext cx="22225" cy="36514"/>
            </a:xfrm>
            <a:custGeom>
              <a:avLst/>
              <a:gdLst>
                <a:gd name="T0" fmla="*/ 11 w 14"/>
                <a:gd name="T1" fmla="*/ 7 h 23"/>
                <a:gd name="T2" fmla="*/ 14 w 14"/>
                <a:gd name="T3" fmla="*/ 9 h 23"/>
                <a:gd name="T4" fmla="*/ 14 w 14"/>
                <a:gd name="T5" fmla="*/ 11 h 23"/>
                <a:gd name="T6" fmla="*/ 11 w 14"/>
                <a:gd name="T7" fmla="*/ 11 h 23"/>
                <a:gd name="T8" fmla="*/ 9 w 14"/>
                <a:gd name="T9" fmla="*/ 16 h 23"/>
                <a:gd name="T10" fmla="*/ 9 w 14"/>
                <a:gd name="T11" fmla="*/ 23 h 23"/>
                <a:gd name="T12" fmla="*/ 7 w 14"/>
                <a:gd name="T13" fmla="*/ 18 h 23"/>
                <a:gd name="T14" fmla="*/ 7 w 14"/>
                <a:gd name="T15" fmla="*/ 11 h 23"/>
                <a:gd name="T16" fmla="*/ 7 w 14"/>
                <a:gd name="T17" fmla="*/ 14 h 23"/>
                <a:gd name="T18" fmla="*/ 4 w 14"/>
                <a:gd name="T19" fmla="*/ 11 h 23"/>
                <a:gd name="T20" fmla="*/ 2 w 14"/>
                <a:gd name="T21" fmla="*/ 9 h 23"/>
                <a:gd name="T22" fmla="*/ 2 w 14"/>
                <a:gd name="T23" fmla="*/ 14 h 23"/>
                <a:gd name="T24" fmla="*/ 4 w 14"/>
                <a:gd name="T25" fmla="*/ 21 h 23"/>
                <a:gd name="T26" fmla="*/ 0 w 14"/>
                <a:gd name="T27" fmla="*/ 11 h 23"/>
                <a:gd name="T28" fmla="*/ 0 w 14"/>
                <a:gd name="T29" fmla="*/ 7 h 23"/>
                <a:gd name="T30" fmla="*/ 2 w 14"/>
                <a:gd name="T31" fmla="*/ 4 h 23"/>
                <a:gd name="T32" fmla="*/ 4 w 14"/>
                <a:gd name="T33" fmla="*/ 7 h 23"/>
                <a:gd name="T34" fmla="*/ 4 w 14"/>
                <a:gd name="T35" fmla="*/ 9 h 23"/>
                <a:gd name="T36" fmla="*/ 7 w 14"/>
                <a:gd name="T37" fmla="*/ 7 h 23"/>
                <a:gd name="T38" fmla="*/ 9 w 14"/>
                <a:gd name="T39" fmla="*/ 2 h 23"/>
                <a:gd name="T40" fmla="*/ 7 w 14"/>
                <a:gd name="T41" fmla="*/ 2 h 23"/>
                <a:gd name="T42" fmla="*/ 7 w 14"/>
                <a:gd name="T43" fmla="*/ 0 h 23"/>
                <a:gd name="T44" fmla="*/ 9 w 14"/>
                <a:gd name="T45" fmla="*/ 0 h 23"/>
                <a:gd name="T46" fmla="*/ 14 w 14"/>
                <a:gd name="T47" fmla="*/ 2 h 23"/>
                <a:gd name="T48" fmla="*/ 11 w 14"/>
                <a:gd name="T49" fmla="*/ 4 h 23"/>
                <a:gd name="T50" fmla="*/ 11 w 14"/>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23">
                  <a:moveTo>
                    <a:pt x="11" y="7"/>
                  </a:moveTo>
                  <a:lnTo>
                    <a:pt x="14" y="9"/>
                  </a:lnTo>
                  <a:lnTo>
                    <a:pt x="14" y="11"/>
                  </a:lnTo>
                  <a:lnTo>
                    <a:pt x="11" y="11"/>
                  </a:lnTo>
                  <a:lnTo>
                    <a:pt x="9" y="16"/>
                  </a:lnTo>
                  <a:lnTo>
                    <a:pt x="9" y="23"/>
                  </a:lnTo>
                  <a:lnTo>
                    <a:pt x="7" y="18"/>
                  </a:lnTo>
                  <a:lnTo>
                    <a:pt x="7" y="11"/>
                  </a:lnTo>
                  <a:lnTo>
                    <a:pt x="7" y="14"/>
                  </a:lnTo>
                  <a:lnTo>
                    <a:pt x="4" y="11"/>
                  </a:lnTo>
                  <a:lnTo>
                    <a:pt x="2" y="9"/>
                  </a:lnTo>
                  <a:lnTo>
                    <a:pt x="2" y="14"/>
                  </a:lnTo>
                  <a:lnTo>
                    <a:pt x="4" y="21"/>
                  </a:lnTo>
                  <a:lnTo>
                    <a:pt x="0" y="11"/>
                  </a:lnTo>
                  <a:lnTo>
                    <a:pt x="0" y="7"/>
                  </a:lnTo>
                  <a:lnTo>
                    <a:pt x="2" y="4"/>
                  </a:lnTo>
                  <a:lnTo>
                    <a:pt x="4" y="7"/>
                  </a:lnTo>
                  <a:lnTo>
                    <a:pt x="4" y="9"/>
                  </a:lnTo>
                  <a:lnTo>
                    <a:pt x="7" y="7"/>
                  </a:lnTo>
                  <a:lnTo>
                    <a:pt x="9" y="2"/>
                  </a:lnTo>
                  <a:lnTo>
                    <a:pt x="7" y="2"/>
                  </a:lnTo>
                  <a:lnTo>
                    <a:pt x="7" y="0"/>
                  </a:lnTo>
                  <a:lnTo>
                    <a:pt x="9" y="0"/>
                  </a:lnTo>
                  <a:lnTo>
                    <a:pt x="14" y="2"/>
                  </a:lnTo>
                  <a:lnTo>
                    <a:pt x="11" y="4"/>
                  </a:lnTo>
                  <a:lnTo>
                    <a:pt x="11"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8" name="Freeform 580">
              <a:extLst>
                <a:ext uri="{FF2B5EF4-FFF2-40B4-BE49-F238E27FC236}">
                  <a16:creationId xmlns:a16="http://schemas.microsoft.com/office/drawing/2014/main" id="{4A3953B3-A171-4FDB-930D-CA6B4E9EB0E7}"/>
                </a:ext>
              </a:extLst>
            </p:cNvPr>
            <p:cNvSpPr>
              <a:spLocks/>
            </p:cNvSpPr>
            <p:nvPr/>
          </p:nvSpPr>
          <p:spPr bwMode="auto">
            <a:xfrm>
              <a:off x="3533026" y="1268376"/>
              <a:ext cx="22225" cy="36514"/>
            </a:xfrm>
            <a:custGeom>
              <a:avLst/>
              <a:gdLst>
                <a:gd name="T0" fmla="*/ 11 w 14"/>
                <a:gd name="T1" fmla="*/ 7 h 23"/>
                <a:gd name="T2" fmla="*/ 14 w 14"/>
                <a:gd name="T3" fmla="*/ 9 h 23"/>
                <a:gd name="T4" fmla="*/ 14 w 14"/>
                <a:gd name="T5" fmla="*/ 11 h 23"/>
                <a:gd name="T6" fmla="*/ 11 w 14"/>
                <a:gd name="T7" fmla="*/ 11 h 23"/>
                <a:gd name="T8" fmla="*/ 9 w 14"/>
                <a:gd name="T9" fmla="*/ 16 h 23"/>
                <a:gd name="T10" fmla="*/ 9 w 14"/>
                <a:gd name="T11" fmla="*/ 23 h 23"/>
                <a:gd name="T12" fmla="*/ 7 w 14"/>
                <a:gd name="T13" fmla="*/ 18 h 23"/>
                <a:gd name="T14" fmla="*/ 7 w 14"/>
                <a:gd name="T15" fmla="*/ 11 h 23"/>
                <a:gd name="T16" fmla="*/ 7 w 14"/>
                <a:gd name="T17" fmla="*/ 14 h 23"/>
                <a:gd name="T18" fmla="*/ 4 w 14"/>
                <a:gd name="T19" fmla="*/ 11 h 23"/>
                <a:gd name="T20" fmla="*/ 2 w 14"/>
                <a:gd name="T21" fmla="*/ 9 h 23"/>
                <a:gd name="T22" fmla="*/ 2 w 14"/>
                <a:gd name="T23" fmla="*/ 14 h 23"/>
                <a:gd name="T24" fmla="*/ 4 w 14"/>
                <a:gd name="T25" fmla="*/ 21 h 23"/>
                <a:gd name="T26" fmla="*/ 0 w 14"/>
                <a:gd name="T27" fmla="*/ 11 h 23"/>
                <a:gd name="T28" fmla="*/ 0 w 14"/>
                <a:gd name="T29" fmla="*/ 7 h 23"/>
                <a:gd name="T30" fmla="*/ 2 w 14"/>
                <a:gd name="T31" fmla="*/ 4 h 23"/>
                <a:gd name="T32" fmla="*/ 4 w 14"/>
                <a:gd name="T33" fmla="*/ 7 h 23"/>
                <a:gd name="T34" fmla="*/ 4 w 14"/>
                <a:gd name="T35" fmla="*/ 9 h 23"/>
                <a:gd name="T36" fmla="*/ 7 w 14"/>
                <a:gd name="T37" fmla="*/ 7 h 23"/>
                <a:gd name="T38" fmla="*/ 9 w 14"/>
                <a:gd name="T39" fmla="*/ 2 h 23"/>
                <a:gd name="T40" fmla="*/ 7 w 14"/>
                <a:gd name="T41" fmla="*/ 2 h 23"/>
                <a:gd name="T42" fmla="*/ 7 w 14"/>
                <a:gd name="T43" fmla="*/ 0 h 23"/>
                <a:gd name="T44" fmla="*/ 9 w 14"/>
                <a:gd name="T45" fmla="*/ 0 h 23"/>
                <a:gd name="T46" fmla="*/ 14 w 14"/>
                <a:gd name="T47" fmla="*/ 2 h 23"/>
                <a:gd name="T48" fmla="*/ 11 w 14"/>
                <a:gd name="T49" fmla="*/ 4 h 23"/>
                <a:gd name="T50" fmla="*/ 11 w 14"/>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23">
                  <a:moveTo>
                    <a:pt x="11" y="7"/>
                  </a:moveTo>
                  <a:lnTo>
                    <a:pt x="14" y="9"/>
                  </a:lnTo>
                  <a:lnTo>
                    <a:pt x="14" y="11"/>
                  </a:lnTo>
                  <a:lnTo>
                    <a:pt x="11" y="11"/>
                  </a:lnTo>
                  <a:lnTo>
                    <a:pt x="9" y="16"/>
                  </a:lnTo>
                  <a:lnTo>
                    <a:pt x="9" y="23"/>
                  </a:lnTo>
                  <a:lnTo>
                    <a:pt x="7" y="18"/>
                  </a:lnTo>
                  <a:lnTo>
                    <a:pt x="7" y="11"/>
                  </a:lnTo>
                  <a:lnTo>
                    <a:pt x="7" y="14"/>
                  </a:lnTo>
                  <a:lnTo>
                    <a:pt x="4" y="11"/>
                  </a:lnTo>
                  <a:lnTo>
                    <a:pt x="2" y="9"/>
                  </a:lnTo>
                  <a:lnTo>
                    <a:pt x="2" y="14"/>
                  </a:lnTo>
                  <a:lnTo>
                    <a:pt x="4" y="21"/>
                  </a:lnTo>
                  <a:lnTo>
                    <a:pt x="0" y="11"/>
                  </a:lnTo>
                  <a:lnTo>
                    <a:pt x="0" y="7"/>
                  </a:lnTo>
                  <a:lnTo>
                    <a:pt x="2" y="4"/>
                  </a:lnTo>
                  <a:lnTo>
                    <a:pt x="4" y="7"/>
                  </a:lnTo>
                  <a:lnTo>
                    <a:pt x="4" y="9"/>
                  </a:lnTo>
                  <a:lnTo>
                    <a:pt x="7" y="7"/>
                  </a:lnTo>
                  <a:lnTo>
                    <a:pt x="9" y="2"/>
                  </a:lnTo>
                  <a:lnTo>
                    <a:pt x="7" y="2"/>
                  </a:lnTo>
                  <a:lnTo>
                    <a:pt x="7" y="0"/>
                  </a:lnTo>
                  <a:lnTo>
                    <a:pt x="9" y="0"/>
                  </a:lnTo>
                  <a:lnTo>
                    <a:pt x="14" y="2"/>
                  </a:lnTo>
                  <a:lnTo>
                    <a:pt x="11" y="4"/>
                  </a:lnTo>
                  <a:lnTo>
                    <a:pt x="11"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39" name="Freeform 581">
              <a:extLst>
                <a:ext uri="{FF2B5EF4-FFF2-40B4-BE49-F238E27FC236}">
                  <a16:creationId xmlns:a16="http://schemas.microsoft.com/office/drawing/2014/main" id="{F9E7ADBF-8D6A-41EB-A5EE-3ACF72041077}"/>
                </a:ext>
              </a:extLst>
            </p:cNvPr>
            <p:cNvSpPr>
              <a:spLocks/>
            </p:cNvSpPr>
            <p:nvPr/>
          </p:nvSpPr>
          <p:spPr bwMode="auto">
            <a:xfrm>
              <a:off x="3225052" y="2025614"/>
              <a:ext cx="33338" cy="25400"/>
            </a:xfrm>
            <a:custGeom>
              <a:avLst/>
              <a:gdLst>
                <a:gd name="T0" fmla="*/ 0 w 21"/>
                <a:gd name="T1" fmla="*/ 9 h 16"/>
                <a:gd name="T2" fmla="*/ 5 w 21"/>
                <a:gd name="T3" fmla="*/ 7 h 16"/>
                <a:gd name="T4" fmla="*/ 12 w 21"/>
                <a:gd name="T5" fmla="*/ 2 h 16"/>
                <a:gd name="T6" fmla="*/ 19 w 21"/>
                <a:gd name="T7" fmla="*/ 0 h 16"/>
                <a:gd name="T8" fmla="*/ 19 w 21"/>
                <a:gd name="T9" fmla="*/ 2 h 16"/>
                <a:gd name="T10" fmla="*/ 21 w 21"/>
                <a:gd name="T11" fmla="*/ 9 h 16"/>
                <a:gd name="T12" fmla="*/ 16 w 21"/>
                <a:gd name="T13" fmla="*/ 7 h 16"/>
                <a:gd name="T14" fmla="*/ 14 w 21"/>
                <a:gd name="T15" fmla="*/ 12 h 16"/>
                <a:gd name="T16" fmla="*/ 7 w 21"/>
                <a:gd name="T17" fmla="*/ 16 h 16"/>
                <a:gd name="T18" fmla="*/ 5 w 21"/>
                <a:gd name="T19" fmla="*/ 16 h 16"/>
                <a:gd name="T20" fmla="*/ 2 w 21"/>
                <a:gd name="T21" fmla="*/ 14 h 16"/>
                <a:gd name="T22" fmla="*/ 0 w 21"/>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6">
                  <a:moveTo>
                    <a:pt x="0" y="9"/>
                  </a:moveTo>
                  <a:lnTo>
                    <a:pt x="5" y="7"/>
                  </a:lnTo>
                  <a:lnTo>
                    <a:pt x="12" y="2"/>
                  </a:lnTo>
                  <a:lnTo>
                    <a:pt x="19" y="0"/>
                  </a:lnTo>
                  <a:lnTo>
                    <a:pt x="19" y="2"/>
                  </a:lnTo>
                  <a:lnTo>
                    <a:pt x="21" y="9"/>
                  </a:lnTo>
                  <a:lnTo>
                    <a:pt x="16" y="7"/>
                  </a:lnTo>
                  <a:lnTo>
                    <a:pt x="14" y="12"/>
                  </a:lnTo>
                  <a:lnTo>
                    <a:pt x="7" y="16"/>
                  </a:lnTo>
                  <a:lnTo>
                    <a:pt x="5" y="16"/>
                  </a:lnTo>
                  <a:lnTo>
                    <a:pt x="2" y="14"/>
                  </a:lnTo>
                  <a:lnTo>
                    <a:pt x="0"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0" name="Freeform 582">
              <a:extLst>
                <a:ext uri="{FF2B5EF4-FFF2-40B4-BE49-F238E27FC236}">
                  <a16:creationId xmlns:a16="http://schemas.microsoft.com/office/drawing/2014/main" id="{E883566D-A66C-4269-96F7-E144AA3F2AC8}"/>
                </a:ext>
              </a:extLst>
            </p:cNvPr>
            <p:cNvSpPr>
              <a:spLocks/>
            </p:cNvSpPr>
            <p:nvPr/>
          </p:nvSpPr>
          <p:spPr bwMode="auto">
            <a:xfrm>
              <a:off x="3225052" y="2025614"/>
              <a:ext cx="33338" cy="25400"/>
            </a:xfrm>
            <a:custGeom>
              <a:avLst/>
              <a:gdLst>
                <a:gd name="T0" fmla="*/ 0 w 21"/>
                <a:gd name="T1" fmla="*/ 9 h 16"/>
                <a:gd name="T2" fmla="*/ 5 w 21"/>
                <a:gd name="T3" fmla="*/ 7 h 16"/>
                <a:gd name="T4" fmla="*/ 12 w 21"/>
                <a:gd name="T5" fmla="*/ 2 h 16"/>
                <a:gd name="T6" fmla="*/ 19 w 21"/>
                <a:gd name="T7" fmla="*/ 0 h 16"/>
                <a:gd name="T8" fmla="*/ 19 w 21"/>
                <a:gd name="T9" fmla="*/ 2 h 16"/>
                <a:gd name="T10" fmla="*/ 21 w 21"/>
                <a:gd name="T11" fmla="*/ 9 h 16"/>
                <a:gd name="T12" fmla="*/ 16 w 21"/>
                <a:gd name="T13" fmla="*/ 7 h 16"/>
                <a:gd name="T14" fmla="*/ 14 w 21"/>
                <a:gd name="T15" fmla="*/ 12 h 16"/>
                <a:gd name="T16" fmla="*/ 7 w 21"/>
                <a:gd name="T17" fmla="*/ 16 h 16"/>
                <a:gd name="T18" fmla="*/ 5 w 21"/>
                <a:gd name="T19" fmla="*/ 16 h 16"/>
                <a:gd name="T20" fmla="*/ 2 w 21"/>
                <a:gd name="T21" fmla="*/ 14 h 16"/>
                <a:gd name="T22" fmla="*/ 0 w 21"/>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6">
                  <a:moveTo>
                    <a:pt x="0" y="9"/>
                  </a:moveTo>
                  <a:lnTo>
                    <a:pt x="5" y="7"/>
                  </a:lnTo>
                  <a:lnTo>
                    <a:pt x="12" y="2"/>
                  </a:lnTo>
                  <a:lnTo>
                    <a:pt x="19" y="0"/>
                  </a:lnTo>
                  <a:lnTo>
                    <a:pt x="19" y="2"/>
                  </a:lnTo>
                  <a:lnTo>
                    <a:pt x="21" y="9"/>
                  </a:lnTo>
                  <a:lnTo>
                    <a:pt x="16" y="7"/>
                  </a:lnTo>
                  <a:lnTo>
                    <a:pt x="14" y="12"/>
                  </a:lnTo>
                  <a:lnTo>
                    <a:pt x="7" y="16"/>
                  </a:lnTo>
                  <a:lnTo>
                    <a:pt x="5" y="16"/>
                  </a:lnTo>
                  <a:lnTo>
                    <a:pt x="2" y="14"/>
                  </a:lnTo>
                  <a:lnTo>
                    <a:pt x="0" y="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1" name="Freeform 583">
              <a:extLst>
                <a:ext uri="{FF2B5EF4-FFF2-40B4-BE49-F238E27FC236}">
                  <a16:creationId xmlns:a16="http://schemas.microsoft.com/office/drawing/2014/main" id="{4050FB0A-9C39-495D-B888-EA5003891A1C}"/>
                </a:ext>
              </a:extLst>
            </p:cNvPr>
            <p:cNvSpPr>
              <a:spLocks/>
            </p:cNvSpPr>
            <p:nvPr/>
          </p:nvSpPr>
          <p:spPr bwMode="auto">
            <a:xfrm>
              <a:off x="3555251" y="1744627"/>
              <a:ext cx="14288" cy="28575"/>
            </a:xfrm>
            <a:custGeom>
              <a:avLst/>
              <a:gdLst>
                <a:gd name="T0" fmla="*/ 0 w 9"/>
                <a:gd name="T1" fmla="*/ 7 h 18"/>
                <a:gd name="T2" fmla="*/ 0 w 9"/>
                <a:gd name="T3" fmla="*/ 2 h 18"/>
                <a:gd name="T4" fmla="*/ 2 w 9"/>
                <a:gd name="T5" fmla="*/ 2 h 18"/>
                <a:gd name="T6" fmla="*/ 5 w 9"/>
                <a:gd name="T7" fmla="*/ 0 h 18"/>
                <a:gd name="T8" fmla="*/ 7 w 9"/>
                <a:gd name="T9" fmla="*/ 9 h 18"/>
                <a:gd name="T10" fmla="*/ 9 w 9"/>
                <a:gd name="T11" fmla="*/ 16 h 18"/>
                <a:gd name="T12" fmla="*/ 7 w 9"/>
                <a:gd name="T13" fmla="*/ 18 h 18"/>
                <a:gd name="T14" fmla="*/ 5 w 9"/>
                <a:gd name="T15" fmla="*/ 18 h 18"/>
                <a:gd name="T16" fmla="*/ 2 w 9"/>
                <a:gd name="T17" fmla="*/ 16 h 18"/>
                <a:gd name="T18" fmla="*/ 2 w 9"/>
                <a:gd name="T19" fmla="*/ 14 h 18"/>
                <a:gd name="T20" fmla="*/ 0 w 9"/>
                <a:gd name="T21" fmla="*/ 9 h 18"/>
                <a:gd name="T22" fmla="*/ 0 w 9"/>
                <a:gd name="T2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8">
                  <a:moveTo>
                    <a:pt x="0" y="7"/>
                  </a:moveTo>
                  <a:lnTo>
                    <a:pt x="0" y="2"/>
                  </a:lnTo>
                  <a:lnTo>
                    <a:pt x="2" y="2"/>
                  </a:lnTo>
                  <a:lnTo>
                    <a:pt x="5" y="0"/>
                  </a:lnTo>
                  <a:lnTo>
                    <a:pt x="7" y="9"/>
                  </a:lnTo>
                  <a:lnTo>
                    <a:pt x="9" y="16"/>
                  </a:lnTo>
                  <a:lnTo>
                    <a:pt x="7" y="18"/>
                  </a:lnTo>
                  <a:lnTo>
                    <a:pt x="5" y="18"/>
                  </a:lnTo>
                  <a:lnTo>
                    <a:pt x="2" y="16"/>
                  </a:lnTo>
                  <a:lnTo>
                    <a:pt x="2" y="14"/>
                  </a:lnTo>
                  <a:lnTo>
                    <a:pt x="0" y="9"/>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2" name="Freeform 584">
              <a:extLst>
                <a:ext uri="{FF2B5EF4-FFF2-40B4-BE49-F238E27FC236}">
                  <a16:creationId xmlns:a16="http://schemas.microsoft.com/office/drawing/2014/main" id="{8EC13219-2B8B-4485-B23C-893DAF99CCD8}"/>
                </a:ext>
              </a:extLst>
            </p:cNvPr>
            <p:cNvSpPr>
              <a:spLocks/>
            </p:cNvSpPr>
            <p:nvPr/>
          </p:nvSpPr>
          <p:spPr bwMode="auto">
            <a:xfrm>
              <a:off x="3555251" y="1744627"/>
              <a:ext cx="14288" cy="28575"/>
            </a:xfrm>
            <a:custGeom>
              <a:avLst/>
              <a:gdLst>
                <a:gd name="T0" fmla="*/ 0 w 9"/>
                <a:gd name="T1" fmla="*/ 7 h 18"/>
                <a:gd name="T2" fmla="*/ 0 w 9"/>
                <a:gd name="T3" fmla="*/ 2 h 18"/>
                <a:gd name="T4" fmla="*/ 2 w 9"/>
                <a:gd name="T5" fmla="*/ 2 h 18"/>
                <a:gd name="T6" fmla="*/ 5 w 9"/>
                <a:gd name="T7" fmla="*/ 0 h 18"/>
                <a:gd name="T8" fmla="*/ 7 w 9"/>
                <a:gd name="T9" fmla="*/ 9 h 18"/>
                <a:gd name="T10" fmla="*/ 9 w 9"/>
                <a:gd name="T11" fmla="*/ 16 h 18"/>
                <a:gd name="T12" fmla="*/ 7 w 9"/>
                <a:gd name="T13" fmla="*/ 18 h 18"/>
                <a:gd name="T14" fmla="*/ 5 w 9"/>
                <a:gd name="T15" fmla="*/ 18 h 18"/>
                <a:gd name="T16" fmla="*/ 2 w 9"/>
                <a:gd name="T17" fmla="*/ 16 h 18"/>
                <a:gd name="T18" fmla="*/ 2 w 9"/>
                <a:gd name="T19" fmla="*/ 14 h 18"/>
                <a:gd name="T20" fmla="*/ 0 w 9"/>
                <a:gd name="T21" fmla="*/ 9 h 18"/>
                <a:gd name="T22" fmla="*/ 0 w 9"/>
                <a:gd name="T2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8">
                  <a:moveTo>
                    <a:pt x="0" y="7"/>
                  </a:moveTo>
                  <a:lnTo>
                    <a:pt x="0" y="2"/>
                  </a:lnTo>
                  <a:lnTo>
                    <a:pt x="2" y="2"/>
                  </a:lnTo>
                  <a:lnTo>
                    <a:pt x="5" y="0"/>
                  </a:lnTo>
                  <a:lnTo>
                    <a:pt x="7" y="9"/>
                  </a:lnTo>
                  <a:lnTo>
                    <a:pt x="9" y="16"/>
                  </a:lnTo>
                  <a:lnTo>
                    <a:pt x="7" y="18"/>
                  </a:lnTo>
                  <a:lnTo>
                    <a:pt x="5" y="18"/>
                  </a:lnTo>
                  <a:lnTo>
                    <a:pt x="2" y="16"/>
                  </a:lnTo>
                  <a:lnTo>
                    <a:pt x="2" y="14"/>
                  </a:lnTo>
                  <a:lnTo>
                    <a:pt x="0" y="9"/>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3" name="Freeform 585">
              <a:extLst>
                <a:ext uri="{FF2B5EF4-FFF2-40B4-BE49-F238E27FC236}">
                  <a16:creationId xmlns:a16="http://schemas.microsoft.com/office/drawing/2014/main" id="{5FB34944-7D97-4D1E-8E31-0696971BC37B}"/>
                </a:ext>
              </a:extLst>
            </p:cNvPr>
            <p:cNvSpPr>
              <a:spLocks/>
            </p:cNvSpPr>
            <p:nvPr/>
          </p:nvSpPr>
          <p:spPr bwMode="auto">
            <a:xfrm>
              <a:off x="993030" y="2697128"/>
              <a:ext cx="117475" cy="176214"/>
            </a:xfrm>
            <a:custGeom>
              <a:avLst/>
              <a:gdLst>
                <a:gd name="T0" fmla="*/ 71 w 74"/>
                <a:gd name="T1" fmla="*/ 30 h 111"/>
                <a:gd name="T2" fmla="*/ 57 w 74"/>
                <a:gd name="T3" fmla="*/ 28 h 111"/>
                <a:gd name="T4" fmla="*/ 48 w 74"/>
                <a:gd name="T5" fmla="*/ 33 h 111"/>
                <a:gd name="T6" fmla="*/ 43 w 74"/>
                <a:gd name="T7" fmla="*/ 21 h 111"/>
                <a:gd name="T8" fmla="*/ 48 w 74"/>
                <a:gd name="T9" fmla="*/ 14 h 111"/>
                <a:gd name="T10" fmla="*/ 50 w 74"/>
                <a:gd name="T11" fmla="*/ 2 h 111"/>
                <a:gd name="T12" fmla="*/ 43 w 74"/>
                <a:gd name="T13" fmla="*/ 2 h 111"/>
                <a:gd name="T14" fmla="*/ 36 w 74"/>
                <a:gd name="T15" fmla="*/ 7 h 111"/>
                <a:gd name="T16" fmla="*/ 36 w 74"/>
                <a:gd name="T17" fmla="*/ 11 h 111"/>
                <a:gd name="T18" fmla="*/ 29 w 74"/>
                <a:gd name="T19" fmla="*/ 18 h 111"/>
                <a:gd name="T20" fmla="*/ 33 w 74"/>
                <a:gd name="T21" fmla="*/ 21 h 111"/>
                <a:gd name="T22" fmla="*/ 38 w 74"/>
                <a:gd name="T23" fmla="*/ 21 h 111"/>
                <a:gd name="T24" fmla="*/ 31 w 74"/>
                <a:gd name="T25" fmla="*/ 28 h 111"/>
                <a:gd name="T26" fmla="*/ 22 w 74"/>
                <a:gd name="T27" fmla="*/ 30 h 111"/>
                <a:gd name="T28" fmla="*/ 10 w 74"/>
                <a:gd name="T29" fmla="*/ 30 h 111"/>
                <a:gd name="T30" fmla="*/ 7 w 74"/>
                <a:gd name="T31" fmla="*/ 37 h 111"/>
                <a:gd name="T32" fmla="*/ 15 w 74"/>
                <a:gd name="T33" fmla="*/ 42 h 111"/>
                <a:gd name="T34" fmla="*/ 7 w 74"/>
                <a:gd name="T35" fmla="*/ 49 h 111"/>
                <a:gd name="T36" fmla="*/ 7 w 74"/>
                <a:gd name="T37" fmla="*/ 56 h 111"/>
                <a:gd name="T38" fmla="*/ 12 w 74"/>
                <a:gd name="T39" fmla="*/ 56 h 111"/>
                <a:gd name="T40" fmla="*/ 26 w 74"/>
                <a:gd name="T41" fmla="*/ 61 h 111"/>
                <a:gd name="T42" fmla="*/ 17 w 74"/>
                <a:gd name="T43" fmla="*/ 68 h 111"/>
                <a:gd name="T44" fmla="*/ 10 w 74"/>
                <a:gd name="T45" fmla="*/ 80 h 111"/>
                <a:gd name="T46" fmla="*/ 26 w 74"/>
                <a:gd name="T47" fmla="*/ 75 h 111"/>
                <a:gd name="T48" fmla="*/ 19 w 74"/>
                <a:gd name="T49" fmla="*/ 80 h 111"/>
                <a:gd name="T50" fmla="*/ 10 w 74"/>
                <a:gd name="T51" fmla="*/ 87 h 111"/>
                <a:gd name="T52" fmla="*/ 5 w 74"/>
                <a:gd name="T53" fmla="*/ 89 h 111"/>
                <a:gd name="T54" fmla="*/ 0 w 74"/>
                <a:gd name="T55" fmla="*/ 94 h 111"/>
                <a:gd name="T56" fmla="*/ 5 w 74"/>
                <a:gd name="T57" fmla="*/ 96 h 111"/>
                <a:gd name="T58" fmla="*/ 3 w 74"/>
                <a:gd name="T59" fmla="*/ 101 h 111"/>
                <a:gd name="T60" fmla="*/ 12 w 74"/>
                <a:gd name="T61" fmla="*/ 99 h 111"/>
                <a:gd name="T62" fmla="*/ 5 w 74"/>
                <a:gd name="T63" fmla="*/ 106 h 111"/>
                <a:gd name="T64" fmla="*/ 15 w 74"/>
                <a:gd name="T65" fmla="*/ 106 h 111"/>
                <a:gd name="T66" fmla="*/ 10 w 74"/>
                <a:gd name="T67" fmla="*/ 108 h 111"/>
                <a:gd name="T68" fmla="*/ 15 w 74"/>
                <a:gd name="T69" fmla="*/ 108 h 111"/>
                <a:gd name="T70" fmla="*/ 19 w 74"/>
                <a:gd name="T71" fmla="*/ 111 h 111"/>
                <a:gd name="T72" fmla="*/ 33 w 74"/>
                <a:gd name="T73" fmla="*/ 106 h 111"/>
                <a:gd name="T74" fmla="*/ 36 w 74"/>
                <a:gd name="T75" fmla="*/ 99 h 111"/>
                <a:gd name="T76" fmla="*/ 38 w 74"/>
                <a:gd name="T77" fmla="*/ 101 h 111"/>
                <a:gd name="T78" fmla="*/ 45 w 74"/>
                <a:gd name="T79" fmla="*/ 99 h 111"/>
                <a:gd name="T80" fmla="*/ 50 w 74"/>
                <a:gd name="T81" fmla="*/ 94 h 111"/>
                <a:gd name="T82" fmla="*/ 64 w 74"/>
                <a:gd name="T83" fmla="*/ 89 h 111"/>
                <a:gd name="T84" fmla="*/ 69 w 74"/>
                <a:gd name="T85" fmla="*/ 89 h 111"/>
                <a:gd name="T86" fmla="*/ 71 w 74"/>
                <a:gd name="T87" fmla="*/ 75 h 111"/>
                <a:gd name="T88" fmla="*/ 74 w 74"/>
                <a:gd name="T89" fmla="*/ 63 h 111"/>
                <a:gd name="T90" fmla="*/ 74 w 74"/>
                <a:gd name="T91" fmla="*/ 51 h 111"/>
                <a:gd name="T92" fmla="*/ 71 w 74"/>
                <a:gd name="T93" fmla="*/ 3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4" h="111">
                  <a:moveTo>
                    <a:pt x="71" y="37"/>
                  </a:moveTo>
                  <a:lnTo>
                    <a:pt x="71" y="35"/>
                  </a:lnTo>
                  <a:lnTo>
                    <a:pt x="71" y="30"/>
                  </a:lnTo>
                  <a:lnTo>
                    <a:pt x="71" y="30"/>
                  </a:lnTo>
                  <a:lnTo>
                    <a:pt x="67" y="25"/>
                  </a:lnTo>
                  <a:lnTo>
                    <a:pt x="57" y="28"/>
                  </a:lnTo>
                  <a:lnTo>
                    <a:pt x="55" y="30"/>
                  </a:lnTo>
                  <a:lnTo>
                    <a:pt x="52" y="35"/>
                  </a:lnTo>
                  <a:lnTo>
                    <a:pt x="48" y="33"/>
                  </a:lnTo>
                  <a:lnTo>
                    <a:pt x="45" y="25"/>
                  </a:lnTo>
                  <a:lnTo>
                    <a:pt x="41" y="23"/>
                  </a:lnTo>
                  <a:lnTo>
                    <a:pt x="43" y="21"/>
                  </a:lnTo>
                  <a:lnTo>
                    <a:pt x="43" y="16"/>
                  </a:lnTo>
                  <a:lnTo>
                    <a:pt x="48" y="16"/>
                  </a:lnTo>
                  <a:lnTo>
                    <a:pt x="48" y="14"/>
                  </a:lnTo>
                  <a:lnTo>
                    <a:pt x="50" y="9"/>
                  </a:lnTo>
                  <a:lnTo>
                    <a:pt x="50" y="7"/>
                  </a:lnTo>
                  <a:lnTo>
                    <a:pt x="50" y="2"/>
                  </a:lnTo>
                  <a:lnTo>
                    <a:pt x="48" y="0"/>
                  </a:lnTo>
                  <a:lnTo>
                    <a:pt x="48" y="2"/>
                  </a:lnTo>
                  <a:lnTo>
                    <a:pt x="43" y="2"/>
                  </a:lnTo>
                  <a:lnTo>
                    <a:pt x="43" y="2"/>
                  </a:lnTo>
                  <a:lnTo>
                    <a:pt x="38" y="4"/>
                  </a:lnTo>
                  <a:lnTo>
                    <a:pt x="36" y="7"/>
                  </a:lnTo>
                  <a:lnTo>
                    <a:pt x="36" y="7"/>
                  </a:lnTo>
                  <a:lnTo>
                    <a:pt x="33" y="9"/>
                  </a:lnTo>
                  <a:lnTo>
                    <a:pt x="36" y="11"/>
                  </a:lnTo>
                  <a:lnTo>
                    <a:pt x="33" y="11"/>
                  </a:lnTo>
                  <a:lnTo>
                    <a:pt x="31" y="14"/>
                  </a:lnTo>
                  <a:lnTo>
                    <a:pt x="29" y="18"/>
                  </a:lnTo>
                  <a:lnTo>
                    <a:pt x="29" y="18"/>
                  </a:lnTo>
                  <a:lnTo>
                    <a:pt x="31" y="18"/>
                  </a:lnTo>
                  <a:lnTo>
                    <a:pt x="33" y="21"/>
                  </a:lnTo>
                  <a:lnTo>
                    <a:pt x="36" y="18"/>
                  </a:lnTo>
                  <a:lnTo>
                    <a:pt x="38" y="18"/>
                  </a:lnTo>
                  <a:lnTo>
                    <a:pt x="38" y="21"/>
                  </a:lnTo>
                  <a:lnTo>
                    <a:pt x="38" y="23"/>
                  </a:lnTo>
                  <a:lnTo>
                    <a:pt x="31" y="28"/>
                  </a:lnTo>
                  <a:lnTo>
                    <a:pt x="31" y="28"/>
                  </a:lnTo>
                  <a:lnTo>
                    <a:pt x="31" y="30"/>
                  </a:lnTo>
                  <a:lnTo>
                    <a:pt x="26" y="30"/>
                  </a:lnTo>
                  <a:lnTo>
                    <a:pt x="22" y="30"/>
                  </a:lnTo>
                  <a:lnTo>
                    <a:pt x="19" y="30"/>
                  </a:lnTo>
                  <a:lnTo>
                    <a:pt x="12" y="28"/>
                  </a:lnTo>
                  <a:lnTo>
                    <a:pt x="10" y="30"/>
                  </a:lnTo>
                  <a:lnTo>
                    <a:pt x="7" y="33"/>
                  </a:lnTo>
                  <a:lnTo>
                    <a:pt x="10" y="40"/>
                  </a:lnTo>
                  <a:lnTo>
                    <a:pt x="7" y="37"/>
                  </a:lnTo>
                  <a:lnTo>
                    <a:pt x="5" y="40"/>
                  </a:lnTo>
                  <a:lnTo>
                    <a:pt x="7" y="42"/>
                  </a:lnTo>
                  <a:lnTo>
                    <a:pt x="15" y="42"/>
                  </a:lnTo>
                  <a:lnTo>
                    <a:pt x="15" y="44"/>
                  </a:lnTo>
                  <a:lnTo>
                    <a:pt x="10" y="47"/>
                  </a:lnTo>
                  <a:lnTo>
                    <a:pt x="7" y="49"/>
                  </a:lnTo>
                  <a:lnTo>
                    <a:pt x="5" y="51"/>
                  </a:lnTo>
                  <a:lnTo>
                    <a:pt x="5" y="54"/>
                  </a:lnTo>
                  <a:lnTo>
                    <a:pt x="7" y="56"/>
                  </a:lnTo>
                  <a:lnTo>
                    <a:pt x="10" y="56"/>
                  </a:lnTo>
                  <a:lnTo>
                    <a:pt x="10" y="59"/>
                  </a:lnTo>
                  <a:lnTo>
                    <a:pt x="12" y="56"/>
                  </a:lnTo>
                  <a:lnTo>
                    <a:pt x="15" y="59"/>
                  </a:lnTo>
                  <a:lnTo>
                    <a:pt x="24" y="61"/>
                  </a:lnTo>
                  <a:lnTo>
                    <a:pt x="26" y="61"/>
                  </a:lnTo>
                  <a:lnTo>
                    <a:pt x="24" y="63"/>
                  </a:lnTo>
                  <a:lnTo>
                    <a:pt x="19" y="66"/>
                  </a:lnTo>
                  <a:lnTo>
                    <a:pt x="17" y="68"/>
                  </a:lnTo>
                  <a:lnTo>
                    <a:pt x="17" y="73"/>
                  </a:lnTo>
                  <a:lnTo>
                    <a:pt x="15" y="75"/>
                  </a:lnTo>
                  <a:lnTo>
                    <a:pt x="10" y="80"/>
                  </a:lnTo>
                  <a:lnTo>
                    <a:pt x="22" y="77"/>
                  </a:lnTo>
                  <a:lnTo>
                    <a:pt x="26" y="73"/>
                  </a:lnTo>
                  <a:lnTo>
                    <a:pt x="26" y="75"/>
                  </a:lnTo>
                  <a:lnTo>
                    <a:pt x="29" y="77"/>
                  </a:lnTo>
                  <a:lnTo>
                    <a:pt x="29" y="77"/>
                  </a:lnTo>
                  <a:lnTo>
                    <a:pt x="19" y="80"/>
                  </a:lnTo>
                  <a:lnTo>
                    <a:pt x="15" y="80"/>
                  </a:lnTo>
                  <a:lnTo>
                    <a:pt x="10" y="85"/>
                  </a:lnTo>
                  <a:lnTo>
                    <a:pt x="10" y="87"/>
                  </a:lnTo>
                  <a:lnTo>
                    <a:pt x="10" y="89"/>
                  </a:lnTo>
                  <a:lnTo>
                    <a:pt x="7" y="89"/>
                  </a:lnTo>
                  <a:lnTo>
                    <a:pt x="5" y="89"/>
                  </a:lnTo>
                  <a:lnTo>
                    <a:pt x="3" y="89"/>
                  </a:lnTo>
                  <a:lnTo>
                    <a:pt x="0" y="89"/>
                  </a:lnTo>
                  <a:lnTo>
                    <a:pt x="0" y="94"/>
                  </a:lnTo>
                  <a:lnTo>
                    <a:pt x="7" y="92"/>
                  </a:lnTo>
                  <a:lnTo>
                    <a:pt x="10" y="94"/>
                  </a:lnTo>
                  <a:lnTo>
                    <a:pt x="5" y="96"/>
                  </a:lnTo>
                  <a:lnTo>
                    <a:pt x="3" y="99"/>
                  </a:lnTo>
                  <a:lnTo>
                    <a:pt x="3" y="101"/>
                  </a:lnTo>
                  <a:lnTo>
                    <a:pt x="3" y="101"/>
                  </a:lnTo>
                  <a:lnTo>
                    <a:pt x="5" y="101"/>
                  </a:lnTo>
                  <a:lnTo>
                    <a:pt x="5" y="101"/>
                  </a:lnTo>
                  <a:lnTo>
                    <a:pt x="12" y="99"/>
                  </a:lnTo>
                  <a:lnTo>
                    <a:pt x="12" y="101"/>
                  </a:lnTo>
                  <a:lnTo>
                    <a:pt x="10" y="103"/>
                  </a:lnTo>
                  <a:lnTo>
                    <a:pt x="5" y="106"/>
                  </a:lnTo>
                  <a:lnTo>
                    <a:pt x="7" y="106"/>
                  </a:lnTo>
                  <a:lnTo>
                    <a:pt x="15" y="103"/>
                  </a:lnTo>
                  <a:lnTo>
                    <a:pt x="15" y="106"/>
                  </a:lnTo>
                  <a:lnTo>
                    <a:pt x="15" y="106"/>
                  </a:lnTo>
                  <a:lnTo>
                    <a:pt x="12" y="106"/>
                  </a:lnTo>
                  <a:lnTo>
                    <a:pt x="10" y="108"/>
                  </a:lnTo>
                  <a:lnTo>
                    <a:pt x="12" y="108"/>
                  </a:lnTo>
                  <a:lnTo>
                    <a:pt x="12" y="111"/>
                  </a:lnTo>
                  <a:lnTo>
                    <a:pt x="15" y="108"/>
                  </a:lnTo>
                  <a:lnTo>
                    <a:pt x="17" y="108"/>
                  </a:lnTo>
                  <a:lnTo>
                    <a:pt x="17" y="108"/>
                  </a:lnTo>
                  <a:lnTo>
                    <a:pt x="19" y="111"/>
                  </a:lnTo>
                  <a:lnTo>
                    <a:pt x="22" y="108"/>
                  </a:lnTo>
                  <a:lnTo>
                    <a:pt x="24" y="108"/>
                  </a:lnTo>
                  <a:lnTo>
                    <a:pt x="33" y="106"/>
                  </a:lnTo>
                  <a:lnTo>
                    <a:pt x="36" y="103"/>
                  </a:lnTo>
                  <a:lnTo>
                    <a:pt x="36" y="101"/>
                  </a:lnTo>
                  <a:lnTo>
                    <a:pt x="36" y="99"/>
                  </a:lnTo>
                  <a:lnTo>
                    <a:pt x="36" y="99"/>
                  </a:lnTo>
                  <a:lnTo>
                    <a:pt x="36" y="101"/>
                  </a:lnTo>
                  <a:lnTo>
                    <a:pt x="38" y="101"/>
                  </a:lnTo>
                  <a:lnTo>
                    <a:pt x="43" y="99"/>
                  </a:lnTo>
                  <a:lnTo>
                    <a:pt x="43" y="96"/>
                  </a:lnTo>
                  <a:lnTo>
                    <a:pt x="45" y="99"/>
                  </a:lnTo>
                  <a:lnTo>
                    <a:pt x="48" y="96"/>
                  </a:lnTo>
                  <a:lnTo>
                    <a:pt x="48" y="94"/>
                  </a:lnTo>
                  <a:lnTo>
                    <a:pt x="50" y="94"/>
                  </a:lnTo>
                  <a:lnTo>
                    <a:pt x="57" y="92"/>
                  </a:lnTo>
                  <a:lnTo>
                    <a:pt x="59" y="89"/>
                  </a:lnTo>
                  <a:lnTo>
                    <a:pt x="64" y="89"/>
                  </a:lnTo>
                  <a:lnTo>
                    <a:pt x="67" y="92"/>
                  </a:lnTo>
                  <a:lnTo>
                    <a:pt x="69" y="92"/>
                  </a:lnTo>
                  <a:lnTo>
                    <a:pt x="69" y="89"/>
                  </a:lnTo>
                  <a:lnTo>
                    <a:pt x="69" y="87"/>
                  </a:lnTo>
                  <a:lnTo>
                    <a:pt x="71" y="80"/>
                  </a:lnTo>
                  <a:lnTo>
                    <a:pt x="71" y="75"/>
                  </a:lnTo>
                  <a:lnTo>
                    <a:pt x="74" y="73"/>
                  </a:lnTo>
                  <a:lnTo>
                    <a:pt x="74" y="70"/>
                  </a:lnTo>
                  <a:lnTo>
                    <a:pt x="74" y="63"/>
                  </a:lnTo>
                  <a:lnTo>
                    <a:pt x="74" y="56"/>
                  </a:lnTo>
                  <a:lnTo>
                    <a:pt x="74" y="56"/>
                  </a:lnTo>
                  <a:lnTo>
                    <a:pt x="74" y="51"/>
                  </a:lnTo>
                  <a:lnTo>
                    <a:pt x="71" y="42"/>
                  </a:lnTo>
                  <a:lnTo>
                    <a:pt x="71" y="40"/>
                  </a:lnTo>
                  <a:lnTo>
                    <a:pt x="71" y="37"/>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4" name="Freeform 586">
              <a:extLst>
                <a:ext uri="{FF2B5EF4-FFF2-40B4-BE49-F238E27FC236}">
                  <a16:creationId xmlns:a16="http://schemas.microsoft.com/office/drawing/2014/main" id="{0FDE47C1-CFC0-4FAB-B11D-2A615BC04A7F}"/>
                </a:ext>
              </a:extLst>
            </p:cNvPr>
            <p:cNvSpPr>
              <a:spLocks/>
            </p:cNvSpPr>
            <p:nvPr/>
          </p:nvSpPr>
          <p:spPr bwMode="auto">
            <a:xfrm>
              <a:off x="993030" y="2697128"/>
              <a:ext cx="117475" cy="176214"/>
            </a:xfrm>
            <a:custGeom>
              <a:avLst/>
              <a:gdLst>
                <a:gd name="T0" fmla="*/ 71 w 74"/>
                <a:gd name="T1" fmla="*/ 30 h 111"/>
                <a:gd name="T2" fmla="*/ 57 w 74"/>
                <a:gd name="T3" fmla="*/ 28 h 111"/>
                <a:gd name="T4" fmla="*/ 48 w 74"/>
                <a:gd name="T5" fmla="*/ 33 h 111"/>
                <a:gd name="T6" fmla="*/ 43 w 74"/>
                <a:gd name="T7" fmla="*/ 21 h 111"/>
                <a:gd name="T8" fmla="*/ 48 w 74"/>
                <a:gd name="T9" fmla="*/ 14 h 111"/>
                <a:gd name="T10" fmla="*/ 50 w 74"/>
                <a:gd name="T11" fmla="*/ 2 h 111"/>
                <a:gd name="T12" fmla="*/ 43 w 74"/>
                <a:gd name="T13" fmla="*/ 2 h 111"/>
                <a:gd name="T14" fmla="*/ 36 w 74"/>
                <a:gd name="T15" fmla="*/ 7 h 111"/>
                <a:gd name="T16" fmla="*/ 36 w 74"/>
                <a:gd name="T17" fmla="*/ 11 h 111"/>
                <a:gd name="T18" fmla="*/ 29 w 74"/>
                <a:gd name="T19" fmla="*/ 18 h 111"/>
                <a:gd name="T20" fmla="*/ 33 w 74"/>
                <a:gd name="T21" fmla="*/ 21 h 111"/>
                <a:gd name="T22" fmla="*/ 38 w 74"/>
                <a:gd name="T23" fmla="*/ 21 h 111"/>
                <a:gd name="T24" fmla="*/ 31 w 74"/>
                <a:gd name="T25" fmla="*/ 28 h 111"/>
                <a:gd name="T26" fmla="*/ 22 w 74"/>
                <a:gd name="T27" fmla="*/ 30 h 111"/>
                <a:gd name="T28" fmla="*/ 10 w 74"/>
                <a:gd name="T29" fmla="*/ 30 h 111"/>
                <a:gd name="T30" fmla="*/ 7 w 74"/>
                <a:gd name="T31" fmla="*/ 37 h 111"/>
                <a:gd name="T32" fmla="*/ 15 w 74"/>
                <a:gd name="T33" fmla="*/ 42 h 111"/>
                <a:gd name="T34" fmla="*/ 7 w 74"/>
                <a:gd name="T35" fmla="*/ 49 h 111"/>
                <a:gd name="T36" fmla="*/ 7 w 74"/>
                <a:gd name="T37" fmla="*/ 56 h 111"/>
                <a:gd name="T38" fmla="*/ 12 w 74"/>
                <a:gd name="T39" fmla="*/ 56 h 111"/>
                <a:gd name="T40" fmla="*/ 26 w 74"/>
                <a:gd name="T41" fmla="*/ 61 h 111"/>
                <a:gd name="T42" fmla="*/ 17 w 74"/>
                <a:gd name="T43" fmla="*/ 68 h 111"/>
                <a:gd name="T44" fmla="*/ 10 w 74"/>
                <a:gd name="T45" fmla="*/ 80 h 111"/>
                <a:gd name="T46" fmla="*/ 26 w 74"/>
                <a:gd name="T47" fmla="*/ 75 h 111"/>
                <a:gd name="T48" fmla="*/ 19 w 74"/>
                <a:gd name="T49" fmla="*/ 80 h 111"/>
                <a:gd name="T50" fmla="*/ 10 w 74"/>
                <a:gd name="T51" fmla="*/ 87 h 111"/>
                <a:gd name="T52" fmla="*/ 5 w 74"/>
                <a:gd name="T53" fmla="*/ 89 h 111"/>
                <a:gd name="T54" fmla="*/ 0 w 74"/>
                <a:gd name="T55" fmla="*/ 94 h 111"/>
                <a:gd name="T56" fmla="*/ 5 w 74"/>
                <a:gd name="T57" fmla="*/ 96 h 111"/>
                <a:gd name="T58" fmla="*/ 3 w 74"/>
                <a:gd name="T59" fmla="*/ 101 h 111"/>
                <a:gd name="T60" fmla="*/ 12 w 74"/>
                <a:gd name="T61" fmla="*/ 99 h 111"/>
                <a:gd name="T62" fmla="*/ 5 w 74"/>
                <a:gd name="T63" fmla="*/ 106 h 111"/>
                <a:gd name="T64" fmla="*/ 15 w 74"/>
                <a:gd name="T65" fmla="*/ 106 h 111"/>
                <a:gd name="T66" fmla="*/ 10 w 74"/>
                <a:gd name="T67" fmla="*/ 108 h 111"/>
                <a:gd name="T68" fmla="*/ 15 w 74"/>
                <a:gd name="T69" fmla="*/ 108 h 111"/>
                <a:gd name="T70" fmla="*/ 19 w 74"/>
                <a:gd name="T71" fmla="*/ 111 h 111"/>
                <a:gd name="T72" fmla="*/ 33 w 74"/>
                <a:gd name="T73" fmla="*/ 106 h 111"/>
                <a:gd name="T74" fmla="*/ 36 w 74"/>
                <a:gd name="T75" fmla="*/ 99 h 111"/>
                <a:gd name="T76" fmla="*/ 38 w 74"/>
                <a:gd name="T77" fmla="*/ 101 h 111"/>
                <a:gd name="T78" fmla="*/ 45 w 74"/>
                <a:gd name="T79" fmla="*/ 99 h 111"/>
                <a:gd name="T80" fmla="*/ 50 w 74"/>
                <a:gd name="T81" fmla="*/ 94 h 111"/>
                <a:gd name="T82" fmla="*/ 64 w 74"/>
                <a:gd name="T83" fmla="*/ 89 h 111"/>
                <a:gd name="T84" fmla="*/ 69 w 74"/>
                <a:gd name="T85" fmla="*/ 89 h 111"/>
                <a:gd name="T86" fmla="*/ 71 w 74"/>
                <a:gd name="T87" fmla="*/ 75 h 111"/>
                <a:gd name="T88" fmla="*/ 74 w 74"/>
                <a:gd name="T89" fmla="*/ 63 h 111"/>
                <a:gd name="T90" fmla="*/ 74 w 74"/>
                <a:gd name="T91" fmla="*/ 51 h 111"/>
                <a:gd name="T92" fmla="*/ 71 w 74"/>
                <a:gd name="T93" fmla="*/ 3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4" h="111">
                  <a:moveTo>
                    <a:pt x="71" y="37"/>
                  </a:moveTo>
                  <a:lnTo>
                    <a:pt x="71" y="35"/>
                  </a:lnTo>
                  <a:lnTo>
                    <a:pt x="71" y="30"/>
                  </a:lnTo>
                  <a:lnTo>
                    <a:pt x="71" y="30"/>
                  </a:lnTo>
                  <a:lnTo>
                    <a:pt x="67" y="25"/>
                  </a:lnTo>
                  <a:lnTo>
                    <a:pt x="57" y="28"/>
                  </a:lnTo>
                  <a:lnTo>
                    <a:pt x="55" y="30"/>
                  </a:lnTo>
                  <a:lnTo>
                    <a:pt x="52" y="35"/>
                  </a:lnTo>
                  <a:lnTo>
                    <a:pt x="48" y="33"/>
                  </a:lnTo>
                  <a:lnTo>
                    <a:pt x="45" y="25"/>
                  </a:lnTo>
                  <a:lnTo>
                    <a:pt x="41" y="23"/>
                  </a:lnTo>
                  <a:lnTo>
                    <a:pt x="43" y="21"/>
                  </a:lnTo>
                  <a:lnTo>
                    <a:pt x="43" y="16"/>
                  </a:lnTo>
                  <a:lnTo>
                    <a:pt x="48" y="16"/>
                  </a:lnTo>
                  <a:lnTo>
                    <a:pt x="48" y="14"/>
                  </a:lnTo>
                  <a:lnTo>
                    <a:pt x="50" y="9"/>
                  </a:lnTo>
                  <a:lnTo>
                    <a:pt x="50" y="7"/>
                  </a:lnTo>
                  <a:lnTo>
                    <a:pt x="50" y="2"/>
                  </a:lnTo>
                  <a:lnTo>
                    <a:pt x="48" y="0"/>
                  </a:lnTo>
                  <a:lnTo>
                    <a:pt x="48" y="2"/>
                  </a:lnTo>
                  <a:lnTo>
                    <a:pt x="43" y="2"/>
                  </a:lnTo>
                  <a:lnTo>
                    <a:pt x="43" y="2"/>
                  </a:lnTo>
                  <a:lnTo>
                    <a:pt x="38" y="4"/>
                  </a:lnTo>
                  <a:lnTo>
                    <a:pt x="36" y="7"/>
                  </a:lnTo>
                  <a:lnTo>
                    <a:pt x="36" y="7"/>
                  </a:lnTo>
                  <a:lnTo>
                    <a:pt x="33" y="9"/>
                  </a:lnTo>
                  <a:lnTo>
                    <a:pt x="36" y="11"/>
                  </a:lnTo>
                  <a:lnTo>
                    <a:pt x="33" y="11"/>
                  </a:lnTo>
                  <a:lnTo>
                    <a:pt x="31" y="14"/>
                  </a:lnTo>
                  <a:lnTo>
                    <a:pt x="29" y="18"/>
                  </a:lnTo>
                  <a:lnTo>
                    <a:pt x="29" y="18"/>
                  </a:lnTo>
                  <a:lnTo>
                    <a:pt x="31" y="18"/>
                  </a:lnTo>
                  <a:lnTo>
                    <a:pt x="33" y="21"/>
                  </a:lnTo>
                  <a:lnTo>
                    <a:pt x="36" y="18"/>
                  </a:lnTo>
                  <a:lnTo>
                    <a:pt x="38" y="18"/>
                  </a:lnTo>
                  <a:lnTo>
                    <a:pt x="38" y="21"/>
                  </a:lnTo>
                  <a:lnTo>
                    <a:pt x="38" y="23"/>
                  </a:lnTo>
                  <a:lnTo>
                    <a:pt x="31" y="28"/>
                  </a:lnTo>
                  <a:lnTo>
                    <a:pt x="31" y="28"/>
                  </a:lnTo>
                  <a:lnTo>
                    <a:pt x="31" y="30"/>
                  </a:lnTo>
                  <a:lnTo>
                    <a:pt x="26" y="30"/>
                  </a:lnTo>
                  <a:lnTo>
                    <a:pt x="22" y="30"/>
                  </a:lnTo>
                  <a:lnTo>
                    <a:pt x="19" y="30"/>
                  </a:lnTo>
                  <a:lnTo>
                    <a:pt x="12" y="28"/>
                  </a:lnTo>
                  <a:lnTo>
                    <a:pt x="10" y="30"/>
                  </a:lnTo>
                  <a:lnTo>
                    <a:pt x="7" y="33"/>
                  </a:lnTo>
                  <a:lnTo>
                    <a:pt x="10" y="40"/>
                  </a:lnTo>
                  <a:lnTo>
                    <a:pt x="7" y="37"/>
                  </a:lnTo>
                  <a:lnTo>
                    <a:pt x="5" y="40"/>
                  </a:lnTo>
                  <a:lnTo>
                    <a:pt x="7" y="42"/>
                  </a:lnTo>
                  <a:lnTo>
                    <a:pt x="15" y="42"/>
                  </a:lnTo>
                  <a:lnTo>
                    <a:pt x="15" y="44"/>
                  </a:lnTo>
                  <a:lnTo>
                    <a:pt x="10" y="47"/>
                  </a:lnTo>
                  <a:lnTo>
                    <a:pt x="7" y="49"/>
                  </a:lnTo>
                  <a:lnTo>
                    <a:pt x="5" y="51"/>
                  </a:lnTo>
                  <a:lnTo>
                    <a:pt x="5" y="54"/>
                  </a:lnTo>
                  <a:lnTo>
                    <a:pt x="7" y="56"/>
                  </a:lnTo>
                  <a:lnTo>
                    <a:pt x="10" y="56"/>
                  </a:lnTo>
                  <a:lnTo>
                    <a:pt x="10" y="59"/>
                  </a:lnTo>
                  <a:lnTo>
                    <a:pt x="12" y="56"/>
                  </a:lnTo>
                  <a:lnTo>
                    <a:pt x="15" y="59"/>
                  </a:lnTo>
                  <a:lnTo>
                    <a:pt x="24" y="61"/>
                  </a:lnTo>
                  <a:lnTo>
                    <a:pt x="26" y="61"/>
                  </a:lnTo>
                  <a:lnTo>
                    <a:pt x="24" y="63"/>
                  </a:lnTo>
                  <a:lnTo>
                    <a:pt x="19" y="66"/>
                  </a:lnTo>
                  <a:lnTo>
                    <a:pt x="17" y="68"/>
                  </a:lnTo>
                  <a:lnTo>
                    <a:pt x="17" y="73"/>
                  </a:lnTo>
                  <a:lnTo>
                    <a:pt x="15" y="75"/>
                  </a:lnTo>
                  <a:lnTo>
                    <a:pt x="10" y="80"/>
                  </a:lnTo>
                  <a:lnTo>
                    <a:pt x="22" y="77"/>
                  </a:lnTo>
                  <a:lnTo>
                    <a:pt x="26" y="73"/>
                  </a:lnTo>
                  <a:lnTo>
                    <a:pt x="26" y="75"/>
                  </a:lnTo>
                  <a:lnTo>
                    <a:pt x="29" y="77"/>
                  </a:lnTo>
                  <a:lnTo>
                    <a:pt x="29" y="77"/>
                  </a:lnTo>
                  <a:lnTo>
                    <a:pt x="19" y="80"/>
                  </a:lnTo>
                  <a:lnTo>
                    <a:pt x="15" y="80"/>
                  </a:lnTo>
                  <a:lnTo>
                    <a:pt x="10" y="85"/>
                  </a:lnTo>
                  <a:lnTo>
                    <a:pt x="10" y="87"/>
                  </a:lnTo>
                  <a:lnTo>
                    <a:pt x="10" y="89"/>
                  </a:lnTo>
                  <a:lnTo>
                    <a:pt x="7" y="89"/>
                  </a:lnTo>
                  <a:lnTo>
                    <a:pt x="5" y="89"/>
                  </a:lnTo>
                  <a:lnTo>
                    <a:pt x="3" y="89"/>
                  </a:lnTo>
                  <a:lnTo>
                    <a:pt x="0" y="89"/>
                  </a:lnTo>
                  <a:lnTo>
                    <a:pt x="0" y="94"/>
                  </a:lnTo>
                  <a:lnTo>
                    <a:pt x="7" y="92"/>
                  </a:lnTo>
                  <a:lnTo>
                    <a:pt x="10" y="94"/>
                  </a:lnTo>
                  <a:lnTo>
                    <a:pt x="5" y="96"/>
                  </a:lnTo>
                  <a:lnTo>
                    <a:pt x="3" y="99"/>
                  </a:lnTo>
                  <a:lnTo>
                    <a:pt x="3" y="101"/>
                  </a:lnTo>
                  <a:lnTo>
                    <a:pt x="3" y="101"/>
                  </a:lnTo>
                  <a:lnTo>
                    <a:pt x="5" y="101"/>
                  </a:lnTo>
                  <a:lnTo>
                    <a:pt x="5" y="101"/>
                  </a:lnTo>
                  <a:lnTo>
                    <a:pt x="12" y="99"/>
                  </a:lnTo>
                  <a:lnTo>
                    <a:pt x="12" y="101"/>
                  </a:lnTo>
                  <a:lnTo>
                    <a:pt x="10" y="103"/>
                  </a:lnTo>
                  <a:lnTo>
                    <a:pt x="5" y="106"/>
                  </a:lnTo>
                  <a:lnTo>
                    <a:pt x="7" y="106"/>
                  </a:lnTo>
                  <a:lnTo>
                    <a:pt x="15" y="103"/>
                  </a:lnTo>
                  <a:lnTo>
                    <a:pt x="15" y="106"/>
                  </a:lnTo>
                  <a:lnTo>
                    <a:pt x="15" y="106"/>
                  </a:lnTo>
                  <a:lnTo>
                    <a:pt x="12" y="106"/>
                  </a:lnTo>
                  <a:lnTo>
                    <a:pt x="10" y="108"/>
                  </a:lnTo>
                  <a:lnTo>
                    <a:pt x="12" y="108"/>
                  </a:lnTo>
                  <a:lnTo>
                    <a:pt x="12" y="111"/>
                  </a:lnTo>
                  <a:lnTo>
                    <a:pt x="15" y="108"/>
                  </a:lnTo>
                  <a:lnTo>
                    <a:pt x="17" y="108"/>
                  </a:lnTo>
                  <a:lnTo>
                    <a:pt x="17" y="108"/>
                  </a:lnTo>
                  <a:lnTo>
                    <a:pt x="19" y="111"/>
                  </a:lnTo>
                  <a:lnTo>
                    <a:pt x="22" y="108"/>
                  </a:lnTo>
                  <a:lnTo>
                    <a:pt x="24" y="108"/>
                  </a:lnTo>
                  <a:lnTo>
                    <a:pt x="33" y="106"/>
                  </a:lnTo>
                  <a:lnTo>
                    <a:pt x="36" y="103"/>
                  </a:lnTo>
                  <a:lnTo>
                    <a:pt x="36" y="101"/>
                  </a:lnTo>
                  <a:lnTo>
                    <a:pt x="36" y="99"/>
                  </a:lnTo>
                  <a:lnTo>
                    <a:pt x="36" y="99"/>
                  </a:lnTo>
                  <a:lnTo>
                    <a:pt x="36" y="101"/>
                  </a:lnTo>
                  <a:lnTo>
                    <a:pt x="38" y="101"/>
                  </a:lnTo>
                  <a:lnTo>
                    <a:pt x="43" y="99"/>
                  </a:lnTo>
                  <a:lnTo>
                    <a:pt x="43" y="96"/>
                  </a:lnTo>
                  <a:lnTo>
                    <a:pt x="45" y="99"/>
                  </a:lnTo>
                  <a:lnTo>
                    <a:pt x="48" y="96"/>
                  </a:lnTo>
                  <a:lnTo>
                    <a:pt x="48" y="94"/>
                  </a:lnTo>
                  <a:lnTo>
                    <a:pt x="50" y="94"/>
                  </a:lnTo>
                  <a:lnTo>
                    <a:pt x="57" y="92"/>
                  </a:lnTo>
                  <a:lnTo>
                    <a:pt x="59" y="89"/>
                  </a:lnTo>
                  <a:lnTo>
                    <a:pt x="64" y="89"/>
                  </a:lnTo>
                  <a:lnTo>
                    <a:pt x="67" y="92"/>
                  </a:lnTo>
                  <a:lnTo>
                    <a:pt x="69" y="92"/>
                  </a:lnTo>
                  <a:lnTo>
                    <a:pt x="69" y="89"/>
                  </a:lnTo>
                  <a:lnTo>
                    <a:pt x="69" y="87"/>
                  </a:lnTo>
                  <a:lnTo>
                    <a:pt x="71" y="80"/>
                  </a:lnTo>
                  <a:lnTo>
                    <a:pt x="71" y="75"/>
                  </a:lnTo>
                  <a:lnTo>
                    <a:pt x="74" y="73"/>
                  </a:lnTo>
                  <a:lnTo>
                    <a:pt x="74" y="70"/>
                  </a:lnTo>
                  <a:lnTo>
                    <a:pt x="74" y="63"/>
                  </a:lnTo>
                  <a:lnTo>
                    <a:pt x="74" y="56"/>
                  </a:lnTo>
                  <a:lnTo>
                    <a:pt x="74" y="56"/>
                  </a:lnTo>
                  <a:lnTo>
                    <a:pt x="74" y="51"/>
                  </a:lnTo>
                  <a:lnTo>
                    <a:pt x="71" y="42"/>
                  </a:lnTo>
                  <a:lnTo>
                    <a:pt x="71" y="40"/>
                  </a:lnTo>
                  <a:lnTo>
                    <a:pt x="71" y="37"/>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5" name="Freeform 587">
              <a:extLst>
                <a:ext uri="{FF2B5EF4-FFF2-40B4-BE49-F238E27FC236}">
                  <a16:creationId xmlns:a16="http://schemas.microsoft.com/office/drawing/2014/main" id="{4E62455C-69BA-4987-AB09-1A2220F49815}"/>
                </a:ext>
              </a:extLst>
            </p:cNvPr>
            <p:cNvSpPr>
              <a:spLocks/>
            </p:cNvSpPr>
            <p:nvPr/>
          </p:nvSpPr>
          <p:spPr bwMode="auto">
            <a:xfrm>
              <a:off x="1581992" y="1860514"/>
              <a:ext cx="360362" cy="828676"/>
            </a:xfrm>
            <a:custGeom>
              <a:avLst/>
              <a:gdLst>
                <a:gd name="T0" fmla="*/ 5 w 227"/>
                <a:gd name="T1" fmla="*/ 427 h 522"/>
                <a:gd name="T2" fmla="*/ 10 w 227"/>
                <a:gd name="T3" fmla="*/ 430 h 522"/>
                <a:gd name="T4" fmla="*/ 14 w 227"/>
                <a:gd name="T5" fmla="*/ 444 h 522"/>
                <a:gd name="T6" fmla="*/ 19 w 227"/>
                <a:gd name="T7" fmla="*/ 467 h 522"/>
                <a:gd name="T8" fmla="*/ 29 w 227"/>
                <a:gd name="T9" fmla="*/ 489 h 522"/>
                <a:gd name="T10" fmla="*/ 29 w 227"/>
                <a:gd name="T11" fmla="*/ 508 h 522"/>
                <a:gd name="T12" fmla="*/ 33 w 227"/>
                <a:gd name="T13" fmla="*/ 522 h 522"/>
                <a:gd name="T14" fmla="*/ 55 w 227"/>
                <a:gd name="T15" fmla="*/ 510 h 522"/>
                <a:gd name="T16" fmla="*/ 73 w 227"/>
                <a:gd name="T17" fmla="*/ 498 h 522"/>
                <a:gd name="T18" fmla="*/ 92 w 227"/>
                <a:gd name="T19" fmla="*/ 472 h 522"/>
                <a:gd name="T20" fmla="*/ 97 w 227"/>
                <a:gd name="T21" fmla="*/ 449 h 522"/>
                <a:gd name="T22" fmla="*/ 97 w 227"/>
                <a:gd name="T23" fmla="*/ 439 h 522"/>
                <a:gd name="T24" fmla="*/ 92 w 227"/>
                <a:gd name="T25" fmla="*/ 423 h 522"/>
                <a:gd name="T26" fmla="*/ 88 w 227"/>
                <a:gd name="T27" fmla="*/ 418 h 522"/>
                <a:gd name="T28" fmla="*/ 111 w 227"/>
                <a:gd name="T29" fmla="*/ 408 h 522"/>
                <a:gd name="T30" fmla="*/ 123 w 227"/>
                <a:gd name="T31" fmla="*/ 397 h 522"/>
                <a:gd name="T32" fmla="*/ 109 w 227"/>
                <a:gd name="T33" fmla="*/ 397 h 522"/>
                <a:gd name="T34" fmla="*/ 92 w 227"/>
                <a:gd name="T35" fmla="*/ 387 h 522"/>
                <a:gd name="T36" fmla="*/ 109 w 227"/>
                <a:gd name="T37" fmla="*/ 387 h 522"/>
                <a:gd name="T38" fmla="*/ 118 w 227"/>
                <a:gd name="T39" fmla="*/ 392 h 522"/>
                <a:gd name="T40" fmla="*/ 125 w 227"/>
                <a:gd name="T41" fmla="*/ 364 h 522"/>
                <a:gd name="T42" fmla="*/ 114 w 227"/>
                <a:gd name="T43" fmla="*/ 352 h 522"/>
                <a:gd name="T44" fmla="*/ 99 w 227"/>
                <a:gd name="T45" fmla="*/ 366 h 522"/>
                <a:gd name="T46" fmla="*/ 102 w 227"/>
                <a:gd name="T47" fmla="*/ 359 h 522"/>
                <a:gd name="T48" fmla="*/ 107 w 227"/>
                <a:gd name="T49" fmla="*/ 338 h 522"/>
                <a:gd name="T50" fmla="*/ 109 w 227"/>
                <a:gd name="T51" fmla="*/ 312 h 522"/>
                <a:gd name="T52" fmla="*/ 109 w 227"/>
                <a:gd name="T53" fmla="*/ 281 h 522"/>
                <a:gd name="T54" fmla="*/ 118 w 227"/>
                <a:gd name="T55" fmla="*/ 271 h 522"/>
                <a:gd name="T56" fmla="*/ 125 w 227"/>
                <a:gd name="T57" fmla="*/ 269 h 522"/>
                <a:gd name="T58" fmla="*/ 130 w 227"/>
                <a:gd name="T59" fmla="*/ 257 h 522"/>
                <a:gd name="T60" fmla="*/ 144 w 227"/>
                <a:gd name="T61" fmla="*/ 243 h 522"/>
                <a:gd name="T62" fmla="*/ 161 w 227"/>
                <a:gd name="T63" fmla="*/ 234 h 522"/>
                <a:gd name="T64" fmla="*/ 177 w 227"/>
                <a:gd name="T65" fmla="*/ 212 h 522"/>
                <a:gd name="T66" fmla="*/ 182 w 227"/>
                <a:gd name="T67" fmla="*/ 203 h 522"/>
                <a:gd name="T68" fmla="*/ 175 w 227"/>
                <a:gd name="T69" fmla="*/ 189 h 522"/>
                <a:gd name="T70" fmla="*/ 182 w 227"/>
                <a:gd name="T71" fmla="*/ 167 h 522"/>
                <a:gd name="T72" fmla="*/ 189 w 227"/>
                <a:gd name="T73" fmla="*/ 160 h 522"/>
                <a:gd name="T74" fmla="*/ 196 w 227"/>
                <a:gd name="T75" fmla="*/ 158 h 522"/>
                <a:gd name="T76" fmla="*/ 201 w 227"/>
                <a:gd name="T77" fmla="*/ 146 h 522"/>
                <a:gd name="T78" fmla="*/ 210 w 227"/>
                <a:gd name="T79" fmla="*/ 151 h 522"/>
                <a:gd name="T80" fmla="*/ 227 w 227"/>
                <a:gd name="T81" fmla="*/ 144 h 522"/>
                <a:gd name="T82" fmla="*/ 218 w 227"/>
                <a:gd name="T83" fmla="*/ 94 h 522"/>
                <a:gd name="T84" fmla="*/ 218 w 227"/>
                <a:gd name="T85" fmla="*/ 59 h 522"/>
                <a:gd name="T86" fmla="*/ 168 w 227"/>
                <a:gd name="T87" fmla="*/ 2 h 522"/>
                <a:gd name="T88" fmla="*/ 161 w 227"/>
                <a:gd name="T89" fmla="*/ 9 h 522"/>
                <a:gd name="T90" fmla="*/ 156 w 227"/>
                <a:gd name="T91" fmla="*/ 30 h 522"/>
                <a:gd name="T92" fmla="*/ 125 w 227"/>
                <a:gd name="T93" fmla="*/ 40 h 522"/>
                <a:gd name="T94" fmla="*/ 107 w 227"/>
                <a:gd name="T95" fmla="*/ 47 h 522"/>
                <a:gd name="T96" fmla="*/ 90 w 227"/>
                <a:gd name="T97" fmla="*/ 80 h 522"/>
                <a:gd name="T98" fmla="*/ 78 w 227"/>
                <a:gd name="T99" fmla="*/ 118 h 522"/>
                <a:gd name="T100" fmla="*/ 62 w 227"/>
                <a:gd name="T101" fmla="*/ 142 h 522"/>
                <a:gd name="T102" fmla="*/ 52 w 227"/>
                <a:gd name="T103" fmla="*/ 205 h 522"/>
                <a:gd name="T104" fmla="*/ 33 w 227"/>
                <a:gd name="T105" fmla="*/ 222 h 522"/>
                <a:gd name="T106" fmla="*/ 22 w 227"/>
                <a:gd name="T107" fmla="*/ 260 h 522"/>
                <a:gd name="T108" fmla="*/ 19 w 227"/>
                <a:gd name="T109" fmla="*/ 283 h 522"/>
                <a:gd name="T110" fmla="*/ 29 w 227"/>
                <a:gd name="T111" fmla="*/ 330 h 522"/>
                <a:gd name="T112" fmla="*/ 24 w 227"/>
                <a:gd name="T113" fmla="*/ 364 h 522"/>
                <a:gd name="T114" fmla="*/ 10 w 227"/>
                <a:gd name="T115" fmla="*/ 39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522">
                  <a:moveTo>
                    <a:pt x="3" y="404"/>
                  </a:moveTo>
                  <a:lnTo>
                    <a:pt x="0" y="406"/>
                  </a:lnTo>
                  <a:lnTo>
                    <a:pt x="0" y="411"/>
                  </a:lnTo>
                  <a:lnTo>
                    <a:pt x="3" y="423"/>
                  </a:lnTo>
                  <a:lnTo>
                    <a:pt x="3" y="425"/>
                  </a:lnTo>
                  <a:lnTo>
                    <a:pt x="5" y="425"/>
                  </a:lnTo>
                  <a:lnTo>
                    <a:pt x="5" y="427"/>
                  </a:lnTo>
                  <a:lnTo>
                    <a:pt x="5" y="430"/>
                  </a:lnTo>
                  <a:lnTo>
                    <a:pt x="5" y="430"/>
                  </a:lnTo>
                  <a:lnTo>
                    <a:pt x="7" y="427"/>
                  </a:lnTo>
                  <a:lnTo>
                    <a:pt x="7" y="425"/>
                  </a:lnTo>
                  <a:lnTo>
                    <a:pt x="10" y="427"/>
                  </a:lnTo>
                  <a:lnTo>
                    <a:pt x="7" y="430"/>
                  </a:lnTo>
                  <a:lnTo>
                    <a:pt x="10" y="430"/>
                  </a:lnTo>
                  <a:lnTo>
                    <a:pt x="10" y="430"/>
                  </a:lnTo>
                  <a:lnTo>
                    <a:pt x="7" y="432"/>
                  </a:lnTo>
                  <a:lnTo>
                    <a:pt x="5" y="434"/>
                  </a:lnTo>
                  <a:lnTo>
                    <a:pt x="10" y="437"/>
                  </a:lnTo>
                  <a:lnTo>
                    <a:pt x="12" y="439"/>
                  </a:lnTo>
                  <a:lnTo>
                    <a:pt x="10" y="446"/>
                  </a:lnTo>
                  <a:lnTo>
                    <a:pt x="14" y="444"/>
                  </a:lnTo>
                  <a:lnTo>
                    <a:pt x="14" y="449"/>
                  </a:lnTo>
                  <a:lnTo>
                    <a:pt x="12" y="451"/>
                  </a:lnTo>
                  <a:lnTo>
                    <a:pt x="14" y="456"/>
                  </a:lnTo>
                  <a:lnTo>
                    <a:pt x="14" y="460"/>
                  </a:lnTo>
                  <a:lnTo>
                    <a:pt x="17" y="460"/>
                  </a:lnTo>
                  <a:lnTo>
                    <a:pt x="17" y="463"/>
                  </a:lnTo>
                  <a:lnTo>
                    <a:pt x="19" y="467"/>
                  </a:lnTo>
                  <a:lnTo>
                    <a:pt x="22" y="475"/>
                  </a:lnTo>
                  <a:lnTo>
                    <a:pt x="24" y="477"/>
                  </a:lnTo>
                  <a:lnTo>
                    <a:pt x="26" y="479"/>
                  </a:lnTo>
                  <a:lnTo>
                    <a:pt x="29" y="484"/>
                  </a:lnTo>
                  <a:lnTo>
                    <a:pt x="31" y="486"/>
                  </a:lnTo>
                  <a:lnTo>
                    <a:pt x="31" y="489"/>
                  </a:lnTo>
                  <a:lnTo>
                    <a:pt x="29" y="489"/>
                  </a:lnTo>
                  <a:lnTo>
                    <a:pt x="26" y="489"/>
                  </a:lnTo>
                  <a:lnTo>
                    <a:pt x="26" y="491"/>
                  </a:lnTo>
                  <a:lnTo>
                    <a:pt x="29" y="496"/>
                  </a:lnTo>
                  <a:lnTo>
                    <a:pt x="26" y="496"/>
                  </a:lnTo>
                  <a:lnTo>
                    <a:pt x="24" y="493"/>
                  </a:lnTo>
                  <a:lnTo>
                    <a:pt x="24" y="496"/>
                  </a:lnTo>
                  <a:lnTo>
                    <a:pt x="29" y="508"/>
                  </a:lnTo>
                  <a:lnTo>
                    <a:pt x="31" y="510"/>
                  </a:lnTo>
                  <a:lnTo>
                    <a:pt x="33" y="515"/>
                  </a:lnTo>
                  <a:lnTo>
                    <a:pt x="31" y="517"/>
                  </a:lnTo>
                  <a:lnTo>
                    <a:pt x="31" y="519"/>
                  </a:lnTo>
                  <a:lnTo>
                    <a:pt x="31" y="519"/>
                  </a:lnTo>
                  <a:lnTo>
                    <a:pt x="31" y="522"/>
                  </a:lnTo>
                  <a:lnTo>
                    <a:pt x="33" y="522"/>
                  </a:lnTo>
                  <a:lnTo>
                    <a:pt x="38" y="522"/>
                  </a:lnTo>
                  <a:lnTo>
                    <a:pt x="43" y="519"/>
                  </a:lnTo>
                  <a:lnTo>
                    <a:pt x="50" y="519"/>
                  </a:lnTo>
                  <a:lnTo>
                    <a:pt x="52" y="522"/>
                  </a:lnTo>
                  <a:lnTo>
                    <a:pt x="55" y="519"/>
                  </a:lnTo>
                  <a:lnTo>
                    <a:pt x="55" y="517"/>
                  </a:lnTo>
                  <a:lnTo>
                    <a:pt x="55" y="510"/>
                  </a:lnTo>
                  <a:lnTo>
                    <a:pt x="57" y="505"/>
                  </a:lnTo>
                  <a:lnTo>
                    <a:pt x="57" y="501"/>
                  </a:lnTo>
                  <a:lnTo>
                    <a:pt x="62" y="503"/>
                  </a:lnTo>
                  <a:lnTo>
                    <a:pt x="62" y="498"/>
                  </a:lnTo>
                  <a:lnTo>
                    <a:pt x="66" y="496"/>
                  </a:lnTo>
                  <a:lnTo>
                    <a:pt x="71" y="496"/>
                  </a:lnTo>
                  <a:lnTo>
                    <a:pt x="73" y="498"/>
                  </a:lnTo>
                  <a:lnTo>
                    <a:pt x="76" y="498"/>
                  </a:lnTo>
                  <a:lnTo>
                    <a:pt x="81" y="498"/>
                  </a:lnTo>
                  <a:lnTo>
                    <a:pt x="83" y="498"/>
                  </a:lnTo>
                  <a:lnTo>
                    <a:pt x="85" y="491"/>
                  </a:lnTo>
                  <a:lnTo>
                    <a:pt x="88" y="484"/>
                  </a:lnTo>
                  <a:lnTo>
                    <a:pt x="90" y="479"/>
                  </a:lnTo>
                  <a:lnTo>
                    <a:pt x="92" y="472"/>
                  </a:lnTo>
                  <a:lnTo>
                    <a:pt x="92" y="470"/>
                  </a:lnTo>
                  <a:lnTo>
                    <a:pt x="92" y="465"/>
                  </a:lnTo>
                  <a:lnTo>
                    <a:pt x="95" y="460"/>
                  </a:lnTo>
                  <a:lnTo>
                    <a:pt x="95" y="458"/>
                  </a:lnTo>
                  <a:lnTo>
                    <a:pt x="95" y="453"/>
                  </a:lnTo>
                  <a:lnTo>
                    <a:pt x="95" y="451"/>
                  </a:lnTo>
                  <a:lnTo>
                    <a:pt x="97" y="449"/>
                  </a:lnTo>
                  <a:lnTo>
                    <a:pt x="95" y="446"/>
                  </a:lnTo>
                  <a:lnTo>
                    <a:pt x="95" y="444"/>
                  </a:lnTo>
                  <a:lnTo>
                    <a:pt x="92" y="441"/>
                  </a:lnTo>
                  <a:lnTo>
                    <a:pt x="95" y="441"/>
                  </a:lnTo>
                  <a:lnTo>
                    <a:pt x="95" y="441"/>
                  </a:lnTo>
                  <a:lnTo>
                    <a:pt x="97" y="441"/>
                  </a:lnTo>
                  <a:lnTo>
                    <a:pt x="97" y="439"/>
                  </a:lnTo>
                  <a:lnTo>
                    <a:pt x="97" y="437"/>
                  </a:lnTo>
                  <a:lnTo>
                    <a:pt x="97" y="437"/>
                  </a:lnTo>
                  <a:lnTo>
                    <a:pt x="97" y="434"/>
                  </a:lnTo>
                  <a:lnTo>
                    <a:pt x="97" y="430"/>
                  </a:lnTo>
                  <a:lnTo>
                    <a:pt x="97" y="427"/>
                  </a:lnTo>
                  <a:lnTo>
                    <a:pt x="95" y="425"/>
                  </a:lnTo>
                  <a:lnTo>
                    <a:pt x="92" y="423"/>
                  </a:lnTo>
                  <a:lnTo>
                    <a:pt x="92" y="423"/>
                  </a:lnTo>
                  <a:lnTo>
                    <a:pt x="95" y="425"/>
                  </a:lnTo>
                  <a:lnTo>
                    <a:pt x="99" y="423"/>
                  </a:lnTo>
                  <a:lnTo>
                    <a:pt x="99" y="423"/>
                  </a:lnTo>
                  <a:lnTo>
                    <a:pt x="97" y="420"/>
                  </a:lnTo>
                  <a:lnTo>
                    <a:pt x="88" y="418"/>
                  </a:lnTo>
                  <a:lnTo>
                    <a:pt x="88" y="418"/>
                  </a:lnTo>
                  <a:lnTo>
                    <a:pt x="95" y="416"/>
                  </a:lnTo>
                  <a:lnTo>
                    <a:pt x="99" y="418"/>
                  </a:lnTo>
                  <a:lnTo>
                    <a:pt x="102" y="416"/>
                  </a:lnTo>
                  <a:lnTo>
                    <a:pt x="102" y="413"/>
                  </a:lnTo>
                  <a:lnTo>
                    <a:pt x="107" y="413"/>
                  </a:lnTo>
                  <a:lnTo>
                    <a:pt x="111" y="411"/>
                  </a:lnTo>
                  <a:lnTo>
                    <a:pt x="111" y="408"/>
                  </a:lnTo>
                  <a:lnTo>
                    <a:pt x="111" y="404"/>
                  </a:lnTo>
                  <a:lnTo>
                    <a:pt x="114" y="404"/>
                  </a:lnTo>
                  <a:lnTo>
                    <a:pt x="114" y="408"/>
                  </a:lnTo>
                  <a:lnTo>
                    <a:pt x="118" y="408"/>
                  </a:lnTo>
                  <a:lnTo>
                    <a:pt x="121" y="404"/>
                  </a:lnTo>
                  <a:lnTo>
                    <a:pt x="125" y="401"/>
                  </a:lnTo>
                  <a:lnTo>
                    <a:pt x="123" y="397"/>
                  </a:lnTo>
                  <a:lnTo>
                    <a:pt x="125" y="397"/>
                  </a:lnTo>
                  <a:lnTo>
                    <a:pt x="128" y="397"/>
                  </a:lnTo>
                  <a:lnTo>
                    <a:pt x="128" y="397"/>
                  </a:lnTo>
                  <a:lnTo>
                    <a:pt x="130" y="394"/>
                  </a:lnTo>
                  <a:lnTo>
                    <a:pt x="130" y="392"/>
                  </a:lnTo>
                  <a:lnTo>
                    <a:pt x="114" y="397"/>
                  </a:lnTo>
                  <a:lnTo>
                    <a:pt x="109" y="397"/>
                  </a:lnTo>
                  <a:lnTo>
                    <a:pt x="107" y="397"/>
                  </a:lnTo>
                  <a:lnTo>
                    <a:pt x="107" y="394"/>
                  </a:lnTo>
                  <a:lnTo>
                    <a:pt x="104" y="392"/>
                  </a:lnTo>
                  <a:lnTo>
                    <a:pt x="97" y="390"/>
                  </a:lnTo>
                  <a:lnTo>
                    <a:pt x="92" y="390"/>
                  </a:lnTo>
                  <a:lnTo>
                    <a:pt x="90" y="390"/>
                  </a:lnTo>
                  <a:lnTo>
                    <a:pt x="92" y="387"/>
                  </a:lnTo>
                  <a:lnTo>
                    <a:pt x="95" y="387"/>
                  </a:lnTo>
                  <a:lnTo>
                    <a:pt x="97" y="387"/>
                  </a:lnTo>
                  <a:lnTo>
                    <a:pt x="99" y="387"/>
                  </a:lnTo>
                  <a:lnTo>
                    <a:pt x="102" y="387"/>
                  </a:lnTo>
                  <a:lnTo>
                    <a:pt x="102" y="387"/>
                  </a:lnTo>
                  <a:lnTo>
                    <a:pt x="107" y="390"/>
                  </a:lnTo>
                  <a:lnTo>
                    <a:pt x="109" y="387"/>
                  </a:lnTo>
                  <a:lnTo>
                    <a:pt x="109" y="387"/>
                  </a:lnTo>
                  <a:lnTo>
                    <a:pt x="111" y="390"/>
                  </a:lnTo>
                  <a:lnTo>
                    <a:pt x="114" y="390"/>
                  </a:lnTo>
                  <a:lnTo>
                    <a:pt x="114" y="387"/>
                  </a:lnTo>
                  <a:lnTo>
                    <a:pt x="114" y="390"/>
                  </a:lnTo>
                  <a:lnTo>
                    <a:pt x="116" y="392"/>
                  </a:lnTo>
                  <a:lnTo>
                    <a:pt x="118" y="392"/>
                  </a:lnTo>
                  <a:lnTo>
                    <a:pt x="128" y="387"/>
                  </a:lnTo>
                  <a:lnTo>
                    <a:pt x="133" y="382"/>
                  </a:lnTo>
                  <a:lnTo>
                    <a:pt x="133" y="380"/>
                  </a:lnTo>
                  <a:lnTo>
                    <a:pt x="135" y="375"/>
                  </a:lnTo>
                  <a:lnTo>
                    <a:pt x="133" y="371"/>
                  </a:lnTo>
                  <a:lnTo>
                    <a:pt x="128" y="368"/>
                  </a:lnTo>
                  <a:lnTo>
                    <a:pt x="125" y="364"/>
                  </a:lnTo>
                  <a:lnTo>
                    <a:pt x="128" y="364"/>
                  </a:lnTo>
                  <a:lnTo>
                    <a:pt x="128" y="361"/>
                  </a:lnTo>
                  <a:lnTo>
                    <a:pt x="121" y="359"/>
                  </a:lnTo>
                  <a:lnTo>
                    <a:pt x="121" y="354"/>
                  </a:lnTo>
                  <a:lnTo>
                    <a:pt x="121" y="352"/>
                  </a:lnTo>
                  <a:lnTo>
                    <a:pt x="114" y="352"/>
                  </a:lnTo>
                  <a:lnTo>
                    <a:pt x="114" y="352"/>
                  </a:lnTo>
                  <a:lnTo>
                    <a:pt x="111" y="349"/>
                  </a:lnTo>
                  <a:lnTo>
                    <a:pt x="111" y="349"/>
                  </a:lnTo>
                  <a:lnTo>
                    <a:pt x="111" y="349"/>
                  </a:lnTo>
                  <a:lnTo>
                    <a:pt x="109" y="356"/>
                  </a:lnTo>
                  <a:lnTo>
                    <a:pt x="107" y="359"/>
                  </a:lnTo>
                  <a:lnTo>
                    <a:pt x="99" y="364"/>
                  </a:lnTo>
                  <a:lnTo>
                    <a:pt x="99" y="366"/>
                  </a:lnTo>
                  <a:lnTo>
                    <a:pt x="95" y="366"/>
                  </a:lnTo>
                  <a:lnTo>
                    <a:pt x="92" y="366"/>
                  </a:lnTo>
                  <a:lnTo>
                    <a:pt x="90" y="366"/>
                  </a:lnTo>
                  <a:lnTo>
                    <a:pt x="92" y="364"/>
                  </a:lnTo>
                  <a:lnTo>
                    <a:pt x="97" y="364"/>
                  </a:lnTo>
                  <a:lnTo>
                    <a:pt x="99" y="361"/>
                  </a:lnTo>
                  <a:lnTo>
                    <a:pt x="102" y="359"/>
                  </a:lnTo>
                  <a:lnTo>
                    <a:pt x="107" y="354"/>
                  </a:lnTo>
                  <a:lnTo>
                    <a:pt x="109" y="352"/>
                  </a:lnTo>
                  <a:lnTo>
                    <a:pt x="109" y="347"/>
                  </a:lnTo>
                  <a:lnTo>
                    <a:pt x="107" y="347"/>
                  </a:lnTo>
                  <a:lnTo>
                    <a:pt x="107" y="345"/>
                  </a:lnTo>
                  <a:lnTo>
                    <a:pt x="107" y="340"/>
                  </a:lnTo>
                  <a:lnTo>
                    <a:pt x="107" y="338"/>
                  </a:lnTo>
                  <a:lnTo>
                    <a:pt x="104" y="328"/>
                  </a:lnTo>
                  <a:lnTo>
                    <a:pt x="104" y="323"/>
                  </a:lnTo>
                  <a:lnTo>
                    <a:pt x="104" y="316"/>
                  </a:lnTo>
                  <a:lnTo>
                    <a:pt x="104" y="314"/>
                  </a:lnTo>
                  <a:lnTo>
                    <a:pt x="107" y="312"/>
                  </a:lnTo>
                  <a:lnTo>
                    <a:pt x="104" y="309"/>
                  </a:lnTo>
                  <a:lnTo>
                    <a:pt x="109" y="312"/>
                  </a:lnTo>
                  <a:lnTo>
                    <a:pt x="109" y="309"/>
                  </a:lnTo>
                  <a:lnTo>
                    <a:pt x="109" y="302"/>
                  </a:lnTo>
                  <a:lnTo>
                    <a:pt x="109" y="295"/>
                  </a:lnTo>
                  <a:lnTo>
                    <a:pt x="111" y="290"/>
                  </a:lnTo>
                  <a:lnTo>
                    <a:pt x="109" y="288"/>
                  </a:lnTo>
                  <a:lnTo>
                    <a:pt x="109" y="286"/>
                  </a:lnTo>
                  <a:lnTo>
                    <a:pt x="109" y="281"/>
                  </a:lnTo>
                  <a:lnTo>
                    <a:pt x="114" y="283"/>
                  </a:lnTo>
                  <a:lnTo>
                    <a:pt x="114" y="281"/>
                  </a:lnTo>
                  <a:lnTo>
                    <a:pt x="116" y="281"/>
                  </a:lnTo>
                  <a:lnTo>
                    <a:pt x="118" y="279"/>
                  </a:lnTo>
                  <a:lnTo>
                    <a:pt x="118" y="276"/>
                  </a:lnTo>
                  <a:lnTo>
                    <a:pt x="116" y="276"/>
                  </a:lnTo>
                  <a:lnTo>
                    <a:pt x="118" y="271"/>
                  </a:lnTo>
                  <a:lnTo>
                    <a:pt x="116" y="267"/>
                  </a:lnTo>
                  <a:lnTo>
                    <a:pt x="116" y="264"/>
                  </a:lnTo>
                  <a:lnTo>
                    <a:pt x="118" y="269"/>
                  </a:lnTo>
                  <a:lnTo>
                    <a:pt x="121" y="271"/>
                  </a:lnTo>
                  <a:lnTo>
                    <a:pt x="121" y="269"/>
                  </a:lnTo>
                  <a:lnTo>
                    <a:pt x="123" y="267"/>
                  </a:lnTo>
                  <a:lnTo>
                    <a:pt x="125" y="269"/>
                  </a:lnTo>
                  <a:lnTo>
                    <a:pt x="125" y="267"/>
                  </a:lnTo>
                  <a:lnTo>
                    <a:pt x="128" y="264"/>
                  </a:lnTo>
                  <a:lnTo>
                    <a:pt x="123" y="262"/>
                  </a:lnTo>
                  <a:lnTo>
                    <a:pt x="125" y="262"/>
                  </a:lnTo>
                  <a:lnTo>
                    <a:pt x="128" y="260"/>
                  </a:lnTo>
                  <a:lnTo>
                    <a:pt x="128" y="260"/>
                  </a:lnTo>
                  <a:lnTo>
                    <a:pt x="130" y="257"/>
                  </a:lnTo>
                  <a:lnTo>
                    <a:pt x="130" y="255"/>
                  </a:lnTo>
                  <a:lnTo>
                    <a:pt x="133" y="255"/>
                  </a:lnTo>
                  <a:lnTo>
                    <a:pt x="133" y="250"/>
                  </a:lnTo>
                  <a:lnTo>
                    <a:pt x="135" y="250"/>
                  </a:lnTo>
                  <a:lnTo>
                    <a:pt x="140" y="250"/>
                  </a:lnTo>
                  <a:lnTo>
                    <a:pt x="142" y="248"/>
                  </a:lnTo>
                  <a:lnTo>
                    <a:pt x="144" y="243"/>
                  </a:lnTo>
                  <a:lnTo>
                    <a:pt x="149" y="241"/>
                  </a:lnTo>
                  <a:lnTo>
                    <a:pt x="149" y="243"/>
                  </a:lnTo>
                  <a:lnTo>
                    <a:pt x="154" y="241"/>
                  </a:lnTo>
                  <a:lnTo>
                    <a:pt x="154" y="238"/>
                  </a:lnTo>
                  <a:lnTo>
                    <a:pt x="156" y="236"/>
                  </a:lnTo>
                  <a:lnTo>
                    <a:pt x="159" y="236"/>
                  </a:lnTo>
                  <a:lnTo>
                    <a:pt x="161" y="234"/>
                  </a:lnTo>
                  <a:lnTo>
                    <a:pt x="166" y="231"/>
                  </a:lnTo>
                  <a:lnTo>
                    <a:pt x="166" y="229"/>
                  </a:lnTo>
                  <a:lnTo>
                    <a:pt x="168" y="229"/>
                  </a:lnTo>
                  <a:lnTo>
                    <a:pt x="170" y="224"/>
                  </a:lnTo>
                  <a:lnTo>
                    <a:pt x="173" y="219"/>
                  </a:lnTo>
                  <a:lnTo>
                    <a:pt x="175" y="217"/>
                  </a:lnTo>
                  <a:lnTo>
                    <a:pt x="177" y="212"/>
                  </a:lnTo>
                  <a:lnTo>
                    <a:pt x="180" y="208"/>
                  </a:lnTo>
                  <a:lnTo>
                    <a:pt x="180" y="205"/>
                  </a:lnTo>
                  <a:lnTo>
                    <a:pt x="182" y="208"/>
                  </a:lnTo>
                  <a:lnTo>
                    <a:pt x="180" y="212"/>
                  </a:lnTo>
                  <a:lnTo>
                    <a:pt x="185" y="208"/>
                  </a:lnTo>
                  <a:lnTo>
                    <a:pt x="185" y="205"/>
                  </a:lnTo>
                  <a:lnTo>
                    <a:pt x="182" y="203"/>
                  </a:lnTo>
                  <a:lnTo>
                    <a:pt x="182" y="203"/>
                  </a:lnTo>
                  <a:lnTo>
                    <a:pt x="177" y="198"/>
                  </a:lnTo>
                  <a:lnTo>
                    <a:pt x="177" y="196"/>
                  </a:lnTo>
                  <a:lnTo>
                    <a:pt x="177" y="193"/>
                  </a:lnTo>
                  <a:lnTo>
                    <a:pt x="177" y="193"/>
                  </a:lnTo>
                  <a:lnTo>
                    <a:pt x="175" y="191"/>
                  </a:lnTo>
                  <a:lnTo>
                    <a:pt x="175" y="189"/>
                  </a:lnTo>
                  <a:lnTo>
                    <a:pt x="177" y="189"/>
                  </a:lnTo>
                  <a:lnTo>
                    <a:pt x="177" y="186"/>
                  </a:lnTo>
                  <a:lnTo>
                    <a:pt x="180" y="184"/>
                  </a:lnTo>
                  <a:lnTo>
                    <a:pt x="185" y="177"/>
                  </a:lnTo>
                  <a:lnTo>
                    <a:pt x="185" y="175"/>
                  </a:lnTo>
                  <a:lnTo>
                    <a:pt x="180" y="170"/>
                  </a:lnTo>
                  <a:lnTo>
                    <a:pt x="182" y="167"/>
                  </a:lnTo>
                  <a:lnTo>
                    <a:pt x="185" y="165"/>
                  </a:lnTo>
                  <a:lnTo>
                    <a:pt x="185" y="163"/>
                  </a:lnTo>
                  <a:lnTo>
                    <a:pt x="187" y="163"/>
                  </a:lnTo>
                  <a:lnTo>
                    <a:pt x="189" y="165"/>
                  </a:lnTo>
                  <a:lnTo>
                    <a:pt x="189" y="165"/>
                  </a:lnTo>
                  <a:lnTo>
                    <a:pt x="189" y="163"/>
                  </a:lnTo>
                  <a:lnTo>
                    <a:pt x="189" y="160"/>
                  </a:lnTo>
                  <a:lnTo>
                    <a:pt x="192" y="160"/>
                  </a:lnTo>
                  <a:lnTo>
                    <a:pt x="192" y="158"/>
                  </a:lnTo>
                  <a:lnTo>
                    <a:pt x="189" y="153"/>
                  </a:lnTo>
                  <a:lnTo>
                    <a:pt x="189" y="153"/>
                  </a:lnTo>
                  <a:lnTo>
                    <a:pt x="194" y="156"/>
                  </a:lnTo>
                  <a:lnTo>
                    <a:pt x="194" y="158"/>
                  </a:lnTo>
                  <a:lnTo>
                    <a:pt x="196" y="158"/>
                  </a:lnTo>
                  <a:lnTo>
                    <a:pt x="196" y="153"/>
                  </a:lnTo>
                  <a:lnTo>
                    <a:pt x="196" y="153"/>
                  </a:lnTo>
                  <a:lnTo>
                    <a:pt x="196" y="153"/>
                  </a:lnTo>
                  <a:lnTo>
                    <a:pt x="196" y="146"/>
                  </a:lnTo>
                  <a:lnTo>
                    <a:pt x="199" y="146"/>
                  </a:lnTo>
                  <a:lnTo>
                    <a:pt x="201" y="146"/>
                  </a:lnTo>
                  <a:lnTo>
                    <a:pt x="201" y="146"/>
                  </a:lnTo>
                  <a:lnTo>
                    <a:pt x="201" y="149"/>
                  </a:lnTo>
                  <a:lnTo>
                    <a:pt x="203" y="149"/>
                  </a:lnTo>
                  <a:lnTo>
                    <a:pt x="203" y="144"/>
                  </a:lnTo>
                  <a:lnTo>
                    <a:pt x="206" y="146"/>
                  </a:lnTo>
                  <a:lnTo>
                    <a:pt x="208" y="149"/>
                  </a:lnTo>
                  <a:lnTo>
                    <a:pt x="208" y="149"/>
                  </a:lnTo>
                  <a:lnTo>
                    <a:pt x="210" y="151"/>
                  </a:lnTo>
                  <a:lnTo>
                    <a:pt x="213" y="146"/>
                  </a:lnTo>
                  <a:lnTo>
                    <a:pt x="220" y="146"/>
                  </a:lnTo>
                  <a:lnTo>
                    <a:pt x="222" y="149"/>
                  </a:lnTo>
                  <a:lnTo>
                    <a:pt x="225" y="151"/>
                  </a:lnTo>
                  <a:lnTo>
                    <a:pt x="227" y="149"/>
                  </a:lnTo>
                  <a:lnTo>
                    <a:pt x="227" y="149"/>
                  </a:lnTo>
                  <a:lnTo>
                    <a:pt x="227" y="144"/>
                  </a:lnTo>
                  <a:lnTo>
                    <a:pt x="222" y="132"/>
                  </a:lnTo>
                  <a:lnTo>
                    <a:pt x="220" y="127"/>
                  </a:lnTo>
                  <a:lnTo>
                    <a:pt x="222" y="120"/>
                  </a:lnTo>
                  <a:lnTo>
                    <a:pt x="225" y="116"/>
                  </a:lnTo>
                  <a:lnTo>
                    <a:pt x="225" y="113"/>
                  </a:lnTo>
                  <a:lnTo>
                    <a:pt x="225" y="108"/>
                  </a:lnTo>
                  <a:lnTo>
                    <a:pt x="218" y="94"/>
                  </a:lnTo>
                  <a:lnTo>
                    <a:pt x="218" y="90"/>
                  </a:lnTo>
                  <a:lnTo>
                    <a:pt x="220" y="82"/>
                  </a:lnTo>
                  <a:lnTo>
                    <a:pt x="220" y="78"/>
                  </a:lnTo>
                  <a:lnTo>
                    <a:pt x="218" y="75"/>
                  </a:lnTo>
                  <a:lnTo>
                    <a:pt x="218" y="71"/>
                  </a:lnTo>
                  <a:lnTo>
                    <a:pt x="218" y="66"/>
                  </a:lnTo>
                  <a:lnTo>
                    <a:pt x="218" y="59"/>
                  </a:lnTo>
                  <a:lnTo>
                    <a:pt x="220" y="56"/>
                  </a:lnTo>
                  <a:lnTo>
                    <a:pt x="218" y="54"/>
                  </a:lnTo>
                  <a:lnTo>
                    <a:pt x="208" y="35"/>
                  </a:lnTo>
                  <a:lnTo>
                    <a:pt x="203" y="30"/>
                  </a:lnTo>
                  <a:lnTo>
                    <a:pt x="192" y="26"/>
                  </a:lnTo>
                  <a:lnTo>
                    <a:pt x="182" y="16"/>
                  </a:lnTo>
                  <a:lnTo>
                    <a:pt x="168" y="2"/>
                  </a:lnTo>
                  <a:lnTo>
                    <a:pt x="168" y="2"/>
                  </a:lnTo>
                  <a:lnTo>
                    <a:pt x="168" y="2"/>
                  </a:lnTo>
                  <a:lnTo>
                    <a:pt x="159" y="0"/>
                  </a:lnTo>
                  <a:lnTo>
                    <a:pt x="159" y="2"/>
                  </a:lnTo>
                  <a:lnTo>
                    <a:pt x="159" y="5"/>
                  </a:lnTo>
                  <a:lnTo>
                    <a:pt x="161" y="7"/>
                  </a:lnTo>
                  <a:lnTo>
                    <a:pt x="161" y="9"/>
                  </a:lnTo>
                  <a:lnTo>
                    <a:pt x="159" y="14"/>
                  </a:lnTo>
                  <a:lnTo>
                    <a:pt x="159" y="14"/>
                  </a:lnTo>
                  <a:lnTo>
                    <a:pt x="156" y="19"/>
                  </a:lnTo>
                  <a:lnTo>
                    <a:pt x="156" y="23"/>
                  </a:lnTo>
                  <a:lnTo>
                    <a:pt x="156" y="26"/>
                  </a:lnTo>
                  <a:lnTo>
                    <a:pt x="159" y="28"/>
                  </a:lnTo>
                  <a:lnTo>
                    <a:pt x="156" y="30"/>
                  </a:lnTo>
                  <a:lnTo>
                    <a:pt x="154" y="33"/>
                  </a:lnTo>
                  <a:lnTo>
                    <a:pt x="140" y="28"/>
                  </a:lnTo>
                  <a:lnTo>
                    <a:pt x="130" y="26"/>
                  </a:lnTo>
                  <a:lnTo>
                    <a:pt x="128" y="26"/>
                  </a:lnTo>
                  <a:lnTo>
                    <a:pt x="125" y="28"/>
                  </a:lnTo>
                  <a:lnTo>
                    <a:pt x="123" y="30"/>
                  </a:lnTo>
                  <a:lnTo>
                    <a:pt x="125" y="40"/>
                  </a:lnTo>
                  <a:lnTo>
                    <a:pt x="123" y="42"/>
                  </a:lnTo>
                  <a:lnTo>
                    <a:pt x="123" y="49"/>
                  </a:lnTo>
                  <a:lnTo>
                    <a:pt x="118" y="54"/>
                  </a:lnTo>
                  <a:lnTo>
                    <a:pt x="118" y="54"/>
                  </a:lnTo>
                  <a:lnTo>
                    <a:pt x="116" y="49"/>
                  </a:lnTo>
                  <a:lnTo>
                    <a:pt x="111" y="47"/>
                  </a:lnTo>
                  <a:lnTo>
                    <a:pt x="107" y="47"/>
                  </a:lnTo>
                  <a:lnTo>
                    <a:pt x="102" y="54"/>
                  </a:lnTo>
                  <a:lnTo>
                    <a:pt x="99" y="59"/>
                  </a:lnTo>
                  <a:lnTo>
                    <a:pt x="97" y="64"/>
                  </a:lnTo>
                  <a:lnTo>
                    <a:pt x="97" y="68"/>
                  </a:lnTo>
                  <a:lnTo>
                    <a:pt x="95" y="71"/>
                  </a:lnTo>
                  <a:lnTo>
                    <a:pt x="90" y="75"/>
                  </a:lnTo>
                  <a:lnTo>
                    <a:pt x="90" y="80"/>
                  </a:lnTo>
                  <a:lnTo>
                    <a:pt x="92" y="87"/>
                  </a:lnTo>
                  <a:lnTo>
                    <a:pt x="95" y="92"/>
                  </a:lnTo>
                  <a:lnTo>
                    <a:pt x="92" y="94"/>
                  </a:lnTo>
                  <a:lnTo>
                    <a:pt x="90" y="99"/>
                  </a:lnTo>
                  <a:lnTo>
                    <a:pt x="88" y="104"/>
                  </a:lnTo>
                  <a:lnTo>
                    <a:pt x="85" y="106"/>
                  </a:lnTo>
                  <a:lnTo>
                    <a:pt x="78" y="118"/>
                  </a:lnTo>
                  <a:lnTo>
                    <a:pt x="76" y="123"/>
                  </a:lnTo>
                  <a:lnTo>
                    <a:pt x="76" y="127"/>
                  </a:lnTo>
                  <a:lnTo>
                    <a:pt x="73" y="132"/>
                  </a:lnTo>
                  <a:lnTo>
                    <a:pt x="69" y="137"/>
                  </a:lnTo>
                  <a:lnTo>
                    <a:pt x="64" y="137"/>
                  </a:lnTo>
                  <a:lnTo>
                    <a:pt x="62" y="137"/>
                  </a:lnTo>
                  <a:lnTo>
                    <a:pt x="62" y="142"/>
                  </a:lnTo>
                  <a:lnTo>
                    <a:pt x="62" y="149"/>
                  </a:lnTo>
                  <a:lnTo>
                    <a:pt x="62" y="158"/>
                  </a:lnTo>
                  <a:lnTo>
                    <a:pt x="59" y="175"/>
                  </a:lnTo>
                  <a:lnTo>
                    <a:pt x="55" y="186"/>
                  </a:lnTo>
                  <a:lnTo>
                    <a:pt x="47" y="196"/>
                  </a:lnTo>
                  <a:lnTo>
                    <a:pt x="47" y="201"/>
                  </a:lnTo>
                  <a:lnTo>
                    <a:pt x="52" y="205"/>
                  </a:lnTo>
                  <a:lnTo>
                    <a:pt x="55" y="208"/>
                  </a:lnTo>
                  <a:lnTo>
                    <a:pt x="55" y="215"/>
                  </a:lnTo>
                  <a:lnTo>
                    <a:pt x="55" y="217"/>
                  </a:lnTo>
                  <a:lnTo>
                    <a:pt x="50" y="222"/>
                  </a:lnTo>
                  <a:lnTo>
                    <a:pt x="45" y="222"/>
                  </a:lnTo>
                  <a:lnTo>
                    <a:pt x="40" y="222"/>
                  </a:lnTo>
                  <a:lnTo>
                    <a:pt x="33" y="222"/>
                  </a:lnTo>
                  <a:lnTo>
                    <a:pt x="29" y="227"/>
                  </a:lnTo>
                  <a:lnTo>
                    <a:pt x="19" y="236"/>
                  </a:lnTo>
                  <a:lnTo>
                    <a:pt x="19" y="241"/>
                  </a:lnTo>
                  <a:lnTo>
                    <a:pt x="17" y="248"/>
                  </a:lnTo>
                  <a:lnTo>
                    <a:pt x="19" y="253"/>
                  </a:lnTo>
                  <a:lnTo>
                    <a:pt x="19" y="257"/>
                  </a:lnTo>
                  <a:lnTo>
                    <a:pt x="22" y="260"/>
                  </a:lnTo>
                  <a:lnTo>
                    <a:pt x="19" y="262"/>
                  </a:lnTo>
                  <a:lnTo>
                    <a:pt x="19" y="267"/>
                  </a:lnTo>
                  <a:lnTo>
                    <a:pt x="19" y="269"/>
                  </a:lnTo>
                  <a:lnTo>
                    <a:pt x="19" y="276"/>
                  </a:lnTo>
                  <a:lnTo>
                    <a:pt x="17" y="279"/>
                  </a:lnTo>
                  <a:lnTo>
                    <a:pt x="17" y="281"/>
                  </a:lnTo>
                  <a:lnTo>
                    <a:pt x="19" y="283"/>
                  </a:lnTo>
                  <a:lnTo>
                    <a:pt x="19" y="288"/>
                  </a:lnTo>
                  <a:lnTo>
                    <a:pt x="19" y="302"/>
                  </a:lnTo>
                  <a:lnTo>
                    <a:pt x="19" y="307"/>
                  </a:lnTo>
                  <a:lnTo>
                    <a:pt x="22" y="312"/>
                  </a:lnTo>
                  <a:lnTo>
                    <a:pt x="29" y="316"/>
                  </a:lnTo>
                  <a:lnTo>
                    <a:pt x="31" y="323"/>
                  </a:lnTo>
                  <a:lnTo>
                    <a:pt x="29" y="330"/>
                  </a:lnTo>
                  <a:lnTo>
                    <a:pt x="24" y="333"/>
                  </a:lnTo>
                  <a:lnTo>
                    <a:pt x="19" y="335"/>
                  </a:lnTo>
                  <a:lnTo>
                    <a:pt x="19" y="338"/>
                  </a:lnTo>
                  <a:lnTo>
                    <a:pt x="22" y="342"/>
                  </a:lnTo>
                  <a:lnTo>
                    <a:pt x="24" y="352"/>
                  </a:lnTo>
                  <a:lnTo>
                    <a:pt x="22" y="361"/>
                  </a:lnTo>
                  <a:lnTo>
                    <a:pt x="24" y="364"/>
                  </a:lnTo>
                  <a:lnTo>
                    <a:pt x="24" y="368"/>
                  </a:lnTo>
                  <a:lnTo>
                    <a:pt x="22" y="373"/>
                  </a:lnTo>
                  <a:lnTo>
                    <a:pt x="12" y="375"/>
                  </a:lnTo>
                  <a:lnTo>
                    <a:pt x="12" y="380"/>
                  </a:lnTo>
                  <a:lnTo>
                    <a:pt x="10" y="387"/>
                  </a:lnTo>
                  <a:lnTo>
                    <a:pt x="10" y="392"/>
                  </a:lnTo>
                  <a:lnTo>
                    <a:pt x="10" y="397"/>
                  </a:lnTo>
                  <a:lnTo>
                    <a:pt x="7" y="408"/>
                  </a:lnTo>
                  <a:lnTo>
                    <a:pt x="5" y="411"/>
                  </a:lnTo>
                  <a:lnTo>
                    <a:pt x="5" y="406"/>
                  </a:lnTo>
                  <a:lnTo>
                    <a:pt x="3" y="411"/>
                  </a:lnTo>
                  <a:lnTo>
                    <a:pt x="3" y="404"/>
                  </a:lnTo>
                  <a:lnTo>
                    <a:pt x="3" y="404"/>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6" name="Freeform 588">
              <a:extLst>
                <a:ext uri="{FF2B5EF4-FFF2-40B4-BE49-F238E27FC236}">
                  <a16:creationId xmlns:a16="http://schemas.microsoft.com/office/drawing/2014/main" id="{A37622FC-4F19-4F8A-80D1-F2BEA4C06C4D}"/>
                </a:ext>
              </a:extLst>
            </p:cNvPr>
            <p:cNvSpPr>
              <a:spLocks/>
            </p:cNvSpPr>
            <p:nvPr/>
          </p:nvSpPr>
          <p:spPr bwMode="auto">
            <a:xfrm>
              <a:off x="1581992" y="1860514"/>
              <a:ext cx="360362" cy="828676"/>
            </a:xfrm>
            <a:custGeom>
              <a:avLst/>
              <a:gdLst>
                <a:gd name="T0" fmla="*/ 5 w 227"/>
                <a:gd name="T1" fmla="*/ 427 h 522"/>
                <a:gd name="T2" fmla="*/ 10 w 227"/>
                <a:gd name="T3" fmla="*/ 430 h 522"/>
                <a:gd name="T4" fmla="*/ 14 w 227"/>
                <a:gd name="T5" fmla="*/ 444 h 522"/>
                <a:gd name="T6" fmla="*/ 19 w 227"/>
                <a:gd name="T7" fmla="*/ 467 h 522"/>
                <a:gd name="T8" fmla="*/ 29 w 227"/>
                <a:gd name="T9" fmla="*/ 489 h 522"/>
                <a:gd name="T10" fmla="*/ 29 w 227"/>
                <a:gd name="T11" fmla="*/ 508 h 522"/>
                <a:gd name="T12" fmla="*/ 33 w 227"/>
                <a:gd name="T13" fmla="*/ 522 h 522"/>
                <a:gd name="T14" fmla="*/ 55 w 227"/>
                <a:gd name="T15" fmla="*/ 510 h 522"/>
                <a:gd name="T16" fmla="*/ 73 w 227"/>
                <a:gd name="T17" fmla="*/ 498 h 522"/>
                <a:gd name="T18" fmla="*/ 92 w 227"/>
                <a:gd name="T19" fmla="*/ 472 h 522"/>
                <a:gd name="T20" fmla="*/ 97 w 227"/>
                <a:gd name="T21" fmla="*/ 449 h 522"/>
                <a:gd name="T22" fmla="*/ 97 w 227"/>
                <a:gd name="T23" fmla="*/ 439 h 522"/>
                <a:gd name="T24" fmla="*/ 92 w 227"/>
                <a:gd name="T25" fmla="*/ 423 h 522"/>
                <a:gd name="T26" fmla="*/ 88 w 227"/>
                <a:gd name="T27" fmla="*/ 418 h 522"/>
                <a:gd name="T28" fmla="*/ 111 w 227"/>
                <a:gd name="T29" fmla="*/ 408 h 522"/>
                <a:gd name="T30" fmla="*/ 123 w 227"/>
                <a:gd name="T31" fmla="*/ 397 h 522"/>
                <a:gd name="T32" fmla="*/ 109 w 227"/>
                <a:gd name="T33" fmla="*/ 397 h 522"/>
                <a:gd name="T34" fmla="*/ 92 w 227"/>
                <a:gd name="T35" fmla="*/ 387 h 522"/>
                <a:gd name="T36" fmla="*/ 109 w 227"/>
                <a:gd name="T37" fmla="*/ 387 h 522"/>
                <a:gd name="T38" fmla="*/ 118 w 227"/>
                <a:gd name="T39" fmla="*/ 392 h 522"/>
                <a:gd name="T40" fmla="*/ 125 w 227"/>
                <a:gd name="T41" fmla="*/ 364 h 522"/>
                <a:gd name="T42" fmla="*/ 114 w 227"/>
                <a:gd name="T43" fmla="*/ 352 h 522"/>
                <a:gd name="T44" fmla="*/ 99 w 227"/>
                <a:gd name="T45" fmla="*/ 366 h 522"/>
                <a:gd name="T46" fmla="*/ 102 w 227"/>
                <a:gd name="T47" fmla="*/ 359 h 522"/>
                <a:gd name="T48" fmla="*/ 107 w 227"/>
                <a:gd name="T49" fmla="*/ 338 h 522"/>
                <a:gd name="T50" fmla="*/ 109 w 227"/>
                <a:gd name="T51" fmla="*/ 312 h 522"/>
                <a:gd name="T52" fmla="*/ 109 w 227"/>
                <a:gd name="T53" fmla="*/ 281 h 522"/>
                <a:gd name="T54" fmla="*/ 118 w 227"/>
                <a:gd name="T55" fmla="*/ 271 h 522"/>
                <a:gd name="T56" fmla="*/ 125 w 227"/>
                <a:gd name="T57" fmla="*/ 269 h 522"/>
                <a:gd name="T58" fmla="*/ 130 w 227"/>
                <a:gd name="T59" fmla="*/ 257 h 522"/>
                <a:gd name="T60" fmla="*/ 144 w 227"/>
                <a:gd name="T61" fmla="*/ 243 h 522"/>
                <a:gd name="T62" fmla="*/ 161 w 227"/>
                <a:gd name="T63" fmla="*/ 234 h 522"/>
                <a:gd name="T64" fmla="*/ 177 w 227"/>
                <a:gd name="T65" fmla="*/ 212 h 522"/>
                <a:gd name="T66" fmla="*/ 182 w 227"/>
                <a:gd name="T67" fmla="*/ 203 h 522"/>
                <a:gd name="T68" fmla="*/ 175 w 227"/>
                <a:gd name="T69" fmla="*/ 189 h 522"/>
                <a:gd name="T70" fmla="*/ 182 w 227"/>
                <a:gd name="T71" fmla="*/ 167 h 522"/>
                <a:gd name="T72" fmla="*/ 189 w 227"/>
                <a:gd name="T73" fmla="*/ 160 h 522"/>
                <a:gd name="T74" fmla="*/ 196 w 227"/>
                <a:gd name="T75" fmla="*/ 158 h 522"/>
                <a:gd name="T76" fmla="*/ 201 w 227"/>
                <a:gd name="T77" fmla="*/ 146 h 522"/>
                <a:gd name="T78" fmla="*/ 210 w 227"/>
                <a:gd name="T79" fmla="*/ 151 h 522"/>
                <a:gd name="T80" fmla="*/ 227 w 227"/>
                <a:gd name="T81" fmla="*/ 144 h 522"/>
                <a:gd name="T82" fmla="*/ 218 w 227"/>
                <a:gd name="T83" fmla="*/ 94 h 522"/>
                <a:gd name="T84" fmla="*/ 218 w 227"/>
                <a:gd name="T85" fmla="*/ 59 h 522"/>
                <a:gd name="T86" fmla="*/ 168 w 227"/>
                <a:gd name="T87" fmla="*/ 2 h 522"/>
                <a:gd name="T88" fmla="*/ 161 w 227"/>
                <a:gd name="T89" fmla="*/ 9 h 522"/>
                <a:gd name="T90" fmla="*/ 156 w 227"/>
                <a:gd name="T91" fmla="*/ 30 h 522"/>
                <a:gd name="T92" fmla="*/ 125 w 227"/>
                <a:gd name="T93" fmla="*/ 40 h 522"/>
                <a:gd name="T94" fmla="*/ 107 w 227"/>
                <a:gd name="T95" fmla="*/ 47 h 522"/>
                <a:gd name="T96" fmla="*/ 90 w 227"/>
                <a:gd name="T97" fmla="*/ 80 h 522"/>
                <a:gd name="T98" fmla="*/ 78 w 227"/>
                <a:gd name="T99" fmla="*/ 118 h 522"/>
                <a:gd name="T100" fmla="*/ 62 w 227"/>
                <a:gd name="T101" fmla="*/ 142 h 522"/>
                <a:gd name="T102" fmla="*/ 52 w 227"/>
                <a:gd name="T103" fmla="*/ 205 h 522"/>
                <a:gd name="T104" fmla="*/ 33 w 227"/>
                <a:gd name="T105" fmla="*/ 222 h 522"/>
                <a:gd name="T106" fmla="*/ 22 w 227"/>
                <a:gd name="T107" fmla="*/ 260 h 522"/>
                <a:gd name="T108" fmla="*/ 19 w 227"/>
                <a:gd name="T109" fmla="*/ 283 h 522"/>
                <a:gd name="T110" fmla="*/ 29 w 227"/>
                <a:gd name="T111" fmla="*/ 330 h 522"/>
                <a:gd name="T112" fmla="*/ 24 w 227"/>
                <a:gd name="T113" fmla="*/ 364 h 522"/>
                <a:gd name="T114" fmla="*/ 10 w 227"/>
                <a:gd name="T115" fmla="*/ 39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522">
                  <a:moveTo>
                    <a:pt x="3" y="404"/>
                  </a:moveTo>
                  <a:lnTo>
                    <a:pt x="0" y="406"/>
                  </a:lnTo>
                  <a:lnTo>
                    <a:pt x="0" y="411"/>
                  </a:lnTo>
                  <a:lnTo>
                    <a:pt x="3" y="423"/>
                  </a:lnTo>
                  <a:lnTo>
                    <a:pt x="3" y="425"/>
                  </a:lnTo>
                  <a:lnTo>
                    <a:pt x="5" y="425"/>
                  </a:lnTo>
                  <a:lnTo>
                    <a:pt x="5" y="427"/>
                  </a:lnTo>
                  <a:lnTo>
                    <a:pt x="5" y="430"/>
                  </a:lnTo>
                  <a:lnTo>
                    <a:pt x="5" y="430"/>
                  </a:lnTo>
                  <a:lnTo>
                    <a:pt x="7" y="427"/>
                  </a:lnTo>
                  <a:lnTo>
                    <a:pt x="7" y="425"/>
                  </a:lnTo>
                  <a:lnTo>
                    <a:pt x="10" y="427"/>
                  </a:lnTo>
                  <a:lnTo>
                    <a:pt x="7" y="430"/>
                  </a:lnTo>
                  <a:lnTo>
                    <a:pt x="10" y="430"/>
                  </a:lnTo>
                  <a:lnTo>
                    <a:pt x="10" y="430"/>
                  </a:lnTo>
                  <a:lnTo>
                    <a:pt x="7" y="432"/>
                  </a:lnTo>
                  <a:lnTo>
                    <a:pt x="5" y="434"/>
                  </a:lnTo>
                  <a:lnTo>
                    <a:pt x="10" y="437"/>
                  </a:lnTo>
                  <a:lnTo>
                    <a:pt x="12" y="439"/>
                  </a:lnTo>
                  <a:lnTo>
                    <a:pt x="10" y="446"/>
                  </a:lnTo>
                  <a:lnTo>
                    <a:pt x="14" y="444"/>
                  </a:lnTo>
                  <a:lnTo>
                    <a:pt x="14" y="449"/>
                  </a:lnTo>
                  <a:lnTo>
                    <a:pt x="12" y="451"/>
                  </a:lnTo>
                  <a:lnTo>
                    <a:pt x="14" y="456"/>
                  </a:lnTo>
                  <a:lnTo>
                    <a:pt x="14" y="460"/>
                  </a:lnTo>
                  <a:lnTo>
                    <a:pt x="17" y="460"/>
                  </a:lnTo>
                  <a:lnTo>
                    <a:pt x="17" y="463"/>
                  </a:lnTo>
                  <a:lnTo>
                    <a:pt x="19" y="467"/>
                  </a:lnTo>
                  <a:lnTo>
                    <a:pt x="22" y="475"/>
                  </a:lnTo>
                  <a:lnTo>
                    <a:pt x="24" y="477"/>
                  </a:lnTo>
                  <a:lnTo>
                    <a:pt x="26" y="479"/>
                  </a:lnTo>
                  <a:lnTo>
                    <a:pt x="29" y="484"/>
                  </a:lnTo>
                  <a:lnTo>
                    <a:pt x="31" y="486"/>
                  </a:lnTo>
                  <a:lnTo>
                    <a:pt x="31" y="489"/>
                  </a:lnTo>
                  <a:lnTo>
                    <a:pt x="29" y="489"/>
                  </a:lnTo>
                  <a:lnTo>
                    <a:pt x="26" y="489"/>
                  </a:lnTo>
                  <a:lnTo>
                    <a:pt x="26" y="491"/>
                  </a:lnTo>
                  <a:lnTo>
                    <a:pt x="29" y="496"/>
                  </a:lnTo>
                  <a:lnTo>
                    <a:pt x="26" y="496"/>
                  </a:lnTo>
                  <a:lnTo>
                    <a:pt x="24" y="493"/>
                  </a:lnTo>
                  <a:lnTo>
                    <a:pt x="24" y="496"/>
                  </a:lnTo>
                  <a:lnTo>
                    <a:pt x="29" y="508"/>
                  </a:lnTo>
                  <a:lnTo>
                    <a:pt x="31" y="510"/>
                  </a:lnTo>
                  <a:lnTo>
                    <a:pt x="33" y="515"/>
                  </a:lnTo>
                  <a:lnTo>
                    <a:pt x="31" y="517"/>
                  </a:lnTo>
                  <a:lnTo>
                    <a:pt x="31" y="519"/>
                  </a:lnTo>
                  <a:lnTo>
                    <a:pt x="31" y="519"/>
                  </a:lnTo>
                  <a:lnTo>
                    <a:pt x="31" y="522"/>
                  </a:lnTo>
                  <a:lnTo>
                    <a:pt x="33" y="522"/>
                  </a:lnTo>
                  <a:lnTo>
                    <a:pt x="38" y="522"/>
                  </a:lnTo>
                  <a:lnTo>
                    <a:pt x="43" y="519"/>
                  </a:lnTo>
                  <a:lnTo>
                    <a:pt x="50" y="519"/>
                  </a:lnTo>
                  <a:lnTo>
                    <a:pt x="52" y="522"/>
                  </a:lnTo>
                  <a:lnTo>
                    <a:pt x="55" y="519"/>
                  </a:lnTo>
                  <a:lnTo>
                    <a:pt x="55" y="517"/>
                  </a:lnTo>
                  <a:lnTo>
                    <a:pt x="55" y="510"/>
                  </a:lnTo>
                  <a:lnTo>
                    <a:pt x="57" y="505"/>
                  </a:lnTo>
                  <a:lnTo>
                    <a:pt x="57" y="501"/>
                  </a:lnTo>
                  <a:lnTo>
                    <a:pt x="62" y="503"/>
                  </a:lnTo>
                  <a:lnTo>
                    <a:pt x="62" y="498"/>
                  </a:lnTo>
                  <a:lnTo>
                    <a:pt x="66" y="496"/>
                  </a:lnTo>
                  <a:lnTo>
                    <a:pt x="71" y="496"/>
                  </a:lnTo>
                  <a:lnTo>
                    <a:pt x="73" y="498"/>
                  </a:lnTo>
                  <a:lnTo>
                    <a:pt x="76" y="498"/>
                  </a:lnTo>
                  <a:lnTo>
                    <a:pt x="81" y="498"/>
                  </a:lnTo>
                  <a:lnTo>
                    <a:pt x="83" y="498"/>
                  </a:lnTo>
                  <a:lnTo>
                    <a:pt x="85" y="491"/>
                  </a:lnTo>
                  <a:lnTo>
                    <a:pt x="88" y="484"/>
                  </a:lnTo>
                  <a:lnTo>
                    <a:pt x="90" y="479"/>
                  </a:lnTo>
                  <a:lnTo>
                    <a:pt x="92" y="472"/>
                  </a:lnTo>
                  <a:lnTo>
                    <a:pt x="92" y="470"/>
                  </a:lnTo>
                  <a:lnTo>
                    <a:pt x="92" y="465"/>
                  </a:lnTo>
                  <a:lnTo>
                    <a:pt x="95" y="460"/>
                  </a:lnTo>
                  <a:lnTo>
                    <a:pt x="95" y="458"/>
                  </a:lnTo>
                  <a:lnTo>
                    <a:pt x="95" y="453"/>
                  </a:lnTo>
                  <a:lnTo>
                    <a:pt x="95" y="451"/>
                  </a:lnTo>
                  <a:lnTo>
                    <a:pt x="97" y="449"/>
                  </a:lnTo>
                  <a:lnTo>
                    <a:pt x="95" y="446"/>
                  </a:lnTo>
                  <a:lnTo>
                    <a:pt x="95" y="444"/>
                  </a:lnTo>
                  <a:lnTo>
                    <a:pt x="92" y="441"/>
                  </a:lnTo>
                  <a:lnTo>
                    <a:pt x="95" y="441"/>
                  </a:lnTo>
                  <a:lnTo>
                    <a:pt x="95" y="441"/>
                  </a:lnTo>
                  <a:lnTo>
                    <a:pt x="97" y="441"/>
                  </a:lnTo>
                  <a:lnTo>
                    <a:pt x="97" y="439"/>
                  </a:lnTo>
                  <a:lnTo>
                    <a:pt x="97" y="437"/>
                  </a:lnTo>
                  <a:lnTo>
                    <a:pt x="97" y="437"/>
                  </a:lnTo>
                  <a:lnTo>
                    <a:pt x="97" y="434"/>
                  </a:lnTo>
                  <a:lnTo>
                    <a:pt x="97" y="430"/>
                  </a:lnTo>
                  <a:lnTo>
                    <a:pt x="97" y="427"/>
                  </a:lnTo>
                  <a:lnTo>
                    <a:pt x="95" y="425"/>
                  </a:lnTo>
                  <a:lnTo>
                    <a:pt x="92" y="423"/>
                  </a:lnTo>
                  <a:lnTo>
                    <a:pt x="92" y="423"/>
                  </a:lnTo>
                  <a:lnTo>
                    <a:pt x="95" y="425"/>
                  </a:lnTo>
                  <a:lnTo>
                    <a:pt x="99" y="423"/>
                  </a:lnTo>
                  <a:lnTo>
                    <a:pt x="99" y="423"/>
                  </a:lnTo>
                  <a:lnTo>
                    <a:pt x="97" y="420"/>
                  </a:lnTo>
                  <a:lnTo>
                    <a:pt x="88" y="418"/>
                  </a:lnTo>
                  <a:lnTo>
                    <a:pt x="88" y="418"/>
                  </a:lnTo>
                  <a:lnTo>
                    <a:pt x="95" y="416"/>
                  </a:lnTo>
                  <a:lnTo>
                    <a:pt x="99" y="418"/>
                  </a:lnTo>
                  <a:lnTo>
                    <a:pt x="102" y="416"/>
                  </a:lnTo>
                  <a:lnTo>
                    <a:pt x="102" y="413"/>
                  </a:lnTo>
                  <a:lnTo>
                    <a:pt x="107" y="413"/>
                  </a:lnTo>
                  <a:lnTo>
                    <a:pt x="111" y="411"/>
                  </a:lnTo>
                  <a:lnTo>
                    <a:pt x="111" y="408"/>
                  </a:lnTo>
                  <a:lnTo>
                    <a:pt x="111" y="404"/>
                  </a:lnTo>
                  <a:lnTo>
                    <a:pt x="114" y="404"/>
                  </a:lnTo>
                  <a:lnTo>
                    <a:pt x="114" y="408"/>
                  </a:lnTo>
                  <a:lnTo>
                    <a:pt x="118" y="408"/>
                  </a:lnTo>
                  <a:lnTo>
                    <a:pt x="121" y="404"/>
                  </a:lnTo>
                  <a:lnTo>
                    <a:pt x="125" y="401"/>
                  </a:lnTo>
                  <a:lnTo>
                    <a:pt x="123" y="397"/>
                  </a:lnTo>
                  <a:lnTo>
                    <a:pt x="125" y="397"/>
                  </a:lnTo>
                  <a:lnTo>
                    <a:pt x="128" y="397"/>
                  </a:lnTo>
                  <a:lnTo>
                    <a:pt x="128" y="397"/>
                  </a:lnTo>
                  <a:lnTo>
                    <a:pt x="130" y="394"/>
                  </a:lnTo>
                  <a:lnTo>
                    <a:pt x="130" y="392"/>
                  </a:lnTo>
                  <a:lnTo>
                    <a:pt x="114" y="397"/>
                  </a:lnTo>
                  <a:lnTo>
                    <a:pt x="109" y="397"/>
                  </a:lnTo>
                  <a:lnTo>
                    <a:pt x="107" y="397"/>
                  </a:lnTo>
                  <a:lnTo>
                    <a:pt x="107" y="394"/>
                  </a:lnTo>
                  <a:lnTo>
                    <a:pt x="104" y="392"/>
                  </a:lnTo>
                  <a:lnTo>
                    <a:pt x="97" y="390"/>
                  </a:lnTo>
                  <a:lnTo>
                    <a:pt x="92" y="390"/>
                  </a:lnTo>
                  <a:lnTo>
                    <a:pt x="90" y="390"/>
                  </a:lnTo>
                  <a:lnTo>
                    <a:pt x="92" y="387"/>
                  </a:lnTo>
                  <a:lnTo>
                    <a:pt x="95" y="387"/>
                  </a:lnTo>
                  <a:lnTo>
                    <a:pt x="97" y="387"/>
                  </a:lnTo>
                  <a:lnTo>
                    <a:pt x="99" y="387"/>
                  </a:lnTo>
                  <a:lnTo>
                    <a:pt x="102" y="387"/>
                  </a:lnTo>
                  <a:lnTo>
                    <a:pt x="102" y="387"/>
                  </a:lnTo>
                  <a:lnTo>
                    <a:pt x="107" y="390"/>
                  </a:lnTo>
                  <a:lnTo>
                    <a:pt x="109" y="387"/>
                  </a:lnTo>
                  <a:lnTo>
                    <a:pt x="109" y="387"/>
                  </a:lnTo>
                  <a:lnTo>
                    <a:pt x="111" y="390"/>
                  </a:lnTo>
                  <a:lnTo>
                    <a:pt x="114" y="390"/>
                  </a:lnTo>
                  <a:lnTo>
                    <a:pt x="114" y="387"/>
                  </a:lnTo>
                  <a:lnTo>
                    <a:pt x="114" y="390"/>
                  </a:lnTo>
                  <a:lnTo>
                    <a:pt x="116" y="392"/>
                  </a:lnTo>
                  <a:lnTo>
                    <a:pt x="118" y="392"/>
                  </a:lnTo>
                  <a:lnTo>
                    <a:pt x="128" y="387"/>
                  </a:lnTo>
                  <a:lnTo>
                    <a:pt x="133" y="382"/>
                  </a:lnTo>
                  <a:lnTo>
                    <a:pt x="133" y="380"/>
                  </a:lnTo>
                  <a:lnTo>
                    <a:pt x="135" y="375"/>
                  </a:lnTo>
                  <a:lnTo>
                    <a:pt x="133" y="371"/>
                  </a:lnTo>
                  <a:lnTo>
                    <a:pt x="128" y="368"/>
                  </a:lnTo>
                  <a:lnTo>
                    <a:pt x="125" y="364"/>
                  </a:lnTo>
                  <a:lnTo>
                    <a:pt x="128" y="364"/>
                  </a:lnTo>
                  <a:lnTo>
                    <a:pt x="128" y="361"/>
                  </a:lnTo>
                  <a:lnTo>
                    <a:pt x="121" y="359"/>
                  </a:lnTo>
                  <a:lnTo>
                    <a:pt x="121" y="354"/>
                  </a:lnTo>
                  <a:lnTo>
                    <a:pt x="121" y="352"/>
                  </a:lnTo>
                  <a:lnTo>
                    <a:pt x="114" y="352"/>
                  </a:lnTo>
                  <a:lnTo>
                    <a:pt x="114" y="352"/>
                  </a:lnTo>
                  <a:lnTo>
                    <a:pt x="111" y="349"/>
                  </a:lnTo>
                  <a:lnTo>
                    <a:pt x="111" y="349"/>
                  </a:lnTo>
                  <a:lnTo>
                    <a:pt x="111" y="349"/>
                  </a:lnTo>
                  <a:lnTo>
                    <a:pt x="109" y="356"/>
                  </a:lnTo>
                  <a:lnTo>
                    <a:pt x="107" y="359"/>
                  </a:lnTo>
                  <a:lnTo>
                    <a:pt x="99" y="364"/>
                  </a:lnTo>
                  <a:lnTo>
                    <a:pt x="99" y="366"/>
                  </a:lnTo>
                  <a:lnTo>
                    <a:pt x="95" y="366"/>
                  </a:lnTo>
                  <a:lnTo>
                    <a:pt x="92" y="366"/>
                  </a:lnTo>
                  <a:lnTo>
                    <a:pt x="90" y="366"/>
                  </a:lnTo>
                  <a:lnTo>
                    <a:pt x="92" y="364"/>
                  </a:lnTo>
                  <a:lnTo>
                    <a:pt x="97" y="364"/>
                  </a:lnTo>
                  <a:lnTo>
                    <a:pt x="99" y="361"/>
                  </a:lnTo>
                  <a:lnTo>
                    <a:pt x="102" y="359"/>
                  </a:lnTo>
                  <a:lnTo>
                    <a:pt x="107" y="354"/>
                  </a:lnTo>
                  <a:lnTo>
                    <a:pt x="109" y="352"/>
                  </a:lnTo>
                  <a:lnTo>
                    <a:pt x="109" y="347"/>
                  </a:lnTo>
                  <a:lnTo>
                    <a:pt x="107" y="347"/>
                  </a:lnTo>
                  <a:lnTo>
                    <a:pt x="107" y="345"/>
                  </a:lnTo>
                  <a:lnTo>
                    <a:pt x="107" y="340"/>
                  </a:lnTo>
                  <a:lnTo>
                    <a:pt x="107" y="338"/>
                  </a:lnTo>
                  <a:lnTo>
                    <a:pt x="104" y="328"/>
                  </a:lnTo>
                  <a:lnTo>
                    <a:pt x="104" y="323"/>
                  </a:lnTo>
                  <a:lnTo>
                    <a:pt x="104" y="316"/>
                  </a:lnTo>
                  <a:lnTo>
                    <a:pt x="104" y="314"/>
                  </a:lnTo>
                  <a:lnTo>
                    <a:pt x="107" y="312"/>
                  </a:lnTo>
                  <a:lnTo>
                    <a:pt x="104" y="309"/>
                  </a:lnTo>
                  <a:lnTo>
                    <a:pt x="109" y="312"/>
                  </a:lnTo>
                  <a:lnTo>
                    <a:pt x="109" y="309"/>
                  </a:lnTo>
                  <a:lnTo>
                    <a:pt x="109" y="302"/>
                  </a:lnTo>
                  <a:lnTo>
                    <a:pt x="109" y="295"/>
                  </a:lnTo>
                  <a:lnTo>
                    <a:pt x="111" y="290"/>
                  </a:lnTo>
                  <a:lnTo>
                    <a:pt x="109" y="288"/>
                  </a:lnTo>
                  <a:lnTo>
                    <a:pt x="109" y="286"/>
                  </a:lnTo>
                  <a:lnTo>
                    <a:pt x="109" y="281"/>
                  </a:lnTo>
                  <a:lnTo>
                    <a:pt x="114" y="283"/>
                  </a:lnTo>
                  <a:lnTo>
                    <a:pt x="114" y="281"/>
                  </a:lnTo>
                  <a:lnTo>
                    <a:pt x="116" y="281"/>
                  </a:lnTo>
                  <a:lnTo>
                    <a:pt x="118" y="279"/>
                  </a:lnTo>
                  <a:lnTo>
                    <a:pt x="118" y="276"/>
                  </a:lnTo>
                  <a:lnTo>
                    <a:pt x="116" y="276"/>
                  </a:lnTo>
                  <a:lnTo>
                    <a:pt x="118" y="271"/>
                  </a:lnTo>
                  <a:lnTo>
                    <a:pt x="116" y="267"/>
                  </a:lnTo>
                  <a:lnTo>
                    <a:pt x="116" y="264"/>
                  </a:lnTo>
                  <a:lnTo>
                    <a:pt x="118" y="269"/>
                  </a:lnTo>
                  <a:lnTo>
                    <a:pt x="121" y="271"/>
                  </a:lnTo>
                  <a:lnTo>
                    <a:pt x="121" y="269"/>
                  </a:lnTo>
                  <a:lnTo>
                    <a:pt x="123" y="267"/>
                  </a:lnTo>
                  <a:lnTo>
                    <a:pt x="125" y="269"/>
                  </a:lnTo>
                  <a:lnTo>
                    <a:pt x="125" y="267"/>
                  </a:lnTo>
                  <a:lnTo>
                    <a:pt x="128" y="264"/>
                  </a:lnTo>
                  <a:lnTo>
                    <a:pt x="123" y="262"/>
                  </a:lnTo>
                  <a:lnTo>
                    <a:pt x="125" y="262"/>
                  </a:lnTo>
                  <a:lnTo>
                    <a:pt x="128" y="260"/>
                  </a:lnTo>
                  <a:lnTo>
                    <a:pt x="128" y="260"/>
                  </a:lnTo>
                  <a:lnTo>
                    <a:pt x="130" y="257"/>
                  </a:lnTo>
                  <a:lnTo>
                    <a:pt x="130" y="255"/>
                  </a:lnTo>
                  <a:lnTo>
                    <a:pt x="133" y="255"/>
                  </a:lnTo>
                  <a:lnTo>
                    <a:pt x="133" y="250"/>
                  </a:lnTo>
                  <a:lnTo>
                    <a:pt x="135" y="250"/>
                  </a:lnTo>
                  <a:lnTo>
                    <a:pt x="140" y="250"/>
                  </a:lnTo>
                  <a:lnTo>
                    <a:pt x="142" y="248"/>
                  </a:lnTo>
                  <a:lnTo>
                    <a:pt x="144" y="243"/>
                  </a:lnTo>
                  <a:lnTo>
                    <a:pt x="149" y="241"/>
                  </a:lnTo>
                  <a:lnTo>
                    <a:pt x="149" y="243"/>
                  </a:lnTo>
                  <a:lnTo>
                    <a:pt x="154" y="241"/>
                  </a:lnTo>
                  <a:lnTo>
                    <a:pt x="154" y="238"/>
                  </a:lnTo>
                  <a:lnTo>
                    <a:pt x="156" y="236"/>
                  </a:lnTo>
                  <a:lnTo>
                    <a:pt x="159" y="236"/>
                  </a:lnTo>
                  <a:lnTo>
                    <a:pt x="161" y="234"/>
                  </a:lnTo>
                  <a:lnTo>
                    <a:pt x="166" y="231"/>
                  </a:lnTo>
                  <a:lnTo>
                    <a:pt x="166" y="229"/>
                  </a:lnTo>
                  <a:lnTo>
                    <a:pt x="168" y="229"/>
                  </a:lnTo>
                  <a:lnTo>
                    <a:pt x="170" y="224"/>
                  </a:lnTo>
                  <a:lnTo>
                    <a:pt x="173" y="219"/>
                  </a:lnTo>
                  <a:lnTo>
                    <a:pt x="175" y="217"/>
                  </a:lnTo>
                  <a:lnTo>
                    <a:pt x="177" y="212"/>
                  </a:lnTo>
                  <a:lnTo>
                    <a:pt x="180" y="208"/>
                  </a:lnTo>
                  <a:lnTo>
                    <a:pt x="180" y="205"/>
                  </a:lnTo>
                  <a:lnTo>
                    <a:pt x="182" y="208"/>
                  </a:lnTo>
                  <a:lnTo>
                    <a:pt x="180" y="212"/>
                  </a:lnTo>
                  <a:lnTo>
                    <a:pt x="185" y="208"/>
                  </a:lnTo>
                  <a:lnTo>
                    <a:pt x="185" y="205"/>
                  </a:lnTo>
                  <a:lnTo>
                    <a:pt x="182" y="203"/>
                  </a:lnTo>
                  <a:lnTo>
                    <a:pt x="182" y="203"/>
                  </a:lnTo>
                  <a:lnTo>
                    <a:pt x="177" y="198"/>
                  </a:lnTo>
                  <a:lnTo>
                    <a:pt x="177" y="196"/>
                  </a:lnTo>
                  <a:lnTo>
                    <a:pt x="177" y="193"/>
                  </a:lnTo>
                  <a:lnTo>
                    <a:pt x="177" y="193"/>
                  </a:lnTo>
                  <a:lnTo>
                    <a:pt x="175" y="191"/>
                  </a:lnTo>
                  <a:lnTo>
                    <a:pt x="175" y="189"/>
                  </a:lnTo>
                  <a:lnTo>
                    <a:pt x="177" y="189"/>
                  </a:lnTo>
                  <a:lnTo>
                    <a:pt x="177" y="186"/>
                  </a:lnTo>
                  <a:lnTo>
                    <a:pt x="180" y="184"/>
                  </a:lnTo>
                  <a:lnTo>
                    <a:pt x="185" y="177"/>
                  </a:lnTo>
                  <a:lnTo>
                    <a:pt x="185" y="175"/>
                  </a:lnTo>
                  <a:lnTo>
                    <a:pt x="180" y="170"/>
                  </a:lnTo>
                  <a:lnTo>
                    <a:pt x="182" y="167"/>
                  </a:lnTo>
                  <a:lnTo>
                    <a:pt x="185" y="165"/>
                  </a:lnTo>
                  <a:lnTo>
                    <a:pt x="185" y="163"/>
                  </a:lnTo>
                  <a:lnTo>
                    <a:pt x="187" y="163"/>
                  </a:lnTo>
                  <a:lnTo>
                    <a:pt x="189" y="165"/>
                  </a:lnTo>
                  <a:lnTo>
                    <a:pt x="189" y="165"/>
                  </a:lnTo>
                  <a:lnTo>
                    <a:pt x="189" y="163"/>
                  </a:lnTo>
                  <a:lnTo>
                    <a:pt x="189" y="160"/>
                  </a:lnTo>
                  <a:lnTo>
                    <a:pt x="192" y="160"/>
                  </a:lnTo>
                  <a:lnTo>
                    <a:pt x="192" y="158"/>
                  </a:lnTo>
                  <a:lnTo>
                    <a:pt x="189" y="153"/>
                  </a:lnTo>
                  <a:lnTo>
                    <a:pt x="189" y="153"/>
                  </a:lnTo>
                  <a:lnTo>
                    <a:pt x="194" y="156"/>
                  </a:lnTo>
                  <a:lnTo>
                    <a:pt x="194" y="158"/>
                  </a:lnTo>
                  <a:lnTo>
                    <a:pt x="196" y="158"/>
                  </a:lnTo>
                  <a:lnTo>
                    <a:pt x="196" y="153"/>
                  </a:lnTo>
                  <a:lnTo>
                    <a:pt x="196" y="153"/>
                  </a:lnTo>
                  <a:lnTo>
                    <a:pt x="196" y="153"/>
                  </a:lnTo>
                  <a:lnTo>
                    <a:pt x="196" y="146"/>
                  </a:lnTo>
                  <a:lnTo>
                    <a:pt x="199" y="146"/>
                  </a:lnTo>
                  <a:lnTo>
                    <a:pt x="201" y="146"/>
                  </a:lnTo>
                  <a:lnTo>
                    <a:pt x="201" y="146"/>
                  </a:lnTo>
                  <a:lnTo>
                    <a:pt x="201" y="149"/>
                  </a:lnTo>
                  <a:lnTo>
                    <a:pt x="203" y="149"/>
                  </a:lnTo>
                  <a:lnTo>
                    <a:pt x="203" y="144"/>
                  </a:lnTo>
                  <a:lnTo>
                    <a:pt x="206" y="146"/>
                  </a:lnTo>
                  <a:lnTo>
                    <a:pt x="208" y="149"/>
                  </a:lnTo>
                  <a:lnTo>
                    <a:pt x="208" y="149"/>
                  </a:lnTo>
                  <a:lnTo>
                    <a:pt x="210" y="151"/>
                  </a:lnTo>
                  <a:lnTo>
                    <a:pt x="213" y="146"/>
                  </a:lnTo>
                  <a:lnTo>
                    <a:pt x="220" y="146"/>
                  </a:lnTo>
                  <a:lnTo>
                    <a:pt x="222" y="149"/>
                  </a:lnTo>
                  <a:lnTo>
                    <a:pt x="225" y="151"/>
                  </a:lnTo>
                  <a:lnTo>
                    <a:pt x="227" y="149"/>
                  </a:lnTo>
                  <a:lnTo>
                    <a:pt x="227" y="149"/>
                  </a:lnTo>
                  <a:lnTo>
                    <a:pt x="227" y="144"/>
                  </a:lnTo>
                  <a:lnTo>
                    <a:pt x="222" y="132"/>
                  </a:lnTo>
                  <a:lnTo>
                    <a:pt x="220" y="127"/>
                  </a:lnTo>
                  <a:lnTo>
                    <a:pt x="222" y="120"/>
                  </a:lnTo>
                  <a:lnTo>
                    <a:pt x="225" y="116"/>
                  </a:lnTo>
                  <a:lnTo>
                    <a:pt x="225" y="113"/>
                  </a:lnTo>
                  <a:lnTo>
                    <a:pt x="225" y="108"/>
                  </a:lnTo>
                  <a:lnTo>
                    <a:pt x="218" y="94"/>
                  </a:lnTo>
                  <a:lnTo>
                    <a:pt x="218" y="90"/>
                  </a:lnTo>
                  <a:lnTo>
                    <a:pt x="220" y="82"/>
                  </a:lnTo>
                  <a:lnTo>
                    <a:pt x="220" y="78"/>
                  </a:lnTo>
                  <a:lnTo>
                    <a:pt x="218" y="75"/>
                  </a:lnTo>
                  <a:lnTo>
                    <a:pt x="218" y="71"/>
                  </a:lnTo>
                  <a:lnTo>
                    <a:pt x="218" y="66"/>
                  </a:lnTo>
                  <a:lnTo>
                    <a:pt x="218" y="59"/>
                  </a:lnTo>
                  <a:lnTo>
                    <a:pt x="220" y="56"/>
                  </a:lnTo>
                  <a:lnTo>
                    <a:pt x="218" y="54"/>
                  </a:lnTo>
                  <a:lnTo>
                    <a:pt x="208" y="35"/>
                  </a:lnTo>
                  <a:lnTo>
                    <a:pt x="203" y="30"/>
                  </a:lnTo>
                  <a:lnTo>
                    <a:pt x="192" y="26"/>
                  </a:lnTo>
                  <a:lnTo>
                    <a:pt x="182" y="16"/>
                  </a:lnTo>
                  <a:lnTo>
                    <a:pt x="168" y="2"/>
                  </a:lnTo>
                  <a:lnTo>
                    <a:pt x="168" y="2"/>
                  </a:lnTo>
                  <a:lnTo>
                    <a:pt x="168" y="2"/>
                  </a:lnTo>
                  <a:lnTo>
                    <a:pt x="159" y="0"/>
                  </a:lnTo>
                  <a:lnTo>
                    <a:pt x="159" y="2"/>
                  </a:lnTo>
                  <a:lnTo>
                    <a:pt x="159" y="5"/>
                  </a:lnTo>
                  <a:lnTo>
                    <a:pt x="161" y="7"/>
                  </a:lnTo>
                  <a:lnTo>
                    <a:pt x="161" y="9"/>
                  </a:lnTo>
                  <a:lnTo>
                    <a:pt x="159" y="14"/>
                  </a:lnTo>
                  <a:lnTo>
                    <a:pt x="159" y="14"/>
                  </a:lnTo>
                  <a:lnTo>
                    <a:pt x="156" y="19"/>
                  </a:lnTo>
                  <a:lnTo>
                    <a:pt x="156" y="23"/>
                  </a:lnTo>
                  <a:lnTo>
                    <a:pt x="156" y="26"/>
                  </a:lnTo>
                  <a:lnTo>
                    <a:pt x="159" y="28"/>
                  </a:lnTo>
                  <a:lnTo>
                    <a:pt x="156" y="30"/>
                  </a:lnTo>
                  <a:lnTo>
                    <a:pt x="154" y="33"/>
                  </a:lnTo>
                  <a:lnTo>
                    <a:pt x="140" y="28"/>
                  </a:lnTo>
                  <a:lnTo>
                    <a:pt x="130" y="26"/>
                  </a:lnTo>
                  <a:lnTo>
                    <a:pt x="128" y="26"/>
                  </a:lnTo>
                  <a:lnTo>
                    <a:pt x="125" y="28"/>
                  </a:lnTo>
                  <a:lnTo>
                    <a:pt x="123" y="30"/>
                  </a:lnTo>
                  <a:lnTo>
                    <a:pt x="125" y="40"/>
                  </a:lnTo>
                  <a:lnTo>
                    <a:pt x="123" y="42"/>
                  </a:lnTo>
                  <a:lnTo>
                    <a:pt x="123" y="49"/>
                  </a:lnTo>
                  <a:lnTo>
                    <a:pt x="118" y="54"/>
                  </a:lnTo>
                  <a:lnTo>
                    <a:pt x="118" y="54"/>
                  </a:lnTo>
                  <a:lnTo>
                    <a:pt x="116" y="49"/>
                  </a:lnTo>
                  <a:lnTo>
                    <a:pt x="111" y="47"/>
                  </a:lnTo>
                  <a:lnTo>
                    <a:pt x="107" y="47"/>
                  </a:lnTo>
                  <a:lnTo>
                    <a:pt x="102" y="54"/>
                  </a:lnTo>
                  <a:lnTo>
                    <a:pt x="99" y="59"/>
                  </a:lnTo>
                  <a:lnTo>
                    <a:pt x="97" y="64"/>
                  </a:lnTo>
                  <a:lnTo>
                    <a:pt x="97" y="68"/>
                  </a:lnTo>
                  <a:lnTo>
                    <a:pt x="95" y="71"/>
                  </a:lnTo>
                  <a:lnTo>
                    <a:pt x="90" y="75"/>
                  </a:lnTo>
                  <a:lnTo>
                    <a:pt x="90" y="80"/>
                  </a:lnTo>
                  <a:lnTo>
                    <a:pt x="92" y="87"/>
                  </a:lnTo>
                  <a:lnTo>
                    <a:pt x="95" y="92"/>
                  </a:lnTo>
                  <a:lnTo>
                    <a:pt x="92" y="94"/>
                  </a:lnTo>
                  <a:lnTo>
                    <a:pt x="90" y="99"/>
                  </a:lnTo>
                  <a:lnTo>
                    <a:pt x="88" y="104"/>
                  </a:lnTo>
                  <a:lnTo>
                    <a:pt x="85" y="106"/>
                  </a:lnTo>
                  <a:lnTo>
                    <a:pt x="78" y="118"/>
                  </a:lnTo>
                  <a:lnTo>
                    <a:pt x="76" y="123"/>
                  </a:lnTo>
                  <a:lnTo>
                    <a:pt x="76" y="127"/>
                  </a:lnTo>
                  <a:lnTo>
                    <a:pt x="73" y="132"/>
                  </a:lnTo>
                  <a:lnTo>
                    <a:pt x="69" y="137"/>
                  </a:lnTo>
                  <a:lnTo>
                    <a:pt x="64" y="137"/>
                  </a:lnTo>
                  <a:lnTo>
                    <a:pt x="62" y="137"/>
                  </a:lnTo>
                  <a:lnTo>
                    <a:pt x="62" y="142"/>
                  </a:lnTo>
                  <a:lnTo>
                    <a:pt x="62" y="149"/>
                  </a:lnTo>
                  <a:lnTo>
                    <a:pt x="62" y="158"/>
                  </a:lnTo>
                  <a:lnTo>
                    <a:pt x="59" y="175"/>
                  </a:lnTo>
                  <a:lnTo>
                    <a:pt x="55" y="186"/>
                  </a:lnTo>
                  <a:lnTo>
                    <a:pt x="47" y="196"/>
                  </a:lnTo>
                  <a:lnTo>
                    <a:pt x="47" y="201"/>
                  </a:lnTo>
                  <a:lnTo>
                    <a:pt x="52" y="205"/>
                  </a:lnTo>
                  <a:lnTo>
                    <a:pt x="55" y="208"/>
                  </a:lnTo>
                  <a:lnTo>
                    <a:pt x="55" y="215"/>
                  </a:lnTo>
                  <a:lnTo>
                    <a:pt x="55" y="217"/>
                  </a:lnTo>
                  <a:lnTo>
                    <a:pt x="50" y="222"/>
                  </a:lnTo>
                  <a:lnTo>
                    <a:pt x="45" y="222"/>
                  </a:lnTo>
                  <a:lnTo>
                    <a:pt x="40" y="222"/>
                  </a:lnTo>
                  <a:lnTo>
                    <a:pt x="33" y="222"/>
                  </a:lnTo>
                  <a:lnTo>
                    <a:pt x="29" y="227"/>
                  </a:lnTo>
                  <a:lnTo>
                    <a:pt x="19" y="236"/>
                  </a:lnTo>
                  <a:lnTo>
                    <a:pt x="19" y="241"/>
                  </a:lnTo>
                  <a:lnTo>
                    <a:pt x="17" y="248"/>
                  </a:lnTo>
                  <a:lnTo>
                    <a:pt x="19" y="253"/>
                  </a:lnTo>
                  <a:lnTo>
                    <a:pt x="19" y="257"/>
                  </a:lnTo>
                  <a:lnTo>
                    <a:pt x="22" y="260"/>
                  </a:lnTo>
                  <a:lnTo>
                    <a:pt x="19" y="262"/>
                  </a:lnTo>
                  <a:lnTo>
                    <a:pt x="19" y="267"/>
                  </a:lnTo>
                  <a:lnTo>
                    <a:pt x="19" y="269"/>
                  </a:lnTo>
                  <a:lnTo>
                    <a:pt x="19" y="276"/>
                  </a:lnTo>
                  <a:lnTo>
                    <a:pt x="17" y="279"/>
                  </a:lnTo>
                  <a:lnTo>
                    <a:pt x="17" y="281"/>
                  </a:lnTo>
                  <a:lnTo>
                    <a:pt x="19" y="283"/>
                  </a:lnTo>
                  <a:lnTo>
                    <a:pt x="19" y="288"/>
                  </a:lnTo>
                  <a:lnTo>
                    <a:pt x="19" y="302"/>
                  </a:lnTo>
                  <a:lnTo>
                    <a:pt x="19" y="307"/>
                  </a:lnTo>
                  <a:lnTo>
                    <a:pt x="22" y="312"/>
                  </a:lnTo>
                  <a:lnTo>
                    <a:pt x="29" y="316"/>
                  </a:lnTo>
                  <a:lnTo>
                    <a:pt x="31" y="323"/>
                  </a:lnTo>
                  <a:lnTo>
                    <a:pt x="29" y="330"/>
                  </a:lnTo>
                  <a:lnTo>
                    <a:pt x="24" y="333"/>
                  </a:lnTo>
                  <a:lnTo>
                    <a:pt x="19" y="335"/>
                  </a:lnTo>
                  <a:lnTo>
                    <a:pt x="19" y="338"/>
                  </a:lnTo>
                  <a:lnTo>
                    <a:pt x="22" y="342"/>
                  </a:lnTo>
                  <a:lnTo>
                    <a:pt x="24" y="352"/>
                  </a:lnTo>
                  <a:lnTo>
                    <a:pt x="22" y="361"/>
                  </a:lnTo>
                  <a:lnTo>
                    <a:pt x="24" y="364"/>
                  </a:lnTo>
                  <a:lnTo>
                    <a:pt x="24" y="368"/>
                  </a:lnTo>
                  <a:lnTo>
                    <a:pt x="22" y="373"/>
                  </a:lnTo>
                  <a:lnTo>
                    <a:pt x="12" y="375"/>
                  </a:lnTo>
                  <a:lnTo>
                    <a:pt x="12" y="380"/>
                  </a:lnTo>
                  <a:lnTo>
                    <a:pt x="10" y="387"/>
                  </a:lnTo>
                  <a:lnTo>
                    <a:pt x="10" y="392"/>
                  </a:lnTo>
                  <a:lnTo>
                    <a:pt x="10" y="397"/>
                  </a:lnTo>
                  <a:lnTo>
                    <a:pt x="7" y="408"/>
                  </a:lnTo>
                  <a:lnTo>
                    <a:pt x="5" y="411"/>
                  </a:lnTo>
                  <a:lnTo>
                    <a:pt x="5" y="406"/>
                  </a:lnTo>
                  <a:lnTo>
                    <a:pt x="3" y="411"/>
                  </a:lnTo>
                  <a:lnTo>
                    <a:pt x="3" y="404"/>
                  </a:lnTo>
                  <a:lnTo>
                    <a:pt x="3" y="404"/>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7" name="Freeform 589">
              <a:extLst>
                <a:ext uri="{FF2B5EF4-FFF2-40B4-BE49-F238E27FC236}">
                  <a16:creationId xmlns:a16="http://schemas.microsoft.com/office/drawing/2014/main" id="{4A4B6F82-4B1A-42FF-8422-07487F3E6AFD}"/>
                </a:ext>
              </a:extLst>
            </p:cNvPr>
            <p:cNvSpPr>
              <a:spLocks/>
            </p:cNvSpPr>
            <p:nvPr/>
          </p:nvSpPr>
          <p:spPr bwMode="auto">
            <a:xfrm>
              <a:off x="2013791" y="3000341"/>
              <a:ext cx="93662" cy="119063"/>
            </a:xfrm>
            <a:custGeom>
              <a:avLst/>
              <a:gdLst>
                <a:gd name="T0" fmla="*/ 28 w 59"/>
                <a:gd name="T1" fmla="*/ 75 h 75"/>
                <a:gd name="T2" fmla="*/ 28 w 59"/>
                <a:gd name="T3" fmla="*/ 71 h 75"/>
                <a:gd name="T4" fmla="*/ 26 w 59"/>
                <a:gd name="T5" fmla="*/ 66 h 75"/>
                <a:gd name="T6" fmla="*/ 26 w 59"/>
                <a:gd name="T7" fmla="*/ 64 h 75"/>
                <a:gd name="T8" fmla="*/ 26 w 59"/>
                <a:gd name="T9" fmla="*/ 57 h 75"/>
                <a:gd name="T10" fmla="*/ 26 w 59"/>
                <a:gd name="T11" fmla="*/ 52 h 75"/>
                <a:gd name="T12" fmla="*/ 26 w 59"/>
                <a:gd name="T13" fmla="*/ 42 h 75"/>
                <a:gd name="T14" fmla="*/ 21 w 59"/>
                <a:gd name="T15" fmla="*/ 35 h 75"/>
                <a:gd name="T16" fmla="*/ 16 w 59"/>
                <a:gd name="T17" fmla="*/ 28 h 75"/>
                <a:gd name="T18" fmla="*/ 14 w 59"/>
                <a:gd name="T19" fmla="*/ 21 h 75"/>
                <a:gd name="T20" fmla="*/ 12 w 59"/>
                <a:gd name="T21" fmla="*/ 16 h 75"/>
                <a:gd name="T22" fmla="*/ 9 w 59"/>
                <a:gd name="T23" fmla="*/ 12 h 75"/>
                <a:gd name="T24" fmla="*/ 7 w 59"/>
                <a:gd name="T25" fmla="*/ 9 h 75"/>
                <a:gd name="T26" fmla="*/ 2 w 59"/>
                <a:gd name="T27" fmla="*/ 5 h 75"/>
                <a:gd name="T28" fmla="*/ 0 w 59"/>
                <a:gd name="T29" fmla="*/ 5 h 75"/>
                <a:gd name="T30" fmla="*/ 2 w 59"/>
                <a:gd name="T31" fmla="*/ 2 h 75"/>
                <a:gd name="T32" fmla="*/ 5 w 59"/>
                <a:gd name="T33" fmla="*/ 0 h 75"/>
                <a:gd name="T34" fmla="*/ 7 w 59"/>
                <a:gd name="T35" fmla="*/ 0 h 75"/>
                <a:gd name="T36" fmla="*/ 9 w 59"/>
                <a:gd name="T37" fmla="*/ 0 h 75"/>
                <a:gd name="T38" fmla="*/ 14 w 59"/>
                <a:gd name="T39" fmla="*/ 0 h 75"/>
                <a:gd name="T40" fmla="*/ 19 w 59"/>
                <a:gd name="T41" fmla="*/ 0 h 75"/>
                <a:gd name="T42" fmla="*/ 21 w 59"/>
                <a:gd name="T43" fmla="*/ 2 h 75"/>
                <a:gd name="T44" fmla="*/ 28 w 59"/>
                <a:gd name="T45" fmla="*/ 7 h 75"/>
                <a:gd name="T46" fmla="*/ 31 w 59"/>
                <a:gd name="T47" fmla="*/ 7 h 75"/>
                <a:gd name="T48" fmla="*/ 35 w 59"/>
                <a:gd name="T49" fmla="*/ 7 h 75"/>
                <a:gd name="T50" fmla="*/ 38 w 59"/>
                <a:gd name="T51" fmla="*/ 7 h 75"/>
                <a:gd name="T52" fmla="*/ 40 w 59"/>
                <a:gd name="T53" fmla="*/ 12 h 75"/>
                <a:gd name="T54" fmla="*/ 42 w 59"/>
                <a:gd name="T55" fmla="*/ 9 h 75"/>
                <a:gd name="T56" fmla="*/ 45 w 59"/>
                <a:gd name="T57" fmla="*/ 12 h 75"/>
                <a:gd name="T58" fmla="*/ 45 w 59"/>
                <a:gd name="T59" fmla="*/ 14 h 75"/>
                <a:gd name="T60" fmla="*/ 45 w 59"/>
                <a:gd name="T61" fmla="*/ 16 h 75"/>
                <a:gd name="T62" fmla="*/ 45 w 59"/>
                <a:gd name="T63" fmla="*/ 23 h 75"/>
                <a:gd name="T64" fmla="*/ 45 w 59"/>
                <a:gd name="T65" fmla="*/ 23 h 75"/>
                <a:gd name="T66" fmla="*/ 47 w 59"/>
                <a:gd name="T67" fmla="*/ 26 h 75"/>
                <a:gd name="T68" fmla="*/ 50 w 59"/>
                <a:gd name="T69" fmla="*/ 28 h 75"/>
                <a:gd name="T70" fmla="*/ 50 w 59"/>
                <a:gd name="T71" fmla="*/ 31 h 75"/>
                <a:gd name="T72" fmla="*/ 50 w 59"/>
                <a:gd name="T73" fmla="*/ 33 h 75"/>
                <a:gd name="T74" fmla="*/ 52 w 59"/>
                <a:gd name="T75" fmla="*/ 38 h 75"/>
                <a:gd name="T76" fmla="*/ 57 w 59"/>
                <a:gd name="T77" fmla="*/ 40 h 75"/>
                <a:gd name="T78" fmla="*/ 59 w 59"/>
                <a:gd name="T79" fmla="*/ 42 h 75"/>
                <a:gd name="T80" fmla="*/ 59 w 59"/>
                <a:gd name="T81" fmla="*/ 45 h 75"/>
                <a:gd name="T82" fmla="*/ 59 w 59"/>
                <a:gd name="T83" fmla="*/ 47 h 75"/>
                <a:gd name="T84" fmla="*/ 59 w 59"/>
                <a:gd name="T85" fmla="*/ 49 h 75"/>
                <a:gd name="T86" fmla="*/ 59 w 59"/>
                <a:gd name="T87" fmla="*/ 52 h 75"/>
                <a:gd name="T88" fmla="*/ 57 w 59"/>
                <a:gd name="T89" fmla="*/ 52 h 75"/>
                <a:gd name="T90" fmla="*/ 47 w 59"/>
                <a:gd name="T91" fmla="*/ 52 h 75"/>
                <a:gd name="T92" fmla="*/ 47 w 59"/>
                <a:gd name="T93" fmla="*/ 52 h 75"/>
                <a:gd name="T94" fmla="*/ 45 w 59"/>
                <a:gd name="T95" fmla="*/ 49 h 75"/>
                <a:gd name="T96" fmla="*/ 42 w 59"/>
                <a:gd name="T97" fmla="*/ 52 h 75"/>
                <a:gd name="T98" fmla="*/ 40 w 59"/>
                <a:gd name="T99" fmla="*/ 54 h 75"/>
                <a:gd name="T100" fmla="*/ 40 w 59"/>
                <a:gd name="T101" fmla="*/ 61 h 75"/>
                <a:gd name="T102" fmla="*/ 38 w 59"/>
                <a:gd name="T103" fmla="*/ 61 h 75"/>
                <a:gd name="T104" fmla="*/ 35 w 59"/>
                <a:gd name="T105" fmla="*/ 64 h 75"/>
                <a:gd name="T106" fmla="*/ 35 w 59"/>
                <a:gd name="T107" fmla="*/ 66 h 75"/>
                <a:gd name="T108" fmla="*/ 33 w 59"/>
                <a:gd name="T109" fmla="*/ 68 h 75"/>
                <a:gd name="T110" fmla="*/ 33 w 59"/>
                <a:gd name="T111" fmla="*/ 71 h 75"/>
                <a:gd name="T112" fmla="*/ 33 w 59"/>
                <a:gd name="T113" fmla="*/ 73 h 75"/>
                <a:gd name="T114" fmla="*/ 31 w 59"/>
                <a:gd name="T115" fmla="*/ 75 h 75"/>
                <a:gd name="T116" fmla="*/ 28 w 59"/>
                <a:gd name="T1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 h="75">
                  <a:moveTo>
                    <a:pt x="28" y="75"/>
                  </a:moveTo>
                  <a:lnTo>
                    <a:pt x="28" y="71"/>
                  </a:lnTo>
                  <a:lnTo>
                    <a:pt x="26" y="66"/>
                  </a:lnTo>
                  <a:lnTo>
                    <a:pt x="26" y="64"/>
                  </a:lnTo>
                  <a:lnTo>
                    <a:pt x="26" y="57"/>
                  </a:lnTo>
                  <a:lnTo>
                    <a:pt x="26" y="52"/>
                  </a:lnTo>
                  <a:lnTo>
                    <a:pt x="26" y="42"/>
                  </a:lnTo>
                  <a:lnTo>
                    <a:pt x="21" y="35"/>
                  </a:lnTo>
                  <a:lnTo>
                    <a:pt x="16" y="28"/>
                  </a:lnTo>
                  <a:lnTo>
                    <a:pt x="14" y="21"/>
                  </a:lnTo>
                  <a:lnTo>
                    <a:pt x="12" y="16"/>
                  </a:lnTo>
                  <a:lnTo>
                    <a:pt x="9" y="12"/>
                  </a:lnTo>
                  <a:lnTo>
                    <a:pt x="7" y="9"/>
                  </a:lnTo>
                  <a:lnTo>
                    <a:pt x="2" y="5"/>
                  </a:lnTo>
                  <a:lnTo>
                    <a:pt x="0" y="5"/>
                  </a:lnTo>
                  <a:lnTo>
                    <a:pt x="2" y="2"/>
                  </a:lnTo>
                  <a:lnTo>
                    <a:pt x="5" y="0"/>
                  </a:lnTo>
                  <a:lnTo>
                    <a:pt x="7" y="0"/>
                  </a:lnTo>
                  <a:lnTo>
                    <a:pt x="9" y="0"/>
                  </a:lnTo>
                  <a:lnTo>
                    <a:pt x="14" y="0"/>
                  </a:lnTo>
                  <a:lnTo>
                    <a:pt x="19" y="0"/>
                  </a:lnTo>
                  <a:lnTo>
                    <a:pt x="21" y="2"/>
                  </a:lnTo>
                  <a:lnTo>
                    <a:pt x="28" y="7"/>
                  </a:lnTo>
                  <a:lnTo>
                    <a:pt x="31" y="7"/>
                  </a:lnTo>
                  <a:lnTo>
                    <a:pt x="35" y="7"/>
                  </a:lnTo>
                  <a:lnTo>
                    <a:pt x="38" y="7"/>
                  </a:lnTo>
                  <a:lnTo>
                    <a:pt x="40" y="12"/>
                  </a:lnTo>
                  <a:lnTo>
                    <a:pt x="42" y="9"/>
                  </a:lnTo>
                  <a:lnTo>
                    <a:pt x="45" y="12"/>
                  </a:lnTo>
                  <a:lnTo>
                    <a:pt x="45" y="14"/>
                  </a:lnTo>
                  <a:lnTo>
                    <a:pt x="45" y="16"/>
                  </a:lnTo>
                  <a:lnTo>
                    <a:pt x="45" y="23"/>
                  </a:lnTo>
                  <a:lnTo>
                    <a:pt x="45" y="23"/>
                  </a:lnTo>
                  <a:lnTo>
                    <a:pt x="47" y="26"/>
                  </a:lnTo>
                  <a:lnTo>
                    <a:pt x="50" y="28"/>
                  </a:lnTo>
                  <a:lnTo>
                    <a:pt x="50" y="31"/>
                  </a:lnTo>
                  <a:lnTo>
                    <a:pt x="50" y="33"/>
                  </a:lnTo>
                  <a:lnTo>
                    <a:pt x="52" y="38"/>
                  </a:lnTo>
                  <a:lnTo>
                    <a:pt x="57" y="40"/>
                  </a:lnTo>
                  <a:lnTo>
                    <a:pt x="59" y="42"/>
                  </a:lnTo>
                  <a:lnTo>
                    <a:pt x="59" y="45"/>
                  </a:lnTo>
                  <a:lnTo>
                    <a:pt x="59" y="47"/>
                  </a:lnTo>
                  <a:lnTo>
                    <a:pt x="59" y="49"/>
                  </a:lnTo>
                  <a:lnTo>
                    <a:pt x="59" y="52"/>
                  </a:lnTo>
                  <a:lnTo>
                    <a:pt x="57" y="52"/>
                  </a:lnTo>
                  <a:lnTo>
                    <a:pt x="47" y="52"/>
                  </a:lnTo>
                  <a:lnTo>
                    <a:pt x="47" y="52"/>
                  </a:lnTo>
                  <a:lnTo>
                    <a:pt x="45" y="49"/>
                  </a:lnTo>
                  <a:lnTo>
                    <a:pt x="42" y="52"/>
                  </a:lnTo>
                  <a:lnTo>
                    <a:pt x="40" y="54"/>
                  </a:lnTo>
                  <a:lnTo>
                    <a:pt x="40" y="61"/>
                  </a:lnTo>
                  <a:lnTo>
                    <a:pt x="38" y="61"/>
                  </a:lnTo>
                  <a:lnTo>
                    <a:pt x="35" y="64"/>
                  </a:lnTo>
                  <a:lnTo>
                    <a:pt x="35" y="66"/>
                  </a:lnTo>
                  <a:lnTo>
                    <a:pt x="33" y="68"/>
                  </a:lnTo>
                  <a:lnTo>
                    <a:pt x="33" y="71"/>
                  </a:lnTo>
                  <a:lnTo>
                    <a:pt x="33" y="73"/>
                  </a:lnTo>
                  <a:lnTo>
                    <a:pt x="31" y="75"/>
                  </a:lnTo>
                  <a:lnTo>
                    <a:pt x="28" y="7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8" name="Freeform 590">
              <a:extLst>
                <a:ext uri="{FF2B5EF4-FFF2-40B4-BE49-F238E27FC236}">
                  <a16:creationId xmlns:a16="http://schemas.microsoft.com/office/drawing/2014/main" id="{60AF4C99-A312-4C78-8E08-0B725DC41193}"/>
                </a:ext>
              </a:extLst>
            </p:cNvPr>
            <p:cNvSpPr>
              <a:spLocks/>
            </p:cNvSpPr>
            <p:nvPr/>
          </p:nvSpPr>
          <p:spPr bwMode="auto">
            <a:xfrm>
              <a:off x="2013791" y="3000341"/>
              <a:ext cx="93662" cy="119063"/>
            </a:xfrm>
            <a:custGeom>
              <a:avLst/>
              <a:gdLst>
                <a:gd name="T0" fmla="*/ 28 w 59"/>
                <a:gd name="T1" fmla="*/ 75 h 75"/>
                <a:gd name="T2" fmla="*/ 28 w 59"/>
                <a:gd name="T3" fmla="*/ 71 h 75"/>
                <a:gd name="T4" fmla="*/ 26 w 59"/>
                <a:gd name="T5" fmla="*/ 66 h 75"/>
                <a:gd name="T6" fmla="*/ 26 w 59"/>
                <a:gd name="T7" fmla="*/ 64 h 75"/>
                <a:gd name="T8" fmla="*/ 26 w 59"/>
                <a:gd name="T9" fmla="*/ 57 h 75"/>
                <a:gd name="T10" fmla="*/ 26 w 59"/>
                <a:gd name="T11" fmla="*/ 52 h 75"/>
                <a:gd name="T12" fmla="*/ 26 w 59"/>
                <a:gd name="T13" fmla="*/ 42 h 75"/>
                <a:gd name="T14" fmla="*/ 21 w 59"/>
                <a:gd name="T15" fmla="*/ 35 h 75"/>
                <a:gd name="T16" fmla="*/ 16 w 59"/>
                <a:gd name="T17" fmla="*/ 28 h 75"/>
                <a:gd name="T18" fmla="*/ 14 w 59"/>
                <a:gd name="T19" fmla="*/ 21 h 75"/>
                <a:gd name="T20" fmla="*/ 12 w 59"/>
                <a:gd name="T21" fmla="*/ 16 h 75"/>
                <a:gd name="T22" fmla="*/ 9 w 59"/>
                <a:gd name="T23" fmla="*/ 12 h 75"/>
                <a:gd name="T24" fmla="*/ 7 w 59"/>
                <a:gd name="T25" fmla="*/ 9 h 75"/>
                <a:gd name="T26" fmla="*/ 2 w 59"/>
                <a:gd name="T27" fmla="*/ 5 h 75"/>
                <a:gd name="T28" fmla="*/ 0 w 59"/>
                <a:gd name="T29" fmla="*/ 5 h 75"/>
                <a:gd name="T30" fmla="*/ 2 w 59"/>
                <a:gd name="T31" fmla="*/ 2 h 75"/>
                <a:gd name="T32" fmla="*/ 5 w 59"/>
                <a:gd name="T33" fmla="*/ 0 h 75"/>
                <a:gd name="T34" fmla="*/ 7 w 59"/>
                <a:gd name="T35" fmla="*/ 0 h 75"/>
                <a:gd name="T36" fmla="*/ 9 w 59"/>
                <a:gd name="T37" fmla="*/ 0 h 75"/>
                <a:gd name="T38" fmla="*/ 14 w 59"/>
                <a:gd name="T39" fmla="*/ 0 h 75"/>
                <a:gd name="T40" fmla="*/ 19 w 59"/>
                <a:gd name="T41" fmla="*/ 0 h 75"/>
                <a:gd name="T42" fmla="*/ 21 w 59"/>
                <a:gd name="T43" fmla="*/ 2 h 75"/>
                <a:gd name="T44" fmla="*/ 28 w 59"/>
                <a:gd name="T45" fmla="*/ 7 h 75"/>
                <a:gd name="T46" fmla="*/ 31 w 59"/>
                <a:gd name="T47" fmla="*/ 7 h 75"/>
                <a:gd name="T48" fmla="*/ 35 w 59"/>
                <a:gd name="T49" fmla="*/ 7 h 75"/>
                <a:gd name="T50" fmla="*/ 38 w 59"/>
                <a:gd name="T51" fmla="*/ 7 h 75"/>
                <a:gd name="T52" fmla="*/ 40 w 59"/>
                <a:gd name="T53" fmla="*/ 12 h 75"/>
                <a:gd name="T54" fmla="*/ 42 w 59"/>
                <a:gd name="T55" fmla="*/ 9 h 75"/>
                <a:gd name="T56" fmla="*/ 45 w 59"/>
                <a:gd name="T57" fmla="*/ 12 h 75"/>
                <a:gd name="T58" fmla="*/ 45 w 59"/>
                <a:gd name="T59" fmla="*/ 14 h 75"/>
                <a:gd name="T60" fmla="*/ 45 w 59"/>
                <a:gd name="T61" fmla="*/ 16 h 75"/>
                <a:gd name="T62" fmla="*/ 45 w 59"/>
                <a:gd name="T63" fmla="*/ 23 h 75"/>
                <a:gd name="T64" fmla="*/ 45 w 59"/>
                <a:gd name="T65" fmla="*/ 23 h 75"/>
                <a:gd name="T66" fmla="*/ 47 w 59"/>
                <a:gd name="T67" fmla="*/ 26 h 75"/>
                <a:gd name="T68" fmla="*/ 50 w 59"/>
                <a:gd name="T69" fmla="*/ 28 h 75"/>
                <a:gd name="T70" fmla="*/ 50 w 59"/>
                <a:gd name="T71" fmla="*/ 31 h 75"/>
                <a:gd name="T72" fmla="*/ 50 w 59"/>
                <a:gd name="T73" fmla="*/ 33 h 75"/>
                <a:gd name="T74" fmla="*/ 52 w 59"/>
                <a:gd name="T75" fmla="*/ 38 h 75"/>
                <a:gd name="T76" fmla="*/ 57 w 59"/>
                <a:gd name="T77" fmla="*/ 40 h 75"/>
                <a:gd name="T78" fmla="*/ 59 w 59"/>
                <a:gd name="T79" fmla="*/ 42 h 75"/>
                <a:gd name="T80" fmla="*/ 59 w 59"/>
                <a:gd name="T81" fmla="*/ 45 h 75"/>
                <a:gd name="T82" fmla="*/ 59 w 59"/>
                <a:gd name="T83" fmla="*/ 47 h 75"/>
                <a:gd name="T84" fmla="*/ 59 w 59"/>
                <a:gd name="T85" fmla="*/ 49 h 75"/>
                <a:gd name="T86" fmla="*/ 59 w 59"/>
                <a:gd name="T87" fmla="*/ 52 h 75"/>
                <a:gd name="T88" fmla="*/ 57 w 59"/>
                <a:gd name="T89" fmla="*/ 52 h 75"/>
                <a:gd name="T90" fmla="*/ 47 w 59"/>
                <a:gd name="T91" fmla="*/ 52 h 75"/>
                <a:gd name="T92" fmla="*/ 47 w 59"/>
                <a:gd name="T93" fmla="*/ 52 h 75"/>
                <a:gd name="T94" fmla="*/ 45 w 59"/>
                <a:gd name="T95" fmla="*/ 49 h 75"/>
                <a:gd name="T96" fmla="*/ 42 w 59"/>
                <a:gd name="T97" fmla="*/ 52 h 75"/>
                <a:gd name="T98" fmla="*/ 40 w 59"/>
                <a:gd name="T99" fmla="*/ 54 h 75"/>
                <a:gd name="T100" fmla="*/ 40 w 59"/>
                <a:gd name="T101" fmla="*/ 61 h 75"/>
                <a:gd name="T102" fmla="*/ 38 w 59"/>
                <a:gd name="T103" fmla="*/ 61 h 75"/>
                <a:gd name="T104" fmla="*/ 35 w 59"/>
                <a:gd name="T105" fmla="*/ 64 h 75"/>
                <a:gd name="T106" fmla="*/ 35 w 59"/>
                <a:gd name="T107" fmla="*/ 66 h 75"/>
                <a:gd name="T108" fmla="*/ 33 w 59"/>
                <a:gd name="T109" fmla="*/ 68 h 75"/>
                <a:gd name="T110" fmla="*/ 33 w 59"/>
                <a:gd name="T111" fmla="*/ 71 h 75"/>
                <a:gd name="T112" fmla="*/ 33 w 59"/>
                <a:gd name="T113" fmla="*/ 73 h 75"/>
                <a:gd name="T114" fmla="*/ 31 w 59"/>
                <a:gd name="T115" fmla="*/ 75 h 75"/>
                <a:gd name="T116" fmla="*/ 28 w 59"/>
                <a:gd name="T1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 h="75">
                  <a:moveTo>
                    <a:pt x="28" y="75"/>
                  </a:moveTo>
                  <a:lnTo>
                    <a:pt x="28" y="71"/>
                  </a:lnTo>
                  <a:lnTo>
                    <a:pt x="26" y="66"/>
                  </a:lnTo>
                  <a:lnTo>
                    <a:pt x="26" y="64"/>
                  </a:lnTo>
                  <a:lnTo>
                    <a:pt x="26" y="57"/>
                  </a:lnTo>
                  <a:lnTo>
                    <a:pt x="26" y="52"/>
                  </a:lnTo>
                  <a:lnTo>
                    <a:pt x="26" y="42"/>
                  </a:lnTo>
                  <a:lnTo>
                    <a:pt x="21" y="35"/>
                  </a:lnTo>
                  <a:lnTo>
                    <a:pt x="16" y="28"/>
                  </a:lnTo>
                  <a:lnTo>
                    <a:pt x="14" y="21"/>
                  </a:lnTo>
                  <a:lnTo>
                    <a:pt x="12" y="16"/>
                  </a:lnTo>
                  <a:lnTo>
                    <a:pt x="9" y="12"/>
                  </a:lnTo>
                  <a:lnTo>
                    <a:pt x="7" y="9"/>
                  </a:lnTo>
                  <a:lnTo>
                    <a:pt x="2" y="5"/>
                  </a:lnTo>
                  <a:lnTo>
                    <a:pt x="0" y="5"/>
                  </a:lnTo>
                  <a:lnTo>
                    <a:pt x="2" y="2"/>
                  </a:lnTo>
                  <a:lnTo>
                    <a:pt x="5" y="0"/>
                  </a:lnTo>
                  <a:lnTo>
                    <a:pt x="7" y="0"/>
                  </a:lnTo>
                  <a:lnTo>
                    <a:pt x="9" y="0"/>
                  </a:lnTo>
                  <a:lnTo>
                    <a:pt x="14" y="0"/>
                  </a:lnTo>
                  <a:lnTo>
                    <a:pt x="19" y="0"/>
                  </a:lnTo>
                  <a:lnTo>
                    <a:pt x="21" y="2"/>
                  </a:lnTo>
                  <a:lnTo>
                    <a:pt x="28" y="7"/>
                  </a:lnTo>
                  <a:lnTo>
                    <a:pt x="31" y="7"/>
                  </a:lnTo>
                  <a:lnTo>
                    <a:pt x="35" y="7"/>
                  </a:lnTo>
                  <a:lnTo>
                    <a:pt x="38" y="7"/>
                  </a:lnTo>
                  <a:lnTo>
                    <a:pt x="40" y="12"/>
                  </a:lnTo>
                  <a:lnTo>
                    <a:pt x="42" y="9"/>
                  </a:lnTo>
                  <a:lnTo>
                    <a:pt x="45" y="12"/>
                  </a:lnTo>
                  <a:lnTo>
                    <a:pt x="45" y="14"/>
                  </a:lnTo>
                  <a:lnTo>
                    <a:pt x="45" y="16"/>
                  </a:lnTo>
                  <a:lnTo>
                    <a:pt x="45" y="23"/>
                  </a:lnTo>
                  <a:lnTo>
                    <a:pt x="45" y="23"/>
                  </a:lnTo>
                  <a:lnTo>
                    <a:pt x="47" y="26"/>
                  </a:lnTo>
                  <a:lnTo>
                    <a:pt x="50" y="28"/>
                  </a:lnTo>
                  <a:lnTo>
                    <a:pt x="50" y="31"/>
                  </a:lnTo>
                  <a:lnTo>
                    <a:pt x="50" y="33"/>
                  </a:lnTo>
                  <a:lnTo>
                    <a:pt x="52" y="38"/>
                  </a:lnTo>
                  <a:lnTo>
                    <a:pt x="57" y="40"/>
                  </a:lnTo>
                  <a:lnTo>
                    <a:pt x="59" y="42"/>
                  </a:lnTo>
                  <a:lnTo>
                    <a:pt x="59" y="45"/>
                  </a:lnTo>
                  <a:lnTo>
                    <a:pt x="59" y="47"/>
                  </a:lnTo>
                  <a:lnTo>
                    <a:pt x="59" y="49"/>
                  </a:lnTo>
                  <a:lnTo>
                    <a:pt x="59" y="52"/>
                  </a:lnTo>
                  <a:lnTo>
                    <a:pt x="57" y="52"/>
                  </a:lnTo>
                  <a:lnTo>
                    <a:pt x="47" y="52"/>
                  </a:lnTo>
                  <a:lnTo>
                    <a:pt x="47" y="52"/>
                  </a:lnTo>
                  <a:lnTo>
                    <a:pt x="45" y="49"/>
                  </a:lnTo>
                  <a:lnTo>
                    <a:pt x="42" y="52"/>
                  </a:lnTo>
                  <a:lnTo>
                    <a:pt x="40" y="54"/>
                  </a:lnTo>
                  <a:lnTo>
                    <a:pt x="40" y="61"/>
                  </a:lnTo>
                  <a:lnTo>
                    <a:pt x="38" y="61"/>
                  </a:lnTo>
                  <a:lnTo>
                    <a:pt x="35" y="64"/>
                  </a:lnTo>
                  <a:lnTo>
                    <a:pt x="35" y="66"/>
                  </a:lnTo>
                  <a:lnTo>
                    <a:pt x="33" y="68"/>
                  </a:lnTo>
                  <a:lnTo>
                    <a:pt x="33" y="71"/>
                  </a:lnTo>
                  <a:lnTo>
                    <a:pt x="33" y="73"/>
                  </a:lnTo>
                  <a:lnTo>
                    <a:pt x="31" y="75"/>
                  </a:lnTo>
                  <a:lnTo>
                    <a:pt x="28" y="7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49" name="Freeform 591">
              <a:extLst>
                <a:ext uri="{FF2B5EF4-FFF2-40B4-BE49-F238E27FC236}">
                  <a16:creationId xmlns:a16="http://schemas.microsoft.com/office/drawing/2014/main" id="{F1C9C2E1-314B-45C8-B33F-7AA293B32DD0}"/>
                </a:ext>
              </a:extLst>
            </p:cNvPr>
            <p:cNvSpPr>
              <a:spLocks/>
            </p:cNvSpPr>
            <p:nvPr/>
          </p:nvSpPr>
          <p:spPr bwMode="auto">
            <a:xfrm>
              <a:off x="1537541" y="2978116"/>
              <a:ext cx="214313" cy="104775"/>
            </a:xfrm>
            <a:custGeom>
              <a:avLst/>
              <a:gdLst>
                <a:gd name="T0" fmla="*/ 75 w 135"/>
                <a:gd name="T1" fmla="*/ 9 h 66"/>
                <a:gd name="T2" fmla="*/ 68 w 135"/>
                <a:gd name="T3" fmla="*/ 14 h 66"/>
                <a:gd name="T4" fmla="*/ 61 w 135"/>
                <a:gd name="T5" fmla="*/ 19 h 66"/>
                <a:gd name="T6" fmla="*/ 59 w 135"/>
                <a:gd name="T7" fmla="*/ 28 h 66"/>
                <a:gd name="T8" fmla="*/ 61 w 135"/>
                <a:gd name="T9" fmla="*/ 35 h 66"/>
                <a:gd name="T10" fmla="*/ 59 w 135"/>
                <a:gd name="T11" fmla="*/ 35 h 66"/>
                <a:gd name="T12" fmla="*/ 50 w 135"/>
                <a:gd name="T13" fmla="*/ 33 h 66"/>
                <a:gd name="T14" fmla="*/ 38 w 135"/>
                <a:gd name="T15" fmla="*/ 37 h 66"/>
                <a:gd name="T16" fmla="*/ 28 w 135"/>
                <a:gd name="T17" fmla="*/ 40 h 66"/>
                <a:gd name="T18" fmla="*/ 19 w 135"/>
                <a:gd name="T19" fmla="*/ 37 h 66"/>
                <a:gd name="T20" fmla="*/ 16 w 135"/>
                <a:gd name="T21" fmla="*/ 42 h 66"/>
                <a:gd name="T22" fmla="*/ 12 w 135"/>
                <a:gd name="T23" fmla="*/ 42 h 66"/>
                <a:gd name="T24" fmla="*/ 7 w 135"/>
                <a:gd name="T25" fmla="*/ 37 h 66"/>
                <a:gd name="T26" fmla="*/ 0 w 135"/>
                <a:gd name="T27" fmla="*/ 40 h 66"/>
                <a:gd name="T28" fmla="*/ 5 w 135"/>
                <a:gd name="T29" fmla="*/ 42 h 66"/>
                <a:gd name="T30" fmla="*/ 7 w 135"/>
                <a:gd name="T31" fmla="*/ 49 h 66"/>
                <a:gd name="T32" fmla="*/ 7 w 135"/>
                <a:gd name="T33" fmla="*/ 54 h 66"/>
                <a:gd name="T34" fmla="*/ 12 w 135"/>
                <a:gd name="T35" fmla="*/ 54 h 66"/>
                <a:gd name="T36" fmla="*/ 16 w 135"/>
                <a:gd name="T37" fmla="*/ 56 h 66"/>
                <a:gd name="T38" fmla="*/ 24 w 135"/>
                <a:gd name="T39" fmla="*/ 56 h 66"/>
                <a:gd name="T40" fmla="*/ 33 w 135"/>
                <a:gd name="T41" fmla="*/ 52 h 66"/>
                <a:gd name="T42" fmla="*/ 42 w 135"/>
                <a:gd name="T43" fmla="*/ 52 h 66"/>
                <a:gd name="T44" fmla="*/ 47 w 135"/>
                <a:gd name="T45" fmla="*/ 49 h 66"/>
                <a:gd name="T46" fmla="*/ 47 w 135"/>
                <a:gd name="T47" fmla="*/ 52 h 66"/>
                <a:gd name="T48" fmla="*/ 50 w 135"/>
                <a:gd name="T49" fmla="*/ 56 h 66"/>
                <a:gd name="T50" fmla="*/ 54 w 135"/>
                <a:gd name="T51" fmla="*/ 59 h 66"/>
                <a:gd name="T52" fmla="*/ 66 w 135"/>
                <a:gd name="T53" fmla="*/ 63 h 66"/>
                <a:gd name="T54" fmla="*/ 73 w 135"/>
                <a:gd name="T55" fmla="*/ 63 h 66"/>
                <a:gd name="T56" fmla="*/ 87 w 135"/>
                <a:gd name="T57" fmla="*/ 66 h 66"/>
                <a:gd name="T58" fmla="*/ 94 w 135"/>
                <a:gd name="T59" fmla="*/ 61 h 66"/>
                <a:gd name="T60" fmla="*/ 104 w 135"/>
                <a:gd name="T61" fmla="*/ 61 h 66"/>
                <a:gd name="T62" fmla="*/ 106 w 135"/>
                <a:gd name="T63" fmla="*/ 59 h 66"/>
                <a:gd name="T64" fmla="*/ 113 w 135"/>
                <a:gd name="T65" fmla="*/ 56 h 66"/>
                <a:gd name="T66" fmla="*/ 118 w 135"/>
                <a:gd name="T67" fmla="*/ 52 h 66"/>
                <a:gd name="T68" fmla="*/ 123 w 135"/>
                <a:gd name="T69" fmla="*/ 47 h 66"/>
                <a:gd name="T70" fmla="*/ 125 w 135"/>
                <a:gd name="T71" fmla="*/ 37 h 66"/>
                <a:gd name="T72" fmla="*/ 125 w 135"/>
                <a:gd name="T73" fmla="*/ 33 h 66"/>
                <a:gd name="T74" fmla="*/ 135 w 135"/>
                <a:gd name="T75" fmla="*/ 30 h 66"/>
                <a:gd name="T76" fmla="*/ 132 w 135"/>
                <a:gd name="T77" fmla="*/ 19 h 66"/>
                <a:gd name="T78" fmla="*/ 130 w 135"/>
                <a:gd name="T79" fmla="*/ 11 h 66"/>
                <a:gd name="T80" fmla="*/ 127 w 135"/>
                <a:gd name="T81" fmla="*/ 4 h 66"/>
                <a:gd name="T82" fmla="*/ 111 w 135"/>
                <a:gd name="T83" fmla="*/ 2 h 66"/>
                <a:gd name="T84" fmla="*/ 99 w 135"/>
                <a:gd name="T85" fmla="*/ 0 h 66"/>
                <a:gd name="T86" fmla="*/ 94 w 135"/>
                <a:gd name="T87" fmla="*/ 7 h 66"/>
                <a:gd name="T88" fmla="*/ 90 w 135"/>
                <a:gd name="T89" fmla="*/ 9 h 66"/>
                <a:gd name="T90" fmla="*/ 83 w 135"/>
                <a:gd name="T91" fmla="*/ 9 h 66"/>
                <a:gd name="T92" fmla="*/ 75 w 135"/>
                <a:gd name="T93" fmla="*/ 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 h="66">
                  <a:moveTo>
                    <a:pt x="75" y="7"/>
                  </a:moveTo>
                  <a:lnTo>
                    <a:pt x="75" y="9"/>
                  </a:lnTo>
                  <a:lnTo>
                    <a:pt x="71" y="11"/>
                  </a:lnTo>
                  <a:lnTo>
                    <a:pt x="68" y="14"/>
                  </a:lnTo>
                  <a:lnTo>
                    <a:pt x="68" y="16"/>
                  </a:lnTo>
                  <a:lnTo>
                    <a:pt x="61" y="19"/>
                  </a:lnTo>
                  <a:lnTo>
                    <a:pt x="59" y="23"/>
                  </a:lnTo>
                  <a:lnTo>
                    <a:pt x="59" y="28"/>
                  </a:lnTo>
                  <a:lnTo>
                    <a:pt x="61" y="33"/>
                  </a:lnTo>
                  <a:lnTo>
                    <a:pt x="61" y="35"/>
                  </a:lnTo>
                  <a:lnTo>
                    <a:pt x="59" y="37"/>
                  </a:lnTo>
                  <a:lnTo>
                    <a:pt x="59" y="35"/>
                  </a:lnTo>
                  <a:lnTo>
                    <a:pt x="54" y="35"/>
                  </a:lnTo>
                  <a:lnTo>
                    <a:pt x="50" y="33"/>
                  </a:lnTo>
                  <a:lnTo>
                    <a:pt x="47" y="35"/>
                  </a:lnTo>
                  <a:lnTo>
                    <a:pt x="38" y="37"/>
                  </a:lnTo>
                  <a:lnTo>
                    <a:pt x="31" y="40"/>
                  </a:lnTo>
                  <a:lnTo>
                    <a:pt x="28" y="40"/>
                  </a:lnTo>
                  <a:lnTo>
                    <a:pt x="24" y="37"/>
                  </a:lnTo>
                  <a:lnTo>
                    <a:pt x="19" y="37"/>
                  </a:lnTo>
                  <a:lnTo>
                    <a:pt x="16" y="40"/>
                  </a:lnTo>
                  <a:lnTo>
                    <a:pt x="16" y="42"/>
                  </a:lnTo>
                  <a:lnTo>
                    <a:pt x="14" y="42"/>
                  </a:lnTo>
                  <a:lnTo>
                    <a:pt x="12" y="42"/>
                  </a:lnTo>
                  <a:lnTo>
                    <a:pt x="9" y="37"/>
                  </a:lnTo>
                  <a:lnTo>
                    <a:pt x="7" y="37"/>
                  </a:lnTo>
                  <a:lnTo>
                    <a:pt x="5" y="37"/>
                  </a:lnTo>
                  <a:lnTo>
                    <a:pt x="0" y="40"/>
                  </a:lnTo>
                  <a:lnTo>
                    <a:pt x="2" y="42"/>
                  </a:lnTo>
                  <a:lnTo>
                    <a:pt x="5" y="42"/>
                  </a:lnTo>
                  <a:lnTo>
                    <a:pt x="7" y="45"/>
                  </a:lnTo>
                  <a:lnTo>
                    <a:pt x="7" y="49"/>
                  </a:lnTo>
                  <a:lnTo>
                    <a:pt x="5" y="52"/>
                  </a:lnTo>
                  <a:lnTo>
                    <a:pt x="7" y="54"/>
                  </a:lnTo>
                  <a:lnTo>
                    <a:pt x="9" y="54"/>
                  </a:lnTo>
                  <a:lnTo>
                    <a:pt x="12" y="54"/>
                  </a:lnTo>
                  <a:lnTo>
                    <a:pt x="14" y="54"/>
                  </a:lnTo>
                  <a:lnTo>
                    <a:pt x="16" y="56"/>
                  </a:lnTo>
                  <a:lnTo>
                    <a:pt x="21" y="56"/>
                  </a:lnTo>
                  <a:lnTo>
                    <a:pt x="24" y="56"/>
                  </a:lnTo>
                  <a:lnTo>
                    <a:pt x="28" y="54"/>
                  </a:lnTo>
                  <a:lnTo>
                    <a:pt x="33" y="52"/>
                  </a:lnTo>
                  <a:lnTo>
                    <a:pt x="40" y="52"/>
                  </a:lnTo>
                  <a:lnTo>
                    <a:pt x="42" y="52"/>
                  </a:lnTo>
                  <a:lnTo>
                    <a:pt x="45" y="49"/>
                  </a:lnTo>
                  <a:lnTo>
                    <a:pt x="47" y="49"/>
                  </a:lnTo>
                  <a:lnTo>
                    <a:pt x="47" y="49"/>
                  </a:lnTo>
                  <a:lnTo>
                    <a:pt x="47" y="52"/>
                  </a:lnTo>
                  <a:lnTo>
                    <a:pt x="47" y="54"/>
                  </a:lnTo>
                  <a:lnTo>
                    <a:pt x="50" y="56"/>
                  </a:lnTo>
                  <a:lnTo>
                    <a:pt x="52" y="59"/>
                  </a:lnTo>
                  <a:lnTo>
                    <a:pt x="54" y="59"/>
                  </a:lnTo>
                  <a:lnTo>
                    <a:pt x="57" y="61"/>
                  </a:lnTo>
                  <a:lnTo>
                    <a:pt x="66" y="63"/>
                  </a:lnTo>
                  <a:lnTo>
                    <a:pt x="71" y="63"/>
                  </a:lnTo>
                  <a:lnTo>
                    <a:pt x="73" y="63"/>
                  </a:lnTo>
                  <a:lnTo>
                    <a:pt x="80" y="63"/>
                  </a:lnTo>
                  <a:lnTo>
                    <a:pt x="87" y="66"/>
                  </a:lnTo>
                  <a:lnTo>
                    <a:pt x="92" y="63"/>
                  </a:lnTo>
                  <a:lnTo>
                    <a:pt x="94" y="61"/>
                  </a:lnTo>
                  <a:lnTo>
                    <a:pt x="99" y="59"/>
                  </a:lnTo>
                  <a:lnTo>
                    <a:pt x="104" y="61"/>
                  </a:lnTo>
                  <a:lnTo>
                    <a:pt x="106" y="59"/>
                  </a:lnTo>
                  <a:lnTo>
                    <a:pt x="106" y="59"/>
                  </a:lnTo>
                  <a:lnTo>
                    <a:pt x="113" y="59"/>
                  </a:lnTo>
                  <a:lnTo>
                    <a:pt x="113" y="56"/>
                  </a:lnTo>
                  <a:lnTo>
                    <a:pt x="116" y="54"/>
                  </a:lnTo>
                  <a:lnTo>
                    <a:pt x="118" y="52"/>
                  </a:lnTo>
                  <a:lnTo>
                    <a:pt x="123" y="49"/>
                  </a:lnTo>
                  <a:lnTo>
                    <a:pt x="123" y="47"/>
                  </a:lnTo>
                  <a:lnTo>
                    <a:pt x="123" y="45"/>
                  </a:lnTo>
                  <a:lnTo>
                    <a:pt x="125" y="37"/>
                  </a:lnTo>
                  <a:lnTo>
                    <a:pt x="123" y="35"/>
                  </a:lnTo>
                  <a:lnTo>
                    <a:pt x="125" y="33"/>
                  </a:lnTo>
                  <a:lnTo>
                    <a:pt x="132" y="33"/>
                  </a:lnTo>
                  <a:lnTo>
                    <a:pt x="135" y="30"/>
                  </a:lnTo>
                  <a:lnTo>
                    <a:pt x="135" y="23"/>
                  </a:lnTo>
                  <a:lnTo>
                    <a:pt x="132" y="19"/>
                  </a:lnTo>
                  <a:lnTo>
                    <a:pt x="130" y="11"/>
                  </a:lnTo>
                  <a:lnTo>
                    <a:pt x="130" y="11"/>
                  </a:lnTo>
                  <a:lnTo>
                    <a:pt x="130" y="9"/>
                  </a:lnTo>
                  <a:lnTo>
                    <a:pt x="127" y="4"/>
                  </a:lnTo>
                  <a:lnTo>
                    <a:pt x="116" y="7"/>
                  </a:lnTo>
                  <a:lnTo>
                    <a:pt x="111" y="2"/>
                  </a:lnTo>
                  <a:lnTo>
                    <a:pt x="109" y="0"/>
                  </a:lnTo>
                  <a:lnTo>
                    <a:pt x="99" y="0"/>
                  </a:lnTo>
                  <a:lnTo>
                    <a:pt x="97" y="2"/>
                  </a:lnTo>
                  <a:lnTo>
                    <a:pt x="94" y="7"/>
                  </a:lnTo>
                  <a:lnTo>
                    <a:pt x="92" y="9"/>
                  </a:lnTo>
                  <a:lnTo>
                    <a:pt x="90" y="9"/>
                  </a:lnTo>
                  <a:lnTo>
                    <a:pt x="85" y="9"/>
                  </a:lnTo>
                  <a:lnTo>
                    <a:pt x="83" y="9"/>
                  </a:lnTo>
                  <a:lnTo>
                    <a:pt x="80" y="7"/>
                  </a:lnTo>
                  <a:lnTo>
                    <a:pt x="75"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0" name="Freeform 592">
              <a:extLst>
                <a:ext uri="{FF2B5EF4-FFF2-40B4-BE49-F238E27FC236}">
                  <a16:creationId xmlns:a16="http://schemas.microsoft.com/office/drawing/2014/main" id="{B789F82C-E1DD-4284-AB4A-0D3C3FEFC906}"/>
                </a:ext>
              </a:extLst>
            </p:cNvPr>
            <p:cNvSpPr>
              <a:spLocks/>
            </p:cNvSpPr>
            <p:nvPr/>
          </p:nvSpPr>
          <p:spPr bwMode="auto">
            <a:xfrm>
              <a:off x="1537541" y="2978116"/>
              <a:ext cx="214313" cy="104775"/>
            </a:xfrm>
            <a:custGeom>
              <a:avLst/>
              <a:gdLst>
                <a:gd name="T0" fmla="*/ 75 w 135"/>
                <a:gd name="T1" fmla="*/ 9 h 66"/>
                <a:gd name="T2" fmla="*/ 68 w 135"/>
                <a:gd name="T3" fmla="*/ 14 h 66"/>
                <a:gd name="T4" fmla="*/ 61 w 135"/>
                <a:gd name="T5" fmla="*/ 19 h 66"/>
                <a:gd name="T6" fmla="*/ 59 w 135"/>
                <a:gd name="T7" fmla="*/ 28 h 66"/>
                <a:gd name="T8" fmla="*/ 61 w 135"/>
                <a:gd name="T9" fmla="*/ 35 h 66"/>
                <a:gd name="T10" fmla="*/ 59 w 135"/>
                <a:gd name="T11" fmla="*/ 35 h 66"/>
                <a:gd name="T12" fmla="*/ 50 w 135"/>
                <a:gd name="T13" fmla="*/ 33 h 66"/>
                <a:gd name="T14" fmla="*/ 38 w 135"/>
                <a:gd name="T15" fmla="*/ 37 h 66"/>
                <a:gd name="T16" fmla="*/ 28 w 135"/>
                <a:gd name="T17" fmla="*/ 40 h 66"/>
                <a:gd name="T18" fmla="*/ 19 w 135"/>
                <a:gd name="T19" fmla="*/ 37 h 66"/>
                <a:gd name="T20" fmla="*/ 16 w 135"/>
                <a:gd name="T21" fmla="*/ 42 h 66"/>
                <a:gd name="T22" fmla="*/ 12 w 135"/>
                <a:gd name="T23" fmla="*/ 42 h 66"/>
                <a:gd name="T24" fmla="*/ 7 w 135"/>
                <a:gd name="T25" fmla="*/ 37 h 66"/>
                <a:gd name="T26" fmla="*/ 0 w 135"/>
                <a:gd name="T27" fmla="*/ 40 h 66"/>
                <a:gd name="T28" fmla="*/ 5 w 135"/>
                <a:gd name="T29" fmla="*/ 42 h 66"/>
                <a:gd name="T30" fmla="*/ 7 w 135"/>
                <a:gd name="T31" fmla="*/ 49 h 66"/>
                <a:gd name="T32" fmla="*/ 7 w 135"/>
                <a:gd name="T33" fmla="*/ 54 h 66"/>
                <a:gd name="T34" fmla="*/ 12 w 135"/>
                <a:gd name="T35" fmla="*/ 54 h 66"/>
                <a:gd name="T36" fmla="*/ 16 w 135"/>
                <a:gd name="T37" fmla="*/ 56 h 66"/>
                <a:gd name="T38" fmla="*/ 24 w 135"/>
                <a:gd name="T39" fmla="*/ 56 h 66"/>
                <a:gd name="T40" fmla="*/ 33 w 135"/>
                <a:gd name="T41" fmla="*/ 52 h 66"/>
                <a:gd name="T42" fmla="*/ 42 w 135"/>
                <a:gd name="T43" fmla="*/ 52 h 66"/>
                <a:gd name="T44" fmla="*/ 47 w 135"/>
                <a:gd name="T45" fmla="*/ 49 h 66"/>
                <a:gd name="T46" fmla="*/ 47 w 135"/>
                <a:gd name="T47" fmla="*/ 52 h 66"/>
                <a:gd name="T48" fmla="*/ 50 w 135"/>
                <a:gd name="T49" fmla="*/ 56 h 66"/>
                <a:gd name="T50" fmla="*/ 54 w 135"/>
                <a:gd name="T51" fmla="*/ 59 h 66"/>
                <a:gd name="T52" fmla="*/ 66 w 135"/>
                <a:gd name="T53" fmla="*/ 63 h 66"/>
                <a:gd name="T54" fmla="*/ 73 w 135"/>
                <a:gd name="T55" fmla="*/ 63 h 66"/>
                <a:gd name="T56" fmla="*/ 87 w 135"/>
                <a:gd name="T57" fmla="*/ 66 h 66"/>
                <a:gd name="T58" fmla="*/ 94 w 135"/>
                <a:gd name="T59" fmla="*/ 61 h 66"/>
                <a:gd name="T60" fmla="*/ 104 w 135"/>
                <a:gd name="T61" fmla="*/ 61 h 66"/>
                <a:gd name="T62" fmla="*/ 106 w 135"/>
                <a:gd name="T63" fmla="*/ 59 h 66"/>
                <a:gd name="T64" fmla="*/ 113 w 135"/>
                <a:gd name="T65" fmla="*/ 56 h 66"/>
                <a:gd name="T66" fmla="*/ 118 w 135"/>
                <a:gd name="T67" fmla="*/ 52 h 66"/>
                <a:gd name="T68" fmla="*/ 123 w 135"/>
                <a:gd name="T69" fmla="*/ 47 h 66"/>
                <a:gd name="T70" fmla="*/ 125 w 135"/>
                <a:gd name="T71" fmla="*/ 37 h 66"/>
                <a:gd name="T72" fmla="*/ 125 w 135"/>
                <a:gd name="T73" fmla="*/ 33 h 66"/>
                <a:gd name="T74" fmla="*/ 135 w 135"/>
                <a:gd name="T75" fmla="*/ 30 h 66"/>
                <a:gd name="T76" fmla="*/ 132 w 135"/>
                <a:gd name="T77" fmla="*/ 19 h 66"/>
                <a:gd name="T78" fmla="*/ 130 w 135"/>
                <a:gd name="T79" fmla="*/ 11 h 66"/>
                <a:gd name="T80" fmla="*/ 127 w 135"/>
                <a:gd name="T81" fmla="*/ 4 h 66"/>
                <a:gd name="T82" fmla="*/ 111 w 135"/>
                <a:gd name="T83" fmla="*/ 2 h 66"/>
                <a:gd name="T84" fmla="*/ 99 w 135"/>
                <a:gd name="T85" fmla="*/ 0 h 66"/>
                <a:gd name="T86" fmla="*/ 94 w 135"/>
                <a:gd name="T87" fmla="*/ 7 h 66"/>
                <a:gd name="T88" fmla="*/ 90 w 135"/>
                <a:gd name="T89" fmla="*/ 9 h 66"/>
                <a:gd name="T90" fmla="*/ 83 w 135"/>
                <a:gd name="T91" fmla="*/ 9 h 66"/>
                <a:gd name="T92" fmla="*/ 75 w 135"/>
                <a:gd name="T93" fmla="*/ 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 h="66">
                  <a:moveTo>
                    <a:pt x="75" y="7"/>
                  </a:moveTo>
                  <a:lnTo>
                    <a:pt x="75" y="9"/>
                  </a:lnTo>
                  <a:lnTo>
                    <a:pt x="71" y="11"/>
                  </a:lnTo>
                  <a:lnTo>
                    <a:pt x="68" y="14"/>
                  </a:lnTo>
                  <a:lnTo>
                    <a:pt x="68" y="16"/>
                  </a:lnTo>
                  <a:lnTo>
                    <a:pt x="61" y="19"/>
                  </a:lnTo>
                  <a:lnTo>
                    <a:pt x="59" y="23"/>
                  </a:lnTo>
                  <a:lnTo>
                    <a:pt x="59" y="28"/>
                  </a:lnTo>
                  <a:lnTo>
                    <a:pt x="61" y="33"/>
                  </a:lnTo>
                  <a:lnTo>
                    <a:pt x="61" y="35"/>
                  </a:lnTo>
                  <a:lnTo>
                    <a:pt x="59" y="37"/>
                  </a:lnTo>
                  <a:lnTo>
                    <a:pt x="59" y="35"/>
                  </a:lnTo>
                  <a:lnTo>
                    <a:pt x="54" y="35"/>
                  </a:lnTo>
                  <a:lnTo>
                    <a:pt x="50" y="33"/>
                  </a:lnTo>
                  <a:lnTo>
                    <a:pt x="47" y="35"/>
                  </a:lnTo>
                  <a:lnTo>
                    <a:pt x="38" y="37"/>
                  </a:lnTo>
                  <a:lnTo>
                    <a:pt x="31" y="40"/>
                  </a:lnTo>
                  <a:lnTo>
                    <a:pt x="28" y="40"/>
                  </a:lnTo>
                  <a:lnTo>
                    <a:pt x="24" y="37"/>
                  </a:lnTo>
                  <a:lnTo>
                    <a:pt x="19" y="37"/>
                  </a:lnTo>
                  <a:lnTo>
                    <a:pt x="16" y="40"/>
                  </a:lnTo>
                  <a:lnTo>
                    <a:pt x="16" y="42"/>
                  </a:lnTo>
                  <a:lnTo>
                    <a:pt x="14" y="42"/>
                  </a:lnTo>
                  <a:lnTo>
                    <a:pt x="12" y="42"/>
                  </a:lnTo>
                  <a:lnTo>
                    <a:pt x="9" y="37"/>
                  </a:lnTo>
                  <a:lnTo>
                    <a:pt x="7" y="37"/>
                  </a:lnTo>
                  <a:lnTo>
                    <a:pt x="5" y="37"/>
                  </a:lnTo>
                  <a:lnTo>
                    <a:pt x="0" y="40"/>
                  </a:lnTo>
                  <a:lnTo>
                    <a:pt x="2" y="42"/>
                  </a:lnTo>
                  <a:lnTo>
                    <a:pt x="5" y="42"/>
                  </a:lnTo>
                  <a:lnTo>
                    <a:pt x="7" y="45"/>
                  </a:lnTo>
                  <a:lnTo>
                    <a:pt x="7" y="49"/>
                  </a:lnTo>
                  <a:lnTo>
                    <a:pt x="5" y="52"/>
                  </a:lnTo>
                  <a:lnTo>
                    <a:pt x="7" y="54"/>
                  </a:lnTo>
                  <a:lnTo>
                    <a:pt x="9" y="54"/>
                  </a:lnTo>
                  <a:lnTo>
                    <a:pt x="12" y="54"/>
                  </a:lnTo>
                  <a:lnTo>
                    <a:pt x="14" y="54"/>
                  </a:lnTo>
                  <a:lnTo>
                    <a:pt x="16" y="56"/>
                  </a:lnTo>
                  <a:lnTo>
                    <a:pt x="21" y="56"/>
                  </a:lnTo>
                  <a:lnTo>
                    <a:pt x="24" y="56"/>
                  </a:lnTo>
                  <a:lnTo>
                    <a:pt x="28" y="54"/>
                  </a:lnTo>
                  <a:lnTo>
                    <a:pt x="33" y="52"/>
                  </a:lnTo>
                  <a:lnTo>
                    <a:pt x="40" y="52"/>
                  </a:lnTo>
                  <a:lnTo>
                    <a:pt x="42" y="52"/>
                  </a:lnTo>
                  <a:lnTo>
                    <a:pt x="45" y="49"/>
                  </a:lnTo>
                  <a:lnTo>
                    <a:pt x="47" y="49"/>
                  </a:lnTo>
                  <a:lnTo>
                    <a:pt x="47" y="49"/>
                  </a:lnTo>
                  <a:lnTo>
                    <a:pt x="47" y="52"/>
                  </a:lnTo>
                  <a:lnTo>
                    <a:pt x="47" y="54"/>
                  </a:lnTo>
                  <a:lnTo>
                    <a:pt x="50" y="56"/>
                  </a:lnTo>
                  <a:lnTo>
                    <a:pt x="52" y="59"/>
                  </a:lnTo>
                  <a:lnTo>
                    <a:pt x="54" y="59"/>
                  </a:lnTo>
                  <a:lnTo>
                    <a:pt x="57" y="61"/>
                  </a:lnTo>
                  <a:lnTo>
                    <a:pt x="66" y="63"/>
                  </a:lnTo>
                  <a:lnTo>
                    <a:pt x="71" y="63"/>
                  </a:lnTo>
                  <a:lnTo>
                    <a:pt x="73" y="63"/>
                  </a:lnTo>
                  <a:lnTo>
                    <a:pt x="80" y="63"/>
                  </a:lnTo>
                  <a:lnTo>
                    <a:pt x="87" y="66"/>
                  </a:lnTo>
                  <a:lnTo>
                    <a:pt x="92" y="63"/>
                  </a:lnTo>
                  <a:lnTo>
                    <a:pt x="94" y="61"/>
                  </a:lnTo>
                  <a:lnTo>
                    <a:pt x="99" y="59"/>
                  </a:lnTo>
                  <a:lnTo>
                    <a:pt x="104" y="61"/>
                  </a:lnTo>
                  <a:lnTo>
                    <a:pt x="106" y="59"/>
                  </a:lnTo>
                  <a:lnTo>
                    <a:pt x="106" y="59"/>
                  </a:lnTo>
                  <a:lnTo>
                    <a:pt x="113" y="59"/>
                  </a:lnTo>
                  <a:lnTo>
                    <a:pt x="113" y="56"/>
                  </a:lnTo>
                  <a:lnTo>
                    <a:pt x="116" y="54"/>
                  </a:lnTo>
                  <a:lnTo>
                    <a:pt x="118" y="52"/>
                  </a:lnTo>
                  <a:lnTo>
                    <a:pt x="123" y="49"/>
                  </a:lnTo>
                  <a:lnTo>
                    <a:pt x="123" y="47"/>
                  </a:lnTo>
                  <a:lnTo>
                    <a:pt x="123" y="45"/>
                  </a:lnTo>
                  <a:lnTo>
                    <a:pt x="125" y="37"/>
                  </a:lnTo>
                  <a:lnTo>
                    <a:pt x="123" y="35"/>
                  </a:lnTo>
                  <a:lnTo>
                    <a:pt x="125" y="33"/>
                  </a:lnTo>
                  <a:lnTo>
                    <a:pt x="132" y="33"/>
                  </a:lnTo>
                  <a:lnTo>
                    <a:pt x="135" y="30"/>
                  </a:lnTo>
                  <a:lnTo>
                    <a:pt x="135" y="23"/>
                  </a:lnTo>
                  <a:lnTo>
                    <a:pt x="132" y="19"/>
                  </a:lnTo>
                  <a:lnTo>
                    <a:pt x="130" y="11"/>
                  </a:lnTo>
                  <a:lnTo>
                    <a:pt x="130" y="11"/>
                  </a:lnTo>
                  <a:lnTo>
                    <a:pt x="130" y="9"/>
                  </a:lnTo>
                  <a:lnTo>
                    <a:pt x="127" y="4"/>
                  </a:lnTo>
                  <a:lnTo>
                    <a:pt x="116" y="7"/>
                  </a:lnTo>
                  <a:lnTo>
                    <a:pt x="111" y="2"/>
                  </a:lnTo>
                  <a:lnTo>
                    <a:pt x="109" y="0"/>
                  </a:lnTo>
                  <a:lnTo>
                    <a:pt x="99" y="0"/>
                  </a:lnTo>
                  <a:lnTo>
                    <a:pt x="97" y="2"/>
                  </a:lnTo>
                  <a:lnTo>
                    <a:pt x="94" y="7"/>
                  </a:lnTo>
                  <a:lnTo>
                    <a:pt x="92" y="9"/>
                  </a:lnTo>
                  <a:lnTo>
                    <a:pt x="90" y="9"/>
                  </a:lnTo>
                  <a:lnTo>
                    <a:pt x="85" y="9"/>
                  </a:lnTo>
                  <a:lnTo>
                    <a:pt x="83" y="9"/>
                  </a:lnTo>
                  <a:lnTo>
                    <a:pt x="80" y="7"/>
                  </a:lnTo>
                  <a:lnTo>
                    <a:pt x="75" y="7"/>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1" name="Freeform 593">
              <a:extLst>
                <a:ext uri="{FF2B5EF4-FFF2-40B4-BE49-F238E27FC236}">
                  <a16:creationId xmlns:a16="http://schemas.microsoft.com/office/drawing/2014/main" id="{203721AF-42E4-4074-84DD-DED64B3E3F11}"/>
                </a:ext>
              </a:extLst>
            </p:cNvPr>
            <p:cNvSpPr>
              <a:spLocks/>
            </p:cNvSpPr>
            <p:nvPr/>
          </p:nvSpPr>
          <p:spPr bwMode="auto">
            <a:xfrm>
              <a:off x="1375617" y="2782853"/>
              <a:ext cx="98425" cy="119063"/>
            </a:xfrm>
            <a:custGeom>
              <a:avLst/>
              <a:gdLst>
                <a:gd name="T0" fmla="*/ 38 w 62"/>
                <a:gd name="T1" fmla="*/ 75 h 75"/>
                <a:gd name="T2" fmla="*/ 36 w 62"/>
                <a:gd name="T3" fmla="*/ 71 h 75"/>
                <a:gd name="T4" fmla="*/ 36 w 62"/>
                <a:gd name="T5" fmla="*/ 64 h 75"/>
                <a:gd name="T6" fmla="*/ 31 w 62"/>
                <a:gd name="T7" fmla="*/ 61 h 75"/>
                <a:gd name="T8" fmla="*/ 26 w 62"/>
                <a:gd name="T9" fmla="*/ 59 h 75"/>
                <a:gd name="T10" fmla="*/ 24 w 62"/>
                <a:gd name="T11" fmla="*/ 57 h 75"/>
                <a:gd name="T12" fmla="*/ 17 w 62"/>
                <a:gd name="T13" fmla="*/ 57 h 75"/>
                <a:gd name="T14" fmla="*/ 5 w 62"/>
                <a:gd name="T15" fmla="*/ 64 h 75"/>
                <a:gd name="T16" fmla="*/ 0 w 62"/>
                <a:gd name="T17" fmla="*/ 59 h 75"/>
                <a:gd name="T18" fmla="*/ 3 w 62"/>
                <a:gd name="T19" fmla="*/ 59 h 75"/>
                <a:gd name="T20" fmla="*/ 10 w 62"/>
                <a:gd name="T21" fmla="*/ 59 h 75"/>
                <a:gd name="T22" fmla="*/ 12 w 62"/>
                <a:gd name="T23" fmla="*/ 59 h 75"/>
                <a:gd name="T24" fmla="*/ 7 w 62"/>
                <a:gd name="T25" fmla="*/ 59 h 75"/>
                <a:gd name="T26" fmla="*/ 7 w 62"/>
                <a:gd name="T27" fmla="*/ 54 h 75"/>
                <a:gd name="T28" fmla="*/ 17 w 62"/>
                <a:gd name="T29" fmla="*/ 52 h 75"/>
                <a:gd name="T30" fmla="*/ 24 w 62"/>
                <a:gd name="T31" fmla="*/ 49 h 75"/>
                <a:gd name="T32" fmla="*/ 19 w 62"/>
                <a:gd name="T33" fmla="*/ 49 h 75"/>
                <a:gd name="T34" fmla="*/ 14 w 62"/>
                <a:gd name="T35" fmla="*/ 49 h 75"/>
                <a:gd name="T36" fmla="*/ 12 w 62"/>
                <a:gd name="T37" fmla="*/ 45 h 75"/>
                <a:gd name="T38" fmla="*/ 19 w 62"/>
                <a:gd name="T39" fmla="*/ 33 h 75"/>
                <a:gd name="T40" fmla="*/ 24 w 62"/>
                <a:gd name="T41" fmla="*/ 16 h 75"/>
                <a:gd name="T42" fmla="*/ 26 w 62"/>
                <a:gd name="T43" fmla="*/ 19 h 75"/>
                <a:gd name="T44" fmla="*/ 29 w 62"/>
                <a:gd name="T45" fmla="*/ 21 h 75"/>
                <a:gd name="T46" fmla="*/ 26 w 62"/>
                <a:gd name="T47" fmla="*/ 21 h 75"/>
                <a:gd name="T48" fmla="*/ 26 w 62"/>
                <a:gd name="T49" fmla="*/ 26 h 75"/>
                <a:gd name="T50" fmla="*/ 26 w 62"/>
                <a:gd name="T51" fmla="*/ 31 h 75"/>
                <a:gd name="T52" fmla="*/ 31 w 62"/>
                <a:gd name="T53" fmla="*/ 33 h 75"/>
                <a:gd name="T54" fmla="*/ 33 w 62"/>
                <a:gd name="T55" fmla="*/ 33 h 75"/>
                <a:gd name="T56" fmla="*/ 31 w 62"/>
                <a:gd name="T57" fmla="*/ 28 h 75"/>
                <a:gd name="T58" fmla="*/ 33 w 62"/>
                <a:gd name="T59" fmla="*/ 26 h 75"/>
                <a:gd name="T60" fmla="*/ 36 w 62"/>
                <a:gd name="T61" fmla="*/ 21 h 75"/>
                <a:gd name="T62" fmla="*/ 36 w 62"/>
                <a:gd name="T63" fmla="*/ 16 h 75"/>
                <a:gd name="T64" fmla="*/ 33 w 62"/>
                <a:gd name="T65" fmla="*/ 14 h 75"/>
                <a:gd name="T66" fmla="*/ 33 w 62"/>
                <a:gd name="T67" fmla="*/ 9 h 75"/>
                <a:gd name="T68" fmla="*/ 36 w 62"/>
                <a:gd name="T69" fmla="*/ 5 h 75"/>
                <a:gd name="T70" fmla="*/ 43 w 62"/>
                <a:gd name="T71" fmla="*/ 2 h 75"/>
                <a:gd name="T72" fmla="*/ 50 w 62"/>
                <a:gd name="T73" fmla="*/ 0 h 75"/>
                <a:gd name="T74" fmla="*/ 57 w 62"/>
                <a:gd name="T75" fmla="*/ 0 h 75"/>
                <a:gd name="T76" fmla="*/ 62 w 62"/>
                <a:gd name="T77" fmla="*/ 5 h 75"/>
                <a:gd name="T78" fmla="*/ 55 w 62"/>
                <a:gd name="T79" fmla="*/ 23 h 75"/>
                <a:gd name="T80" fmla="*/ 59 w 62"/>
                <a:gd name="T81" fmla="*/ 28 h 75"/>
                <a:gd name="T82" fmla="*/ 57 w 62"/>
                <a:gd name="T83" fmla="*/ 35 h 75"/>
                <a:gd name="T84" fmla="*/ 55 w 62"/>
                <a:gd name="T85" fmla="*/ 40 h 75"/>
                <a:gd name="T86" fmla="*/ 50 w 62"/>
                <a:gd name="T87" fmla="*/ 45 h 75"/>
                <a:gd name="T88" fmla="*/ 43 w 62"/>
                <a:gd name="T89" fmla="*/ 42 h 75"/>
                <a:gd name="T90" fmla="*/ 43 w 62"/>
                <a:gd name="T91" fmla="*/ 49 h 75"/>
                <a:gd name="T92" fmla="*/ 43 w 62"/>
                <a:gd name="T93" fmla="*/ 59 h 75"/>
                <a:gd name="T94" fmla="*/ 40 w 62"/>
                <a:gd name="T95" fmla="*/ 66 h 75"/>
                <a:gd name="T96" fmla="*/ 43 w 62"/>
                <a:gd name="T9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 h="75">
                  <a:moveTo>
                    <a:pt x="43" y="75"/>
                  </a:moveTo>
                  <a:lnTo>
                    <a:pt x="38" y="75"/>
                  </a:lnTo>
                  <a:lnTo>
                    <a:pt x="36" y="73"/>
                  </a:lnTo>
                  <a:lnTo>
                    <a:pt x="36" y="71"/>
                  </a:lnTo>
                  <a:lnTo>
                    <a:pt x="36" y="66"/>
                  </a:lnTo>
                  <a:lnTo>
                    <a:pt x="36" y="64"/>
                  </a:lnTo>
                  <a:lnTo>
                    <a:pt x="33" y="61"/>
                  </a:lnTo>
                  <a:lnTo>
                    <a:pt x="31" y="61"/>
                  </a:lnTo>
                  <a:lnTo>
                    <a:pt x="29" y="61"/>
                  </a:lnTo>
                  <a:lnTo>
                    <a:pt x="26" y="59"/>
                  </a:lnTo>
                  <a:lnTo>
                    <a:pt x="26" y="59"/>
                  </a:lnTo>
                  <a:lnTo>
                    <a:pt x="24" y="57"/>
                  </a:lnTo>
                  <a:lnTo>
                    <a:pt x="19" y="57"/>
                  </a:lnTo>
                  <a:lnTo>
                    <a:pt x="17" y="57"/>
                  </a:lnTo>
                  <a:lnTo>
                    <a:pt x="12" y="61"/>
                  </a:lnTo>
                  <a:lnTo>
                    <a:pt x="5" y="64"/>
                  </a:lnTo>
                  <a:lnTo>
                    <a:pt x="0" y="59"/>
                  </a:lnTo>
                  <a:lnTo>
                    <a:pt x="0" y="59"/>
                  </a:lnTo>
                  <a:lnTo>
                    <a:pt x="0" y="59"/>
                  </a:lnTo>
                  <a:lnTo>
                    <a:pt x="3" y="59"/>
                  </a:lnTo>
                  <a:lnTo>
                    <a:pt x="5" y="61"/>
                  </a:lnTo>
                  <a:lnTo>
                    <a:pt x="10" y="59"/>
                  </a:lnTo>
                  <a:lnTo>
                    <a:pt x="12" y="59"/>
                  </a:lnTo>
                  <a:lnTo>
                    <a:pt x="12" y="59"/>
                  </a:lnTo>
                  <a:lnTo>
                    <a:pt x="10" y="57"/>
                  </a:lnTo>
                  <a:lnTo>
                    <a:pt x="7" y="59"/>
                  </a:lnTo>
                  <a:lnTo>
                    <a:pt x="5" y="57"/>
                  </a:lnTo>
                  <a:lnTo>
                    <a:pt x="7" y="54"/>
                  </a:lnTo>
                  <a:lnTo>
                    <a:pt x="14" y="54"/>
                  </a:lnTo>
                  <a:lnTo>
                    <a:pt x="17" y="52"/>
                  </a:lnTo>
                  <a:lnTo>
                    <a:pt x="22" y="49"/>
                  </a:lnTo>
                  <a:lnTo>
                    <a:pt x="24" y="49"/>
                  </a:lnTo>
                  <a:lnTo>
                    <a:pt x="24" y="47"/>
                  </a:lnTo>
                  <a:lnTo>
                    <a:pt x="19" y="49"/>
                  </a:lnTo>
                  <a:lnTo>
                    <a:pt x="17" y="49"/>
                  </a:lnTo>
                  <a:lnTo>
                    <a:pt x="14" y="49"/>
                  </a:lnTo>
                  <a:lnTo>
                    <a:pt x="12" y="47"/>
                  </a:lnTo>
                  <a:lnTo>
                    <a:pt x="12" y="45"/>
                  </a:lnTo>
                  <a:lnTo>
                    <a:pt x="12" y="42"/>
                  </a:lnTo>
                  <a:lnTo>
                    <a:pt x="19" y="33"/>
                  </a:lnTo>
                  <a:lnTo>
                    <a:pt x="22" y="21"/>
                  </a:lnTo>
                  <a:lnTo>
                    <a:pt x="24" y="16"/>
                  </a:lnTo>
                  <a:lnTo>
                    <a:pt x="26" y="16"/>
                  </a:lnTo>
                  <a:lnTo>
                    <a:pt x="26" y="19"/>
                  </a:lnTo>
                  <a:lnTo>
                    <a:pt x="29" y="19"/>
                  </a:lnTo>
                  <a:lnTo>
                    <a:pt x="29" y="21"/>
                  </a:lnTo>
                  <a:lnTo>
                    <a:pt x="29" y="21"/>
                  </a:lnTo>
                  <a:lnTo>
                    <a:pt x="26" y="21"/>
                  </a:lnTo>
                  <a:lnTo>
                    <a:pt x="26" y="23"/>
                  </a:lnTo>
                  <a:lnTo>
                    <a:pt x="26" y="26"/>
                  </a:lnTo>
                  <a:lnTo>
                    <a:pt x="26" y="28"/>
                  </a:lnTo>
                  <a:lnTo>
                    <a:pt x="26" y="31"/>
                  </a:lnTo>
                  <a:lnTo>
                    <a:pt x="29" y="31"/>
                  </a:lnTo>
                  <a:lnTo>
                    <a:pt x="31" y="33"/>
                  </a:lnTo>
                  <a:lnTo>
                    <a:pt x="33" y="33"/>
                  </a:lnTo>
                  <a:lnTo>
                    <a:pt x="33" y="33"/>
                  </a:lnTo>
                  <a:lnTo>
                    <a:pt x="33" y="31"/>
                  </a:lnTo>
                  <a:lnTo>
                    <a:pt x="31" y="28"/>
                  </a:lnTo>
                  <a:lnTo>
                    <a:pt x="31" y="26"/>
                  </a:lnTo>
                  <a:lnTo>
                    <a:pt x="33" y="26"/>
                  </a:lnTo>
                  <a:lnTo>
                    <a:pt x="33" y="23"/>
                  </a:lnTo>
                  <a:lnTo>
                    <a:pt x="36" y="21"/>
                  </a:lnTo>
                  <a:lnTo>
                    <a:pt x="36" y="16"/>
                  </a:lnTo>
                  <a:lnTo>
                    <a:pt x="36" y="16"/>
                  </a:lnTo>
                  <a:lnTo>
                    <a:pt x="33" y="16"/>
                  </a:lnTo>
                  <a:lnTo>
                    <a:pt x="33" y="14"/>
                  </a:lnTo>
                  <a:lnTo>
                    <a:pt x="31" y="9"/>
                  </a:lnTo>
                  <a:lnTo>
                    <a:pt x="33" y="9"/>
                  </a:lnTo>
                  <a:lnTo>
                    <a:pt x="33" y="7"/>
                  </a:lnTo>
                  <a:lnTo>
                    <a:pt x="36" y="5"/>
                  </a:lnTo>
                  <a:lnTo>
                    <a:pt x="40" y="2"/>
                  </a:lnTo>
                  <a:lnTo>
                    <a:pt x="43" y="2"/>
                  </a:lnTo>
                  <a:lnTo>
                    <a:pt x="48" y="2"/>
                  </a:lnTo>
                  <a:lnTo>
                    <a:pt x="50" y="0"/>
                  </a:lnTo>
                  <a:lnTo>
                    <a:pt x="55" y="0"/>
                  </a:lnTo>
                  <a:lnTo>
                    <a:pt x="57" y="0"/>
                  </a:lnTo>
                  <a:lnTo>
                    <a:pt x="59" y="2"/>
                  </a:lnTo>
                  <a:lnTo>
                    <a:pt x="62" y="5"/>
                  </a:lnTo>
                  <a:lnTo>
                    <a:pt x="59" y="19"/>
                  </a:lnTo>
                  <a:lnTo>
                    <a:pt x="55" y="23"/>
                  </a:lnTo>
                  <a:lnTo>
                    <a:pt x="55" y="26"/>
                  </a:lnTo>
                  <a:lnTo>
                    <a:pt x="59" y="28"/>
                  </a:lnTo>
                  <a:lnTo>
                    <a:pt x="59" y="33"/>
                  </a:lnTo>
                  <a:lnTo>
                    <a:pt x="57" y="35"/>
                  </a:lnTo>
                  <a:lnTo>
                    <a:pt x="55" y="38"/>
                  </a:lnTo>
                  <a:lnTo>
                    <a:pt x="55" y="40"/>
                  </a:lnTo>
                  <a:lnTo>
                    <a:pt x="52" y="45"/>
                  </a:lnTo>
                  <a:lnTo>
                    <a:pt x="50" y="45"/>
                  </a:lnTo>
                  <a:lnTo>
                    <a:pt x="45" y="42"/>
                  </a:lnTo>
                  <a:lnTo>
                    <a:pt x="43" y="42"/>
                  </a:lnTo>
                  <a:lnTo>
                    <a:pt x="43" y="47"/>
                  </a:lnTo>
                  <a:lnTo>
                    <a:pt x="43" y="49"/>
                  </a:lnTo>
                  <a:lnTo>
                    <a:pt x="43" y="54"/>
                  </a:lnTo>
                  <a:lnTo>
                    <a:pt x="43" y="59"/>
                  </a:lnTo>
                  <a:lnTo>
                    <a:pt x="43" y="64"/>
                  </a:lnTo>
                  <a:lnTo>
                    <a:pt x="40" y="66"/>
                  </a:lnTo>
                  <a:lnTo>
                    <a:pt x="40" y="68"/>
                  </a:lnTo>
                  <a:lnTo>
                    <a:pt x="43" y="73"/>
                  </a:lnTo>
                  <a:lnTo>
                    <a:pt x="43" y="7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2" name="Freeform 594">
              <a:extLst>
                <a:ext uri="{FF2B5EF4-FFF2-40B4-BE49-F238E27FC236}">
                  <a16:creationId xmlns:a16="http://schemas.microsoft.com/office/drawing/2014/main" id="{BD84CD8D-C174-466A-A320-652F07C9C4E5}"/>
                </a:ext>
              </a:extLst>
            </p:cNvPr>
            <p:cNvSpPr>
              <a:spLocks/>
            </p:cNvSpPr>
            <p:nvPr/>
          </p:nvSpPr>
          <p:spPr bwMode="auto">
            <a:xfrm>
              <a:off x="1375617" y="2782853"/>
              <a:ext cx="98425" cy="119063"/>
            </a:xfrm>
            <a:custGeom>
              <a:avLst/>
              <a:gdLst>
                <a:gd name="T0" fmla="*/ 38 w 62"/>
                <a:gd name="T1" fmla="*/ 75 h 75"/>
                <a:gd name="T2" fmla="*/ 36 w 62"/>
                <a:gd name="T3" fmla="*/ 71 h 75"/>
                <a:gd name="T4" fmla="*/ 36 w 62"/>
                <a:gd name="T5" fmla="*/ 64 h 75"/>
                <a:gd name="T6" fmla="*/ 31 w 62"/>
                <a:gd name="T7" fmla="*/ 61 h 75"/>
                <a:gd name="T8" fmla="*/ 26 w 62"/>
                <a:gd name="T9" fmla="*/ 59 h 75"/>
                <a:gd name="T10" fmla="*/ 24 w 62"/>
                <a:gd name="T11" fmla="*/ 57 h 75"/>
                <a:gd name="T12" fmla="*/ 17 w 62"/>
                <a:gd name="T13" fmla="*/ 57 h 75"/>
                <a:gd name="T14" fmla="*/ 5 w 62"/>
                <a:gd name="T15" fmla="*/ 64 h 75"/>
                <a:gd name="T16" fmla="*/ 0 w 62"/>
                <a:gd name="T17" fmla="*/ 59 h 75"/>
                <a:gd name="T18" fmla="*/ 3 w 62"/>
                <a:gd name="T19" fmla="*/ 59 h 75"/>
                <a:gd name="T20" fmla="*/ 10 w 62"/>
                <a:gd name="T21" fmla="*/ 59 h 75"/>
                <a:gd name="T22" fmla="*/ 12 w 62"/>
                <a:gd name="T23" fmla="*/ 59 h 75"/>
                <a:gd name="T24" fmla="*/ 7 w 62"/>
                <a:gd name="T25" fmla="*/ 59 h 75"/>
                <a:gd name="T26" fmla="*/ 7 w 62"/>
                <a:gd name="T27" fmla="*/ 54 h 75"/>
                <a:gd name="T28" fmla="*/ 17 w 62"/>
                <a:gd name="T29" fmla="*/ 52 h 75"/>
                <a:gd name="T30" fmla="*/ 24 w 62"/>
                <a:gd name="T31" fmla="*/ 49 h 75"/>
                <a:gd name="T32" fmla="*/ 19 w 62"/>
                <a:gd name="T33" fmla="*/ 49 h 75"/>
                <a:gd name="T34" fmla="*/ 14 w 62"/>
                <a:gd name="T35" fmla="*/ 49 h 75"/>
                <a:gd name="T36" fmla="*/ 12 w 62"/>
                <a:gd name="T37" fmla="*/ 45 h 75"/>
                <a:gd name="T38" fmla="*/ 19 w 62"/>
                <a:gd name="T39" fmla="*/ 33 h 75"/>
                <a:gd name="T40" fmla="*/ 24 w 62"/>
                <a:gd name="T41" fmla="*/ 16 h 75"/>
                <a:gd name="T42" fmla="*/ 26 w 62"/>
                <a:gd name="T43" fmla="*/ 19 h 75"/>
                <a:gd name="T44" fmla="*/ 29 w 62"/>
                <a:gd name="T45" fmla="*/ 21 h 75"/>
                <a:gd name="T46" fmla="*/ 26 w 62"/>
                <a:gd name="T47" fmla="*/ 21 h 75"/>
                <a:gd name="T48" fmla="*/ 26 w 62"/>
                <a:gd name="T49" fmla="*/ 26 h 75"/>
                <a:gd name="T50" fmla="*/ 26 w 62"/>
                <a:gd name="T51" fmla="*/ 31 h 75"/>
                <a:gd name="T52" fmla="*/ 31 w 62"/>
                <a:gd name="T53" fmla="*/ 33 h 75"/>
                <a:gd name="T54" fmla="*/ 33 w 62"/>
                <a:gd name="T55" fmla="*/ 33 h 75"/>
                <a:gd name="T56" fmla="*/ 31 w 62"/>
                <a:gd name="T57" fmla="*/ 28 h 75"/>
                <a:gd name="T58" fmla="*/ 33 w 62"/>
                <a:gd name="T59" fmla="*/ 26 h 75"/>
                <a:gd name="T60" fmla="*/ 36 w 62"/>
                <a:gd name="T61" fmla="*/ 21 h 75"/>
                <a:gd name="T62" fmla="*/ 36 w 62"/>
                <a:gd name="T63" fmla="*/ 16 h 75"/>
                <a:gd name="T64" fmla="*/ 33 w 62"/>
                <a:gd name="T65" fmla="*/ 14 h 75"/>
                <a:gd name="T66" fmla="*/ 33 w 62"/>
                <a:gd name="T67" fmla="*/ 9 h 75"/>
                <a:gd name="T68" fmla="*/ 36 w 62"/>
                <a:gd name="T69" fmla="*/ 5 h 75"/>
                <a:gd name="T70" fmla="*/ 43 w 62"/>
                <a:gd name="T71" fmla="*/ 2 h 75"/>
                <a:gd name="T72" fmla="*/ 50 w 62"/>
                <a:gd name="T73" fmla="*/ 0 h 75"/>
                <a:gd name="T74" fmla="*/ 57 w 62"/>
                <a:gd name="T75" fmla="*/ 0 h 75"/>
                <a:gd name="T76" fmla="*/ 62 w 62"/>
                <a:gd name="T77" fmla="*/ 5 h 75"/>
                <a:gd name="T78" fmla="*/ 55 w 62"/>
                <a:gd name="T79" fmla="*/ 23 h 75"/>
                <a:gd name="T80" fmla="*/ 59 w 62"/>
                <a:gd name="T81" fmla="*/ 28 h 75"/>
                <a:gd name="T82" fmla="*/ 57 w 62"/>
                <a:gd name="T83" fmla="*/ 35 h 75"/>
                <a:gd name="T84" fmla="*/ 55 w 62"/>
                <a:gd name="T85" fmla="*/ 40 h 75"/>
                <a:gd name="T86" fmla="*/ 50 w 62"/>
                <a:gd name="T87" fmla="*/ 45 h 75"/>
                <a:gd name="T88" fmla="*/ 43 w 62"/>
                <a:gd name="T89" fmla="*/ 42 h 75"/>
                <a:gd name="T90" fmla="*/ 43 w 62"/>
                <a:gd name="T91" fmla="*/ 49 h 75"/>
                <a:gd name="T92" fmla="*/ 43 w 62"/>
                <a:gd name="T93" fmla="*/ 59 h 75"/>
                <a:gd name="T94" fmla="*/ 40 w 62"/>
                <a:gd name="T95" fmla="*/ 66 h 75"/>
                <a:gd name="T96" fmla="*/ 43 w 62"/>
                <a:gd name="T9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 h="75">
                  <a:moveTo>
                    <a:pt x="43" y="75"/>
                  </a:moveTo>
                  <a:lnTo>
                    <a:pt x="38" y="75"/>
                  </a:lnTo>
                  <a:lnTo>
                    <a:pt x="36" y="73"/>
                  </a:lnTo>
                  <a:lnTo>
                    <a:pt x="36" y="71"/>
                  </a:lnTo>
                  <a:lnTo>
                    <a:pt x="36" y="66"/>
                  </a:lnTo>
                  <a:lnTo>
                    <a:pt x="36" y="64"/>
                  </a:lnTo>
                  <a:lnTo>
                    <a:pt x="33" y="61"/>
                  </a:lnTo>
                  <a:lnTo>
                    <a:pt x="31" y="61"/>
                  </a:lnTo>
                  <a:lnTo>
                    <a:pt x="29" y="61"/>
                  </a:lnTo>
                  <a:lnTo>
                    <a:pt x="26" y="59"/>
                  </a:lnTo>
                  <a:lnTo>
                    <a:pt x="26" y="59"/>
                  </a:lnTo>
                  <a:lnTo>
                    <a:pt x="24" y="57"/>
                  </a:lnTo>
                  <a:lnTo>
                    <a:pt x="19" y="57"/>
                  </a:lnTo>
                  <a:lnTo>
                    <a:pt x="17" y="57"/>
                  </a:lnTo>
                  <a:lnTo>
                    <a:pt x="12" y="61"/>
                  </a:lnTo>
                  <a:lnTo>
                    <a:pt x="5" y="64"/>
                  </a:lnTo>
                  <a:lnTo>
                    <a:pt x="0" y="59"/>
                  </a:lnTo>
                  <a:lnTo>
                    <a:pt x="0" y="59"/>
                  </a:lnTo>
                  <a:lnTo>
                    <a:pt x="0" y="59"/>
                  </a:lnTo>
                  <a:lnTo>
                    <a:pt x="3" y="59"/>
                  </a:lnTo>
                  <a:lnTo>
                    <a:pt x="5" y="61"/>
                  </a:lnTo>
                  <a:lnTo>
                    <a:pt x="10" y="59"/>
                  </a:lnTo>
                  <a:lnTo>
                    <a:pt x="12" y="59"/>
                  </a:lnTo>
                  <a:lnTo>
                    <a:pt x="12" y="59"/>
                  </a:lnTo>
                  <a:lnTo>
                    <a:pt x="10" y="57"/>
                  </a:lnTo>
                  <a:lnTo>
                    <a:pt x="7" y="59"/>
                  </a:lnTo>
                  <a:lnTo>
                    <a:pt x="5" y="57"/>
                  </a:lnTo>
                  <a:lnTo>
                    <a:pt x="7" y="54"/>
                  </a:lnTo>
                  <a:lnTo>
                    <a:pt x="14" y="54"/>
                  </a:lnTo>
                  <a:lnTo>
                    <a:pt x="17" y="52"/>
                  </a:lnTo>
                  <a:lnTo>
                    <a:pt x="22" y="49"/>
                  </a:lnTo>
                  <a:lnTo>
                    <a:pt x="24" y="49"/>
                  </a:lnTo>
                  <a:lnTo>
                    <a:pt x="24" y="47"/>
                  </a:lnTo>
                  <a:lnTo>
                    <a:pt x="19" y="49"/>
                  </a:lnTo>
                  <a:lnTo>
                    <a:pt x="17" y="49"/>
                  </a:lnTo>
                  <a:lnTo>
                    <a:pt x="14" y="49"/>
                  </a:lnTo>
                  <a:lnTo>
                    <a:pt x="12" y="47"/>
                  </a:lnTo>
                  <a:lnTo>
                    <a:pt x="12" y="45"/>
                  </a:lnTo>
                  <a:lnTo>
                    <a:pt x="12" y="42"/>
                  </a:lnTo>
                  <a:lnTo>
                    <a:pt x="19" y="33"/>
                  </a:lnTo>
                  <a:lnTo>
                    <a:pt x="22" y="21"/>
                  </a:lnTo>
                  <a:lnTo>
                    <a:pt x="24" y="16"/>
                  </a:lnTo>
                  <a:lnTo>
                    <a:pt x="26" y="16"/>
                  </a:lnTo>
                  <a:lnTo>
                    <a:pt x="26" y="19"/>
                  </a:lnTo>
                  <a:lnTo>
                    <a:pt x="29" y="19"/>
                  </a:lnTo>
                  <a:lnTo>
                    <a:pt x="29" y="21"/>
                  </a:lnTo>
                  <a:lnTo>
                    <a:pt x="29" y="21"/>
                  </a:lnTo>
                  <a:lnTo>
                    <a:pt x="26" y="21"/>
                  </a:lnTo>
                  <a:lnTo>
                    <a:pt x="26" y="23"/>
                  </a:lnTo>
                  <a:lnTo>
                    <a:pt x="26" y="26"/>
                  </a:lnTo>
                  <a:lnTo>
                    <a:pt x="26" y="28"/>
                  </a:lnTo>
                  <a:lnTo>
                    <a:pt x="26" y="31"/>
                  </a:lnTo>
                  <a:lnTo>
                    <a:pt x="29" y="31"/>
                  </a:lnTo>
                  <a:lnTo>
                    <a:pt x="31" y="33"/>
                  </a:lnTo>
                  <a:lnTo>
                    <a:pt x="33" y="33"/>
                  </a:lnTo>
                  <a:lnTo>
                    <a:pt x="33" y="33"/>
                  </a:lnTo>
                  <a:lnTo>
                    <a:pt x="33" y="31"/>
                  </a:lnTo>
                  <a:lnTo>
                    <a:pt x="31" y="28"/>
                  </a:lnTo>
                  <a:lnTo>
                    <a:pt x="31" y="26"/>
                  </a:lnTo>
                  <a:lnTo>
                    <a:pt x="33" y="26"/>
                  </a:lnTo>
                  <a:lnTo>
                    <a:pt x="33" y="23"/>
                  </a:lnTo>
                  <a:lnTo>
                    <a:pt x="36" y="21"/>
                  </a:lnTo>
                  <a:lnTo>
                    <a:pt x="36" y="16"/>
                  </a:lnTo>
                  <a:lnTo>
                    <a:pt x="36" y="16"/>
                  </a:lnTo>
                  <a:lnTo>
                    <a:pt x="33" y="16"/>
                  </a:lnTo>
                  <a:lnTo>
                    <a:pt x="33" y="14"/>
                  </a:lnTo>
                  <a:lnTo>
                    <a:pt x="31" y="9"/>
                  </a:lnTo>
                  <a:lnTo>
                    <a:pt x="33" y="9"/>
                  </a:lnTo>
                  <a:lnTo>
                    <a:pt x="33" y="7"/>
                  </a:lnTo>
                  <a:lnTo>
                    <a:pt x="36" y="5"/>
                  </a:lnTo>
                  <a:lnTo>
                    <a:pt x="40" y="2"/>
                  </a:lnTo>
                  <a:lnTo>
                    <a:pt x="43" y="2"/>
                  </a:lnTo>
                  <a:lnTo>
                    <a:pt x="48" y="2"/>
                  </a:lnTo>
                  <a:lnTo>
                    <a:pt x="50" y="0"/>
                  </a:lnTo>
                  <a:lnTo>
                    <a:pt x="55" y="0"/>
                  </a:lnTo>
                  <a:lnTo>
                    <a:pt x="57" y="0"/>
                  </a:lnTo>
                  <a:lnTo>
                    <a:pt x="59" y="2"/>
                  </a:lnTo>
                  <a:lnTo>
                    <a:pt x="62" y="5"/>
                  </a:lnTo>
                  <a:lnTo>
                    <a:pt x="59" y="19"/>
                  </a:lnTo>
                  <a:lnTo>
                    <a:pt x="55" y="23"/>
                  </a:lnTo>
                  <a:lnTo>
                    <a:pt x="55" y="26"/>
                  </a:lnTo>
                  <a:lnTo>
                    <a:pt x="59" y="28"/>
                  </a:lnTo>
                  <a:lnTo>
                    <a:pt x="59" y="33"/>
                  </a:lnTo>
                  <a:lnTo>
                    <a:pt x="57" y="35"/>
                  </a:lnTo>
                  <a:lnTo>
                    <a:pt x="55" y="38"/>
                  </a:lnTo>
                  <a:lnTo>
                    <a:pt x="55" y="40"/>
                  </a:lnTo>
                  <a:lnTo>
                    <a:pt x="52" y="45"/>
                  </a:lnTo>
                  <a:lnTo>
                    <a:pt x="50" y="45"/>
                  </a:lnTo>
                  <a:lnTo>
                    <a:pt x="45" y="42"/>
                  </a:lnTo>
                  <a:lnTo>
                    <a:pt x="43" y="42"/>
                  </a:lnTo>
                  <a:lnTo>
                    <a:pt x="43" y="47"/>
                  </a:lnTo>
                  <a:lnTo>
                    <a:pt x="43" y="49"/>
                  </a:lnTo>
                  <a:lnTo>
                    <a:pt x="43" y="54"/>
                  </a:lnTo>
                  <a:lnTo>
                    <a:pt x="43" y="59"/>
                  </a:lnTo>
                  <a:lnTo>
                    <a:pt x="43" y="64"/>
                  </a:lnTo>
                  <a:lnTo>
                    <a:pt x="40" y="66"/>
                  </a:lnTo>
                  <a:lnTo>
                    <a:pt x="40" y="68"/>
                  </a:lnTo>
                  <a:lnTo>
                    <a:pt x="43" y="73"/>
                  </a:lnTo>
                  <a:lnTo>
                    <a:pt x="43" y="75"/>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3" name="Freeform 595">
              <a:extLst>
                <a:ext uri="{FF2B5EF4-FFF2-40B4-BE49-F238E27FC236}">
                  <a16:creationId xmlns:a16="http://schemas.microsoft.com/office/drawing/2014/main" id="{D5624291-BD00-46CE-9A76-2182DBEAC4A9}"/>
                </a:ext>
              </a:extLst>
            </p:cNvPr>
            <p:cNvSpPr>
              <a:spLocks/>
            </p:cNvSpPr>
            <p:nvPr/>
          </p:nvSpPr>
          <p:spPr bwMode="auto">
            <a:xfrm>
              <a:off x="1147018" y="2887628"/>
              <a:ext cx="352424" cy="352425"/>
            </a:xfrm>
            <a:custGeom>
              <a:avLst/>
              <a:gdLst>
                <a:gd name="T0" fmla="*/ 111 w 222"/>
                <a:gd name="T1" fmla="*/ 12 h 222"/>
                <a:gd name="T2" fmla="*/ 104 w 222"/>
                <a:gd name="T3" fmla="*/ 31 h 222"/>
                <a:gd name="T4" fmla="*/ 92 w 222"/>
                <a:gd name="T5" fmla="*/ 45 h 222"/>
                <a:gd name="T6" fmla="*/ 81 w 222"/>
                <a:gd name="T7" fmla="*/ 50 h 222"/>
                <a:gd name="T8" fmla="*/ 62 w 222"/>
                <a:gd name="T9" fmla="*/ 42 h 222"/>
                <a:gd name="T10" fmla="*/ 52 w 222"/>
                <a:gd name="T11" fmla="*/ 45 h 222"/>
                <a:gd name="T12" fmla="*/ 57 w 222"/>
                <a:gd name="T13" fmla="*/ 64 h 222"/>
                <a:gd name="T14" fmla="*/ 52 w 222"/>
                <a:gd name="T15" fmla="*/ 66 h 222"/>
                <a:gd name="T16" fmla="*/ 31 w 222"/>
                <a:gd name="T17" fmla="*/ 61 h 222"/>
                <a:gd name="T18" fmla="*/ 17 w 222"/>
                <a:gd name="T19" fmla="*/ 66 h 222"/>
                <a:gd name="T20" fmla="*/ 0 w 222"/>
                <a:gd name="T21" fmla="*/ 76 h 222"/>
                <a:gd name="T22" fmla="*/ 5 w 222"/>
                <a:gd name="T23" fmla="*/ 80 h 222"/>
                <a:gd name="T24" fmla="*/ 5 w 222"/>
                <a:gd name="T25" fmla="*/ 85 h 222"/>
                <a:gd name="T26" fmla="*/ 14 w 222"/>
                <a:gd name="T27" fmla="*/ 87 h 222"/>
                <a:gd name="T28" fmla="*/ 33 w 222"/>
                <a:gd name="T29" fmla="*/ 94 h 222"/>
                <a:gd name="T30" fmla="*/ 43 w 222"/>
                <a:gd name="T31" fmla="*/ 97 h 222"/>
                <a:gd name="T32" fmla="*/ 47 w 222"/>
                <a:gd name="T33" fmla="*/ 104 h 222"/>
                <a:gd name="T34" fmla="*/ 47 w 222"/>
                <a:gd name="T35" fmla="*/ 111 h 222"/>
                <a:gd name="T36" fmla="*/ 62 w 222"/>
                <a:gd name="T37" fmla="*/ 125 h 222"/>
                <a:gd name="T38" fmla="*/ 64 w 222"/>
                <a:gd name="T39" fmla="*/ 139 h 222"/>
                <a:gd name="T40" fmla="*/ 71 w 222"/>
                <a:gd name="T41" fmla="*/ 151 h 222"/>
                <a:gd name="T42" fmla="*/ 64 w 222"/>
                <a:gd name="T43" fmla="*/ 168 h 222"/>
                <a:gd name="T44" fmla="*/ 64 w 222"/>
                <a:gd name="T45" fmla="*/ 175 h 222"/>
                <a:gd name="T46" fmla="*/ 52 w 222"/>
                <a:gd name="T47" fmla="*/ 201 h 222"/>
                <a:gd name="T48" fmla="*/ 71 w 222"/>
                <a:gd name="T49" fmla="*/ 213 h 222"/>
                <a:gd name="T50" fmla="*/ 99 w 222"/>
                <a:gd name="T51" fmla="*/ 213 h 222"/>
                <a:gd name="T52" fmla="*/ 116 w 222"/>
                <a:gd name="T53" fmla="*/ 222 h 222"/>
                <a:gd name="T54" fmla="*/ 137 w 222"/>
                <a:gd name="T55" fmla="*/ 222 h 222"/>
                <a:gd name="T56" fmla="*/ 144 w 222"/>
                <a:gd name="T57" fmla="*/ 201 h 222"/>
                <a:gd name="T58" fmla="*/ 156 w 222"/>
                <a:gd name="T59" fmla="*/ 196 h 222"/>
                <a:gd name="T60" fmla="*/ 168 w 222"/>
                <a:gd name="T61" fmla="*/ 198 h 222"/>
                <a:gd name="T62" fmla="*/ 177 w 222"/>
                <a:gd name="T63" fmla="*/ 201 h 222"/>
                <a:gd name="T64" fmla="*/ 189 w 222"/>
                <a:gd name="T65" fmla="*/ 205 h 222"/>
                <a:gd name="T66" fmla="*/ 206 w 222"/>
                <a:gd name="T67" fmla="*/ 194 h 222"/>
                <a:gd name="T68" fmla="*/ 213 w 222"/>
                <a:gd name="T69" fmla="*/ 187 h 222"/>
                <a:gd name="T70" fmla="*/ 203 w 222"/>
                <a:gd name="T71" fmla="*/ 175 h 222"/>
                <a:gd name="T72" fmla="*/ 201 w 222"/>
                <a:gd name="T73" fmla="*/ 163 h 222"/>
                <a:gd name="T74" fmla="*/ 206 w 222"/>
                <a:gd name="T75" fmla="*/ 151 h 222"/>
                <a:gd name="T76" fmla="*/ 203 w 222"/>
                <a:gd name="T77" fmla="*/ 137 h 222"/>
                <a:gd name="T78" fmla="*/ 199 w 222"/>
                <a:gd name="T79" fmla="*/ 123 h 222"/>
                <a:gd name="T80" fmla="*/ 187 w 222"/>
                <a:gd name="T81" fmla="*/ 123 h 222"/>
                <a:gd name="T82" fmla="*/ 194 w 222"/>
                <a:gd name="T83" fmla="*/ 113 h 222"/>
                <a:gd name="T84" fmla="*/ 203 w 222"/>
                <a:gd name="T85" fmla="*/ 94 h 222"/>
                <a:gd name="T86" fmla="*/ 213 w 222"/>
                <a:gd name="T87" fmla="*/ 90 h 222"/>
                <a:gd name="T88" fmla="*/ 222 w 222"/>
                <a:gd name="T89" fmla="*/ 57 h 222"/>
                <a:gd name="T90" fmla="*/ 194 w 222"/>
                <a:gd name="T91" fmla="*/ 45 h 222"/>
                <a:gd name="T92" fmla="*/ 175 w 222"/>
                <a:gd name="T93" fmla="*/ 40 h 222"/>
                <a:gd name="T94" fmla="*/ 168 w 222"/>
                <a:gd name="T95" fmla="*/ 26 h 222"/>
                <a:gd name="T96" fmla="*/ 156 w 222"/>
                <a:gd name="T97" fmla="*/ 31 h 222"/>
                <a:gd name="T98" fmla="*/ 144 w 222"/>
                <a:gd name="T99" fmla="*/ 17 h 222"/>
                <a:gd name="T100" fmla="*/ 130 w 222"/>
                <a:gd name="T101" fmla="*/ 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222">
                  <a:moveTo>
                    <a:pt x="130" y="0"/>
                  </a:moveTo>
                  <a:lnTo>
                    <a:pt x="130" y="2"/>
                  </a:lnTo>
                  <a:lnTo>
                    <a:pt x="123" y="2"/>
                  </a:lnTo>
                  <a:lnTo>
                    <a:pt x="114" y="5"/>
                  </a:lnTo>
                  <a:lnTo>
                    <a:pt x="111" y="12"/>
                  </a:lnTo>
                  <a:lnTo>
                    <a:pt x="111" y="21"/>
                  </a:lnTo>
                  <a:lnTo>
                    <a:pt x="111" y="24"/>
                  </a:lnTo>
                  <a:lnTo>
                    <a:pt x="111" y="24"/>
                  </a:lnTo>
                  <a:lnTo>
                    <a:pt x="109" y="28"/>
                  </a:lnTo>
                  <a:lnTo>
                    <a:pt x="104" y="31"/>
                  </a:lnTo>
                  <a:lnTo>
                    <a:pt x="95" y="35"/>
                  </a:lnTo>
                  <a:lnTo>
                    <a:pt x="88" y="38"/>
                  </a:lnTo>
                  <a:lnTo>
                    <a:pt x="88" y="42"/>
                  </a:lnTo>
                  <a:lnTo>
                    <a:pt x="88" y="45"/>
                  </a:lnTo>
                  <a:lnTo>
                    <a:pt x="92" y="45"/>
                  </a:lnTo>
                  <a:lnTo>
                    <a:pt x="92" y="45"/>
                  </a:lnTo>
                  <a:lnTo>
                    <a:pt x="92" y="45"/>
                  </a:lnTo>
                  <a:lnTo>
                    <a:pt x="85" y="47"/>
                  </a:lnTo>
                  <a:lnTo>
                    <a:pt x="83" y="50"/>
                  </a:lnTo>
                  <a:lnTo>
                    <a:pt x="81" y="50"/>
                  </a:lnTo>
                  <a:lnTo>
                    <a:pt x="76" y="50"/>
                  </a:lnTo>
                  <a:lnTo>
                    <a:pt x="73" y="47"/>
                  </a:lnTo>
                  <a:lnTo>
                    <a:pt x="66" y="47"/>
                  </a:lnTo>
                  <a:lnTo>
                    <a:pt x="66" y="47"/>
                  </a:lnTo>
                  <a:lnTo>
                    <a:pt x="62" y="42"/>
                  </a:lnTo>
                  <a:lnTo>
                    <a:pt x="62" y="40"/>
                  </a:lnTo>
                  <a:lnTo>
                    <a:pt x="62" y="40"/>
                  </a:lnTo>
                  <a:lnTo>
                    <a:pt x="55" y="40"/>
                  </a:lnTo>
                  <a:lnTo>
                    <a:pt x="52" y="38"/>
                  </a:lnTo>
                  <a:lnTo>
                    <a:pt x="52" y="45"/>
                  </a:lnTo>
                  <a:lnTo>
                    <a:pt x="52" y="47"/>
                  </a:lnTo>
                  <a:lnTo>
                    <a:pt x="55" y="50"/>
                  </a:lnTo>
                  <a:lnTo>
                    <a:pt x="57" y="57"/>
                  </a:lnTo>
                  <a:lnTo>
                    <a:pt x="57" y="61"/>
                  </a:lnTo>
                  <a:lnTo>
                    <a:pt x="57" y="64"/>
                  </a:lnTo>
                  <a:lnTo>
                    <a:pt x="59" y="66"/>
                  </a:lnTo>
                  <a:lnTo>
                    <a:pt x="59" y="66"/>
                  </a:lnTo>
                  <a:lnTo>
                    <a:pt x="55" y="68"/>
                  </a:lnTo>
                  <a:lnTo>
                    <a:pt x="55" y="66"/>
                  </a:lnTo>
                  <a:lnTo>
                    <a:pt x="52" y="66"/>
                  </a:lnTo>
                  <a:lnTo>
                    <a:pt x="50" y="66"/>
                  </a:lnTo>
                  <a:lnTo>
                    <a:pt x="47" y="66"/>
                  </a:lnTo>
                  <a:lnTo>
                    <a:pt x="45" y="66"/>
                  </a:lnTo>
                  <a:lnTo>
                    <a:pt x="38" y="68"/>
                  </a:lnTo>
                  <a:lnTo>
                    <a:pt x="31" y="61"/>
                  </a:lnTo>
                  <a:lnTo>
                    <a:pt x="26" y="61"/>
                  </a:lnTo>
                  <a:lnTo>
                    <a:pt x="24" y="61"/>
                  </a:lnTo>
                  <a:lnTo>
                    <a:pt x="21" y="64"/>
                  </a:lnTo>
                  <a:lnTo>
                    <a:pt x="21" y="64"/>
                  </a:lnTo>
                  <a:lnTo>
                    <a:pt x="17" y="66"/>
                  </a:lnTo>
                  <a:lnTo>
                    <a:pt x="14" y="66"/>
                  </a:lnTo>
                  <a:lnTo>
                    <a:pt x="10" y="66"/>
                  </a:lnTo>
                  <a:lnTo>
                    <a:pt x="3" y="71"/>
                  </a:lnTo>
                  <a:lnTo>
                    <a:pt x="0" y="73"/>
                  </a:lnTo>
                  <a:lnTo>
                    <a:pt x="0" y="76"/>
                  </a:lnTo>
                  <a:lnTo>
                    <a:pt x="7" y="73"/>
                  </a:lnTo>
                  <a:lnTo>
                    <a:pt x="7" y="76"/>
                  </a:lnTo>
                  <a:lnTo>
                    <a:pt x="5" y="76"/>
                  </a:lnTo>
                  <a:lnTo>
                    <a:pt x="5" y="78"/>
                  </a:lnTo>
                  <a:lnTo>
                    <a:pt x="5" y="80"/>
                  </a:lnTo>
                  <a:lnTo>
                    <a:pt x="7" y="78"/>
                  </a:lnTo>
                  <a:lnTo>
                    <a:pt x="10" y="78"/>
                  </a:lnTo>
                  <a:lnTo>
                    <a:pt x="10" y="80"/>
                  </a:lnTo>
                  <a:lnTo>
                    <a:pt x="3" y="83"/>
                  </a:lnTo>
                  <a:lnTo>
                    <a:pt x="5" y="85"/>
                  </a:lnTo>
                  <a:lnTo>
                    <a:pt x="10" y="85"/>
                  </a:lnTo>
                  <a:lnTo>
                    <a:pt x="10" y="90"/>
                  </a:lnTo>
                  <a:lnTo>
                    <a:pt x="12" y="90"/>
                  </a:lnTo>
                  <a:lnTo>
                    <a:pt x="12" y="87"/>
                  </a:lnTo>
                  <a:lnTo>
                    <a:pt x="14" y="87"/>
                  </a:lnTo>
                  <a:lnTo>
                    <a:pt x="24" y="90"/>
                  </a:lnTo>
                  <a:lnTo>
                    <a:pt x="29" y="92"/>
                  </a:lnTo>
                  <a:lnTo>
                    <a:pt x="29" y="94"/>
                  </a:lnTo>
                  <a:lnTo>
                    <a:pt x="31" y="94"/>
                  </a:lnTo>
                  <a:lnTo>
                    <a:pt x="33" y="94"/>
                  </a:lnTo>
                  <a:lnTo>
                    <a:pt x="36" y="94"/>
                  </a:lnTo>
                  <a:lnTo>
                    <a:pt x="36" y="97"/>
                  </a:lnTo>
                  <a:lnTo>
                    <a:pt x="38" y="97"/>
                  </a:lnTo>
                  <a:lnTo>
                    <a:pt x="40" y="97"/>
                  </a:lnTo>
                  <a:lnTo>
                    <a:pt x="43" y="97"/>
                  </a:lnTo>
                  <a:lnTo>
                    <a:pt x="40" y="102"/>
                  </a:lnTo>
                  <a:lnTo>
                    <a:pt x="45" y="104"/>
                  </a:lnTo>
                  <a:lnTo>
                    <a:pt x="50" y="102"/>
                  </a:lnTo>
                  <a:lnTo>
                    <a:pt x="55" y="104"/>
                  </a:lnTo>
                  <a:lnTo>
                    <a:pt x="47" y="104"/>
                  </a:lnTo>
                  <a:lnTo>
                    <a:pt x="47" y="106"/>
                  </a:lnTo>
                  <a:lnTo>
                    <a:pt x="50" y="109"/>
                  </a:lnTo>
                  <a:lnTo>
                    <a:pt x="50" y="111"/>
                  </a:lnTo>
                  <a:lnTo>
                    <a:pt x="47" y="109"/>
                  </a:lnTo>
                  <a:lnTo>
                    <a:pt x="47" y="111"/>
                  </a:lnTo>
                  <a:lnTo>
                    <a:pt x="50" y="116"/>
                  </a:lnTo>
                  <a:lnTo>
                    <a:pt x="52" y="118"/>
                  </a:lnTo>
                  <a:lnTo>
                    <a:pt x="52" y="120"/>
                  </a:lnTo>
                  <a:lnTo>
                    <a:pt x="57" y="125"/>
                  </a:lnTo>
                  <a:lnTo>
                    <a:pt x="62" y="125"/>
                  </a:lnTo>
                  <a:lnTo>
                    <a:pt x="66" y="128"/>
                  </a:lnTo>
                  <a:lnTo>
                    <a:pt x="64" y="130"/>
                  </a:lnTo>
                  <a:lnTo>
                    <a:pt x="66" y="132"/>
                  </a:lnTo>
                  <a:lnTo>
                    <a:pt x="66" y="137"/>
                  </a:lnTo>
                  <a:lnTo>
                    <a:pt x="64" y="139"/>
                  </a:lnTo>
                  <a:lnTo>
                    <a:pt x="66" y="144"/>
                  </a:lnTo>
                  <a:lnTo>
                    <a:pt x="69" y="146"/>
                  </a:lnTo>
                  <a:lnTo>
                    <a:pt x="71" y="149"/>
                  </a:lnTo>
                  <a:lnTo>
                    <a:pt x="73" y="154"/>
                  </a:lnTo>
                  <a:lnTo>
                    <a:pt x="71" y="151"/>
                  </a:lnTo>
                  <a:lnTo>
                    <a:pt x="66" y="146"/>
                  </a:lnTo>
                  <a:lnTo>
                    <a:pt x="66" y="149"/>
                  </a:lnTo>
                  <a:lnTo>
                    <a:pt x="66" y="154"/>
                  </a:lnTo>
                  <a:lnTo>
                    <a:pt x="64" y="165"/>
                  </a:lnTo>
                  <a:lnTo>
                    <a:pt x="64" y="168"/>
                  </a:lnTo>
                  <a:lnTo>
                    <a:pt x="66" y="165"/>
                  </a:lnTo>
                  <a:lnTo>
                    <a:pt x="66" y="168"/>
                  </a:lnTo>
                  <a:lnTo>
                    <a:pt x="66" y="168"/>
                  </a:lnTo>
                  <a:lnTo>
                    <a:pt x="64" y="170"/>
                  </a:lnTo>
                  <a:lnTo>
                    <a:pt x="64" y="175"/>
                  </a:lnTo>
                  <a:lnTo>
                    <a:pt x="59" y="194"/>
                  </a:lnTo>
                  <a:lnTo>
                    <a:pt x="59" y="196"/>
                  </a:lnTo>
                  <a:lnTo>
                    <a:pt x="55" y="198"/>
                  </a:lnTo>
                  <a:lnTo>
                    <a:pt x="52" y="198"/>
                  </a:lnTo>
                  <a:lnTo>
                    <a:pt x="52" y="201"/>
                  </a:lnTo>
                  <a:lnTo>
                    <a:pt x="59" y="205"/>
                  </a:lnTo>
                  <a:lnTo>
                    <a:pt x="62" y="208"/>
                  </a:lnTo>
                  <a:lnTo>
                    <a:pt x="66" y="208"/>
                  </a:lnTo>
                  <a:lnTo>
                    <a:pt x="69" y="210"/>
                  </a:lnTo>
                  <a:lnTo>
                    <a:pt x="71" y="213"/>
                  </a:lnTo>
                  <a:lnTo>
                    <a:pt x="88" y="215"/>
                  </a:lnTo>
                  <a:lnTo>
                    <a:pt x="92" y="217"/>
                  </a:lnTo>
                  <a:lnTo>
                    <a:pt x="95" y="215"/>
                  </a:lnTo>
                  <a:lnTo>
                    <a:pt x="97" y="213"/>
                  </a:lnTo>
                  <a:lnTo>
                    <a:pt x="99" y="213"/>
                  </a:lnTo>
                  <a:lnTo>
                    <a:pt x="102" y="215"/>
                  </a:lnTo>
                  <a:lnTo>
                    <a:pt x="107" y="217"/>
                  </a:lnTo>
                  <a:lnTo>
                    <a:pt x="111" y="217"/>
                  </a:lnTo>
                  <a:lnTo>
                    <a:pt x="114" y="220"/>
                  </a:lnTo>
                  <a:lnTo>
                    <a:pt x="116" y="222"/>
                  </a:lnTo>
                  <a:lnTo>
                    <a:pt x="118" y="222"/>
                  </a:lnTo>
                  <a:lnTo>
                    <a:pt x="128" y="222"/>
                  </a:lnTo>
                  <a:lnTo>
                    <a:pt x="133" y="222"/>
                  </a:lnTo>
                  <a:lnTo>
                    <a:pt x="137" y="222"/>
                  </a:lnTo>
                  <a:lnTo>
                    <a:pt x="137" y="222"/>
                  </a:lnTo>
                  <a:lnTo>
                    <a:pt x="137" y="213"/>
                  </a:lnTo>
                  <a:lnTo>
                    <a:pt x="137" y="210"/>
                  </a:lnTo>
                  <a:lnTo>
                    <a:pt x="137" y="205"/>
                  </a:lnTo>
                  <a:lnTo>
                    <a:pt x="140" y="203"/>
                  </a:lnTo>
                  <a:lnTo>
                    <a:pt x="144" y="201"/>
                  </a:lnTo>
                  <a:lnTo>
                    <a:pt x="149" y="198"/>
                  </a:lnTo>
                  <a:lnTo>
                    <a:pt x="151" y="196"/>
                  </a:lnTo>
                  <a:lnTo>
                    <a:pt x="154" y="196"/>
                  </a:lnTo>
                  <a:lnTo>
                    <a:pt x="156" y="196"/>
                  </a:lnTo>
                  <a:lnTo>
                    <a:pt x="156" y="196"/>
                  </a:lnTo>
                  <a:lnTo>
                    <a:pt x="161" y="196"/>
                  </a:lnTo>
                  <a:lnTo>
                    <a:pt x="161" y="198"/>
                  </a:lnTo>
                  <a:lnTo>
                    <a:pt x="163" y="198"/>
                  </a:lnTo>
                  <a:lnTo>
                    <a:pt x="163" y="198"/>
                  </a:lnTo>
                  <a:lnTo>
                    <a:pt x="168" y="198"/>
                  </a:lnTo>
                  <a:lnTo>
                    <a:pt x="168" y="198"/>
                  </a:lnTo>
                  <a:lnTo>
                    <a:pt x="173" y="198"/>
                  </a:lnTo>
                  <a:lnTo>
                    <a:pt x="173" y="198"/>
                  </a:lnTo>
                  <a:lnTo>
                    <a:pt x="175" y="198"/>
                  </a:lnTo>
                  <a:lnTo>
                    <a:pt x="177" y="201"/>
                  </a:lnTo>
                  <a:lnTo>
                    <a:pt x="177" y="201"/>
                  </a:lnTo>
                  <a:lnTo>
                    <a:pt x="177" y="203"/>
                  </a:lnTo>
                  <a:lnTo>
                    <a:pt x="182" y="203"/>
                  </a:lnTo>
                  <a:lnTo>
                    <a:pt x="184" y="205"/>
                  </a:lnTo>
                  <a:lnTo>
                    <a:pt x="189" y="205"/>
                  </a:lnTo>
                  <a:lnTo>
                    <a:pt x="199" y="203"/>
                  </a:lnTo>
                  <a:lnTo>
                    <a:pt x="199" y="201"/>
                  </a:lnTo>
                  <a:lnTo>
                    <a:pt x="199" y="198"/>
                  </a:lnTo>
                  <a:lnTo>
                    <a:pt x="201" y="196"/>
                  </a:lnTo>
                  <a:lnTo>
                    <a:pt x="206" y="194"/>
                  </a:lnTo>
                  <a:lnTo>
                    <a:pt x="208" y="191"/>
                  </a:lnTo>
                  <a:lnTo>
                    <a:pt x="208" y="191"/>
                  </a:lnTo>
                  <a:lnTo>
                    <a:pt x="213" y="189"/>
                  </a:lnTo>
                  <a:lnTo>
                    <a:pt x="213" y="187"/>
                  </a:lnTo>
                  <a:lnTo>
                    <a:pt x="213" y="187"/>
                  </a:lnTo>
                  <a:lnTo>
                    <a:pt x="215" y="184"/>
                  </a:lnTo>
                  <a:lnTo>
                    <a:pt x="215" y="182"/>
                  </a:lnTo>
                  <a:lnTo>
                    <a:pt x="213" y="179"/>
                  </a:lnTo>
                  <a:lnTo>
                    <a:pt x="206" y="177"/>
                  </a:lnTo>
                  <a:lnTo>
                    <a:pt x="203" y="175"/>
                  </a:lnTo>
                  <a:lnTo>
                    <a:pt x="203" y="172"/>
                  </a:lnTo>
                  <a:lnTo>
                    <a:pt x="201" y="168"/>
                  </a:lnTo>
                  <a:lnTo>
                    <a:pt x="203" y="165"/>
                  </a:lnTo>
                  <a:lnTo>
                    <a:pt x="203" y="163"/>
                  </a:lnTo>
                  <a:lnTo>
                    <a:pt x="201" y="163"/>
                  </a:lnTo>
                  <a:lnTo>
                    <a:pt x="199" y="161"/>
                  </a:lnTo>
                  <a:lnTo>
                    <a:pt x="199" y="158"/>
                  </a:lnTo>
                  <a:lnTo>
                    <a:pt x="199" y="156"/>
                  </a:lnTo>
                  <a:lnTo>
                    <a:pt x="201" y="154"/>
                  </a:lnTo>
                  <a:lnTo>
                    <a:pt x="206" y="151"/>
                  </a:lnTo>
                  <a:lnTo>
                    <a:pt x="203" y="149"/>
                  </a:lnTo>
                  <a:lnTo>
                    <a:pt x="201" y="142"/>
                  </a:lnTo>
                  <a:lnTo>
                    <a:pt x="201" y="139"/>
                  </a:lnTo>
                  <a:lnTo>
                    <a:pt x="201" y="137"/>
                  </a:lnTo>
                  <a:lnTo>
                    <a:pt x="203" y="137"/>
                  </a:lnTo>
                  <a:lnTo>
                    <a:pt x="203" y="135"/>
                  </a:lnTo>
                  <a:lnTo>
                    <a:pt x="201" y="132"/>
                  </a:lnTo>
                  <a:lnTo>
                    <a:pt x="199" y="130"/>
                  </a:lnTo>
                  <a:lnTo>
                    <a:pt x="199" y="125"/>
                  </a:lnTo>
                  <a:lnTo>
                    <a:pt x="199" y="123"/>
                  </a:lnTo>
                  <a:lnTo>
                    <a:pt x="194" y="123"/>
                  </a:lnTo>
                  <a:lnTo>
                    <a:pt x="189" y="130"/>
                  </a:lnTo>
                  <a:lnTo>
                    <a:pt x="187" y="130"/>
                  </a:lnTo>
                  <a:lnTo>
                    <a:pt x="187" y="130"/>
                  </a:lnTo>
                  <a:lnTo>
                    <a:pt x="187" y="123"/>
                  </a:lnTo>
                  <a:lnTo>
                    <a:pt x="187" y="118"/>
                  </a:lnTo>
                  <a:lnTo>
                    <a:pt x="189" y="118"/>
                  </a:lnTo>
                  <a:lnTo>
                    <a:pt x="192" y="116"/>
                  </a:lnTo>
                  <a:lnTo>
                    <a:pt x="192" y="113"/>
                  </a:lnTo>
                  <a:lnTo>
                    <a:pt x="194" y="113"/>
                  </a:lnTo>
                  <a:lnTo>
                    <a:pt x="194" y="111"/>
                  </a:lnTo>
                  <a:lnTo>
                    <a:pt x="196" y="106"/>
                  </a:lnTo>
                  <a:lnTo>
                    <a:pt x="203" y="99"/>
                  </a:lnTo>
                  <a:lnTo>
                    <a:pt x="201" y="97"/>
                  </a:lnTo>
                  <a:lnTo>
                    <a:pt x="203" y="94"/>
                  </a:lnTo>
                  <a:lnTo>
                    <a:pt x="208" y="97"/>
                  </a:lnTo>
                  <a:lnTo>
                    <a:pt x="210" y="94"/>
                  </a:lnTo>
                  <a:lnTo>
                    <a:pt x="213" y="92"/>
                  </a:lnTo>
                  <a:lnTo>
                    <a:pt x="213" y="92"/>
                  </a:lnTo>
                  <a:lnTo>
                    <a:pt x="213" y="90"/>
                  </a:lnTo>
                  <a:lnTo>
                    <a:pt x="213" y="80"/>
                  </a:lnTo>
                  <a:lnTo>
                    <a:pt x="215" y="73"/>
                  </a:lnTo>
                  <a:lnTo>
                    <a:pt x="215" y="68"/>
                  </a:lnTo>
                  <a:lnTo>
                    <a:pt x="222" y="61"/>
                  </a:lnTo>
                  <a:lnTo>
                    <a:pt x="222" y="57"/>
                  </a:lnTo>
                  <a:lnTo>
                    <a:pt x="218" y="54"/>
                  </a:lnTo>
                  <a:lnTo>
                    <a:pt x="206" y="52"/>
                  </a:lnTo>
                  <a:lnTo>
                    <a:pt x="199" y="52"/>
                  </a:lnTo>
                  <a:lnTo>
                    <a:pt x="196" y="47"/>
                  </a:lnTo>
                  <a:lnTo>
                    <a:pt x="194" y="45"/>
                  </a:lnTo>
                  <a:lnTo>
                    <a:pt x="192" y="42"/>
                  </a:lnTo>
                  <a:lnTo>
                    <a:pt x="187" y="42"/>
                  </a:lnTo>
                  <a:lnTo>
                    <a:pt x="182" y="40"/>
                  </a:lnTo>
                  <a:lnTo>
                    <a:pt x="180" y="42"/>
                  </a:lnTo>
                  <a:lnTo>
                    <a:pt x="175" y="40"/>
                  </a:lnTo>
                  <a:lnTo>
                    <a:pt x="173" y="38"/>
                  </a:lnTo>
                  <a:lnTo>
                    <a:pt x="170" y="35"/>
                  </a:lnTo>
                  <a:lnTo>
                    <a:pt x="170" y="35"/>
                  </a:lnTo>
                  <a:lnTo>
                    <a:pt x="168" y="33"/>
                  </a:lnTo>
                  <a:lnTo>
                    <a:pt x="168" y="26"/>
                  </a:lnTo>
                  <a:lnTo>
                    <a:pt x="166" y="26"/>
                  </a:lnTo>
                  <a:lnTo>
                    <a:pt x="166" y="28"/>
                  </a:lnTo>
                  <a:lnTo>
                    <a:pt x="163" y="31"/>
                  </a:lnTo>
                  <a:lnTo>
                    <a:pt x="161" y="31"/>
                  </a:lnTo>
                  <a:lnTo>
                    <a:pt x="156" y="31"/>
                  </a:lnTo>
                  <a:lnTo>
                    <a:pt x="156" y="26"/>
                  </a:lnTo>
                  <a:lnTo>
                    <a:pt x="156" y="21"/>
                  </a:lnTo>
                  <a:lnTo>
                    <a:pt x="154" y="21"/>
                  </a:lnTo>
                  <a:lnTo>
                    <a:pt x="149" y="19"/>
                  </a:lnTo>
                  <a:lnTo>
                    <a:pt x="144" y="17"/>
                  </a:lnTo>
                  <a:lnTo>
                    <a:pt x="142" y="17"/>
                  </a:lnTo>
                  <a:lnTo>
                    <a:pt x="140" y="9"/>
                  </a:lnTo>
                  <a:lnTo>
                    <a:pt x="135" y="9"/>
                  </a:lnTo>
                  <a:lnTo>
                    <a:pt x="133" y="9"/>
                  </a:lnTo>
                  <a:lnTo>
                    <a:pt x="130" y="5"/>
                  </a:lnTo>
                  <a:lnTo>
                    <a:pt x="13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4" name="Freeform 596">
              <a:extLst>
                <a:ext uri="{FF2B5EF4-FFF2-40B4-BE49-F238E27FC236}">
                  <a16:creationId xmlns:a16="http://schemas.microsoft.com/office/drawing/2014/main" id="{D706B246-7E8D-4A08-9427-8572B496EFDD}"/>
                </a:ext>
              </a:extLst>
            </p:cNvPr>
            <p:cNvSpPr>
              <a:spLocks/>
            </p:cNvSpPr>
            <p:nvPr/>
          </p:nvSpPr>
          <p:spPr bwMode="auto">
            <a:xfrm>
              <a:off x="1147018" y="2887628"/>
              <a:ext cx="352424" cy="352425"/>
            </a:xfrm>
            <a:custGeom>
              <a:avLst/>
              <a:gdLst>
                <a:gd name="T0" fmla="*/ 111 w 222"/>
                <a:gd name="T1" fmla="*/ 12 h 222"/>
                <a:gd name="T2" fmla="*/ 104 w 222"/>
                <a:gd name="T3" fmla="*/ 31 h 222"/>
                <a:gd name="T4" fmla="*/ 92 w 222"/>
                <a:gd name="T5" fmla="*/ 45 h 222"/>
                <a:gd name="T6" fmla="*/ 81 w 222"/>
                <a:gd name="T7" fmla="*/ 50 h 222"/>
                <a:gd name="T8" fmla="*/ 62 w 222"/>
                <a:gd name="T9" fmla="*/ 42 h 222"/>
                <a:gd name="T10" fmla="*/ 52 w 222"/>
                <a:gd name="T11" fmla="*/ 45 h 222"/>
                <a:gd name="T12" fmla="*/ 57 w 222"/>
                <a:gd name="T13" fmla="*/ 64 h 222"/>
                <a:gd name="T14" fmla="*/ 52 w 222"/>
                <a:gd name="T15" fmla="*/ 66 h 222"/>
                <a:gd name="T16" fmla="*/ 31 w 222"/>
                <a:gd name="T17" fmla="*/ 61 h 222"/>
                <a:gd name="T18" fmla="*/ 17 w 222"/>
                <a:gd name="T19" fmla="*/ 66 h 222"/>
                <a:gd name="T20" fmla="*/ 0 w 222"/>
                <a:gd name="T21" fmla="*/ 76 h 222"/>
                <a:gd name="T22" fmla="*/ 5 w 222"/>
                <a:gd name="T23" fmla="*/ 80 h 222"/>
                <a:gd name="T24" fmla="*/ 5 w 222"/>
                <a:gd name="T25" fmla="*/ 85 h 222"/>
                <a:gd name="T26" fmla="*/ 14 w 222"/>
                <a:gd name="T27" fmla="*/ 87 h 222"/>
                <a:gd name="T28" fmla="*/ 33 w 222"/>
                <a:gd name="T29" fmla="*/ 94 h 222"/>
                <a:gd name="T30" fmla="*/ 43 w 222"/>
                <a:gd name="T31" fmla="*/ 97 h 222"/>
                <a:gd name="T32" fmla="*/ 47 w 222"/>
                <a:gd name="T33" fmla="*/ 104 h 222"/>
                <a:gd name="T34" fmla="*/ 47 w 222"/>
                <a:gd name="T35" fmla="*/ 111 h 222"/>
                <a:gd name="T36" fmla="*/ 62 w 222"/>
                <a:gd name="T37" fmla="*/ 125 h 222"/>
                <a:gd name="T38" fmla="*/ 64 w 222"/>
                <a:gd name="T39" fmla="*/ 139 h 222"/>
                <a:gd name="T40" fmla="*/ 71 w 222"/>
                <a:gd name="T41" fmla="*/ 151 h 222"/>
                <a:gd name="T42" fmla="*/ 64 w 222"/>
                <a:gd name="T43" fmla="*/ 168 h 222"/>
                <a:gd name="T44" fmla="*/ 64 w 222"/>
                <a:gd name="T45" fmla="*/ 175 h 222"/>
                <a:gd name="T46" fmla="*/ 52 w 222"/>
                <a:gd name="T47" fmla="*/ 201 h 222"/>
                <a:gd name="T48" fmla="*/ 71 w 222"/>
                <a:gd name="T49" fmla="*/ 213 h 222"/>
                <a:gd name="T50" fmla="*/ 99 w 222"/>
                <a:gd name="T51" fmla="*/ 213 h 222"/>
                <a:gd name="T52" fmla="*/ 116 w 222"/>
                <a:gd name="T53" fmla="*/ 222 h 222"/>
                <a:gd name="T54" fmla="*/ 137 w 222"/>
                <a:gd name="T55" fmla="*/ 222 h 222"/>
                <a:gd name="T56" fmla="*/ 144 w 222"/>
                <a:gd name="T57" fmla="*/ 201 h 222"/>
                <a:gd name="T58" fmla="*/ 156 w 222"/>
                <a:gd name="T59" fmla="*/ 196 h 222"/>
                <a:gd name="T60" fmla="*/ 168 w 222"/>
                <a:gd name="T61" fmla="*/ 198 h 222"/>
                <a:gd name="T62" fmla="*/ 177 w 222"/>
                <a:gd name="T63" fmla="*/ 201 h 222"/>
                <a:gd name="T64" fmla="*/ 189 w 222"/>
                <a:gd name="T65" fmla="*/ 205 h 222"/>
                <a:gd name="T66" fmla="*/ 206 w 222"/>
                <a:gd name="T67" fmla="*/ 194 h 222"/>
                <a:gd name="T68" fmla="*/ 213 w 222"/>
                <a:gd name="T69" fmla="*/ 187 h 222"/>
                <a:gd name="T70" fmla="*/ 203 w 222"/>
                <a:gd name="T71" fmla="*/ 175 h 222"/>
                <a:gd name="T72" fmla="*/ 201 w 222"/>
                <a:gd name="T73" fmla="*/ 163 h 222"/>
                <a:gd name="T74" fmla="*/ 206 w 222"/>
                <a:gd name="T75" fmla="*/ 151 h 222"/>
                <a:gd name="T76" fmla="*/ 203 w 222"/>
                <a:gd name="T77" fmla="*/ 137 h 222"/>
                <a:gd name="T78" fmla="*/ 199 w 222"/>
                <a:gd name="T79" fmla="*/ 123 h 222"/>
                <a:gd name="T80" fmla="*/ 187 w 222"/>
                <a:gd name="T81" fmla="*/ 123 h 222"/>
                <a:gd name="T82" fmla="*/ 194 w 222"/>
                <a:gd name="T83" fmla="*/ 113 h 222"/>
                <a:gd name="T84" fmla="*/ 203 w 222"/>
                <a:gd name="T85" fmla="*/ 94 h 222"/>
                <a:gd name="T86" fmla="*/ 213 w 222"/>
                <a:gd name="T87" fmla="*/ 90 h 222"/>
                <a:gd name="T88" fmla="*/ 222 w 222"/>
                <a:gd name="T89" fmla="*/ 57 h 222"/>
                <a:gd name="T90" fmla="*/ 194 w 222"/>
                <a:gd name="T91" fmla="*/ 45 h 222"/>
                <a:gd name="T92" fmla="*/ 175 w 222"/>
                <a:gd name="T93" fmla="*/ 40 h 222"/>
                <a:gd name="T94" fmla="*/ 168 w 222"/>
                <a:gd name="T95" fmla="*/ 26 h 222"/>
                <a:gd name="T96" fmla="*/ 156 w 222"/>
                <a:gd name="T97" fmla="*/ 31 h 222"/>
                <a:gd name="T98" fmla="*/ 144 w 222"/>
                <a:gd name="T99" fmla="*/ 17 h 222"/>
                <a:gd name="T100" fmla="*/ 130 w 222"/>
                <a:gd name="T101" fmla="*/ 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222">
                  <a:moveTo>
                    <a:pt x="130" y="0"/>
                  </a:moveTo>
                  <a:lnTo>
                    <a:pt x="130" y="2"/>
                  </a:lnTo>
                  <a:lnTo>
                    <a:pt x="123" y="2"/>
                  </a:lnTo>
                  <a:lnTo>
                    <a:pt x="114" y="5"/>
                  </a:lnTo>
                  <a:lnTo>
                    <a:pt x="111" y="12"/>
                  </a:lnTo>
                  <a:lnTo>
                    <a:pt x="111" y="21"/>
                  </a:lnTo>
                  <a:lnTo>
                    <a:pt x="111" y="24"/>
                  </a:lnTo>
                  <a:lnTo>
                    <a:pt x="111" y="24"/>
                  </a:lnTo>
                  <a:lnTo>
                    <a:pt x="109" y="28"/>
                  </a:lnTo>
                  <a:lnTo>
                    <a:pt x="104" y="31"/>
                  </a:lnTo>
                  <a:lnTo>
                    <a:pt x="95" y="35"/>
                  </a:lnTo>
                  <a:lnTo>
                    <a:pt x="88" y="38"/>
                  </a:lnTo>
                  <a:lnTo>
                    <a:pt x="88" y="42"/>
                  </a:lnTo>
                  <a:lnTo>
                    <a:pt x="88" y="45"/>
                  </a:lnTo>
                  <a:lnTo>
                    <a:pt x="92" y="45"/>
                  </a:lnTo>
                  <a:lnTo>
                    <a:pt x="92" y="45"/>
                  </a:lnTo>
                  <a:lnTo>
                    <a:pt x="92" y="45"/>
                  </a:lnTo>
                  <a:lnTo>
                    <a:pt x="85" y="47"/>
                  </a:lnTo>
                  <a:lnTo>
                    <a:pt x="83" y="50"/>
                  </a:lnTo>
                  <a:lnTo>
                    <a:pt x="81" y="50"/>
                  </a:lnTo>
                  <a:lnTo>
                    <a:pt x="76" y="50"/>
                  </a:lnTo>
                  <a:lnTo>
                    <a:pt x="73" y="47"/>
                  </a:lnTo>
                  <a:lnTo>
                    <a:pt x="66" y="47"/>
                  </a:lnTo>
                  <a:lnTo>
                    <a:pt x="66" y="47"/>
                  </a:lnTo>
                  <a:lnTo>
                    <a:pt x="62" y="42"/>
                  </a:lnTo>
                  <a:lnTo>
                    <a:pt x="62" y="40"/>
                  </a:lnTo>
                  <a:lnTo>
                    <a:pt x="62" y="40"/>
                  </a:lnTo>
                  <a:lnTo>
                    <a:pt x="55" y="40"/>
                  </a:lnTo>
                  <a:lnTo>
                    <a:pt x="52" y="38"/>
                  </a:lnTo>
                  <a:lnTo>
                    <a:pt x="52" y="45"/>
                  </a:lnTo>
                  <a:lnTo>
                    <a:pt x="52" y="47"/>
                  </a:lnTo>
                  <a:lnTo>
                    <a:pt x="55" y="50"/>
                  </a:lnTo>
                  <a:lnTo>
                    <a:pt x="57" y="57"/>
                  </a:lnTo>
                  <a:lnTo>
                    <a:pt x="57" y="61"/>
                  </a:lnTo>
                  <a:lnTo>
                    <a:pt x="57" y="64"/>
                  </a:lnTo>
                  <a:lnTo>
                    <a:pt x="59" y="66"/>
                  </a:lnTo>
                  <a:lnTo>
                    <a:pt x="59" y="66"/>
                  </a:lnTo>
                  <a:lnTo>
                    <a:pt x="55" y="68"/>
                  </a:lnTo>
                  <a:lnTo>
                    <a:pt x="55" y="66"/>
                  </a:lnTo>
                  <a:lnTo>
                    <a:pt x="52" y="66"/>
                  </a:lnTo>
                  <a:lnTo>
                    <a:pt x="50" y="66"/>
                  </a:lnTo>
                  <a:lnTo>
                    <a:pt x="47" y="66"/>
                  </a:lnTo>
                  <a:lnTo>
                    <a:pt x="45" y="66"/>
                  </a:lnTo>
                  <a:lnTo>
                    <a:pt x="38" y="68"/>
                  </a:lnTo>
                  <a:lnTo>
                    <a:pt x="31" y="61"/>
                  </a:lnTo>
                  <a:lnTo>
                    <a:pt x="26" y="61"/>
                  </a:lnTo>
                  <a:lnTo>
                    <a:pt x="24" y="61"/>
                  </a:lnTo>
                  <a:lnTo>
                    <a:pt x="21" y="64"/>
                  </a:lnTo>
                  <a:lnTo>
                    <a:pt x="21" y="64"/>
                  </a:lnTo>
                  <a:lnTo>
                    <a:pt x="17" y="66"/>
                  </a:lnTo>
                  <a:lnTo>
                    <a:pt x="14" y="66"/>
                  </a:lnTo>
                  <a:lnTo>
                    <a:pt x="10" y="66"/>
                  </a:lnTo>
                  <a:lnTo>
                    <a:pt x="3" y="71"/>
                  </a:lnTo>
                  <a:lnTo>
                    <a:pt x="0" y="73"/>
                  </a:lnTo>
                  <a:lnTo>
                    <a:pt x="0" y="76"/>
                  </a:lnTo>
                  <a:lnTo>
                    <a:pt x="7" y="73"/>
                  </a:lnTo>
                  <a:lnTo>
                    <a:pt x="7" y="76"/>
                  </a:lnTo>
                  <a:lnTo>
                    <a:pt x="5" y="76"/>
                  </a:lnTo>
                  <a:lnTo>
                    <a:pt x="5" y="78"/>
                  </a:lnTo>
                  <a:lnTo>
                    <a:pt x="5" y="80"/>
                  </a:lnTo>
                  <a:lnTo>
                    <a:pt x="7" y="78"/>
                  </a:lnTo>
                  <a:lnTo>
                    <a:pt x="10" y="78"/>
                  </a:lnTo>
                  <a:lnTo>
                    <a:pt x="10" y="80"/>
                  </a:lnTo>
                  <a:lnTo>
                    <a:pt x="3" y="83"/>
                  </a:lnTo>
                  <a:lnTo>
                    <a:pt x="5" y="85"/>
                  </a:lnTo>
                  <a:lnTo>
                    <a:pt x="10" y="85"/>
                  </a:lnTo>
                  <a:lnTo>
                    <a:pt x="10" y="90"/>
                  </a:lnTo>
                  <a:lnTo>
                    <a:pt x="12" y="90"/>
                  </a:lnTo>
                  <a:lnTo>
                    <a:pt x="12" y="87"/>
                  </a:lnTo>
                  <a:lnTo>
                    <a:pt x="14" y="87"/>
                  </a:lnTo>
                  <a:lnTo>
                    <a:pt x="24" y="90"/>
                  </a:lnTo>
                  <a:lnTo>
                    <a:pt x="29" y="92"/>
                  </a:lnTo>
                  <a:lnTo>
                    <a:pt x="29" y="94"/>
                  </a:lnTo>
                  <a:lnTo>
                    <a:pt x="31" y="94"/>
                  </a:lnTo>
                  <a:lnTo>
                    <a:pt x="33" y="94"/>
                  </a:lnTo>
                  <a:lnTo>
                    <a:pt x="36" y="94"/>
                  </a:lnTo>
                  <a:lnTo>
                    <a:pt x="36" y="97"/>
                  </a:lnTo>
                  <a:lnTo>
                    <a:pt x="38" y="97"/>
                  </a:lnTo>
                  <a:lnTo>
                    <a:pt x="40" y="97"/>
                  </a:lnTo>
                  <a:lnTo>
                    <a:pt x="43" y="97"/>
                  </a:lnTo>
                  <a:lnTo>
                    <a:pt x="40" y="102"/>
                  </a:lnTo>
                  <a:lnTo>
                    <a:pt x="45" y="104"/>
                  </a:lnTo>
                  <a:lnTo>
                    <a:pt x="50" y="102"/>
                  </a:lnTo>
                  <a:lnTo>
                    <a:pt x="55" y="104"/>
                  </a:lnTo>
                  <a:lnTo>
                    <a:pt x="47" y="104"/>
                  </a:lnTo>
                  <a:lnTo>
                    <a:pt x="47" y="106"/>
                  </a:lnTo>
                  <a:lnTo>
                    <a:pt x="50" y="109"/>
                  </a:lnTo>
                  <a:lnTo>
                    <a:pt x="50" y="111"/>
                  </a:lnTo>
                  <a:lnTo>
                    <a:pt x="47" y="109"/>
                  </a:lnTo>
                  <a:lnTo>
                    <a:pt x="47" y="111"/>
                  </a:lnTo>
                  <a:lnTo>
                    <a:pt x="50" y="116"/>
                  </a:lnTo>
                  <a:lnTo>
                    <a:pt x="52" y="118"/>
                  </a:lnTo>
                  <a:lnTo>
                    <a:pt x="52" y="120"/>
                  </a:lnTo>
                  <a:lnTo>
                    <a:pt x="57" y="125"/>
                  </a:lnTo>
                  <a:lnTo>
                    <a:pt x="62" y="125"/>
                  </a:lnTo>
                  <a:lnTo>
                    <a:pt x="66" y="128"/>
                  </a:lnTo>
                  <a:lnTo>
                    <a:pt x="64" y="130"/>
                  </a:lnTo>
                  <a:lnTo>
                    <a:pt x="66" y="132"/>
                  </a:lnTo>
                  <a:lnTo>
                    <a:pt x="66" y="137"/>
                  </a:lnTo>
                  <a:lnTo>
                    <a:pt x="64" y="139"/>
                  </a:lnTo>
                  <a:lnTo>
                    <a:pt x="66" y="144"/>
                  </a:lnTo>
                  <a:lnTo>
                    <a:pt x="69" y="146"/>
                  </a:lnTo>
                  <a:lnTo>
                    <a:pt x="71" y="149"/>
                  </a:lnTo>
                  <a:lnTo>
                    <a:pt x="73" y="154"/>
                  </a:lnTo>
                  <a:lnTo>
                    <a:pt x="71" y="151"/>
                  </a:lnTo>
                  <a:lnTo>
                    <a:pt x="66" y="146"/>
                  </a:lnTo>
                  <a:lnTo>
                    <a:pt x="66" y="149"/>
                  </a:lnTo>
                  <a:lnTo>
                    <a:pt x="66" y="154"/>
                  </a:lnTo>
                  <a:lnTo>
                    <a:pt x="64" y="165"/>
                  </a:lnTo>
                  <a:lnTo>
                    <a:pt x="64" y="168"/>
                  </a:lnTo>
                  <a:lnTo>
                    <a:pt x="66" y="165"/>
                  </a:lnTo>
                  <a:lnTo>
                    <a:pt x="66" y="168"/>
                  </a:lnTo>
                  <a:lnTo>
                    <a:pt x="66" y="168"/>
                  </a:lnTo>
                  <a:lnTo>
                    <a:pt x="64" y="170"/>
                  </a:lnTo>
                  <a:lnTo>
                    <a:pt x="64" y="175"/>
                  </a:lnTo>
                  <a:lnTo>
                    <a:pt x="59" y="194"/>
                  </a:lnTo>
                  <a:lnTo>
                    <a:pt x="59" y="196"/>
                  </a:lnTo>
                  <a:lnTo>
                    <a:pt x="55" y="198"/>
                  </a:lnTo>
                  <a:lnTo>
                    <a:pt x="52" y="198"/>
                  </a:lnTo>
                  <a:lnTo>
                    <a:pt x="52" y="201"/>
                  </a:lnTo>
                  <a:lnTo>
                    <a:pt x="59" y="205"/>
                  </a:lnTo>
                  <a:lnTo>
                    <a:pt x="62" y="208"/>
                  </a:lnTo>
                  <a:lnTo>
                    <a:pt x="66" y="208"/>
                  </a:lnTo>
                  <a:lnTo>
                    <a:pt x="69" y="210"/>
                  </a:lnTo>
                  <a:lnTo>
                    <a:pt x="71" y="213"/>
                  </a:lnTo>
                  <a:lnTo>
                    <a:pt x="88" y="215"/>
                  </a:lnTo>
                  <a:lnTo>
                    <a:pt x="92" y="217"/>
                  </a:lnTo>
                  <a:lnTo>
                    <a:pt x="95" y="215"/>
                  </a:lnTo>
                  <a:lnTo>
                    <a:pt x="97" y="213"/>
                  </a:lnTo>
                  <a:lnTo>
                    <a:pt x="99" y="213"/>
                  </a:lnTo>
                  <a:lnTo>
                    <a:pt x="102" y="215"/>
                  </a:lnTo>
                  <a:lnTo>
                    <a:pt x="107" y="217"/>
                  </a:lnTo>
                  <a:lnTo>
                    <a:pt x="111" y="217"/>
                  </a:lnTo>
                  <a:lnTo>
                    <a:pt x="114" y="220"/>
                  </a:lnTo>
                  <a:lnTo>
                    <a:pt x="116" y="222"/>
                  </a:lnTo>
                  <a:lnTo>
                    <a:pt x="118" y="222"/>
                  </a:lnTo>
                  <a:lnTo>
                    <a:pt x="128" y="222"/>
                  </a:lnTo>
                  <a:lnTo>
                    <a:pt x="133" y="222"/>
                  </a:lnTo>
                  <a:lnTo>
                    <a:pt x="137" y="222"/>
                  </a:lnTo>
                  <a:lnTo>
                    <a:pt x="137" y="222"/>
                  </a:lnTo>
                  <a:lnTo>
                    <a:pt x="137" y="213"/>
                  </a:lnTo>
                  <a:lnTo>
                    <a:pt x="137" y="210"/>
                  </a:lnTo>
                  <a:lnTo>
                    <a:pt x="137" y="205"/>
                  </a:lnTo>
                  <a:lnTo>
                    <a:pt x="140" y="203"/>
                  </a:lnTo>
                  <a:lnTo>
                    <a:pt x="144" y="201"/>
                  </a:lnTo>
                  <a:lnTo>
                    <a:pt x="149" y="198"/>
                  </a:lnTo>
                  <a:lnTo>
                    <a:pt x="151" y="196"/>
                  </a:lnTo>
                  <a:lnTo>
                    <a:pt x="154" y="196"/>
                  </a:lnTo>
                  <a:lnTo>
                    <a:pt x="156" y="196"/>
                  </a:lnTo>
                  <a:lnTo>
                    <a:pt x="156" y="196"/>
                  </a:lnTo>
                  <a:lnTo>
                    <a:pt x="161" y="196"/>
                  </a:lnTo>
                  <a:lnTo>
                    <a:pt x="161" y="198"/>
                  </a:lnTo>
                  <a:lnTo>
                    <a:pt x="163" y="198"/>
                  </a:lnTo>
                  <a:lnTo>
                    <a:pt x="163" y="198"/>
                  </a:lnTo>
                  <a:lnTo>
                    <a:pt x="168" y="198"/>
                  </a:lnTo>
                  <a:lnTo>
                    <a:pt x="168" y="198"/>
                  </a:lnTo>
                  <a:lnTo>
                    <a:pt x="173" y="198"/>
                  </a:lnTo>
                  <a:lnTo>
                    <a:pt x="173" y="198"/>
                  </a:lnTo>
                  <a:lnTo>
                    <a:pt x="175" y="198"/>
                  </a:lnTo>
                  <a:lnTo>
                    <a:pt x="177" y="201"/>
                  </a:lnTo>
                  <a:lnTo>
                    <a:pt x="177" y="201"/>
                  </a:lnTo>
                  <a:lnTo>
                    <a:pt x="177" y="203"/>
                  </a:lnTo>
                  <a:lnTo>
                    <a:pt x="182" y="203"/>
                  </a:lnTo>
                  <a:lnTo>
                    <a:pt x="184" y="205"/>
                  </a:lnTo>
                  <a:lnTo>
                    <a:pt x="189" y="205"/>
                  </a:lnTo>
                  <a:lnTo>
                    <a:pt x="199" y="203"/>
                  </a:lnTo>
                  <a:lnTo>
                    <a:pt x="199" y="201"/>
                  </a:lnTo>
                  <a:lnTo>
                    <a:pt x="199" y="198"/>
                  </a:lnTo>
                  <a:lnTo>
                    <a:pt x="201" y="196"/>
                  </a:lnTo>
                  <a:lnTo>
                    <a:pt x="206" y="194"/>
                  </a:lnTo>
                  <a:lnTo>
                    <a:pt x="208" y="191"/>
                  </a:lnTo>
                  <a:lnTo>
                    <a:pt x="208" y="191"/>
                  </a:lnTo>
                  <a:lnTo>
                    <a:pt x="213" y="189"/>
                  </a:lnTo>
                  <a:lnTo>
                    <a:pt x="213" y="187"/>
                  </a:lnTo>
                  <a:lnTo>
                    <a:pt x="213" y="187"/>
                  </a:lnTo>
                  <a:lnTo>
                    <a:pt x="215" y="184"/>
                  </a:lnTo>
                  <a:lnTo>
                    <a:pt x="215" y="182"/>
                  </a:lnTo>
                  <a:lnTo>
                    <a:pt x="213" y="179"/>
                  </a:lnTo>
                  <a:lnTo>
                    <a:pt x="206" y="177"/>
                  </a:lnTo>
                  <a:lnTo>
                    <a:pt x="203" y="175"/>
                  </a:lnTo>
                  <a:lnTo>
                    <a:pt x="203" y="172"/>
                  </a:lnTo>
                  <a:lnTo>
                    <a:pt x="201" y="168"/>
                  </a:lnTo>
                  <a:lnTo>
                    <a:pt x="203" y="165"/>
                  </a:lnTo>
                  <a:lnTo>
                    <a:pt x="203" y="163"/>
                  </a:lnTo>
                  <a:lnTo>
                    <a:pt x="201" y="163"/>
                  </a:lnTo>
                  <a:lnTo>
                    <a:pt x="199" y="161"/>
                  </a:lnTo>
                  <a:lnTo>
                    <a:pt x="199" y="158"/>
                  </a:lnTo>
                  <a:lnTo>
                    <a:pt x="199" y="156"/>
                  </a:lnTo>
                  <a:lnTo>
                    <a:pt x="201" y="154"/>
                  </a:lnTo>
                  <a:lnTo>
                    <a:pt x="206" y="151"/>
                  </a:lnTo>
                  <a:lnTo>
                    <a:pt x="203" y="149"/>
                  </a:lnTo>
                  <a:lnTo>
                    <a:pt x="201" y="142"/>
                  </a:lnTo>
                  <a:lnTo>
                    <a:pt x="201" y="139"/>
                  </a:lnTo>
                  <a:lnTo>
                    <a:pt x="201" y="137"/>
                  </a:lnTo>
                  <a:lnTo>
                    <a:pt x="203" y="137"/>
                  </a:lnTo>
                  <a:lnTo>
                    <a:pt x="203" y="135"/>
                  </a:lnTo>
                  <a:lnTo>
                    <a:pt x="201" y="132"/>
                  </a:lnTo>
                  <a:lnTo>
                    <a:pt x="199" y="130"/>
                  </a:lnTo>
                  <a:lnTo>
                    <a:pt x="199" y="125"/>
                  </a:lnTo>
                  <a:lnTo>
                    <a:pt x="199" y="123"/>
                  </a:lnTo>
                  <a:lnTo>
                    <a:pt x="194" y="123"/>
                  </a:lnTo>
                  <a:lnTo>
                    <a:pt x="189" y="130"/>
                  </a:lnTo>
                  <a:lnTo>
                    <a:pt x="187" y="130"/>
                  </a:lnTo>
                  <a:lnTo>
                    <a:pt x="187" y="130"/>
                  </a:lnTo>
                  <a:lnTo>
                    <a:pt x="187" y="123"/>
                  </a:lnTo>
                  <a:lnTo>
                    <a:pt x="187" y="118"/>
                  </a:lnTo>
                  <a:lnTo>
                    <a:pt x="189" y="118"/>
                  </a:lnTo>
                  <a:lnTo>
                    <a:pt x="192" y="116"/>
                  </a:lnTo>
                  <a:lnTo>
                    <a:pt x="192" y="113"/>
                  </a:lnTo>
                  <a:lnTo>
                    <a:pt x="194" y="113"/>
                  </a:lnTo>
                  <a:lnTo>
                    <a:pt x="194" y="111"/>
                  </a:lnTo>
                  <a:lnTo>
                    <a:pt x="196" y="106"/>
                  </a:lnTo>
                  <a:lnTo>
                    <a:pt x="203" y="99"/>
                  </a:lnTo>
                  <a:lnTo>
                    <a:pt x="201" y="97"/>
                  </a:lnTo>
                  <a:lnTo>
                    <a:pt x="203" y="94"/>
                  </a:lnTo>
                  <a:lnTo>
                    <a:pt x="208" y="97"/>
                  </a:lnTo>
                  <a:lnTo>
                    <a:pt x="210" y="94"/>
                  </a:lnTo>
                  <a:lnTo>
                    <a:pt x="213" y="92"/>
                  </a:lnTo>
                  <a:lnTo>
                    <a:pt x="213" y="92"/>
                  </a:lnTo>
                  <a:lnTo>
                    <a:pt x="213" y="90"/>
                  </a:lnTo>
                  <a:lnTo>
                    <a:pt x="213" y="80"/>
                  </a:lnTo>
                  <a:lnTo>
                    <a:pt x="215" y="73"/>
                  </a:lnTo>
                  <a:lnTo>
                    <a:pt x="215" y="68"/>
                  </a:lnTo>
                  <a:lnTo>
                    <a:pt x="222" y="61"/>
                  </a:lnTo>
                  <a:lnTo>
                    <a:pt x="222" y="57"/>
                  </a:lnTo>
                  <a:lnTo>
                    <a:pt x="218" y="54"/>
                  </a:lnTo>
                  <a:lnTo>
                    <a:pt x="206" y="52"/>
                  </a:lnTo>
                  <a:lnTo>
                    <a:pt x="199" y="52"/>
                  </a:lnTo>
                  <a:lnTo>
                    <a:pt x="196" y="47"/>
                  </a:lnTo>
                  <a:lnTo>
                    <a:pt x="194" y="45"/>
                  </a:lnTo>
                  <a:lnTo>
                    <a:pt x="192" y="42"/>
                  </a:lnTo>
                  <a:lnTo>
                    <a:pt x="187" y="42"/>
                  </a:lnTo>
                  <a:lnTo>
                    <a:pt x="182" y="40"/>
                  </a:lnTo>
                  <a:lnTo>
                    <a:pt x="180" y="42"/>
                  </a:lnTo>
                  <a:lnTo>
                    <a:pt x="175" y="40"/>
                  </a:lnTo>
                  <a:lnTo>
                    <a:pt x="173" y="38"/>
                  </a:lnTo>
                  <a:lnTo>
                    <a:pt x="170" y="35"/>
                  </a:lnTo>
                  <a:lnTo>
                    <a:pt x="170" y="35"/>
                  </a:lnTo>
                  <a:lnTo>
                    <a:pt x="168" y="33"/>
                  </a:lnTo>
                  <a:lnTo>
                    <a:pt x="168" y="26"/>
                  </a:lnTo>
                  <a:lnTo>
                    <a:pt x="166" y="26"/>
                  </a:lnTo>
                  <a:lnTo>
                    <a:pt x="166" y="28"/>
                  </a:lnTo>
                  <a:lnTo>
                    <a:pt x="163" y="31"/>
                  </a:lnTo>
                  <a:lnTo>
                    <a:pt x="161" y="31"/>
                  </a:lnTo>
                  <a:lnTo>
                    <a:pt x="156" y="31"/>
                  </a:lnTo>
                  <a:lnTo>
                    <a:pt x="156" y="26"/>
                  </a:lnTo>
                  <a:lnTo>
                    <a:pt x="156" y="21"/>
                  </a:lnTo>
                  <a:lnTo>
                    <a:pt x="154" y="21"/>
                  </a:lnTo>
                  <a:lnTo>
                    <a:pt x="149" y="19"/>
                  </a:lnTo>
                  <a:lnTo>
                    <a:pt x="144" y="17"/>
                  </a:lnTo>
                  <a:lnTo>
                    <a:pt x="142" y="17"/>
                  </a:lnTo>
                  <a:lnTo>
                    <a:pt x="140" y="9"/>
                  </a:lnTo>
                  <a:lnTo>
                    <a:pt x="135" y="9"/>
                  </a:lnTo>
                  <a:lnTo>
                    <a:pt x="133" y="9"/>
                  </a:lnTo>
                  <a:lnTo>
                    <a:pt x="130" y="5"/>
                  </a:lnTo>
                  <a:lnTo>
                    <a:pt x="130" y="0"/>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5" name="Freeform 597">
              <a:extLst>
                <a:ext uri="{FF2B5EF4-FFF2-40B4-BE49-F238E27FC236}">
                  <a16:creationId xmlns:a16="http://schemas.microsoft.com/office/drawing/2014/main" id="{079AE0BE-821F-410A-AABE-921DCD62C0E7}"/>
                </a:ext>
              </a:extLst>
            </p:cNvPr>
            <p:cNvSpPr>
              <a:spLocks/>
            </p:cNvSpPr>
            <p:nvPr/>
          </p:nvSpPr>
          <p:spPr bwMode="auto">
            <a:xfrm>
              <a:off x="1020017" y="3251165"/>
              <a:ext cx="90488" cy="179388"/>
            </a:xfrm>
            <a:custGeom>
              <a:avLst/>
              <a:gdLst>
                <a:gd name="T0" fmla="*/ 35 w 57"/>
                <a:gd name="T1" fmla="*/ 104 h 113"/>
                <a:gd name="T2" fmla="*/ 38 w 57"/>
                <a:gd name="T3" fmla="*/ 97 h 113"/>
                <a:gd name="T4" fmla="*/ 45 w 57"/>
                <a:gd name="T5" fmla="*/ 92 h 113"/>
                <a:gd name="T6" fmla="*/ 40 w 57"/>
                <a:gd name="T7" fmla="*/ 85 h 113"/>
                <a:gd name="T8" fmla="*/ 38 w 57"/>
                <a:gd name="T9" fmla="*/ 76 h 113"/>
                <a:gd name="T10" fmla="*/ 42 w 57"/>
                <a:gd name="T11" fmla="*/ 69 h 113"/>
                <a:gd name="T12" fmla="*/ 38 w 57"/>
                <a:gd name="T13" fmla="*/ 62 h 113"/>
                <a:gd name="T14" fmla="*/ 40 w 57"/>
                <a:gd name="T15" fmla="*/ 54 h 113"/>
                <a:gd name="T16" fmla="*/ 45 w 57"/>
                <a:gd name="T17" fmla="*/ 50 h 113"/>
                <a:gd name="T18" fmla="*/ 45 w 57"/>
                <a:gd name="T19" fmla="*/ 45 h 113"/>
                <a:gd name="T20" fmla="*/ 45 w 57"/>
                <a:gd name="T21" fmla="*/ 38 h 113"/>
                <a:gd name="T22" fmla="*/ 47 w 57"/>
                <a:gd name="T23" fmla="*/ 28 h 113"/>
                <a:gd name="T24" fmla="*/ 54 w 57"/>
                <a:gd name="T25" fmla="*/ 19 h 113"/>
                <a:gd name="T26" fmla="*/ 57 w 57"/>
                <a:gd name="T27" fmla="*/ 12 h 113"/>
                <a:gd name="T28" fmla="*/ 52 w 57"/>
                <a:gd name="T29" fmla="*/ 5 h 113"/>
                <a:gd name="T30" fmla="*/ 42 w 57"/>
                <a:gd name="T31" fmla="*/ 5 h 113"/>
                <a:gd name="T32" fmla="*/ 31 w 57"/>
                <a:gd name="T33" fmla="*/ 5 h 113"/>
                <a:gd name="T34" fmla="*/ 24 w 57"/>
                <a:gd name="T35" fmla="*/ 5 h 113"/>
                <a:gd name="T36" fmla="*/ 19 w 57"/>
                <a:gd name="T37" fmla="*/ 0 h 113"/>
                <a:gd name="T38" fmla="*/ 12 w 57"/>
                <a:gd name="T39" fmla="*/ 7 h 113"/>
                <a:gd name="T40" fmla="*/ 14 w 57"/>
                <a:gd name="T41" fmla="*/ 24 h 113"/>
                <a:gd name="T42" fmla="*/ 12 w 57"/>
                <a:gd name="T43" fmla="*/ 33 h 113"/>
                <a:gd name="T44" fmla="*/ 9 w 57"/>
                <a:gd name="T45" fmla="*/ 40 h 113"/>
                <a:gd name="T46" fmla="*/ 9 w 57"/>
                <a:gd name="T47" fmla="*/ 50 h 113"/>
                <a:gd name="T48" fmla="*/ 5 w 57"/>
                <a:gd name="T49" fmla="*/ 59 h 113"/>
                <a:gd name="T50" fmla="*/ 2 w 57"/>
                <a:gd name="T51" fmla="*/ 71 h 113"/>
                <a:gd name="T52" fmla="*/ 0 w 57"/>
                <a:gd name="T53" fmla="*/ 76 h 113"/>
                <a:gd name="T54" fmla="*/ 7 w 57"/>
                <a:gd name="T55" fmla="*/ 83 h 113"/>
                <a:gd name="T56" fmla="*/ 14 w 57"/>
                <a:gd name="T57" fmla="*/ 80 h 113"/>
                <a:gd name="T58" fmla="*/ 12 w 57"/>
                <a:gd name="T59" fmla="*/ 83 h 113"/>
                <a:gd name="T60" fmla="*/ 12 w 57"/>
                <a:gd name="T61" fmla="*/ 92 h 113"/>
                <a:gd name="T62" fmla="*/ 12 w 57"/>
                <a:gd name="T63" fmla="*/ 102 h 113"/>
                <a:gd name="T64" fmla="*/ 9 w 57"/>
                <a:gd name="T65" fmla="*/ 109 h 113"/>
                <a:gd name="T66" fmla="*/ 9 w 57"/>
                <a:gd name="T67" fmla="*/ 113 h 113"/>
                <a:gd name="T68" fmla="*/ 19 w 57"/>
                <a:gd name="T69" fmla="*/ 111 h 113"/>
                <a:gd name="T70" fmla="*/ 24 w 57"/>
                <a:gd name="T71" fmla="*/ 113 h 113"/>
                <a:gd name="T72" fmla="*/ 31 w 57"/>
                <a:gd name="T73" fmla="*/ 113 h 113"/>
                <a:gd name="T74" fmla="*/ 35 w 57"/>
                <a:gd name="T75"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113">
                  <a:moveTo>
                    <a:pt x="35" y="109"/>
                  </a:moveTo>
                  <a:lnTo>
                    <a:pt x="35" y="104"/>
                  </a:lnTo>
                  <a:lnTo>
                    <a:pt x="35" y="102"/>
                  </a:lnTo>
                  <a:lnTo>
                    <a:pt x="38" y="97"/>
                  </a:lnTo>
                  <a:lnTo>
                    <a:pt x="42" y="95"/>
                  </a:lnTo>
                  <a:lnTo>
                    <a:pt x="45" y="92"/>
                  </a:lnTo>
                  <a:lnTo>
                    <a:pt x="42" y="87"/>
                  </a:lnTo>
                  <a:lnTo>
                    <a:pt x="40" y="85"/>
                  </a:lnTo>
                  <a:lnTo>
                    <a:pt x="38" y="80"/>
                  </a:lnTo>
                  <a:lnTo>
                    <a:pt x="38" y="76"/>
                  </a:lnTo>
                  <a:lnTo>
                    <a:pt x="40" y="73"/>
                  </a:lnTo>
                  <a:lnTo>
                    <a:pt x="42" y="69"/>
                  </a:lnTo>
                  <a:lnTo>
                    <a:pt x="42" y="69"/>
                  </a:lnTo>
                  <a:lnTo>
                    <a:pt x="38" y="62"/>
                  </a:lnTo>
                  <a:lnTo>
                    <a:pt x="38" y="57"/>
                  </a:lnTo>
                  <a:lnTo>
                    <a:pt x="40" y="54"/>
                  </a:lnTo>
                  <a:lnTo>
                    <a:pt x="42" y="54"/>
                  </a:lnTo>
                  <a:lnTo>
                    <a:pt x="45" y="50"/>
                  </a:lnTo>
                  <a:lnTo>
                    <a:pt x="47" y="47"/>
                  </a:lnTo>
                  <a:lnTo>
                    <a:pt x="45" y="45"/>
                  </a:lnTo>
                  <a:lnTo>
                    <a:pt x="45" y="43"/>
                  </a:lnTo>
                  <a:lnTo>
                    <a:pt x="45" y="38"/>
                  </a:lnTo>
                  <a:lnTo>
                    <a:pt x="47" y="33"/>
                  </a:lnTo>
                  <a:lnTo>
                    <a:pt x="47" y="28"/>
                  </a:lnTo>
                  <a:lnTo>
                    <a:pt x="47" y="24"/>
                  </a:lnTo>
                  <a:lnTo>
                    <a:pt x="54" y="19"/>
                  </a:lnTo>
                  <a:lnTo>
                    <a:pt x="57" y="14"/>
                  </a:lnTo>
                  <a:lnTo>
                    <a:pt x="57" y="12"/>
                  </a:lnTo>
                  <a:lnTo>
                    <a:pt x="54" y="7"/>
                  </a:lnTo>
                  <a:lnTo>
                    <a:pt x="52" y="5"/>
                  </a:lnTo>
                  <a:lnTo>
                    <a:pt x="47" y="5"/>
                  </a:lnTo>
                  <a:lnTo>
                    <a:pt x="42" y="5"/>
                  </a:lnTo>
                  <a:lnTo>
                    <a:pt x="38" y="5"/>
                  </a:lnTo>
                  <a:lnTo>
                    <a:pt x="31" y="5"/>
                  </a:lnTo>
                  <a:lnTo>
                    <a:pt x="26" y="5"/>
                  </a:lnTo>
                  <a:lnTo>
                    <a:pt x="24" y="5"/>
                  </a:lnTo>
                  <a:lnTo>
                    <a:pt x="24" y="0"/>
                  </a:lnTo>
                  <a:lnTo>
                    <a:pt x="19" y="0"/>
                  </a:lnTo>
                  <a:lnTo>
                    <a:pt x="14" y="2"/>
                  </a:lnTo>
                  <a:lnTo>
                    <a:pt x="12" y="7"/>
                  </a:lnTo>
                  <a:lnTo>
                    <a:pt x="14" y="21"/>
                  </a:lnTo>
                  <a:lnTo>
                    <a:pt x="14" y="24"/>
                  </a:lnTo>
                  <a:lnTo>
                    <a:pt x="14" y="26"/>
                  </a:lnTo>
                  <a:lnTo>
                    <a:pt x="12" y="33"/>
                  </a:lnTo>
                  <a:lnTo>
                    <a:pt x="12" y="36"/>
                  </a:lnTo>
                  <a:lnTo>
                    <a:pt x="9" y="40"/>
                  </a:lnTo>
                  <a:lnTo>
                    <a:pt x="9" y="45"/>
                  </a:lnTo>
                  <a:lnTo>
                    <a:pt x="9" y="50"/>
                  </a:lnTo>
                  <a:lnTo>
                    <a:pt x="7" y="54"/>
                  </a:lnTo>
                  <a:lnTo>
                    <a:pt x="5" y="59"/>
                  </a:lnTo>
                  <a:lnTo>
                    <a:pt x="2" y="64"/>
                  </a:lnTo>
                  <a:lnTo>
                    <a:pt x="2" y="71"/>
                  </a:lnTo>
                  <a:lnTo>
                    <a:pt x="0" y="76"/>
                  </a:lnTo>
                  <a:lnTo>
                    <a:pt x="0" y="76"/>
                  </a:lnTo>
                  <a:lnTo>
                    <a:pt x="2" y="78"/>
                  </a:lnTo>
                  <a:lnTo>
                    <a:pt x="7" y="83"/>
                  </a:lnTo>
                  <a:lnTo>
                    <a:pt x="9" y="83"/>
                  </a:lnTo>
                  <a:lnTo>
                    <a:pt x="14" y="80"/>
                  </a:lnTo>
                  <a:lnTo>
                    <a:pt x="12" y="83"/>
                  </a:lnTo>
                  <a:lnTo>
                    <a:pt x="12" y="83"/>
                  </a:lnTo>
                  <a:lnTo>
                    <a:pt x="12" y="87"/>
                  </a:lnTo>
                  <a:lnTo>
                    <a:pt x="12" y="92"/>
                  </a:lnTo>
                  <a:lnTo>
                    <a:pt x="12" y="95"/>
                  </a:lnTo>
                  <a:lnTo>
                    <a:pt x="12" y="102"/>
                  </a:lnTo>
                  <a:lnTo>
                    <a:pt x="12" y="104"/>
                  </a:lnTo>
                  <a:lnTo>
                    <a:pt x="9" y="109"/>
                  </a:lnTo>
                  <a:lnTo>
                    <a:pt x="9" y="111"/>
                  </a:lnTo>
                  <a:lnTo>
                    <a:pt x="9" y="113"/>
                  </a:lnTo>
                  <a:lnTo>
                    <a:pt x="14" y="111"/>
                  </a:lnTo>
                  <a:lnTo>
                    <a:pt x="19" y="111"/>
                  </a:lnTo>
                  <a:lnTo>
                    <a:pt x="21" y="113"/>
                  </a:lnTo>
                  <a:lnTo>
                    <a:pt x="24" y="113"/>
                  </a:lnTo>
                  <a:lnTo>
                    <a:pt x="28" y="113"/>
                  </a:lnTo>
                  <a:lnTo>
                    <a:pt x="31" y="113"/>
                  </a:lnTo>
                  <a:lnTo>
                    <a:pt x="33" y="111"/>
                  </a:lnTo>
                  <a:lnTo>
                    <a:pt x="35" y="109"/>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6" name="Freeform 598">
              <a:extLst>
                <a:ext uri="{FF2B5EF4-FFF2-40B4-BE49-F238E27FC236}">
                  <a16:creationId xmlns:a16="http://schemas.microsoft.com/office/drawing/2014/main" id="{4DC1C391-4236-4E19-98A7-B6D4C7AFC757}"/>
                </a:ext>
              </a:extLst>
            </p:cNvPr>
            <p:cNvSpPr>
              <a:spLocks/>
            </p:cNvSpPr>
            <p:nvPr/>
          </p:nvSpPr>
          <p:spPr bwMode="auto">
            <a:xfrm>
              <a:off x="1020017" y="3251165"/>
              <a:ext cx="90488" cy="179388"/>
            </a:xfrm>
            <a:custGeom>
              <a:avLst/>
              <a:gdLst>
                <a:gd name="T0" fmla="*/ 35 w 57"/>
                <a:gd name="T1" fmla="*/ 104 h 113"/>
                <a:gd name="T2" fmla="*/ 38 w 57"/>
                <a:gd name="T3" fmla="*/ 97 h 113"/>
                <a:gd name="T4" fmla="*/ 45 w 57"/>
                <a:gd name="T5" fmla="*/ 92 h 113"/>
                <a:gd name="T6" fmla="*/ 40 w 57"/>
                <a:gd name="T7" fmla="*/ 85 h 113"/>
                <a:gd name="T8" fmla="*/ 38 w 57"/>
                <a:gd name="T9" fmla="*/ 76 h 113"/>
                <a:gd name="T10" fmla="*/ 42 w 57"/>
                <a:gd name="T11" fmla="*/ 69 h 113"/>
                <a:gd name="T12" fmla="*/ 38 w 57"/>
                <a:gd name="T13" fmla="*/ 62 h 113"/>
                <a:gd name="T14" fmla="*/ 40 w 57"/>
                <a:gd name="T15" fmla="*/ 54 h 113"/>
                <a:gd name="T16" fmla="*/ 45 w 57"/>
                <a:gd name="T17" fmla="*/ 50 h 113"/>
                <a:gd name="T18" fmla="*/ 45 w 57"/>
                <a:gd name="T19" fmla="*/ 45 h 113"/>
                <a:gd name="T20" fmla="*/ 45 w 57"/>
                <a:gd name="T21" fmla="*/ 38 h 113"/>
                <a:gd name="T22" fmla="*/ 47 w 57"/>
                <a:gd name="T23" fmla="*/ 28 h 113"/>
                <a:gd name="T24" fmla="*/ 54 w 57"/>
                <a:gd name="T25" fmla="*/ 19 h 113"/>
                <a:gd name="T26" fmla="*/ 57 w 57"/>
                <a:gd name="T27" fmla="*/ 12 h 113"/>
                <a:gd name="T28" fmla="*/ 52 w 57"/>
                <a:gd name="T29" fmla="*/ 5 h 113"/>
                <a:gd name="T30" fmla="*/ 42 w 57"/>
                <a:gd name="T31" fmla="*/ 5 h 113"/>
                <a:gd name="T32" fmla="*/ 31 w 57"/>
                <a:gd name="T33" fmla="*/ 5 h 113"/>
                <a:gd name="T34" fmla="*/ 24 w 57"/>
                <a:gd name="T35" fmla="*/ 5 h 113"/>
                <a:gd name="T36" fmla="*/ 19 w 57"/>
                <a:gd name="T37" fmla="*/ 0 h 113"/>
                <a:gd name="T38" fmla="*/ 12 w 57"/>
                <a:gd name="T39" fmla="*/ 7 h 113"/>
                <a:gd name="T40" fmla="*/ 14 w 57"/>
                <a:gd name="T41" fmla="*/ 24 h 113"/>
                <a:gd name="T42" fmla="*/ 12 w 57"/>
                <a:gd name="T43" fmla="*/ 33 h 113"/>
                <a:gd name="T44" fmla="*/ 9 w 57"/>
                <a:gd name="T45" fmla="*/ 40 h 113"/>
                <a:gd name="T46" fmla="*/ 9 w 57"/>
                <a:gd name="T47" fmla="*/ 50 h 113"/>
                <a:gd name="T48" fmla="*/ 5 w 57"/>
                <a:gd name="T49" fmla="*/ 59 h 113"/>
                <a:gd name="T50" fmla="*/ 2 w 57"/>
                <a:gd name="T51" fmla="*/ 71 h 113"/>
                <a:gd name="T52" fmla="*/ 0 w 57"/>
                <a:gd name="T53" fmla="*/ 76 h 113"/>
                <a:gd name="T54" fmla="*/ 7 w 57"/>
                <a:gd name="T55" fmla="*/ 83 h 113"/>
                <a:gd name="T56" fmla="*/ 14 w 57"/>
                <a:gd name="T57" fmla="*/ 80 h 113"/>
                <a:gd name="T58" fmla="*/ 12 w 57"/>
                <a:gd name="T59" fmla="*/ 83 h 113"/>
                <a:gd name="T60" fmla="*/ 12 w 57"/>
                <a:gd name="T61" fmla="*/ 92 h 113"/>
                <a:gd name="T62" fmla="*/ 12 w 57"/>
                <a:gd name="T63" fmla="*/ 102 h 113"/>
                <a:gd name="T64" fmla="*/ 9 w 57"/>
                <a:gd name="T65" fmla="*/ 109 h 113"/>
                <a:gd name="T66" fmla="*/ 9 w 57"/>
                <a:gd name="T67" fmla="*/ 113 h 113"/>
                <a:gd name="T68" fmla="*/ 19 w 57"/>
                <a:gd name="T69" fmla="*/ 111 h 113"/>
                <a:gd name="T70" fmla="*/ 24 w 57"/>
                <a:gd name="T71" fmla="*/ 113 h 113"/>
                <a:gd name="T72" fmla="*/ 31 w 57"/>
                <a:gd name="T73" fmla="*/ 113 h 113"/>
                <a:gd name="T74" fmla="*/ 35 w 57"/>
                <a:gd name="T75"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113">
                  <a:moveTo>
                    <a:pt x="35" y="109"/>
                  </a:moveTo>
                  <a:lnTo>
                    <a:pt x="35" y="104"/>
                  </a:lnTo>
                  <a:lnTo>
                    <a:pt x="35" y="102"/>
                  </a:lnTo>
                  <a:lnTo>
                    <a:pt x="38" y="97"/>
                  </a:lnTo>
                  <a:lnTo>
                    <a:pt x="42" y="95"/>
                  </a:lnTo>
                  <a:lnTo>
                    <a:pt x="45" y="92"/>
                  </a:lnTo>
                  <a:lnTo>
                    <a:pt x="42" y="87"/>
                  </a:lnTo>
                  <a:lnTo>
                    <a:pt x="40" y="85"/>
                  </a:lnTo>
                  <a:lnTo>
                    <a:pt x="38" y="80"/>
                  </a:lnTo>
                  <a:lnTo>
                    <a:pt x="38" y="76"/>
                  </a:lnTo>
                  <a:lnTo>
                    <a:pt x="40" y="73"/>
                  </a:lnTo>
                  <a:lnTo>
                    <a:pt x="42" y="69"/>
                  </a:lnTo>
                  <a:lnTo>
                    <a:pt x="42" y="69"/>
                  </a:lnTo>
                  <a:lnTo>
                    <a:pt x="38" y="62"/>
                  </a:lnTo>
                  <a:lnTo>
                    <a:pt x="38" y="57"/>
                  </a:lnTo>
                  <a:lnTo>
                    <a:pt x="40" y="54"/>
                  </a:lnTo>
                  <a:lnTo>
                    <a:pt x="42" y="54"/>
                  </a:lnTo>
                  <a:lnTo>
                    <a:pt x="45" y="50"/>
                  </a:lnTo>
                  <a:lnTo>
                    <a:pt x="47" y="47"/>
                  </a:lnTo>
                  <a:lnTo>
                    <a:pt x="45" y="45"/>
                  </a:lnTo>
                  <a:lnTo>
                    <a:pt x="45" y="43"/>
                  </a:lnTo>
                  <a:lnTo>
                    <a:pt x="45" y="38"/>
                  </a:lnTo>
                  <a:lnTo>
                    <a:pt x="47" y="33"/>
                  </a:lnTo>
                  <a:lnTo>
                    <a:pt x="47" y="28"/>
                  </a:lnTo>
                  <a:lnTo>
                    <a:pt x="47" y="24"/>
                  </a:lnTo>
                  <a:lnTo>
                    <a:pt x="54" y="19"/>
                  </a:lnTo>
                  <a:lnTo>
                    <a:pt x="57" y="14"/>
                  </a:lnTo>
                  <a:lnTo>
                    <a:pt x="57" y="12"/>
                  </a:lnTo>
                  <a:lnTo>
                    <a:pt x="54" y="7"/>
                  </a:lnTo>
                  <a:lnTo>
                    <a:pt x="52" y="5"/>
                  </a:lnTo>
                  <a:lnTo>
                    <a:pt x="47" y="5"/>
                  </a:lnTo>
                  <a:lnTo>
                    <a:pt x="42" y="5"/>
                  </a:lnTo>
                  <a:lnTo>
                    <a:pt x="38" y="5"/>
                  </a:lnTo>
                  <a:lnTo>
                    <a:pt x="31" y="5"/>
                  </a:lnTo>
                  <a:lnTo>
                    <a:pt x="26" y="5"/>
                  </a:lnTo>
                  <a:lnTo>
                    <a:pt x="24" y="5"/>
                  </a:lnTo>
                  <a:lnTo>
                    <a:pt x="24" y="0"/>
                  </a:lnTo>
                  <a:lnTo>
                    <a:pt x="19" y="0"/>
                  </a:lnTo>
                  <a:lnTo>
                    <a:pt x="14" y="2"/>
                  </a:lnTo>
                  <a:lnTo>
                    <a:pt x="12" y="7"/>
                  </a:lnTo>
                  <a:lnTo>
                    <a:pt x="14" y="21"/>
                  </a:lnTo>
                  <a:lnTo>
                    <a:pt x="14" y="24"/>
                  </a:lnTo>
                  <a:lnTo>
                    <a:pt x="14" y="26"/>
                  </a:lnTo>
                  <a:lnTo>
                    <a:pt x="12" y="33"/>
                  </a:lnTo>
                  <a:lnTo>
                    <a:pt x="12" y="36"/>
                  </a:lnTo>
                  <a:lnTo>
                    <a:pt x="9" y="40"/>
                  </a:lnTo>
                  <a:lnTo>
                    <a:pt x="9" y="45"/>
                  </a:lnTo>
                  <a:lnTo>
                    <a:pt x="9" y="50"/>
                  </a:lnTo>
                  <a:lnTo>
                    <a:pt x="7" y="54"/>
                  </a:lnTo>
                  <a:lnTo>
                    <a:pt x="5" y="59"/>
                  </a:lnTo>
                  <a:lnTo>
                    <a:pt x="2" y="64"/>
                  </a:lnTo>
                  <a:lnTo>
                    <a:pt x="2" y="71"/>
                  </a:lnTo>
                  <a:lnTo>
                    <a:pt x="0" y="76"/>
                  </a:lnTo>
                  <a:lnTo>
                    <a:pt x="0" y="76"/>
                  </a:lnTo>
                  <a:lnTo>
                    <a:pt x="2" y="78"/>
                  </a:lnTo>
                  <a:lnTo>
                    <a:pt x="7" y="83"/>
                  </a:lnTo>
                  <a:lnTo>
                    <a:pt x="9" y="83"/>
                  </a:lnTo>
                  <a:lnTo>
                    <a:pt x="14" y="80"/>
                  </a:lnTo>
                  <a:lnTo>
                    <a:pt x="12" y="83"/>
                  </a:lnTo>
                  <a:lnTo>
                    <a:pt x="12" y="83"/>
                  </a:lnTo>
                  <a:lnTo>
                    <a:pt x="12" y="87"/>
                  </a:lnTo>
                  <a:lnTo>
                    <a:pt x="12" y="92"/>
                  </a:lnTo>
                  <a:lnTo>
                    <a:pt x="12" y="95"/>
                  </a:lnTo>
                  <a:lnTo>
                    <a:pt x="12" y="102"/>
                  </a:lnTo>
                  <a:lnTo>
                    <a:pt x="12" y="104"/>
                  </a:lnTo>
                  <a:lnTo>
                    <a:pt x="9" y="109"/>
                  </a:lnTo>
                  <a:lnTo>
                    <a:pt x="9" y="111"/>
                  </a:lnTo>
                  <a:lnTo>
                    <a:pt x="9" y="113"/>
                  </a:lnTo>
                  <a:lnTo>
                    <a:pt x="14" y="111"/>
                  </a:lnTo>
                  <a:lnTo>
                    <a:pt x="19" y="111"/>
                  </a:lnTo>
                  <a:lnTo>
                    <a:pt x="21" y="113"/>
                  </a:lnTo>
                  <a:lnTo>
                    <a:pt x="24" y="113"/>
                  </a:lnTo>
                  <a:lnTo>
                    <a:pt x="28" y="113"/>
                  </a:lnTo>
                  <a:lnTo>
                    <a:pt x="31" y="113"/>
                  </a:lnTo>
                  <a:lnTo>
                    <a:pt x="33" y="111"/>
                  </a:lnTo>
                  <a:lnTo>
                    <a:pt x="35" y="109"/>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7" name="Freeform 599">
              <a:extLst>
                <a:ext uri="{FF2B5EF4-FFF2-40B4-BE49-F238E27FC236}">
                  <a16:creationId xmlns:a16="http://schemas.microsoft.com/office/drawing/2014/main" id="{A1A126A7-F71B-4DCC-8520-883C754D482D}"/>
                </a:ext>
              </a:extLst>
            </p:cNvPr>
            <p:cNvSpPr>
              <a:spLocks/>
            </p:cNvSpPr>
            <p:nvPr/>
          </p:nvSpPr>
          <p:spPr bwMode="auto">
            <a:xfrm>
              <a:off x="2002679" y="3251165"/>
              <a:ext cx="517524" cy="220664"/>
            </a:xfrm>
            <a:custGeom>
              <a:avLst/>
              <a:gdLst>
                <a:gd name="T0" fmla="*/ 175 w 326"/>
                <a:gd name="T1" fmla="*/ 121 h 139"/>
                <a:gd name="T2" fmla="*/ 160 w 326"/>
                <a:gd name="T3" fmla="*/ 123 h 139"/>
                <a:gd name="T4" fmla="*/ 146 w 326"/>
                <a:gd name="T5" fmla="*/ 121 h 139"/>
                <a:gd name="T6" fmla="*/ 130 w 326"/>
                <a:gd name="T7" fmla="*/ 132 h 139"/>
                <a:gd name="T8" fmla="*/ 108 w 326"/>
                <a:gd name="T9" fmla="*/ 130 h 139"/>
                <a:gd name="T10" fmla="*/ 90 w 326"/>
                <a:gd name="T11" fmla="*/ 118 h 139"/>
                <a:gd name="T12" fmla="*/ 78 w 326"/>
                <a:gd name="T13" fmla="*/ 123 h 139"/>
                <a:gd name="T14" fmla="*/ 61 w 326"/>
                <a:gd name="T15" fmla="*/ 132 h 139"/>
                <a:gd name="T16" fmla="*/ 52 w 326"/>
                <a:gd name="T17" fmla="*/ 121 h 139"/>
                <a:gd name="T18" fmla="*/ 45 w 326"/>
                <a:gd name="T19" fmla="*/ 121 h 139"/>
                <a:gd name="T20" fmla="*/ 33 w 326"/>
                <a:gd name="T21" fmla="*/ 123 h 139"/>
                <a:gd name="T22" fmla="*/ 23 w 326"/>
                <a:gd name="T23" fmla="*/ 118 h 139"/>
                <a:gd name="T24" fmla="*/ 38 w 326"/>
                <a:gd name="T25" fmla="*/ 113 h 139"/>
                <a:gd name="T26" fmla="*/ 21 w 326"/>
                <a:gd name="T27" fmla="*/ 111 h 139"/>
                <a:gd name="T28" fmla="*/ 19 w 326"/>
                <a:gd name="T29" fmla="*/ 102 h 139"/>
                <a:gd name="T30" fmla="*/ 16 w 326"/>
                <a:gd name="T31" fmla="*/ 99 h 139"/>
                <a:gd name="T32" fmla="*/ 12 w 326"/>
                <a:gd name="T33" fmla="*/ 90 h 139"/>
                <a:gd name="T34" fmla="*/ 2 w 326"/>
                <a:gd name="T35" fmla="*/ 85 h 139"/>
                <a:gd name="T36" fmla="*/ 7 w 326"/>
                <a:gd name="T37" fmla="*/ 78 h 139"/>
                <a:gd name="T38" fmla="*/ 16 w 326"/>
                <a:gd name="T39" fmla="*/ 83 h 139"/>
                <a:gd name="T40" fmla="*/ 14 w 326"/>
                <a:gd name="T41" fmla="*/ 71 h 139"/>
                <a:gd name="T42" fmla="*/ 14 w 326"/>
                <a:gd name="T43" fmla="*/ 59 h 139"/>
                <a:gd name="T44" fmla="*/ 0 w 326"/>
                <a:gd name="T45" fmla="*/ 50 h 139"/>
                <a:gd name="T46" fmla="*/ 12 w 326"/>
                <a:gd name="T47" fmla="*/ 38 h 139"/>
                <a:gd name="T48" fmla="*/ 28 w 326"/>
                <a:gd name="T49" fmla="*/ 40 h 139"/>
                <a:gd name="T50" fmla="*/ 33 w 326"/>
                <a:gd name="T51" fmla="*/ 38 h 139"/>
                <a:gd name="T52" fmla="*/ 47 w 326"/>
                <a:gd name="T53" fmla="*/ 36 h 139"/>
                <a:gd name="T54" fmla="*/ 61 w 326"/>
                <a:gd name="T55" fmla="*/ 28 h 139"/>
                <a:gd name="T56" fmla="*/ 52 w 326"/>
                <a:gd name="T57" fmla="*/ 26 h 139"/>
                <a:gd name="T58" fmla="*/ 57 w 326"/>
                <a:gd name="T59" fmla="*/ 19 h 139"/>
                <a:gd name="T60" fmla="*/ 80 w 326"/>
                <a:gd name="T61" fmla="*/ 24 h 139"/>
                <a:gd name="T62" fmla="*/ 101 w 326"/>
                <a:gd name="T63" fmla="*/ 12 h 139"/>
                <a:gd name="T64" fmla="*/ 125 w 326"/>
                <a:gd name="T65" fmla="*/ 0 h 139"/>
                <a:gd name="T66" fmla="*/ 156 w 326"/>
                <a:gd name="T67" fmla="*/ 0 h 139"/>
                <a:gd name="T68" fmla="*/ 170 w 326"/>
                <a:gd name="T69" fmla="*/ 10 h 139"/>
                <a:gd name="T70" fmla="*/ 198 w 326"/>
                <a:gd name="T71" fmla="*/ 24 h 139"/>
                <a:gd name="T72" fmla="*/ 220 w 326"/>
                <a:gd name="T73" fmla="*/ 24 h 139"/>
                <a:gd name="T74" fmla="*/ 267 w 326"/>
                <a:gd name="T75" fmla="*/ 12 h 139"/>
                <a:gd name="T76" fmla="*/ 281 w 326"/>
                <a:gd name="T77" fmla="*/ 14 h 139"/>
                <a:gd name="T78" fmla="*/ 293 w 326"/>
                <a:gd name="T79" fmla="*/ 12 h 139"/>
                <a:gd name="T80" fmla="*/ 305 w 326"/>
                <a:gd name="T81" fmla="*/ 28 h 139"/>
                <a:gd name="T82" fmla="*/ 314 w 326"/>
                <a:gd name="T83" fmla="*/ 45 h 139"/>
                <a:gd name="T84" fmla="*/ 319 w 326"/>
                <a:gd name="T85" fmla="*/ 59 h 139"/>
                <a:gd name="T86" fmla="*/ 316 w 326"/>
                <a:gd name="T87" fmla="*/ 83 h 139"/>
                <a:gd name="T88" fmla="*/ 326 w 326"/>
                <a:gd name="T89" fmla="*/ 109 h 139"/>
                <a:gd name="T90" fmla="*/ 300 w 326"/>
                <a:gd name="T91" fmla="*/ 106 h 139"/>
                <a:gd name="T92" fmla="*/ 281 w 326"/>
                <a:gd name="T93" fmla="*/ 109 h 139"/>
                <a:gd name="T94" fmla="*/ 260 w 326"/>
                <a:gd name="T95" fmla="*/ 111 h 139"/>
                <a:gd name="T96" fmla="*/ 243 w 326"/>
                <a:gd name="T97" fmla="*/ 116 h 139"/>
                <a:gd name="T98" fmla="*/ 215 w 326"/>
                <a:gd name="T99" fmla="*/ 116 h 139"/>
                <a:gd name="T100" fmla="*/ 198 w 326"/>
                <a:gd name="T101" fmla="*/ 121 h 139"/>
                <a:gd name="T102" fmla="*/ 189 w 326"/>
                <a:gd name="T103" fmla="*/ 121 h 139"/>
                <a:gd name="T104" fmla="*/ 184 w 326"/>
                <a:gd name="T105" fmla="*/ 118 h 139"/>
                <a:gd name="T106" fmla="*/ 184 w 326"/>
                <a:gd name="T107" fmla="*/ 130 h 139"/>
                <a:gd name="T108" fmla="*/ 177 w 326"/>
                <a:gd name="T109" fmla="*/ 132 h 139"/>
                <a:gd name="T110" fmla="*/ 172 w 326"/>
                <a:gd name="T111" fmla="*/ 13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39">
                  <a:moveTo>
                    <a:pt x="170" y="135"/>
                  </a:moveTo>
                  <a:lnTo>
                    <a:pt x="170" y="130"/>
                  </a:lnTo>
                  <a:lnTo>
                    <a:pt x="170" y="125"/>
                  </a:lnTo>
                  <a:lnTo>
                    <a:pt x="175" y="123"/>
                  </a:lnTo>
                  <a:lnTo>
                    <a:pt x="175" y="121"/>
                  </a:lnTo>
                  <a:lnTo>
                    <a:pt x="172" y="118"/>
                  </a:lnTo>
                  <a:lnTo>
                    <a:pt x="168" y="121"/>
                  </a:lnTo>
                  <a:lnTo>
                    <a:pt x="165" y="123"/>
                  </a:lnTo>
                  <a:lnTo>
                    <a:pt x="163" y="123"/>
                  </a:lnTo>
                  <a:lnTo>
                    <a:pt x="160" y="123"/>
                  </a:lnTo>
                  <a:lnTo>
                    <a:pt x="156" y="121"/>
                  </a:lnTo>
                  <a:lnTo>
                    <a:pt x="153" y="118"/>
                  </a:lnTo>
                  <a:lnTo>
                    <a:pt x="151" y="118"/>
                  </a:lnTo>
                  <a:lnTo>
                    <a:pt x="149" y="118"/>
                  </a:lnTo>
                  <a:lnTo>
                    <a:pt x="146" y="121"/>
                  </a:lnTo>
                  <a:lnTo>
                    <a:pt x="139" y="125"/>
                  </a:lnTo>
                  <a:lnTo>
                    <a:pt x="139" y="128"/>
                  </a:lnTo>
                  <a:lnTo>
                    <a:pt x="134" y="130"/>
                  </a:lnTo>
                  <a:lnTo>
                    <a:pt x="132" y="130"/>
                  </a:lnTo>
                  <a:lnTo>
                    <a:pt x="130" y="132"/>
                  </a:lnTo>
                  <a:lnTo>
                    <a:pt x="125" y="132"/>
                  </a:lnTo>
                  <a:lnTo>
                    <a:pt x="120" y="132"/>
                  </a:lnTo>
                  <a:lnTo>
                    <a:pt x="118" y="135"/>
                  </a:lnTo>
                  <a:lnTo>
                    <a:pt x="111" y="132"/>
                  </a:lnTo>
                  <a:lnTo>
                    <a:pt x="108" y="130"/>
                  </a:lnTo>
                  <a:lnTo>
                    <a:pt x="106" y="128"/>
                  </a:lnTo>
                  <a:lnTo>
                    <a:pt x="104" y="125"/>
                  </a:lnTo>
                  <a:lnTo>
                    <a:pt x="101" y="123"/>
                  </a:lnTo>
                  <a:lnTo>
                    <a:pt x="94" y="121"/>
                  </a:lnTo>
                  <a:lnTo>
                    <a:pt x="90" y="118"/>
                  </a:lnTo>
                  <a:lnTo>
                    <a:pt x="85" y="116"/>
                  </a:lnTo>
                  <a:lnTo>
                    <a:pt x="80" y="118"/>
                  </a:lnTo>
                  <a:lnTo>
                    <a:pt x="78" y="118"/>
                  </a:lnTo>
                  <a:lnTo>
                    <a:pt x="78" y="121"/>
                  </a:lnTo>
                  <a:lnTo>
                    <a:pt x="78" y="123"/>
                  </a:lnTo>
                  <a:lnTo>
                    <a:pt x="75" y="125"/>
                  </a:lnTo>
                  <a:lnTo>
                    <a:pt x="75" y="128"/>
                  </a:lnTo>
                  <a:lnTo>
                    <a:pt x="68" y="130"/>
                  </a:lnTo>
                  <a:lnTo>
                    <a:pt x="66" y="132"/>
                  </a:lnTo>
                  <a:lnTo>
                    <a:pt x="61" y="132"/>
                  </a:lnTo>
                  <a:lnTo>
                    <a:pt x="59" y="132"/>
                  </a:lnTo>
                  <a:lnTo>
                    <a:pt x="57" y="130"/>
                  </a:lnTo>
                  <a:lnTo>
                    <a:pt x="52" y="128"/>
                  </a:lnTo>
                  <a:lnTo>
                    <a:pt x="52" y="123"/>
                  </a:lnTo>
                  <a:lnTo>
                    <a:pt x="52" y="121"/>
                  </a:lnTo>
                  <a:lnTo>
                    <a:pt x="49" y="121"/>
                  </a:lnTo>
                  <a:lnTo>
                    <a:pt x="49" y="121"/>
                  </a:lnTo>
                  <a:lnTo>
                    <a:pt x="49" y="123"/>
                  </a:lnTo>
                  <a:lnTo>
                    <a:pt x="47" y="123"/>
                  </a:lnTo>
                  <a:lnTo>
                    <a:pt x="45" y="121"/>
                  </a:lnTo>
                  <a:lnTo>
                    <a:pt x="42" y="118"/>
                  </a:lnTo>
                  <a:lnTo>
                    <a:pt x="42" y="118"/>
                  </a:lnTo>
                  <a:lnTo>
                    <a:pt x="38" y="118"/>
                  </a:lnTo>
                  <a:lnTo>
                    <a:pt x="38" y="121"/>
                  </a:lnTo>
                  <a:lnTo>
                    <a:pt x="33" y="123"/>
                  </a:lnTo>
                  <a:lnTo>
                    <a:pt x="33" y="123"/>
                  </a:lnTo>
                  <a:lnTo>
                    <a:pt x="33" y="121"/>
                  </a:lnTo>
                  <a:lnTo>
                    <a:pt x="33" y="118"/>
                  </a:lnTo>
                  <a:lnTo>
                    <a:pt x="23" y="123"/>
                  </a:lnTo>
                  <a:lnTo>
                    <a:pt x="23" y="118"/>
                  </a:lnTo>
                  <a:lnTo>
                    <a:pt x="28" y="118"/>
                  </a:lnTo>
                  <a:lnTo>
                    <a:pt x="31" y="118"/>
                  </a:lnTo>
                  <a:lnTo>
                    <a:pt x="33" y="116"/>
                  </a:lnTo>
                  <a:lnTo>
                    <a:pt x="35" y="116"/>
                  </a:lnTo>
                  <a:lnTo>
                    <a:pt x="38" y="113"/>
                  </a:lnTo>
                  <a:lnTo>
                    <a:pt x="38" y="113"/>
                  </a:lnTo>
                  <a:lnTo>
                    <a:pt x="35" y="113"/>
                  </a:lnTo>
                  <a:lnTo>
                    <a:pt x="28" y="113"/>
                  </a:lnTo>
                  <a:lnTo>
                    <a:pt x="21" y="113"/>
                  </a:lnTo>
                  <a:lnTo>
                    <a:pt x="21" y="111"/>
                  </a:lnTo>
                  <a:lnTo>
                    <a:pt x="23" y="109"/>
                  </a:lnTo>
                  <a:lnTo>
                    <a:pt x="21" y="106"/>
                  </a:lnTo>
                  <a:lnTo>
                    <a:pt x="21" y="106"/>
                  </a:lnTo>
                  <a:lnTo>
                    <a:pt x="19" y="104"/>
                  </a:lnTo>
                  <a:lnTo>
                    <a:pt x="19" y="102"/>
                  </a:lnTo>
                  <a:lnTo>
                    <a:pt x="21" y="102"/>
                  </a:lnTo>
                  <a:lnTo>
                    <a:pt x="21" y="99"/>
                  </a:lnTo>
                  <a:lnTo>
                    <a:pt x="21" y="99"/>
                  </a:lnTo>
                  <a:lnTo>
                    <a:pt x="19" y="102"/>
                  </a:lnTo>
                  <a:lnTo>
                    <a:pt x="16" y="99"/>
                  </a:lnTo>
                  <a:lnTo>
                    <a:pt x="19" y="97"/>
                  </a:lnTo>
                  <a:lnTo>
                    <a:pt x="19" y="95"/>
                  </a:lnTo>
                  <a:lnTo>
                    <a:pt x="16" y="92"/>
                  </a:lnTo>
                  <a:lnTo>
                    <a:pt x="16" y="90"/>
                  </a:lnTo>
                  <a:lnTo>
                    <a:pt x="12" y="90"/>
                  </a:lnTo>
                  <a:lnTo>
                    <a:pt x="9" y="87"/>
                  </a:lnTo>
                  <a:lnTo>
                    <a:pt x="7" y="87"/>
                  </a:lnTo>
                  <a:lnTo>
                    <a:pt x="5" y="87"/>
                  </a:lnTo>
                  <a:lnTo>
                    <a:pt x="2" y="85"/>
                  </a:lnTo>
                  <a:lnTo>
                    <a:pt x="2" y="85"/>
                  </a:lnTo>
                  <a:lnTo>
                    <a:pt x="5" y="83"/>
                  </a:lnTo>
                  <a:lnTo>
                    <a:pt x="5" y="80"/>
                  </a:lnTo>
                  <a:lnTo>
                    <a:pt x="5" y="78"/>
                  </a:lnTo>
                  <a:lnTo>
                    <a:pt x="5" y="78"/>
                  </a:lnTo>
                  <a:lnTo>
                    <a:pt x="7" y="78"/>
                  </a:lnTo>
                  <a:lnTo>
                    <a:pt x="9" y="83"/>
                  </a:lnTo>
                  <a:lnTo>
                    <a:pt x="9" y="83"/>
                  </a:lnTo>
                  <a:lnTo>
                    <a:pt x="14" y="83"/>
                  </a:lnTo>
                  <a:lnTo>
                    <a:pt x="16" y="83"/>
                  </a:lnTo>
                  <a:lnTo>
                    <a:pt x="16" y="83"/>
                  </a:lnTo>
                  <a:lnTo>
                    <a:pt x="12" y="80"/>
                  </a:lnTo>
                  <a:lnTo>
                    <a:pt x="12" y="78"/>
                  </a:lnTo>
                  <a:lnTo>
                    <a:pt x="12" y="76"/>
                  </a:lnTo>
                  <a:lnTo>
                    <a:pt x="14" y="73"/>
                  </a:lnTo>
                  <a:lnTo>
                    <a:pt x="14" y="71"/>
                  </a:lnTo>
                  <a:lnTo>
                    <a:pt x="12" y="69"/>
                  </a:lnTo>
                  <a:lnTo>
                    <a:pt x="12" y="66"/>
                  </a:lnTo>
                  <a:lnTo>
                    <a:pt x="9" y="64"/>
                  </a:lnTo>
                  <a:lnTo>
                    <a:pt x="9" y="62"/>
                  </a:lnTo>
                  <a:lnTo>
                    <a:pt x="14" y="59"/>
                  </a:lnTo>
                  <a:lnTo>
                    <a:pt x="12" y="57"/>
                  </a:lnTo>
                  <a:lnTo>
                    <a:pt x="7" y="59"/>
                  </a:lnTo>
                  <a:lnTo>
                    <a:pt x="0" y="59"/>
                  </a:lnTo>
                  <a:lnTo>
                    <a:pt x="0" y="57"/>
                  </a:lnTo>
                  <a:lnTo>
                    <a:pt x="0" y="50"/>
                  </a:lnTo>
                  <a:lnTo>
                    <a:pt x="2" y="47"/>
                  </a:lnTo>
                  <a:lnTo>
                    <a:pt x="5" y="47"/>
                  </a:lnTo>
                  <a:lnTo>
                    <a:pt x="7" y="43"/>
                  </a:lnTo>
                  <a:lnTo>
                    <a:pt x="9" y="40"/>
                  </a:lnTo>
                  <a:lnTo>
                    <a:pt x="12" y="38"/>
                  </a:lnTo>
                  <a:lnTo>
                    <a:pt x="14" y="38"/>
                  </a:lnTo>
                  <a:lnTo>
                    <a:pt x="19" y="38"/>
                  </a:lnTo>
                  <a:lnTo>
                    <a:pt x="21" y="38"/>
                  </a:lnTo>
                  <a:lnTo>
                    <a:pt x="26" y="40"/>
                  </a:lnTo>
                  <a:lnTo>
                    <a:pt x="28" y="40"/>
                  </a:lnTo>
                  <a:lnTo>
                    <a:pt x="28" y="36"/>
                  </a:lnTo>
                  <a:lnTo>
                    <a:pt x="31" y="36"/>
                  </a:lnTo>
                  <a:lnTo>
                    <a:pt x="33" y="36"/>
                  </a:lnTo>
                  <a:lnTo>
                    <a:pt x="31" y="38"/>
                  </a:lnTo>
                  <a:lnTo>
                    <a:pt x="33" y="38"/>
                  </a:lnTo>
                  <a:lnTo>
                    <a:pt x="38" y="38"/>
                  </a:lnTo>
                  <a:lnTo>
                    <a:pt x="47" y="38"/>
                  </a:lnTo>
                  <a:lnTo>
                    <a:pt x="52" y="38"/>
                  </a:lnTo>
                  <a:lnTo>
                    <a:pt x="49" y="36"/>
                  </a:lnTo>
                  <a:lnTo>
                    <a:pt x="47" y="36"/>
                  </a:lnTo>
                  <a:lnTo>
                    <a:pt x="47" y="33"/>
                  </a:lnTo>
                  <a:lnTo>
                    <a:pt x="49" y="33"/>
                  </a:lnTo>
                  <a:lnTo>
                    <a:pt x="64" y="31"/>
                  </a:lnTo>
                  <a:lnTo>
                    <a:pt x="64" y="31"/>
                  </a:lnTo>
                  <a:lnTo>
                    <a:pt x="61" y="28"/>
                  </a:lnTo>
                  <a:lnTo>
                    <a:pt x="59" y="31"/>
                  </a:lnTo>
                  <a:lnTo>
                    <a:pt x="57" y="28"/>
                  </a:lnTo>
                  <a:lnTo>
                    <a:pt x="54" y="28"/>
                  </a:lnTo>
                  <a:lnTo>
                    <a:pt x="54" y="28"/>
                  </a:lnTo>
                  <a:lnTo>
                    <a:pt x="52" y="26"/>
                  </a:lnTo>
                  <a:lnTo>
                    <a:pt x="52" y="24"/>
                  </a:lnTo>
                  <a:lnTo>
                    <a:pt x="52" y="21"/>
                  </a:lnTo>
                  <a:lnTo>
                    <a:pt x="54" y="19"/>
                  </a:lnTo>
                  <a:lnTo>
                    <a:pt x="54" y="19"/>
                  </a:lnTo>
                  <a:lnTo>
                    <a:pt x="57" y="19"/>
                  </a:lnTo>
                  <a:lnTo>
                    <a:pt x="61" y="21"/>
                  </a:lnTo>
                  <a:lnTo>
                    <a:pt x="73" y="21"/>
                  </a:lnTo>
                  <a:lnTo>
                    <a:pt x="75" y="21"/>
                  </a:lnTo>
                  <a:lnTo>
                    <a:pt x="78" y="24"/>
                  </a:lnTo>
                  <a:lnTo>
                    <a:pt x="80" y="24"/>
                  </a:lnTo>
                  <a:lnTo>
                    <a:pt x="87" y="24"/>
                  </a:lnTo>
                  <a:lnTo>
                    <a:pt x="92" y="21"/>
                  </a:lnTo>
                  <a:lnTo>
                    <a:pt x="94" y="17"/>
                  </a:lnTo>
                  <a:lnTo>
                    <a:pt x="97" y="14"/>
                  </a:lnTo>
                  <a:lnTo>
                    <a:pt x="101" y="12"/>
                  </a:lnTo>
                  <a:lnTo>
                    <a:pt x="106" y="10"/>
                  </a:lnTo>
                  <a:lnTo>
                    <a:pt x="108" y="7"/>
                  </a:lnTo>
                  <a:lnTo>
                    <a:pt x="113" y="5"/>
                  </a:lnTo>
                  <a:lnTo>
                    <a:pt x="120" y="2"/>
                  </a:lnTo>
                  <a:lnTo>
                    <a:pt x="125" y="0"/>
                  </a:lnTo>
                  <a:lnTo>
                    <a:pt x="132" y="0"/>
                  </a:lnTo>
                  <a:lnTo>
                    <a:pt x="139" y="2"/>
                  </a:lnTo>
                  <a:lnTo>
                    <a:pt x="151" y="2"/>
                  </a:lnTo>
                  <a:lnTo>
                    <a:pt x="153" y="0"/>
                  </a:lnTo>
                  <a:lnTo>
                    <a:pt x="156" y="0"/>
                  </a:lnTo>
                  <a:lnTo>
                    <a:pt x="158" y="0"/>
                  </a:lnTo>
                  <a:lnTo>
                    <a:pt x="158" y="2"/>
                  </a:lnTo>
                  <a:lnTo>
                    <a:pt x="160" y="7"/>
                  </a:lnTo>
                  <a:lnTo>
                    <a:pt x="165" y="10"/>
                  </a:lnTo>
                  <a:lnTo>
                    <a:pt x="170" y="10"/>
                  </a:lnTo>
                  <a:lnTo>
                    <a:pt x="172" y="7"/>
                  </a:lnTo>
                  <a:lnTo>
                    <a:pt x="175" y="12"/>
                  </a:lnTo>
                  <a:lnTo>
                    <a:pt x="177" y="17"/>
                  </a:lnTo>
                  <a:lnTo>
                    <a:pt x="186" y="19"/>
                  </a:lnTo>
                  <a:lnTo>
                    <a:pt x="198" y="24"/>
                  </a:lnTo>
                  <a:lnTo>
                    <a:pt x="201" y="24"/>
                  </a:lnTo>
                  <a:lnTo>
                    <a:pt x="201" y="24"/>
                  </a:lnTo>
                  <a:lnTo>
                    <a:pt x="208" y="26"/>
                  </a:lnTo>
                  <a:lnTo>
                    <a:pt x="215" y="26"/>
                  </a:lnTo>
                  <a:lnTo>
                    <a:pt x="220" y="24"/>
                  </a:lnTo>
                  <a:lnTo>
                    <a:pt x="229" y="21"/>
                  </a:lnTo>
                  <a:lnTo>
                    <a:pt x="241" y="24"/>
                  </a:lnTo>
                  <a:lnTo>
                    <a:pt x="248" y="24"/>
                  </a:lnTo>
                  <a:lnTo>
                    <a:pt x="260" y="14"/>
                  </a:lnTo>
                  <a:lnTo>
                    <a:pt x="267" y="12"/>
                  </a:lnTo>
                  <a:lnTo>
                    <a:pt x="267" y="10"/>
                  </a:lnTo>
                  <a:lnTo>
                    <a:pt x="269" y="12"/>
                  </a:lnTo>
                  <a:lnTo>
                    <a:pt x="271" y="12"/>
                  </a:lnTo>
                  <a:lnTo>
                    <a:pt x="276" y="12"/>
                  </a:lnTo>
                  <a:lnTo>
                    <a:pt x="281" y="14"/>
                  </a:lnTo>
                  <a:lnTo>
                    <a:pt x="283" y="14"/>
                  </a:lnTo>
                  <a:lnTo>
                    <a:pt x="286" y="10"/>
                  </a:lnTo>
                  <a:lnTo>
                    <a:pt x="286" y="10"/>
                  </a:lnTo>
                  <a:lnTo>
                    <a:pt x="288" y="10"/>
                  </a:lnTo>
                  <a:lnTo>
                    <a:pt x="293" y="12"/>
                  </a:lnTo>
                  <a:lnTo>
                    <a:pt x="295" y="17"/>
                  </a:lnTo>
                  <a:lnTo>
                    <a:pt x="297" y="19"/>
                  </a:lnTo>
                  <a:lnTo>
                    <a:pt x="300" y="21"/>
                  </a:lnTo>
                  <a:lnTo>
                    <a:pt x="302" y="24"/>
                  </a:lnTo>
                  <a:lnTo>
                    <a:pt x="305" y="28"/>
                  </a:lnTo>
                  <a:lnTo>
                    <a:pt x="305" y="33"/>
                  </a:lnTo>
                  <a:lnTo>
                    <a:pt x="305" y="38"/>
                  </a:lnTo>
                  <a:lnTo>
                    <a:pt x="309" y="43"/>
                  </a:lnTo>
                  <a:lnTo>
                    <a:pt x="312" y="43"/>
                  </a:lnTo>
                  <a:lnTo>
                    <a:pt x="314" y="45"/>
                  </a:lnTo>
                  <a:lnTo>
                    <a:pt x="319" y="47"/>
                  </a:lnTo>
                  <a:lnTo>
                    <a:pt x="319" y="50"/>
                  </a:lnTo>
                  <a:lnTo>
                    <a:pt x="321" y="50"/>
                  </a:lnTo>
                  <a:lnTo>
                    <a:pt x="319" y="57"/>
                  </a:lnTo>
                  <a:lnTo>
                    <a:pt x="319" y="59"/>
                  </a:lnTo>
                  <a:lnTo>
                    <a:pt x="314" y="62"/>
                  </a:lnTo>
                  <a:lnTo>
                    <a:pt x="314" y="64"/>
                  </a:lnTo>
                  <a:lnTo>
                    <a:pt x="316" y="69"/>
                  </a:lnTo>
                  <a:lnTo>
                    <a:pt x="316" y="78"/>
                  </a:lnTo>
                  <a:lnTo>
                    <a:pt x="316" y="83"/>
                  </a:lnTo>
                  <a:lnTo>
                    <a:pt x="316" y="87"/>
                  </a:lnTo>
                  <a:lnTo>
                    <a:pt x="316" y="95"/>
                  </a:lnTo>
                  <a:lnTo>
                    <a:pt x="321" y="97"/>
                  </a:lnTo>
                  <a:lnTo>
                    <a:pt x="323" y="102"/>
                  </a:lnTo>
                  <a:lnTo>
                    <a:pt x="326" y="109"/>
                  </a:lnTo>
                  <a:lnTo>
                    <a:pt x="321" y="111"/>
                  </a:lnTo>
                  <a:lnTo>
                    <a:pt x="316" y="109"/>
                  </a:lnTo>
                  <a:lnTo>
                    <a:pt x="314" y="106"/>
                  </a:lnTo>
                  <a:lnTo>
                    <a:pt x="309" y="106"/>
                  </a:lnTo>
                  <a:lnTo>
                    <a:pt x="300" y="106"/>
                  </a:lnTo>
                  <a:lnTo>
                    <a:pt x="293" y="104"/>
                  </a:lnTo>
                  <a:lnTo>
                    <a:pt x="286" y="111"/>
                  </a:lnTo>
                  <a:lnTo>
                    <a:pt x="281" y="111"/>
                  </a:lnTo>
                  <a:lnTo>
                    <a:pt x="281" y="109"/>
                  </a:lnTo>
                  <a:lnTo>
                    <a:pt x="281" y="109"/>
                  </a:lnTo>
                  <a:lnTo>
                    <a:pt x="281" y="106"/>
                  </a:lnTo>
                  <a:lnTo>
                    <a:pt x="279" y="106"/>
                  </a:lnTo>
                  <a:lnTo>
                    <a:pt x="276" y="109"/>
                  </a:lnTo>
                  <a:lnTo>
                    <a:pt x="271" y="111"/>
                  </a:lnTo>
                  <a:lnTo>
                    <a:pt x="260" y="111"/>
                  </a:lnTo>
                  <a:lnTo>
                    <a:pt x="257" y="111"/>
                  </a:lnTo>
                  <a:lnTo>
                    <a:pt x="255" y="111"/>
                  </a:lnTo>
                  <a:lnTo>
                    <a:pt x="250" y="113"/>
                  </a:lnTo>
                  <a:lnTo>
                    <a:pt x="245" y="116"/>
                  </a:lnTo>
                  <a:lnTo>
                    <a:pt x="243" y="116"/>
                  </a:lnTo>
                  <a:lnTo>
                    <a:pt x="238" y="118"/>
                  </a:lnTo>
                  <a:lnTo>
                    <a:pt x="238" y="118"/>
                  </a:lnTo>
                  <a:lnTo>
                    <a:pt x="227" y="121"/>
                  </a:lnTo>
                  <a:lnTo>
                    <a:pt x="220" y="118"/>
                  </a:lnTo>
                  <a:lnTo>
                    <a:pt x="215" y="116"/>
                  </a:lnTo>
                  <a:lnTo>
                    <a:pt x="212" y="116"/>
                  </a:lnTo>
                  <a:lnTo>
                    <a:pt x="208" y="116"/>
                  </a:lnTo>
                  <a:lnTo>
                    <a:pt x="205" y="118"/>
                  </a:lnTo>
                  <a:lnTo>
                    <a:pt x="201" y="121"/>
                  </a:lnTo>
                  <a:lnTo>
                    <a:pt x="198" y="121"/>
                  </a:lnTo>
                  <a:lnTo>
                    <a:pt x="198" y="121"/>
                  </a:lnTo>
                  <a:lnTo>
                    <a:pt x="194" y="121"/>
                  </a:lnTo>
                  <a:lnTo>
                    <a:pt x="189" y="121"/>
                  </a:lnTo>
                  <a:lnTo>
                    <a:pt x="189" y="121"/>
                  </a:lnTo>
                  <a:lnTo>
                    <a:pt x="189" y="121"/>
                  </a:lnTo>
                  <a:lnTo>
                    <a:pt x="189" y="118"/>
                  </a:lnTo>
                  <a:lnTo>
                    <a:pt x="189" y="118"/>
                  </a:lnTo>
                  <a:lnTo>
                    <a:pt x="189" y="118"/>
                  </a:lnTo>
                  <a:lnTo>
                    <a:pt x="184" y="118"/>
                  </a:lnTo>
                  <a:lnTo>
                    <a:pt x="184" y="118"/>
                  </a:lnTo>
                  <a:lnTo>
                    <a:pt x="182" y="121"/>
                  </a:lnTo>
                  <a:lnTo>
                    <a:pt x="182" y="121"/>
                  </a:lnTo>
                  <a:lnTo>
                    <a:pt x="182" y="123"/>
                  </a:lnTo>
                  <a:lnTo>
                    <a:pt x="182" y="125"/>
                  </a:lnTo>
                  <a:lnTo>
                    <a:pt x="184" y="130"/>
                  </a:lnTo>
                  <a:lnTo>
                    <a:pt x="184" y="130"/>
                  </a:lnTo>
                  <a:lnTo>
                    <a:pt x="182" y="130"/>
                  </a:lnTo>
                  <a:lnTo>
                    <a:pt x="179" y="130"/>
                  </a:lnTo>
                  <a:lnTo>
                    <a:pt x="177" y="132"/>
                  </a:lnTo>
                  <a:lnTo>
                    <a:pt x="177" y="132"/>
                  </a:lnTo>
                  <a:lnTo>
                    <a:pt x="177" y="135"/>
                  </a:lnTo>
                  <a:lnTo>
                    <a:pt x="177" y="137"/>
                  </a:lnTo>
                  <a:lnTo>
                    <a:pt x="175" y="137"/>
                  </a:lnTo>
                  <a:lnTo>
                    <a:pt x="175" y="139"/>
                  </a:lnTo>
                  <a:lnTo>
                    <a:pt x="172" y="137"/>
                  </a:lnTo>
                  <a:lnTo>
                    <a:pt x="172" y="137"/>
                  </a:lnTo>
                  <a:lnTo>
                    <a:pt x="170" y="137"/>
                  </a:lnTo>
                  <a:lnTo>
                    <a:pt x="170" y="13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8" name="Freeform 600">
              <a:extLst>
                <a:ext uri="{FF2B5EF4-FFF2-40B4-BE49-F238E27FC236}">
                  <a16:creationId xmlns:a16="http://schemas.microsoft.com/office/drawing/2014/main" id="{DBE3B2B7-C7D6-41D8-9681-C247241193D8}"/>
                </a:ext>
              </a:extLst>
            </p:cNvPr>
            <p:cNvSpPr>
              <a:spLocks/>
            </p:cNvSpPr>
            <p:nvPr/>
          </p:nvSpPr>
          <p:spPr bwMode="auto">
            <a:xfrm>
              <a:off x="2002679" y="3251165"/>
              <a:ext cx="517524" cy="220664"/>
            </a:xfrm>
            <a:custGeom>
              <a:avLst/>
              <a:gdLst>
                <a:gd name="T0" fmla="*/ 175 w 326"/>
                <a:gd name="T1" fmla="*/ 121 h 139"/>
                <a:gd name="T2" fmla="*/ 160 w 326"/>
                <a:gd name="T3" fmla="*/ 123 h 139"/>
                <a:gd name="T4" fmla="*/ 146 w 326"/>
                <a:gd name="T5" fmla="*/ 121 h 139"/>
                <a:gd name="T6" fmla="*/ 130 w 326"/>
                <a:gd name="T7" fmla="*/ 132 h 139"/>
                <a:gd name="T8" fmla="*/ 108 w 326"/>
                <a:gd name="T9" fmla="*/ 130 h 139"/>
                <a:gd name="T10" fmla="*/ 90 w 326"/>
                <a:gd name="T11" fmla="*/ 118 h 139"/>
                <a:gd name="T12" fmla="*/ 78 w 326"/>
                <a:gd name="T13" fmla="*/ 123 h 139"/>
                <a:gd name="T14" fmla="*/ 61 w 326"/>
                <a:gd name="T15" fmla="*/ 132 h 139"/>
                <a:gd name="T16" fmla="*/ 52 w 326"/>
                <a:gd name="T17" fmla="*/ 121 h 139"/>
                <a:gd name="T18" fmla="*/ 45 w 326"/>
                <a:gd name="T19" fmla="*/ 121 h 139"/>
                <a:gd name="T20" fmla="*/ 33 w 326"/>
                <a:gd name="T21" fmla="*/ 123 h 139"/>
                <a:gd name="T22" fmla="*/ 23 w 326"/>
                <a:gd name="T23" fmla="*/ 118 h 139"/>
                <a:gd name="T24" fmla="*/ 38 w 326"/>
                <a:gd name="T25" fmla="*/ 113 h 139"/>
                <a:gd name="T26" fmla="*/ 21 w 326"/>
                <a:gd name="T27" fmla="*/ 111 h 139"/>
                <a:gd name="T28" fmla="*/ 19 w 326"/>
                <a:gd name="T29" fmla="*/ 102 h 139"/>
                <a:gd name="T30" fmla="*/ 16 w 326"/>
                <a:gd name="T31" fmla="*/ 99 h 139"/>
                <a:gd name="T32" fmla="*/ 12 w 326"/>
                <a:gd name="T33" fmla="*/ 90 h 139"/>
                <a:gd name="T34" fmla="*/ 2 w 326"/>
                <a:gd name="T35" fmla="*/ 85 h 139"/>
                <a:gd name="T36" fmla="*/ 7 w 326"/>
                <a:gd name="T37" fmla="*/ 78 h 139"/>
                <a:gd name="T38" fmla="*/ 16 w 326"/>
                <a:gd name="T39" fmla="*/ 83 h 139"/>
                <a:gd name="T40" fmla="*/ 14 w 326"/>
                <a:gd name="T41" fmla="*/ 71 h 139"/>
                <a:gd name="T42" fmla="*/ 14 w 326"/>
                <a:gd name="T43" fmla="*/ 59 h 139"/>
                <a:gd name="T44" fmla="*/ 0 w 326"/>
                <a:gd name="T45" fmla="*/ 50 h 139"/>
                <a:gd name="T46" fmla="*/ 12 w 326"/>
                <a:gd name="T47" fmla="*/ 38 h 139"/>
                <a:gd name="T48" fmla="*/ 28 w 326"/>
                <a:gd name="T49" fmla="*/ 40 h 139"/>
                <a:gd name="T50" fmla="*/ 33 w 326"/>
                <a:gd name="T51" fmla="*/ 38 h 139"/>
                <a:gd name="T52" fmla="*/ 47 w 326"/>
                <a:gd name="T53" fmla="*/ 36 h 139"/>
                <a:gd name="T54" fmla="*/ 61 w 326"/>
                <a:gd name="T55" fmla="*/ 28 h 139"/>
                <a:gd name="T56" fmla="*/ 52 w 326"/>
                <a:gd name="T57" fmla="*/ 26 h 139"/>
                <a:gd name="T58" fmla="*/ 57 w 326"/>
                <a:gd name="T59" fmla="*/ 19 h 139"/>
                <a:gd name="T60" fmla="*/ 80 w 326"/>
                <a:gd name="T61" fmla="*/ 24 h 139"/>
                <a:gd name="T62" fmla="*/ 101 w 326"/>
                <a:gd name="T63" fmla="*/ 12 h 139"/>
                <a:gd name="T64" fmla="*/ 125 w 326"/>
                <a:gd name="T65" fmla="*/ 0 h 139"/>
                <a:gd name="T66" fmla="*/ 156 w 326"/>
                <a:gd name="T67" fmla="*/ 0 h 139"/>
                <a:gd name="T68" fmla="*/ 170 w 326"/>
                <a:gd name="T69" fmla="*/ 10 h 139"/>
                <a:gd name="T70" fmla="*/ 198 w 326"/>
                <a:gd name="T71" fmla="*/ 24 h 139"/>
                <a:gd name="T72" fmla="*/ 220 w 326"/>
                <a:gd name="T73" fmla="*/ 24 h 139"/>
                <a:gd name="T74" fmla="*/ 267 w 326"/>
                <a:gd name="T75" fmla="*/ 12 h 139"/>
                <a:gd name="T76" fmla="*/ 281 w 326"/>
                <a:gd name="T77" fmla="*/ 14 h 139"/>
                <a:gd name="T78" fmla="*/ 293 w 326"/>
                <a:gd name="T79" fmla="*/ 12 h 139"/>
                <a:gd name="T80" fmla="*/ 305 w 326"/>
                <a:gd name="T81" fmla="*/ 28 h 139"/>
                <a:gd name="T82" fmla="*/ 314 w 326"/>
                <a:gd name="T83" fmla="*/ 45 h 139"/>
                <a:gd name="T84" fmla="*/ 319 w 326"/>
                <a:gd name="T85" fmla="*/ 59 h 139"/>
                <a:gd name="T86" fmla="*/ 316 w 326"/>
                <a:gd name="T87" fmla="*/ 83 h 139"/>
                <a:gd name="T88" fmla="*/ 326 w 326"/>
                <a:gd name="T89" fmla="*/ 109 h 139"/>
                <a:gd name="T90" fmla="*/ 300 w 326"/>
                <a:gd name="T91" fmla="*/ 106 h 139"/>
                <a:gd name="T92" fmla="*/ 281 w 326"/>
                <a:gd name="T93" fmla="*/ 109 h 139"/>
                <a:gd name="T94" fmla="*/ 260 w 326"/>
                <a:gd name="T95" fmla="*/ 111 h 139"/>
                <a:gd name="T96" fmla="*/ 243 w 326"/>
                <a:gd name="T97" fmla="*/ 116 h 139"/>
                <a:gd name="T98" fmla="*/ 215 w 326"/>
                <a:gd name="T99" fmla="*/ 116 h 139"/>
                <a:gd name="T100" fmla="*/ 198 w 326"/>
                <a:gd name="T101" fmla="*/ 121 h 139"/>
                <a:gd name="T102" fmla="*/ 189 w 326"/>
                <a:gd name="T103" fmla="*/ 121 h 139"/>
                <a:gd name="T104" fmla="*/ 184 w 326"/>
                <a:gd name="T105" fmla="*/ 118 h 139"/>
                <a:gd name="T106" fmla="*/ 184 w 326"/>
                <a:gd name="T107" fmla="*/ 130 h 139"/>
                <a:gd name="T108" fmla="*/ 177 w 326"/>
                <a:gd name="T109" fmla="*/ 132 h 139"/>
                <a:gd name="T110" fmla="*/ 172 w 326"/>
                <a:gd name="T111" fmla="*/ 13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39">
                  <a:moveTo>
                    <a:pt x="170" y="135"/>
                  </a:moveTo>
                  <a:lnTo>
                    <a:pt x="170" y="130"/>
                  </a:lnTo>
                  <a:lnTo>
                    <a:pt x="170" y="125"/>
                  </a:lnTo>
                  <a:lnTo>
                    <a:pt x="175" y="123"/>
                  </a:lnTo>
                  <a:lnTo>
                    <a:pt x="175" y="121"/>
                  </a:lnTo>
                  <a:lnTo>
                    <a:pt x="172" y="118"/>
                  </a:lnTo>
                  <a:lnTo>
                    <a:pt x="168" y="121"/>
                  </a:lnTo>
                  <a:lnTo>
                    <a:pt x="165" y="123"/>
                  </a:lnTo>
                  <a:lnTo>
                    <a:pt x="163" y="123"/>
                  </a:lnTo>
                  <a:lnTo>
                    <a:pt x="160" y="123"/>
                  </a:lnTo>
                  <a:lnTo>
                    <a:pt x="156" y="121"/>
                  </a:lnTo>
                  <a:lnTo>
                    <a:pt x="153" y="118"/>
                  </a:lnTo>
                  <a:lnTo>
                    <a:pt x="151" y="118"/>
                  </a:lnTo>
                  <a:lnTo>
                    <a:pt x="149" y="118"/>
                  </a:lnTo>
                  <a:lnTo>
                    <a:pt x="146" y="121"/>
                  </a:lnTo>
                  <a:lnTo>
                    <a:pt x="139" y="125"/>
                  </a:lnTo>
                  <a:lnTo>
                    <a:pt x="139" y="128"/>
                  </a:lnTo>
                  <a:lnTo>
                    <a:pt x="134" y="130"/>
                  </a:lnTo>
                  <a:lnTo>
                    <a:pt x="132" y="130"/>
                  </a:lnTo>
                  <a:lnTo>
                    <a:pt x="130" y="132"/>
                  </a:lnTo>
                  <a:lnTo>
                    <a:pt x="125" y="132"/>
                  </a:lnTo>
                  <a:lnTo>
                    <a:pt x="120" y="132"/>
                  </a:lnTo>
                  <a:lnTo>
                    <a:pt x="118" y="135"/>
                  </a:lnTo>
                  <a:lnTo>
                    <a:pt x="111" y="132"/>
                  </a:lnTo>
                  <a:lnTo>
                    <a:pt x="108" y="130"/>
                  </a:lnTo>
                  <a:lnTo>
                    <a:pt x="106" y="128"/>
                  </a:lnTo>
                  <a:lnTo>
                    <a:pt x="104" y="125"/>
                  </a:lnTo>
                  <a:lnTo>
                    <a:pt x="101" y="123"/>
                  </a:lnTo>
                  <a:lnTo>
                    <a:pt x="94" y="121"/>
                  </a:lnTo>
                  <a:lnTo>
                    <a:pt x="90" y="118"/>
                  </a:lnTo>
                  <a:lnTo>
                    <a:pt x="85" y="116"/>
                  </a:lnTo>
                  <a:lnTo>
                    <a:pt x="80" y="118"/>
                  </a:lnTo>
                  <a:lnTo>
                    <a:pt x="78" y="118"/>
                  </a:lnTo>
                  <a:lnTo>
                    <a:pt x="78" y="121"/>
                  </a:lnTo>
                  <a:lnTo>
                    <a:pt x="78" y="123"/>
                  </a:lnTo>
                  <a:lnTo>
                    <a:pt x="75" y="125"/>
                  </a:lnTo>
                  <a:lnTo>
                    <a:pt x="75" y="128"/>
                  </a:lnTo>
                  <a:lnTo>
                    <a:pt x="68" y="130"/>
                  </a:lnTo>
                  <a:lnTo>
                    <a:pt x="66" y="132"/>
                  </a:lnTo>
                  <a:lnTo>
                    <a:pt x="61" y="132"/>
                  </a:lnTo>
                  <a:lnTo>
                    <a:pt x="59" y="132"/>
                  </a:lnTo>
                  <a:lnTo>
                    <a:pt x="57" y="130"/>
                  </a:lnTo>
                  <a:lnTo>
                    <a:pt x="52" y="128"/>
                  </a:lnTo>
                  <a:lnTo>
                    <a:pt x="52" y="123"/>
                  </a:lnTo>
                  <a:lnTo>
                    <a:pt x="52" y="121"/>
                  </a:lnTo>
                  <a:lnTo>
                    <a:pt x="49" y="121"/>
                  </a:lnTo>
                  <a:lnTo>
                    <a:pt x="49" y="121"/>
                  </a:lnTo>
                  <a:lnTo>
                    <a:pt x="49" y="123"/>
                  </a:lnTo>
                  <a:lnTo>
                    <a:pt x="47" y="123"/>
                  </a:lnTo>
                  <a:lnTo>
                    <a:pt x="45" y="121"/>
                  </a:lnTo>
                  <a:lnTo>
                    <a:pt x="42" y="118"/>
                  </a:lnTo>
                  <a:lnTo>
                    <a:pt x="42" y="118"/>
                  </a:lnTo>
                  <a:lnTo>
                    <a:pt x="38" y="118"/>
                  </a:lnTo>
                  <a:lnTo>
                    <a:pt x="38" y="121"/>
                  </a:lnTo>
                  <a:lnTo>
                    <a:pt x="33" y="123"/>
                  </a:lnTo>
                  <a:lnTo>
                    <a:pt x="33" y="123"/>
                  </a:lnTo>
                  <a:lnTo>
                    <a:pt x="33" y="121"/>
                  </a:lnTo>
                  <a:lnTo>
                    <a:pt x="33" y="118"/>
                  </a:lnTo>
                  <a:lnTo>
                    <a:pt x="23" y="123"/>
                  </a:lnTo>
                  <a:lnTo>
                    <a:pt x="23" y="118"/>
                  </a:lnTo>
                  <a:lnTo>
                    <a:pt x="28" y="118"/>
                  </a:lnTo>
                  <a:lnTo>
                    <a:pt x="31" y="118"/>
                  </a:lnTo>
                  <a:lnTo>
                    <a:pt x="33" y="116"/>
                  </a:lnTo>
                  <a:lnTo>
                    <a:pt x="35" y="116"/>
                  </a:lnTo>
                  <a:lnTo>
                    <a:pt x="38" y="113"/>
                  </a:lnTo>
                  <a:lnTo>
                    <a:pt x="38" y="113"/>
                  </a:lnTo>
                  <a:lnTo>
                    <a:pt x="35" y="113"/>
                  </a:lnTo>
                  <a:lnTo>
                    <a:pt x="28" y="113"/>
                  </a:lnTo>
                  <a:lnTo>
                    <a:pt x="21" y="113"/>
                  </a:lnTo>
                  <a:lnTo>
                    <a:pt x="21" y="111"/>
                  </a:lnTo>
                  <a:lnTo>
                    <a:pt x="23" y="109"/>
                  </a:lnTo>
                  <a:lnTo>
                    <a:pt x="21" y="106"/>
                  </a:lnTo>
                  <a:lnTo>
                    <a:pt x="21" y="106"/>
                  </a:lnTo>
                  <a:lnTo>
                    <a:pt x="19" y="104"/>
                  </a:lnTo>
                  <a:lnTo>
                    <a:pt x="19" y="102"/>
                  </a:lnTo>
                  <a:lnTo>
                    <a:pt x="21" y="102"/>
                  </a:lnTo>
                  <a:lnTo>
                    <a:pt x="21" y="99"/>
                  </a:lnTo>
                  <a:lnTo>
                    <a:pt x="21" y="99"/>
                  </a:lnTo>
                  <a:lnTo>
                    <a:pt x="19" y="102"/>
                  </a:lnTo>
                  <a:lnTo>
                    <a:pt x="16" y="99"/>
                  </a:lnTo>
                  <a:lnTo>
                    <a:pt x="19" y="97"/>
                  </a:lnTo>
                  <a:lnTo>
                    <a:pt x="19" y="95"/>
                  </a:lnTo>
                  <a:lnTo>
                    <a:pt x="16" y="92"/>
                  </a:lnTo>
                  <a:lnTo>
                    <a:pt x="16" y="90"/>
                  </a:lnTo>
                  <a:lnTo>
                    <a:pt x="12" y="90"/>
                  </a:lnTo>
                  <a:lnTo>
                    <a:pt x="9" y="87"/>
                  </a:lnTo>
                  <a:lnTo>
                    <a:pt x="7" y="87"/>
                  </a:lnTo>
                  <a:lnTo>
                    <a:pt x="5" y="87"/>
                  </a:lnTo>
                  <a:lnTo>
                    <a:pt x="2" y="85"/>
                  </a:lnTo>
                  <a:lnTo>
                    <a:pt x="2" y="85"/>
                  </a:lnTo>
                  <a:lnTo>
                    <a:pt x="5" y="83"/>
                  </a:lnTo>
                  <a:lnTo>
                    <a:pt x="5" y="80"/>
                  </a:lnTo>
                  <a:lnTo>
                    <a:pt x="5" y="78"/>
                  </a:lnTo>
                  <a:lnTo>
                    <a:pt x="5" y="78"/>
                  </a:lnTo>
                  <a:lnTo>
                    <a:pt x="7" y="78"/>
                  </a:lnTo>
                  <a:lnTo>
                    <a:pt x="9" y="83"/>
                  </a:lnTo>
                  <a:lnTo>
                    <a:pt x="9" y="83"/>
                  </a:lnTo>
                  <a:lnTo>
                    <a:pt x="14" y="83"/>
                  </a:lnTo>
                  <a:lnTo>
                    <a:pt x="16" y="83"/>
                  </a:lnTo>
                  <a:lnTo>
                    <a:pt x="16" y="83"/>
                  </a:lnTo>
                  <a:lnTo>
                    <a:pt x="12" y="80"/>
                  </a:lnTo>
                  <a:lnTo>
                    <a:pt x="12" y="78"/>
                  </a:lnTo>
                  <a:lnTo>
                    <a:pt x="12" y="76"/>
                  </a:lnTo>
                  <a:lnTo>
                    <a:pt x="14" y="73"/>
                  </a:lnTo>
                  <a:lnTo>
                    <a:pt x="14" y="71"/>
                  </a:lnTo>
                  <a:lnTo>
                    <a:pt x="12" y="69"/>
                  </a:lnTo>
                  <a:lnTo>
                    <a:pt x="12" y="66"/>
                  </a:lnTo>
                  <a:lnTo>
                    <a:pt x="9" y="64"/>
                  </a:lnTo>
                  <a:lnTo>
                    <a:pt x="9" y="62"/>
                  </a:lnTo>
                  <a:lnTo>
                    <a:pt x="14" y="59"/>
                  </a:lnTo>
                  <a:lnTo>
                    <a:pt x="12" y="57"/>
                  </a:lnTo>
                  <a:lnTo>
                    <a:pt x="7" y="59"/>
                  </a:lnTo>
                  <a:lnTo>
                    <a:pt x="0" y="59"/>
                  </a:lnTo>
                  <a:lnTo>
                    <a:pt x="0" y="57"/>
                  </a:lnTo>
                  <a:lnTo>
                    <a:pt x="0" y="50"/>
                  </a:lnTo>
                  <a:lnTo>
                    <a:pt x="2" y="47"/>
                  </a:lnTo>
                  <a:lnTo>
                    <a:pt x="5" y="47"/>
                  </a:lnTo>
                  <a:lnTo>
                    <a:pt x="7" y="43"/>
                  </a:lnTo>
                  <a:lnTo>
                    <a:pt x="9" y="40"/>
                  </a:lnTo>
                  <a:lnTo>
                    <a:pt x="12" y="38"/>
                  </a:lnTo>
                  <a:lnTo>
                    <a:pt x="14" y="38"/>
                  </a:lnTo>
                  <a:lnTo>
                    <a:pt x="19" y="38"/>
                  </a:lnTo>
                  <a:lnTo>
                    <a:pt x="21" y="38"/>
                  </a:lnTo>
                  <a:lnTo>
                    <a:pt x="26" y="40"/>
                  </a:lnTo>
                  <a:lnTo>
                    <a:pt x="28" y="40"/>
                  </a:lnTo>
                  <a:lnTo>
                    <a:pt x="28" y="36"/>
                  </a:lnTo>
                  <a:lnTo>
                    <a:pt x="31" y="36"/>
                  </a:lnTo>
                  <a:lnTo>
                    <a:pt x="33" y="36"/>
                  </a:lnTo>
                  <a:lnTo>
                    <a:pt x="31" y="38"/>
                  </a:lnTo>
                  <a:lnTo>
                    <a:pt x="33" y="38"/>
                  </a:lnTo>
                  <a:lnTo>
                    <a:pt x="38" y="38"/>
                  </a:lnTo>
                  <a:lnTo>
                    <a:pt x="47" y="38"/>
                  </a:lnTo>
                  <a:lnTo>
                    <a:pt x="52" y="38"/>
                  </a:lnTo>
                  <a:lnTo>
                    <a:pt x="49" y="36"/>
                  </a:lnTo>
                  <a:lnTo>
                    <a:pt x="47" y="36"/>
                  </a:lnTo>
                  <a:lnTo>
                    <a:pt x="47" y="33"/>
                  </a:lnTo>
                  <a:lnTo>
                    <a:pt x="49" y="33"/>
                  </a:lnTo>
                  <a:lnTo>
                    <a:pt x="64" y="31"/>
                  </a:lnTo>
                  <a:lnTo>
                    <a:pt x="64" y="31"/>
                  </a:lnTo>
                  <a:lnTo>
                    <a:pt x="61" y="28"/>
                  </a:lnTo>
                  <a:lnTo>
                    <a:pt x="59" y="31"/>
                  </a:lnTo>
                  <a:lnTo>
                    <a:pt x="57" y="28"/>
                  </a:lnTo>
                  <a:lnTo>
                    <a:pt x="54" y="28"/>
                  </a:lnTo>
                  <a:lnTo>
                    <a:pt x="54" y="28"/>
                  </a:lnTo>
                  <a:lnTo>
                    <a:pt x="52" y="26"/>
                  </a:lnTo>
                  <a:lnTo>
                    <a:pt x="52" y="24"/>
                  </a:lnTo>
                  <a:lnTo>
                    <a:pt x="52" y="21"/>
                  </a:lnTo>
                  <a:lnTo>
                    <a:pt x="54" y="19"/>
                  </a:lnTo>
                  <a:lnTo>
                    <a:pt x="54" y="19"/>
                  </a:lnTo>
                  <a:lnTo>
                    <a:pt x="57" y="19"/>
                  </a:lnTo>
                  <a:lnTo>
                    <a:pt x="61" y="21"/>
                  </a:lnTo>
                  <a:lnTo>
                    <a:pt x="73" y="21"/>
                  </a:lnTo>
                  <a:lnTo>
                    <a:pt x="75" y="21"/>
                  </a:lnTo>
                  <a:lnTo>
                    <a:pt x="78" y="24"/>
                  </a:lnTo>
                  <a:lnTo>
                    <a:pt x="80" y="24"/>
                  </a:lnTo>
                  <a:lnTo>
                    <a:pt x="87" y="24"/>
                  </a:lnTo>
                  <a:lnTo>
                    <a:pt x="92" y="21"/>
                  </a:lnTo>
                  <a:lnTo>
                    <a:pt x="94" y="17"/>
                  </a:lnTo>
                  <a:lnTo>
                    <a:pt x="97" y="14"/>
                  </a:lnTo>
                  <a:lnTo>
                    <a:pt x="101" y="12"/>
                  </a:lnTo>
                  <a:lnTo>
                    <a:pt x="106" y="10"/>
                  </a:lnTo>
                  <a:lnTo>
                    <a:pt x="108" y="7"/>
                  </a:lnTo>
                  <a:lnTo>
                    <a:pt x="113" y="5"/>
                  </a:lnTo>
                  <a:lnTo>
                    <a:pt x="120" y="2"/>
                  </a:lnTo>
                  <a:lnTo>
                    <a:pt x="125" y="0"/>
                  </a:lnTo>
                  <a:lnTo>
                    <a:pt x="132" y="0"/>
                  </a:lnTo>
                  <a:lnTo>
                    <a:pt x="139" y="2"/>
                  </a:lnTo>
                  <a:lnTo>
                    <a:pt x="151" y="2"/>
                  </a:lnTo>
                  <a:lnTo>
                    <a:pt x="153" y="0"/>
                  </a:lnTo>
                  <a:lnTo>
                    <a:pt x="156" y="0"/>
                  </a:lnTo>
                  <a:lnTo>
                    <a:pt x="158" y="0"/>
                  </a:lnTo>
                  <a:lnTo>
                    <a:pt x="158" y="2"/>
                  </a:lnTo>
                  <a:lnTo>
                    <a:pt x="160" y="7"/>
                  </a:lnTo>
                  <a:lnTo>
                    <a:pt x="165" y="10"/>
                  </a:lnTo>
                  <a:lnTo>
                    <a:pt x="170" y="10"/>
                  </a:lnTo>
                  <a:lnTo>
                    <a:pt x="172" y="7"/>
                  </a:lnTo>
                  <a:lnTo>
                    <a:pt x="175" y="12"/>
                  </a:lnTo>
                  <a:lnTo>
                    <a:pt x="177" y="17"/>
                  </a:lnTo>
                  <a:lnTo>
                    <a:pt x="186" y="19"/>
                  </a:lnTo>
                  <a:lnTo>
                    <a:pt x="198" y="24"/>
                  </a:lnTo>
                  <a:lnTo>
                    <a:pt x="201" y="24"/>
                  </a:lnTo>
                  <a:lnTo>
                    <a:pt x="201" y="24"/>
                  </a:lnTo>
                  <a:lnTo>
                    <a:pt x="208" y="26"/>
                  </a:lnTo>
                  <a:lnTo>
                    <a:pt x="215" y="26"/>
                  </a:lnTo>
                  <a:lnTo>
                    <a:pt x="220" y="24"/>
                  </a:lnTo>
                  <a:lnTo>
                    <a:pt x="229" y="21"/>
                  </a:lnTo>
                  <a:lnTo>
                    <a:pt x="241" y="24"/>
                  </a:lnTo>
                  <a:lnTo>
                    <a:pt x="248" y="24"/>
                  </a:lnTo>
                  <a:lnTo>
                    <a:pt x="260" y="14"/>
                  </a:lnTo>
                  <a:lnTo>
                    <a:pt x="267" y="12"/>
                  </a:lnTo>
                  <a:lnTo>
                    <a:pt x="267" y="10"/>
                  </a:lnTo>
                  <a:lnTo>
                    <a:pt x="269" y="12"/>
                  </a:lnTo>
                  <a:lnTo>
                    <a:pt x="271" y="12"/>
                  </a:lnTo>
                  <a:lnTo>
                    <a:pt x="276" y="12"/>
                  </a:lnTo>
                  <a:lnTo>
                    <a:pt x="281" y="14"/>
                  </a:lnTo>
                  <a:lnTo>
                    <a:pt x="283" y="14"/>
                  </a:lnTo>
                  <a:lnTo>
                    <a:pt x="286" y="10"/>
                  </a:lnTo>
                  <a:lnTo>
                    <a:pt x="286" y="10"/>
                  </a:lnTo>
                  <a:lnTo>
                    <a:pt x="288" y="10"/>
                  </a:lnTo>
                  <a:lnTo>
                    <a:pt x="293" y="12"/>
                  </a:lnTo>
                  <a:lnTo>
                    <a:pt x="295" y="17"/>
                  </a:lnTo>
                  <a:lnTo>
                    <a:pt x="297" y="19"/>
                  </a:lnTo>
                  <a:lnTo>
                    <a:pt x="300" y="21"/>
                  </a:lnTo>
                  <a:lnTo>
                    <a:pt x="302" y="24"/>
                  </a:lnTo>
                  <a:lnTo>
                    <a:pt x="305" y="28"/>
                  </a:lnTo>
                  <a:lnTo>
                    <a:pt x="305" y="33"/>
                  </a:lnTo>
                  <a:lnTo>
                    <a:pt x="305" y="38"/>
                  </a:lnTo>
                  <a:lnTo>
                    <a:pt x="309" y="43"/>
                  </a:lnTo>
                  <a:lnTo>
                    <a:pt x="312" y="43"/>
                  </a:lnTo>
                  <a:lnTo>
                    <a:pt x="314" y="45"/>
                  </a:lnTo>
                  <a:lnTo>
                    <a:pt x="319" y="47"/>
                  </a:lnTo>
                  <a:lnTo>
                    <a:pt x="319" y="50"/>
                  </a:lnTo>
                  <a:lnTo>
                    <a:pt x="321" y="50"/>
                  </a:lnTo>
                  <a:lnTo>
                    <a:pt x="319" y="57"/>
                  </a:lnTo>
                  <a:lnTo>
                    <a:pt x="319" y="59"/>
                  </a:lnTo>
                  <a:lnTo>
                    <a:pt x="314" y="62"/>
                  </a:lnTo>
                  <a:lnTo>
                    <a:pt x="314" y="64"/>
                  </a:lnTo>
                  <a:lnTo>
                    <a:pt x="316" y="69"/>
                  </a:lnTo>
                  <a:lnTo>
                    <a:pt x="316" y="78"/>
                  </a:lnTo>
                  <a:lnTo>
                    <a:pt x="316" y="83"/>
                  </a:lnTo>
                  <a:lnTo>
                    <a:pt x="316" y="87"/>
                  </a:lnTo>
                  <a:lnTo>
                    <a:pt x="316" y="95"/>
                  </a:lnTo>
                  <a:lnTo>
                    <a:pt x="321" y="97"/>
                  </a:lnTo>
                  <a:lnTo>
                    <a:pt x="323" y="102"/>
                  </a:lnTo>
                  <a:lnTo>
                    <a:pt x="326" y="109"/>
                  </a:lnTo>
                  <a:lnTo>
                    <a:pt x="321" y="111"/>
                  </a:lnTo>
                  <a:lnTo>
                    <a:pt x="316" y="109"/>
                  </a:lnTo>
                  <a:lnTo>
                    <a:pt x="314" y="106"/>
                  </a:lnTo>
                  <a:lnTo>
                    <a:pt x="309" y="106"/>
                  </a:lnTo>
                  <a:lnTo>
                    <a:pt x="300" y="106"/>
                  </a:lnTo>
                  <a:lnTo>
                    <a:pt x="293" y="104"/>
                  </a:lnTo>
                  <a:lnTo>
                    <a:pt x="286" y="111"/>
                  </a:lnTo>
                  <a:lnTo>
                    <a:pt x="281" y="111"/>
                  </a:lnTo>
                  <a:lnTo>
                    <a:pt x="281" y="109"/>
                  </a:lnTo>
                  <a:lnTo>
                    <a:pt x="281" y="109"/>
                  </a:lnTo>
                  <a:lnTo>
                    <a:pt x="281" y="106"/>
                  </a:lnTo>
                  <a:lnTo>
                    <a:pt x="279" y="106"/>
                  </a:lnTo>
                  <a:lnTo>
                    <a:pt x="276" y="109"/>
                  </a:lnTo>
                  <a:lnTo>
                    <a:pt x="271" y="111"/>
                  </a:lnTo>
                  <a:lnTo>
                    <a:pt x="260" y="111"/>
                  </a:lnTo>
                  <a:lnTo>
                    <a:pt x="257" y="111"/>
                  </a:lnTo>
                  <a:lnTo>
                    <a:pt x="255" y="111"/>
                  </a:lnTo>
                  <a:lnTo>
                    <a:pt x="250" y="113"/>
                  </a:lnTo>
                  <a:lnTo>
                    <a:pt x="245" y="116"/>
                  </a:lnTo>
                  <a:lnTo>
                    <a:pt x="243" y="116"/>
                  </a:lnTo>
                  <a:lnTo>
                    <a:pt x="238" y="118"/>
                  </a:lnTo>
                  <a:lnTo>
                    <a:pt x="238" y="118"/>
                  </a:lnTo>
                  <a:lnTo>
                    <a:pt x="227" y="121"/>
                  </a:lnTo>
                  <a:lnTo>
                    <a:pt x="220" y="118"/>
                  </a:lnTo>
                  <a:lnTo>
                    <a:pt x="215" y="116"/>
                  </a:lnTo>
                  <a:lnTo>
                    <a:pt x="212" y="116"/>
                  </a:lnTo>
                  <a:lnTo>
                    <a:pt x="208" y="116"/>
                  </a:lnTo>
                  <a:lnTo>
                    <a:pt x="205" y="118"/>
                  </a:lnTo>
                  <a:lnTo>
                    <a:pt x="201" y="121"/>
                  </a:lnTo>
                  <a:lnTo>
                    <a:pt x="198" y="121"/>
                  </a:lnTo>
                  <a:lnTo>
                    <a:pt x="198" y="121"/>
                  </a:lnTo>
                  <a:lnTo>
                    <a:pt x="194" y="121"/>
                  </a:lnTo>
                  <a:lnTo>
                    <a:pt x="189" y="121"/>
                  </a:lnTo>
                  <a:lnTo>
                    <a:pt x="189" y="121"/>
                  </a:lnTo>
                  <a:lnTo>
                    <a:pt x="189" y="121"/>
                  </a:lnTo>
                  <a:lnTo>
                    <a:pt x="189" y="118"/>
                  </a:lnTo>
                  <a:lnTo>
                    <a:pt x="189" y="118"/>
                  </a:lnTo>
                  <a:lnTo>
                    <a:pt x="189" y="118"/>
                  </a:lnTo>
                  <a:lnTo>
                    <a:pt x="184" y="118"/>
                  </a:lnTo>
                  <a:lnTo>
                    <a:pt x="184" y="118"/>
                  </a:lnTo>
                  <a:lnTo>
                    <a:pt x="182" y="121"/>
                  </a:lnTo>
                  <a:lnTo>
                    <a:pt x="182" y="121"/>
                  </a:lnTo>
                  <a:lnTo>
                    <a:pt x="182" y="123"/>
                  </a:lnTo>
                  <a:lnTo>
                    <a:pt x="182" y="125"/>
                  </a:lnTo>
                  <a:lnTo>
                    <a:pt x="184" y="130"/>
                  </a:lnTo>
                  <a:lnTo>
                    <a:pt x="184" y="130"/>
                  </a:lnTo>
                  <a:lnTo>
                    <a:pt x="182" y="130"/>
                  </a:lnTo>
                  <a:lnTo>
                    <a:pt x="179" y="130"/>
                  </a:lnTo>
                  <a:lnTo>
                    <a:pt x="177" y="132"/>
                  </a:lnTo>
                  <a:lnTo>
                    <a:pt x="177" y="132"/>
                  </a:lnTo>
                  <a:lnTo>
                    <a:pt x="177" y="135"/>
                  </a:lnTo>
                  <a:lnTo>
                    <a:pt x="177" y="137"/>
                  </a:lnTo>
                  <a:lnTo>
                    <a:pt x="175" y="137"/>
                  </a:lnTo>
                  <a:lnTo>
                    <a:pt x="175" y="139"/>
                  </a:lnTo>
                  <a:lnTo>
                    <a:pt x="172" y="137"/>
                  </a:lnTo>
                  <a:lnTo>
                    <a:pt x="172" y="137"/>
                  </a:lnTo>
                  <a:lnTo>
                    <a:pt x="170" y="137"/>
                  </a:lnTo>
                  <a:lnTo>
                    <a:pt x="170" y="13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59" name="Freeform 601">
              <a:extLst>
                <a:ext uri="{FF2B5EF4-FFF2-40B4-BE49-F238E27FC236}">
                  <a16:creationId xmlns:a16="http://schemas.microsoft.com/office/drawing/2014/main" id="{5C18DF44-1159-4EC3-8998-22609964724B}"/>
                </a:ext>
              </a:extLst>
            </p:cNvPr>
            <p:cNvSpPr>
              <a:spLocks/>
            </p:cNvSpPr>
            <p:nvPr/>
          </p:nvSpPr>
          <p:spPr bwMode="auto">
            <a:xfrm>
              <a:off x="2564653" y="3660741"/>
              <a:ext cx="49213" cy="47626"/>
            </a:xfrm>
            <a:custGeom>
              <a:avLst/>
              <a:gdLst>
                <a:gd name="T0" fmla="*/ 31 w 31"/>
                <a:gd name="T1" fmla="*/ 30 h 30"/>
                <a:gd name="T2" fmla="*/ 31 w 31"/>
                <a:gd name="T3" fmla="*/ 28 h 30"/>
                <a:gd name="T4" fmla="*/ 31 w 31"/>
                <a:gd name="T5" fmla="*/ 26 h 30"/>
                <a:gd name="T6" fmla="*/ 29 w 31"/>
                <a:gd name="T7" fmla="*/ 23 h 30"/>
                <a:gd name="T8" fmla="*/ 26 w 31"/>
                <a:gd name="T9" fmla="*/ 16 h 30"/>
                <a:gd name="T10" fmla="*/ 24 w 31"/>
                <a:gd name="T11" fmla="*/ 16 h 30"/>
                <a:gd name="T12" fmla="*/ 21 w 31"/>
                <a:gd name="T13" fmla="*/ 16 h 30"/>
                <a:gd name="T14" fmla="*/ 21 w 31"/>
                <a:gd name="T15" fmla="*/ 14 h 30"/>
                <a:gd name="T16" fmla="*/ 21 w 31"/>
                <a:gd name="T17" fmla="*/ 14 h 30"/>
                <a:gd name="T18" fmla="*/ 24 w 31"/>
                <a:gd name="T19" fmla="*/ 11 h 30"/>
                <a:gd name="T20" fmla="*/ 29 w 31"/>
                <a:gd name="T21" fmla="*/ 11 h 30"/>
                <a:gd name="T22" fmla="*/ 31 w 31"/>
                <a:gd name="T23" fmla="*/ 9 h 30"/>
                <a:gd name="T24" fmla="*/ 31 w 31"/>
                <a:gd name="T25" fmla="*/ 7 h 30"/>
                <a:gd name="T26" fmla="*/ 31 w 31"/>
                <a:gd name="T27" fmla="*/ 7 h 30"/>
                <a:gd name="T28" fmla="*/ 26 w 31"/>
                <a:gd name="T29" fmla="*/ 4 h 30"/>
                <a:gd name="T30" fmla="*/ 26 w 31"/>
                <a:gd name="T31" fmla="*/ 2 h 30"/>
                <a:gd name="T32" fmla="*/ 26 w 31"/>
                <a:gd name="T33" fmla="*/ 2 h 30"/>
                <a:gd name="T34" fmla="*/ 21 w 31"/>
                <a:gd name="T35" fmla="*/ 2 h 30"/>
                <a:gd name="T36" fmla="*/ 19 w 31"/>
                <a:gd name="T37" fmla="*/ 0 h 30"/>
                <a:gd name="T38" fmla="*/ 14 w 31"/>
                <a:gd name="T39" fmla="*/ 2 h 30"/>
                <a:gd name="T40" fmla="*/ 10 w 31"/>
                <a:gd name="T41" fmla="*/ 9 h 30"/>
                <a:gd name="T42" fmla="*/ 7 w 31"/>
                <a:gd name="T43" fmla="*/ 14 h 30"/>
                <a:gd name="T44" fmla="*/ 0 w 31"/>
                <a:gd name="T45" fmla="*/ 21 h 30"/>
                <a:gd name="T46" fmla="*/ 3 w 31"/>
                <a:gd name="T47" fmla="*/ 21 h 30"/>
                <a:gd name="T48" fmla="*/ 10 w 31"/>
                <a:gd name="T49" fmla="*/ 21 h 30"/>
                <a:gd name="T50" fmla="*/ 17 w 31"/>
                <a:gd name="T51" fmla="*/ 23 h 30"/>
                <a:gd name="T52" fmla="*/ 19 w 31"/>
                <a:gd name="T53" fmla="*/ 26 h 30"/>
                <a:gd name="T54" fmla="*/ 21 w 31"/>
                <a:gd name="T55" fmla="*/ 30 h 30"/>
                <a:gd name="T56" fmla="*/ 31 w 31"/>
                <a:gd name="T5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30">
                  <a:moveTo>
                    <a:pt x="31" y="30"/>
                  </a:moveTo>
                  <a:lnTo>
                    <a:pt x="31" y="28"/>
                  </a:lnTo>
                  <a:lnTo>
                    <a:pt x="31" y="26"/>
                  </a:lnTo>
                  <a:lnTo>
                    <a:pt x="29" y="23"/>
                  </a:lnTo>
                  <a:lnTo>
                    <a:pt x="26" y="16"/>
                  </a:lnTo>
                  <a:lnTo>
                    <a:pt x="24" y="16"/>
                  </a:lnTo>
                  <a:lnTo>
                    <a:pt x="21" y="16"/>
                  </a:lnTo>
                  <a:lnTo>
                    <a:pt x="21" y="14"/>
                  </a:lnTo>
                  <a:lnTo>
                    <a:pt x="21" y="14"/>
                  </a:lnTo>
                  <a:lnTo>
                    <a:pt x="24" y="11"/>
                  </a:lnTo>
                  <a:lnTo>
                    <a:pt x="29" y="11"/>
                  </a:lnTo>
                  <a:lnTo>
                    <a:pt x="31" y="9"/>
                  </a:lnTo>
                  <a:lnTo>
                    <a:pt x="31" y="7"/>
                  </a:lnTo>
                  <a:lnTo>
                    <a:pt x="31" y="7"/>
                  </a:lnTo>
                  <a:lnTo>
                    <a:pt x="26" y="4"/>
                  </a:lnTo>
                  <a:lnTo>
                    <a:pt x="26" y="2"/>
                  </a:lnTo>
                  <a:lnTo>
                    <a:pt x="26" y="2"/>
                  </a:lnTo>
                  <a:lnTo>
                    <a:pt x="21" y="2"/>
                  </a:lnTo>
                  <a:lnTo>
                    <a:pt x="19" y="0"/>
                  </a:lnTo>
                  <a:lnTo>
                    <a:pt x="14" y="2"/>
                  </a:lnTo>
                  <a:lnTo>
                    <a:pt x="10" y="9"/>
                  </a:lnTo>
                  <a:lnTo>
                    <a:pt x="7" y="14"/>
                  </a:lnTo>
                  <a:lnTo>
                    <a:pt x="0" y="21"/>
                  </a:lnTo>
                  <a:lnTo>
                    <a:pt x="3" y="21"/>
                  </a:lnTo>
                  <a:lnTo>
                    <a:pt x="10" y="21"/>
                  </a:lnTo>
                  <a:lnTo>
                    <a:pt x="17" y="23"/>
                  </a:lnTo>
                  <a:lnTo>
                    <a:pt x="19" y="26"/>
                  </a:lnTo>
                  <a:lnTo>
                    <a:pt x="21" y="30"/>
                  </a:lnTo>
                  <a:lnTo>
                    <a:pt x="31" y="3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0" name="Freeform 602">
              <a:extLst>
                <a:ext uri="{FF2B5EF4-FFF2-40B4-BE49-F238E27FC236}">
                  <a16:creationId xmlns:a16="http://schemas.microsoft.com/office/drawing/2014/main" id="{754F5FF1-3C0A-4D98-BD01-13AEC17D3221}"/>
                </a:ext>
              </a:extLst>
            </p:cNvPr>
            <p:cNvSpPr>
              <a:spLocks/>
            </p:cNvSpPr>
            <p:nvPr/>
          </p:nvSpPr>
          <p:spPr bwMode="auto">
            <a:xfrm>
              <a:off x="2564653" y="3660741"/>
              <a:ext cx="49213" cy="47626"/>
            </a:xfrm>
            <a:custGeom>
              <a:avLst/>
              <a:gdLst>
                <a:gd name="T0" fmla="*/ 31 w 31"/>
                <a:gd name="T1" fmla="*/ 30 h 30"/>
                <a:gd name="T2" fmla="*/ 31 w 31"/>
                <a:gd name="T3" fmla="*/ 28 h 30"/>
                <a:gd name="T4" fmla="*/ 31 w 31"/>
                <a:gd name="T5" fmla="*/ 26 h 30"/>
                <a:gd name="T6" fmla="*/ 29 w 31"/>
                <a:gd name="T7" fmla="*/ 23 h 30"/>
                <a:gd name="T8" fmla="*/ 26 w 31"/>
                <a:gd name="T9" fmla="*/ 16 h 30"/>
                <a:gd name="T10" fmla="*/ 24 w 31"/>
                <a:gd name="T11" fmla="*/ 16 h 30"/>
                <a:gd name="T12" fmla="*/ 21 w 31"/>
                <a:gd name="T13" fmla="*/ 16 h 30"/>
                <a:gd name="T14" fmla="*/ 21 w 31"/>
                <a:gd name="T15" fmla="*/ 14 h 30"/>
                <a:gd name="T16" fmla="*/ 21 w 31"/>
                <a:gd name="T17" fmla="*/ 14 h 30"/>
                <a:gd name="T18" fmla="*/ 24 w 31"/>
                <a:gd name="T19" fmla="*/ 11 h 30"/>
                <a:gd name="T20" fmla="*/ 29 w 31"/>
                <a:gd name="T21" fmla="*/ 11 h 30"/>
                <a:gd name="T22" fmla="*/ 31 w 31"/>
                <a:gd name="T23" fmla="*/ 9 h 30"/>
                <a:gd name="T24" fmla="*/ 31 w 31"/>
                <a:gd name="T25" fmla="*/ 7 h 30"/>
                <a:gd name="T26" fmla="*/ 31 w 31"/>
                <a:gd name="T27" fmla="*/ 7 h 30"/>
                <a:gd name="T28" fmla="*/ 26 w 31"/>
                <a:gd name="T29" fmla="*/ 4 h 30"/>
                <a:gd name="T30" fmla="*/ 26 w 31"/>
                <a:gd name="T31" fmla="*/ 2 h 30"/>
                <a:gd name="T32" fmla="*/ 26 w 31"/>
                <a:gd name="T33" fmla="*/ 2 h 30"/>
                <a:gd name="T34" fmla="*/ 21 w 31"/>
                <a:gd name="T35" fmla="*/ 2 h 30"/>
                <a:gd name="T36" fmla="*/ 19 w 31"/>
                <a:gd name="T37" fmla="*/ 0 h 30"/>
                <a:gd name="T38" fmla="*/ 14 w 31"/>
                <a:gd name="T39" fmla="*/ 2 h 30"/>
                <a:gd name="T40" fmla="*/ 10 w 31"/>
                <a:gd name="T41" fmla="*/ 9 h 30"/>
                <a:gd name="T42" fmla="*/ 7 w 31"/>
                <a:gd name="T43" fmla="*/ 14 h 30"/>
                <a:gd name="T44" fmla="*/ 0 w 31"/>
                <a:gd name="T45" fmla="*/ 21 h 30"/>
                <a:gd name="T46" fmla="*/ 3 w 31"/>
                <a:gd name="T47" fmla="*/ 21 h 30"/>
                <a:gd name="T48" fmla="*/ 10 w 31"/>
                <a:gd name="T49" fmla="*/ 21 h 30"/>
                <a:gd name="T50" fmla="*/ 17 w 31"/>
                <a:gd name="T51" fmla="*/ 23 h 30"/>
                <a:gd name="T52" fmla="*/ 19 w 31"/>
                <a:gd name="T53" fmla="*/ 26 h 30"/>
                <a:gd name="T54" fmla="*/ 21 w 31"/>
                <a:gd name="T55" fmla="*/ 30 h 30"/>
                <a:gd name="T56" fmla="*/ 31 w 31"/>
                <a:gd name="T5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30">
                  <a:moveTo>
                    <a:pt x="31" y="30"/>
                  </a:moveTo>
                  <a:lnTo>
                    <a:pt x="31" y="28"/>
                  </a:lnTo>
                  <a:lnTo>
                    <a:pt x="31" y="26"/>
                  </a:lnTo>
                  <a:lnTo>
                    <a:pt x="29" y="23"/>
                  </a:lnTo>
                  <a:lnTo>
                    <a:pt x="26" y="16"/>
                  </a:lnTo>
                  <a:lnTo>
                    <a:pt x="24" y="16"/>
                  </a:lnTo>
                  <a:lnTo>
                    <a:pt x="21" y="16"/>
                  </a:lnTo>
                  <a:lnTo>
                    <a:pt x="21" y="14"/>
                  </a:lnTo>
                  <a:lnTo>
                    <a:pt x="21" y="14"/>
                  </a:lnTo>
                  <a:lnTo>
                    <a:pt x="24" y="11"/>
                  </a:lnTo>
                  <a:lnTo>
                    <a:pt x="29" y="11"/>
                  </a:lnTo>
                  <a:lnTo>
                    <a:pt x="31" y="9"/>
                  </a:lnTo>
                  <a:lnTo>
                    <a:pt x="31" y="7"/>
                  </a:lnTo>
                  <a:lnTo>
                    <a:pt x="31" y="7"/>
                  </a:lnTo>
                  <a:lnTo>
                    <a:pt x="26" y="4"/>
                  </a:lnTo>
                  <a:lnTo>
                    <a:pt x="26" y="2"/>
                  </a:lnTo>
                  <a:lnTo>
                    <a:pt x="26" y="2"/>
                  </a:lnTo>
                  <a:lnTo>
                    <a:pt x="21" y="2"/>
                  </a:lnTo>
                  <a:lnTo>
                    <a:pt x="19" y="0"/>
                  </a:lnTo>
                  <a:lnTo>
                    <a:pt x="14" y="2"/>
                  </a:lnTo>
                  <a:lnTo>
                    <a:pt x="10" y="9"/>
                  </a:lnTo>
                  <a:lnTo>
                    <a:pt x="7" y="14"/>
                  </a:lnTo>
                  <a:lnTo>
                    <a:pt x="0" y="21"/>
                  </a:lnTo>
                  <a:lnTo>
                    <a:pt x="3" y="21"/>
                  </a:lnTo>
                  <a:lnTo>
                    <a:pt x="10" y="21"/>
                  </a:lnTo>
                  <a:lnTo>
                    <a:pt x="17" y="23"/>
                  </a:lnTo>
                  <a:lnTo>
                    <a:pt x="19" y="26"/>
                  </a:lnTo>
                  <a:lnTo>
                    <a:pt x="21" y="30"/>
                  </a:lnTo>
                  <a:lnTo>
                    <a:pt x="31" y="3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1" name="Freeform 603">
              <a:extLst>
                <a:ext uri="{FF2B5EF4-FFF2-40B4-BE49-F238E27FC236}">
                  <a16:creationId xmlns:a16="http://schemas.microsoft.com/office/drawing/2014/main" id="{7C0D9B85-9DB8-4870-AF50-A0C6132CE370}"/>
                </a:ext>
              </a:extLst>
            </p:cNvPr>
            <p:cNvSpPr>
              <a:spLocks/>
            </p:cNvSpPr>
            <p:nvPr/>
          </p:nvSpPr>
          <p:spPr bwMode="auto">
            <a:xfrm>
              <a:off x="2688477" y="3787742"/>
              <a:ext cx="146050" cy="107950"/>
            </a:xfrm>
            <a:custGeom>
              <a:avLst/>
              <a:gdLst>
                <a:gd name="T0" fmla="*/ 71 w 92"/>
                <a:gd name="T1" fmla="*/ 68 h 68"/>
                <a:gd name="T2" fmla="*/ 12 w 92"/>
                <a:gd name="T3" fmla="*/ 42 h 68"/>
                <a:gd name="T4" fmla="*/ 0 w 92"/>
                <a:gd name="T5" fmla="*/ 28 h 68"/>
                <a:gd name="T6" fmla="*/ 7 w 92"/>
                <a:gd name="T7" fmla="*/ 28 h 68"/>
                <a:gd name="T8" fmla="*/ 7 w 92"/>
                <a:gd name="T9" fmla="*/ 31 h 68"/>
                <a:gd name="T10" fmla="*/ 7 w 92"/>
                <a:gd name="T11" fmla="*/ 33 h 68"/>
                <a:gd name="T12" fmla="*/ 10 w 92"/>
                <a:gd name="T13" fmla="*/ 35 h 68"/>
                <a:gd name="T14" fmla="*/ 12 w 92"/>
                <a:gd name="T15" fmla="*/ 33 h 68"/>
                <a:gd name="T16" fmla="*/ 14 w 92"/>
                <a:gd name="T17" fmla="*/ 38 h 68"/>
                <a:gd name="T18" fmla="*/ 24 w 92"/>
                <a:gd name="T19" fmla="*/ 40 h 68"/>
                <a:gd name="T20" fmla="*/ 26 w 92"/>
                <a:gd name="T21" fmla="*/ 38 h 68"/>
                <a:gd name="T22" fmla="*/ 36 w 92"/>
                <a:gd name="T23" fmla="*/ 35 h 68"/>
                <a:gd name="T24" fmla="*/ 40 w 92"/>
                <a:gd name="T25" fmla="*/ 38 h 68"/>
                <a:gd name="T26" fmla="*/ 52 w 92"/>
                <a:gd name="T27" fmla="*/ 38 h 68"/>
                <a:gd name="T28" fmla="*/ 54 w 92"/>
                <a:gd name="T29" fmla="*/ 35 h 68"/>
                <a:gd name="T30" fmla="*/ 59 w 92"/>
                <a:gd name="T31" fmla="*/ 33 h 68"/>
                <a:gd name="T32" fmla="*/ 59 w 92"/>
                <a:gd name="T33" fmla="*/ 33 h 68"/>
                <a:gd name="T34" fmla="*/ 59 w 92"/>
                <a:gd name="T35" fmla="*/ 31 h 68"/>
                <a:gd name="T36" fmla="*/ 62 w 92"/>
                <a:gd name="T37" fmla="*/ 31 h 68"/>
                <a:gd name="T38" fmla="*/ 64 w 92"/>
                <a:gd name="T39" fmla="*/ 28 h 68"/>
                <a:gd name="T40" fmla="*/ 64 w 92"/>
                <a:gd name="T41" fmla="*/ 26 h 68"/>
                <a:gd name="T42" fmla="*/ 64 w 92"/>
                <a:gd name="T43" fmla="*/ 23 h 68"/>
                <a:gd name="T44" fmla="*/ 69 w 92"/>
                <a:gd name="T45" fmla="*/ 21 h 68"/>
                <a:gd name="T46" fmla="*/ 71 w 92"/>
                <a:gd name="T47" fmla="*/ 19 h 68"/>
                <a:gd name="T48" fmla="*/ 76 w 92"/>
                <a:gd name="T49" fmla="*/ 14 h 68"/>
                <a:gd name="T50" fmla="*/ 76 w 92"/>
                <a:gd name="T51" fmla="*/ 14 h 68"/>
                <a:gd name="T52" fmla="*/ 78 w 92"/>
                <a:gd name="T53" fmla="*/ 12 h 68"/>
                <a:gd name="T54" fmla="*/ 78 w 92"/>
                <a:gd name="T55" fmla="*/ 9 h 68"/>
                <a:gd name="T56" fmla="*/ 80 w 92"/>
                <a:gd name="T57" fmla="*/ 9 h 68"/>
                <a:gd name="T58" fmla="*/ 88 w 92"/>
                <a:gd name="T59" fmla="*/ 2 h 68"/>
                <a:gd name="T60" fmla="*/ 88 w 92"/>
                <a:gd name="T61" fmla="*/ 0 h 68"/>
                <a:gd name="T62" fmla="*/ 88 w 92"/>
                <a:gd name="T63" fmla="*/ 5 h 68"/>
                <a:gd name="T64" fmla="*/ 88 w 92"/>
                <a:gd name="T65" fmla="*/ 7 h 68"/>
                <a:gd name="T66" fmla="*/ 92 w 92"/>
                <a:gd name="T67" fmla="*/ 7 h 68"/>
                <a:gd name="T68" fmla="*/ 92 w 92"/>
                <a:gd name="T69" fmla="*/ 21 h 68"/>
                <a:gd name="T70" fmla="*/ 83 w 92"/>
                <a:gd name="T71" fmla="*/ 23 h 68"/>
                <a:gd name="T72" fmla="*/ 76 w 92"/>
                <a:gd name="T7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68">
                  <a:moveTo>
                    <a:pt x="73" y="64"/>
                  </a:moveTo>
                  <a:lnTo>
                    <a:pt x="71" y="68"/>
                  </a:lnTo>
                  <a:lnTo>
                    <a:pt x="17" y="59"/>
                  </a:lnTo>
                  <a:lnTo>
                    <a:pt x="12" y="42"/>
                  </a:lnTo>
                  <a:lnTo>
                    <a:pt x="2" y="33"/>
                  </a:lnTo>
                  <a:lnTo>
                    <a:pt x="0" y="28"/>
                  </a:lnTo>
                  <a:lnTo>
                    <a:pt x="7" y="26"/>
                  </a:lnTo>
                  <a:lnTo>
                    <a:pt x="7" y="28"/>
                  </a:lnTo>
                  <a:lnTo>
                    <a:pt x="7" y="28"/>
                  </a:lnTo>
                  <a:lnTo>
                    <a:pt x="7" y="31"/>
                  </a:lnTo>
                  <a:lnTo>
                    <a:pt x="7" y="31"/>
                  </a:lnTo>
                  <a:lnTo>
                    <a:pt x="7" y="33"/>
                  </a:lnTo>
                  <a:lnTo>
                    <a:pt x="10" y="33"/>
                  </a:lnTo>
                  <a:lnTo>
                    <a:pt x="10" y="35"/>
                  </a:lnTo>
                  <a:lnTo>
                    <a:pt x="12" y="33"/>
                  </a:lnTo>
                  <a:lnTo>
                    <a:pt x="12" y="33"/>
                  </a:lnTo>
                  <a:lnTo>
                    <a:pt x="12" y="38"/>
                  </a:lnTo>
                  <a:lnTo>
                    <a:pt x="14" y="38"/>
                  </a:lnTo>
                  <a:lnTo>
                    <a:pt x="19" y="40"/>
                  </a:lnTo>
                  <a:lnTo>
                    <a:pt x="24" y="40"/>
                  </a:lnTo>
                  <a:lnTo>
                    <a:pt x="24" y="38"/>
                  </a:lnTo>
                  <a:lnTo>
                    <a:pt x="26" y="38"/>
                  </a:lnTo>
                  <a:lnTo>
                    <a:pt x="28" y="35"/>
                  </a:lnTo>
                  <a:lnTo>
                    <a:pt x="36" y="35"/>
                  </a:lnTo>
                  <a:lnTo>
                    <a:pt x="38" y="38"/>
                  </a:lnTo>
                  <a:lnTo>
                    <a:pt x="40" y="38"/>
                  </a:lnTo>
                  <a:lnTo>
                    <a:pt x="45" y="38"/>
                  </a:lnTo>
                  <a:lnTo>
                    <a:pt x="52" y="38"/>
                  </a:lnTo>
                  <a:lnTo>
                    <a:pt x="52" y="35"/>
                  </a:lnTo>
                  <a:lnTo>
                    <a:pt x="54" y="35"/>
                  </a:lnTo>
                  <a:lnTo>
                    <a:pt x="57" y="33"/>
                  </a:lnTo>
                  <a:lnTo>
                    <a:pt x="59" y="33"/>
                  </a:lnTo>
                  <a:lnTo>
                    <a:pt x="59" y="33"/>
                  </a:lnTo>
                  <a:lnTo>
                    <a:pt x="59" y="33"/>
                  </a:lnTo>
                  <a:lnTo>
                    <a:pt x="59" y="31"/>
                  </a:lnTo>
                  <a:lnTo>
                    <a:pt x="59" y="31"/>
                  </a:lnTo>
                  <a:lnTo>
                    <a:pt x="59" y="31"/>
                  </a:lnTo>
                  <a:lnTo>
                    <a:pt x="62" y="31"/>
                  </a:lnTo>
                  <a:lnTo>
                    <a:pt x="62" y="28"/>
                  </a:lnTo>
                  <a:lnTo>
                    <a:pt x="64" y="28"/>
                  </a:lnTo>
                  <a:lnTo>
                    <a:pt x="62" y="28"/>
                  </a:lnTo>
                  <a:lnTo>
                    <a:pt x="64" y="26"/>
                  </a:lnTo>
                  <a:lnTo>
                    <a:pt x="64" y="26"/>
                  </a:lnTo>
                  <a:lnTo>
                    <a:pt x="64" y="23"/>
                  </a:lnTo>
                  <a:lnTo>
                    <a:pt x="69" y="23"/>
                  </a:lnTo>
                  <a:lnTo>
                    <a:pt x="69" y="21"/>
                  </a:lnTo>
                  <a:lnTo>
                    <a:pt x="71" y="19"/>
                  </a:lnTo>
                  <a:lnTo>
                    <a:pt x="71" y="19"/>
                  </a:lnTo>
                  <a:lnTo>
                    <a:pt x="73" y="16"/>
                  </a:lnTo>
                  <a:lnTo>
                    <a:pt x="76" y="14"/>
                  </a:lnTo>
                  <a:lnTo>
                    <a:pt x="76" y="14"/>
                  </a:lnTo>
                  <a:lnTo>
                    <a:pt x="76" y="14"/>
                  </a:lnTo>
                  <a:lnTo>
                    <a:pt x="78" y="14"/>
                  </a:lnTo>
                  <a:lnTo>
                    <a:pt x="78" y="12"/>
                  </a:lnTo>
                  <a:lnTo>
                    <a:pt x="78" y="9"/>
                  </a:lnTo>
                  <a:lnTo>
                    <a:pt x="78" y="9"/>
                  </a:lnTo>
                  <a:lnTo>
                    <a:pt x="80" y="9"/>
                  </a:lnTo>
                  <a:lnTo>
                    <a:pt x="80" y="9"/>
                  </a:lnTo>
                  <a:lnTo>
                    <a:pt x="83" y="7"/>
                  </a:lnTo>
                  <a:lnTo>
                    <a:pt x="88" y="2"/>
                  </a:lnTo>
                  <a:lnTo>
                    <a:pt x="88" y="0"/>
                  </a:lnTo>
                  <a:lnTo>
                    <a:pt x="88" y="0"/>
                  </a:lnTo>
                  <a:lnTo>
                    <a:pt x="90" y="2"/>
                  </a:lnTo>
                  <a:lnTo>
                    <a:pt x="88" y="5"/>
                  </a:lnTo>
                  <a:lnTo>
                    <a:pt x="90" y="5"/>
                  </a:lnTo>
                  <a:lnTo>
                    <a:pt x="88" y="7"/>
                  </a:lnTo>
                  <a:lnTo>
                    <a:pt x="90" y="7"/>
                  </a:lnTo>
                  <a:lnTo>
                    <a:pt x="92" y="7"/>
                  </a:lnTo>
                  <a:lnTo>
                    <a:pt x="92" y="9"/>
                  </a:lnTo>
                  <a:lnTo>
                    <a:pt x="92" y="21"/>
                  </a:lnTo>
                  <a:lnTo>
                    <a:pt x="92" y="23"/>
                  </a:lnTo>
                  <a:lnTo>
                    <a:pt x="83" y="23"/>
                  </a:lnTo>
                  <a:lnTo>
                    <a:pt x="88" y="38"/>
                  </a:lnTo>
                  <a:lnTo>
                    <a:pt x="76" y="42"/>
                  </a:lnTo>
                  <a:lnTo>
                    <a:pt x="73" y="6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2" name="Freeform 604">
              <a:extLst>
                <a:ext uri="{FF2B5EF4-FFF2-40B4-BE49-F238E27FC236}">
                  <a16:creationId xmlns:a16="http://schemas.microsoft.com/office/drawing/2014/main" id="{197D2A92-B9EC-499C-B2B8-D5E8C470BEAA}"/>
                </a:ext>
              </a:extLst>
            </p:cNvPr>
            <p:cNvSpPr>
              <a:spLocks/>
            </p:cNvSpPr>
            <p:nvPr/>
          </p:nvSpPr>
          <p:spPr bwMode="auto">
            <a:xfrm>
              <a:off x="2688477" y="3787742"/>
              <a:ext cx="146050" cy="107950"/>
            </a:xfrm>
            <a:custGeom>
              <a:avLst/>
              <a:gdLst>
                <a:gd name="T0" fmla="*/ 71 w 92"/>
                <a:gd name="T1" fmla="*/ 68 h 68"/>
                <a:gd name="T2" fmla="*/ 12 w 92"/>
                <a:gd name="T3" fmla="*/ 42 h 68"/>
                <a:gd name="T4" fmla="*/ 0 w 92"/>
                <a:gd name="T5" fmla="*/ 28 h 68"/>
                <a:gd name="T6" fmla="*/ 7 w 92"/>
                <a:gd name="T7" fmla="*/ 28 h 68"/>
                <a:gd name="T8" fmla="*/ 7 w 92"/>
                <a:gd name="T9" fmla="*/ 31 h 68"/>
                <a:gd name="T10" fmla="*/ 7 w 92"/>
                <a:gd name="T11" fmla="*/ 33 h 68"/>
                <a:gd name="T12" fmla="*/ 10 w 92"/>
                <a:gd name="T13" fmla="*/ 35 h 68"/>
                <a:gd name="T14" fmla="*/ 12 w 92"/>
                <a:gd name="T15" fmla="*/ 33 h 68"/>
                <a:gd name="T16" fmla="*/ 14 w 92"/>
                <a:gd name="T17" fmla="*/ 38 h 68"/>
                <a:gd name="T18" fmla="*/ 24 w 92"/>
                <a:gd name="T19" fmla="*/ 40 h 68"/>
                <a:gd name="T20" fmla="*/ 26 w 92"/>
                <a:gd name="T21" fmla="*/ 38 h 68"/>
                <a:gd name="T22" fmla="*/ 36 w 92"/>
                <a:gd name="T23" fmla="*/ 35 h 68"/>
                <a:gd name="T24" fmla="*/ 40 w 92"/>
                <a:gd name="T25" fmla="*/ 38 h 68"/>
                <a:gd name="T26" fmla="*/ 52 w 92"/>
                <a:gd name="T27" fmla="*/ 38 h 68"/>
                <a:gd name="T28" fmla="*/ 54 w 92"/>
                <a:gd name="T29" fmla="*/ 35 h 68"/>
                <a:gd name="T30" fmla="*/ 59 w 92"/>
                <a:gd name="T31" fmla="*/ 33 h 68"/>
                <a:gd name="T32" fmla="*/ 59 w 92"/>
                <a:gd name="T33" fmla="*/ 33 h 68"/>
                <a:gd name="T34" fmla="*/ 59 w 92"/>
                <a:gd name="T35" fmla="*/ 31 h 68"/>
                <a:gd name="T36" fmla="*/ 62 w 92"/>
                <a:gd name="T37" fmla="*/ 31 h 68"/>
                <a:gd name="T38" fmla="*/ 64 w 92"/>
                <a:gd name="T39" fmla="*/ 28 h 68"/>
                <a:gd name="T40" fmla="*/ 64 w 92"/>
                <a:gd name="T41" fmla="*/ 26 h 68"/>
                <a:gd name="T42" fmla="*/ 64 w 92"/>
                <a:gd name="T43" fmla="*/ 23 h 68"/>
                <a:gd name="T44" fmla="*/ 69 w 92"/>
                <a:gd name="T45" fmla="*/ 21 h 68"/>
                <a:gd name="T46" fmla="*/ 71 w 92"/>
                <a:gd name="T47" fmla="*/ 19 h 68"/>
                <a:gd name="T48" fmla="*/ 76 w 92"/>
                <a:gd name="T49" fmla="*/ 14 h 68"/>
                <a:gd name="T50" fmla="*/ 76 w 92"/>
                <a:gd name="T51" fmla="*/ 14 h 68"/>
                <a:gd name="T52" fmla="*/ 78 w 92"/>
                <a:gd name="T53" fmla="*/ 12 h 68"/>
                <a:gd name="T54" fmla="*/ 78 w 92"/>
                <a:gd name="T55" fmla="*/ 9 h 68"/>
                <a:gd name="T56" fmla="*/ 80 w 92"/>
                <a:gd name="T57" fmla="*/ 9 h 68"/>
                <a:gd name="T58" fmla="*/ 88 w 92"/>
                <a:gd name="T59" fmla="*/ 2 h 68"/>
                <a:gd name="T60" fmla="*/ 88 w 92"/>
                <a:gd name="T61" fmla="*/ 0 h 68"/>
                <a:gd name="T62" fmla="*/ 88 w 92"/>
                <a:gd name="T63" fmla="*/ 5 h 68"/>
                <a:gd name="T64" fmla="*/ 88 w 92"/>
                <a:gd name="T65" fmla="*/ 7 h 68"/>
                <a:gd name="T66" fmla="*/ 92 w 92"/>
                <a:gd name="T67" fmla="*/ 7 h 68"/>
                <a:gd name="T68" fmla="*/ 92 w 92"/>
                <a:gd name="T69" fmla="*/ 21 h 68"/>
                <a:gd name="T70" fmla="*/ 83 w 92"/>
                <a:gd name="T71" fmla="*/ 23 h 68"/>
                <a:gd name="T72" fmla="*/ 76 w 92"/>
                <a:gd name="T7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68">
                  <a:moveTo>
                    <a:pt x="73" y="64"/>
                  </a:moveTo>
                  <a:lnTo>
                    <a:pt x="71" y="68"/>
                  </a:lnTo>
                  <a:lnTo>
                    <a:pt x="17" y="59"/>
                  </a:lnTo>
                  <a:lnTo>
                    <a:pt x="12" y="42"/>
                  </a:lnTo>
                  <a:lnTo>
                    <a:pt x="2" y="33"/>
                  </a:lnTo>
                  <a:lnTo>
                    <a:pt x="0" y="28"/>
                  </a:lnTo>
                  <a:lnTo>
                    <a:pt x="7" y="26"/>
                  </a:lnTo>
                  <a:lnTo>
                    <a:pt x="7" y="28"/>
                  </a:lnTo>
                  <a:lnTo>
                    <a:pt x="7" y="28"/>
                  </a:lnTo>
                  <a:lnTo>
                    <a:pt x="7" y="31"/>
                  </a:lnTo>
                  <a:lnTo>
                    <a:pt x="7" y="31"/>
                  </a:lnTo>
                  <a:lnTo>
                    <a:pt x="7" y="33"/>
                  </a:lnTo>
                  <a:lnTo>
                    <a:pt x="10" y="33"/>
                  </a:lnTo>
                  <a:lnTo>
                    <a:pt x="10" y="35"/>
                  </a:lnTo>
                  <a:lnTo>
                    <a:pt x="12" y="33"/>
                  </a:lnTo>
                  <a:lnTo>
                    <a:pt x="12" y="33"/>
                  </a:lnTo>
                  <a:lnTo>
                    <a:pt x="12" y="38"/>
                  </a:lnTo>
                  <a:lnTo>
                    <a:pt x="14" y="38"/>
                  </a:lnTo>
                  <a:lnTo>
                    <a:pt x="19" y="40"/>
                  </a:lnTo>
                  <a:lnTo>
                    <a:pt x="24" y="40"/>
                  </a:lnTo>
                  <a:lnTo>
                    <a:pt x="24" y="38"/>
                  </a:lnTo>
                  <a:lnTo>
                    <a:pt x="26" y="38"/>
                  </a:lnTo>
                  <a:lnTo>
                    <a:pt x="28" y="35"/>
                  </a:lnTo>
                  <a:lnTo>
                    <a:pt x="36" y="35"/>
                  </a:lnTo>
                  <a:lnTo>
                    <a:pt x="38" y="38"/>
                  </a:lnTo>
                  <a:lnTo>
                    <a:pt x="40" y="38"/>
                  </a:lnTo>
                  <a:lnTo>
                    <a:pt x="45" y="38"/>
                  </a:lnTo>
                  <a:lnTo>
                    <a:pt x="52" y="38"/>
                  </a:lnTo>
                  <a:lnTo>
                    <a:pt x="52" y="35"/>
                  </a:lnTo>
                  <a:lnTo>
                    <a:pt x="54" y="35"/>
                  </a:lnTo>
                  <a:lnTo>
                    <a:pt x="57" y="33"/>
                  </a:lnTo>
                  <a:lnTo>
                    <a:pt x="59" y="33"/>
                  </a:lnTo>
                  <a:lnTo>
                    <a:pt x="59" y="33"/>
                  </a:lnTo>
                  <a:lnTo>
                    <a:pt x="59" y="33"/>
                  </a:lnTo>
                  <a:lnTo>
                    <a:pt x="59" y="31"/>
                  </a:lnTo>
                  <a:lnTo>
                    <a:pt x="59" y="31"/>
                  </a:lnTo>
                  <a:lnTo>
                    <a:pt x="59" y="31"/>
                  </a:lnTo>
                  <a:lnTo>
                    <a:pt x="62" y="31"/>
                  </a:lnTo>
                  <a:lnTo>
                    <a:pt x="62" y="28"/>
                  </a:lnTo>
                  <a:lnTo>
                    <a:pt x="64" y="28"/>
                  </a:lnTo>
                  <a:lnTo>
                    <a:pt x="62" y="28"/>
                  </a:lnTo>
                  <a:lnTo>
                    <a:pt x="64" y="26"/>
                  </a:lnTo>
                  <a:lnTo>
                    <a:pt x="64" y="26"/>
                  </a:lnTo>
                  <a:lnTo>
                    <a:pt x="64" y="23"/>
                  </a:lnTo>
                  <a:lnTo>
                    <a:pt x="69" y="23"/>
                  </a:lnTo>
                  <a:lnTo>
                    <a:pt x="69" y="21"/>
                  </a:lnTo>
                  <a:lnTo>
                    <a:pt x="71" y="19"/>
                  </a:lnTo>
                  <a:lnTo>
                    <a:pt x="71" y="19"/>
                  </a:lnTo>
                  <a:lnTo>
                    <a:pt x="73" y="16"/>
                  </a:lnTo>
                  <a:lnTo>
                    <a:pt x="76" y="14"/>
                  </a:lnTo>
                  <a:lnTo>
                    <a:pt x="76" y="14"/>
                  </a:lnTo>
                  <a:lnTo>
                    <a:pt x="76" y="14"/>
                  </a:lnTo>
                  <a:lnTo>
                    <a:pt x="78" y="14"/>
                  </a:lnTo>
                  <a:lnTo>
                    <a:pt x="78" y="12"/>
                  </a:lnTo>
                  <a:lnTo>
                    <a:pt x="78" y="9"/>
                  </a:lnTo>
                  <a:lnTo>
                    <a:pt x="78" y="9"/>
                  </a:lnTo>
                  <a:lnTo>
                    <a:pt x="80" y="9"/>
                  </a:lnTo>
                  <a:lnTo>
                    <a:pt x="80" y="9"/>
                  </a:lnTo>
                  <a:lnTo>
                    <a:pt x="83" y="7"/>
                  </a:lnTo>
                  <a:lnTo>
                    <a:pt x="88" y="2"/>
                  </a:lnTo>
                  <a:lnTo>
                    <a:pt x="88" y="0"/>
                  </a:lnTo>
                  <a:lnTo>
                    <a:pt x="88" y="0"/>
                  </a:lnTo>
                  <a:lnTo>
                    <a:pt x="90" y="2"/>
                  </a:lnTo>
                  <a:lnTo>
                    <a:pt x="88" y="5"/>
                  </a:lnTo>
                  <a:lnTo>
                    <a:pt x="90" y="5"/>
                  </a:lnTo>
                  <a:lnTo>
                    <a:pt x="88" y="7"/>
                  </a:lnTo>
                  <a:lnTo>
                    <a:pt x="90" y="7"/>
                  </a:lnTo>
                  <a:lnTo>
                    <a:pt x="92" y="7"/>
                  </a:lnTo>
                  <a:lnTo>
                    <a:pt x="92" y="9"/>
                  </a:lnTo>
                  <a:lnTo>
                    <a:pt x="92" y="21"/>
                  </a:lnTo>
                  <a:lnTo>
                    <a:pt x="92" y="23"/>
                  </a:lnTo>
                  <a:lnTo>
                    <a:pt x="83" y="23"/>
                  </a:lnTo>
                  <a:lnTo>
                    <a:pt x="88" y="38"/>
                  </a:lnTo>
                  <a:lnTo>
                    <a:pt x="76" y="42"/>
                  </a:lnTo>
                  <a:lnTo>
                    <a:pt x="73" y="6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3" name="Freeform 605">
              <a:extLst>
                <a:ext uri="{FF2B5EF4-FFF2-40B4-BE49-F238E27FC236}">
                  <a16:creationId xmlns:a16="http://schemas.microsoft.com/office/drawing/2014/main" id="{D4E027F4-7ABE-4ACF-9641-C8D30C4FC052}"/>
                </a:ext>
              </a:extLst>
            </p:cNvPr>
            <p:cNvSpPr>
              <a:spLocks/>
            </p:cNvSpPr>
            <p:nvPr/>
          </p:nvSpPr>
          <p:spPr bwMode="auto">
            <a:xfrm>
              <a:off x="2456703" y="3997291"/>
              <a:ext cx="288925" cy="184150"/>
            </a:xfrm>
            <a:custGeom>
              <a:avLst/>
              <a:gdLst>
                <a:gd name="T0" fmla="*/ 177 w 182"/>
                <a:gd name="T1" fmla="*/ 47 h 116"/>
                <a:gd name="T2" fmla="*/ 170 w 182"/>
                <a:gd name="T3" fmla="*/ 52 h 116"/>
                <a:gd name="T4" fmla="*/ 167 w 182"/>
                <a:gd name="T5" fmla="*/ 59 h 116"/>
                <a:gd name="T6" fmla="*/ 167 w 182"/>
                <a:gd name="T7" fmla="*/ 62 h 116"/>
                <a:gd name="T8" fmla="*/ 167 w 182"/>
                <a:gd name="T9" fmla="*/ 64 h 116"/>
                <a:gd name="T10" fmla="*/ 163 w 182"/>
                <a:gd name="T11" fmla="*/ 64 h 116"/>
                <a:gd name="T12" fmla="*/ 156 w 182"/>
                <a:gd name="T13" fmla="*/ 69 h 116"/>
                <a:gd name="T14" fmla="*/ 146 w 182"/>
                <a:gd name="T15" fmla="*/ 71 h 116"/>
                <a:gd name="T16" fmla="*/ 139 w 182"/>
                <a:gd name="T17" fmla="*/ 73 h 116"/>
                <a:gd name="T18" fmla="*/ 130 w 182"/>
                <a:gd name="T19" fmla="*/ 76 h 116"/>
                <a:gd name="T20" fmla="*/ 122 w 182"/>
                <a:gd name="T21" fmla="*/ 78 h 116"/>
                <a:gd name="T22" fmla="*/ 113 w 182"/>
                <a:gd name="T23" fmla="*/ 83 h 116"/>
                <a:gd name="T24" fmla="*/ 111 w 182"/>
                <a:gd name="T25" fmla="*/ 88 h 116"/>
                <a:gd name="T26" fmla="*/ 106 w 182"/>
                <a:gd name="T27" fmla="*/ 92 h 116"/>
                <a:gd name="T28" fmla="*/ 104 w 182"/>
                <a:gd name="T29" fmla="*/ 92 h 116"/>
                <a:gd name="T30" fmla="*/ 92 w 182"/>
                <a:gd name="T31" fmla="*/ 92 h 116"/>
                <a:gd name="T32" fmla="*/ 85 w 182"/>
                <a:gd name="T33" fmla="*/ 97 h 116"/>
                <a:gd name="T34" fmla="*/ 78 w 182"/>
                <a:gd name="T35" fmla="*/ 99 h 116"/>
                <a:gd name="T36" fmla="*/ 71 w 182"/>
                <a:gd name="T37" fmla="*/ 102 h 116"/>
                <a:gd name="T38" fmla="*/ 61 w 182"/>
                <a:gd name="T39" fmla="*/ 102 h 116"/>
                <a:gd name="T40" fmla="*/ 56 w 182"/>
                <a:gd name="T41" fmla="*/ 102 h 116"/>
                <a:gd name="T42" fmla="*/ 49 w 182"/>
                <a:gd name="T43" fmla="*/ 109 h 116"/>
                <a:gd name="T44" fmla="*/ 40 w 182"/>
                <a:gd name="T45" fmla="*/ 114 h 116"/>
                <a:gd name="T46" fmla="*/ 28 w 182"/>
                <a:gd name="T47" fmla="*/ 116 h 116"/>
                <a:gd name="T48" fmla="*/ 23 w 182"/>
                <a:gd name="T49" fmla="*/ 116 h 116"/>
                <a:gd name="T50" fmla="*/ 16 w 182"/>
                <a:gd name="T51" fmla="*/ 114 h 116"/>
                <a:gd name="T52" fmla="*/ 11 w 182"/>
                <a:gd name="T53" fmla="*/ 106 h 116"/>
                <a:gd name="T54" fmla="*/ 9 w 182"/>
                <a:gd name="T55" fmla="*/ 95 h 116"/>
                <a:gd name="T56" fmla="*/ 7 w 182"/>
                <a:gd name="T57" fmla="*/ 90 h 116"/>
                <a:gd name="T58" fmla="*/ 7 w 182"/>
                <a:gd name="T59" fmla="*/ 78 h 116"/>
                <a:gd name="T60" fmla="*/ 4 w 182"/>
                <a:gd name="T61" fmla="*/ 76 h 116"/>
                <a:gd name="T62" fmla="*/ 2 w 182"/>
                <a:gd name="T63" fmla="*/ 69 h 116"/>
                <a:gd name="T64" fmla="*/ 2 w 182"/>
                <a:gd name="T65" fmla="*/ 66 h 116"/>
                <a:gd name="T66" fmla="*/ 2 w 182"/>
                <a:gd name="T67" fmla="*/ 66 h 116"/>
                <a:gd name="T68" fmla="*/ 2 w 182"/>
                <a:gd name="T69" fmla="*/ 62 h 116"/>
                <a:gd name="T70" fmla="*/ 2 w 182"/>
                <a:gd name="T71" fmla="*/ 59 h 116"/>
                <a:gd name="T72" fmla="*/ 2 w 182"/>
                <a:gd name="T73" fmla="*/ 52 h 116"/>
                <a:gd name="T74" fmla="*/ 2 w 182"/>
                <a:gd name="T75" fmla="*/ 47 h 116"/>
                <a:gd name="T76" fmla="*/ 7 w 182"/>
                <a:gd name="T77" fmla="*/ 45 h 116"/>
                <a:gd name="T78" fmla="*/ 9 w 182"/>
                <a:gd name="T79" fmla="*/ 40 h 116"/>
                <a:gd name="T80" fmla="*/ 14 w 182"/>
                <a:gd name="T81" fmla="*/ 38 h 116"/>
                <a:gd name="T82" fmla="*/ 21 w 182"/>
                <a:gd name="T83" fmla="*/ 36 h 116"/>
                <a:gd name="T84" fmla="*/ 63 w 182"/>
                <a:gd name="T85" fmla="*/ 43 h 116"/>
                <a:gd name="T86" fmla="*/ 108 w 182"/>
                <a:gd name="T87" fmla="*/ 14 h 116"/>
                <a:gd name="T88" fmla="*/ 182 w 182"/>
                <a:gd name="T8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16">
                  <a:moveTo>
                    <a:pt x="182" y="45"/>
                  </a:moveTo>
                  <a:lnTo>
                    <a:pt x="177" y="47"/>
                  </a:lnTo>
                  <a:lnTo>
                    <a:pt x="172" y="50"/>
                  </a:lnTo>
                  <a:lnTo>
                    <a:pt x="170" y="52"/>
                  </a:lnTo>
                  <a:lnTo>
                    <a:pt x="167" y="57"/>
                  </a:lnTo>
                  <a:lnTo>
                    <a:pt x="167" y="59"/>
                  </a:lnTo>
                  <a:lnTo>
                    <a:pt x="167" y="62"/>
                  </a:lnTo>
                  <a:lnTo>
                    <a:pt x="167" y="62"/>
                  </a:lnTo>
                  <a:lnTo>
                    <a:pt x="167" y="64"/>
                  </a:lnTo>
                  <a:lnTo>
                    <a:pt x="167" y="64"/>
                  </a:lnTo>
                  <a:lnTo>
                    <a:pt x="165" y="64"/>
                  </a:lnTo>
                  <a:lnTo>
                    <a:pt x="163" y="64"/>
                  </a:lnTo>
                  <a:lnTo>
                    <a:pt x="158" y="64"/>
                  </a:lnTo>
                  <a:lnTo>
                    <a:pt x="156" y="69"/>
                  </a:lnTo>
                  <a:lnTo>
                    <a:pt x="151" y="69"/>
                  </a:lnTo>
                  <a:lnTo>
                    <a:pt x="146" y="71"/>
                  </a:lnTo>
                  <a:lnTo>
                    <a:pt x="144" y="71"/>
                  </a:lnTo>
                  <a:lnTo>
                    <a:pt x="139" y="73"/>
                  </a:lnTo>
                  <a:lnTo>
                    <a:pt x="137" y="73"/>
                  </a:lnTo>
                  <a:lnTo>
                    <a:pt x="130" y="76"/>
                  </a:lnTo>
                  <a:lnTo>
                    <a:pt x="127" y="76"/>
                  </a:lnTo>
                  <a:lnTo>
                    <a:pt x="122" y="78"/>
                  </a:lnTo>
                  <a:lnTo>
                    <a:pt x="115" y="80"/>
                  </a:lnTo>
                  <a:lnTo>
                    <a:pt x="113" y="83"/>
                  </a:lnTo>
                  <a:lnTo>
                    <a:pt x="111" y="85"/>
                  </a:lnTo>
                  <a:lnTo>
                    <a:pt x="111" y="88"/>
                  </a:lnTo>
                  <a:lnTo>
                    <a:pt x="106" y="90"/>
                  </a:lnTo>
                  <a:lnTo>
                    <a:pt x="106" y="92"/>
                  </a:lnTo>
                  <a:lnTo>
                    <a:pt x="104" y="92"/>
                  </a:lnTo>
                  <a:lnTo>
                    <a:pt x="104" y="92"/>
                  </a:lnTo>
                  <a:lnTo>
                    <a:pt x="94" y="92"/>
                  </a:lnTo>
                  <a:lnTo>
                    <a:pt x="92" y="92"/>
                  </a:lnTo>
                  <a:lnTo>
                    <a:pt x="87" y="95"/>
                  </a:lnTo>
                  <a:lnTo>
                    <a:pt x="85" y="97"/>
                  </a:lnTo>
                  <a:lnTo>
                    <a:pt x="80" y="99"/>
                  </a:lnTo>
                  <a:lnTo>
                    <a:pt x="78" y="99"/>
                  </a:lnTo>
                  <a:lnTo>
                    <a:pt x="73" y="102"/>
                  </a:lnTo>
                  <a:lnTo>
                    <a:pt x="71" y="102"/>
                  </a:lnTo>
                  <a:lnTo>
                    <a:pt x="66" y="102"/>
                  </a:lnTo>
                  <a:lnTo>
                    <a:pt x="61" y="102"/>
                  </a:lnTo>
                  <a:lnTo>
                    <a:pt x="59" y="102"/>
                  </a:lnTo>
                  <a:lnTo>
                    <a:pt x="56" y="102"/>
                  </a:lnTo>
                  <a:lnTo>
                    <a:pt x="52" y="104"/>
                  </a:lnTo>
                  <a:lnTo>
                    <a:pt x="49" y="109"/>
                  </a:lnTo>
                  <a:lnTo>
                    <a:pt x="42" y="111"/>
                  </a:lnTo>
                  <a:lnTo>
                    <a:pt x="40" y="114"/>
                  </a:lnTo>
                  <a:lnTo>
                    <a:pt x="33" y="114"/>
                  </a:lnTo>
                  <a:lnTo>
                    <a:pt x="28" y="116"/>
                  </a:lnTo>
                  <a:lnTo>
                    <a:pt x="26" y="116"/>
                  </a:lnTo>
                  <a:lnTo>
                    <a:pt x="23" y="116"/>
                  </a:lnTo>
                  <a:lnTo>
                    <a:pt x="19" y="114"/>
                  </a:lnTo>
                  <a:lnTo>
                    <a:pt x="16" y="114"/>
                  </a:lnTo>
                  <a:lnTo>
                    <a:pt x="14" y="109"/>
                  </a:lnTo>
                  <a:lnTo>
                    <a:pt x="11" y="106"/>
                  </a:lnTo>
                  <a:lnTo>
                    <a:pt x="11" y="97"/>
                  </a:lnTo>
                  <a:lnTo>
                    <a:pt x="9" y="95"/>
                  </a:lnTo>
                  <a:lnTo>
                    <a:pt x="9" y="92"/>
                  </a:lnTo>
                  <a:lnTo>
                    <a:pt x="7" y="90"/>
                  </a:lnTo>
                  <a:lnTo>
                    <a:pt x="7" y="85"/>
                  </a:lnTo>
                  <a:lnTo>
                    <a:pt x="7" y="78"/>
                  </a:lnTo>
                  <a:lnTo>
                    <a:pt x="4" y="76"/>
                  </a:lnTo>
                  <a:lnTo>
                    <a:pt x="4" y="76"/>
                  </a:lnTo>
                  <a:lnTo>
                    <a:pt x="4" y="73"/>
                  </a:lnTo>
                  <a:lnTo>
                    <a:pt x="2" y="69"/>
                  </a:lnTo>
                  <a:lnTo>
                    <a:pt x="0" y="69"/>
                  </a:lnTo>
                  <a:lnTo>
                    <a:pt x="2" y="66"/>
                  </a:lnTo>
                  <a:lnTo>
                    <a:pt x="2" y="66"/>
                  </a:lnTo>
                  <a:lnTo>
                    <a:pt x="2" y="66"/>
                  </a:lnTo>
                  <a:lnTo>
                    <a:pt x="2" y="64"/>
                  </a:lnTo>
                  <a:lnTo>
                    <a:pt x="2" y="62"/>
                  </a:lnTo>
                  <a:lnTo>
                    <a:pt x="0" y="59"/>
                  </a:lnTo>
                  <a:lnTo>
                    <a:pt x="2" y="59"/>
                  </a:lnTo>
                  <a:lnTo>
                    <a:pt x="2" y="57"/>
                  </a:lnTo>
                  <a:lnTo>
                    <a:pt x="2" y="52"/>
                  </a:lnTo>
                  <a:lnTo>
                    <a:pt x="2" y="47"/>
                  </a:lnTo>
                  <a:lnTo>
                    <a:pt x="2" y="47"/>
                  </a:lnTo>
                  <a:lnTo>
                    <a:pt x="4" y="47"/>
                  </a:lnTo>
                  <a:lnTo>
                    <a:pt x="7" y="45"/>
                  </a:lnTo>
                  <a:lnTo>
                    <a:pt x="7" y="43"/>
                  </a:lnTo>
                  <a:lnTo>
                    <a:pt x="9" y="40"/>
                  </a:lnTo>
                  <a:lnTo>
                    <a:pt x="11" y="40"/>
                  </a:lnTo>
                  <a:lnTo>
                    <a:pt x="14" y="38"/>
                  </a:lnTo>
                  <a:lnTo>
                    <a:pt x="14" y="36"/>
                  </a:lnTo>
                  <a:lnTo>
                    <a:pt x="21" y="36"/>
                  </a:lnTo>
                  <a:lnTo>
                    <a:pt x="33" y="31"/>
                  </a:lnTo>
                  <a:lnTo>
                    <a:pt x="63" y="43"/>
                  </a:lnTo>
                  <a:lnTo>
                    <a:pt x="63" y="62"/>
                  </a:lnTo>
                  <a:lnTo>
                    <a:pt x="108" y="14"/>
                  </a:lnTo>
                  <a:lnTo>
                    <a:pt x="163" y="0"/>
                  </a:lnTo>
                  <a:lnTo>
                    <a:pt x="182" y="4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4" name="Freeform 606">
              <a:extLst>
                <a:ext uri="{FF2B5EF4-FFF2-40B4-BE49-F238E27FC236}">
                  <a16:creationId xmlns:a16="http://schemas.microsoft.com/office/drawing/2014/main" id="{100931C8-BC6A-4AB4-865D-C3D4FABCE560}"/>
                </a:ext>
              </a:extLst>
            </p:cNvPr>
            <p:cNvSpPr>
              <a:spLocks/>
            </p:cNvSpPr>
            <p:nvPr/>
          </p:nvSpPr>
          <p:spPr bwMode="auto">
            <a:xfrm>
              <a:off x="2456703" y="3997291"/>
              <a:ext cx="288925" cy="184150"/>
            </a:xfrm>
            <a:custGeom>
              <a:avLst/>
              <a:gdLst>
                <a:gd name="T0" fmla="*/ 177 w 182"/>
                <a:gd name="T1" fmla="*/ 47 h 116"/>
                <a:gd name="T2" fmla="*/ 170 w 182"/>
                <a:gd name="T3" fmla="*/ 52 h 116"/>
                <a:gd name="T4" fmla="*/ 167 w 182"/>
                <a:gd name="T5" fmla="*/ 59 h 116"/>
                <a:gd name="T6" fmla="*/ 167 w 182"/>
                <a:gd name="T7" fmla="*/ 62 h 116"/>
                <a:gd name="T8" fmla="*/ 167 w 182"/>
                <a:gd name="T9" fmla="*/ 64 h 116"/>
                <a:gd name="T10" fmla="*/ 163 w 182"/>
                <a:gd name="T11" fmla="*/ 64 h 116"/>
                <a:gd name="T12" fmla="*/ 156 w 182"/>
                <a:gd name="T13" fmla="*/ 69 h 116"/>
                <a:gd name="T14" fmla="*/ 146 w 182"/>
                <a:gd name="T15" fmla="*/ 71 h 116"/>
                <a:gd name="T16" fmla="*/ 139 w 182"/>
                <a:gd name="T17" fmla="*/ 73 h 116"/>
                <a:gd name="T18" fmla="*/ 130 w 182"/>
                <a:gd name="T19" fmla="*/ 76 h 116"/>
                <a:gd name="T20" fmla="*/ 122 w 182"/>
                <a:gd name="T21" fmla="*/ 78 h 116"/>
                <a:gd name="T22" fmla="*/ 113 w 182"/>
                <a:gd name="T23" fmla="*/ 83 h 116"/>
                <a:gd name="T24" fmla="*/ 111 w 182"/>
                <a:gd name="T25" fmla="*/ 88 h 116"/>
                <a:gd name="T26" fmla="*/ 106 w 182"/>
                <a:gd name="T27" fmla="*/ 92 h 116"/>
                <a:gd name="T28" fmla="*/ 104 w 182"/>
                <a:gd name="T29" fmla="*/ 92 h 116"/>
                <a:gd name="T30" fmla="*/ 92 w 182"/>
                <a:gd name="T31" fmla="*/ 92 h 116"/>
                <a:gd name="T32" fmla="*/ 85 w 182"/>
                <a:gd name="T33" fmla="*/ 97 h 116"/>
                <a:gd name="T34" fmla="*/ 78 w 182"/>
                <a:gd name="T35" fmla="*/ 99 h 116"/>
                <a:gd name="T36" fmla="*/ 71 w 182"/>
                <a:gd name="T37" fmla="*/ 102 h 116"/>
                <a:gd name="T38" fmla="*/ 61 w 182"/>
                <a:gd name="T39" fmla="*/ 102 h 116"/>
                <a:gd name="T40" fmla="*/ 56 w 182"/>
                <a:gd name="T41" fmla="*/ 102 h 116"/>
                <a:gd name="T42" fmla="*/ 49 w 182"/>
                <a:gd name="T43" fmla="*/ 109 h 116"/>
                <a:gd name="T44" fmla="*/ 40 w 182"/>
                <a:gd name="T45" fmla="*/ 114 h 116"/>
                <a:gd name="T46" fmla="*/ 28 w 182"/>
                <a:gd name="T47" fmla="*/ 116 h 116"/>
                <a:gd name="T48" fmla="*/ 23 w 182"/>
                <a:gd name="T49" fmla="*/ 116 h 116"/>
                <a:gd name="T50" fmla="*/ 16 w 182"/>
                <a:gd name="T51" fmla="*/ 114 h 116"/>
                <a:gd name="T52" fmla="*/ 11 w 182"/>
                <a:gd name="T53" fmla="*/ 106 h 116"/>
                <a:gd name="T54" fmla="*/ 9 w 182"/>
                <a:gd name="T55" fmla="*/ 95 h 116"/>
                <a:gd name="T56" fmla="*/ 7 w 182"/>
                <a:gd name="T57" fmla="*/ 90 h 116"/>
                <a:gd name="T58" fmla="*/ 7 w 182"/>
                <a:gd name="T59" fmla="*/ 78 h 116"/>
                <a:gd name="T60" fmla="*/ 4 w 182"/>
                <a:gd name="T61" fmla="*/ 76 h 116"/>
                <a:gd name="T62" fmla="*/ 2 w 182"/>
                <a:gd name="T63" fmla="*/ 69 h 116"/>
                <a:gd name="T64" fmla="*/ 2 w 182"/>
                <a:gd name="T65" fmla="*/ 66 h 116"/>
                <a:gd name="T66" fmla="*/ 2 w 182"/>
                <a:gd name="T67" fmla="*/ 66 h 116"/>
                <a:gd name="T68" fmla="*/ 2 w 182"/>
                <a:gd name="T69" fmla="*/ 62 h 116"/>
                <a:gd name="T70" fmla="*/ 2 w 182"/>
                <a:gd name="T71" fmla="*/ 59 h 116"/>
                <a:gd name="T72" fmla="*/ 2 w 182"/>
                <a:gd name="T73" fmla="*/ 52 h 116"/>
                <a:gd name="T74" fmla="*/ 2 w 182"/>
                <a:gd name="T75" fmla="*/ 47 h 116"/>
                <a:gd name="T76" fmla="*/ 7 w 182"/>
                <a:gd name="T77" fmla="*/ 45 h 116"/>
                <a:gd name="T78" fmla="*/ 9 w 182"/>
                <a:gd name="T79" fmla="*/ 40 h 116"/>
                <a:gd name="T80" fmla="*/ 14 w 182"/>
                <a:gd name="T81" fmla="*/ 38 h 116"/>
                <a:gd name="T82" fmla="*/ 21 w 182"/>
                <a:gd name="T83" fmla="*/ 36 h 116"/>
                <a:gd name="T84" fmla="*/ 63 w 182"/>
                <a:gd name="T85" fmla="*/ 43 h 116"/>
                <a:gd name="T86" fmla="*/ 108 w 182"/>
                <a:gd name="T87" fmla="*/ 14 h 116"/>
                <a:gd name="T88" fmla="*/ 182 w 182"/>
                <a:gd name="T8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16">
                  <a:moveTo>
                    <a:pt x="182" y="45"/>
                  </a:moveTo>
                  <a:lnTo>
                    <a:pt x="177" y="47"/>
                  </a:lnTo>
                  <a:lnTo>
                    <a:pt x="172" y="50"/>
                  </a:lnTo>
                  <a:lnTo>
                    <a:pt x="170" y="52"/>
                  </a:lnTo>
                  <a:lnTo>
                    <a:pt x="167" y="57"/>
                  </a:lnTo>
                  <a:lnTo>
                    <a:pt x="167" y="59"/>
                  </a:lnTo>
                  <a:lnTo>
                    <a:pt x="167" y="62"/>
                  </a:lnTo>
                  <a:lnTo>
                    <a:pt x="167" y="62"/>
                  </a:lnTo>
                  <a:lnTo>
                    <a:pt x="167" y="64"/>
                  </a:lnTo>
                  <a:lnTo>
                    <a:pt x="167" y="64"/>
                  </a:lnTo>
                  <a:lnTo>
                    <a:pt x="165" y="64"/>
                  </a:lnTo>
                  <a:lnTo>
                    <a:pt x="163" y="64"/>
                  </a:lnTo>
                  <a:lnTo>
                    <a:pt x="158" y="64"/>
                  </a:lnTo>
                  <a:lnTo>
                    <a:pt x="156" y="69"/>
                  </a:lnTo>
                  <a:lnTo>
                    <a:pt x="151" y="69"/>
                  </a:lnTo>
                  <a:lnTo>
                    <a:pt x="146" y="71"/>
                  </a:lnTo>
                  <a:lnTo>
                    <a:pt x="144" y="71"/>
                  </a:lnTo>
                  <a:lnTo>
                    <a:pt x="139" y="73"/>
                  </a:lnTo>
                  <a:lnTo>
                    <a:pt x="137" y="73"/>
                  </a:lnTo>
                  <a:lnTo>
                    <a:pt x="130" y="76"/>
                  </a:lnTo>
                  <a:lnTo>
                    <a:pt x="127" y="76"/>
                  </a:lnTo>
                  <a:lnTo>
                    <a:pt x="122" y="78"/>
                  </a:lnTo>
                  <a:lnTo>
                    <a:pt x="115" y="80"/>
                  </a:lnTo>
                  <a:lnTo>
                    <a:pt x="113" y="83"/>
                  </a:lnTo>
                  <a:lnTo>
                    <a:pt x="111" y="85"/>
                  </a:lnTo>
                  <a:lnTo>
                    <a:pt x="111" y="88"/>
                  </a:lnTo>
                  <a:lnTo>
                    <a:pt x="106" y="90"/>
                  </a:lnTo>
                  <a:lnTo>
                    <a:pt x="106" y="92"/>
                  </a:lnTo>
                  <a:lnTo>
                    <a:pt x="104" y="92"/>
                  </a:lnTo>
                  <a:lnTo>
                    <a:pt x="104" y="92"/>
                  </a:lnTo>
                  <a:lnTo>
                    <a:pt x="94" y="92"/>
                  </a:lnTo>
                  <a:lnTo>
                    <a:pt x="92" y="92"/>
                  </a:lnTo>
                  <a:lnTo>
                    <a:pt x="87" y="95"/>
                  </a:lnTo>
                  <a:lnTo>
                    <a:pt x="85" y="97"/>
                  </a:lnTo>
                  <a:lnTo>
                    <a:pt x="80" y="99"/>
                  </a:lnTo>
                  <a:lnTo>
                    <a:pt x="78" y="99"/>
                  </a:lnTo>
                  <a:lnTo>
                    <a:pt x="73" y="102"/>
                  </a:lnTo>
                  <a:lnTo>
                    <a:pt x="71" y="102"/>
                  </a:lnTo>
                  <a:lnTo>
                    <a:pt x="66" y="102"/>
                  </a:lnTo>
                  <a:lnTo>
                    <a:pt x="61" y="102"/>
                  </a:lnTo>
                  <a:lnTo>
                    <a:pt x="59" y="102"/>
                  </a:lnTo>
                  <a:lnTo>
                    <a:pt x="56" y="102"/>
                  </a:lnTo>
                  <a:lnTo>
                    <a:pt x="52" y="104"/>
                  </a:lnTo>
                  <a:lnTo>
                    <a:pt x="49" y="109"/>
                  </a:lnTo>
                  <a:lnTo>
                    <a:pt x="42" y="111"/>
                  </a:lnTo>
                  <a:lnTo>
                    <a:pt x="40" y="114"/>
                  </a:lnTo>
                  <a:lnTo>
                    <a:pt x="33" y="114"/>
                  </a:lnTo>
                  <a:lnTo>
                    <a:pt x="28" y="116"/>
                  </a:lnTo>
                  <a:lnTo>
                    <a:pt x="26" y="116"/>
                  </a:lnTo>
                  <a:lnTo>
                    <a:pt x="23" y="116"/>
                  </a:lnTo>
                  <a:lnTo>
                    <a:pt x="19" y="114"/>
                  </a:lnTo>
                  <a:lnTo>
                    <a:pt x="16" y="114"/>
                  </a:lnTo>
                  <a:lnTo>
                    <a:pt x="14" y="109"/>
                  </a:lnTo>
                  <a:lnTo>
                    <a:pt x="11" y="106"/>
                  </a:lnTo>
                  <a:lnTo>
                    <a:pt x="11" y="97"/>
                  </a:lnTo>
                  <a:lnTo>
                    <a:pt x="9" y="95"/>
                  </a:lnTo>
                  <a:lnTo>
                    <a:pt x="9" y="92"/>
                  </a:lnTo>
                  <a:lnTo>
                    <a:pt x="7" y="90"/>
                  </a:lnTo>
                  <a:lnTo>
                    <a:pt x="7" y="85"/>
                  </a:lnTo>
                  <a:lnTo>
                    <a:pt x="7" y="78"/>
                  </a:lnTo>
                  <a:lnTo>
                    <a:pt x="4" y="76"/>
                  </a:lnTo>
                  <a:lnTo>
                    <a:pt x="4" y="76"/>
                  </a:lnTo>
                  <a:lnTo>
                    <a:pt x="4" y="73"/>
                  </a:lnTo>
                  <a:lnTo>
                    <a:pt x="2" y="69"/>
                  </a:lnTo>
                  <a:lnTo>
                    <a:pt x="0" y="69"/>
                  </a:lnTo>
                  <a:lnTo>
                    <a:pt x="2" y="66"/>
                  </a:lnTo>
                  <a:lnTo>
                    <a:pt x="2" y="66"/>
                  </a:lnTo>
                  <a:lnTo>
                    <a:pt x="2" y="66"/>
                  </a:lnTo>
                  <a:lnTo>
                    <a:pt x="2" y="64"/>
                  </a:lnTo>
                  <a:lnTo>
                    <a:pt x="2" y="62"/>
                  </a:lnTo>
                  <a:lnTo>
                    <a:pt x="0" y="59"/>
                  </a:lnTo>
                  <a:lnTo>
                    <a:pt x="2" y="59"/>
                  </a:lnTo>
                  <a:lnTo>
                    <a:pt x="2" y="57"/>
                  </a:lnTo>
                  <a:lnTo>
                    <a:pt x="2" y="52"/>
                  </a:lnTo>
                  <a:lnTo>
                    <a:pt x="2" y="47"/>
                  </a:lnTo>
                  <a:lnTo>
                    <a:pt x="2" y="47"/>
                  </a:lnTo>
                  <a:lnTo>
                    <a:pt x="4" y="47"/>
                  </a:lnTo>
                  <a:lnTo>
                    <a:pt x="7" y="45"/>
                  </a:lnTo>
                  <a:lnTo>
                    <a:pt x="7" y="43"/>
                  </a:lnTo>
                  <a:lnTo>
                    <a:pt x="9" y="40"/>
                  </a:lnTo>
                  <a:lnTo>
                    <a:pt x="11" y="40"/>
                  </a:lnTo>
                  <a:lnTo>
                    <a:pt x="14" y="38"/>
                  </a:lnTo>
                  <a:lnTo>
                    <a:pt x="14" y="36"/>
                  </a:lnTo>
                  <a:lnTo>
                    <a:pt x="21" y="36"/>
                  </a:lnTo>
                  <a:lnTo>
                    <a:pt x="33" y="31"/>
                  </a:lnTo>
                  <a:lnTo>
                    <a:pt x="63" y="43"/>
                  </a:lnTo>
                  <a:lnTo>
                    <a:pt x="63" y="62"/>
                  </a:lnTo>
                  <a:lnTo>
                    <a:pt x="108" y="14"/>
                  </a:lnTo>
                  <a:lnTo>
                    <a:pt x="163" y="0"/>
                  </a:lnTo>
                  <a:lnTo>
                    <a:pt x="182" y="45"/>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5" name="Freeform 607">
              <a:extLst>
                <a:ext uri="{FF2B5EF4-FFF2-40B4-BE49-F238E27FC236}">
                  <a16:creationId xmlns:a16="http://schemas.microsoft.com/office/drawing/2014/main" id="{54C8B3DD-D3C9-478D-A093-9050800B9302}"/>
                </a:ext>
              </a:extLst>
            </p:cNvPr>
            <p:cNvSpPr>
              <a:spLocks/>
            </p:cNvSpPr>
            <p:nvPr/>
          </p:nvSpPr>
          <p:spPr bwMode="auto">
            <a:xfrm>
              <a:off x="2963114" y="3430554"/>
              <a:ext cx="463549" cy="428626"/>
            </a:xfrm>
            <a:custGeom>
              <a:avLst/>
              <a:gdLst>
                <a:gd name="T0" fmla="*/ 33 w 292"/>
                <a:gd name="T1" fmla="*/ 213 h 270"/>
                <a:gd name="T2" fmla="*/ 33 w 292"/>
                <a:gd name="T3" fmla="*/ 192 h 270"/>
                <a:gd name="T4" fmla="*/ 0 w 292"/>
                <a:gd name="T5" fmla="*/ 152 h 270"/>
                <a:gd name="T6" fmla="*/ 30 w 292"/>
                <a:gd name="T7" fmla="*/ 159 h 270"/>
                <a:gd name="T8" fmla="*/ 59 w 292"/>
                <a:gd name="T9" fmla="*/ 156 h 270"/>
                <a:gd name="T10" fmla="*/ 94 w 292"/>
                <a:gd name="T11" fmla="*/ 149 h 270"/>
                <a:gd name="T12" fmla="*/ 101 w 292"/>
                <a:gd name="T13" fmla="*/ 126 h 270"/>
                <a:gd name="T14" fmla="*/ 120 w 292"/>
                <a:gd name="T15" fmla="*/ 121 h 270"/>
                <a:gd name="T16" fmla="*/ 127 w 292"/>
                <a:gd name="T17" fmla="*/ 111 h 270"/>
                <a:gd name="T18" fmla="*/ 137 w 292"/>
                <a:gd name="T19" fmla="*/ 114 h 270"/>
                <a:gd name="T20" fmla="*/ 146 w 292"/>
                <a:gd name="T21" fmla="*/ 97 h 270"/>
                <a:gd name="T22" fmla="*/ 151 w 292"/>
                <a:gd name="T23" fmla="*/ 85 h 270"/>
                <a:gd name="T24" fmla="*/ 163 w 292"/>
                <a:gd name="T25" fmla="*/ 71 h 270"/>
                <a:gd name="T26" fmla="*/ 170 w 292"/>
                <a:gd name="T27" fmla="*/ 67 h 270"/>
                <a:gd name="T28" fmla="*/ 177 w 292"/>
                <a:gd name="T29" fmla="*/ 55 h 270"/>
                <a:gd name="T30" fmla="*/ 186 w 292"/>
                <a:gd name="T31" fmla="*/ 38 h 270"/>
                <a:gd name="T32" fmla="*/ 179 w 292"/>
                <a:gd name="T33" fmla="*/ 22 h 270"/>
                <a:gd name="T34" fmla="*/ 191 w 292"/>
                <a:gd name="T35" fmla="*/ 15 h 270"/>
                <a:gd name="T36" fmla="*/ 203 w 292"/>
                <a:gd name="T37" fmla="*/ 8 h 270"/>
                <a:gd name="T38" fmla="*/ 231 w 292"/>
                <a:gd name="T39" fmla="*/ 5 h 270"/>
                <a:gd name="T40" fmla="*/ 243 w 292"/>
                <a:gd name="T41" fmla="*/ 3 h 270"/>
                <a:gd name="T42" fmla="*/ 255 w 292"/>
                <a:gd name="T43" fmla="*/ 8 h 270"/>
                <a:gd name="T44" fmla="*/ 264 w 292"/>
                <a:gd name="T45" fmla="*/ 19 h 270"/>
                <a:gd name="T46" fmla="*/ 269 w 292"/>
                <a:gd name="T47" fmla="*/ 26 h 270"/>
                <a:gd name="T48" fmla="*/ 285 w 292"/>
                <a:gd name="T49" fmla="*/ 34 h 270"/>
                <a:gd name="T50" fmla="*/ 278 w 292"/>
                <a:gd name="T51" fmla="*/ 48 h 270"/>
                <a:gd name="T52" fmla="*/ 264 w 292"/>
                <a:gd name="T53" fmla="*/ 52 h 270"/>
                <a:gd name="T54" fmla="*/ 255 w 292"/>
                <a:gd name="T55" fmla="*/ 52 h 270"/>
                <a:gd name="T56" fmla="*/ 231 w 292"/>
                <a:gd name="T57" fmla="*/ 48 h 270"/>
                <a:gd name="T58" fmla="*/ 229 w 292"/>
                <a:gd name="T59" fmla="*/ 60 h 270"/>
                <a:gd name="T60" fmla="*/ 231 w 292"/>
                <a:gd name="T61" fmla="*/ 64 h 270"/>
                <a:gd name="T62" fmla="*/ 231 w 292"/>
                <a:gd name="T63" fmla="*/ 78 h 270"/>
                <a:gd name="T64" fmla="*/ 236 w 292"/>
                <a:gd name="T65" fmla="*/ 90 h 270"/>
                <a:gd name="T66" fmla="*/ 248 w 292"/>
                <a:gd name="T67" fmla="*/ 100 h 270"/>
                <a:gd name="T68" fmla="*/ 248 w 292"/>
                <a:gd name="T69" fmla="*/ 107 h 270"/>
                <a:gd name="T70" fmla="*/ 241 w 292"/>
                <a:gd name="T71" fmla="*/ 119 h 270"/>
                <a:gd name="T72" fmla="*/ 243 w 292"/>
                <a:gd name="T73" fmla="*/ 126 h 270"/>
                <a:gd name="T74" fmla="*/ 231 w 292"/>
                <a:gd name="T75" fmla="*/ 135 h 270"/>
                <a:gd name="T76" fmla="*/ 219 w 292"/>
                <a:gd name="T77" fmla="*/ 149 h 270"/>
                <a:gd name="T78" fmla="*/ 198 w 292"/>
                <a:gd name="T79" fmla="*/ 175 h 270"/>
                <a:gd name="T80" fmla="*/ 179 w 292"/>
                <a:gd name="T81" fmla="*/ 189 h 270"/>
                <a:gd name="T82" fmla="*/ 167 w 292"/>
                <a:gd name="T83" fmla="*/ 187 h 270"/>
                <a:gd name="T84" fmla="*/ 151 w 292"/>
                <a:gd name="T85" fmla="*/ 213 h 270"/>
                <a:gd name="T86" fmla="*/ 163 w 292"/>
                <a:gd name="T87" fmla="*/ 218 h 270"/>
                <a:gd name="T88" fmla="*/ 170 w 292"/>
                <a:gd name="T89" fmla="*/ 232 h 270"/>
                <a:gd name="T90" fmla="*/ 177 w 292"/>
                <a:gd name="T91" fmla="*/ 248 h 270"/>
                <a:gd name="T92" fmla="*/ 177 w 292"/>
                <a:gd name="T93" fmla="*/ 258 h 270"/>
                <a:gd name="T94" fmla="*/ 170 w 292"/>
                <a:gd name="T95" fmla="*/ 258 h 270"/>
                <a:gd name="T96" fmla="*/ 158 w 292"/>
                <a:gd name="T97" fmla="*/ 260 h 270"/>
                <a:gd name="T98" fmla="*/ 141 w 292"/>
                <a:gd name="T99" fmla="*/ 258 h 270"/>
                <a:gd name="T100" fmla="*/ 129 w 292"/>
                <a:gd name="T101" fmla="*/ 265 h 270"/>
                <a:gd name="T102" fmla="*/ 115 w 292"/>
                <a:gd name="T103" fmla="*/ 267 h 270"/>
                <a:gd name="T104" fmla="*/ 108 w 292"/>
                <a:gd name="T105" fmla="*/ 251 h 270"/>
                <a:gd name="T106" fmla="*/ 85 w 292"/>
                <a:gd name="T107" fmla="*/ 239 h 270"/>
                <a:gd name="T108" fmla="*/ 56 w 292"/>
                <a:gd name="T109" fmla="*/ 239 h 270"/>
                <a:gd name="T110" fmla="*/ 21 w 292"/>
                <a:gd name="T111" fmla="*/ 241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2" h="270">
                  <a:moveTo>
                    <a:pt x="11" y="241"/>
                  </a:moveTo>
                  <a:lnTo>
                    <a:pt x="14" y="237"/>
                  </a:lnTo>
                  <a:lnTo>
                    <a:pt x="14" y="234"/>
                  </a:lnTo>
                  <a:lnTo>
                    <a:pt x="16" y="225"/>
                  </a:lnTo>
                  <a:lnTo>
                    <a:pt x="21" y="220"/>
                  </a:lnTo>
                  <a:lnTo>
                    <a:pt x="23" y="218"/>
                  </a:lnTo>
                  <a:lnTo>
                    <a:pt x="28" y="215"/>
                  </a:lnTo>
                  <a:lnTo>
                    <a:pt x="33" y="213"/>
                  </a:lnTo>
                  <a:lnTo>
                    <a:pt x="37" y="213"/>
                  </a:lnTo>
                  <a:lnTo>
                    <a:pt x="42" y="208"/>
                  </a:lnTo>
                  <a:lnTo>
                    <a:pt x="42" y="208"/>
                  </a:lnTo>
                  <a:lnTo>
                    <a:pt x="42" y="204"/>
                  </a:lnTo>
                  <a:lnTo>
                    <a:pt x="40" y="201"/>
                  </a:lnTo>
                  <a:lnTo>
                    <a:pt x="33" y="201"/>
                  </a:lnTo>
                  <a:lnTo>
                    <a:pt x="35" y="197"/>
                  </a:lnTo>
                  <a:lnTo>
                    <a:pt x="33" y="192"/>
                  </a:lnTo>
                  <a:lnTo>
                    <a:pt x="33" y="185"/>
                  </a:lnTo>
                  <a:lnTo>
                    <a:pt x="30" y="182"/>
                  </a:lnTo>
                  <a:lnTo>
                    <a:pt x="21" y="180"/>
                  </a:lnTo>
                  <a:lnTo>
                    <a:pt x="16" y="175"/>
                  </a:lnTo>
                  <a:lnTo>
                    <a:pt x="14" y="173"/>
                  </a:lnTo>
                  <a:lnTo>
                    <a:pt x="7" y="159"/>
                  </a:lnTo>
                  <a:lnTo>
                    <a:pt x="2" y="156"/>
                  </a:lnTo>
                  <a:lnTo>
                    <a:pt x="0" y="152"/>
                  </a:lnTo>
                  <a:lnTo>
                    <a:pt x="0" y="152"/>
                  </a:lnTo>
                  <a:lnTo>
                    <a:pt x="0" y="152"/>
                  </a:lnTo>
                  <a:lnTo>
                    <a:pt x="18" y="156"/>
                  </a:lnTo>
                  <a:lnTo>
                    <a:pt x="26" y="159"/>
                  </a:lnTo>
                  <a:lnTo>
                    <a:pt x="28" y="159"/>
                  </a:lnTo>
                  <a:lnTo>
                    <a:pt x="28" y="159"/>
                  </a:lnTo>
                  <a:lnTo>
                    <a:pt x="30" y="159"/>
                  </a:lnTo>
                  <a:lnTo>
                    <a:pt x="30" y="159"/>
                  </a:lnTo>
                  <a:lnTo>
                    <a:pt x="35" y="159"/>
                  </a:lnTo>
                  <a:lnTo>
                    <a:pt x="37" y="156"/>
                  </a:lnTo>
                  <a:lnTo>
                    <a:pt x="40" y="159"/>
                  </a:lnTo>
                  <a:lnTo>
                    <a:pt x="44" y="156"/>
                  </a:lnTo>
                  <a:lnTo>
                    <a:pt x="52" y="156"/>
                  </a:lnTo>
                  <a:lnTo>
                    <a:pt x="56" y="159"/>
                  </a:lnTo>
                  <a:lnTo>
                    <a:pt x="56" y="159"/>
                  </a:lnTo>
                  <a:lnTo>
                    <a:pt x="59" y="156"/>
                  </a:lnTo>
                  <a:lnTo>
                    <a:pt x="59" y="156"/>
                  </a:lnTo>
                  <a:lnTo>
                    <a:pt x="61" y="156"/>
                  </a:lnTo>
                  <a:lnTo>
                    <a:pt x="66" y="156"/>
                  </a:lnTo>
                  <a:lnTo>
                    <a:pt x="73" y="156"/>
                  </a:lnTo>
                  <a:lnTo>
                    <a:pt x="78" y="154"/>
                  </a:lnTo>
                  <a:lnTo>
                    <a:pt x="85" y="152"/>
                  </a:lnTo>
                  <a:lnTo>
                    <a:pt x="92" y="152"/>
                  </a:lnTo>
                  <a:lnTo>
                    <a:pt x="94" y="149"/>
                  </a:lnTo>
                  <a:lnTo>
                    <a:pt x="96" y="147"/>
                  </a:lnTo>
                  <a:lnTo>
                    <a:pt x="94" y="147"/>
                  </a:lnTo>
                  <a:lnTo>
                    <a:pt x="94" y="145"/>
                  </a:lnTo>
                  <a:lnTo>
                    <a:pt x="96" y="137"/>
                  </a:lnTo>
                  <a:lnTo>
                    <a:pt x="94" y="135"/>
                  </a:lnTo>
                  <a:lnTo>
                    <a:pt x="96" y="130"/>
                  </a:lnTo>
                  <a:lnTo>
                    <a:pt x="96" y="128"/>
                  </a:lnTo>
                  <a:lnTo>
                    <a:pt x="101" y="126"/>
                  </a:lnTo>
                  <a:lnTo>
                    <a:pt x="103" y="121"/>
                  </a:lnTo>
                  <a:lnTo>
                    <a:pt x="106" y="121"/>
                  </a:lnTo>
                  <a:lnTo>
                    <a:pt x="106" y="121"/>
                  </a:lnTo>
                  <a:lnTo>
                    <a:pt x="106" y="123"/>
                  </a:lnTo>
                  <a:lnTo>
                    <a:pt x="111" y="123"/>
                  </a:lnTo>
                  <a:lnTo>
                    <a:pt x="113" y="121"/>
                  </a:lnTo>
                  <a:lnTo>
                    <a:pt x="118" y="121"/>
                  </a:lnTo>
                  <a:lnTo>
                    <a:pt x="120" y="121"/>
                  </a:lnTo>
                  <a:lnTo>
                    <a:pt x="120" y="121"/>
                  </a:lnTo>
                  <a:lnTo>
                    <a:pt x="120" y="119"/>
                  </a:lnTo>
                  <a:lnTo>
                    <a:pt x="118" y="119"/>
                  </a:lnTo>
                  <a:lnTo>
                    <a:pt x="118" y="119"/>
                  </a:lnTo>
                  <a:lnTo>
                    <a:pt x="118" y="116"/>
                  </a:lnTo>
                  <a:lnTo>
                    <a:pt x="125" y="114"/>
                  </a:lnTo>
                  <a:lnTo>
                    <a:pt x="125" y="111"/>
                  </a:lnTo>
                  <a:lnTo>
                    <a:pt x="127" y="111"/>
                  </a:lnTo>
                  <a:lnTo>
                    <a:pt x="127" y="111"/>
                  </a:lnTo>
                  <a:lnTo>
                    <a:pt x="134" y="114"/>
                  </a:lnTo>
                  <a:lnTo>
                    <a:pt x="134" y="111"/>
                  </a:lnTo>
                  <a:lnTo>
                    <a:pt x="132" y="111"/>
                  </a:lnTo>
                  <a:lnTo>
                    <a:pt x="132" y="111"/>
                  </a:lnTo>
                  <a:lnTo>
                    <a:pt x="134" y="111"/>
                  </a:lnTo>
                  <a:lnTo>
                    <a:pt x="137" y="111"/>
                  </a:lnTo>
                  <a:lnTo>
                    <a:pt x="137" y="114"/>
                  </a:lnTo>
                  <a:lnTo>
                    <a:pt x="137" y="114"/>
                  </a:lnTo>
                  <a:lnTo>
                    <a:pt x="139" y="116"/>
                  </a:lnTo>
                  <a:lnTo>
                    <a:pt x="141" y="116"/>
                  </a:lnTo>
                  <a:lnTo>
                    <a:pt x="146" y="109"/>
                  </a:lnTo>
                  <a:lnTo>
                    <a:pt x="146" y="107"/>
                  </a:lnTo>
                  <a:lnTo>
                    <a:pt x="146" y="104"/>
                  </a:lnTo>
                  <a:lnTo>
                    <a:pt x="146" y="100"/>
                  </a:lnTo>
                  <a:lnTo>
                    <a:pt x="146" y="97"/>
                  </a:lnTo>
                  <a:lnTo>
                    <a:pt x="146" y="95"/>
                  </a:lnTo>
                  <a:lnTo>
                    <a:pt x="148" y="95"/>
                  </a:lnTo>
                  <a:lnTo>
                    <a:pt x="148" y="95"/>
                  </a:lnTo>
                  <a:lnTo>
                    <a:pt x="148" y="93"/>
                  </a:lnTo>
                  <a:lnTo>
                    <a:pt x="148" y="90"/>
                  </a:lnTo>
                  <a:lnTo>
                    <a:pt x="148" y="90"/>
                  </a:lnTo>
                  <a:lnTo>
                    <a:pt x="151" y="88"/>
                  </a:lnTo>
                  <a:lnTo>
                    <a:pt x="151" y="85"/>
                  </a:lnTo>
                  <a:lnTo>
                    <a:pt x="155" y="83"/>
                  </a:lnTo>
                  <a:lnTo>
                    <a:pt x="158" y="83"/>
                  </a:lnTo>
                  <a:lnTo>
                    <a:pt x="160" y="81"/>
                  </a:lnTo>
                  <a:lnTo>
                    <a:pt x="163" y="81"/>
                  </a:lnTo>
                  <a:lnTo>
                    <a:pt x="165" y="78"/>
                  </a:lnTo>
                  <a:lnTo>
                    <a:pt x="165" y="78"/>
                  </a:lnTo>
                  <a:lnTo>
                    <a:pt x="163" y="76"/>
                  </a:lnTo>
                  <a:lnTo>
                    <a:pt x="163" y="71"/>
                  </a:lnTo>
                  <a:lnTo>
                    <a:pt x="160" y="71"/>
                  </a:lnTo>
                  <a:lnTo>
                    <a:pt x="158" y="67"/>
                  </a:lnTo>
                  <a:lnTo>
                    <a:pt x="158" y="67"/>
                  </a:lnTo>
                  <a:lnTo>
                    <a:pt x="158" y="64"/>
                  </a:lnTo>
                  <a:lnTo>
                    <a:pt x="160" y="64"/>
                  </a:lnTo>
                  <a:lnTo>
                    <a:pt x="160" y="64"/>
                  </a:lnTo>
                  <a:lnTo>
                    <a:pt x="167" y="67"/>
                  </a:lnTo>
                  <a:lnTo>
                    <a:pt x="170" y="67"/>
                  </a:lnTo>
                  <a:lnTo>
                    <a:pt x="174" y="67"/>
                  </a:lnTo>
                  <a:lnTo>
                    <a:pt x="177" y="64"/>
                  </a:lnTo>
                  <a:lnTo>
                    <a:pt x="179" y="62"/>
                  </a:lnTo>
                  <a:lnTo>
                    <a:pt x="179" y="60"/>
                  </a:lnTo>
                  <a:lnTo>
                    <a:pt x="179" y="57"/>
                  </a:lnTo>
                  <a:lnTo>
                    <a:pt x="179" y="57"/>
                  </a:lnTo>
                  <a:lnTo>
                    <a:pt x="177" y="57"/>
                  </a:lnTo>
                  <a:lnTo>
                    <a:pt x="177" y="55"/>
                  </a:lnTo>
                  <a:lnTo>
                    <a:pt x="177" y="52"/>
                  </a:lnTo>
                  <a:lnTo>
                    <a:pt x="179" y="50"/>
                  </a:lnTo>
                  <a:lnTo>
                    <a:pt x="181" y="48"/>
                  </a:lnTo>
                  <a:lnTo>
                    <a:pt x="184" y="45"/>
                  </a:lnTo>
                  <a:lnTo>
                    <a:pt x="186" y="43"/>
                  </a:lnTo>
                  <a:lnTo>
                    <a:pt x="186" y="41"/>
                  </a:lnTo>
                  <a:lnTo>
                    <a:pt x="186" y="41"/>
                  </a:lnTo>
                  <a:lnTo>
                    <a:pt x="186" y="38"/>
                  </a:lnTo>
                  <a:lnTo>
                    <a:pt x="186" y="38"/>
                  </a:lnTo>
                  <a:lnTo>
                    <a:pt x="189" y="36"/>
                  </a:lnTo>
                  <a:lnTo>
                    <a:pt x="189" y="34"/>
                  </a:lnTo>
                  <a:lnTo>
                    <a:pt x="186" y="31"/>
                  </a:lnTo>
                  <a:lnTo>
                    <a:pt x="186" y="26"/>
                  </a:lnTo>
                  <a:lnTo>
                    <a:pt x="184" y="24"/>
                  </a:lnTo>
                  <a:lnTo>
                    <a:pt x="181" y="24"/>
                  </a:lnTo>
                  <a:lnTo>
                    <a:pt x="179" y="22"/>
                  </a:lnTo>
                  <a:lnTo>
                    <a:pt x="181" y="19"/>
                  </a:lnTo>
                  <a:lnTo>
                    <a:pt x="181" y="19"/>
                  </a:lnTo>
                  <a:lnTo>
                    <a:pt x="186" y="15"/>
                  </a:lnTo>
                  <a:lnTo>
                    <a:pt x="186" y="12"/>
                  </a:lnTo>
                  <a:lnTo>
                    <a:pt x="189" y="12"/>
                  </a:lnTo>
                  <a:lnTo>
                    <a:pt x="189" y="12"/>
                  </a:lnTo>
                  <a:lnTo>
                    <a:pt x="191" y="15"/>
                  </a:lnTo>
                  <a:lnTo>
                    <a:pt x="191" y="15"/>
                  </a:lnTo>
                  <a:lnTo>
                    <a:pt x="191" y="12"/>
                  </a:lnTo>
                  <a:lnTo>
                    <a:pt x="191" y="12"/>
                  </a:lnTo>
                  <a:lnTo>
                    <a:pt x="196" y="10"/>
                  </a:lnTo>
                  <a:lnTo>
                    <a:pt x="196" y="10"/>
                  </a:lnTo>
                  <a:lnTo>
                    <a:pt x="196" y="8"/>
                  </a:lnTo>
                  <a:lnTo>
                    <a:pt x="198" y="8"/>
                  </a:lnTo>
                  <a:lnTo>
                    <a:pt x="198" y="8"/>
                  </a:lnTo>
                  <a:lnTo>
                    <a:pt x="203" y="8"/>
                  </a:lnTo>
                  <a:lnTo>
                    <a:pt x="205" y="5"/>
                  </a:lnTo>
                  <a:lnTo>
                    <a:pt x="207" y="5"/>
                  </a:lnTo>
                  <a:lnTo>
                    <a:pt x="210" y="3"/>
                  </a:lnTo>
                  <a:lnTo>
                    <a:pt x="212" y="5"/>
                  </a:lnTo>
                  <a:lnTo>
                    <a:pt x="222" y="3"/>
                  </a:lnTo>
                  <a:lnTo>
                    <a:pt x="224" y="3"/>
                  </a:lnTo>
                  <a:lnTo>
                    <a:pt x="226" y="3"/>
                  </a:lnTo>
                  <a:lnTo>
                    <a:pt x="231" y="5"/>
                  </a:lnTo>
                  <a:lnTo>
                    <a:pt x="231" y="5"/>
                  </a:lnTo>
                  <a:lnTo>
                    <a:pt x="233" y="3"/>
                  </a:lnTo>
                  <a:lnTo>
                    <a:pt x="233" y="3"/>
                  </a:lnTo>
                  <a:lnTo>
                    <a:pt x="236" y="3"/>
                  </a:lnTo>
                  <a:lnTo>
                    <a:pt x="241" y="3"/>
                  </a:lnTo>
                  <a:lnTo>
                    <a:pt x="241" y="0"/>
                  </a:lnTo>
                  <a:lnTo>
                    <a:pt x="241" y="3"/>
                  </a:lnTo>
                  <a:lnTo>
                    <a:pt x="243" y="3"/>
                  </a:lnTo>
                  <a:lnTo>
                    <a:pt x="248" y="3"/>
                  </a:lnTo>
                  <a:lnTo>
                    <a:pt x="248" y="3"/>
                  </a:lnTo>
                  <a:lnTo>
                    <a:pt x="250" y="3"/>
                  </a:lnTo>
                  <a:lnTo>
                    <a:pt x="252" y="3"/>
                  </a:lnTo>
                  <a:lnTo>
                    <a:pt x="252" y="3"/>
                  </a:lnTo>
                  <a:lnTo>
                    <a:pt x="252" y="8"/>
                  </a:lnTo>
                  <a:lnTo>
                    <a:pt x="252" y="8"/>
                  </a:lnTo>
                  <a:lnTo>
                    <a:pt x="255" y="8"/>
                  </a:lnTo>
                  <a:lnTo>
                    <a:pt x="257" y="5"/>
                  </a:lnTo>
                  <a:lnTo>
                    <a:pt x="259" y="8"/>
                  </a:lnTo>
                  <a:lnTo>
                    <a:pt x="262" y="10"/>
                  </a:lnTo>
                  <a:lnTo>
                    <a:pt x="264" y="12"/>
                  </a:lnTo>
                  <a:lnTo>
                    <a:pt x="264" y="15"/>
                  </a:lnTo>
                  <a:lnTo>
                    <a:pt x="262" y="17"/>
                  </a:lnTo>
                  <a:lnTo>
                    <a:pt x="264" y="17"/>
                  </a:lnTo>
                  <a:lnTo>
                    <a:pt x="264" y="19"/>
                  </a:lnTo>
                  <a:lnTo>
                    <a:pt x="264" y="19"/>
                  </a:lnTo>
                  <a:lnTo>
                    <a:pt x="262" y="19"/>
                  </a:lnTo>
                  <a:lnTo>
                    <a:pt x="262" y="22"/>
                  </a:lnTo>
                  <a:lnTo>
                    <a:pt x="262" y="22"/>
                  </a:lnTo>
                  <a:lnTo>
                    <a:pt x="264" y="24"/>
                  </a:lnTo>
                  <a:lnTo>
                    <a:pt x="266" y="26"/>
                  </a:lnTo>
                  <a:lnTo>
                    <a:pt x="266" y="26"/>
                  </a:lnTo>
                  <a:lnTo>
                    <a:pt x="269" y="26"/>
                  </a:lnTo>
                  <a:lnTo>
                    <a:pt x="271" y="26"/>
                  </a:lnTo>
                  <a:lnTo>
                    <a:pt x="271" y="24"/>
                  </a:lnTo>
                  <a:lnTo>
                    <a:pt x="274" y="24"/>
                  </a:lnTo>
                  <a:lnTo>
                    <a:pt x="274" y="26"/>
                  </a:lnTo>
                  <a:lnTo>
                    <a:pt x="274" y="29"/>
                  </a:lnTo>
                  <a:lnTo>
                    <a:pt x="276" y="29"/>
                  </a:lnTo>
                  <a:lnTo>
                    <a:pt x="283" y="31"/>
                  </a:lnTo>
                  <a:lnTo>
                    <a:pt x="285" y="34"/>
                  </a:lnTo>
                  <a:lnTo>
                    <a:pt x="285" y="34"/>
                  </a:lnTo>
                  <a:lnTo>
                    <a:pt x="288" y="34"/>
                  </a:lnTo>
                  <a:lnTo>
                    <a:pt x="292" y="36"/>
                  </a:lnTo>
                  <a:lnTo>
                    <a:pt x="281" y="43"/>
                  </a:lnTo>
                  <a:lnTo>
                    <a:pt x="281" y="45"/>
                  </a:lnTo>
                  <a:lnTo>
                    <a:pt x="281" y="45"/>
                  </a:lnTo>
                  <a:lnTo>
                    <a:pt x="281" y="45"/>
                  </a:lnTo>
                  <a:lnTo>
                    <a:pt x="278" y="48"/>
                  </a:lnTo>
                  <a:lnTo>
                    <a:pt x="278" y="50"/>
                  </a:lnTo>
                  <a:lnTo>
                    <a:pt x="276" y="50"/>
                  </a:lnTo>
                  <a:lnTo>
                    <a:pt x="276" y="48"/>
                  </a:lnTo>
                  <a:lnTo>
                    <a:pt x="269" y="48"/>
                  </a:lnTo>
                  <a:lnTo>
                    <a:pt x="269" y="50"/>
                  </a:lnTo>
                  <a:lnTo>
                    <a:pt x="266" y="50"/>
                  </a:lnTo>
                  <a:lnTo>
                    <a:pt x="266" y="52"/>
                  </a:lnTo>
                  <a:lnTo>
                    <a:pt x="264" y="52"/>
                  </a:lnTo>
                  <a:lnTo>
                    <a:pt x="262" y="50"/>
                  </a:lnTo>
                  <a:lnTo>
                    <a:pt x="262" y="52"/>
                  </a:lnTo>
                  <a:lnTo>
                    <a:pt x="259" y="52"/>
                  </a:lnTo>
                  <a:lnTo>
                    <a:pt x="259" y="55"/>
                  </a:lnTo>
                  <a:lnTo>
                    <a:pt x="259" y="55"/>
                  </a:lnTo>
                  <a:lnTo>
                    <a:pt x="257" y="52"/>
                  </a:lnTo>
                  <a:lnTo>
                    <a:pt x="255" y="55"/>
                  </a:lnTo>
                  <a:lnTo>
                    <a:pt x="255" y="52"/>
                  </a:lnTo>
                  <a:lnTo>
                    <a:pt x="250" y="52"/>
                  </a:lnTo>
                  <a:lnTo>
                    <a:pt x="250" y="52"/>
                  </a:lnTo>
                  <a:lnTo>
                    <a:pt x="248" y="52"/>
                  </a:lnTo>
                  <a:lnTo>
                    <a:pt x="243" y="50"/>
                  </a:lnTo>
                  <a:lnTo>
                    <a:pt x="238" y="50"/>
                  </a:lnTo>
                  <a:lnTo>
                    <a:pt x="233" y="48"/>
                  </a:lnTo>
                  <a:lnTo>
                    <a:pt x="231" y="48"/>
                  </a:lnTo>
                  <a:lnTo>
                    <a:pt x="231" y="48"/>
                  </a:lnTo>
                  <a:lnTo>
                    <a:pt x="229" y="48"/>
                  </a:lnTo>
                  <a:lnTo>
                    <a:pt x="229" y="48"/>
                  </a:lnTo>
                  <a:lnTo>
                    <a:pt x="226" y="50"/>
                  </a:lnTo>
                  <a:lnTo>
                    <a:pt x="226" y="52"/>
                  </a:lnTo>
                  <a:lnTo>
                    <a:pt x="224" y="57"/>
                  </a:lnTo>
                  <a:lnTo>
                    <a:pt x="224" y="57"/>
                  </a:lnTo>
                  <a:lnTo>
                    <a:pt x="226" y="57"/>
                  </a:lnTo>
                  <a:lnTo>
                    <a:pt x="229" y="60"/>
                  </a:lnTo>
                  <a:lnTo>
                    <a:pt x="229" y="60"/>
                  </a:lnTo>
                  <a:lnTo>
                    <a:pt x="226" y="62"/>
                  </a:lnTo>
                  <a:lnTo>
                    <a:pt x="226" y="62"/>
                  </a:lnTo>
                  <a:lnTo>
                    <a:pt x="226" y="62"/>
                  </a:lnTo>
                  <a:lnTo>
                    <a:pt x="226" y="64"/>
                  </a:lnTo>
                  <a:lnTo>
                    <a:pt x="226" y="64"/>
                  </a:lnTo>
                  <a:lnTo>
                    <a:pt x="231" y="64"/>
                  </a:lnTo>
                  <a:lnTo>
                    <a:pt x="231" y="64"/>
                  </a:lnTo>
                  <a:lnTo>
                    <a:pt x="231" y="67"/>
                  </a:lnTo>
                  <a:lnTo>
                    <a:pt x="231" y="67"/>
                  </a:lnTo>
                  <a:lnTo>
                    <a:pt x="231" y="67"/>
                  </a:lnTo>
                  <a:lnTo>
                    <a:pt x="229" y="69"/>
                  </a:lnTo>
                  <a:lnTo>
                    <a:pt x="229" y="71"/>
                  </a:lnTo>
                  <a:lnTo>
                    <a:pt x="231" y="74"/>
                  </a:lnTo>
                  <a:lnTo>
                    <a:pt x="231" y="76"/>
                  </a:lnTo>
                  <a:lnTo>
                    <a:pt x="231" y="78"/>
                  </a:lnTo>
                  <a:lnTo>
                    <a:pt x="226" y="81"/>
                  </a:lnTo>
                  <a:lnTo>
                    <a:pt x="226" y="81"/>
                  </a:lnTo>
                  <a:lnTo>
                    <a:pt x="229" y="83"/>
                  </a:lnTo>
                  <a:lnTo>
                    <a:pt x="231" y="85"/>
                  </a:lnTo>
                  <a:lnTo>
                    <a:pt x="233" y="88"/>
                  </a:lnTo>
                  <a:lnTo>
                    <a:pt x="233" y="90"/>
                  </a:lnTo>
                  <a:lnTo>
                    <a:pt x="236" y="90"/>
                  </a:lnTo>
                  <a:lnTo>
                    <a:pt x="236" y="90"/>
                  </a:lnTo>
                  <a:lnTo>
                    <a:pt x="238" y="90"/>
                  </a:lnTo>
                  <a:lnTo>
                    <a:pt x="241" y="90"/>
                  </a:lnTo>
                  <a:lnTo>
                    <a:pt x="241" y="93"/>
                  </a:lnTo>
                  <a:lnTo>
                    <a:pt x="241" y="95"/>
                  </a:lnTo>
                  <a:lnTo>
                    <a:pt x="241" y="97"/>
                  </a:lnTo>
                  <a:lnTo>
                    <a:pt x="241" y="97"/>
                  </a:lnTo>
                  <a:lnTo>
                    <a:pt x="248" y="97"/>
                  </a:lnTo>
                  <a:lnTo>
                    <a:pt x="248" y="100"/>
                  </a:lnTo>
                  <a:lnTo>
                    <a:pt x="250" y="97"/>
                  </a:lnTo>
                  <a:lnTo>
                    <a:pt x="252" y="100"/>
                  </a:lnTo>
                  <a:lnTo>
                    <a:pt x="252" y="102"/>
                  </a:lnTo>
                  <a:lnTo>
                    <a:pt x="252" y="104"/>
                  </a:lnTo>
                  <a:lnTo>
                    <a:pt x="250" y="104"/>
                  </a:lnTo>
                  <a:lnTo>
                    <a:pt x="250" y="107"/>
                  </a:lnTo>
                  <a:lnTo>
                    <a:pt x="248" y="107"/>
                  </a:lnTo>
                  <a:lnTo>
                    <a:pt x="248" y="107"/>
                  </a:lnTo>
                  <a:lnTo>
                    <a:pt x="245" y="107"/>
                  </a:lnTo>
                  <a:lnTo>
                    <a:pt x="243" y="107"/>
                  </a:lnTo>
                  <a:lnTo>
                    <a:pt x="243" y="107"/>
                  </a:lnTo>
                  <a:lnTo>
                    <a:pt x="241" y="109"/>
                  </a:lnTo>
                  <a:lnTo>
                    <a:pt x="238" y="111"/>
                  </a:lnTo>
                  <a:lnTo>
                    <a:pt x="238" y="114"/>
                  </a:lnTo>
                  <a:lnTo>
                    <a:pt x="241" y="116"/>
                  </a:lnTo>
                  <a:lnTo>
                    <a:pt x="241" y="119"/>
                  </a:lnTo>
                  <a:lnTo>
                    <a:pt x="241" y="119"/>
                  </a:lnTo>
                  <a:lnTo>
                    <a:pt x="241" y="119"/>
                  </a:lnTo>
                  <a:lnTo>
                    <a:pt x="241" y="121"/>
                  </a:lnTo>
                  <a:lnTo>
                    <a:pt x="238" y="121"/>
                  </a:lnTo>
                  <a:lnTo>
                    <a:pt x="238" y="123"/>
                  </a:lnTo>
                  <a:lnTo>
                    <a:pt x="238" y="123"/>
                  </a:lnTo>
                  <a:lnTo>
                    <a:pt x="238" y="126"/>
                  </a:lnTo>
                  <a:lnTo>
                    <a:pt x="243" y="126"/>
                  </a:lnTo>
                  <a:lnTo>
                    <a:pt x="243" y="126"/>
                  </a:lnTo>
                  <a:lnTo>
                    <a:pt x="243" y="128"/>
                  </a:lnTo>
                  <a:lnTo>
                    <a:pt x="241" y="128"/>
                  </a:lnTo>
                  <a:lnTo>
                    <a:pt x="241" y="128"/>
                  </a:lnTo>
                  <a:lnTo>
                    <a:pt x="238" y="126"/>
                  </a:lnTo>
                  <a:lnTo>
                    <a:pt x="238" y="128"/>
                  </a:lnTo>
                  <a:lnTo>
                    <a:pt x="233" y="130"/>
                  </a:lnTo>
                  <a:lnTo>
                    <a:pt x="231" y="135"/>
                  </a:lnTo>
                  <a:lnTo>
                    <a:pt x="229" y="137"/>
                  </a:lnTo>
                  <a:lnTo>
                    <a:pt x="226" y="137"/>
                  </a:lnTo>
                  <a:lnTo>
                    <a:pt x="226" y="140"/>
                  </a:lnTo>
                  <a:lnTo>
                    <a:pt x="226" y="142"/>
                  </a:lnTo>
                  <a:lnTo>
                    <a:pt x="226" y="145"/>
                  </a:lnTo>
                  <a:lnTo>
                    <a:pt x="224" y="147"/>
                  </a:lnTo>
                  <a:lnTo>
                    <a:pt x="222" y="149"/>
                  </a:lnTo>
                  <a:lnTo>
                    <a:pt x="219" y="149"/>
                  </a:lnTo>
                  <a:lnTo>
                    <a:pt x="217" y="149"/>
                  </a:lnTo>
                  <a:lnTo>
                    <a:pt x="217" y="152"/>
                  </a:lnTo>
                  <a:lnTo>
                    <a:pt x="215" y="156"/>
                  </a:lnTo>
                  <a:lnTo>
                    <a:pt x="212" y="159"/>
                  </a:lnTo>
                  <a:lnTo>
                    <a:pt x="207" y="168"/>
                  </a:lnTo>
                  <a:lnTo>
                    <a:pt x="205" y="168"/>
                  </a:lnTo>
                  <a:lnTo>
                    <a:pt x="203" y="171"/>
                  </a:lnTo>
                  <a:lnTo>
                    <a:pt x="198" y="175"/>
                  </a:lnTo>
                  <a:lnTo>
                    <a:pt x="198" y="175"/>
                  </a:lnTo>
                  <a:lnTo>
                    <a:pt x="196" y="180"/>
                  </a:lnTo>
                  <a:lnTo>
                    <a:pt x="191" y="185"/>
                  </a:lnTo>
                  <a:lnTo>
                    <a:pt x="191" y="189"/>
                  </a:lnTo>
                  <a:lnTo>
                    <a:pt x="189" y="189"/>
                  </a:lnTo>
                  <a:lnTo>
                    <a:pt x="186" y="189"/>
                  </a:lnTo>
                  <a:lnTo>
                    <a:pt x="179" y="189"/>
                  </a:lnTo>
                  <a:lnTo>
                    <a:pt x="179" y="189"/>
                  </a:lnTo>
                  <a:lnTo>
                    <a:pt x="177" y="192"/>
                  </a:lnTo>
                  <a:lnTo>
                    <a:pt x="174" y="194"/>
                  </a:lnTo>
                  <a:lnTo>
                    <a:pt x="172" y="194"/>
                  </a:lnTo>
                  <a:lnTo>
                    <a:pt x="172" y="192"/>
                  </a:lnTo>
                  <a:lnTo>
                    <a:pt x="172" y="192"/>
                  </a:lnTo>
                  <a:lnTo>
                    <a:pt x="170" y="187"/>
                  </a:lnTo>
                  <a:lnTo>
                    <a:pt x="167" y="187"/>
                  </a:lnTo>
                  <a:lnTo>
                    <a:pt x="167" y="187"/>
                  </a:lnTo>
                  <a:lnTo>
                    <a:pt x="165" y="189"/>
                  </a:lnTo>
                  <a:lnTo>
                    <a:pt x="163" y="192"/>
                  </a:lnTo>
                  <a:lnTo>
                    <a:pt x="158" y="194"/>
                  </a:lnTo>
                  <a:lnTo>
                    <a:pt x="155" y="201"/>
                  </a:lnTo>
                  <a:lnTo>
                    <a:pt x="153" y="204"/>
                  </a:lnTo>
                  <a:lnTo>
                    <a:pt x="151" y="206"/>
                  </a:lnTo>
                  <a:lnTo>
                    <a:pt x="151" y="211"/>
                  </a:lnTo>
                  <a:lnTo>
                    <a:pt x="151" y="213"/>
                  </a:lnTo>
                  <a:lnTo>
                    <a:pt x="151" y="213"/>
                  </a:lnTo>
                  <a:lnTo>
                    <a:pt x="153" y="215"/>
                  </a:lnTo>
                  <a:lnTo>
                    <a:pt x="155" y="215"/>
                  </a:lnTo>
                  <a:lnTo>
                    <a:pt x="158" y="215"/>
                  </a:lnTo>
                  <a:lnTo>
                    <a:pt x="160" y="215"/>
                  </a:lnTo>
                  <a:lnTo>
                    <a:pt x="160" y="215"/>
                  </a:lnTo>
                  <a:lnTo>
                    <a:pt x="163" y="218"/>
                  </a:lnTo>
                  <a:lnTo>
                    <a:pt x="163" y="218"/>
                  </a:lnTo>
                  <a:lnTo>
                    <a:pt x="163" y="220"/>
                  </a:lnTo>
                  <a:lnTo>
                    <a:pt x="160" y="225"/>
                  </a:lnTo>
                  <a:lnTo>
                    <a:pt x="160" y="227"/>
                  </a:lnTo>
                  <a:lnTo>
                    <a:pt x="160" y="230"/>
                  </a:lnTo>
                  <a:lnTo>
                    <a:pt x="165" y="232"/>
                  </a:lnTo>
                  <a:lnTo>
                    <a:pt x="165" y="232"/>
                  </a:lnTo>
                  <a:lnTo>
                    <a:pt x="167" y="232"/>
                  </a:lnTo>
                  <a:lnTo>
                    <a:pt x="170" y="232"/>
                  </a:lnTo>
                  <a:lnTo>
                    <a:pt x="170" y="232"/>
                  </a:lnTo>
                  <a:lnTo>
                    <a:pt x="170" y="237"/>
                  </a:lnTo>
                  <a:lnTo>
                    <a:pt x="170" y="239"/>
                  </a:lnTo>
                  <a:lnTo>
                    <a:pt x="172" y="241"/>
                  </a:lnTo>
                  <a:lnTo>
                    <a:pt x="172" y="244"/>
                  </a:lnTo>
                  <a:lnTo>
                    <a:pt x="174" y="246"/>
                  </a:lnTo>
                  <a:lnTo>
                    <a:pt x="177" y="248"/>
                  </a:lnTo>
                  <a:lnTo>
                    <a:pt x="177" y="248"/>
                  </a:lnTo>
                  <a:lnTo>
                    <a:pt x="177" y="248"/>
                  </a:lnTo>
                  <a:lnTo>
                    <a:pt x="177" y="251"/>
                  </a:lnTo>
                  <a:lnTo>
                    <a:pt x="177" y="251"/>
                  </a:lnTo>
                  <a:lnTo>
                    <a:pt x="177" y="251"/>
                  </a:lnTo>
                  <a:lnTo>
                    <a:pt x="177" y="256"/>
                  </a:lnTo>
                  <a:lnTo>
                    <a:pt x="177" y="256"/>
                  </a:lnTo>
                  <a:lnTo>
                    <a:pt x="177" y="256"/>
                  </a:lnTo>
                  <a:lnTo>
                    <a:pt x="177" y="258"/>
                  </a:lnTo>
                  <a:lnTo>
                    <a:pt x="177" y="258"/>
                  </a:lnTo>
                  <a:lnTo>
                    <a:pt x="174" y="258"/>
                  </a:lnTo>
                  <a:lnTo>
                    <a:pt x="174" y="260"/>
                  </a:lnTo>
                  <a:lnTo>
                    <a:pt x="172" y="260"/>
                  </a:lnTo>
                  <a:lnTo>
                    <a:pt x="172" y="260"/>
                  </a:lnTo>
                  <a:lnTo>
                    <a:pt x="170" y="260"/>
                  </a:lnTo>
                  <a:lnTo>
                    <a:pt x="170" y="260"/>
                  </a:lnTo>
                  <a:lnTo>
                    <a:pt x="170" y="258"/>
                  </a:lnTo>
                  <a:lnTo>
                    <a:pt x="170" y="258"/>
                  </a:lnTo>
                  <a:lnTo>
                    <a:pt x="170" y="256"/>
                  </a:lnTo>
                  <a:lnTo>
                    <a:pt x="167" y="256"/>
                  </a:lnTo>
                  <a:lnTo>
                    <a:pt x="165" y="258"/>
                  </a:lnTo>
                  <a:lnTo>
                    <a:pt x="160" y="258"/>
                  </a:lnTo>
                  <a:lnTo>
                    <a:pt x="160" y="260"/>
                  </a:lnTo>
                  <a:lnTo>
                    <a:pt x="160" y="260"/>
                  </a:lnTo>
                  <a:lnTo>
                    <a:pt x="158" y="260"/>
                  </a:lnTo>
                  <a:lnTo>
                    <a:pt x="153" y="260"/>
                  </a:lnTo>
                  <a:lnTo>
                    <a:pt x="151" y="258"/>
                  </a:lnTo>
                  <a:lnTo>
                    <a:pt x="151" y="260"/>
                  </a:lnTo>
                  <a:lnTo>
                    <a:pt x="148" y="258"/>
                  </a:lnTo>
                  <a:lnTo>
                    <a:pt x="144" y="258"/>
                  </a:lnTo>
                  <a:lnTo>
                    <a:pt x="144" y="258"/>
                  </a:lnTo>
                  <a:lnTo>
                    <a:pt x="141" y="258"/>
                  </a:lnTo>
                  <a:lnTo>
                    <a:pt x="141" y="258"/>
                  </a:lnTo>
                  <a:lnTo>
                    <a:pt x="139" y="260"/>
                  </a:lnTo>
                  <a:lnTo>
                    <a:pt x="139" y="260"/>
                  </a:lnTo>
                  <a:lnTo>
                    <a:pt x="139" y="258"/>
                  </a:lnTo>
                  <a:lnTo>
                    <a:pt x="139" y="258"/>
                  </a:lnTo>
                  <a:lnTo>
                    <a:pt x="137" y="258"/>
                  </a:lnTo>
                  <a:lnTo>
                    <a:pt x="137" y="265"/>
                  </a:lnTo>
                  <a:lnTo>
                    <a:pt x="132" y="265"/>
                  </a:lnTo>
                  <a:lnTo>
                    <a:pt x="129" y="265"/>
                  </a:lnTo>
                  <a:lnTo>
                    <a:pt x="129" y="265"/>
                  </a:lnTo>
                  <a:lnTo>
                    <a:pt x="127" y="265"/>
                  </a:lnTo>
                  <a:lnTo>
                    <a:pt x="127" y="267"/>
                  </a:lnTo>
                  <a:lnTo>
                    <a:pt x="127" y="267"/>
                  </a:lnTo>
                  <a:lnTo>
                    <a:pt x="125" y="270"/>
                  </a:lnTo>
                  <a:lnTo>
                    <a:pt x="125" y="270"/>
                  </a:lnTo>
                  <a:lnTo>
                    <a:pt x="120" y="267"/>
                  </a:lnTo>
                  <a:lnTo>
                    <a:pt x="115" y="267"/>
                  </a:lnTo>
                  <a:lnTo>
                    <a:pt x="115" y="267"/>
                  </a:lnTo>
                  <a:lnTo>
                    <a:pt x="115" y="265"/>
                  </a:lnTo>
                  <a:lnTo>
                    <a:pt x="113" y="263"/>
                  </a:lnTo>
                  <a:lnTo>
                    <a:pt x="113" y="263"/>
                  </a:lnTo>
                  <a:lnTo>
                    <a:pt x="111" y="258"/>
                  </a:lnTo>
                  <a:lnTo>
                    <a:pt x="108" y="253"/>
                  </a:lnTo>
                  <a:lnTo>
                    <a:pt x="108" y="251"/>
                  </a:lnTo>
                  <a:lnTo>
                    <a:pt x="108" y="251"/>
                  </a:lnTo>
                  <a:lnTo>
                    <a:pt x="103" y="248"/>
                  </a:lnTo>
                  <a:lnTo>
                    <a:pt x="101" y="248"/>
                  </a:lnTo>
                  <a:lnTo>
                    <a:pt x="101" y="241"/>
                  </a:lnTo>
                  <a:lnTo>
                    <a:pt x="99" y="239"/>
                  </a:lnTo>
                  <a:lnTo>
                    <a:pt x="96" y="239"/>
                  </a:lnTo>
                  <a:lnTo>
                    <a:pt x="94" y="237"/>
                  </a:lnTo>
                  <a:lnTo>
                    <a:pt x="92" y="237"/>
                  </a:lnTo>
                  <a:lnTo>
                    <a:pt x="85" y="239"/>
                  </a:lnTo>
                  <a:lnTo>
                    <a:pt x="80" y="239"/>
                  </a:lnTo>
                  <a:lnTo>
                    <a:pt x="75" y="239"/>
                  </a:lnTo>
                  <a:lnTo>
                    <a:pt x="70" y="239"/>
                  </a:lnTo>
                  <a:lnTo>
                    <a:pt x="66" y="239"/>
                  </a:lnTo>
                  <a:lnTo>
                    <a:pt x="63" y="241"/>
                  </a:lnTo>
                  <a:lnTo>
                    <a:pt x="63" y="241"/>
                  </a:lnTo>
                  <a:lnTo>
                    <a:pt x="59" y="241"/>
                  </a:lnTo>
                  <a:lnTo>
                    <a:pt x="56" y="239"/>
                  </a:lnTo>
                  <a:lnTo>
                    <a:pt x="52" y="239"/>
                  </a:lnTo>
                  <a:lnTo>
                    <a:pt x="47" y="239"/>
                  </a:lnTo>
                  <a:lnTo>
                    <a:pt x="44" y="241"/>
                  </a:lnTo>
                  <a:lnTo>
                    <a:pt x="40" y="241"/>
                  </a:lnTo>
                  <a:lnTo>
                    <a:pt x="33" y="239"/>
                  </a:lnTo>
                  <a:lnTo>
                    <a:pt x="28" y="241"/>
                  </a:lnTo>
                  <a:lnTo>
                    <a:pt x="23" y="244"/>
                  </a:lnTo>
                  <a:lnTo>
                    <a:pt x="21" y="241"/>
                  </a:lnTo>
                  <a:lnTo>
                    <a:pt x="18" y="244"/>
                  </a:lnTo>
                  <a:lnTo>
                    <a:pt x="16" y="244"/>
                  </a:lnTo>
                  <a:lnTo>
                    <a:pt x="14" y="244"/>
                  </a:lnTo>
                  <a:lnTo>
                    <a:pt x="14" y="244"/>
                  </a:lnTo>
                  <a:lnTo>
                    <a:pt x="11" y="24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6" name="Freeform 608">
              <a:extLst>
                <a:ext uri="{FF2B5EF4-FFF2-40B4-BE49-F238E27FC236}">
                  <a16:creationId xmlns:a16="http://schemas.microsoft.com/office/drawing/2014/main" id="{F0EB65CB-4787-468E-9748-AB4D3D3F19DE}"/>
                </a:ext>
              </a:extLst>
            </p:cNvPr>
            <p:cNvSpPr>
              <a:spLocks/>
            </p:cNvSpPr>
            <p:nvPr/>
          </p:nvSpPr>
          <p:spPr bwMode="auto">
            <a:xfrm>
              <a:off x="2963114" y="3430554"/>
              <a:ext cx="463549" cy="428626"/>
            </a:xfrm>
            <a:custGeom>
              <a:avLst/>
              <a:gdLst>
                <a:gd name="T0" fmla="*/ 33 w 292"/>
                <a:gd name="T1" fmla="*/ 213 h 270"/>
                <a:gd name="T2" fmla="*/ 33 w 292"/>
                <a:gd name="T3" fmla="*/ 192 h 270"/>
                <a:gd name="T4" fmla="*/ 0 w 292"/>
                <a:gd name="T5" fmla="*/ 152 h 270"/>
                <a:gd name="T6" fmla="*/ 30 w 292"/>
                <a:gd name="T7" fmla="*/ 159 h 270"/>
                <a:gd name="T8" fmla="*/ 59 w 292"/>
                <a:gd name="T9" fmla="*/ 156 h 270"/>
                <a:gd name="T10" fmla="*/ 94 w 292"/>
                <a:gd name="T11" fmla="*/ 149 h 270"/>
                <a:gd name="T12" fmla="*/ 101 w 292"/>
                <a:gd name="T13" fmla="*/ 126 h 270"/>
                <a:gd name="T14" fmla="*/ 120 w 292"/>
                <a:gd name="T15" fmla="*/ 121 h 270"/>
                <a:gd name="T16" fmla="*/ 127 w 292"/>
                <a:gd name="T17" fmla="*/ 111 h 270"/>
                <a:gd name="T18" fmla="*/ 137 w 292"/>
                <a:gd name="T19" fmla="*/ 114 h 270"/>
                <a:gd name="T20" fmla="*/ 146 w 292"/>
                <a:gd name="T21" fmla="*/ 97 h 270"/>
                <a:gd name="T22" fmla="*/ 151 w 292"/>
                <a:gd name="T23" fmla="*/ 85 h 270"/>
                <a:gd name="T24" fmla="*/ 163 w 292"/>
                <a:gd name="T25" fmla="*/ 71 h 270"/>
                <a:gd name="T26" fmla="*/ 170 w 292"/>
                <a:gd name="T27" fmla="*/ 67 h 270"/>
                <a:gd name="T28" fmla="*/ 177 w 292"/>
                <a:gd name="T29" fmla="*/ 55 h 270"/>
                <a:gd name="T30" fmla="*/ 186 w 292"/>
                <a:gd name="T31" fmla="*/ 38 h 270"/>
                <a:gd name="T32" fmla="*/ 179 w 292"/>
                <a:gd name="T33" fmla="*/ 22 h 270"/>
                <a:gd name="T34" fmla="*/ 191 w 292"/>
                <a:gd name="T35" fmla="*/ 15 h 270"/>
                <a:gd name="T36" fmla="*/ 203 w 292"/>
                <a:gd name="T37" fmla="*/ 8 h 270"/>
                <a:gd name="T38" fmla="*/ 231 w 292"/>
                <a:gd name="T39" fmla="*/ 5 h 270"/>
                <a:gd name="T40" fmla="*/ 243 w 292"/>
                <a:gd name="T41" fmla="*/ 3 h 270"/>
                <a:gd name="T42" fmla="*/ 255 w 292"/>
                <a:gd name="T43" fmla="*/ 8 h 270"/>
                <a:gd name="T44" fmla="*/ 264 w 292"/>
                <a:gd name="T45" fmla="*/ 19 h 270"/>
                <a:gd name="T46" fmla="*/ 269 w 292"/>
                <a:gd name="T47" fmla="*/ 26 h 270"/>
                <a:gd name="T48" fmla="*/ 285 w 292"/>
                <a:gd name="T49" fmla="*/ 34 h 270"/>
                <a:gd name="T50" fmla="*/ 278 w 292"/>
                <a:gd name="T51" fmla="*/ 48 h 270"/>
                <a:gd name="T52" fmla="*/ 264 w 292"/>
                <a:gd name="T53" fmla="*/ 52 h 270"/>
                <a:gd name="T54" fmla="*/ 255 w 292"/>
                <a:gd name="T55" fmla="*/ 52 h 270"/>
                <a:gd name="T56" fmla="*/ 231 w 292"/>
                <a:gd name="T57" fmla="*/ 48 h 270"/>
                <a:gd name="T58" fmla="*/ 229 w 292"/>
                <a:gd name="T59" fmla="*/ 60 h 270"/>
                <a:gd name="T60" fmla="*/ 231 w 292"/>
                <a:gd name="T61" fmla="*/ 64 h 270"/>
                <a:gd name="T62" fmla="*/ 231 w 292"/>
                <a:gd name="T63" fmla="*/ 78 h 270"/>
                <a:gd name="T64" fmla="*/ 236 w 292"/>
                <a:gd name="T65" fmla="*/ 90 h 270"/>
                <a:gd name="T66" fmla="*/ 248 w 292"/>
                <a:gd name="T67" fmla="*/ 100 h 270"/>
                <a:gd name="T68" fmla="*/ 248 w 292"/>
                <a:gd name="T69" fmla="*/ 107 h 270"/>
                <a:gd name="T70" fmla="*/ 241 w 292"/>
                <a:gd name="T71" fmla="*/ 119 h 270"/>
                <a:gd name="T72" fmla="*/ 243 w 292"/>
                <a:gd name="T73" fmla="*/ 126 h 270"/>
                <a:gd name="T74" fmla="*/ 231 w 292"/>
                <a:gd name="T75" fmla="*/ 135 h 270"/>
                <a:gd name="T76" fmla="*/ 219 w 292"/>
                <a:gd name="T77" fmla="*/ 149 h 270"/>
                <a:gd name="T78" fmla="*/ 198 w 292"/>
                <a:gd name="T79" fmla="*/ 175 h 270"/>
                <a:gd name="T80" fmla="*/ 179 w 292"/>
                <a:gd name="T81" fmla="*/ 189 h 270"/>
                <a:gd name="T82" fmla="*/ 167 w 292"/>
                <a:gd name="T83" fmla="*/ 187 h 270"/>
                <a:gd name="T84" fmla="*/ 151 w 292"/>
                <a:gd name="T85" fmla="*/ 213 h 270"/>
                <a:gd name="T86" fmla="*/ 163 w 292"/>
                <a:gd name="T87" fmla="*/ 218 h 270"/>
                <a:gd name="T88" fmla="*/ 170 w 292"/>
                <a:gd name="T89" fmla="*/ 232 h 270"/>
                <a:gd name="T90" fmla="*/ 177 w 292"/>
                <a:gd name="T91" fmla="*/ 248 h 270"/>
                <a:gd name="T92" fmla="*/ 177 w 292"/>
                <a:gd name="T93" fmla="*/ 258 h 270"/>
                <a:gd name="T94" fmla="*/ 170 w 292"/>
                <a:gd name="T95" fmla="*/ 258 h 270"/>
                <a:gd name="T96" fmla="*/ 158 w 292"/>
                <a:gd name="T97" fmla="*/ 260 h 270"/>
                <a:gd name="T98" fmla="*/ 141 w 292"/>
                <a:gd name="T99" fmla="*/ 258 h 270"/>
                <a:gd name="T100" fmla="*/ 129 w 292"/>
                <a:gd name="T101" fmla="*/ 265 h 270"/>
                <a:gd name="T102" fmla="*/ 115 w 292"/>
                <a:gd name="T103" fmla="*/ 267 h 270"/>
                <a:gd name="T104" fmla="*/ 108 w 292"/>
                <a:gd name="T105" fmla="*/ 251 h 270"/>
                <a:gd name="T106" fmla="*/ 85 w 292"/>
                <a:gd name="T107" fmla="*/ 239 h 270"/>
                <a:gd name="T108" fmla="*/ 56 w 292"/>
                <a:gd name="T109" fmla="*/ 239 h 270"/>
                <a:gd name="T110" fmla="*/ 21 w 292"/>
                <a:gd name="T111" fmla="*/ 241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2" h="270">
                  <a:moveTo>
                    <a:pt x="11" y="241"/>
                  </a:moveTo>
                  <a:lnTo>
                    <a:pt x="14" y="237"/>
                  </a:lnTo>
                  <a:lnTo>
                    <a:pt x="14" y="234"/>
                  </a:lnTo>
                  <a:lnTo>
                    <a:pt x="16" y="225"/>
                  </a:lnTo>
                  <a:lnTo>
                    <a:pt x="21" y="220"/>
                  </a:lnTo>
                  <a:lnTo>
                    <a:pt x="23" y="218"/>
                  </a:lnTo>
                  <a:lnTo>
                    <a:pt x="28" y="215"/>
                  </a:lnTo>
                  <a:lnTo>
                    <a:pt x="33" y="213"/>
                  </a:lnTo>
                  <a:lnTo>
                    <a:pt x="37" y="213"/>
                  </a:lnTo>
                  <a:lnTo>
                    <a:pt x="42" y="208"/>
                  </a:lnTo>
                  <a:lnTo>
                    <a:pt x="42" y="208"/>
                  </a:lnTo>
                  <a:lnTo>
                    <a:pt x="42" y="204"/>
                  </a:lnTo>
                  <a:lnTo>
                    <a:pt x="40" y="201"/>
                  </a:lnTo>
                  <a:lnTo>
                    <a:pt x="33" y="201"/>
                  </a:lnTo>
                  <a:lnTo>
                    <a:pt x="35" y="197"/>
                  </a:lnTo>
                  <a:lnTo>
                    <a:pt x="33" y="192"/>
                  </a:lnTo>
                  <a:lnTo>
                    <a:pt x="33" y="185"/>
                  </a:lnTo>
                  <a:lnTo>
                    <a:pt x="30" y="182"/>
                  </a:lnTo>
                  <a:lnTo>
                    <a:pt x="21" y="180"/>
                  </a:lnTo>
                  <a:lnTo>
                    <a:pt x="16" y="175"/>
                  </a:lnTo>
                  <a:lnTo>
                    <a:pt x="14" y="173"/>
                  </a:lnTo>
                  <a:lnTo>
                    <a:pt x="7" y="159"/>
                  </a:lnTo>
                  <a:lnTo>
                    <a:pt x="2" y="156"/>
                  </a:lnTo>
                  <a:lnTo>
                    <a:pt x="0" y="152"/>
                  </a:lnTo>
                  <a:lnTo>
                    <a:pt x="0" y="152"/>
                  </a:lnTo>
                  <a:lnTo>
                    <a:pt x="0" y="152"/>
                  </a:lnTo>
                  <a:lnTo>
                    <a:pt x="18" y="156"/>
                  </a:lnTo>
                  <a:lnTo>
                    <a:pt x="26" y="159"/>
                  </a:lnTo>
                  <a:lnTo>
                    <a:pt x="28" y="159"/>
                  </a:lnTo>
                  <a:lnTo>
                    <a:pt x="28" y="159"/>
                  </a:lnTo>
                  <a:lnTo>
                    <a:pt x="30" y="159"/>
                  </a:lnTo>
                  <a:lnTo>
                    <a:pt x="30" y="159"/>
                  </a:lnTo>
                  <a:lnTo>
                    <a:pt x="35" y="159"/>
                  </a:lnTo>
                  <a:lnTo>
                    <a:pt x="37" y="156"/>
                  </a:lnTo>
                  <a:lnTo>
                    <a:pt x="40" y="159"/>
                  </a:lnTo>
                  <a:lnTo>
                    <a:pt x="44" y="156"/>
                  </a:lnTo>
                  <a:lnTo>
                    <a:pt x="52" y="156"/>
                  </a:lnTo>
                  <a:lnTo>
                    <a:pt x="56" y="159"/>
                  </a:lnTo>
                  <a:lnTo>
                    <a:pt x="56" y="159"/>
                  </a:lnTo>
                  <a:lnTo>
                    <a:pt x="59" y="156"/>
                  </a:lnTo>
                  <a:lnTo>
                    <a:pt x="59" y="156"/>
                  </a:lnTo>
                  <a:lnTo>
                    <a:pt x="61" y="156"/>
                  </a:lnTo>
                  <a:lnTo>
                    <a:pt x="66" y="156"/>
                  </a:lnTo>
                  <a:lnTo>
                    <a:pt x="73" y="156"/>
                  </a:lnTo>
                  <a:lnTo>
                    <a:pt x="78" y="154"/>
                  </a:lnTo>
                  <a:lnTo>
                    <a:pt x="85" y="152"/>
                  </a:lnTo>
                  <a:lnTo>
                    <a:pt x="92" y="152"/>
                  </a:lnTo>
                  <a:lnTo>
                    <a:pt x="94" y="149"/>
                  </a:lnTo>
                  <a:lnTo>
                    <a:pt x="96" y="147"/>
                  </a:lnTo>
                  <a:lnTo>
                    <a:pt x="94" y="147"/>
                  </a:lnTo>
                  <a:lnTo>
                    <a:pt x="94" y="145"/>
                  </a:lnTo>
                  <a:lnTo>
                    <a:pt x="96" y="137"/>
                  </a:lnTo>
                  <a:lnTo>
                    <a:pt x="94" y="135"/>
                  </a:lnTo>
                  <a:lnTo>
                    <a:pt x="96" y="130"/>
                  </a:lnTo>
                  <a:lnTo>
                    <a:pt x="96" y="128"/>
                  </a:lnTo>
                  <a:lnTo>
                    <a:pt x="101" y="126"/>
                  </a:lnTo>
                  <a:lnTo>
                    <a:pt x="103" y="121"/>
                  </a:lnTo>
                  <a:lnTo>
                    <a:pt x="106" y="121"/>
                  </a:lnTo>
                  <a:lnTo>
                    <a:pt x="106" y="121"/>
                  </a:lnTo>
                  <a:lnTo>
                    <a:pt x="106" y="123"/>
                  </a:lnTo>
                  <a:lnTo>
                    <a:pt x="111" y="123"/>
                  </a:lnTo>
                  <a:lnTo>
                    <a:pt x="113" y="121"/>
                  </a:lnTo>
                  <a:lnTo>
                    <a:pt x="118" y="121"/>
                  </a:lnTo>
                  <a:lnTo>
                    <a:pt x="120" y="121"/>
                  </a:lnTo>
                  <a:lnTo>
                    <a:pt x="120" y="121"/>
                  </a:lnTo>
                  <a:lnTo>
                    <a:pt x="120" y="119"/>
                  </a:lnTo>
                  <a:lnTo>
                    <a:pt x="118" y="119"/>
                  </a:lnTo>
                  <a:lnTo>
                    <a:pt x="118" y="119"/>
                  </a:lnTo>
                  <a:lnTo>
                    <a:pt x="118" y="116"/>
                  </a:lnTo>
                  <a:lnTo>
                    <a:pt x="125" y="114"/>
                  </a:lnTo>
                  <a:lnTo>
                    <a:pt x="125" y="111"/>
                  </a:lnTo>
                  <a:lnTo>
                    <a:pt x="127" y="111"/>
                  </a:lnTo>
                  <a:lnTo>
                    <a:pt x="127" y="111"/>
                  </a:lnTo>
                  <a:lnTo>
                    <a:pt x="134" y="114"/>
                  </a:lnTo>
                  <a:lnTo>
                    <a:pt x="134" y="111"/>
                  </a:lnTo>
                  <a:lnTo>
                    <a:pt x="132" y="111"/>
                  </a:lnTo>
                  <a:lnTo>
                    <a:pt x="132" y="111"/>
                  </a:lnTo>
                  <a:lnTo>
                    <a:pt x="134" y="111"/>
                  </a:lnTo>
                  <a:lnTo>
                    <a:pt x="137" y="111"/>
                  </a:lnTo>
                  <a:lnTo>
                    <a:pt x="137" y="114"/>
                  </a:lnTo>
                  <a:lnTo>
                    <a:pt x="137" y="114"/>
                  </a:lnTo>
                  <a:lnTo>
                    <a:pt x="139" y="116"/>
                  </a:lnTo>
                  <a:lnTo>
                    <a:pt x="141" y="116"/>
                  </a:lnTo>
                  <a:lnTo>
                    <a:pt x="146" y="109"/>
                  </a:lnTo>
                  <a:lnTo>
                    <a:pt x="146" y="107"/>
                  </a:lnTo>
                  <a:lnTo>
                    <a:pt x="146" y="104"/>
                  </a:lnTo>
                  <a:lnTo>
                    <a:pt x="146" y="100"/>
                  </a:lnTo>
                  <a:lnTo>
                    <a:pt x="146" y="97"/>
                  </a:lnTo>
                  <a:lnTo>
                    <a:pt x="146" y="95"/>
                  </a:lnTo>
                  <a:lnTo>
                    <a:pt x="148" y="95"/>
                  </a:lnTo>
                  <a:lnTo>
                    <a:pt x="148" y="95"/>
                  </a:lnTo>
                  <a:lnTo>
                    <a:pt x="148" y="93"/>
                  </a:lnTo>
                  <a:lnTo>
                    <a:pt x="148" y="90"/>
                  </a:lnTo>
                  <a:lnTo>
                    <a:pt x="148" y="90"/>
                  </a:lnTo>
                  <a:lnTo>
                    <a:pt x="151" y="88"/>
                  </a:lnTo>
                  <a:lnTo>
                    <a:pt x="151" y="85"/>
                  </a:lnTo>
                  <a:lnTo>
                    <a:pt x="155" y="83"/>
                  </a:lnTo>
                  <a:lnTo>
                    <a:pt x="158" y="83"/>
                  </a:lnTo>
                  <a:lnTo>
                    <a:pt x="160" y="81"/>
                  </a:lnTo>
                  <a:lnTo>
                    <a:pt x="163" y="81"/>
                  </a:lnTo>
                  <a:lnTo>
                    <a:pt x="165" y="78"/>
                  </a:lnTo>
                  <a:lnTo>
                    <a:pt x="165" y="78"/>
                  </a:lnTo>
                  <a:lnTo>
                    <a:pt x="163" y="76"/>
                  </a:lnTo>
                  <a:lnTo>
                    <a:pt x="163" y="71"/>
                  </a:lnTo>
                  <a:lnTo>
                    <a:pt x="160" y="71"/>
                  </a:lnTo>
                  <a:lnTo>
                    <a:pt x="158" y="67"/>
                  </a:lnTo>
                  <a:lnTo>
                    <a:pt x="158" y="67"/>
                  </a:lnTo>
                  <a:lnTo>
                    <a:pt x="158" y="64"/>
                  </a:lnTo>
                  <a:lnTo>
                    <a:pt x="160" y="64"/>
                  </a:lnTo>
                  <a:lnTo>
                    <a:pt x="160" y="64"/>
                  </a:lnTo>
                  <a:lnTo>
                    <a:pt x="167" y="67"/>
                  </a:lnTo>
                  <a:lnTo>
                    <a:pt x="170" y="67"/>
                  </a:lnTo>
                  <a:lnTo>
                    <a:pt x="174" y="67"/>
                  </a:lnTo>
                  <a:lnTo>
                    <a:pt x="177" y="64"/>
                  </a:lnTo>
                  <a:lnTo>
                    <a:pt x="179" y="62"/>
                  </a:lnTo>
                  <a:lnTo>
                    <a:pt x="179" y="60"/>
                  </a:lnTo>
                  <a:lnTo>
                    <a:pt x="179" y="57"/>
                  </a:lnTo>
                  <a:lnTo>
                    <a:pt x="179" y="57"/>
                  </a:lnTo>
                  <a:lnTo>
                    <a:pt x="177" y="57"/>
                  </a:lnTo>
                  <a:lnTo>
                    <a:pt x="177" y="55"/>
                  </a:lnTo>
                  <a:lnTo>
                    <a:pt x="177" y="52"/>
                  </a:lnTo>
                  <a:lnTo>
                    <a:pt x="179" y="50"/>
                  </a:lnTo>
                  <a:lnTo>
                    <a:pt x="181" y="48"/>
                  </a:lnTo>
                  <a:lnTo>
                    <a:pt x="184" y="45"/>
                  </a:lnTo>
                  <a:lnTo>
                    <a:pt x="186" y="43"/>
                  </a:lnTo>
                  <a:lnTo>
                    <a:pt x="186" y="41"/>
                  </a:lnTo>
                  <a:lnTo>
                    <a:pt x="186" y="41"/>
                  </a:lnTo>
                  <a:lnTo>
                    <a:pt x="186" y="38"/>
                  </a:lnTo>
                  <a:lnTo>
                    <a:pt x="186" y="38"/>
                  </a:lnTo>
                  <a:lnTo>
                    <a:pt x="189" y="36"/>
                  </a:lnTo>
                  <a:lnTo>
                    <a:pt x="189" y="34"/>
                  </a:lnTo>
                  <a:lnTo>
                    <a:pt x="186" y="31"/>
                  </a:lnTo>
                  <a:lnTo>
                    <a:pt x="186" y="26"/>
                  </a:lnTo>
                  <a:lnTo>
                    <a:pt x="184" y="24"/>
                  </a:lnTo>
                  <a:lnTo>
                    <a:pt x="181" y="24"/>
                  </a:lnTo>
                  <a:lnTo>
                    <a:pt x="179" y="22"/>
                  </a:lnTo>
                  <a:lnTo>
                    <a:pt x="181" y="19"/>
                  </a:lnTo>
                  <a:lnTo>
                    <a:pt x="181" y="19"/>
                  </a:lnTo>
                  <a:lnTo>
                    <a:pt x="186" y="15"/>
                  </a:lnTo>
                  <a:lnTo>
                    <a:pt x="186" y="12"/>
                  </a:lnTo>
                  <a:lnTo>
                    <a:pt x="189" y="12"/>
                  </a:lnTo>
                  <a:lnTo>
                    <a:pt x="189" y="12"/>
                  </a:lnTo>
                  <a:lnTo>
                    <a:pt x="191" y="15"/>
                  </a:lnTo>
                  <a:lnTo>
                    <a:pt x="191" y="15"/>
                  </a:lnTo>
                  <a:lnTo>
                    <a:pt x="191" y="12"/>
                  </a:lnTo>
                  <a:lnTo>
                    <a:pt x="191" y="12"/>
                  </a:lnTo>
                  <a:lnTo>
                    <a:pt x="196" y="10"/>
                  </a:lnTo>
                  <a:lnTo>
                    <a:pt x="196" y="10"/>
                  </a:lnTo>
                  <a:lnTo>
                    <a:pt x="196" y="8"/>
                  </a:lnTo>
                  <a:lnTo>
                    <a:pt x="198" y="8"/>
                  </a:lnTo>
                  <a:lnTo>
                    <a:pt x="198" y="8"/>
                  </a:lnTo>
                  <a:lnTo>
                    <a:pt x="203" y="8"/>
                  </a:lnTo>
                  <a:lnTo>
                    <a:pt x="205" y="5"/>
                  </a:lnTo>
                  <a:lnTo>
                    <a:pt x="207" y="5"/>
                  </a:lnTo>
                  <a:lnTo>
                    <a:pt x="210" y="3"/>
                  </a:lnTo>
                  <a:lnTo>
                    <a:pt x="212" y="5"/>
                  </a:lnTo>
                  <a:lnTo>
                    <a:pt x="222" y="3"/>
                  </a:lnTo>
                  <a:lnTo>
                    <a:pt x="224" y="3"/>
                  </a:lnTo>
                  <a:lnTo>
                    <a:pt x="226" y="3"/>
                  </a:lnTo>
                  <a:lnTo>
                    <a:pt x="231" y="5"/>
                  </a:lnTo>
                  <a:lnTo>
                    <a:pt x="231" y="5"/>
                  </a:lnTo>
                  <a:lnTo>
                    <a:pt x="233" y="3"/>
                  </a:lnTo>
                  <a:lnTo>
                    <a:pt x="233" y="3"/>
                  </a:lnTo>
                  <a:lnTo>
                    <a:pt x="236" y="3"/>
                  </a:lnTo>
                  <a:lnTo>
                    <a:pt x="241" y="3"/>
                  </a:lnTo>
                  <a:lnTo>
                    <a:pt x="241" y="0"/>
                  </a:lnTo>
                  <a:lnTo>
                    <a:pt x="241" y="3"/>
                  </a:lnTo>
                  <a:lnTo>
                    <a:pt x="243" y="3"/>
                  </a:lnTo>
                  <a:lnTo>
                    <a:pt x="248" y="3"/>
                  </a:lnTo>
                  <a:lnTo>
                    <a:pt x="248" y="3"/>
                  </a:lnTo>
                  <a:lnTo>
                    <a:pt x="250" y="3"/>
                  </a:lnTo>
                  <a:lnTo>
                    <a:pt x="252" y="3"/>
                  </a:lnTo>
                  <a:lnTo>
                    <a:pt x="252" y="3"/>
                  </a:lnTo>
                  <a:lnTo>
                    <a:pt x="252" y="8"/>
                  </a:lnTo>
                  <a:lnTo>
                    <a:pt x="252" y="8"/>
                  </a:lnTo>
                  <a:lnTo>
                    <a:pt x="255" y="8"/>
                  </a:lnTo>
                  <a:lnTo>
                    <a:pt x="257" y="5"/>
                  </a:lnTo>
                  <a:lnTo>
                    <a:pt x="259" y="8"/>
                  </a:lnTo>
                  <a:lnTo>
                    <a:pt x="262" y="10"/>
                  </a:lnTo>
                  <a:lnTo>
                    <a:pt x="264" y="12"/>
                  </a:lnTo>
                  <a:lnTo>
                    <a:pt x="264" y="15"/>
                  </a:lnTo>
                  <a:lnTo>
                    <a:pt x="262" y="17"/>
                  </a:lnTo>
                  <a:lnTo>
                    <a:pt x="264" y="17"/>
                  </a:lnTo>
                  <a:lnTo>
                    <a:pt x="264" y="19"/>
                  </a:lnTo>
                  <a:lnTo>
                    <a:pt x="264" y="19"/>
                  </a:lnTo>
                  <a:lnTo>
                    <a:pt x="262" y="19"/>
                  </a:lnTo>
                  <a:lnTo>
                    <a:pt x="262" y="22"/>
                  </a:lnTo>
                  <a:lnTo>
                    <a:pt x="262" y="22"/>
                  </a:lnTo>
                  <a:lnTo>
                    <a:pt x="264" y="24"/>
                  </a:lnTo>
                  <a:lnTo>
                    <a:pt x="266" y="26"/>
                  </a:lnTo>
                  <a:lnTo>
                    <a:pt x="266" y="26"/>
                  </a:lnTo>
                  <a:lnTo>
                    <a:pt x="269" y="26"/>
                  </a:lnTo>
                  <a:lnTo>
                    <a:pt x="271" y="26"/>
                  </a:lnTo>
                  <a:lnTo>
                    <a:pt x="271" y="24"/>
                  </a:lnTo>
                  <a:lnTo>
                    <a:pt x="274" y="24"/>
                  </a:lnTo>
                  <a:lnTo>
                    <a:pt x="274" y="26"/>
                  </a:lnTo>
                  <a:lnTo>
                    <a:pt x="274" y="29"/>
                  </a:lnTo>
                  <a:lnTo>
                    <a:pt x="276" y="29"/>
                  </a:lnTo>
                  <a:lnTo>
                    <a:pt x="283" y="31"/>
                  </a:lnTo>
                  <a:lnTo>
                    <a:pt x="285" y="34"/>
                  </a:lnTo>
                  <a:lnTo>
                    <a:pt x="285" y="34"/>
                  </a:lnTo>
                  <a:lnTo>
                    <a:pt x="288" y="34"/>
                  </a:lnTo>
                  <a:lnTo>
                    <a:pt x="292" y="36"/>
                  </a:lnTo>
                  <a:lnTo>
                    <a:pt x="281" y="43"/>
                  </a:lnTo>
                  <a:lnTo>
                    <a:pt x="281" y="45"/>
                  </a:lnTo>
                  <a:lnTo>
                    <a:pt x="281" y="45"/>
                  </a:lnTo>
                  <a:lnTo>
                    <a:pt x="281" y="45"/>
                  </a:lnTo>
                  <a:lnTo>
                    <a:pt x="278" y="48"/>
                  </a:lnTo>
                  <a:lnTo>
                    <a:pt x="278" y="50"/>
                  </a:lnTo>
                  <a:lnTo>
                    <a:pt x="276" y="50"/>
                  </a:lnTo>
                  <a:lnTo>
                    <a:pt x="276" y="48"/>
                  </a:lnTo>
                  <a:lnTo>
                    <a:pt x="269" y="48"/>
                  </a:lnTo>
                  <a:lnTo>
                    <a:pt x="269" y="50"/>
                  </a:lnTo>
                  <a:lnTo>
                    <a:pt x="266" y="50"/>
                  </a:lnTo>
                  <a:lnTo>
                    <a:pt x="266" y="52"/>
                  </a:lnTo>
                  <a:lnTo>
                    <a:pt x="264" y="52"/>
                  </a:lnTo>
                  <a:lnTo>
                    <a:pt x="262" y="50"/>
                  </a:lnTo>
                  <a:lnTo>
                    <a:pt x="262" y="52"/>
                  </a:lnTo>
                  <a:lnTo>
                    <a:pt x="259" y="52"/>
                  </a:lnTo>
                  <a:lnTo>
                    <a:pt x="259" y="55"/>
                  </a:lnTo>
                  <a:lnTo>
                    <a:pt x="259" y="55"/>
                  </a:lnTo>
                  <a:lnTo>
                    <a:pt x="257" y="52"/>
                  </a:lnTo>
                  <a:lnTo>
                    <a:pt x="255" y="55"/>
                  </a:lnTo>
                  <a:lnTo>
                    <a:pt x="255" y="52"/>
                  </a:lnTo>
                  <a:lnTo>
                    <a:pt x="250" y="52"/>
                  </a:lnTo>
                  <a:lnTo>
                    <a:pt x="250" y="52"/>
                  </a:lnTo>
                  <a:lnTo>
                    <a:pt x="248" y="52"/>
                  </a:lnTo>
                  <a:lnTo>
                    <a:pt x="243" y="50"/>
                  </a:lnTo>
                  <a:lnTo>
                    <a:pt x="238" y="50"/>
                  </a:lnTo>
                  <a:lnTo>
                    <a:pt x="233" y="48"/>
                  </a:lnTo>
                  <a:lnTo>
                    <a:pt x="231" y="48"/>
                  </a:lnTo>
                  <a:lnTo>
                    <a:pt x="231" y="48"/>
                  </a:lnTo>
                  <a:lnTo>
                    <a:pt x="229" y="48"/>
                  </a:lnTo>
                  <a:lnTo>
                    <a:pt x="229" y="48"/>
                  </a:lnTo>
                  <a:lnTo>
                    <a:pt x="226" y="50"/>
                  </a:lnTo>
                  <a:lnTo>
                    <a:pt x="226" y="52"/>
                  </a:lnTo>
                  <a:lnTo>
                    <a:pt x="224" y="57"/>
                  </a:lnTo>
                  <a:lnTo>
                    <a:pt x="224" y="57"/>
                  </a:lnTo>
                  <a:lnTo>
                    <a:pt x="226" y="57"/>
                  </a:lnTo>
                  <a:lnTo>
                    <a:pt x="229" y="60"/>
                  </a:lnTo>
                  <a:lnTo>
                    <a:pt x="229" y="60"/>
                  </a:lnTo>
                  <a:lnTo>
                    <a:pt x="226" y="62"/>
                  </a:lnTo>
                  <a:lnTo>
                    <a:pt x="226" y="62"/>
                  </a:lnTo>
                  <a:lnTo>
                    <a:pt x="226" y="62"/>
                  </a:lnTo>
                  <a:lnTo>
                    <a:pt x="226" y="64"/>
                  </a:lnTo>
                  <a:lnTo>
                    <a:pt x="226" y="64"/>
                  </a:lnTo>
                  <a:lnTo>
                    <a:pt x="231" y="64"/>
                  </a:lnTo>
                  <a:lnTo>
                    <a:pt x="231" y="64"/>
                  </a:lnTo>
                  <a:lnTo>
                    <a:pt x="231" y="67"/>
                  </a:lnTo>
                  <a:lnTo>
                    <a:pt x="231" y="67"/>
                  </a:lnTo>
                  <a:lnTo>
                    <a:pt x="231" y="67"/>
                  </a:lnTo>
                  <a:lnTo>
                    <a:pt x="229" y="69"/>
                  </a:lnTo>
                  <a:lnTo>
                    <a:pt x="229" y="71"/>
                  </a:lnTo>
                  <a:lnTo>
                    <a:pt x="231" y="74"/>
                  </a:lnTo>
                  <a:lnTo>
                    <a:pt x="231" y="76"/>
                  </a:lnTo>
                  <a:lnTo>
                    <a:pt x="231" y="78"/>
                  </a:lnTo>
                  <a:lnTo>
                    <a:pt x="226" y="81"/>
                  </a:lnTo>
                  <a:lnTo>
                    <a:pt x="226" y="81"/>
                  </a:lnTo>
                  <a:lnTo>
                    <a:pt x="229" y="83"/>
                  </a:lnTo>
                  <a:lnTo>
                    <a:pt x="231" y="85"/>
                  </a:lnTo>
                  <a:lnTo>
                    <a:pt x="233" y="88"/>
                  </a:lnTo>
                  <a:lnTo>
                    <a:pt x="233" y="90"/>
                  </a:lnTo>
                  <a:lnTo>
                    <a:pt x="236" y="90"/>
                  </a:lnTo>
                  <a:lnTo>
                    <a:pt x="236" y="90"/>
                  </a:lnTo>
                  <a:lnTo>
                    <a:pt x="238" y="90"/>
                  </a:lnTo>
                  <a:lnTo>
                    <a:pt x="241" y="90"/>
                  </a:lnTo>
                  <a:lnTo>
                    <a:pt x="241" y="93"/>
                  </a:lnTo>
                  <a:lnTo>
                    <a:pt x="241" y="95"/>
                  </a:lnTo>
                  <a:lnTo>
                    <a:pt x="241" y="97"/>
                  </a:lnTo>
                  <a:lnTo>
                    <a:pt x="241" y="97"/>
                  </a:lnTo>
                  <a:lnTo>
                    <a:pt x="248" y="97"/>
                  </a:lnTo>
                  <a:lnTo>
                    <a:pt x="248" y="100"/>
                  </a:lnTo>
                  <a:lnTo>
                    <a:pt x="250" y="97"/>
                  </a:lnTo>
                  <a:lnTo>
                    <a:pt x="252" y="100"/>
                  </a:lnTo>
                  <a:lnTo>
                    <a:pt x="252" y="102"/>
                  </a:lnTo>
                  <a:lnTo>
                    <a:pt x="252" y="104"/>
                  </a:lnTo>
                  <a:lnTo>
                    <a:pt x="250" y="104"/>
                  </a:lnTo>
                  <a:lnTo>
                    <a:pt x="250" y="107"/>
                  </a:lnTo>
                  <a:lnTo>
                    <a:pt x="248" y="107"/>
                  </a:lnTo>
                  <a:lnTo>
                    <a:pt x="248" y="107"/>
                  </a:lnTo>
                  <a:lnTo>
                    <a:pt x="245" y="107"/>
                  </a:lnTo>
                  <a:lnTo>
                    <a:pt x="243" y="107"/>
                  </a:lnTo>
                  <a:lnTo>
                    <a:pt x="243" y="107"/>
                  </a:lnTo>
                  <a:lnTo>
                    <a:pt x="241" y="109"/>
                  </a:lnTo>
                  <a:lnTo>
                    <a:pt x="238" y="111"/>
                  </a:lnTo>
                  <a:lnTo>
                    <a:pt x="238" y="114"/>
                  </a:lnTo>
                  <a:lnTo>
                    <a:pt x="241" y="116"/>
                  </a:lnTo>
                  <a:lnTo>
                    <a:pt x="241" y="119"/>
                  </a:lnTo>
                  <a:lnTo>
                    <a:pt x="241" y="119"/>
                  </a:lnTo>
                  <a:lnTo>
                    <a:pt x="241" y="119"/>
                  </a:lnTo>
                  <a:lnTo>
                    <a:pt x="241" y="121"/>
                  </a:lnTo>
                  <a:lnTo>
                    <a:pt x="238" y="121"/>
                  </a:lnTo>
                  <a:lnTo>
                    <a:pt x="238" y="123"/>
                  </a:lnTo>
                  <a:lnTo>
                    <a:pt x="238" y="123"/>
                  </a:lnTo>
                  <a:lnTo>
                    <a:pt x="238" y="126"/>
                  </a:lnTo>
                  <a:lnTo>
                    <a:pt x="243" y="126"/>
                  </a:lnTo>
                  <a:lnTo>
                    <a:pt x="243" y="126"/>
                  </a:lnTo>
                  <a:lnTo>
                    <a:pt x="243" y="128"/>
                  </a:lnTo>
                  <a:lnTo>
                    <a:pt x="241" y="128"/>
                  </a:lnTo>
                  <a:lnTo>
                    <a:pt x="241" y="128"/>
                  </a:lnTo>
                  <a:lnTo>
                    <a:pt x="238" y="126"/>
                  </a:lnTo>
                  <a:lnTo>
                    <a:pt x="238" y="128"/>
                  </a:lnTo>
                  <a:lnTo>
                    <a:pt x="233" y="130"/>
                  </a:lnTo>
                  <a:lnTo>
                    <a:pt x="231" y="135"/>
                  </a:lnTo>
                  <a:lnTo>
                    <a:pt x="229" y="137"/>
                  </a:lnTo>
                  <a:lnTo>
                    <a:pt x="226" y="137"/>
                  </a:lnTo>
                  <a:lnTo>
                    <a:pt x="226" y="140"/>
                  </a:lnTo>
                  <a:lnTo>
                    <a:pt x="226" y="142"/>
                  </a:lnTo>
                  <a:lnTo>
                    <a:pt x="226" y="145"/>
                  </a:lnTo>
                  <a:lnTo>
                    <a:pt x="224" y="147"/>
                  </a:lnTo>
                  <a:lnTo>
                    <a:pt x="222" y="149"/>
                  </a:lnTo>
                  <a:lnTo>
                    <a:pt x="219" y="149"/>
                  </a:lnTo>
                  <a:lnTo>
                    <a:pt x="217" y="149"/>
                  </a:lnTo>
                  <a:lnTo>
                    <a:pt x="217" y="152"/>
                  </a:lnTo>
                  <a:lnTo>
                    <a:pt x="215" y="156"/>
                  </a:lnTo>
                  <a:lnTo>
                    <a:pt x="212" y="159"/>
                  </a:lnTo>
                  <a:lnTo>
                    <a:pt x="207" y="168"/>
                  </a:lnTo>
                  <a:lnTo>
                    <a:pt x="205" y="168"/>
                  </a:lnTo>
                  <a:lnTo>
                    <a:pt x="203" y="171"/>
                  </a:lnTo>
                  <a:lnTo>
                    <a:pt x="198" y="175"/>
                  </a:lnTo>
                  <a:lnTo>
                    <a:pt x="198" y="175"/>
                  </a:lnTo>
                  <a:lnTo>
                    <a:pt x="196" y="180"/>
                  </a:lnTo>
                  <a:lnTo>
                    <a:pt x="191" y="185"/>
                  </a:lnTo>
                  <a:lnTo>
                    <a:pt x="191" y="189"/>
                  </a:lnTo>
                  <a:lnTo>
                    <a:pt x="189" y="189"/>
                  </a:lnTo>
                  <a:lnTo>
                    <a:pt x="186" y="189"/>
                  </a:lnTo>
                  <a:lnTo>
                    <a:pt x="179" y="189"/>
                  </a:lnTo>
                  <a:lnTo>
                    <a:pt x="179" y="189"/>
                  </a:lnTo>
                  <a:lnTo>
                    <a:pt x="177" y="192"/>
                  </a:lnTo>
                  <a:lnTo>
                    <a:pt x="174" y="194"/>
                  </a:lnTo>
                  <a:lnTo>
                    <a:pt x="172" y="194"/>
                  </a:lnTo>
                  <a:lnTo>
                    <a:pt x="172" y="192"/>
                  </a:lnTo>
                  <a:lnTo>
                    <a:pt x="172" y="192"/>
                  </a:lnTo>
                  <a:lnTo>
                    <a:pt x="170" y="187"/>
                  </a:lnTo>
                  <a:lnTo>
                    <a:pt x="167" y="187"/>
                  </a:lnTo>
                  <a:lnTo>
                    <a:pt x="167" y="187"/>
                  </a:lnTo>
                  <a:lnTo>
                    <a:pt x="165" y="189"/>
                  </a:lnTo>
                  <a:lnTo>
                    <a:pt x="163" y="192"/>
                  </a:lnTo>
                  <a:lnTo>
                    <a:pt x="158" y="194"/>
                  </a:lnTo>
                  <a:lnTo>
                    <a:pt x="155" y="201"/>
                  </a:lnTo>
                  <a:lnTo>
                    <a:pt x="153" y="204"/>
                  </a:lnTo>
                  <a:lnTo>
                    <a:pt x="151" y="206"/>
                  </a:lnTo>
                  <a:lnTo>
                    <a:pt x="151" y="211"/>
                  </a:lnTo>
                  <a:lnTo>
                    <a:pt x="151" y="213"/>
                  </a:lnTo>
                  <a:lnTo>
                    <a:pt x="151" y="213"/>
                  </a:lnTo>
                  <a:lnTo>
                    <a:pt x="153" y="215"/>
                  </a:lnTo>
                  <a:lnTo>
                    <a:pt x="155" y="215"/>
                  </a:lnTo>
                  <a:lnTo>
                    <a:pt x="158" y="215"/>
                  </a:lnTo>
                  <a:lnTo>
                    <a:pt x="160" y="215"/>
                  </a:lnTo>
                  <a:lnTo>
                    <a:pt x="160" y="215"/>
                  </a:lnTo>
                  <a:lnTo>
                    <a:pt x="163" y="218"/>
                  </a:lnTo>
                  <a:lnTo>
                    <a:pt x="163" y="218"/>
                  </a:lnTo>
                  <a:lnTo>
                    <a:pt x="163" y="220"/>
                  </a:lnTo>
                  <a:lnTo>
                    <a:pt x="160" y="225"/>
                  </a:lnTo>
                  <a:lnTo>
                    <a:pt x="160" y="227"/>
                  </a:lnTo>
                  <a:lnTo>
                    <a:pt x="160" y="230"/>
                  </a:lnTo>
                  <a:lnTo>
                    <a:pt x="165" y="232"/>
                  </a:lnTo>
                  <a:lnTo>
                    <a:pt x="165" y="232"/>
                  </a:lnTo>
                  <a:lnTo>
                    <a:pt x="167" y="232"/>
                  </a:lnTo>
                  <a:lnTo>
                    <a:pt x="170" y="232"/>
                  </a:lnTo>
                  <a:lnTo>
                    <a:pt x="170" y="232"/>
                  </a:lnTo>
                  <a:lnTo>
                    <a:pt x="170" y="237"/>
                  </a:lnTo>
                  <a:lnTo>
                    <a:pt x="170" y="239"/>
                  </a:lnTo>
                  <a:lnTo>
                    <a:pt x="172" y="241"/>
                  </a:lnTo>
                  <a:lnTo>
                    <a:pt x="172" y="244"/>
                  </a:lnTo>
                  <a:lnTo>
                    <a:pt x="174" y="246"/>
                  </a:lnTo>
                  <a:lnTo>
                    <a:pt x="177" y="248"/>
                  </a:lnTo>
                  <a:lnTo>
                    <a:pt x="177" y="248"/>
                  </a:lnTo>
                  <a:lnTo>
                    <a:pt x="177" y="248"/>
                  </a:lnTo>
                  <a:lnTo>
                    <a:pt x="177" y="251"/>
                  </a:lnTo>
                  <a:lnTo>
                    <a:pt x="177" y="251"/>
                  </a:lnTo>
                  <a:lnTo>
                    <a:pt x="177" y="251"/>
                  </a:lnTo>
                  <a:lnTo>
                    <a:pt x="177" y="256"/>
                  </a:lnTo>
                  <a:lnTo>
                    <a:pt x="177" y="256"/>
                  </a:lnTo>
                  <a:lnTo>
                    <a:pt x="177" y="256"/>
                  </a:lnTo>
                  <a:lnTo>
                    <a:pt x="177" y="258"/>
                  </a:lnTo>
                  <a:lnTo>
                    <a:pt x="177" y="258"/>
                  </a:lnTo>
                  <a:lnTo>
                    <a:pt x="174" y="258"/>
                  </a:lnTo>
                  <a:lnTo>
                    <a:pt x="174" y="260"/>
                  </a:lnTo>
                  <a:lnTo>
                    <a:pt x="172" y="260"/>
                  </a:lnTo>
                  <a:lnTo>
                    <a:pt x="172" y="260"/>
                  </a:lnTo>
                  <a:lnTo>
                    <a:pt x="170" y="260"/>
                  </a:lnTo>
                  <a:lnTo>
                    <a:pt x="170" y="260"/>
                  </a:lnTo>
                  <a:lnTo>
                    <a:pt x="170" y="258"/>
                  </a:lnTo>
                  <a:lnTo>
                    <a:pt x="170" y="258"/>
                  </a:lnTo>
                  <a:lnTo>
                    <a:pt x="170" y="256"/>
                  </a:lnTo>
                  <a:lnTo>
                    <a:pt x="167" y="256"/>
                  </a:lnTo>
                  <a:lnTo>
                    <a:pt x="165" y="258"/>
                  </a:lnTo>
                  <a:lnTo>
                    <a:pt x="160" y="258"/>
                  </a:lnTo>
                  <a:lnTo>
                    <a:pt x="160" y="260"/>
                  </a:lnTo>
                  <a:lnTo>
                    <a:pt x="160" y="260"/>
                  </a:lnTo>
                  <a:lnTo>
                    <a:pt x="158" y="260"/>
                  </a:lnTo>
                  <a:lnTo>
                    <a:pt x="153" y="260"/>
                  </a:lnTo>
                  <a:lnTo>
                    <a:pt x="151" y="258"/>
                  </a:lnTo>
                  <a:lnTo>
                    <a:pt x="151" y="260"/>
                  </a:lnTo>
                  <a:lnTo>
                    <a:pt x="148" y="258"/>
                  </a:lnTo>
                  <a:lnTo>
                    <a:pt x="144" y="258"/>
                  </a:lnTo>
                  <a:lnTo>
                    <a:pt x="144" y="258"/>
                  </a:lnTo>
                  <a:lnTo>
                    <a:pt x="141" y="258"/>
                  </a:lnTo>
                  <a:lnTo>
                    <a:pt x="141" y="258"/>
                  </a:lnTo>
                  <a:lnTo>
                    <a:pt x="139" y="260"/>
                  </a:lnTo>
                  <a:lnTo>
                    <a:pt x="139" y="260"/>
                  </a:lnTo>
                  <a:lnTo>
                    <a:pt x="139" y="258"/>
                  </a:lnTo>
                  <a:lnTo>
                    <a:pt x="139" y="258"/>
                  </a:lnTo>
                  <a:lnTo>
                    <a:pt x="137" y="258"/>
                  </a:lnTo>
                  <a:lnTo>
                    <a:pt x="137" y="265"/>
                  </a:lnTo>
                  <a:lnTo>
                    <a:pt x="132" y="265"/>
                  </a:lnTo>
                  <a:lnTo>
                    <a:pt x="129" y="265"/>
                  </a:lnTo>
                  <a:lnTo>
                    <a:pt x="129" y="265"/>
                  </a:lnTo>
                  <a:lnTo>
                    <a:pt x="127" y="265"/>
                  </a:lnTo>
                  <a:lnTo>
                    <a:pt x="127" y="267"/>
                  </a:lnTo>
                  <a:lnTo>
                    <a:pt x="127" y="267"/>
                  </a:lnTo>
                  <a:lnTo>
                    <a:pt x="125" y="270"/>
                  </a:lnTo>
                  <a:lnTo>
                    <a:pt x="125" y="270"/>
                  </a:lnTo>
                  <a:lnTo>
                    <a:pt x="120" y="267"/>
                  </a:lnTo>
                  <a:lnTo>
                    <a:pt x="115" y="267"/>
                  </a:lnTo>
                  <a:lnTo>
                    <a:pt x="115" y="267"/>
                  </a:lnTo>
                  <a:lnTo>
                    <a:pt x="115" y="265"/>
                  </a:lnTo>
                  <a:lnTo>
                    <a:pt x="113" y="263"/>
                  </a:lnTo>
                  <a:lnTo>
                    <a:pt x="113" y="263"/>
                  </a:lnTo>
                  <a:lnTo>
                    <a:pt x="111" y="258"/>
                  </a:lnTo>
                  <a:lnTo>
                    <a:pt x="108" y="253"/>
                  </a:lnTo>
                  <a:lnTo>
                    <a:pt x="108" y="251"/>
                  </a:lnTo>
                  <a:lnTo>
                    <a:pt x="108" y="251"/>
                  </a:lnTo>
                  <a:lnTo>
                    <a:pt x="103" y="248"/>
                  </a:lnTo>
                  <a:lnTo>
                    <a:pt x="101" y="248"/>
                  </a:lnTo>
                  <a:lnTo>
                    <a:pt x="101" y="241"/>
                  </a:lnTo>
                  <a:lnTo>
                    <a:pt x="99" y="239"/>
                  </a:lnTo>
                  <a:lnTo>
                    <a:pt x="96" y="239"/>
                  </a:lnTo>
                  <a:lnTo>
                    <a:pt x="94" y="237"/>
                  </a:lnTo>
                  <a:lnTo>
                    <a:pt x="92" y="237"/>
                  </a:lnTo>
                  <a:lnTo>
                    <a:pt x="85" y="239"/>
                  </a:lnTo>
                  <a:lnTo>
                    <a:pt x="80" y="239"/>
                  </a:lnTo>
                  <a:lnTo>
                    <a:pt x="75" y="239"/>
                  </a:lnTo>
                  <a:lnTo>
                    <a:pt x="70" y="239"/>
                  </a:lnTo>
                  <a:lnTo>
                    <a:pt x="66" y="239"/>
                  </a:lnTo>
                  <a:lnTo>
                    <a:pt x="63" y="241"/>
                  </a:lnTo>
                  <a:lnTo>
                    <a:pt x="63" y="241"/>
                  </a:lnTo>
                  <a:lnTo>
                    <a:pt x="59" y="241"/>
                  </a:lnTo>
                  <a:lnTo>
                    <a:pt x="56" y="239"/>
                  </a:lnTo>
                  <a:lnTo>
                    <a:pt x="52" y="239"/>
                  </a:lnTo>
                  <a:lnTo>
                    <a:pt x="47" y="239"/>
                  </a:lnTo>
                  <a:lnTo>
                    <a:pt x="44" y="241"/>
                  </a:lnTo>
                  <a:lnTo>
                    <a:pt x="40" y="241"/>
                  </a:lnTo>
                  <a:lnTo>
                    <a:pt x="33" y="239"/>
                  </a:lnTo>
                  <a:lnTo>
                    <a:pt x="28" y="241"/>
                  </a:lnTo>
                  <a:lnTo>
                    <a:pt x="23" y="244"/>
                  </a:lnTo>
                  <a:lnTo>
                    <a:pt x="21" y="241"/>
                  </a:lnTo>
                  <a:lnTo>
                    <a:pt x="18" y="244"/>
                  </a:lnTo>
                  <a:lnTo>
                    <a:pt x="16" y="244"/>
                  </a:lnTo>
                  <a:lnTo>
                    <a:pt x="14" y="244"/>
                  </a:lnTo>
                  <a:lnTo>
                    <a:pt x="14" y="244"/>
                  </a:lnTo>
                  <a:lnTo>
                    <a:pt x="11" y="24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7" name="Freeform 609">
              <a:extLst>
                <a:ext uri="{FF2B5EF4-FFF2-40B4-BE49-F238E27FC236}">
                  <a16:creationId xmlns:a16="http://schemas.microsoft.com/office/drawing/2014/main" id="{C6CF18D4-B1A7-4B71-8160-0321DC25873A}"/>
                </a:ext>
              </a:extLst>
            </p:cNvPr>
            <p:cNvSpPr>
              <a:spLocks/>
            </p:cNvSpPr>
            <p:nvPr/>
          </p:nvSpPr>
          <p:spPr bwMode="auto">
            <a:xfrm>
              <a:off x="2036016" y="1009613"/>
              <a:ext cx="4222742" cy="2271716"/>
            </a:xfrm>
            <a:custGeom>
              <a:avLst/>
              <a:gdLst>
                <a:gd name="T0" fmla="*/ 1037 w 2660"/>
                <a:gd name="T1" fmla="*/ 1225 h 1431"/>
                <a:gd name="T2" fmla="*/ 1304 w 2660"/>
                <a:gd name="T3" fmla="*/ 1185 h 1431"/>
                <a:gd name="T4" fmla="*/ 1625 w 2660"/>
                <a:gd name="T5" fmla="*/ 1145 h 1431"/>
                <a:gd name="T6" fmla="*/ 1807 w 2660"/>
                <a:gd name="T7" fmla="*/ 1270 h 1431"/>
                <a:gd name="T8" fmla="*/ 1833 w 2660"/>
                <a:gd name="T9" fmla="*/ 1393 h 1431"/>
                <a:gd name="T10" fmla="*/ 1984 w 2660"/>
                <a:gd name="T11" fmla="*/ 1164 h 1431"/>
                <a:gd name="T12" fmla="*/ 1923 w 2660"/>
                <a:gd name="T13" fmla="*/ 1103 h 1431"/>
                <a:gd name="T14" fmla="*/ 1977 w 2660"/>
                <a:gd name="T15" fmla="*/ 966 h 1431"/>
                <a:gd name="T16" fmla="*/ 2162 w 2660"/>
                <a:gd name="T17" fmla="*/ 937 h 1431"/>
                <a:gd name="T18" fmla="*/ 2301 w 2660"/>
                <a:gd name="T19" fmla="*/ 843 h 1431"/>
                <a:gd name="T20" fmla="*/ 2381 w 2660"/>
                <a:gd name="T21" fmla="*/ 848 h 1431"/>
                <a:gd name="T22" fmla="*/ 2240 w 2660"/>
                <a:gd name="T23" fmla="*/ 1100 h 1431"/>
                <a:gd name="T24" fmla="*/ 2351 w 2660"/>
                <a:gd name="T25" fmla="*/ 1029 h 1431"/>
                <a:gd name="T26" fmla="*/ 2391 w 2660"/>
                <a:gd name="T27" fmla="*/ 907 h 1431"/>
                <a:gd name="T28" fmla="*/ 2514 w 2660"/>
                <a:gd name="T29" fmla="*/ 881 h 1431"/>
                <a:gd name="T30" fmla="*/ 2610 w 2660"/>
                <a:gd name="T31" fmla="*/ 810 h 1431"/>
                <a:gd name="T32" fmla="*/ 2629 w 2660"/>
                <a:gd name="T33" fmla="*/ 729 h 1431"/>
                <a:gd name="T34" fmla="*/ 2469 w 2660"/>
                <a:gd name="T35" fmla="*/ 533 h 1431"/>
                <a:gd name="T36" fmla="*/ 2308 w 2660"/>
                <a:gd name="T37" fmla="*/ 463 h 1431"/>
                <a:gd name="T38" fmla="*/ 2128 w 2660"/>
                <a:gd name="T39" fmla="*/ 389 h 1431"/>
                <a:gd name="T40" fmla="*/ 1963 w 2660"/>
                <a:gd name="T41" fmla="*/ 411 h 1431"/>
                <a:gd name="T42" fmla="*/ 1814 w 2660"/>
                <a:gd name="T43" fmla="*/ 451 h 1431"/>
                <a:gd name="T44" fmla="*/ 1777 w 2660"/>
                <a:gd name="T45" fmla="*/ 340 h 1431"/>
                <a:gd name="T46" fmla="*/ 1673 w 2660"/>
                <a:gd name="T47" fmla="*/ 281 h 1431"/>
                <a:gd name="T48" fmla="*/ 1507 w 2660"/>
                <a:gd name="T49" fmla="*/ 302 h 1431"/>
                <a:gd name="T50" fmla="*/ 1446 w 2660"/>
                <a:gd name="T51" fmla="*/ 290 h 1431"/>
                <a:gd name="T52" fmla="*/ 1384 w 2660"/>
                <a:gd name="T53" fmla="*/ 307 h 1431"/>
                <a:gd name="T54" fmla="*/ 1493 w 2660"/>
                <a:gd name="T55" fmla="*/ 156 h 1431"/>
                <a:gd name="T56" fmla="*/ 1408 w 2660"/>
                <a:gd name="T57" fmla="*/ 78 h 1431"/>
                <a:gd name="T58" fmla="*/ 1363 w 2660"/>
                <a:gd name="T59" fmla="*/ 28 h 1431"/>
                <a:gd name="T60" fmla="*/ 1254 w 2660"/>
                <a:gd name="T61" fmla="*/ 108 h 1431"/>
                <a:gd name="T62" fmla="*/ 1165 w 2660"/>
                <a:gd name="T63" fmla="*/ 122 h 1431"/>
                <a:gd name="T64" fmla="*/ 1037 w 2660"/>
                <a:gd name="T65" fmla="*/ 191 h 1431"/>
                <a:gd name="T66" fmla="*/ 1023 w 2660"/>
                <a:gd name="T67" fmla="*/ 274 h 1431"/>
                <a:gd name="T68" fmla="*/ 959 w 2660"/>
                <a:gd name="T69" fmla="*/ 375 h 1431"/>
                <a:gd name="T70" fmla="*/ 933 w 2660"/>
                <a:gd name="T71" fmla="*/ 387 h 1431"/>
                <a:gd name="T72" fmla="*/ 839 w 2660"/>
                <a:gd name="T73" fmla="*/ 406 h 1431"/>
                <a:gd name="T74" fmla="*/ 834 w 2660"/>
                <a:gd name="T75" fmla="*/ 533 h 1431"/>
                <a:gd name="T76" fmla="*/ 822 w 2660"/>
                <a:gd name="T77" fmla="*/ 552 h 1431"/>
                <a:gd name="T78" fmla="*/ 770 w 2660"/>
                <a:gd name="T79" fmla="*/ 630 h 1431"/>
                <a:gd name="T80" fmla="*/ 782 w 2660"/>
                <a:gd name="T81" fmla="*/ 394 h 1431"/>
                <a:gd name="T82" fmla="*/ 687 w 2660"/>
                <a:gd name="T83" fmla="*/ 496 h 1431"/>
                <a:gd name="T84" fmla="*/ 586 w 2660"/>
                <a:gd name="T85" fmla="*/ 533 h 1431"/>
                <a:gd name="T86" fmla="*/ 465 w 2660"/>
                <a:gd name="T87" fmla="*/ 543 h 1431"/>
                <a:gd name="T88" fmla="*/ 310 w 2660"/>
                <a:gd name="T89" fmla="*/ 609 h 1431"/>
                <a:gd name="T90" fmla="*/ 236 w 2660"/>
                <a:gd name="T91" fmla="*/ 678 h 1431"/>
                <a:gd name="T92" fmla="*/ 154 w 2660"/>
                <a:gd name="T93" fmla="*/ 755 h 1431"/>
                <a:gd name="T94" fmla="*/ 135 w 2660"/>
                <a:gd name="T95" fmla="*/ 654 h 1431"/>
                <a:gd name="T96" fmla="*/ 137 w 2660"/>
                <a:gd name="T97" fmla="*/ 531 h 1431"/>
                <a:gd name="T98" fmla="*/ 50 w 2660"/>
                <a:gd name="T99" fmla="*/ 510 h 1431"/>
                <a:gd name="T100" fmla="*/ 69 w 2660"/>
                <a:gd name="T101" fmla="*/ 798 h 1431"/>
                <a:gd name="T102" fmla="*/ 7 w 2660"/>
                <a:gd name="T103" fmla="*/ 959 h 1431"/>
                <a:gd name="T104" fmla="*/ 61 w 2660"/>
                <a:gd name="T105" fmla="*/ 1070 h 1431"/>
                <a:gd name="T106" fmla="*/ 123 w 2660"/>
                <a:gd name="T107" fmla="*/ 1164 h 1431"/>
                <a:gd name="T108" fmla="*/ 217 w 2660"/>
                <a:gd name="T109" fmla="*/ 1256 h 1431"/>
                <a:gd name="T110" fmla="*/ 184 w 2660"/>
                <a:gd name="T111" fmla="*/ 1353 h 1431"/>
                <a:gd name="T112" fmla="*/ 366 w 2660"/>
                <a:gd name="T113" fmla="*/ 1417 h 1431"/>
                <a:gd name="T114" fmla="*/ 352 w 2660"/>
                <a:gd name="T115" fmla="*/ 1270 h 1431"/>
                <a:gd name="T116" fmla="*/ 423 w 2660"/>
                <a:gd name="T117" fmla="*/ 1171 h 1431"/>
                <a:gd name="T118" fmla="*/ 543 w 2660"/>
                <a:gd name="T119" fmla="*/ 1190 h 1431"/>
                <a:gd name="T120" fmla="*/ 595 w 2660"/>
                <a:gd name="T121" fmla="*/ 1112 h 1431"/>
                <a:gd name="T122" fmla="*/ 728 w 2660"/>
                <a:gd name="T123" fmla="*/ 1055 h 1431"/>
                <a:gd name="T124" fmla="*/ 803 w 2660"/>
                <a:gd name="T125" fmla="*/ 1114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0" h="1431">
                  <a:moveTo>
                    <a:pt x="855" y="1098"/>
                  </a:moveTo>
                  <a:lnTo>
                    <a:pt x="858" y="1100"/>
                  </a:lnTo>
                  <a:lnTo>
                    <a:pt x="858" y="1100"/>
                  </a:lnTo>
                  <a:lnTo>
                    <a:pt x="881" y="1122"/>
                  </a:lnTo>
                  <a:lnTo>
                    <a:pt x="919" y="1190"/>
                  </a:lnTo>
                  <a:lnTo>
                    <a:pt x="924" y="1188"/>
                  </a:lnTo>
                  <a:lnTo>
                    <a:pt x="924" y="1185"/>
                  </a:lnTo>
                  <a:lnTo>
                    <a:pt x="924" y="1183"/>
                  </a:lnTo>
                  <a:lnTo>
                    <a:pt x="928" y="1178"/>
                  </a:lnTo>
                  <a:lnTo>
                    <a:pt x="931" y="1178"/>
                  </a:lnTo>
                  <a:lnTo>
                    <a:pt x="931" y="1181"/>
                  </a:lnTo>
                  <a:lnTo>
                    <a:pt x="936" y="1181"/>
                  </a:lnTo>
                  <a:lnTo>
                    <a:pt x="938" y="1183"/>
                  </a:lnTo>
                  <a:lnTo>
                    <a:pt x="938" y="1185"/>
                  </a:lnTo>
                  <a:lnTo>
                    <a:pt x="938" y="1188"/>
                  </a:lnTo>
                  <a:lnTo>
                    <a:pt x="940" y="1188"/>
                  </a:lnTo>
                  <a:lnTo>
                    <a:pt x="943" y="1192"/>
                  </a:lnTo>
                  <a:lnTo>
                    <a:pt x="950" y="1192"/>
                  </a:lnTo>
                  <a:lnTo>
                    <a:pt x="954" y="1192"/>
                  </a:lnTo>
                  <a:lnTo>
                    <a:pt x="957" y="1192"/>
                  </a:lnTo>
                  <a:lnTo>
                    <a:pt x="964" y="1192"/>
                  </a:lnTo>
                  <a:lnTo>
                    <a:pt x="964" y="1190"/>
                  </a:lnTo>
                  <a:lnTo>
                    <a:pt x="966" y="1188"/>
                  </a:lnTo>
                  <a:lnTo>
                    <a:pt x="969" y="1188"/>
                  </a:lnTo>
                  <a:lnTo>
                    <a:pt x="971" y="1188"/>
                  </a:lnTo>
                  <a:lnTo>
                    <a:pt x="971" y="1185"/>
                  </a:lnTo>
                  <a:lnTo>
                    <a:pt x="973" y="1185"/>
                  </a:lnTo>
                  <a:lnTo>
                    <a:pt x="978" y="1185"/>
                  </a:lnTo>
                  <a:lnTo>
                    <a:pt x="980" y="1188"/>
                  </a:lnTo>
                  <a:lnTo>
                    <a:pt x="983" y="1190"/>
                  </a:lnTo>
                  <a:lnTo>
                    <a:pt x="985" y="1190"/>
                  </a:lnTo>
                  <a:lnTo>
                    <a:pt x="988" y="1195"/>
                  </a:lnTo>
                  <a:lnTo>
                    <a:pt x="990" y="1195"/>
                  </a:lnTo>
                  <a:lnTo>
                    <a:pt x="990" y="1197"/>
                  </a:lnTo>
                  <a:lnTo>
                    <a:pt x="990" y="1202"/>
                  </a:lnTo>
                  <a:lnTo>
                    <a:pt x="990" y="1204"/>
                  </a:lnTo>
                  <a:lnTo>
                    <a:pt x="992" y="1207"/>
                  </a:lnTo>
                  <a:lnTo>
                    <a:pt x="995" y="1207"/>
                  </a:lnTo>
                  <a:lnTo>
                    <a:pt x="1002" y="1209"/>
                  </a:lnTo>
                  <a:lnTo>
                    <a:pt x="1002" y="1211"/>
                  </a:lnTo>
                  <a:lnTo>
                    <a:pt x="1002" y="1214"/>
                  </a:lnTo>
                  <a:lnTo>
                    <a:pt x="1004" y="1216"/>
                  </a:lnTo>
                  <a:lnTo>
                    <a:pt x="1006" y="1216"/>
                  </a:lnTo>
                  <a:lnTo>
                    <a:pt x="1009" y="1221"/>
                  </a:lnTo>
                  <a:lnTo>
                    <a:pt x="1011" y="1223"/>
                  </a:lnTo>
                  <a:lnTo>
                    <a:pt x="1016" y="1223"/>
                  </a:lnTo>
                  <a:lnTo>
                    <a:pt x="1018" y="1225"/>
                  </a:lnTo>
                  <a:lnTo>
                    <a:pt x="1021" y="1225"/>
                  </a:lnTo>
                  <a:lnTo>
                    <a:pt x="1023" y="1225"/>
                  </a:lnTo>
                  <a:lnTo>
                    <a:pt x="1025" y="1225"/>
                  </a:lnTo>
                  <a:lnTo>
                    <a:pt x="1028" y="1223"/>
                  </a:lnTo>
                  <a:lnTo>
                    <a:pt x="1028" y="1221"/>
                  </a:lnTo>
                  <a:lnTo>
                    <a:pt x="1032" y="1221"/>
                  </a:lnTo>
                  <a:lnTo>
                    <a:pt x="1035" y="1223"/>
                  </a:lnTo>
                  <a:lnTo>
                    <a:pt x="1035" y="1225"/>
                  </a:lnTo>
                  <a:lnTo>
                    <a:pt x="1037" y="1225"/>
                  </a:lnTo>
                  <a:lnTo>
                    <a:pt x="1039" y="1230"/>
                  </a:lnTo>
                  <a:lnTo>
                    <a:pt x="1042" y="1233"/>
                  </a:lnTo>
                  <a:lnTo>
                    <a:pt x="1042" y="1235"/>
                  </a:lnTo>
                  <a:lnTo>
                    <a:pt x="1039" y="1242"/>
                  </a:lnTo>
                  <a:lnTo>
                    <a:pt x="1039" y="1242"/>
                  </a:lnTo>
                  <a:lnTo>
                    <a:pt x="1047" y="1244"/>
                  </a:lnTo>
                  <a:lnTo>
                    <a:pt x="1051" y="1240"/>
                  </a:lnTo>
                  <a:lnTo>
                    <a:pt x="1054" y="1240"/>
                  </a:lnTo>
                  <a:lnTo>
                    <a:pt x="1054" y="1240"/>
                  </a:lnTo>
                  <a:lnTo>
                    <a:pt x="1056" y="1233"/>
                  </a:lnTo>
                  <a:lnTo>
                    <a:pt x="1063" y="1228"/>
                  </a:lnTo>
                  <a:lnTo>
                    <a:pt x="1068" y="1225"/>
                  </a:lnTo>
                  <a:lnTo>
                    <a:pt x="1075" y="1223"/>
                  </a:lnTo>
                  <a:lnTo>
                    <a:pt x="1080" y="1221"/>
                  </a:lnTo>
                  <a:lnTo>
                    <a:pt x="1087" y="1214"/>
                  </a:lnTo>
                  <a:lnTo>
                    <a:pt x="1094" y="1211"/>
                  </a:lnTo>
                  <a:lnTo>
                    <a:pt x="1103" y="1204"/>
                  </a:lnTo>
                  <a:lnTo>
                    <a:pt x="1115" y="1200"/>
                  </a:lnTo>
                  <a:lnTo>
                    <a:pt x="1122" y="1197"/>
                  </a:lnTo>
                  <a:lnTo>
                    <a:pt x="1132" y="1195"/>
                  </a:lnTo>
                  <a:lnTo>
                    <a:pt x="1136" y="1197"/>
                  </a:lnTo>
                  <a:lnTo>
                    <a:pt x="1143" y="1200"/>
                  </a:lnTo>
                  <a:lnTo>
                    <a:pt x="1146" y="1202"/>
                  </a:lnTo>
                  <a:lnTo>
                    <a:pt x="1153" y="1202"/>
                  </a:lnTo>
                  <a:lnTo>
                    <a:pt x="1160" y="1200"/>
                  </a:lnTo>
                  <a:lnTo>
                    <a:pt x="1165" y="1202"/>
                  </a:lnTo>
                  <a:lnTo>
                    <a:pt x="1174" y="1211"/>
                  </a:lnTo>
                  <a:lnTo>
                    <a:pt x="1176" y="1214"/>
                  </a:lnTo>
                  <a:lnTo>
                    <a:pt x="1181" y="1214"/>
                  </a:lnTo>
                  <a:lnTo>
                    <a:pt x="1195" y="1211"/>
                  </a:lnTo>
                  <a:lnTo>
                    <a:pt x="1200" y="1214"/>
                  </a:lnTo>
                  <a:lnTo>
                    <a:pt x="1214" y="1214"/>
                  </a:lnTo>
                  <a:lnTo>
                    <a:pt x="1226" y="1211"/>
                  </a:lnTo>
                  <a:lnTo>
                    <a:pt x="1231" y="1211"/>
                  </a:lnTo>
                  <a:lnTo>
                    <a:pt x="1231" y="1209"/>
                  </a:lnTo>
                  <a:lnTo>
                    <a:pt x="1228" y="1204"/>
                  </a:lnTo>
                  <a:lnTo>
                    <a:pt x="1231" y="1200"/>
                  </a:lnTo>
                  <a:lnTo>
                    <a:pt x="1233" y="1195"/>
                  </a:lnTo>
                  <a:lnTo>
                    <a:pt x="1233" y="1190"/>
                  </a:lnTo>
                  <a:lnTo>
                    <a:pt x="1228" y="1185"/>
                  </a:lnTo>
                  <a:lnTo>
                    <a:pt x="1228" y="1178"/>
                  </a:lnTo>
                  <a:lnTo>
                    <a:pt x="1228" y="1174"/>
                  </a:lnTo>
                  <a:lnTo>
                    <a:pt x="1233" y="1169"/>
                  </a:lnTo>
                  <a:lnTo>
                    <a:pt x="1238" y="1164"/>
                  </a:lnTo>
                  <a:lnTo>
                    <a:pt x="1245" y="1159"/>
                  </a:lnTo>
                  <a:lnTo>
                    <a:pt x="1247" y="1155"/>
                  </a:lnTo>
                  <a:lnTo>
                    <a:pt x="1252" y="1152"/>
                  </a:lnTo>
                  <a:lnTo>
                    <a:pt x="1259" y="1155"/>
                  </a:lnTo>
                  <a:lnTo>
                    <a:pt x="1264" y="1159"/>
                  </a:lnTo>
                  <a:lnTo>
                    <a:pt x="1276" y="1162"/>
                  </a:lnTo>
                  <a:lnTo>
                    <a:pt x="1278" y="1166"/>
                  </a:lnTo>
                  <a:lnTo>
                    <a:pt x="1285" y="1169"/>
                  </a:lnTo>
                  <a:lnTo>
                    <a:pt x="1295" y="1169"/>
                  </a:lnTo>
                  <a:lnTo>
                    <a:pt x="1299" y="1171"/>
                  </a:lnTo>
                  <a:lnTo>
                    <a:pt x="1302" y="1176"/>
                  </a:lnTo>
                  <a:lnTo>
                    <a:pt x="1304" y="1185"/>
                  </a:lnTo>
                  <a:lnTo>
                    <a:pt x="1304" y="1192"/>
                  </a:lnTo>
                  <a:lnTo>
                    <a:pt x="1304" y="1192"/>
                  </a:lnTo>
                  <a:lnTo>
                    <a:pt x="1309" y="1197"/>
                  </a:lnTo>
                  <a:lnTo>
                    <a:pt x="1318" y="1202"/>
                  </a:lnTo>
                  <a:lnTo>
                    <a:pt x="1328" y="1207"/>
                  </a:lnTo>
                  <a:lnTo>
                    <a:pt x="1337" y="1204"/>
                  </a:lnTo>
                  <a:lnTo>
                    <a:pt x="1344" y="1200"/>
                  </a:lnTo>
                  <a:lnTo>
                    <a:pt x="1354" y="1195"/>
                  </a:lnTo>
                  <a:lnTo>
                    <a:pt x="1363" y="1197"/>
                  </a:lnTo>
                  <a:lnTo>
                    <a:pt x="1377" y="1204"/>
                  </a:lnTo>
                  <a:lnTo>
                    <a:pt x="1382" y="1207"/>
                  </a:lnTo>
                  <a:lnTo>
                    <a:pt x="1382" y="1207"/>
                  </a:lnTo>
                  <a:lnTo>
                    <a:pt x="1384" y="1209"/>
                  </a:lnTo>
                  <a:lnTo>
                    <a:pt x="1391" y="1214"/>
                  </a:lnTo>
                  <a:lnTo>
                    <a:pt x="1399" y="1214"/>
                  </a:lnTo>
                  <a:lnTo>
                    <a:pt x="1403" y="1216"/>
                  </a:lnTo>
                  <a:lnTo>
                    <a:pt x="1408" y="1223"/>
                  </a:lnTo>
                  <a:lnTo>
                    <a:pt x="1417" y="1228"/>
                  </a:lnTo>
                  <a:lnTo>
                    <a:pt x="1427" y="1230"/>
                  </a:lnTo>
                  <a:lnTo>
                    <a:pt x="1434" y="1233"/>
                  </a:lnTo>
                  <a:lnTo>
                    <a:pt x="1441" y="1233"/>
                  </a:lnTo>
                  <a:lnTo>
                    <a:pt x="1448" y="1233"/>
                  </a:lnTo>
                  <a:lnTo>
                    <a:pt x="1455" y="1235"/>
                  </a:lnTo>
                  <a:lnTo>
                    <a:pt x="1472" y="1228"/>
                  </a:lnTo>
                  <a:lnTo>
                    <a:pt x="1484" y="1225"/>
                  </a:lnTo>
                  <a:lnTo>
                    <a:pt x="1491" y="1225"/>
                  </a:lnTo>
                  <a:lnTo>
                    <a:pt x="1502" y="1216"/>
                  </a:lnTo>
                  <a:lnTo>
                    <a:pt x="1512" y="1211"/>
                  </a:lnTo>
                  <a:lnTo>
                    <a:pt x="1519" y="1207"/>
                  </a:lnTo>
                  <a:lnTo>
                    <a:pt x="1526" y="1211"/>
                  </a:lnTo>
                  <a:lnTo>
                    <a:pt x="1533" y="1216"/>
                  </a:lnTo>
                  <a:lnTo>
                    <a:pt x="1540" y="1216"/>
                  </a:lnTo>
                  <a:lnTo>
                    <a:pt x="1545" y="1216"/>
                  </a:lnTo>
                  <a:lnTo>
                    <a:pt x="1550" y="1214"/>
                  </a:lnTo>
                  <a:lnTo>
                    <a:pt x="1552" y="1214"/>
                  </a:lnTo>
                  <a:lnTo>
                    <a:pt x="1552" y="1214"/>
                  </a:lnTo>
                  <a:lnTo>
                    <a:pt x="1554" y="1214"/>
                  </a:lnTo>
                  <a:lnTo>
                    <a:pt x="1559" y="1218"/>
                  </a:lnTo>
                  <a:lnTo>
                    <a:pt x="1569" y="1221"/>
                  </a:lnTo>
                  <a:lnTo>
                    <a:pt x="1576" y="1225"/>
                  </a:lnTo>
                  <a:lnTo>
                    <a:pt x="1580" y="1223"/>
                  </a:lnTo>
                  <a:lnTo>
                    <a:pt x="1585" y="1221"/>
                  </a:lnTo>
                  <a:lnTo>
                    <a:pt x="1602" y="1211"/>
                  </a:lnTo>
                  <a:lnTo>
                    <a:pt x="1602" y="1209"/>
                  </a:lnTo>
                  <a:lnTo>
                    <a:pt x="1602" y="1204"/>
                  </a:lnTo>
                  <a:lnTo>
                    <a:pt x="1602" y="1200"/>
                  </a:lnTo>
                  <a:lnTo>
                    <a:pt x="1604" y="1197"/>
                  </a:lnTo>
                  <a:lnTo>
                    <a:pt x="1606" y="1192"/>
                  </a:lnTo>
                  <a:lnTo>
                    <a:pt x="1609" y="1183"/>
                  </a:lnTo>
                  <a:lnTo>
                    <a:pt x="1611" y="1176"/>
                  </a:lnTo>
                  <a:lnTo>
                    <a:pt x="1614" y="1171"/>
                  </a:lnTo>
                  <a:lnTo>
                    <a:pt x="1618" y="1166"/>
                  </a:lnTo>
                  <a:lnTo>
                    <a:pt x="1628" y="1159"/>
                  </a:lnTo>
                  <a:lnTo>
                    <a:pt x="1628" y="1157"/>
                  </a:lnTo>
                  <a:lnTo>
                    <a:pt x="1625" y="1155"/>
                  </a:lnTo>
                  <a:lnTo>
                    <a:pt x="1625" y="1145"/>
                  </a:lnTo>
                  <a:lnTo>
                    <a:pt x="1623" y="1145"/>
                  </a:lnTo>
                  <a:lnTo>
                    <a:pt x="1621" y="1145"/>
                  </a:lnTo>
                  <a:lnTo>
                    <a:pt x="1614" y="1145"/>
                  </a:lnTo>
                  <a:lnTo>
                    <a:pt x="1614" y="1145"/>
                  </a:lnTo>
                  <a:lnTo>
                    <a:pt x="1616" y="1140"/>
                  </a:lnTo>
                  <a:lnTo>
                    <a:pt x="1623" y="1133"/>
                  </a:lnTo>
                  <a:lnTo>
                    <a:pt x="1625" y="1129"/>
                  </a:lnTo>
                  <a:lnTo>
                    <a:pt x="1630" y="1124"/>
                  </a:lnTo>
                  <a:lnTo>
                    <a:pt x="1642" y="1122"/>
                  </a:lnTo>
                  <a:lnTo>
                    <a:pt x="1654" y="1119"/>
                  </a:lnTo>
                  <a:lnTo>
                    <a:pt x="1661" y="1119"/>
                  </a:lnTo>
                  <a:lnTo>
                    <a:pt x="1673" y="1117"/>
                  </a:lnTo>
                  <a:lnTo>
                    <a:pt x="1677" y="1117"/>
                  </a:lnTo>
                  <a:lnTo>
                    <a:pt x="1682" y="1119"/>
                  </a:lnTo>
                  <a:lnTo>
                    <a:pt x="1689" y="1124"/>
                  </a:lnTo>
                  <a:lnTo>
                    <a:pt x="1691" y="1126"/>
                  </a:lnTo>
                  <a:lnTo>
                    <a:pt x="1696" y="1129"/>
                  </a:lnTo>
                  <a:lnTo>
                    <a:pt x="1703" y="1126"/>
                  </a:lnTo>
                  <a:lnTo>
                    <a:pt x="1708" y="1129"/>
                  </a:lnTo>
                  <a:lnTo>
                    <a:pt x="1713" y="1131"/>
                  </a:lnTo>
                  <a:lnTo>
                    <a:pt x="1715" y="1136"/>
                  </a:lnTo>
                  <a:lnTo>
                    <a:pt x="1720" y="1140"/>
                  </a:lnTo>
                  <a:lnTo>
                    <a:pt x="1720" y="1145"/>
                  </a:lnTo>
                  <a:lnTo>
                    <a:pt x="1722" y="1148"/>
                  </a:lnTo>
                  <a:lnTo>
                    <a:pt x="1725" y="1150"/>
                  </a:lnTo>
                  <a:lnTo>
                    <a:pt x="1725" y="1152"/>
                  </a:lnTo>
                  <a:lnTo>
                    <a:pt x="1725" y="1150"/>
                  </a:lnTo>
                  <a:lnTo>
                    <a:pt x="1727" y="1155"/>
                  </a:lnTo>
                  <a:lnTo>
                    <a:pt x="1727" y="1159"/>
                  </a:lnTo>
                  <a:lnTo>
                    <a:pt x="1729" y="1166"/>
                  </a:lnTo>
                  <a:lnTo>
                    <a:pt x="1732" y="1171"/>
                  </a:lnTo>
                  <a:lnTo>
                    <a:pt x="1734" y="1176"/>
                  </a:lnTo>
                  <a:lnTo>
                    <a:pt x="1739" y="1190"/>
                  </a:lnTo>
                  <a:lnTo>
                    <a:pt x="1741" y="1202"/>
                  </a:lnTo>
                  <a:lnTo>
                    <a:pt x="1743" y="1209"/>
                  </a:lnTo>
                  <a:lnTo>
                    <a:pt x="1743" y="1209"/>
                  </a:lnTo>
                  <a:lnTo>
                    <a:pt x="1743" y="1211"/>
                  </a:lnTo>
                  <a:lnTo>
                    <a:pt x="1746" y="1216"/>
                  </a:lnTo>
                  <a:lnTo>
                    <a:pt x="1746" y="1223"/>
                  </a:lnTo>
                  <a:lnTo>
                    <a:pt x="1748" y="1225"/>
                  </a:lnTo>
                  <a:lnTo>
                    <a:pt x="1755" y="1228"/>
                  </a:lnTo>
                  <a:lnTo>
                    <a:pt x="1762" y="1225"/>
                  </a:lnTo>
                  <a:lnTo>
                    <a:pt x="1767" y="1228"/>
                  </a:lnTo>
                  <a:lnTo>
                    <a:pt x="1774" y="1228"/>
                  </a:lnTo>
                  <a:lnTo>
                    <a:pt x="1779" y="1230"/>
                  </a:lnTo>
                  <a:lnTo>
                    <a:pt x="1791" y="1240"/>
                  </a:lnTo>
                  <a:lnTo>
                    <a:pt x="1795" y="1242"/>
                  </a:lnTo>
                  <a:lnTo>
                    <a:pt x="1798" y="1242"/>
                  </a:lnTo>
                  <a:lnTo>
                    <a:pt x="1800" y="1244"/>
                  </a:lnTo>
                  <a:lnTo>
                    <a:pt x="1800" y="1247"/>
                  </a:lnTo>
                  <a:lnTo>
                    <a:pt x="1800" y="1247"/>
                  </a:lnTo>
                  <a:lnTo>
                    <a:pt x="1800" y="1251"/>
                  </a:lnTo>
                  <a:lnTo>
                    <a:pt x="1802" y="1254"/>
                  </a:lnTo>
                  <a:lnTo>
                    <a:pt x="1802" y="1259"/>
                  </a:lnTo>
                  <a:lnTo>
                    <a:pt x="1802" y="1266"/>
                  </a:lnTo>
                  <a:lnTo>
                    <a:pt x="1807" y="1270"/>
                  </a:lnTo>
                  <a:lnTo>
                    <a:pt x="1810" y="1273"/>
                  </a:lnTo>
                  <a:lnTo>
                    <a:pt x="1814" y="1273"/>
                  </a:lnTo>
                  <a:lnTo>
                    <a:pt x="1821" y="1275"/>
                  </a:lnTo>
                  <a:lnTo>
                    <a:pt x="1826" y="1275"/>
                  </a:lnTo>
                  <a:lnTo>
                    <a:pt x="1836" y="1270"/>
                  </a:lnTo>
                  <a:lnTo>
                    <a:pt x="1847" y="1263"/>
                  </a:lnTo>
                  <a:lnTo>
                    <a:pt x="1852" y="1263"/>
                  </a:lnTo>
                  <a:lnTo>
                    <a:pt x="1864" y="1256"/>
                  </a:lnTo>
                  <a:lnTo>
                    <a:pt x="1873" y="1254"/>
                  </a:lnTo>
                  <a:lnTo>
                    <a:pt x="1873" y="1254"/>
                  </a:lnTo>
                  <a:lnTo>
                    <a:pt x="1871" y="1259"/>
                  </a:lnTo>
                  <a:lnTo>
                    <a:pt x="1871" y="1266"/>
                  </a:lnTo>
                  <a:lnTo>
                    <a:pt x="1873" y="1270"/>
                  </a:lnTo>
                  <a:lnTo>
                    <a:pt x="1871" y="1277"/>
                  </a:lnTo>
                  <a:lnTo>
                    <a:pt x="1869" y="1280"/>
                  </a:lnTo>
                  <a:lnTo>
                    <a:pt x="1864" y="1285"/>
                  </a:lnTo>
                  <a:lnTo>
                    <a:pt x="1862" y="1292"/>
                  </a:lnTo>
                  <a:lnTo>
                    <a:pt x="1859" y="1301"/>
                  </a:lnTo>
                  <a:lnTo>
                    <a:pt x="1854" y="1315"/>
                  </a:lnTo>
                  <a:lnTo>
                    <a:pt x="1850" y="1327"/>
                  </a:lnTo>
                  <a:lnTo>
                    <a:pt x="1845" y="1332"/>
                  </a:lnTo>
                  <a:lnTo>
                    <a:pt x="1843" y="1339"/>
                  </a:lnTo>
                  <a:lnTo>
                    <a:pt x="1840" y="1341"/>
                  </a:lnTo>
                  <a:lnTo>
                    <a:pt x="1838" y="1341"/>
                  </a:lnTo>
                  <a:lnTo>
                    <a:pt x="1821" y="1337"/>
                  </a:lnTo>
                  <a:lnTo>
                    <a:pt x="1819" y="1339"/>
                  </a:lnTo>
                  <a:lnTo>
                    <a:pt x="1807" y="1351"/>
                  </a:lnTo>
                  <a:lnTo>
                    <a:pt x="1810" y="1355"/>
                  </a:lnTo>
                  <a:lnTo>
                    <a:pt x="1812" y="1362"/>
                  </a:lnTo>
                  <a:lnTo>
                    <a:pt x="1812" y="1381"/>
                  </a:lnTo>
                  <a:lnTo>
                    <a:pt x="1805" y="1391"/>
                  </a:lnTo>
                  <a:lnTo>
                    <a:pt x="1800" y="1396"/>
                  </a:lnTo>
                  <a:lnTo>
                    <a:pt x="1800" y="1400"/>
                  </a:lnTo>
                  <a:lnTo>
                    <a:pt x="1800" y="1403"/>
                  </a:lnTo>
                  <a:lnTo>
                    <a:pt x="1800" y="1405"/>
                  </a:lnTo>
                  <a:lnTo>
                    <a:pt x="1802" y="1405"/>
                  </a:lnTo>
                  <a:lnTo>
                    <a:pt x="1802" y="1403"/>
                  </a:lnTo>
                  <a:lnTo>
                    <a:pt x="1802" y="1400"/>
                  </a:lnTo>
                  <a:lnTo>
                    <a:pt x="1805" y="1400"/>
                  </a:lnTo>
                  <a:lnTo>
                    <a:pt x="1812" y="1400"/>
                  </a:lnTo>
                  <a:lnTo>
                    <a:pt x="1812" y="1396"/>
                  </a:lnTo>
                  <a:lnTo>
                    <a:pt x="1814" y="1396"/>
                  </a:lnTo>
                  <a:lnTo>
                    <a:pt x="1817" y="1393"/>
                  </a:lnTo>
                  <a:lnTo>
                    <a:pt x="1819" y="1388"/>
                  </a:lnTo>
                  <a:lnTo>
                    <a:pt x="1821" y="1381"/>
                  </a:lnTo>
                  <a:lnTo>
                    <a:pt x="1821" y="1384"/>
                  </a:lnTo>
                  <a:lnTo>
                    <a:pt x="1826" y="1384"/>
                  </a:lnTo>
                  <a:lnTo>
                    <a:pt x="1824" y="1386"/>
                  </a:lnTo>
                  <a:lnTo>
                    <a:pt x="1824" y="1388"/>
                  </a:lnTo>
                  <a:lnTo>
                    <a:pt x="1828" y="1386"/>
                  </a:lnTo>
                  <a:lnTo>
                    <a:pt x="1831" y="1384"/>
                  </a:lnTo>
                  <a:lnTo>
                    <a:pt x="1831" y="1386"/>
                  </a:lnTo>
                  <a:lnTo>
                    <a:pt x="1831" y="1391"/>
                  </a:lnTo>
                  <a:lnTo>
                    <a:pt x="1831" y="1393"/>
                  </a:lnTo>
                  <a:lnTo>
                    <a:pt x="1831" y="1393"/>
                  </a:lnTo>
                  <a:lnTo>
                    <a:pt x="1833" y="1393"/>
                  </a:lnTo>
                  <a:lnTo>
                    <a:pt x="1838" y="1396"/>
                  </a:lnTo>
                  <a:lnTo>
                    <a:pt x="1840" y="1396"/>
                  </a:lnTo>
                  <a:lnTo>
                    <a:pt x="1840" y="1396"/>
                  </a:lnTo>
                  <a:lnTo>
                    <a:pt x="1843" y="1398"/>
                  </a:lnTo>
                  <a:lnTo>
                    <a:pt x="1847" y="1398"/>
                  </a:lnTo>
                  <a:lnTo>
                    <a:pt x="1854" y="1396"/>
                  </a:lnTo>
                  <a:lnTo>
                    <a:pt x="1857" y="1396"/>
                  </a:lnTo>
                  <a:lnTo>
                    <a:pt x="1859" y="1393"/>
                  </a:lnTo>
                  <a:lnTo>
                    <a:pt x="1864" y="1391"/>
                  </a:lnTo>
                  <a:lnTo>
                    <a:pt x="1878" y="1381"/>
                  </a:lnTo>
                  <a:lnTo>
                    <a:pt x="1883" y="1377"/>
                  </a:lnTo>
                  <a:lnTo>
                    <a:pt x="1885" y="1372"/>
                  </a:lnTo>
                  <a:lnTo>
                    <a:pt x="1890" y="1365"/>
                  </a:lnTo>
                  <a:lnTo>
                    <a:pt x="1890" y="1362"/>
                  </a:lnTo>
                  <a:lnTo>
                    <a:pt x="1892" y="1360"/>
                  </a:lnTo>
                  <a:lnTo>
                    <a:pt x="1895" y="1355"/>
                  </a:lnTo>
                  <a:lnTo>
                    <a:pt x="1899" y="1355"/>
                  </a:lnTo>
                  <a:lnTo>
                    <a:pt x="1902" y="1346"/>
                  </a:lnTo>
                  <a:lnTo>
                    <a:pt x="1906" y="1344"/>
                  </a:lnTo>
                  <a:lnTo>
                    <a:pt x="1909" y="1339"/>
                  </a:lnTo>
                  <a:lnTo>
                    <a:pt x="1925" y="1322"/>
                  </a:lnTo>
                  <a:lnTo>
                    <a:pt x="1925" y="1318"/>
                  </a:lnTo>
                  <a:lnTo>
                    <a:pt x="1930" y="1315"/>
                  </a:lnTo>
                  <a:lnTo>
                    <a:pt x="1930" y="1313"/>
                  </a:lnTo>
                  <a:lnTo>
                    <a:pt x="1935" y="1303"/>
                  </a:lnTo>
                  <a:lnTo>
                    <a:pt x="1939" y="1294"/>
                  </a:lnTo>
                  <a:lnTo>
                    <a:pt x="1942" y="1289"/>
                  </a:lnTo>
                  <a:lnTo>
                    <a:pt x="1949" y="1280"/>
                  </a:lnTo>
                  <a:lnTo>
                    <a:pt x="1954" y="1270"/>
                  </a:lnTo>
                  <a:lnTo>
                    <a:pt x="1958" y="1263"/>
                  </a:lnTo>
                  <a:lnTo>
                    <a:pt x="1963" y="1261"/>
                  </a:lnTo>
                  <a:lnTo>
                    <a:pt x="1963" y="1259"/>
                  </a:lnTo>
                  <a:lnTo>
                    <a:pt x="1965" y="1256"/>
                  </a:lnTo>
                  <a:lnTo>
                    <a:pt x="1968" y="1254"/>
                  </a:lnTo>
                  <a:lnTo>
                    <a:pt x="1970" y="1247"/>
                  </a:lnTo>
                  <a:lnTo>
                    <a:pt x="1970" y="1242"/>
                  </a:lnTo>
                  <a:lnTo>
                    <a:pt x="1970" y="1240"/>
                  </a:lnTo>
                  <a:lnTo>
                    <a:pt x="1970" y="1235"/>
                  </a:lnTo>
                  <a:lnTo>
                    <a:pt x="1973" y="1230"/>
                  </a:lnTo>
                  <a:lnTo>
                    <a:pt x="1975" y="1225"/>
                  </a:lnTo>
                  <a:lnTo>
                    <a:pt x="1973" y="1216"/>
                  </a:lnTo>
                  <a:lnTo>
                    <a:pt x="1975" y="1211"/>
                  </a:lnTo>
                  <a:lnTo>
                    <a:pt x="1975" y="1211"/>
                  </a:lnTo>
                  <a:lnTo>
                    <a:pt x="1975" y="1209"/>
                  </a:lnTo>
                  <a:lnTo>
                    <a:pt x="1973" y="1200"/>
                  </a:lnTo>
                  <a:lnTo>
                    <a:pt x="1973" y="1192"/>
                  </a:lnTo>
                  <a:lnTo>
                    <a:pt x="1975" y="1190"/>
                  </a:lnTo>
                  <a:lnTo>
                    <a:pt x="1975" y="1185"/>
                  </a:lnTo>
                  <a:lnTo>
                    <a:pt x="1975" y="1178"/>
                  </a:lnTo>
                  <a:lnTo>
                    <a:pt x="1977" y="1178"/>
                  </a:lnTo>
                  <a:lnTo>
                    <a:pt x="1977" y="1178"/>
                  </a:lnTo>
                  <a:lnTo>
                    <a:pt x="1977" y="1176"/>
                  </a:lnTo>
                  <a:lnTo>
                    <a:pt x="1977" y="1174"/>
                  </a:lnTo>
                  <a:lnTo>
                    <a:pt x="1982" y="1166"/>
                  </a:lnTo>
                  <a:lnTo>
                    <a:pt x="1984" y="1166"/>
                  </a:lnTo>
                  <a:lnTo>
                    <a:pt x="1984" y="1164"/>
                  </a:lnTo>
                  <a:lnTo>
                    <a:pt x="1987" y="1159"/>
                  </a:lnTo>
                  <a:lnTo>
                    <a:pt x="1987" y="1157"/>
                  </a:lnTo>
                  <a:lnTo>
                    <a:pt x="1989" y="1152"/>
                  </a:lnTo>
                  <a:lnTo>
                    <a:pt x="1982" y="1148"/>
                  </a:lnTo>
                  <a:lnTo>
                    <a:pt x="1984" y="1140"/>
                  </a:lnTo>
                  <a:lnTo>
                    <a:pt x="1984" y="1136"/>
                  </a:lnTo>
                  <a:lnTo>
                    <a:pt x="1984" y="1133"/>
                  </a:lnTo>
                  <a:lnTo>
                    <a:pt x="1980" y="1131"/>
                  </a:lnTo>
                  <a:lnTo>
                    <a:pt x="1977" y="1126"/>
                  </a:lnTo>
                  <a:lnTo>
                    <a:pt x="1973" y="1129"/>
                  </a:lnTo>
                  <a:lnTo>
                    <a:pt x="1968" y="1124"/>
                  </a:lnTo>
                  <a:lnTo>
                    <a:pt x="1965" y="1124"/>
                  </a:lnTo>
                  <a:lnTo>
                    <a:pt x="1963" y="1124"/>
                  </a:lnTo>
                  <a:lnTo>
                    <a:pt x="1963" y="1122"/>
                  </a:lnTo>
                  <a:lnTo>
                    <a:pt x="1968" y="1122"/>
                  </a:lnTo>
                  <a:lnTo>
                    <a:pt x="1973" y="1124"/>
                  </a:lnTo>
                  <a:lnTo>
                    <a:pt x="1975" y="1126"/>
                  </a:lnTo>
                  <a:lnTo>
                    <a:pt x="1977" y="1126"/>
                  </a:lnTo>
                  <a:lnTo>
                    <a:pt x="1984" y="1129"/>
                  </a:lnTo>
                  <a:lnTo>
                    <a:pt x="1984" y="1129"/>
                  </a:lnTo>
                  <a:lnTo>
                    <a:pt x="1987" y="1124"/>
                  </a:lnTo>
                  <a:lnTo>
                    <a:pt x="1987" y="1122"/>
                  </a:lnTo>
                  <a:lnTo>
                    <a:pt x="1984" y="1119"/>
                  </a:lnTo>
                  <a:lnTo>
                    <a:pt x="1977" y="1114"/>
                  </a:lnTo>
                  <a:lnTo>
                    <a:pt x="1973" y="1110"/>
                  </a:lnTo>
                  <a:lnTo>
                    <a:pt x="1970" y="1107"/>
                  </a:lnTo>
                  <a:lnTo>
                    <a:pt x="1968" y="1105"/>
                  </a:lnTo>
                  <a:lnTo>
                    <a:pt x="1968" y="1103"/>
                  </a:lnTo>
                  <a:lnTo>
                    <a:pt x="1965" y="1100"/>
                  </a:lnTo>
                  <a:lnTo>
                    <a:pt x="1963" y="1098"/>
                  </a:lnTo>
                  <a:lnTo>
                    <a:pt x="1961" y="1096"/>
                  </a:lnTo>
                  <a:lnTo>
                    <a:pt x="1961" y="1093"/>
                  </a:lnTo>
                  <a:lnTo>
                    <a:pt x="1961" y="1093"/>
                  </a:lnTo>
                  <a:lnTo>
                    <a:pt x="1958" y="1093"/>
                  </a:lnTo>
                  <a:lnTo>
                    <a:pt x="1956" y="1093"/>
                  </a:lnTo>
                  <a:lnTo>
                    <a:pt x="1951" y="1096"/>
                  </a:lnTo>
                  <a:lnTo>
                    <a:pt x="1949" y="1096"/>
                  </a:lnTo>
                  <a:lnTo>
                    <a:pt x="1942" y="1091"/>
                  </a:lnTo>
                  <a:lnTo>
                    <a:pt x="1942" y="1098"/>
                  </a:lnTo>
                  <a:lnTo>
                    <a:pt x="1942" y="1098"/>
                  </a:lnTo>
                  <a:lnTo>
                    <a:pt x="1942" y="1100"/>
                  </a:lnTo>
                  <a:lnTo>
                    <a:pt x="1939" y="1107"/>
                  </a:lnTo>
                  <a:lnTo>
                    <a:pt x="1939" y="1112"/>
                  </a:lnTo>
                  <a:lnTo>
                    <a:pt x="1935" y="1114"/>
                  </a:lnTo>
                  <a:lnTo>
                    <a:pt x="1935" y="1110"/>
                  </a:lnTo>
                  <a:lnTo>
                    <a:pt x="1939" y="1105"/>
                  </a:lnTo>
                  <a:lnTo>
                    <a:pt x="1937" y="1103"/>
                  </a:lnTo>
                  <a:lnTo>
                    <a:pt x="1932" y="1110"/>
                  </a:lnTo>
                  <a:lnTo>
                    <a:pt x="1928" y="1112"/>
                  </a:lnTo>
                  <a:lnTo>
                    <a:pt x="1921" y="1114"/>
                  </a:lnTo>
                  <a:lnTo>
                    <a:pt x="1916" y="1112"/>
                  </a:lnTo>
                  <a:lnTo>
                    <a:pt x="1916" y="1112"/>
                  </a:lnTo>
                  <a:lnTo>
                    <a:pt x="1918" y="1110"/>
                  </a:lnTo>
                  <a:lnTo>
                    <a:pt x="1921" y="1107"/>
                  </a:lnTo>
                  <a:lnTo>
                    <a:pt x="1923" y="1105"/>
                  </a:lnTo>
                  <a:lnTo>
                    <a:pt x="1923" y="1103"/>
                  </a:lnTo>
                  <a:lnTo>
                    <a:pt x="1918" y="1100"/>
                  </a:lnTo>
                  <a:lnTo>
                    <a:pt x="1918" y="1098"/>
                  </a:lnTo>
                  <a:lnTo>
                    <a:pt x="1921" y="1098"/>
                  </a:lnTo>
                  <a:lnTo>
                    <a:pt x="1923" y="1093"/>
                  </a:lnTo>
                  <a:lnTo>
                    <a:pt x="1923" y="1091"/>
                  </a:lnTo>
                  <a:lnTo>
                    <a:pt x="1918" y="1093"/>
                  </a:lnTo>
                  <a:lnTo>
                    <a:pt x="1914" y="1093"/>
                  </a:lnTo>
                  <a:lnTo>
                    <a:pt x="1914" y="1098"/>
                  </a:lnTo>
                  <a:lnTo>
                    <a:pt x="1916" y="1100"/>
                  </a:lnTo>
                  <a:lnTo>
                    <a:pt x="1914" y="1103"/>
                  </a:lnTo>
                  <a:lnTo>
                    <a:pt x="1911" y="1105"/>
                  </a:lnTo>
                  <a:lnTo>
                    <a:pt x="1909" y="1105"/>
                  </a:lnTo>
                  <a:lnTo>
                    <a:pt x="1909" y="1107"/>
                  </a:lnTo>
                  <a:lnTo>
                    <a:pt x="1906" y="1107"/>
                  </a:lnTo>
                  <a:lnTo>
                    <a:pt x="1906" y="1100"/>
                  </a:lnTo>
                  <a:lnTo>
                    <a:pt x="1906" y="1098"/>
                  </a:lnTo>
                  <a:lnTo>
                    <a:pt x="1906" y="1093"/>
                  </a:lnTo>
                  <a:lnTo>
                    <a:pt x="1909" y="1091"/>
                  </a:lnTo>
                  <a:lnTo>
                    <a:pt x="1906" y="1088"/>
                  </a:lnTo>
                  <a:lnTo>
                    <a:pt x="1909" y="1086"/>
                  </a:lnTo>
                  <a:lnTo>
                    <a:pt x="1906" y="1081"/>
                  </a:lnTo>
                  <a:lnTo>
                    <a:pt x="1904" y="1081"/>
                  </a:lnTo>
                  <a:lnTo>
                    <a:pt x="1897" y="1084"/>
                  </a:lnTo>
                  <a:lnTo>
                    <a:pt x="1890" y="1084"/>
                  </a:lnTo>
                  <a:lnTo>
                    <a:pt x="1885" y="1081"/>
                  </a:lnTo>
                  <a:lnTo>
                    <a:pt x="1880" y="1079"/>
                  </a:lnTo>
                  <a:lnTo>
                    <a:pt x="1880" y="1077"/>
                  </a:lnTo>
                  <a:lnTo>
                    <a:pt x="1883" y="1072"/>
                  </a:lnTo>
                  <a:lnTo>
                    <a:pt x="1890" y="1065"/>
                  </a:lnTo>
                  <a:lnTo>
                    <a:pt x="1892" y="1065"/>
                  </a:lnTo>
                  <a:lnTo>
                    <a:pt x="1899" y="1060"/>
                  </a:lnTo>
                  <a:lnTo>
                    <a:pt x="1902" y="1055"/>
                  </a:lnTo>
                  <a:lnTo>
                    <a:pt x="1904" y="1053"/>
                  </a:lnTo>
                  <a:lnTo>
                    <a:pt x="1904" y="1053"/>
                  </a:lnTo>
                  <a:lnTo>
                    <a:pt x="1909" y="1051"/>
                  </a:lnTo>
                  <a:lnTo>
                    <a:pt x="1923" y="1034"/>
                  </a:lnTo>
                  <a:lnTo>
                    <a:pt x="1925" y="1029"/>
                  </a:lnTo>
                  <a:lnTo>
                    <a:pt x="1930" y="1027"/>
                  </a:lnTo>
                  <a:lnTo>
                    <a:pt x="1930" y="1025"/>
                  </a:lnTo>
                  <a:lnTo>
                    <a:pt x="1930" y="1022"/>
                  </a:lnTo>
                  <a:lnTo>
                    <a:pt x="1932" y="1020"/>
                  </a:lnTo>
                  <a:lnTo>
                    <a:pt x="1935" y="1018"/>
                  </a:lnTo>
                  <a:lnTo>
                    <a:pt x="1937" y="1015"/>
                  </a:lnTo>
                  <a:lnTo>
                    <a:pt x="1937" y="1015"/>
                  </a:lnTo>
                  <a:lnTo>
                    <a:pt x="1939" y="1011"/>
                  </a:lnTo>
                  <a:lnTo>
                    <a:pt x="1944" y="1006"/>
                  </a:lnTo>
                  <a:lnTo>
                    <a:pt x="1949" y="999"/>
                  </a:lnTo>
                  <a:lnTo>
                    <a:pt x="1954" y="999"/>
                  </a:lnTo>
                  <a:lnTo>
                    <a:pt x="1958" y="994"/>
                  </a:lnTo>
                  <a:lnTo>
                    <a:pt x="1961" y="987"/>
                  </a:lnTo>
                  <a:lnTo>
                    <a:pt x="1963" y="989"/>
                  </a:lnTo>
                  <a:lnTo>
                    <a:pt x="1965" y="985"/>
                  </a:lnTo>
                  <a:lnTo>
                    <a:pt x="1970" y="982"/>
                  </a:lnTo>
                  <a:lnTo>
                    <a:pt x="1973" y="977"/>
                  </a:lnTo>
                  <a:lnTo>
                    <a:pt x="1973" y="973"/>
                  </a:lnTo>
                  <a:lnTo>
                    <a:pt x="1977" y="966"/>
                  </a:lnTo>
                  <a:lnTo>
                    <a:pt x="1991" y="956"/>
                  </a:lnTo>
                  <a:lnTo>
                    <a:pt x="1994" y="952"/>
                  </a:lnTo>
                  <a:lnTo>
                    <a:pt x="1999" y="944"/>
                  </a:lnTo>
                  <a:lnTo>
                    <a:pt x="2003" y="940"/>
                  </a:lnTo>
                  <a:lnTo>
                    <a:pt x="2008" y="935"/>
                  </a:lnTo>
                  <a:lnTo>
                    <a:pt x="2017" y="930"/>
                  </a:lnTo>
                  <a:lnTo>
                    <a:pt x="2036" y="930"/>
                  </a:lnTo>
                  <a:lnTo>
                    <a:pt x="2048" y="930"/>
                  </a:lnTo>
                  <a:lnTo>
                    <a:pt x="2053" y="928"/>
                  </a:lnTo>
                  <a:lnTo>
                    <a:pt x="2055" y="930"/>
                  </a:lnTo>
                  <a:lnTo>
                    <a:pt x="2060" y="930"/>
                  </a:lnTo>
                  <a:lnTo>
                    <a:pt x="2065" y="930"/>
                  </a:lnTo>
                  <a:lnTo>
                    <a:pt x="2067" y="930"/>
                  </a:lnTo>
                  <a:lnTo>
                    <a:pt x="2067" y="935"/>
                  </a:lnTo>
                  <a:lnTo>
                    <a:pt x="2067" y="937"/>
                  </a:lnTo>
                  <a:lnTo>
                    <a:pt x="2069" y="937"/>
                  </a:lnTo>
                  <a:lnTo>
                    <a:pt x="2074" y="937"/>
                  </a:lnTo>
                  <a:lnTo>
                    <a:pt x="2074" y="935"/>
                  </a:lnTo>
                  <a:lnTo>
                    <a:pt x="2074" y="928"/>
                  </a:lnTo>
                  <a:lnTo>
                    <a:pt x="2077" y="928"/>
                  </a:lnTo>
                  <a:lnTo>
                    <a:pt x="2095" y="935"/>
                  </a:lnTo>
                  <a:lnTo>
                    <a:pt x="2100" y="935"/>
                  </a:lnTo>
                  <a:lnTo>
                    <a:pt x="2100" y="930"/>
                  </a:lnTo>
                  <a:lnTo>
                    <a:pt x="2102" y="930"/>
                  </a:lnTo>
                  <a:lnTo>
                    <a:pt x="2110" y="930"/>
                  </a:lnTo>
                  <a:lnTo>
                    <a:pt x="2112" y="933"/>
                  </a:lnTo>
                  <a:lnTo>
                    <a:pt x="2112" y="935"/>
                  </a:lnTo>
                  <a:lnTo>
                    <a:pt x="2114" y="935"/>
                  </a:lnTo>
                  <a:lnTo>
                    <a:pt x="2119" y="935"/>
                  </a:lnTo>
                  <a:lnTo>
                    <a:pt x="2119" y="930"/>
                  </a:lnTo>
                  <a:lnTo>
                    <a:pt x="2117" y="930"/>
                  </a:lnTo>
                  <a:lnTo>
                    <a:pt x="2117" y="928"/>
                  </a:lnTo>
                  <a:lnTo>
                    <a:pt x="2119" y="928"/>
                  </a:lnTo>
                  <a:lnTo>
                    <a:pt x="2124" y="928"/>
                  </a:lnTo>
                  <a:lnTo>
                    <a:pt x="2121" y="926"/>
                  </a:lnTo>
                  <a:lnTo>
                    <a:pt x="2121" y="923"/>
                  </a:lnTo>
                  <a:lnTo>
                    <a:pt x="2121" y="921"/>
                  </a:lnTo>
                  <a:lnTo>
                    <a:pt x="2124" y="918"/>
                  </a:lnTo>
                  <a:lnTo>
                    <a:pt x="2128" y="918"/>
                  </a:lnTo>
                  <a:lnTo>
                    <a:pt x="2133" y="918"/>
                  </a:lnTo>
                  <a:lnTo>
                    <a:pt x="2143" y="923"/>
                  </a:lnTo>
                  <a:lnTo>
                    <a:pt x="2147" y="923"/>
                  </a:lnTo>
                  <a:lnTo>
                    <a:pt x="2150" y="926"/>
                  </a:lnTo>
                  <a:lnTo>
                    <a:pt x="2150" y="928"/>
                  </a:lnTo>
                  <a:lnTo>
                    <a:pt x="2154" y="928"/>
                  </a:lnTo>
                  <a:lnTo>
                    <a:pt x="2154" y="923"/>
                  </a:lnTo>
                  <a:lnTo>
                    <a:pt x="2159" y="923"/>
                  </a:lnTo>
                  <a:lnTo>
                    <a:pt x="2162" y="923"/>
                  </a:lnTo>
                  <a:lnTo>
                    <a:pt x="2166" y="926"/>
                  </a:lnTo>
                  <a:lnTo>
                    <a:pt x="2169" y="930"/>
                  </a:lnTo>
                  <a:lnTo>
                    <a:pt x="2171" y="933"/>
                  </a:lnTo>
                  <a:lnTo>
                    <a:pt x="2176" y="935"/>
                  </a:lnTo>
                  <a:lnTo>
                    <a:pt x="2178" y="935"/>
                  </a:lnTo>
                  <a:lnTo>
                    <a:pt x="2173" y="937"/>
                  </a:lnTo>
                  <a:lnTo>
                    <a:pt x="2169" y="937"/>
                  </a:lnTo>
                  <a:lnTo>
                    <a:pt x="2162" y="937"/>
                  </a:lnTo>
                  <a:lnTo>
                    <a:pt x="2157" y="940"/>
                  </a:lnTo>
                  <a:lnTo>
                    <a:pt x="2159" y="942"/>
                  </a:lnTo>
                  <a:lnTo>
                    <a:pt x="2164" y="947"/>
                  </a:lnTo>
                  <a:lnTo>
                    <a:pt x="2169" y="949"/>
                  </a:lnTo>
                  <a:lnTo>
                    <a:pt x="2173" y="949"/>
                  </a:lnTo>
                  <a:lnTo>
                    <a:pt x="2176" y="947"/>
                  </a:lnTo>
                  <a:lnTo>
                    <a:pt x="2178" y="944"/>
                  </a:lnTo>
                  <a:lnTo>
                    <a:pt x="2183" y="942"/>
                  </a:lnTo>
                  <a:lnTo>
                    <a:pt x="2185" y="944"/>
                  </a:lnTo>
                  <a:lnTo>
                    <a:pt x="2188" y="947"/>
                  </a:lnTo>
                  <a:lnTo>
                    <a:pt x="2190" y="944"/>
                  </a:lnTo>
                  <a:lnTo>
                    <a:pt x="2192" y="942"/>
                  </a:lnTo>
                  <a:lnTo>
                    <a:pt x="2197" y="940"/>
                  </a:lnTo>
                  <a:lnTo>
                    <a:pt x="2197" y="937"/>
                  </a:lnTo>
                  <a:lnTo>
                    <a:pt x="2202" y="935"/>
                  </a:lnTo>
                  <a:lnTo>
                    <a:pt x="2206" y="937"/>
                  </a:lnTo>
                  <a:lnTo>
                    <a:pt x="2209" y="940"/>
                  </a:lnTo>
                  <a:lnTo>
                    <a:pt x="2211" y="942"/>
                  </a:lnTo>
                  <a:lnTo>
                    <a:pt x="2216" y="940"/>
                  </a:lnTo>
                  <a:lnTo>
                    <a:pt x="2216" y="937"/>
                  </a:lnTo>
                  <a:lnTo>
                    <a:pt x="2221" y="937"/>
                  </a:lnTo>
                  <a:lnTo>
                    <a:pt x="2223" y="940"/>
                  </a:lnTo>
                  <a:lnTo>
                    <a:pt x="2223" y="937"/>
                  </a:lnTo>
                  <a:lnTo>
                    <a:pt x="2228" y="937"/>
                  </a:lnTo>
                  <a:lnTo>
                    <a:pt x="2228" y="935"/>
                  </a:lnTo>
                  <a:lnTo>
                    <a:pt x="2228" y="930"/>
                  </a:lnTo>
                  <a:lnTo>
                    <a:pt x="2225" y="928"/>
                  </a:lnTo>
                  <a:lnTo>
                    <a:pt x="2218" y="926"/>
                  </a:lnTo>
                  <a:lnTo>
                    <a:pt x="2211" y="926"/>
                  </a:lnTo>
                  <a:lnTo>
                    <a:pt x="2211" y="923"/>
                  </a:lnTo>
                  <a:lnTo>
                    <a:pt x="2214" y="921"/>
                  </a:lnTo>
                  <a:lnTo>
                    <a:pt x="2211" y="914"/>
                  </a:lnTo>
                  <a:lnTo>
                    <a:pt x="2211" y="914"/>
                  </a:lnTo>
                  <a:lnTo>
                    <a:pt x="2214" y="914"/>
                  </a:lnTo>
                  <a:lnTo>
                    <a:pt x="2214" y="914"/>
                  </a:lnTo>
                  <a:lnTo>
                    <a:pt x="2218" y="904"/>
                  </a:lnTo>
                  <a:lnTo>
                    <a:pt x="2221" y="902"/>
                  </a:lnTo>
                  <a:lnTo>
                    <a:pt x="2223" y="897"/>
                  </a:lnTo>
                  <a:lnTo>
                    <a:pt x="2225" y="895"/>
                  </a:lnTo>
                  <a:lnTo>
                    <a:pt x="2230" y="892"/>
                  </a:lnTo>
                  <a:lnTo>
                    <a:pt x="2242" y="881"/>
                  </a:lnTo>
                  <a:lnTo>
                    <a:pt x="2242" y="878"/>
                  </a:lnTo>
                  <a:lnTo>
                    <a:pt x="2242" y="876"/>
                  </a:lnTo>
                  <a:lnTo>
                    <a:pt x="2249" y="866"/>
                  </a:lnTo>
                  <a:lnTo>
                    <a:pt x="2254" y="864"/>
                  </a:lnTo>
                  <a:lnTo>
                    <a:pt x="2254" y="857"/>
                  </a:lnTo>
                  <a:lnTo>
                    <a:pt x="2258" y="855"/>
                  </a:lnTo>
                  <a:lnTo>
                    <a:pt x="2263" y="848"/>
                  </a:lnTo>
                  <a:lnTo>
                    <a:pt x="2268" y="848"/>
                  </a:lnTo>
                  <a:lnTo>
                    <a:pt x="2270" y="845"/>
                  </a:lnTo>
                  <a:lnTo>
                    <a:pt x="2280" y="845"/>
                  </a:lnTo>
                  <a:lnTo>
                    <a:pt x="2291" y="843"/>
                  </a:lnTo>
                  <a:lnTo>
                    <a:pt x="2294" y="840"/>
                  </a:lnTo>
                  <a:lnTo>
                    <a:pt x="2294" y="838"/>
                  </a:lnTo>
                  <a:lnTo>
                    <a:pt x="2296" y="838"/>
                  </a:lnTo>
                  <a:lnTo>
                    <a:pt x="2301" y="843"/>
                  </a:lnTo>
                  <a:lnTo>
                    <a:pt x="2303" y="845"/>
                  </a:lnTo>
                  <a:lnTo>
                    <a:pt x="2303" y="848"/>
                  </a:lnTo>
                  <a:lnTo>
                    <a:pt x="2310" y="848"/>
                  </a:lnTo>
                  <a:lnTo>
                    <a:pt x="2313" y="843"/>
                  </a:lnTo>
                  <a:lnTo>
                    <a:pt x="2320" y="838"/>
                  </a:lnTo>
                  <a:lnTo>
                    <a:pt x="2315" y="852"/>
                  </a:lnTo>
                  <a:lnTo>
                    <a:pt x="2313" y="855"/>
                  </a:lnTo>
                  <a:lnTo>
                    <a:pt x="2313" y="859"/>
                  </a:lnTo>
                  <a:lnTo>
                    <a:pt x="2310" y="862"/>
                  </a:lnTo>
                  <a:lnTo>
                    <a:pt x="2310" y="866"/>
                  </a:lnTo>
                  <a:lnTo>
                    <a:pt x="2313" y="869"/>
                  </a:lnTo>
                  <a:lnTo>
                    <a:pt x="2313" y="871"/>
                  </a:lnTo>
                  <a:lnTo>
                    <a:pt x="2310" y="871"/>
                  </a:lnTo>
                  <a:lnTo>
                    <a:pt x="2310" y="874"/>
                  </a:lnTo>
                  <a:lnTo>
                    <a:pt x="2310" y="876"/>
                  </a:lnTo>
                  <a:lnTo>
                    <a:pt x="2315" y="874"/>
                  </a:lnTo>
                  <a:lnTo>
                    <a:pt x="2320" y="871"/>
                  </a:lnTo>
                  <a:lnTo>
                    <a:pt x="2315" y="881"/>
                  </a:lnTo>
                  <a:lnTo>
                    <a:pt x="2315" y="885"/>
                  </a:lnTo>
                  <a:lnTo>
                    <a:pt x="2315" y="888"/>
                  </a:lnTo>
                  <a:lnTo>
                    <a:pt x="2317" y="888"/>
                  </a:lnTo>
                  <a:lnTo>
                    <a:pt x="2322" y="883"/>
                  </a:lnTo>
                  <a:lnTo>
                    <a:pt x="2325" y="883"/>
                  </a:lnTo>
                  <a:lnTo>
                    <a:pt x="2336" y="869"/>
                  </a:lnTo>
                  <a:lnTo>
                    <a:pt x="2339" y="866"/>
                  </a:lnTo>
                  <a:lnTo>
                    <a:pt x="2343" y="862"/>
                  </a:lnTo>
                  <a:lnTo>
                    <a:pt x="2346" y="859"/>
                  </a:lnTo>
                  <a:lnTo>
                    <a:pt x="2353" y="850"/>
                  </a:lnTo>
                  <a:lnTo>
                    <a:pt x="2358" y="850"/>
                  </a:lnTo>
                  <a:lnTo>
                    <a:pt x="2360" y="850"/>
                  </a:lnTo>
                  <a:lnTo>
                    <a:pt x="2360" y="848"/>
                  </a:lnTo>
                  <a:lnTo>
                    <a:pt x="2362" y="848"/>
                  </a:lnTo>
                  <a:lnTo>
                    <a:pt x="2362" y="850"/>
                  </a:lnTo>
                  <a:lnTo>
                    <a:pt x="2365" y="855"/>
                  </a:lnTo>
                  <a:lnTo>
                    <a:pt x="2367" y="852"/>
                  </a:lnTo>
                  <a:lnTo>
                    <a:pt x="2369" y="848"/>
                  </a:lnTo>
                  <a:lnTo>
                    <a:pt x="2365" y="848"/>
                  </a:lnTo>
                  <a:lnTo>
                    <a:pt x="2365" y="843"/>
                  </a:lnTo>
                  <a:lnTo>
                    <a:pt x="2365" y="838"/>
                  </a:lnTo>
                  <a:lnTo>
                    <a:pt x="2367" y="833"/>
                  </a:lnTo>
                  <a:lnTo>
                    <a:pt x="2367" y="831"/>
                  </a:lnTo>
                  <a:lnTo>
                    <a:pt x="2369" y="826"/>
                  </a:lnTo>
                  <a:lnTo>
                    <a:pt x="2369" y="824"/>
                  </a:lnTo>
                  <a:lnTo>
                    <a:pt x="2369" y="819"/>
                  </a:lnTo>
                  <a:lnTo>
                    <a:pt x="2374" y="817"/>
                  </a:lnTo>
                  <a:lnTo>
                    <a:pt x="2388" y="810"/>
                  </a:lnTo>
                  <a:lnTo>
                    <a:pt x="2393" y="812"/>
                  </a:lnTo>
                  <a:lnTo>
                    <a:pt x="2398" y="817"/>
                  </a:lnTo>
                  <a:lnTo>
                    <a:pt x="2398" y="822"/>
                  </a:lnTo>
                  <a:lnTo>
                    <a:pt x="2393" y="819"/>
                  </a:lnTo>
                  <a:lnTo>
                    <a:pt x="2388" y="824"/>
                  </a:lnTo>
                  <a:lnTo>
                    <a:pt x="2384" y="829"/>
                  </a:lnTo>
                  <a:lnTo>
                    <a:pt x="2384" y="833"/>
                  </a:lnTo>
                  <a:lnTo>
                    <a:pt x="2384" y="836"/>
                  </a:lnTo>
                  <a:lnTo>
                    <a:pt x="2381" y="840"/>
                  </a:lnTo>
                  <a:lnTo>
                    <a:pt x="2381" y="848"/>
                  </a:lnTo>
                  <a:lnTo>
                    <a:pt x="2379" y="852"/>
                  </a:lnTo>
                  <a:lnTo>
                    <a:pt x="2379" y="855"/>
                  </a:lnTo>
                  <a:lnTo>
                    <a:pt x="2379" y="857"/>
                  </a:lnTo>
                  <a:lnTo>
                    <a:pt x="2379" y="859"/>
                  </a:lnTo>
                  <a:lnTo>
                    <a:pt x="2379" y="864"/>
                  </a:lnTo>
                  <a:lnTo>
                    <a:pt x="2377" y="866"/>
                  </a:lnTo>
                  <a:lnTo>
                    <a:pt x="2374" y="866"/>
                  </a:lnTo>
                  <a:lnTo>
                    <a:pt x="2374" y="869"/>
                  </a:lnTo>
                  <a:lnTo>
                    <a:pt x="2374" y="874"/>
                  </a:lnTo>
                  <a:lnTo>
                    <a:pt x="2377" y="876"/>
                  </a:lnTo>
                  <a:lnTo>
                    <a:pt x="2377" y="876"/>
                  </a:lnTo>
                  <a:lnTo>
                    <a:pt x="2374" y="881"/>
                  </a:lnTo>
                  <a:lnTo>
                    <a:pt x="2369" y="881"/>
                  </a:lnTo>
                  <a:lnTo>
                    <a:pt x="2367" y="881"/>
                  </a:lnTo>
                  <a:lnTo>
                    <a:pt x="2362" y="883"/>
                  </a:lnTo>
                  <a:lnTo>
                    <a:pt x="2358" y="888"/>
                  </a:lnTo>
                  <a:lnTo>
                    <a:pt x="2355" y="888"/>
                  </a:lnTo>
                  <a:lnTo>
                    <a:pt x="2346" y="892"/>
                  </a:lnTo>
                  <a:lnTo>
                    <a:pt x="2346" y="892"/>
                  </a:lnTo>
                  <a:lnTo>
                    <a:pt x="2346" y="897"/>
                  </a:lnTo>
                  <a:lnTo>
                    <a:pt x="2343" y="902"/>
                  </a:lnTo>
                  <a:lnTo>
                    <a:pt x="2339" y="904"/>
                  </a:lnTo>
                  <a:lnTo>
                    <a:pt x="2336" y="909"/>
                  </a:lnTo>
                  <a:lnTo>
                    <a:pt x="2327" y="921"/>
                  </a:lnTo>
                  <a:lnTo>
                    <a:pt x="2320" y="926"/>
                  </a:lnTo>
                  <a:lnTo>
                    <a:pt x="2317" y="930"/>
                  </a:lnTo>
                  <a:lnTo>
                    <a:pt x="2315" y="933"/>
                  </a:lnTo>
                  <a:lnTo>
                    <a:pt x="2308" y="940"/>
                  </a:lnTo>
                  <a:lnTo>
                    <a:pt x="2308" y="947"/>
                  </a:lnTo>
                  <a:lnTo>
                    <a:pt x="2301" y="954"/>
                  </a:lnTo>
                  <a:lnTo>
                    <a:pt x="2299" y="959"/>
                  </a:lnTo>
                  <a:lnTo>
                    <a:pt x="2294" y="963"/>
                  </a:lnTo>
                  <a:lnTo>
                    <a:pt x="2289" y="968"/>
                  </a:lnTo>
                  <a:lnTo>
                    <a:pt x="2284" y="973"/>
                  </a:lnTo>
                  <a:lnTo>
                    <a:pt x="2277" y="977"/>
                  </a:lnTo>
                  <a:lnTo>
                    <a:pt x="2273" y="977"/>
                  </a:lnTo>
                  <a:lnTo>
                    <a:pt x="2270" y="980"/>
                  </a:lnTo>
                  <a:lnTo>
                    <a:pt x="2268" y="982"/>
                  </a:lnTo>
                  <a:lnTo>
                    <a:pt x="2261" y="982"/>
                  </a:lnTo>
                  <a:lnTo>
                    <a:pt x="2258" y="982"/>
                  </a:lnTo>
                  <a:lnTo>
                    <a:pt x="2258" y="987"/>
                  </a:lnTo>
                  <a:lnTo>
                    <a:pt x="2261" y="992"/>
                  </a:lnTo>
                  <a:lnTo>
                    <a:pt x="2256" y="1006"/>
                  </a:lnTo>
                  <a:lnTo>
                    <a:pt x="2251" y="1008"/>
                  </a:lnTo>
                  <a:lnTo>
                    <a:pt x="2247" y="1013"/>
                  </a:lnTo>
                  <a:lnTo>
                    <a:pt x="2244" y="1013"/>
                  </a:lnTo>
                  <a:lnTo>
                    <a:pt x="2242" y="1018"/>
                  </a:lnTo>
                  <a:lnTo>
                    <a:pt x="2240" y="1025"/>
                  </a:lnTo>
                  <a:lnTo>
                    <a:pt x="2235" y="1041"/>
                  </a:lnTo>
                  <a:lnTo>
                    <a:pt x="2235" y="1058"/>
                  </a:lnTo>
                  <a:lnTo>
                    <a:pt x="2235" y="1065"/>
                  </a:lnTo>
                  <a:lnTo>
                    <a:pt x="2237" y="1072"/>
                  </a:lnTo>
                  <a:lnTo>
                    <a:pt x="2237" y="1081"/>
                  </a:lnTo>
                  <a:lnTo>
                    <a:pt x="2237" y="1086"/>
                  </a:lnTo>
                  <a:lnTo>
                    <a:pt x="2240" y="1098"/>
                  </a:lnTo>
                  <a:lnTo>
                    <a:pt x="2240" y="1100"/>
                  </a:lnTo>
                  <a:lnTo>
                    <a:pt x="2242" y="1100"/>
                  </a:lnTo>
                  <a:lnTo>
                    <a:pt x="2242" y="1112"/>
                  </a:lnTo>
                  <a:lnTo>
                    <a:pt x="2244" y="1119"/>
                  </a:lnTo>
                  <a:lnTo>
                    <a:pt x="2244" y="1129"/>
                  </a:lnTo>
                  <a:lnTo>
                    <a:pt x="2247" y="1136"/>
                  </a:lnTo>
                  <a:lnTo>
                    <a:pt x="2247" y="1143"/>
                  </a:lnTo>
                  <a:lnTo>
                    <a:pt x="2251" y="1150"/>
                  </a:lnTo>
                  <a:lnTo>
                    <a:pt x="2251" y="1157"/>
                  </a:lnTo>
                  <a:lnTo>
                    <a:pt x="2251" y="1171"/>
                  </a:lnTo>
                  <a:lnTo>
                    <a:pt x="2254" y="1178"/>
                  </a:lnTo>
                  <a:lnTo>
                    <a:pt x="2256" y="1185"/>
                  </a:lnTo>
                  <a:lnTo>
                    <a:pt x="2256" y="1188"/>
                  </a:lnTo>
                  <a:lnTo>
                    <a:pt x="2261" y="1183"/>
                  </a:lnTo>
                  <a:lnTo>
                    <a:pt x="2265" y="1181"/>
                  </a:lnTo>
                  <a:lnTo>
                    <a:pt x="2268" y="1176"/>
                  </a:lnTo>
                  <a:lnTo>
                    <a:pt x="2270" y="1171"/>
                  </a:lnTo>
                  <a:lnTo>
                    <a:pt x="2275" y="1169"/>
                  </a:lnTo>
                  <a:lnTo>
                    <a:pt x="2282" y="1162"/>
                  </a:lnTo>
                  <a:lnTo>
                    <a:pt x="2284" y="1152"/>
                  </a:lnTo>
                  <a:lnTo>
                    <a:pt x="2287" y="1148"/>
                  </a:lnTo>
                  <a:lnTo>
                    <a:pt x="2284" y="1143"/>
                  </a:lnTo>
                  <a:lnTo>
                    <a:pt x="2287" y="1140"/>
                  </a:lnTo>
                  <a:lnTo>
                    <a:pt x="2287" y="1136"/>
                  </a:lnTo>
                  <a:lnTo>
                    <a:pt x="2287" y="1133"/>
                  </a:lnTo>
                  <a:lnTo>
                    <a:pt x="2287" y="1131"/>
                  </a:lnTo>
                  <a:lnTo>
                    <a:pt x="2289" y="1131"/>
                  </a:lnTo>
                  <a:lnTo>
                    <a:pt x="2291" y="1133"/>
                  </a:lnTo>
                  <a:lnTo>
                    <a:pt x="2294" y="1129"/>
                  </a:lnTo>
                  <a:lnTo>
                    <a:pt x="2299" y="1126"/>
                  </a:lnTo>
                  <a:lnTo>
                    <a:pt x="2306" y="1124"/>
                  </a:lnTo>
                  <a:lnTo>
                    <a:pt x="2313" y="1126"/>
                  </a:lnTo>
                  <a:lnTo>
                    <a:pt x="2313" y="1124"/>
                  </a:lnTo>
                  <a:lnTo>
                    <a:pt x="2310" y="1122"/>
                  </a:lnTo>
                  <a:lnTo>
                    <a:pt x="2310" y="1117"/>
                  </a:lnTo>
                  <a:lnTo>
                    <a:pt x="2310" y="1105"/>
                  </a:lnTo>
                  <a:lnTo>
                    <a:pt x="2310" y="1100"/>
                  </a:lnTo>
                  <a:lnTo>
                    <a:pt x="2313" y="1096"/>
                  </a:lnTo>
                  <a:lnTo>
                    <a:pt x="2322" y="1088"/>
                  </a:lnTo>
                  <a:lnTo>
                    <a:pt x="2329" y="1084"/>
                  </a:lnTo>
                  <a:lnTo>
                    <a:pt x="2334" y="1084"/>
                  </a:lnTo>
                  <a:lnTo>
                    <a:pt x="2336" y="1086"/>
                  </a:lnTo>
                  <a:lnTo>
                    <a:pt x="2339" y="1086"/>
                  </a:lnTo>
                  <a:lnTo>
                    <a:pt x="2343" y="1084"/>
                  </a:lnTo>
                  <a:lnTo>
                    <a:pt x="2348" y="1079"/>
                  </a:lnTo>
                  <a:lnTo>
                    <a:pt x="2348" y="1077"/>
                  </a:lnTo>
                  <a:lnTo>
                    <a:pt x="2343" y="1067"/>
                  </a:lnTo>
                  <a:lnTo>
                    <a:pt x="2341" y="1063"/>
                  </a:lnTo>
                  <a:lnTo>
                    <a:pt x="2341" y="1060"/>
                  </a:lnTo>
                  <a:lnTo>
                    <a:pt x="2341" y="1055"/>
                  </a:lnTo>
                  <a:lnTo>
                    <a:pt x="2341" y="1051"/>
                  </a:lnTo>
                  <a:lnTo>
                    <a:pt x="2343" y="1046"/>
                  </a:lnTo>
                  <a:lnTo>
                    <a:pt x="2346" y="1041"/>
                  </a:lnTo>
                  <a:lnTo>
                    <a:pt x="2348" y="1037"/>
                  </a:lnTo>
                  <a:lnTo>
                    <a:pt x="2353" y="1034"/>
                  </a:lnTo>
                  <a:lnTo>
                    <a:pt x="2353" y="1032"/>
                  </a:lnTo>
                  <a:lnTo>
                    <a:pt x="2351" y="1029"/>
                  </a:lnTo>
                  <a:lnTo>
                    <a:pt x="2351" y="1027"/>
                  </a:lnTo>
                  <a:lnTo>
                    <a:pt x="2355" y="1027"/>
                  </a:lnTo>
                  <a:lnTo>
                    <a:pt x="2360" y="1025"/>
                  </a:lnTo>
                  <a:lnTo>
                    <a:pt x="2362" y="1022"/>
                  </a:lnTo>
                  <a:lnTo>
                    <a:pt x="2365" y="1025"/>
                  </a:lnTo>
                  <a:lnTo>
                    <a:pt x="2362" y="1027"/>
                  </a:lnTo>
                  <a:lnTo>
                    <a:pt x="2360" y="1029"/>
                  </a:lnTo>
                  <a:lnTo>
                    <a:pt x="2358" y="1032"/>
                  </a:lnTo>
                  <a:lnTo>
                    <a:pt x="2360" y="1039"/>
                  </a:lnTo>
                  <a:lnTo>
                    <a:pt x="2365" y="1041"/>
                  </a:lnTo>
                  <a:lnTo>
                    <a:pt x="2365" y="1039"/>
                  </a:lnTo>
                  <a:lnTo>
                    <a:pt x="2367" y="1034"/>
                  </a:lnTo>
                  <a:lnTo>
                    <a:pt x="2369" y="1032"/>
                  </a:lnTo>
                  <a:lnTo>
                    <a:pt x="2367" y="1020"/>
                  </a:lnTo>
                  <a:lnTo>
                    <a:pt x="2365" y="1018"/>
                  </a:lnTo>
                  <a:lnTo>
                    <a:pt x="2360" y="1018"/>
                  </a:lnTo>
                  <a:lnTo>
                    <a:pt x="2360" y="1018"/>
                  </a:lnTo>
                  <a:lnTo>
                    <a:pt x="2360" y="1011"/>
                  </a:lnTo>
                  <a:lnTo>
                    <a:pt x="2360" y="1003"/>
                  </a:lnTo>
                  <a:lnTo>
                    <a:pt x="2360" y="999"/>
                  </a:lnTo>
                  <a:lnTo>
                    <a:pt x="2360" y="996"/>
                  </a:lnTo>
                  <a:lnTo>
                    <a:pt x="2365" y="992"/>
                  </a:lnTo>
                  <a:lnTo>
                    <a:pt x="2367" y="987"/>
                  </a:lnTo>
                  <a:lnTo>
                    <a:pt x="2367" y="985"/>
                  </a:lnTo>
                  <a:lnTo>
                    <a:pt x="2358" y="977"/>
                  </a:lnTo>
                  <a:lnTo>
                    <a:pt x="2355" y="980"/>
                  </a:lnTo>
                  <a:lnTo>
                    <a:pt x="2353" y="982"/>
                  </a:lnTo>
                  <a:lnTo>
                    <a:pt x="2353" y="985"/>
                  </a:lnTo>
                  <a:lnTo>
                    <a:pt x="2351" y="985"/>
                  </a:lnTo>
                  <a:lnTo>
                    <a:pt x="2348" y="982"/>
                  </a:lnTo>
                  <a:lnTo>
                    <a:pt x="2346" y="977"/>
                  </a:lnTo>
                  <a:lnTo>
                    <a:pt x="2346" y="973"/>
                  </a:lnTo>
                  <a:lnTo>
                    <a:pt x="2348" y="968"/>
                  </a:lnTo>
                  <a:lnTo>
                    <a:pt x="2351" y="963"/>
                  </a:lnTo>
                  <a:lnTo>
                    <a:pt x="2351" y="959"/>
                  </a:lnTo>
                  <a:lnTo>
                    <a:pt x="2355" y="952"/>
                  </a:lnTo>
                  <a:lnTo>
                    <a:pt x="2360" y="947"/>
                  </a:lnTo>
                  <a:lnTo>
                    <a:pt x="2362" y="944"/>
                  </a:lnTo>
                  <a:lnTo>
                    <a:pt x="2362" y="940"/>
                  </a:lnTo>
                  <a:lnTo>
                    <a:pt x="2362" y="937"/>
                  </a:lnTo>
                  <a:lnTo>
                    <a:pt x="2367" y="940"/>
                  </a:lnTo>
                  <a:lnTo>
                    <a:pt x="2365" y="937"/>
                  </a:lnTo>
                  <a:lnTo>
                    <a:pt x="2365" y="935"/>
                  </a:lnTo>
                  <a:lnTo>
                    <a:pt x="2369" y="933"/>
                  </a:lnTo>
                  <a:lnTo>
                    <a:pt x="2369" y="930"/>
                  </a:lnTo>
                  <a:lnTo>
                    <a:pt x="2369" y="928"/>
                  </a:lnTo>
                  <a:lnTo>
                    <a:pt x="2369" y="923"/>
                  </a:lnTo>
                  <a:lnTo>
                    <a:pt x="2372" y="918"/>
                  </a:lnTo>
                  <a:lnTo>
                    <a:pt x="2372" y="916"/>
                  </a:lnTo>
                  <a:lnTo>
                    <a:pt x="2374" y="914"/>
                  </a:lnTo>
                  <a:lnTo>
                    <a:pt x="2377" y="911"/>
                  </a:lnTo>
                  <a:lnTo>
                    <a:pt x="2381" y="909"/>
                  </a:lnTo>
                  <a:lnTo>
                    <a:pt x="2384" y="911"/>
                  </a:lnTo>
                  <a:lnTo>
                    <a:pt x="2384" y="914"/>
                  </a:lnTo>
                  <a:lnTo>
                    <a:pt x="2388" y="909"/>
                  </a:lnTo>
                  <a:lnTo>
                    <a:pt x="2391" y="907"/>
                  </a:lnTo>
                  <a:lnTo>
                    <a:pt x="2395" y="909"/>
                  </a:lnTo>
                  <a:lnTo>
                    <a:pt x="2395" y="914"/>
                  </a:lnTo>
                  <a:lnTo>
                    <a:pt x="2400" y="914"/>
                  </a:lnTo>
                  <a:lnTo>
                    <a:pt x="2400" y="909"/>
                  </a:lnTo>
                  <a:lnTo>
                    <a:pt x="2400" y="907"/>
                  </a:lnTo>
                  <a:lnTo>
                    <a:pt x="2402" y="902"/>
                  </a:lnTo>
                  <a:lnTo>
                    <a:pt x="2405" y="900"/>
                  </a:lnTo>
                  <a:lnTo>
                    <a:pt x="2412" y="900"/>
                  </a:lnTo>
                  <a:lnTo>
                    <a:pt x="2414" y="897"/>
                  </a:lnTo>
                  <a:lnTo>
                    <a:pt x="2417" y="892"/>
                  </a:lnTo>
                  <a:lnTo>
                    <a:pt x="2419" y="890"/>
                  </a:lnTo>
                  <a:lnTo>
                    <a:pt x="2421" y="892"/>
                  </a:lnTo>
                  <a:lnTo>
                    <a:pt x="2421" y="892"/>
                  </a:lnTo>
                  <a:lnTo>
                    <a:pt x="2419" y="895"/>
                  </a:lnTo>
                  <a:lnTo>
                    <a:pt x="2421" y="902"/>
                  </a:lnTo>
                  <a:lnTo>
                    <a:pt x="2419" y="907"/>
                  </a:lnTo>
                  <a:lnTo>
                    <a:pt x="2419" y="909"/>
                  </a:lnTo>
                  <a:lnTo>
                    <a:pt x="2419" y="911"/>
                  </a:lnTo>
                  <a:lnTo>
                    <a:pt x="2419" y="914"/>
                  </a:lnTo>
                  <a:lnTo>
                    <a:pt x="2419" y="914"/>
                  </a:lnTo>
                  <a:lnTo>
                    <a:pt x="2419" y="914"/>
                  </a:lnTo>
                  <a:lnTo>
                    <a:pt x="2424" y="909"/>
                  </a:lnTo>
                  <a:lnTo>
                    <a:pt x="2433" y="900"/>
                  </a:lnTo>
                  <a:lnTo>
                    <a:pt x="2433" y="897"/>
                  </a:lnTo>
                  <a:lnTo>
                    <a:pt x="2433" y="895"/>
                  </a:lnTo>
                  <a:lnTo>
                    <a:pt x="2433" y="895"/>
                  </a:lnTo>
                  <a:lnTo>
                    <a:pt x="2436" y="897"/>
                  </a:lnTo>
                  <a:lnTo>
                    <a:pt x="2438" y="895"/>
                  </a:lnTo>
                  <a:lnTo>
                    <a:pt x="2443" y="892"/>
                  </a:lnTo>
                  <a:lnTo>
                    <a:pt x="2447" y="890"/>
                  </a:lnTo>
                  <a:lnTo>
                    <a:pt x="2452" y="888"/>
                  </a:lnTo>
                  <a:lnTo>
                    <a:pt x="2454" y="885"/>
                  </a:lnTo>
                  <a:lnTo>
                    <a:pt x="2454" y="888"/>
                  </a:lnTo>
                  <a:lnTo>
                    <a:pt x="2457" y="888"/>
                  </a:lnTo>
                  <a:lnTo>
                    <a:pt x="2466" y="888"/>
                  </a:lnTo>
                  <a:lnTo>
                    <a:pt x="2471" y="888"/>
                  </a:lnTo>
                  <a:lnTo>
                    <a:pt x="2476" y="890"/>
                  </a:lnTo>
                  <a:lnTo>
                    <a:pt x="2480" y="895"/>
                  </a:lnTo>
                  <a:lnTo>
                    <a:pt x="2480" y="897"/>
                  </a:lnTo>
                  <a:lnTo>
                    <a:pt x="2488" y="907"/>
                  </a:lnTo>
                  <a:lnTo>
                    <a:pt x="2488" y="909"/>
                  </a:lnTo>
                  <a:lnTo>
                    <a:pt x="2492" y="909"/>
                  </a:lnTo>
                  <a:lnTo>
                    <a:pt x="2492" y="909"/>
                  </a:lnTo>
                  <a:lnTo>
                    <a:pt x="2492" y="904"/>
                  </a:lnTo>
                  <a:lnTo>
                    <a:pt x="2497" y="895"/>
                  </a:lnTo>
                  <a:lnTo>
                    <a:pt x="2497" y="895"/>
                  </a:lnTo>
                  <a:lnTo>
                    <a:pt x="2495" y="892"/>
                  </a:lnTo>
                  <a:lnTo>
                    <a:pt x="2497" y="892"/>
                  </a:lnTo>
                  <a:lnTo>
                    <a:pt x="2502" y="890"/>
                  </a:lnTo>
                  <a:lnTo>
                    <a:pt x="2504" y="888"/>
                  </a:lnTo>
                  <a:lnTo>
                    <a:pt x="2504" y="885"/>
                  </a:lnTo>
                  <a:lnTo>
                    <a:pt x="2506" y="888"/>
                  </a:lnTo>
                  <a:lnTo>
                    <a:pt x="2509" y="888"/>
                  </a:lnTo>
                  <a:lnTo>
                    <a:pt x="2514" y="883"/>
                  </a:lnTo>
                  <a:lnTo>
                    <a:pt x="2514" y="881"/>
                  </a:lnTo>
                  <a:lnTo>
                    <a:pt x="2514" y="881"/>
                  </a:lnTo>
                  <a:lnTo>
                    <a:pt x="2516" y="878"/>
                  </a:lnTo>
                  <a:lnTo>
                    <a:pt x="2521" y="878"/>
                  </a:lnTo>
                  <a:lnTo>
                    <a:pt x="2521" y="876"/>
                  </a:lnTo>
                  <a:lnTo>
                    <a:pt x="2523" y="876"/>
                  </a:lnTo>
                  <a:lnTo>
                    <a:pt x="2523" y="874"/>
                  </a:lnTo>
                  <a:lnTo>
                    <a:pt x="2523" y="874"/>
                  </a:lnTo>
                  <a:lnTo>
                    <a:pt x="2521" y="871"/>
                  </a:lnTo>
                  <a:lnTo>
                    <a:pt x="2521" y="869"/>
                  </a:lnTo>
                  <a:lnTo>
                    <a:pt x="2523" y="871"/>
                  </a:lnTo>
                  <a:lnTo>
                    <a:pt x="2525" y="874"/>
                  </a:lnTo>
                  <a:lnTo>
                    <a:pt x="2528" y="871"/>
                  </a:lnTo>
                  <a:lnTo>
                    <a:pt x="2528" y="866"/>
                  </a:lnTo>
                  <a:lnTo>
                    <a:pt x="2528" y="866"/>
                  </a:lnTo>
                  <a:lnTo>
                    <a:pt x="2530" y="866"/>
                  </a:lnTo>
                  <a:lnTo>
                    <a:pt x="2535" y="864"/>
                  </a:lnTo>
                  <a:lnTo>
                    <a:pt x="2535" y="864"/>
                  </a:lnTo>
                  <a:lnTo>
                    <a:pt x="2535" y="862"/>
                  </a:lnTo>
                  <a:lnTo>
                    <a:pt x="2535" y="859"/>
                  </a:lnTo>
                  <a:lnTo>
                    <a:pt x="2535" y="857"/>
                  </a:lnTo>
                  <a:lnTo>
                    <a:pt x="2537" y="859"/>
                  </a:lnTo>
                  <a:lnTo>
                    <a:pt x="2540" y="859"/>
                  </a:lnTo>
                  <a:lnTo>
                    <a:pt x="2542" y="857"/>
                  </a:lnTo>
                  <a:lnTo>
                    <a:pt x="2542" y="857"/>
                  </a:lnTo>
                  <a:lnTo>
                    <a:pt x="2544" y="855"/>
                  </a:lnTo>
                  <a:lnTo>
                    <a:pt x="2544" y="855"/>
                  </a:lnTo>
                  <a:lnTo>
                    <a:pt x="2544" y="852"/>
                  </a:lnTo>
                  <a:lnTo>
                    <a:pt x="2547" y="848"/>
                  </a:lnTo>
                  <a:lnTo>
                    <a:pt x="2547" y="845"/>
                  </a:lnTo>
                  <a:lnTo>
                    <a:pt x="2549" y="845"/>
                  </a:lnTo>
                  <a:lnTo>
                    <a:pt x="2549" y="850"/>
                  </a:lnTo>
                  <a:lnTo>
                    <a:pt x="2551" y="850"/>
                  </a:lnTo>
                  <a:lnTo>
                    <a:pt x="2554" y="850"/>
                  </a:lnTo>
                  <a:lnTo>
                    <a:pt x="2558" y="845"/>
                  </a:lnTo>
                  <a:lnTo>
                    <a:pt x="2565" y="843"/>
                  </a:lnTo>
                  <a:lnTo>
                    <a:pt x="2568" y="840"/>
                  </a:lnTo>
                  <a:lnTo>
                    <a:pt x="2573" y="838"/>
                  </a:lnTo>
                  <a:lnTo>
                    <a:pt x="2575" y="836"/>
                  </a:lnTo>
                  <a:lnTo>
                    <a:pt x="2575" y="833"/>
                  </a:lnTo>
                  <a:lnTo>
                    <a:pt x="2575" y="831"/>
                  </a:lnTo>
                  <a:lnTo>
                    <a:pt x="2577" y="831"/>
                  </a:lnTo>
                  <a:lnTo>
                    <a:pt x="2577" y="831"/>
                  </a:lnTo>
                  <a:lnTo>
                    <a:pt x="2577" y="833"/>
                  </a:lnTo>
                  <a:lnTo>
                    <a:pt x="2577" y="833"/>
                  </a:lnTo>
                  <a:lnTo>
                    <a:pt x="2584" y="829"/>
                  </a:lnTo>
                  <a:lnTo>
                    <a:pt x="2587" y="829"/>
                  </a:lnTo>
                  <a:lnTo>
                    <a:pt x="2591" y="826"/>
                  </a:lnTo>
                  <a:lnTo>
                    <a:pt x="2603" y="819"/>
                  </a:lnTo>
                  <a:lnTo>
                    <a:pt x="2610" y="817"/>
                  </a:lnTo>
                  <a:lnTo>
                    <a:pt x="2613" y="815"/>
                  </a:lnTo>
                  <a:lnTo>
                    <a:pt x="2610" y="815"/>
                  </a:lnTo>
                  <a:lnTo>
                    <a:pt x="2610" y="812"/>
                  </a:lnTo>
                  <a:lnTo>
                    <a:pt x="2608" y="807"/>
                  </a:lnTo>
                  <a:lnTo>
                    <a:pt x="2608" y="805"/>
                  </a:lnTo>
                  <a:lnTo>
                    <a:pt x="2608" y="803"/>
                  </a:lnTo>
                  <a:lnTo>
                    <a:pt x="2610" y="805"/>
                  </a:lnTo>
                  <a:lnTo>
                    <a:pt x="2610" y="810"/>
                  </a:lnTo>
                  <a:lnTo>
                    <a:pt x="2613" y="812"/>
                  </a:lnTo>
                  <a:lnTo>
                    <a:pt x="2615" y="812"/>
                  </a:lnTo>
                  <a:lnTo>
                    <a:pt x="2615" y="815"/>
                  </a:lnTo>
                  <a:lnTo>
                    <a:pt x="2615" y="815"/>
                  </a:lnTo>
                  <a:lnTo>
                    <a:pt x="2617" y="815"/>
                  </a:lnTo>
                  <a:lnTo>
                    <a:pt x="2617" y="812"/>
                  </a:lnTo>
                  <a:lnTo>
                    <a:pt x="2617" y="810"/>
                  </a:lnTo>
                  <a:lnTo>
                    <a:pt x="2620" y="810"/>
                  </a:lnTo>
                  <a:lnTo>
                    <a:pt x="2620" y="812"/>
                  </a:lnTo>
                  <a:lnTo>
                    <a:pt x="2622" y="815"/>
                  </a:lnTo>
                  <a:lnTo>
                    <a:pt x="2625" y="815"/>
                  </a:lnTo>
                  <a:lnTo>
                    <a:pt x="2629" y="817"/>
                  </a:lnTo>
                  <a:lnTo>
                    <a:pt x="2632" y="819"/>
                  </a:lnTo>
                  <a:lnTo>
                    <a:pt x="2636" y="822"/>
                  </a:lnTo>
                  <a:lnTo>
                    <a:pt x="2641" y="824"/>
                  </a:lnTo>
                  <a:lnTo>
                    <a:pt x="2643" y="824"/>
                  </a:lnTo>
                  <a:lnTo>
                    <a:pt x="2643" y="819"/>
                  </a:lnTo>
                  <a:lnTo>
                    <a:pt x="2646" y="819"/>
                  </a:lnTo>
                  <a:lnTo>
                    <a:pt x="2651" y="812"/>
                  </a:lnTo>
                  <a:lnTo>
                    <a:pt x="2653" y="807"/>
                  </a:lnTo>
                  <a:lnTo>
                    <a:pt x="2651" y="805"/>
                  </a:lnTo>
                  <a:lnTo>
                    <a:pt x="2648" y="803"/>
                  </a:lnTo>
                  <a:lnTo>
                    <a:pt x="2643" y="800"/>
                  </a:lnTo>
                  <a:lnTo>
                    <a:pt x="2643" y="800"/>
                  </a:lnTo>
                  <a:lnTo>
                    <a:pt x="2641" y="798"/>
                  </a:lnTo>
                  <a:lnTo>
                    <a:pt x="2643" y="798"/>
                  </a:lnTo>
                  <a:lnTo>
                    <a:pt x="2646" y="796"/>
                  </a:lnTo>
                  <a:lnTo>
                    <a:pt x="2648" y="798"/>
                  </a:lnTo>
                  <a:lnTo>
                    <a:pt x="2651" y="796"/>
                  </a:lnTo>
                  <a:lnTo>
                    <a:pt x="2648" y="791"/>
                  </a:lnTo>
                  <a:lnTo>
                    <a:pt x="2646" y="791"/>
                  </a:lnTo>
                  <a:lnTo>
                    <a:pt x="2643" y="786"/>
                  </a:lnTo>
                  <a:lnTo>
                    <a:pt x="2641" y="781"/>
                  </a:lnTo>
                  <a:lnTo>
                    <a:pt x="2639" y="774"/>
                  </a:lnTo>
                  <a:lnTo>
                    <a:pt x="2639" y="774"/>
                  </a:lnTo>
                  <a:lnTo>
                    <a:pt x="2636" y="760"/>
                  </a:lnTo>
                  <a:lnTo>
                    <a:pt x="2634" y="763"/>
                  </a:lnTo>
                  <a:lnTo>
                    <a:pt x="2632" y="758"/>
                  </a:lnTo>
                  <a:lnTo>
                    <a:pt x="2632" y="758"/>
                  </a:lnTo>
                  <a:lnTo>
                    <a:pt x="2634" y="755"/>
                  </a:lnTo>
                  <a:lnTo>
                    <a:pt x="2634" y="758"/>
                  </a:lnTo>
                  <a:lnTo>
                    <a:pt x="2634" y="753"/>
                  </a:lnTo>
                  <a:lnTo>
                    <a:pt x="2632" y="746"/>
                  </a:lnTo>
                  <a:lnTo>
                    <a:pt x="2629" y="748"/>
                  </a:lnTo>
                  <a:lnTo>
                    <a:pt x="2627" y="751"/>
                  </a:lnTo>
                  <a:lnTo>
                    <a:pt x="2625" y="748"/>
                  </a:lnTo>
                  <a:lnTo>
                    <a:pt x="2622" y="746"/>
                  </a:lnTo>
                  <a:lnTo>
                    <a:pt x="2617" y="744"/>
                  </a:lnTo>
                  <a:lnTo>
                    <a:pt x="2615" y="741"/>
                  </a:lnTo>
                  <a:lnTo>
                    <a:pt x="2615" y="737"/>
                  </a:lnTo>
                  <a:lnTo>
                    <a:pt x="2615" y="734"/>
                  </a:lnTo>
                  <a:lnTo>
                    <a:pt x="2615" y="729"/>
                  </a:lnTo>
                  <a:lnTo>
                    <a:pt x="2617" y="727"/>
                  </a:lnTo>
                  <a:lnTo>
                    <a:pt x="2620" y="729"/>
                  </a:lnTo>
                  <a:lnTo>
                    <a:pt x="2627" y="732"/>
                  </a:lnTo>
                  <a:lnTo>
                    <a:pt x="2629" y="729"/>
                  </a:lnTo>
                  <a:lnTo>
                    <a:pt x="2629" y="729"/>
                  </a:lnTo>
                  <a:lnTo>
                    <a:pt x="2632" y="732"/>
                  </a:lnTo>
                  <a:lnTo>
                    <a:pt x="2636" y="732"/>
                  </a:lnTo>
                  <a:lnTo>
                    <a:pt x="2636" y="734"/>
                  </a:lnTo>
                  <a:lnTo>
                    <a:pt x="2636" y="737"/>
                  </a:lnTo>
                  <a:lnTo>
                    <a:pt x="2639" y="734"/>
                  </a:lnTo>
                  <a:lnTo>
                    <a:pt x="2641" y="729"/>
                  </a:lnTo>
                  <a:lnTo>
                    <a:pt x="2646" y="727"/>
                  </a:lnTo>
                  <a:lnTo>
                    <a:pt x="2651" y="727"/>
                  </a:lnTo>
                  <a:lnTo>
                    <a:pt x="2658" y="718"/>
                  </a:lnTo>
                  <a:lnTo>
                    <a:pt x="2660" y="715"/>
                  </a:lnTo>
                  <a:lnTo>
                    <a:pt x="2660" y="545"/>
                  </a:lnTo>
                  <a:lnTo>
                    <a:pt x="2646" y="529"/>
                  </a:lnTo>
                  <a:lnTo>
                    <a:pt x="2639" y="524"/>
                  </a:lnTo>
                  <a:lnTo>
                    <a:pt x="2634" y="524"/>
                  </a:lnTo>
                  <a:lnTo>
                    <a:pt x="2632" y="519"/>
                  </a:lnTo>
                  <a:lnTo>
                    <a:pt x="2632" y="522"/>
                  </a:lnTo>
                  <a:lnTo>
                    <a:pt x="2620" y="515"/>
                  </a:lnTo>
                  <a:lnTo>
                    <a:pt x="2615" y="510"/>
                  </a:lnTo>
                  <a:lnTo>
                    <a:pt x="2613" y="510"/>
                  </a:lnTo>
                  <a:lnTo>
                    <a:pt x="2606" y="507"/>
                  </a:lnTo>
                  <a:lnTo>
                    <a:pt x="2601" y="507"/>
                  </a:lnTo>
                  <a:lnTo>
                    <a:pt x="2591" y="498"/>
                  </a:lnTo>
                  <a:lnTo>
                    <a:pt x="2589" y="498"/>
                  </a:lnTo>
                  <a:lnTo>
                    <a:pt x="2573" y="498"/>
                  </a:lnTo>
                  <a:lnTo>
                    <a:pt x="2570" y="498"/>
                  </a:lnTo>
                  <a:lnTo>
                    <a:pt x="2565" y="500"/>
                  </a:lnTo>
                  <a:lnTo>
                    <a:pt x="2563" y="498"/>
                  </a:lnTo>
                  <a:lnTo>
                    <a:pt x="2558" y="496"/>
                  </a:lnTo>
                  <a:lnTo>
                    <a:pt x="2554" y="498"/>
                  </a:lnTo>
                  <a:lnTo>
                    <a:pt x="2547" y="496"/>
                  </a:lnTo>
                  <a:lnTo>
                    <a:pt x="2542" y="498"/>
                  </a:lnTo>
                  <a:lnTo>
                    <a:pt x="2537" y="498"/>
                  </a:lnTo>
                  <a:lnTo>
                    <a:pt x="2530" y="493"/>
                  </a:lnTo>
                  <a:lnTo>
                    <a:pt x="2528" y="493"/>
                  </a:lnTo>
                  <a:lnTo>
                    <a:pt x="2506" y="489"/>
                  </a:lnTo>
                  <a:lnTo>
                    <a:pt x="2497" y="489"/>
                  </a:lnTo>
                  <a:lnTo>
                    <a:pt x="2495" y="491"/>
                  </a:lnTo>
                  <a:lnTo>
                    <a:pt x="2492" y="493"/>
                  </a:lnTo>
                  <a:lnTo>
                    <a:pt x="2495" y="498"/>
                  </a:lnTo>
                  <a:lnTo>
                    <a:pt x="2495" y="505"/>
                  </a:lnTo>
                  <a:lnTo>
                    <a:pt x="2488" y="505"/>
                  </a:lnTo>
                  <a:lnTo>
                    <a:pt x="2488" y="510"/>
                  </a:lnTo>
                  <a:lnTo>
                    <a:pt x="2497" y="512"/>
                  </a:lnTo>
                  <a:lnTo>
                    <a:pt x="2499" y="524"/>
                  </a:lnTo>
                  <a:lnTo>
                    <a:pt x="2502" y="526"/>
                  </a:lnTo>
                  <a:lnTo>
                    <a:pt x="2502" y="529"/>
                  </a:lnTo>
                  <a:lnTo>
                    <a:pt x="2504" y="536"/>
                  </a:lnTo>
                  <a:lnTo>
                    <a:pt x="2495" y="548"/>
                  </a:lnTo>
                  <a:lnTo>
                    <a:pt x="2488" y="552"/>
                  </a:lnTo>
                  <a:lnTo>
                    <a:pt x="2480" y="552"/>
                  </a:lnTo>
                  <a:lnTo>
                    <a:pt x="2478" y="550"/>
                  </a:lnTo>
                  <a:lnTo>
                    <a:pt x="2476" y="543"/>
                  </a:lnTo>
                  <a:lnTo>
                    <a:pt x="2473" y="538"/>
                  </a:lnTo>
                  <a:lnTo>
                    <a:pt x="2469" y="536"/>
                  </a:lnTo>
                  <a:lnTo>
                    <a:pt x="2469" y="533"/>
                  </a:lnTo>
                  <a:lnTo>
                    <a:pt x="2466" y="533"/>
                  </a:lnTo>
                  <a:lnTo>
                    <a:pt x="2457" y="531"/>
                  </a:lnTo>
                  <a:lnTo>
                    <a:pt x="2457" y="529"/>
                  </a:lnTo>
                  <a:lnTo>
                    <a:pt x="2454" y="529"/>
                  </a:lnTo>
                  <a:lnTo>
                    <a:pt x="2454" y="526"/>
                  </a:lnTo>
                  <a:lnTo>
                    <a:pt x="2454" y="515"/>
                  </a:lnTo>
                  <a:lnTo>
                    <a:pt x="2454" y="512"/>
                  </a:lnTo>
                  <a:lnTo>
                    <a:pt x="2447" y="510"/>
                  </a:lnTo>
                  <a:lnTo>
                    <a:pt x="2450" y="507"/>
                  </a:lnTo>
                  <a:lnTo>
                    <a:pt x="2452" y="505"/>
                  </a:lnTo>
                  <a:lnTo>
                    <a:pt x="2452" y="505"/>
                  </a:lnTo>
                  <a:lnTo>
                    <a:pt x="2447" y="503"/>
                  </a:lnTo>
                  <a:lnTo>
                    <a:pt x="2445" y="503"/>
                  </a:lnTo>
                  <a:lnTo>
                    <a:pt x="2443" y="505"/>
                  </a:lnTo>
                  <a:lnTo>
                    <a:pt x="2433" y="517"/>
                  </a:lnTo>
                  <a:lnTo>
                    <a:pt x="2431" y="517"/>
                  </a:lnTo>
                  <a:lnTo>
                    <a:pt x="2428" y="517"/>
                  </a:lnTo>
                  <a:lnTo>
                    <a:pt x="2421" y="517"/>
                  </a:lnTo>
                  <a:lnTo>
                    <a:pt x="2414" y="512"/>
                  </a:lnTo>
                  <a:lnTo>
                    <a:pt x="2405" y="510"/>
                  </a:lnTo>
                  <a:lnTo>
                    <a:pt x="2400" y="512"/>
                  </a:lnTo>
                  <a:lnTo>
                    <a:pt x="2400" y="512"/>
                  </a:lnTo>
                  <a:lnTo>
                    <a:pt x="2400" y="512"/>
                  </a:lnTo>
                  <a:lnTo>
                    <a:pt x="2391" y="512"/>
                  </a:lnTo>
                  <a:lnTo>
                    <a:pt x="2386" y="510"/>
                  </a:lnTo>
                  <a:lnTo>
                    <a:pt x="2381" y="503"/>
                  </a:lnTo>
                  <a:lnTo>
                    <a:pt x="2377" y="505"/>
                  </a:lnTo>
                  <a:lnTo>
                    <a:pt x="2367" y="505"/>
                  </a:lnTo>
                  <a:lnTo>
                    <a:pt x="2360" y="507"/>
                  </a:lnTo>
                  <a:lnTo>
                    <a:pt x="2355" y="505"/>
                  </a:lnTo>
                  <a:lnTo>
                    <a:pt x="2353" y="505"/>
                  </a:lnTo>
                  <a:lnTo>
                    <a:pt x="2351" y="507"/>
                  </a:lnTo>
                  <a:lnTo>
                    <a:pt x="2351" y="510"/>
                  </a:lnTo>
                  <a:lnTo>
                    <a:pt x="2348" y="510"/>
                  </a:lnTo>
                  <a:lnTo>
                    <a:pt x="2346" y="515"/>
                  </a:lnTo>
                  <a:lnTo>
                    <a:pt x="2341" y="515"/>
                  </a:lnTo>
                  <a:lnTo>
                    <a:pt x="2339" y="519"/>
                  </a:lnTo>
                  <a:lnTo>
                    <a:pt x="2336" y="522"/>
                  </a:lnTo>
                  <a:lnTo>
                    <a:pt x="2334" y="522"/>
                  </a:lnTo>
                  <a:lnTo>
                    <a:pt x="2334" y="517"/>
                  </a:lnTo>
                  <a:lnTo>
                    <a:pt x="2334" y="512"/>
                  </a:lnTo>
                  <a:lnTo>
                    <a:pt x="2332" y="515"/>
                  </a:lnTo>
                  <a:lnTo>
                    <a:pt x="2329" y="512"/>
                  </a:lnTo>
                  <a:lnTo>
                    <a:pt x="2327" y="510"/>
                  </a:lnTo>
                  <a:lnTo>
                    <a:pt x="2325" y="507"/>
                  </a:lnTo>
                  <a:lnTo>
                    <a:pt x="2320" y="505"/>
                  </a:lnTo>
                  <a:lnTo>
                    <a:pt x="2317" y="505"/>
                  </a:lnTo>
                  <a:lnTo>
                    <a:pt x="2313" y="505"/>
                  </a:lnTo>
                  <a:lnTo>
                    <a:pt x="2313" y="503"/>
                  </a:lnTo>
                  <a:lnTo>
                    <a:pt x="2306" y="500"/>
                  </a:lnTo>
                  <a:lnTo>
                    <a:pt x="2306" y="498"/>
                  </a:lnTo>
                  <a:lnTo>
                    <a:pt x="2313" y="479"/>
                  </a:lnTo>
                  <a:lnTo>
                    <a:pt x="2313" y="474"/>
                  </a:lnTo>
                  <a:lnTo>
                    <a:pt x="2313" y="472"/>
                  </a:lnTo>
                  <a:lnTo>
                    <a:pt x="2313" y="470"/>
                  </a:lnTo>
                  <a:lnTo>
                    <a:pt x="2308" y="463"/>
                  </a:lnTo>
                  <a:lnTo>
                    <a:pt x="2308" y="463"/>
                  </a:lnTo>
                  <a:lnTo>
                    <a:pt x="2306" y="458"/>
                  </a:lnTo>
                  <a:lnTo>
                    <a:pt x="2303" y="453"/>
                  </a:lnTo>
                  <a:lnTo>
                    <a:pt x="2301" y="453"/>
                  </a:lnTo>
                  <a:lnTo>
                    <a:pt x="2296" y="446"/>
                  </a:lnTo>
                  <a:lnTo>
                    <a:pt x="2294" y="444"/>
                  </a:lnTo>
                  <a:lnTo>
                    <a:pt x="2291" y="441"/>
                  </a:lnTo>
                  <a:lnTo>
                    <a:pt x="2287" y="439"/>
                  </a:lnTo>
                  <a:lnTo>
                    <a:pt x="2275" y="439"/>
                  </a:lnTo>
                  <a:lnTo>
                    <a:pt x="2270" y="437"/>
                  </a:lnTo>
                  <a:lnTo>
                    <a:pt x="2263" y="437"/>
                  </a:lnTo>
                  <a:lnTo>
                    <a:pt x="2256" y="439"/>
                  </a:lnTo>
                  <a:lnTo>
                    <a:pt x="2247" y="439"/>
                  </a:lnTo>
                  <a:lnTo>
                    <a:pt x="2242" y="439"/>
                  </a:lnTo>
                  <a:lnTo>
                    <a:pt x="2242" y="439"/>
                  </a:lnTo>
                  <a:lnTo>
                    <a:pt x="2235" y="439"/>
                  </a:lnTo>
                  <a:lnTo>
                    <a:pt x="2232" y="441"/>
                  </a:lnTo>
                  <a:lnTo>
                    <a:pt x="2228" y="441"/>
                  </a:lnTo>
                  <a:lnTo>
                    <a:pt x="2221" y="439"/>
                  </a:lnTo>
                  <a:lnTo>
                    <a:pt x="2218" y="439"/>
                  </a:lnTo>
                  <a:lnTo>
                    <a:pt x="2216" y="444"/>
                  </a:lnTo>
                  <a:lnTo>
                    <a:pt x="2211" y="444"/>
                  </a:lnTo>
                  <a:lnTo>
                    <a:pt x="2209" y="444"/>
                  </a:lnTo>
                  <a:lnTo>
                    <a:pt x="2202" y="444"/>
                  </a:lnTo>
                  <a:lnTo>
                    <a:pt x="2199" y="444"/>
                  </a:lnTo>
                  <a:lnTo>
                    <a:pt x="2197" y="444"/>
                  </a:lnTo>
                  <a:lnTo>
                    <a:pt x="2190" y="446"/>
                  </a:lnTo>
                  <a:lnTo>
                    <a:pt x="2185" y="446"/>
                  </a:lnTo>
                  <a:lnTo>
                    <a:pt x="2183" y="448"/>
                  </a:lnTo>
                  <a:lnTo>
                    <a:pt x="2180" y="446"/>
                  </a:lnTo>
                  <a:lnTo>
                    <a:pt x="2176" y="441"/>
                  </a:lnTo>
                  <a:lnTo>
                    <a:pt x="2171" y="441"/>
                  </a:lnTo>
                  <a:lnTo>
                    <a:pt x="2169" y="439"/>
                  </a:lnTo>
                  <a:lnTo>
                    <a:pt x="2176" y="437"/>
                  </a:lnTo>
                  <a:lnTo>
                    <a:pt x="2178" y="434"/>
                  </a:lnTo>
                  <a:lnTo>
                    <a:pt x="2178" y="429"/>
                  </a:lnTo>
                  <a:lnTo>
                    <a:pt x="2169" y="420"/>
                  </a:lnTo>
                  <a:lnTo>
                    <a:pt x="2166" y="418"/>
                  </a:lnTo>
                  <a:lnTo>
                    <a:pt x="2166" y="415"/>
                  </a:lnTo>
                  <a:lnTo>
                    <a:pt x="2159" y="415"/>
                  </a:lnTo>
                  <a:lnTo>
                    <a:pt x="2152" y="418"/>
                  </a:lnTo>
                  <a:lnTo>
                    <a:pt x="2150" y="418"/>
                  </a:lnTo>
                  <a:lnTo>
                    <a:pt x="2150" y="415"/>
                  </a:lnTo>
                  <a:lnTo>
                    <a:pt x="2150" y="413"/>
                  </a:lnTo>
                  <a:lnTo>
                    <a:pt x="2143" y="408"/>
                  </a:lnTo>
                  <a:lnTo>
                    <a:pt x="2143" y="404"/>
                  </a:lnTo>
                  <a:lnTo>
                    <a:pt x="2140" y="404"/>
                  </a:lnTo>
                  <a:lnTo>
                    <a:pt x="2133" y="401"/>
                  </a:lnTo>
                  <a:lnTo>
                    <a:pt x="2131" y="404"/>
                  </a:lnTo>
                  <a:lnTo>
                    <a:pt x="2128" y="404"/>
                  </a:lnTo>
                  <a:lnTo>
                    <a:pt x="2126" y="401"/>
                  </a:lnTo>
                  <a:lnTo>
                    <a:pt x="2121" y="401"/>
                  </a:lnTo>
                  <a:lnTo>
                    <a:pt x="2119" y="401"/>
                  </a:lnTo>
                  <a:lnTo>
                    <a:pt x="2119" y="399"/>
                  </a:lnTo>
                  <a:lnTo>
                    <a:pt x="2126" y="389"/>
                  </a:lnTo>
                  <a:lnTo>
                    <a:pt x="2128" y="389"/>
                  </a:lnTo>
                  <a:lnTo>
                    <a:pt x="2133" y="392"/>
                  </a:lnTo>
                  <a:lnTo>
                    <a:pt x="2133" y="394"/>
                  </a:lnTo>
                  <a:lnTo>
                    <a:pt x="2138" y="392"/>
                  </a:lnTo>
                  <a:lnTo>
                    <a:pt x="2138" y="389"/>
                  </a:lnTo>
                  <a:lnTo>
                    <a:pt x="2138" y="385"/>
                  </a:lnTo>
                  <a:lnTo>
                    <a:pt x="2133" y="375"/>
                  </a:lnTo>
                  <a:lnTo>
                    <a:pt x="2128" y="370"/>
                  </a:lnTo>
                  <a:lnTo>
                    <a:pt x="2124" y="368"/>
                  </a:lnTo>
                  <a:lnTo>
                    <a:pt x="2119" y="368"/>
                  </a:lnTo>
                  <a:lnTo>
                    <a:pt x="2117" y="366"/>
                  </a:lnTo>
                  <a:lnTo>
                    <a:pt x="2112" y="363"/>
                  </a:lnTo>
                  <a:lnTo>
                    <a:pt x="2105" y="363"/>
                  </a:lnTo>
                  <a:lnTo>
                    <a:pt x="2105" y="363"/>
                  </a:lnTo>
                  <a:lnTo>
                    <a:pt x="2102" y="363"/>
                  </a:lnTo>
                  <a:lnTo>
                    <a:pt x="2100" y="361"/>
                  </a:lnTo>
                  <a:lnTo>
                    <a:pt x="2091" y="363"/>
                  </a:lnTo>
                  <a:lnTo>
                    <a:pt x="2088" y="363"/>
                  </a:lnTo>
                  <a:lnTo>
                    <a:pt x="2081" y="361"/>
                  </a:lnTo>
                  <a:lnTo>
                    <a:pt x="2077" y="359"/>
                  </a:lnTo>
                  <a:lnTo>
                    <a:pt x="2072" y="359"/>
                  </a:lnTo>
                  <a:lnTo>
                    <a:pt x="2065" y="352"/>
                  </a:lnTo>
                  <a:lnTo>
                    <a:pt x="2062" y="352"/>
                  </a:lnTo>
                  <a:lnTo>
                    <a:pt x="2051" y="352"/>
                  </a:lnTo>
                  <a:lnTo>
                    <a:pt x="2041" y="347"/>
                  </a:lnTo>
                  <a:lnTo>
                    <a:pt x="2029" y="344"/>
                  </a:lnTo>
                  <a:lnTo>
                    <a:pt x="2025" y="344"/>
                  </a:lnTo>
                  <a:lnTo>
                    <a:pt x="2010" y="344"/>
                  </a:lnTo>
                  <a:lnTo>
                    <a:pt x="1994" y="342"/>
                  </a:lnTo>
                  <a:lnTo>
                    <a:pt x="1989" y="340"/>
                  </a:lnTo>
                  <a:lnTo>
                    <a:pt x="1989" y="337"/>
                  </a:lnTo>
                  <a:lnTo>
                    <a:pt x="1984" y="335"/>
                  </a:lnTo>
                  <a:lnTo>
                    <a:pt x="1982" y="335"/>
                  </a:lnTo>
                  <a:lnTo>
                    <a:pt x="1980" y="335"/>
                  </a:lnTo>
                  <a:lnTo>
                    <a:pt x="1977" y="337"/>
                  </a:lnTo>
                  <a:lnTo>
                    <a:pt x="1977" y="340"/>
                  </a:lnTo>
                  <a:lnTo>
                    <a:pt x="1980" y="344"/>
                  </a:lnTo>
                  <a:lnTo>
                    <a:pt x="1980" y="347"/>
                  </a:lnTo>
                  <a:lnTo>
                    <a:pt x="1984" y="349"/>
                  </a:lnTo>
                  <a:lnTo>
                    <a:pt x="1980" y="352"/>
                  </a:lnTo>
                  <a:lnTo>
                    <a:pt x="1977" y="354"/>
                  </a:lnTo>
                  <a:lnTo>
                    <a:pt x="1975" y="356"/>
                  </a:lnTo>
                  <a:lnTo>
                    <a:pt x="1975" y="366"/>
                  </a:lnTo>
                  <a:lnTo>
                    <a:pt x="1973" y="370"/>
                  </a:lnTo>
                  <a:lnTo>
                    <a:pt x="1970" y="373"/>
                  </a:lnTo>
                  <a:lnTo>
                    <a:pt x="1965" y="373"/>
                  </a:lnTo>
                  <a:lnTo>
                    <a:pt x="1961" y="378"/>
                  </a:lnTo>
                  <a:lnTo>
                    <a:pt x="1958" y="382"/>
                  </a:lnTo>
                  <a:lnTo>
                    <a:pt x="1958" y="385"/>
                  </a:lnTo>
                  <a:lnTo>
                    <a:pt x="1961" y="389"/>
                  </a:lnTo>
                  <a:lnTo>
                    <a:pt x="1961" y="392"/>
                  </a:lnTo>
                  <a:lnTo>
                    <a:pt x="1958" y="392"/>
                  </a:lnTo>
                  <a:lnTo>
                    <a:pt x="1958" y="399"/>
                  </a:lnTo>
                  <a:lnTo>
                    <a:pt x="1961" y="401"/>
                  </a:lnTo>
                  <a:lnTo>
                    <a:pt x="1963" y="406"/>
                  </a:lnTo>
                  <a:lnTo>
                    <a:pt x="1963" y="408"/>
                  </a:lnTo>
                  <a:lnTo>
                    <a:pt x="1963" y="411"/>
                  </a:lnTo>
                  <a:lnTo>
                    <a:pt x="1963" y="415"/>
                  </a:lnTo>
                  <a:lnTo>
                    <a:pt x="1961" y="415"/>
                  </a:lnTo>
                  <a:lnTo>
                    <a:pt x="1954" y="411"/>
                  </a:lnTo>
                  <a:lnTo>
                    <a:pt x="1951" y="415"/>
                  </a:lnTo>
                  <a:lnTo>
                    <a:pt x="1947" y="415"/>
                  </a:lnTo>
                  <a:lnTo>
                    <a:pt x="1944" y="418"/>
                  </a:lnTo>
                  <a:lnTo>
                    <a:pt x="1944" y="415"/>
                  </a:lnTo>
                  <a:lnTo>
                    <a:pt x="1939" y="420"/>
                  </a:lnTo>
                  <a:lnTo>
                    <a:pt x="1937" y="422"/>
                  </a:lnTo>
                  <a:lnTo>
                    <a:pt x="1935" y="425"/>
                  </a:lnTo>
                  <a:lnTo>
                    <a:pt x="1932" y="429"/>
                  </a:lnTo>
                  <a:lnTo>
                    <a:pt x="1930" y="427"/>
                  </a:lnTo>
                  <a:lnTo>
                    <a:pt x="1928" y="429"/>
                  </a:lnTo>
                  <a:lnTo>
                    <a:pt x="1925" y="427"/>
                  </a:lnTo>
                  <a:lnTo>
                    <a:pt x="1923" y="427"/>
                  </a:lnTo>
                  <a:lnTo>
                    <a:pt x="1923" y="425"/>
                  </a:lnTo>
                  <a:lnTo>
                    <a:pt x="1923" y="422"/>
                  </a:lnTo>
                  <a:lnTo>
                    <a:pt x="1918" y="422"/>
                  </a:lnTo>
                  <a:lnTo>
                    <a:pt x="1918" y="418"/>
                  </a:lnTo>
                  <a:lnTo>
                    <a:pt x="1916" y="418"/>
                  </a:lnTo>
                  <a:lnTo>
                    <a:pt x="1914" y="418"/>
                  </a:lnTo>
                  <a:lnTo>
                    <a:pt x="1904" y="411"/>
                  </a:lnTo>
                  <a:lnTo>
                    <a:pt x="1899" y="411"/>
                  </a:lnTo>
                  <a:lnTo>
                    <a:pt x="1895" y="408"/>
                  </a:lnTo>
                  <a:lnTo>
                    <a:pt x="1892" y="406"/>
                  </a:lnTo>
                  <a:lnTo>
                    <a:pt x="1890" y="406"/>
                  </a:lnTo>
                  <a:lnTo>
                    <a:pt x="1885" y="404"/>
                  </a:lnTo>
                  <a:lnTo>
                    <a:pt x="1876" y="404"/>
                  </a:lnTo>
                  <a:lnTo>
                    <a:pt x="1873" y="411"/>
                  </a:lnTo>
                  <a:lnTo>
                    <a:pt x="1871" y="413"/>
                  </a:lnTo>
                  <a:lnTo>
                    <a:pt x="1873" y="418"/>
                  </a:lnTo>
                  <a:lnTo>
                    <a:pt x="1873" y="420"/>
                  </a:lnTo>
                  <a:lnTo>
                    <a:pt x="1869" y="415"/>
                  </a:lnTo>
                  <a:lnTo>
                    <a:pt x="1869" y="418"/>
                  </a:lnTo>
                  <a:lnTo>
                    <a:pt x="1859" y="415"/>
                  </a:lnTo>
                  <a:lnTo>
                    <a:pt x="1857" y="418"/>
                  </a:lnTo>
                  <a:lnTo>
                    <a:pt x="1852" y="415"/>
                  </a:lnTo>
                  <a:lnTo>
                    <a:pt x="1847" y="411"/>
                  </a:lnTo>
                  <a:lnTo>
                    <a:pt x="1845" y="408"/>
                  </a:lnTo>
                  <a:lnTo>
                    <a:pt x="1843" y="401"/>
                  </a:lnTo>
                  <a:lnTo>
                    <a:pt x="1840" y="396"/>
                  </a:lnTo>
                  <a:lnTo>
                    <a:pt x="1838" y="389"/>
                  </a:lnTo>
                  <a:lnTo>
                    <a:pt x="1838" y="387"/>
                  </a:lnTo>
                  <a:lnTo>
                    <a:pt x="1836" y="385"/>
                  </a:lnTo>
                  <a:lnTo>
                    <a:pt x="1836" y="387"/>
                  </a:lnTo>
                  <a:lnTo>
                    <a:pt x="1833" y="389"/>
                  </a:lnTo>
                  <a:lnTo>
                    <a:pt x="1828" y="404"/>
                  </a:lnTo>
                  <a:lnTo>
                    <a:pt x="1826" y="408"/>
                  </a:lnTo>
                  <a:lnTo>
                    <a:pt x="1824" y="415"/>
                  </a:lnTo>
                  <a:lnTo>
                    <a:pt x="1824" y="418"/>
                  </a:lnTo>
                  <a:lnTo>
                    <a:pt x="1824" y="429"/>
                  </a:lnTo>
                  <a:lnTo>
                    <a:pt x="1821" y="432"/>
                  </a:lnTo>
                  <a:lnTo>
                    <a:pt x="1819" y="439"/>
                  </a:lnTo>
                  <a:lnTo>
                    <a:pt x="1817" y="439"/>
                  </a:lnTo>
                  <a:lnTo>
                    <a:pt x="1817" y="446"/>
                  </a:lnTo>
                  <a:lnTo>
                    <a:pt x="1814" y="451"/>
                  </a:lnTo>
                  <a:lnTo>
                    <a:pt x="1812" y="455"/>
                  </a:lnTo>
                  <a:lnTo>
                    <a:pt x="1807" y="453"/>
                  </a:lnTo>
                  <a:lnTo>
                    <a:pt x="1805" y="441"/>
                  </a:lnTo>
                  <a:lnTo>
                    <a:pt x="1805" y="441"/>
                  </a:lnTo>
                  <a:lnTo>
                    <a:pt x="1802" y="446"/>
                  </a:lnTo>
                  <a:lnTo>
                    <a:pt x="1800" y="446"/>
                  </a:lnTo>
                  <a:lnTo>
                    <a:pt x="1800" y="444"/>
                  </a:lnTo>
                  <a:lnTo>
                    <a:pt x="1798" y="444"/>
                  </a:lnTo>
                  <a:lnTo>
                    <a:pt x="1795" y="441"/>
                  </a:lnTo>
                  <a:lnTo>
                    <a:pt x="1793" y="439"/>
                  </a:lnTo>
                  <a:lnTo>
                    <a:pt x="1793" y="437"/>
                  </a:lnTo>
                  <a:lnTo>
                    <a:pt x="1791" y="434"/>
                  </a:lnTo>
                  <a:lnTo>
                    <a:pt x="1788" y="437"/>
                  </a:lnTo>
                  <a:lnTo>
                    <a:pt x="1786" y="434"/>
                  </a:lnTo>
                  <a:lnTo>
                    <a:pt x="1786" y="432"/>
                  </a:lnTo>
                  <a:lnTo>
                    <a:pt x="1784" y="429"/>
                  </a:lnTo>
                  <a:lnTo>
                    <a:pt x="1784" y="425"/>
                  </a:lnTo>
                  <a:lnTo>
                    <a:pt x="1781" y="425"/>
                  </a:lnTo>
                  <a:lnTo>
                    <a:pt x="1781" y="425"/>
                  </a:lnTo>
                  <a:lnTo>
                    <a:pt x="1779" y="422"/>
                  </a:lnTo>
                  <a:lnTo>
                    <a:pt x="1779" y="418"/>
                  </a:lnTo>
                  <a:lnTo>
                    <a:pt x="1777" y="413"/>
                  </a:lnTo>
                  <a:lnTo>
                    <a:pt x="1777" y="413"/>
                  </a:lnTo>
                  <a:lnTo>
                    <a:pt x="1777" y="408"/>
                  </a:lnTo>
                  <a:lnTo>
                    <a:pt x="1774" y="406"/>
                  </a:lnTo>
                  <a:lnTo>
                    <a:pt x="1774" y="404"/>
                  </a:lnTo>
                  <a:lnTo>
                    <a:pt x="1774" y="404"/>
                  </a:lnTo>
                  <a:lnTo>
                    <a:pt x="1769" y="406"/>
                  </a:lnTo>
                  <a:lnTo>
                    <a:pt x="1769" y="404"/>
                  </a:lnTo>
                  <a:lnTo>
                    <a:pt x="1769" y="401"/>
                  </a:lnTo>
                  <a:lnTo>
                    <a:pt x="1769" y="399"/>
                  </a:lnTo>
                  <a:lnTo>
                    <a:pt x="1767" y="396"/>
                  </a:lnTo>
                  <a:lnTo>
                    <a:pt x="1767" y="394"/>
                  </a:lnTo>
                  <a:lnTo>
                    <a:pt x="1767" y="389"/>
                  </a:lnTo>
                  <a:lnTo>
                    <a:pt x="1772" y="380"/>
                  </a:lnTo>
                  <a:lnTo>
                    <a:pt x="1774" y="382"/>
                  </a:lnTo>
                  <a:lnTo>
                    <a:pt x="1777" y="382"/>
                  </a:lnTo>
                  <a:lnTo>
                    <a:pt x="1774" y="380"/>
                  </a:lnTo>
                  <a:lnTo>
                    <a:pt x="1774" y="378"/>
                  </a:lnTo>
                  <a:lnTo>
                    <a:pt x="1779" y="375"/>
                  </a:lnTo>
                  <a:lnTo>
                    <a:pt x="1781" y="375"/>
                  </a:lnTo>
                  <a:lnTo>
                    <a:pt x="1779" y="375"/>
                  </a:lnTo>
                  <a:lnTo>
                    <a:pt x="1779" y="373"/>
                  </a:lnTo>
                  <a:lnTo>
                    <a:pt x="1781" y="370"/>
                  </a:lnTo>
                  <a:lnTo>
                    <a:pt x="1779" y="370"/>
                  </a:lnTo>
                  <a:lnTo>
                    <a:pt x="1779" y="368"/>
                  </a:lnTo>
                  <a:lnTo>
                    <a:pt x="1781" y="361"/>
                  </a:lnTo>
                  <a:lnTo>
                    <a:pt x="1777" y="356"/>
                  </a:lnTo>
                  <a:lnTo>
                    <a:pt x="1777" y="354"/>
                  </a:lnTo>
                  <a:lnTo>
                    <a:pt x="1779" y="352"/>
                  </a:lnTo>
                  <a:lnTo>
                    <a:pt x="1774" y="349"/>
                  </a:lnTo>
                  <a:lnTo>
                    <a:pt x="1777" y="347"/>
                  </a:lnTo>
                  <a:lnTo>
                    <a:pt x="1779" y="344"/>
                  </a:lnTo>
                  <a:lnTo>
                    <a:pt x="1779" y="342"/>
                  </a:lnTo>
                  <a:lnTo>
                    <a:pt x="1779" y="340"/>
                  </a:lnTo>
                  <a:lnTo>
                    <a:pt x="1777" y="340"/>
                  </a:lnTo>
                  <a:lnTo>
                    <a:pt x="1777" y="337"/>
                  </a:lnTo>
                  <a:lnTo>
                    <a:pt x="1777" y="335"/>
                  </a:lnTo>
                  <a:lnTo>
                    <a:pt x="1777" y="333"/>
                  </a:lnTo>
                  <a:lnTo>
                    <a:pt x="1779" y="333"/>
                  </a:lnTo>
                  <a:lnTo>
                    <a:pt x="1779" y="330"/>
                  </a:lnTo>
                  <a:lnTo>
                    <a:pt x="1779" y="328"/>
                  </a:lnTo>
                  <a:lnTo>
                    <a:pt x="1781" y="328"/>
                  </a:lnTo>
                  <a:lnTo>
                    <a:pt x="1779" y="326"/>
                  </a:lnTo>
                  <a:lnTo>
                    <a:pt x="1779" y="323"/>
                  </a:lnTo>
                  <a:lnTo>
                    <a:pt x="1774" y="321"/>
                  </a:lnTo>
                  <a:lnTo>
                    <a:pt x="1772" y="316"/>
                  </a:lnTo>
                  <a:lnTo>
                    <a:pt x="1769" y="314"/>
                  </a:lnTo>
                  <a:lnTo>
                    <a:pt x="1769" y="311"/>
                  </a:lnTo>
                  <a:lnTo>
                    <a:pt x="1762" y="307"/>
                  </a:lnTo>
                  <a:lnTo>
                    <a:pt x="1762" y="307"/>
                  </a:lnTo>
                  <a:lnTo>
                    <a:pt x="1762" y="302"/>
                  </a:lnTo>
                  <a:lnTo>
                    <a:pt x="1760" y="302"/>
                  </a:lnTo>
                  <a:lnTo>
                    <a:pt x="1758" y="302"/>
                  </a:lnTo>
                  <a:lnTo>
                    <a:pt x="1758" y="300"/>
                  </a:lnTo>
                  <a:lnTo>
                    <a:pt x="1755" y="297"/>
                  </a:lnTo>
                  <a:lnTo>
                    <a:pt x="1751" y="295"/>
                  </a:lnTo>
                  <a:lnTo>
                    <a:pt x="1748" y="297"/>
                  </a:lnTo>
                  <a:lnTo>
                    <a:pt x="1743" y="295"/>
                  </a:lnTo>
                  <a:lnTo>
                    <a:pt x="1736" y="293"/>
                  </a:lnTo>
                  <a:lnTo>
                    <a:pt x="1736" y="295"/>
                  </a:lnTo>
                  <a:lnTo>
                    <a:pt x="1736" y="297"/>
                  </a:lnTo>
                  <a:lnTo>
                    <a:pt x="1734" y="297"/>
                  </a:lnTo>
                  <a:lnTo>
                    <a:pt x="1729" y="302"/>
                  </a:lnTo>
                  <a:lnTo>
                    <a:pt x="1729" y="300"/>
                  </a:lnTo>
                  <a:lnTo>
                    <a:pt x="1729" y="297"/>
                  </a:lnTo>
                  <a:lnTo>
                    <a:pt x="1722" y="290"/>
                  </a:lnTo>
                  <a:lnTo>
                    <a:pt x="1720" y="293"/>
                  </a:lnTo>
                  <a:lnTo>
                    <a:pt x="1717" y="290"/>
                  </a:lnTo>
                  <a:lnTo>
                    <a:pt x="1715" y="293"/>
                  </a:lnTo>
                  <a:lnTo>
                    <a:pt x="1713" y="290"/>
                  </a:lnTo>
                  <a:lnTo>
                    <a:pt x="1710" y="290"/>
                  </a:lnTo>
                  <a:lnTo>
                    <a:pt x="1710" y="288"/>
                  </a:lnTo>
                  <a:lnTo>
                    <a:pt x="1708" y="290"/>
                  </a:lnTo>
                  <a:lnTo>
                    <a:pt x="1706" y="288"/>
                  </a:lnTo>
                  <a:lnTo>
                    <a:pt x="1706" y="285"/>
                  </a:lnTo>
                  <a:lnTo>
                    <a:pt x="1706" y="283"/>
                  </a:lnTo>
                  <a:lnTo>
                    <a:pt x="1703" y="283"/>
                  </a:lnTo>
                  <a:lnTo>
                    <a:pt x="1703" y="283"/>
                  </a:lnTo>
                  <a:lnTo>
                    <a:pt x="1699" y="278"/>
                  </a:lnTo>
                  <a:lnTo>
                    <a:pt x="1696" y="281"/>
                  </a:lnTo>
                  <a:lnTo>
                    <a:pt x="1694" y="278"/>
                  </a:lnTo>
                  <a:lnTo>
                    <a:pt x="1687" y="278"/>
                  </a:lnTo>
                  <a:lnTo>
                    <a:pt x="1684" y="274"/>
                  </a:lnTo>
                  <a:lnTo>
                    <a:pt x="1682" y="274"/>
                  </a:lnTo>
                  <a:lnTo>
                    <a:pt x="1682" y="276"/>
                  </a:lnTo>
                  <a:lnTo>
                    <a:pt x="1682" y="278"/>
                  </a:lnTo>
                  <a:lnTo>
                    <a:pt x="1682" y="283"/>
                  </a:lnTo>
                  <a:lnTo>
                    <a:pt x="1680" y="283"/>
                  </a:lnTo>
                  <a:lnTo>
                    <a:pt x="1675" y="283"/>
                  </a:lnTo>
                  <a:lnTo>
                    <a:pt x="1673" y="278"/>
                  </a:lnTo>
                  <a:lnTo>
                    <a:pt x="1673" y="281"/>
                  </a:lnTo>
                  <a:lnTo>
                    <a:pt x="1673" y="285"/>
                  </a:lnTo>
                  <a:lnTo>
                    <a:pt x="1670" y="297"/>
                  </a:lnTo>
                  <a:lnTo>
                    <a:pt x="1670" y="300"/>
                  </a:lnTo>
                  <a:lnTo>
                    <a:pt x="1670" y="302"/>
                  </a:lnTo>
                  <a:lnTo>
                    <a:pt x="1670" y="302"/>
                  </a:lnTo>
                  <a:lnTo>
                    <a:pt x="1670" y="307"/>
                  </a:lnTo>
                  <a:lnTo>
                    <a:pt x="1675" y="318"/>
                  </a:lnTo>
                  <a:lnTo>
                    <a:pt x="1673" y="321"/>
                  </a:lnTo>
                  <a:lnTo>
                    <a:pt x="1670" y="323"/>
                  </a:lnTo>
                  <a:lnTo>
                    <a:pt x="1663" y="326"/>
                  </a:lnTo>
                  <a:lnTo>
                    <a:pt x="1658" y="328"/>
                  </a:lnTo>
                  <a:lnTo>
                    <a:pt x="1656" y="328"/>
                  </a:lnTo>
                  <a:lnTo>
                    <a:pt x="1654" y="328"/>
                  </a:lnTo>
                  <a:lnTo>
                    <a:pt x="1654" y="328"/>
                  </a:lnTo>
                  <a:lnTo>
                    <a:pt x="1649" y="328"/>
                  </a:lnTo>
                  <a:lnTo>
                    <a:pt x="1644" y="328"/>
                  </a:lnTo>
                  <a:lnTo>
                    <a:pt x="1642" y="328"/>
                  </a:lnTo>
                  <a:lnTo>
                    <a:pt x="1635" y="328"/>
                  </a:lnTo>
                  <a:lnTo>
                    <a:pt x="1632" y="330"/>
                  </a:lnTo>
                  <a:lnTo>
                    <a:pt x="1625" y="326"/>
                  </a:lnTo>
                  <a:lnTo>
                    <a:pt x="1616" y="323"/>
                  </a:lnTo>
                  <a:lnTo>
                    <a:pt x="1614" y="323"/>
                  </a:lnTo>
                  <a:lnTo>
                    <a:pt x="1614" y="326"/>
                  </a:lnTo>
                  <a:lnTo>
                    <a:pt x="1614" y="328"/>
                  </a:lnTo>
                  <a:lnTo>
                    <a:pt x="1604" y="321"/>
                  </a:lnTo>
                  <a:lnTo>
                    <a:pt x="1597" y="321"/>
                  </a:lnTo>
                  <a:lnTo>
                    <a:pt x="1590" y="316"/>
                  </a:lnTo>
                  <a:lnTo>
                    <a:pt x="1588" y="314"/>
                  </a:lnTo>
                  <a:lnTo>
                    <a:pt x="1588" y="311"/>
                  </a:lnTo>
                  <a:lnTo>
                    <a:pt x="1588" y="309"/>
                  </a:lnTo>
                  <a:lnTo>
                    <a:pt x="1588" y="307"/>
                  </a:lnTo>
                  <a:lnTo>
                    <a:pt x="1588" y="302"/>
                  </a:lnTo>
                  <a:lnTo>
                    <a:pt x="1588" y="300"/>
                  </a:lnTo>
                  <a:lnTo>
                    <a:pt x="1590" y="300"/>
                  </a:lnTo>
                  <a:lnTo>
                    <a:pt x="1592" y="300"/>
                  </a:lnTo>
                  <a:lnTo>
                    <a:pt x="1595" y="297"/>
                  </a:lnTo>
                  <a:lnTo>
                    <a:pt x="1595" y="297"/>
                  </a:lnTo>
                  <a:lnTo>
                    <a:pt x="1595" y="295"/>
                  </a:lnTo>
                  <a:lnTo>
                    <a:pt x="1592" y="293"/>
                  </a:lnTo>
                  <a:lnTo>
                    <a:pt x="1583" y="293"/>
                  </a:lnTo>
                  <a:lnTo>
                    <a:pt x="1580" y="290"/>
                  </a:lnTo>
                  <a:lnTo>
                    <a:pt x="1573" y="293"/>
                  </a:lnTo>
                  <a:lnTo>
                    <a:pt x="1566" y="293"/>
                  </a:lnTo>
                  <a:lnTo>
                    <a:pt x="1562" y="288"/>
                  </a:lnTo>
                  <a:lnTo>
                    <a:pt x="1559" y="290"/>
                  </a:lnTo>
                  <a:lnTo>
                    <a:pt x="1554" y="288"/>
                  </a:lnTo>
                  <a:lnTo>
                    <a:pt x="1552" y="288"/>
                  </a:lnTo>
                  <a:lnTo>
                    <a:pt x="1545" y="285"/>
                  </a:lnTo>
                  <a:lnTo>
                    <a:pt x="1538" y="283"/>
                  </a:lnTo>
                  <a:lnTo>
                    <a:pt x="1533" y="285"/>
                  </a:lnTo>
                  <a:lnTo>
                    <a:pt x="1533" y="288"/>
                  </a:lnTo>
                  <a:lnTo>
                    <a:pt x="1524" y="290"/>
                  </a:lnTo>
                  <a:lnTo>
                    <a:pt x="1519" y="293"/>
                  </a:lnTo>
                  <a:lnTo>
                    <a:pt x="1512" y="290"/>
                  </a:lnTo>
                  <a:lnTo>
                    <a:pt x="1502" y="295"/>
                  </a:lnTo>
                  <a:lnTo>
                    <a:pt x="1507" y="302"/>
                  </a:lnTo>
                  <a:lnTo>
                    <a:pt x="1507" y="307"/>
                  </a:lnTo>
                  <a:lnTo>
                    <a:pt x="1507" y="309"/>
                  </a:lnTo>
                  <a:lnTo>
                    <a:pt x="1500" y="314"/>
                  </a:lnTo>
                  <a:lnTo>
                    <a:pt x="1495" y="311"/>
                  </a:lnTo>
                  <a:lnTo>
                    <a:pt x="1495" y="309"/>
                  </a:lnTo>
                  <a:lnTo>
                    <a:pt x="1500" y="309"/>
                  </a:lnTo>
                  <a:lnTo>
                    <a:pt x="1500" y="307"/>
                  </a:lnTo>
                  <a:lnTo>
                    <a:pt x="1495" y="307"/>
                  </a:lnTo>
                  <a:lnTo>
                    <a:pt x="1498" y="302"/>
                  </a:lnTo>
                  <a:lnTo>
                    <a:pt x="1495" y="300"/>
                  </a:lnTo>
                  <a:lnTo>
                    <a:pt x="1498" y="293"/>
                  </a:lnTo>
                  <a:lnTo>
                    <a:pt x="1498" y="288"/>
                  </a:lnTo>
                  <a:lnTo>
                    <a:pt x="1498" y="283"/>
                  </a:lnTo>
                  <a:lnTo>
                    <a:pt x="1495" y="281"/>
                  </a:lnTo>
                  <a:lnTo>
                    <a:pt x="1495" y="276"/>
                  </a:lnTo>
                  <a:lnTo>
                    <a:pt x="1493" y="271"/>
                  </a:lnTo>
                  <a:lnTo>
                    <a:pt x="1488" y="264"/>
                  </a:lnTo>
                  <a:lnTo>
                    <a:pt x="1491" y="274"/>
                  </a:lnTo>
                  <a:lnTo>
                    <a:pt x="1488" y="278"/>
                  </a:lnTo>
                  <a:lnTo>
                    <a:pt x="1488" y="283"/>
                  </a:lnTo>
                  <a:lnTo>
                    <a:pt x="1481" y="283"/>
                  </a:lnTo>
                  <a:lnTo>
                    <a:pt x="1472" y="283"/>
                  </a:lnTo>
                  <a:lnTo>
                    <a:pt x="1469" y="283"/>
                  </a:lnTo>
                  <a:lnTo>
                    <a:pt x="1469" y="283"/>
                  </a:lnTo>
                  <a:lnTo>
                    <a:pt x="1462" y="276"/>
                  </a:lnTo>
                  <a:lnTo>
                    <a:pt x="1460" y="274"/>
                  </a:lnTo>
                  <a:lnTo>
                    <a:pt x="1460" y="269"/>
                  </a:lnTo>
                  <a:lnTo>
                    <a:pt x="1462" y="264"/>
                  </a:lnTo>
                  <a:lnTo>
                    <a:pt x="1462" y="269"/>
                  </a:lnTo>
                  <a:lnTo>
                    <a:pt x="1465" y="264"/>
                  </a:lnTo>
                  <a:lnTo>
                    <a:pt x="1467" y="262"/>
                  </a:lnTo>
                  <a:lnTo>
                    <a:pt x="1458" y="264"/>
                  </a:lnTo>
                  <a:lnTo>
                    <a:pt x="1455" y="267"/>
                  </a:lnTo>
                  <a:lnTo>
                    <a:pt x="1455" y="269"/>
                  </a:lnTo>
                  <a:lnTo>
                    <a:pt x="1453" y="271"/>
                  </a:lnTo>
                  <a:lnTo>
                    <a:pt x="1453" y="267"/>
                  </a:lnTo>
                  <a:lnTo>
                    <a:pt x="1448" y="267"/>
                  </a:lnTo>
                  <a:lnTo>
                    <a:pt x="1446" y="264"/>
                  </a:lnTo>
                  <a:lnTo>
                    <a:pt x="1441" y="264"/>
                  </a:lnTo>
                  <a:lnTo>
                    <a:pt x="1436" y="267"/>
                  </a:lnTo>
                  <a:lnTo>
                    <a:pt x="1436" y="269"/>
                  </a:lnTo>
                  <a:lnTo>
                    <a:pt x="1429" y="276"/>
                  </a:lnTo>
                  <a:lnTo>
                    <a:pt x="1429" y="281"/>
                  </a:lnTo>
                  <a:lnTo>
                    <a:pt x="1432" y="285"/>
                  </a:lnTo>
                  <a:lnTo>
                    <a:pt x="1434" y="288"/>
                  </a:lnTo>
                  <a:lnTo>
                    <a:pt x="1436" y="288"/>
                  </a:lnTo>
                  <a:lnTo>
                    <a:pt x="1434" y="285"/>
                  </a:lnTo>
                  <a:lnTo>
                    <a:pt x="1434" y="283"/>
                  </a:lnTo>
                  <a:lnTo>
                    <a:pt x="1436" y="285"/>
                  </a:lnTo>
                  <a:lnTo>
                    <a:pt x="1443" y="285"/>
                  </a:lnTo>
                  <a:lnTo>
                    <a:pt x="1446" y="283"/>
                  </a:lnTo>
                  <a:lnTo>
                    <a:pt x="1448" y="281"/>
                  </a:lnTo>
                  <a:lnTo>
                    <a:pt x="1451" y="278"/>
                  </a:lnTo>
                  <a:lnTo>
                    <a:pt x="1453" y="281"/>
                  </a:lnTo>
                  <a:lnTo>
                    <a:pt x="1455" y="285"/>
                  </a:lnTo>
                  <a:lnTo>
                    <a:pt x="1446" y="290"/>
                  </a:lnTo>
                  <a:lnTo>
                    <a:pt x="1443" y="295"/>
                  </a:lnTo>
                  <a:lnTo>
                    <a:pt x="1441" y="293"/>
                  </a:lnTo>
                  <a:lnTo>
                    <a:pt x="1434" y="300"/>
                  </a:lnTo>
                  <a:lnTo>
                    <a:pt x="1429" y="300"/>
                  </a:lnTo>
                  <a:lnTo>
                    <a:pt x="1425" y="293"/>
                  </a:lnTo>
                  <a:lnTo>
                    <a:pt x="1429" y="300"/>
                  </a:lnTo>
                  <a:lnTo>
                    <a:pt x="1427" y="302"/>
                  </a:lnTo>
                  <a:lnTo>
                    <a:pt x="1425" y="300"/>
                  </a:lnTo>
                  <a:lnTo>
                    <a:pt x="1427" y="302"/>
                  </a:lnTo>
                  <a:lnTo>
                    <a:pt x="1425" y="304"/>
                  </a:lnTo>
                  <a:lnTo>
                    <a:pt x="1413" y="307"/>
                  </a:lnTo>
                  <a:lnTo>
                    <a:pt x="1410" y="307"/>
                  </a:lnTo>
                  <a:lnTo>
                    <a:pt x="1410" y="309"/>
                  </a:lnTo>
                  <a:lnTo>
                    <a:pt x="1410" y="311"/>
                  </a:lnTo>
                  <a:lnTo>
                    <a:pt x="1403" y="311"/>
                  </a:lnTo>
                  <a:lnTo>
                    <a:pt x="1399" y="316"/>
                  </a:lnTo>
                  <a:lnTo>
                    <a:pt x="1396" y="316"/>
                  </a:lnTo>
                  <a:lnTo>
                    <a:pt x="1387" y="316"/>
                  </a:lnTo>
                  <a:lnTo>
                    <a:pt x="1384" y="318"/>
                  </a:lnTo>
                  <a:lnTo>
                    <a:pt x="1377" y="316"/>
                  </a:lnTo>
                  <a:lnTo>
                    <a:pt x="1373" y="318"/>
                  </a:lnTo>
                  <a:lnTo>
                    <a:pt x="1373" y="323"/>
                  </a:lnTo>
                  <a:lnTo>
                    <a:pt x="1375" y="328"/>
                  </a:lnTo>
                  <a:lnTo>
                    <a:pt x="1387" y="333"/>
                  </a:lnTo>
                  <a:lnTo>
                    <a:pt x="1384" y="335"/>
                  </a:lnTo>
                  <a:lnTo>
                    <a:pt x="1382" y="333"/>
                  </a:lnTo>
                  <a:lnTo>
                    <a:pt x="1373" y="330"/>
                  </a:lnTo>
                  <a:lnTo>
                    <a:pt x="1370" y="328"/>
                  </a:lnTo>
                  <a:lnTo>
                    <a:pt x="1368" y="333"/>
                  </a:lnTo>
                  <a:lnTo>
                    <a:pt x="1365" y="333"/>
                  </a:lnTo>
                  <a:lnTo>
                    <a:pt x="1363" y="337"/>
                  </a:lnTo>
                  <a:lnTo>
                    <a:pt x="1361" y="340"/>
                  </a:lnTo>
                  <a:lnTo>
                    <a:pt x="1358" y="340"/>
                  </a:lnTo>
                  <a:lnTo>
                    <a:pt x="1354" y="342"/>
                  </a:lnTo>
                  <a:lnTo>
                    <a:pt x="1349" y="347"/>
                  </a:lnTo>
                  <a:lnTo>
                    <a:pt x="1344" y="352"/>
                  </a:lnTo>
                  <a:lnTo>
                    <a:pt x="1347" y="349"/>
                  </a:lnTo>
                  <a:lnTo>
                    <a:pt x="1344" y="349"/>
                  </a:lnTo>
                  <a:lnTo>
                    <a:pt x="1342" y="349"/>
                  </a:lnTo>
                  <a:lnTo>
                    <a:pt x="1339" y="352"/>
                  </a:lnTo>
                  <a:lnTo>
                    <a:pt x="1337" y="352"/>
                  </a:lnTo>
                  <a:lnTo>
                    <a:pt x="1337" y="349"/>
                  </a:lnTo>
                  <a:lnTo>
                    <a:pt x="1344" y="342"/>
                  </a:lnTo>
                  <a:lnTo>
                    <a:pt x="1349" y="342"/>
                  </a:lnTo>
                  <a:lnTo>
                    <a:pt x="1349" y="340"/>
                  </a:lnTo>
                  <a:lnTo>
                    <a:pt x="1354" y="337"/>
                  </a:lnTo>
                  <a:lnTo>
                    <a:pt x="1356" y="337"/>
                  </a:lnTo>
                  <a:lnTo>
                    <a:pt x="1361" y="335"/>
                  </a:lnTo>
                  <a:lnTo>
                    <a:pt x="1363" y="330"/>
                  </a:lnTo>
                  <a:lnTo>
                    <a:pt x="1368" y="318"/>
                  </a:lnTo>
                  <a:lnTo>
                    <a:pt x="1370" y="318"/>
                  </a:lnTo>
                  <a:lnTo>
                    <a:pt x="1370" y="316"/>
                  </a:lnTo>
                  <a:lnTo>
                    <a:pt x="1370" y="314"/>
                  </a:lnTo>
                  <a:lnTo>
                    <a:pt x="1373" y="309"/>
                  </a:lnTo>
                  <a:lnTo>
                    <a:pt x="1377" y="309"/>
                  </a:lnTo>
                  <a:lnTo>
                    <a:pt x="1384" y="307"/>
                  </a:lnTo>
                  <a:lnTo>
                    <a:pt x="1384" y="302"/>
                  </a:lnTo>
                  <a:lnTo>
                    <a:pt x="1389" y="295"/>
                  </a:lnTo>
                  <a:lnTo>
                    <a:pt x="1389" y="288"/>
                  </a:lnTo>
                  <a:lnTo>
                    <a:pt x="1403" y="288"/>
                  </a:lnTo>
                  <a:lnTo>
                    <a:pt x="1406" y="288"/>
                  </a:lnTo>
                  <a:lnTo>
                    <a:pt x="1408" y="290"/>
                  </a:lnTo>
                  <a:lnTo>
                    <a:pt x="1415" y="276"/>
                  </a:lnTo>
                  <a:lnTo>
                    <a:pt x="1417" y="274"/>
                  </a:lnTo>
                  <a:lnTo>
                    <a:pt x="1417" y="269"/>
                  </a:lnTo>
                  <a:lnTo>
                    <a:pt x="1427" y="259"/>
                  </a:lnTo>
                  <a:lnTo>
                    <a:pt x="1432" y="257"/>
                  </a:lnTo>
                  <a:lnTo>
                    <a:pt x="1436" y="255"/>
                  </a:lnTo>
                  <a:lnTo>
                    <a:pt x="1439" y="250"/>
                  </a:lnTo>
                  <a:lnTo>
                    <a:pt x="1441" y="243"/>
                  </a:lnTo>
                  <a:lnTo>
                    <a:pt x="1446" y="236"/>
                  </a:lnTo>
                  <a:lnTo>
                    <a:pt x="1446" y="236"/>
                  </a:lnTo>
                  <a:lnTo>
                    <a:pt x="1448" y="233"/>
                  </a:lnTo>
                  <a:lnTo>
                    <a:pt x="1451" y="231"/>
                  </a:lnTo>
                  <a:lnTo>
                    <a:pt x="1453" y="229"/>
                  </a:lnTo>
                  <a:lnTo>
                    <a:pt x="1453" y="229"/>
                  </a:lnTo>
                  <a:lnTo>
                    <a:pt x="1453" y="229"/>
                  </a:lnTo>
                  <a:lnTo>
                    <a:pt x="1455" y="229"/>
                  </a:lnTo>
                  <a:lnTo>
                    <a:pt x="1458" y="229"/>
                  </a:lnTo>
                  <a:lnTo>
                    <a:pt x="1460" y="224"/>
                  </a:lnTo>
                  <a:lnTo>
                    <a:pt x="1462" y="224"/>
                  </a:lnTo>
                  <a:lnTo>
                    <a:pt x="1465" y="219"/>
                  </a:lnTo>
                  <a:lnTo>
                    <a:pt x="1472" y="222"/>
                  </a:lnTo>
                  <a:lnTo>
                    <a:pt x="1472" y="219"/>
                  </a:lnTo>
                  <a:lnTo>
                    <a:pt x="1474" y="217"/>
                  </a:lnTo>
                  <a:lnTo>
                    <a:pt x="1472" y="215"/>
                  </a:lnTo>
                  <a:lnTo>
                    <a:pt x="1481" y="210"/>
                  </a:lnTo>
                  <a:lnTo>
                    <a:pt x="1476" y="210"/>
                  </a:lnTo>
                  <a:lnTo>
                    <a:pt x="1479" y="207"/>
                  </a:lnTo>
                  <a:lnTo>
                    <a:pt x="1486" y="203"/>
                  </a:lnTo>
                  <a:lnTo>
                    <a:pt x="1484" y="207"/>
                  </a:lnTo>
                  <a:lnTo>
                    <a:pt x="1486" y="203"/>
                  </a:lnTo>
                  <a:lnTo>
                    <a:pt x="1488" y="203"/>
                  </a:lnTo>
                  <a:lnTo>
                    <a:pt x="1491" y="200"/>
                  </a:lnTo>
                  <a:lnTo>
                    <a:pt x="1488" y="200"/>
                  </a:lnTo>
                  <a:lnTo>
                    <a:pt x="1491" y="196"/>
                  </a:lnTo>
                  <a:lnTo>
                    <a:pt x="1495" y="198"/>
                  </a:lnTo>
                  <a:lnTo>
                    <a:pt x="1498" y="193"/>
                  </a:lnTo>
                  <a:lnTo>
                    <a:pt x="1498" y="189"/>
                  </a:lnTo>
                  <a:lnTo>
                    <a:pt x="1498" y="189"/>
                  </a:lnTo>
                  <a:lnTo>
                    <a:pt x="1502" y="184"/>
                  </a:lnTo>
                  <a:lnTo>
                    <a:pt x="1502" y="181"/>
                  </a:lnTo>
                  <a:lnTo>
                    <a:pt x="1505" y="179"/>
                  </a:lnTo>
                  <a:lnTo>
                    <a:pt x="1505" y="174"/>
                  </a:lnTo>
                  <a:lnTo>
                    <a:pt x="1502" y="172"/>
                  </a:lnTo>
                  <a:lnTo>
                    <a:pt x="1502" y="170"/>
                  </a:lnTo>
                  <a:lnTo>
                    <a:pt x="1505" y="170"/>
                  </a:lnTo>
                  <a:lnTo>
                    <a:pt x="1505" y="163"/>
                  </a:lnTo>
                  <a:lnTo>
                    <a:pt x="1500" y="163"/>
                  </a:lnTo>
                  <a:lnTo>
                    <a:pt x="1495" y="160"/>
                  </a:lnTo>
                  <a:lnTo>
                    <a:pt x="1495" y="156"/>
                  </a:lnTo>
                  <a:lnTo>
                    <a:pt x="1493" y="156"/>
                  </a:lnTo>
                  <a:lnTo>
                    <a:pt x="1493" y="158"/>
                  </a:lnTo>
                  <a:lnTo>
                    <a:pt x="1491" y="160"/>
                  </a:lnTo>
                  <a:lnTo>
                    <a:pt x="1488" y="158"/>
                  </a:lnTo>
                  <a:lnTo>
                    <a:pt x="1488" y="156"/>
                  </a:lnTo>
                  <a:lnTo>
                    <a:pt x="1488" y="151"/>
                  </a:lnTo>
                  <a:lnTo>
                    <a:pt x="1488" y="151"/>
                  </a:lnTo>
                  <a:lnTo>
                    <a:pt x="1484" y="146"/>
                  </a:lnTo>
                  <a:lnTo>
                    <a:pt x="1481" y="144"/>
                  </a:lnTo>
                  <a:lnTo>
                    <a:pt x="1484" y="141"/>
                  </a:lnTo>
                  <a:lnTo>
                    <a:pt x="1486" y="141"/>
                  </a:lnTo>
                  <a:lnTo>
                    <a:pt x="1491" y="148"/>
                  </a:lnTo>
                  <a:lnTo>
                    <a:pt x="1500" y="156"/>
                  </a:lnTo>
                  <a:lnTo>
                    <a:pt x="1498" y="160"/>
                  </a:lnTo>
                  <a:lnTo>
                    <a:pt x="1500" y="160"/>
                  </a:lnTo>
                  <a:lnTo>
                    <a:pt x="1502" y="156"/>
                  </a:lnTo>
                  <a:lnTo>
                    <a:pt x="1507" y="144"/>
                  </a:lnTo>
                  <a:lnTo>
                    <a:pt x="1507" y="139"/>
                  </a:lnTo>
                  <a:lnTo>
                    <a:pt x="1505" y="134"/>
                  </a:lnTo>
                  <a:lnTo>
                    <a:pt x="1502" y="137"/>
                  </a:lnTo>
                  <a:lnTo>
                    <a:pt x="1500" y="134"/>
                  </a:lnTo>
                  <a:lnTo>
                    <a:pt x="1500" y="127"/>
                  </a:lnTo>
                  <a:lnTo>
                    <a:pt x="1500" y="122"/>
                  </a:lnTo>
                  <a:lnTo>
                    <a:pt x="1495" y="113"/>
                  </a:lnTo>
                  <a:lnTo>
                    <a:pt x="1491" y="115"/>
                  </a:lnTo>
                  <a:lnTo>
                    <a:pt x="1493" y="120"/>
                  </a:lnTo>
                  <a:lnTo>
                    <a:pt x="1491" y="122"/>
                  </a:lnTo>
                  <a:lnTo>
                    <a:pt x="1491" y="125"/>
                  </a:lnTo>
                  <a:lnTo>
                    <a:pt x="1488" y="125"/>
                  </a:lnTo>
                  <a:lnTo>
                    <a:pt x="1486" y="118"/>
                  </a:lnTo>
                  <a:lnTo>
                    <a:pt x="1484" y="113"/>
                  </a:lnTo>
                  <a:lnTo>
                    <a:pt x="1486" y="113"/>
                  </a:lnTo>
                  <a:lnTo>
                    <a:pt x="1486" y="111"/>
                  </a:lnTo>
                  <a:lnTo>
                    <a:pt x="1486" y="108"/>
                  </a:lnTo>
                  <a:lnTo>
                    <a:pt x="1479" y="99"/>
                  </a:lnTo>
                  <a:lnTo>
                    <a:pt x="1476" y="99"/>
                  </a:lnTo>
                  <a:lnTo>
                    <a:pt x="1476" y="96"/>
                  </a:lnTo>
                  <a:lnTo>
                    <a:pt x="1472" y="89"/>
                  </a:lnTo>
                  <a:lnTo>
                    <a:pt x="1465" y="85"/>
                  </a:lnTo>
                  <a:lnTo>
                    <a:pt x="1465" y="82"/>
                  </a:lnTo>
                  <a:lnTo>
                    <a:pt x="1465" y="80"/>
                  </a:lnTo>
                  <a:lnTo>
                    <a:pt x="1462" y="80"/>
                  </a:lnTo>
                  <a:lnTo>
                    <a:pt x="1460" y="82"/>
                  </a:lnTo>
                  <a:lnTo>
                    <a:pt x="1458" y="80"/>
                  </a:lnTo>
                  <a:lnTo>
                    <a:pt x="1460" y="75"/>
                  </a:lnTo>
                  <a:lnTo>
                    <a:pt x="1453" y="78"/>
                  </a:lnTo>
                  <a:lnTo>
                    <a:pt x="1443" y="75"/>
                  </a:lnTo>
                  <a:lnTo>
                    <a:pt x="1439" y="80"/>
                  </a:lnTo>
                  <a:lnTo>
                    <a:pt x="1436" y="80"/>
                  </a:lnTo>
                  <a:lnTo>
                    <a:pt x="1434" y="80"/>
                  </a:lnTo>
                  <a:lnTo>
                    <a:pt x="1429" y="75"/>
                  </a:lnTo>
                  <a:lnTo>
                    <a:pt x="1425" y="78"/>
                  </a:lnTo>
                  <a:lnTo>
                    <a:pt x="1422" y="78"/>
                  </a:lnTo>
                  <a:lnTo>
                    <a:pt x="1413" y="80"/>
                  </a:lnTo>
                  <a:lnTo>
                    <a:pt x="1410" y="78"/>
                  </a:lnTo>
                  <a:lnTo>
                    <a:pt x="1408" y="80"/>
                  </a:lnTo>
                  <a:lnTo>
                    <a:pt x="1408" y="78"/>
                  </a:lnTo>
                  <a:lnTo>
                    <a:pt x="1410" y="75"/>
                  </a:lnTo>
                  <a:lnTo>
                    <a:pt x="1410" y="75"/>
                  </a:lnTo>
                  <a:lnTo>
                    <a:pt x="1408" y="75"/>
                  </a:lnTo>
                  <a:lnTo>
                    <a:pt x="1406" y="75"/>
                  </a:lnTo>
                  <a:lnTo>
                    <a:pt x="1403" y="78"/>
                  </a:lnTo>
                  <a:lnTo>
                    <a:pt x="1403" y="80"/>
                  </a:lnTo>
                  <a:lnTo>
                    <a:pt x="1401" y="82"/>
                  </a:lnTo>
                  <a:lnTo>
                    <a:pt x="1406" y="82"/>
                  </a:lnTo>
                  <a:lnTo>
                    <a:pt x="1403" y="85"/>
                  </a:lnTo>
                  <a:lnTo>
                    <a:pt x="1401" y="85"/>
                  </a:lnTo>
                  <a:lnTo>
                    <a:pt x="1401" y="89"/>
                  </a:lnTo>
                  <a:lnTo>
                    <a:pt x="1399" y="92"/>
                  </a:lnTo>
                  <a:lnTo>
                    <a:pt x="1396" y="94"/>
                  </a:lnTo>
                  <a:lnTo>
                    <a:pt x="1394" y="94"/>
                  </a:lnTo>
                  <a:lnTo>
                    <a:pt x="1394" y="96"/>
                  </a:lnTo>
                  <a:lnTo>
                    <a:pt x="1387" y="96"/>
                  </a:lnTo>
                  <a:lnTo>
                    <a:pt x="1384" y="99"/>
                  </a:lnTo>
                  <a:lnTo>
                    <a:pt x="1380" y="96"/>
                  </a:lnTo>
                  <a:lnTo>
                    <a:pt x="1373" y="96"/>
                  </a:lnTo>
                  <a:lnTo>
                    <a:pt x="1373" y="94"/>
                  </a:lnTo>
                  <a:lnTo>
                    <a:pt x="1373" y="94"/>
                  </a:lnTo>
                  <a:lnTo>
                    <a:pt x="1377" y="92"/>
                  </a:lnTo>
                  <a:lnTo>
                    <a:pt x="1380" y="92"/>
                  </a:lnTo>
                  <a:lnTo>
                    <a:pt x="1382" y="82"/>
                  </a:lnTo>
                  <a:lnTo>
                    <a:pt x="1384" y="80"/>
                  </a:lnTo>
                  <a:lnTo>
                    <a:pt x="1384" y="75"/>
                  </a:lnTo>
                  <a:lnTo>
                    <a:pt x="1389" y="75"/>
                  </a:lnTo>
                  <a:lnTo>
                    <a:pt x="1394" y="68"/>
                  </a:lnTo>
                  <a:lnTo>
                    <a:pt x="1391" y="66"/>
                  </a:lnTo>
                  <a:lnTo>
                    <a:pt x="1391" y="66"/>
                  </a:lnTo>
                  <a:lnTo>
                    <a:pt x="1391" y="63"/>
                  </a:lnTo>
                  <a:lnTo>
                    <a:pt x="1394" y="63"/>
                  </a:lnTo>
                  <a:lnTo>
                    <a:pt x="1394" y="61"/>
                  </a:lnTo>
                  <a:lnTo>
                    <a:pt x="1391" y="61"/>
                  </a:lnTo>
                  <a:lnTo>
                    <a:pt x="1391" y="59"/>
                  </a:lnTo>
                  <a:lnTo>
                    <a:pt x="1391" y="56"/>
                  </a:lnTo>
                  <a:lnTo>
                    <a:pt x="1384" y="54"/>
                  </a:lnTo>
                  <a:lnTo>
                    <a:pt x="1382" y="56"/>
                  </a:lnTo>
                  <a:lnTo>
                    <a:pt x="1380" y="52"/>
                  </a:lnTo>
                  <a:lnTo>
                    <a:pt x="1377" y="52"/>
                  </a:lnTo>
                  <a:lnTo>
                    <a:pt x="1375" y="52"/>
                  </a:lnTo>
                  <a:lnTo>
                    <a:pt x="1373" y="54"/>
                  </a:lnTo>
                  <a:lnTo>
                    <a:pt x="1370" y="52"/>
                  </a:lnTo>
                  <a:lnTo>
                    <a:pt x="1365" y="54"/>
                  </a:lnTo>
                  <a:lnTo>
                    <a:pt x="1365" y="49"/>
                  </a:lnTo>
                  <a:lnTo>
                    <a:pt x="1365" y="44"/>
                  </a:lnTo>
                  <a:lnTo>
                    <a:pt x="1363" y="49"/>
                  </a:lnTo>
                  <a:lnTo>
                    <a:pt x="1358" y="49"/>
                  </a:lnTo>
                  <a:lnTo>
                    <a:pt x="1339" y="59"/>
                  </a:lnTo>
                  <a:lnTo>
                    <a:pt x="1344" y="52"/>
                  </a:lnTo>
                  <a:lnTo>
                    <a:pt x="1347" y="52"/>
                  </a:lnTo>
                  <a:lnTo>
                    <a:pt x="1354" y="40"/>
                  </a:lnTo>
                  <a:lnTo>
                    <a:pt x="1358" y="35"/>
                  </a:lnTo>
                  <a:lnTo>
                    <a:pt x="1361" y="35"/>
                  </a:lnTo>
                  <a:lnTo>
                    <a:pt x="1363" y="30"/>
                  </a:lnTo>
                  <a:lnTo>
                    <a:pt x="1363" y="28"/>
                  </a:lnTo>
                  <a:lnTo>
                    <a:pt x="1368" y="28"/>
                  </a:lnTo>
                  <a:lnTo>
                    <a:pt x="1370" y="28"/>
                  </a:lnTo>
                  <a:lnTo>
                    <a:pt x="1368" y="26"/>
                  </a:lnTo>
                  <a:lnTo>
                    <a:pt x="1365" y="11"/>
                  </a:lnTo>
                  <a:lnTo>
                    <a:pt x="1363" y="11"/>
                  </a:lnTo>
                  <a:lnTo>
                    <a:pt x="1361" y="14"/>
                  </a:lnTo>
                  <a:lnTo>
                    <a:pt x="1356" y="14"/>
                  </a:lnTo>
                  <a:lnTo>
                    <a:pt x="1349" y="9"/>
                  </a:lnTo>
                  <a:lnTo>
                    <a:pt x="1344" y="2"/>
                  </a:lnTo>
                  <a:lnTo>
                    <a:pt x="1342" y="4"/>
                  </a:lnTo>
                  <a:lnTo>
                    <a:pt x="1339" y="4"/>
                  </a:lnTo>
                  <a:lnTo>
                    <a:pt x="1339" y="2"/>
                  </a:lnTo>
                  <a:lnTo>
                    <a:pt x="1339" y="0"/>
                  </a:lnTo>
                  <a:lnTo>
                    <a:pt x="1337" y="0"/>
                  </a:lnTo>
                  <a:lnTo>
                    <a:pt x="1335" y="0"/>
                  </a:lnTo>
                  <a:lnTo>
                    <a:pt x="1330" y="4"/>
                  </a:lnTo>
                  <a:lnTo>
                    <a:pt x="1328" y="7"/>
                  </a:lnTo>
                  <a:lnTo>
                    <a:pt x="1325" y="7"/>
                  </a:lnTo>
                  <a:lnTo>
                    <a:pt x="1318" y="7"/>
                  </a:lnTo>
                  <a:lnTo>
                    <a:pt x="1316" y="9"/>
                  </a:lnTo>
                  <a:lnTo>
                    <a:pt x="1311" y="16"/>
                  </a:lnTo>
                  <a:lnTo>
                    <a:pt x="1304" y="28"/>
                  </a:lnTo>
                  <a:lnTo>
                    <a:pt x="1302" y="30"/>
                  </a:lnTo>
                  <a:lnTo>
                    <a:pt x="1295" y="37"/>
                  </a:lnTo>
                  <a:lnTo>
                    <a:pt x="1295" y="40"/>
                  </a:lnTo>
                  <a:lnTo>
                    <a:pt x="1288" y="49"/>
                  </a:lnTo>
                  <a:lnTo>
                    <a:pt x="1288" y="52"/>
                  </a:lnTo>
                  <a:lnTo>
                    <a:pt x="1285" y="56"/>
                  </a:lnTo>
                  <a:lnTo>
                    <a:pt x="1285" y="59"/>
                  </a:lnTo>
                  <a:lnTo>
                    <a:pt x="1285" y="61"/>
                  </a:lnTo>
                  <a:lnTo>
                    <a:pt x="1283" y="61"/>
                  </a:lnTo>
                  <a:lnTo>
                    <a:pt x="1283" y="63"/>
                  </a:lnTo>
                  <a:lnTo>
                    <a:pt x="1280" y="68"/>
                  </a:lnTo>
                  <a:lnTo>
                    <a:pt x="1280" y="70"/>
                  </a:lnTo>
                  <a:lnTo>
                    <a:pt x="1280" y="73"/>
                  </a:lnTo>
                  <a:lnTo>
                    <a:pt x="1283" y="75"/>
                  </a:lnTo>
                  <a:lnTo>
                    <a:pt x="1285" y="75"/>
                  </a:lnTo>
                  <a:lnTo>
                    <a:pt x="1288" y="80"/>
                  </a:lnTo>
                  <a:lnTo>
                    <a:pt x="1290" y="82"/>
                  </a:lnTo>
                  <a:lnTo>
                    <a:pt x="1290" y="85"/>
                  </a:lnTo>
                  <a:lnTo>
                    <a:pt x="1285" y="82"/>
                  </a:lnTo>
                  <a:lnTo>
                    <a:pt x="1285" y="80"/>
                  </a:lnTo>
                  <a:lnTo>
                    <a:pt x="1285" y="89"/>
                  </a:lnTo>
                  <a:lnTo>
                    <a:pt x="1285" y="89"/>
                  </a:lnTo>
                  <a:lnTo>
                    <a:pt x="1285" y="89"/>
                  </a:lnTo>
                  <a:lnTo>
                    <a:pt x="1276" y="94"/>
                  </a:lnTo>
                  <a:lnTo>
                    <a:pt x="1271" y="96"/>
                  </a:lnTo>
                  <a:lnTo>
                    <a:pt x="1264" y="96"/>
                  </a:lnTo>
                  <a:lnTo>
                    <a:pt x="1262" y="99"/>
                  </a:lnTo>
                  <a:lnTo>
                    <a:pt x="1245" y="94"/>
                  </a:lnTo>
                  <a:lnTo>
                    <a:pt x="1245" y="96"/>
                  </a:lnTo>
                  <a:lnTo>
                    <a:pt x="1245" y="99"/>
                  </a:lnTo>
                  <a:lnTo>
                    <a:pt x="1247" y="101"/>
                  </a:lnTo>
                  <a:lnTo>
                    <a:pt x="1247" y="106"/>
                  </a:lnTo>
                  <a:lnTo>
                    <a:pt x="1252" y="106"/>
                  </a:lnTo>
                  <a:lnTo>
                    <a:pt x="1254" y="108"/>
                  </a:lnTo>
                  <a:lnTo>
                    <a:pt x="1254" y="111"/>
                  </a:lnTo>
                  <a:lnTo>
                    <a:pt x="1259" y="111"/>
                  </a:lnTo>
                  <a:lnTo>
                    <a:pt x="1262" y="113"/>
                  </a:lnTo>
                  <a:lnTo>
                    <a:pt x="1262" y="115"/>
                  </a:lnTo>
                  <a:lnTo>
                    <a:pt x="1262" y="118"/>
                  </a:lnTo>
                  <a:lnTo>
                    <a:pt x="1262" y="125"/>
                  </a:lnTo>
                  <a:lnTo>
                    <a:pt x="1259" y="127"/>
                  </a:lnTo>
                  <a:lnTo>
                    <a:pt x="1257" y="127"/>
                  </a:lnTo>
                  <a:lnTo>
                    <a:pt x="1257" y="122"/>
                  </a:lnTo>
                  <a:lnTo>
                    <a:pt x="1254" y="120"/>
                  </a:lnTo>
                  <a:lnTo>
                    <a:pt x="1247" y="120"/>
                  </a:lnTo>
                  <a:lnTo>
                    <a:pt x="1247" y="118"/>
                  </a:lnTo>
                  <a:lnTo>
                    <a:pt x="1250" y="115"/>
                  </a:lnTo>
                  <a:lnTo>
                    <a:pt x="1250" y="113"/>
                  </a:lnTo>
                  <a:lnTo>
                    <a:pt x="1243" y="115"/>
                  </a:lnTo>
                  <a:lnTo>
                    <a:pt x="1243" y="111"/>
                  </a:lnTo>
                  <a:lnTo>
                    <a:pt x="1240" y="111"/>
                  </a:lnTo>
                  <a:lnTo>
                    <a:pt x="1231" y="120"/>
                  </a:lnTo>
                  <a:lnTo>
                    <a:pt x="1231" y="122"/>
                  </a:lnTo>
                  <a:lnTo>
                    <a:pt x="1231" y="125"/>
                  </a:lnTo>
                  <a:lnTo>
                    <a:pt x="1228" y="125"/>
                  </a:lnTo>
                  <a:lnTo>
                    <a:pt x="1228" y="122"/>
                  </a:lnTo>
                  <a:lnTo>
                    <a:pt x="1224" y="125"/>
                  </a:lnTo>
                  <a:lnTo>
                    <a:pt x="1224" y="127"/>
                  </a:lnTo>
                  <a:lnTo>
                    <a:pt x="1226" y="127"/>
                  </a:lnTo>
                  <a:lnTo>
                    <a:pt x="1226" y="130"/>
                  </a:lnTo>
                  <a:lnTo>
                    <a:pt x="1226" y="132"/>
                  </a:lnTo>
                  <a:lnTo>
                    <a:pt x="1226" y="132"/>
                  </a:lnTo>
                  <a:lnTo>
                    <a:pt x="1221" y="132"/>
                  </a:lnTo>
                  <a:lnTo>
                    <a:pt x="1217" y="134"/>
                  </a:lnTo>
                  <a:lnTo>
                    <a:pt x="1217" y="132"/>
                  </a:lnTo>
                  <a:lnTo>
                    <a:pt x="1214" y="130"/>
                  </a:lnTo>
                  <a:lnTo>
                    <a:pt x="1214" y="132"/>
                  </a:lnTo>
                  <a:lnTo>
                    <a:pt x="1210" y="137"/>
                  </a:lnTo>
                  <a:lnTo>
                    <a:pt x="1207" y="137"/>
                  </a:lnTo>
                  <a:lnTo>
                    <a:pt x="1205" y="139"/>
                  </a:lnTo>
                  <a:lnTo>
                    <a:pt x="1202" y="139"/>
                  </a:lnTo>
                  <a:lnTo>
                    <a:pt x="1205" y="134"/>
                  </a:lnTo>
                  <a:lnTo>
                    <a:pt x="1207" y="132"/>
                  </a:lnTo>
                  <a:lnTo>
                    <a:pt x="1202" y="132"/>
                  </a:lnTo>
                  <a:lnTo>
                    <a:pt x="1202" y="130"/>
                  </a:lnTo>
                  <a:lnTo>
                    <a:pt x="1200" y="132"/>
                  </a:lnTo>
                  <a:lnTo>
                    <a:pt x="1195" y="134"/>
                  </a:lnTo>
                  <a:lnTo>
                    <a:pt x="1193" y="139"/>
                  </a:lnTo>
                  <a:lnTo>
                    <a:pt x="1191" y="139"/>
                  </a:lnTo>
                  <a:lnTo>
                    <a:pt x="1188" y="137"/>
                  </a:lnTo>
                  <a:lnTo>
                    <a:pt x="1195" y="130"/>
                  </a:lnTo>
                  <a:lnTo>
                    <a:pt x="1198" y="122"/>
                  </a:lnTo>
                  <a:lnTo>
                    <a:pt x="1191" y="120"/>
                  </a:lnTo>
                  <a:lnTo>
                    <a:pt x="1181" y="120"/>
                  </a:lnTo>
                  <a:lnTo>
                    <a:pt x="1181" y="122"/>
                  </a:lnTo>
                  <a:lnTo>
                    <a:pt x="1181" y="122"/>
                  </a:lnTo>
                  <a:lnTo>
                    <a:pt x="1169" y="120"/>
                  </a:lnTo>
                  <a:lnTo>
                    <a:pt x="1169" y="122"/>
                  </a:lnTo>
                  <a:lnTo>
                    <a:pt x="1167" y="125"/>
                  </a:lnTo>
                  <a:lnTo>
                    <a:pt x="1165" y="122"/>
                  </a:lnTo>
                  <a:lnTo>
                    <a:pt x="1155" y="122"/>
                  </a:lnTo>
                  <a:lnTo>
                    <a:pt x="1155" y="125"/>
                  </a:lnTo>
                  <a:lnTo>
                    <a:pt x="1158" y="125"/>
                  </a:lnTo>
                  <a:lnTo>
                    <a:pt x="1158" y="127"/>
                  </a:lnTo>
                  <a:lnTo>
                    <a:pt x="1148" y="130"/>
                  </a:lnTo>
                  <a:lnTo>
                    <a:pt x="1148" y="127"/>
                  </a:lnTo>
                  <a:lnTo>
                    <a:pt x="1148" y="125"/>
                  </a:lnTo>
                  <a:lnTo>
                    <a:pt x="1146" y="125"/>
                  </a:lnTo>
                  <a:lnTo>
                    <a:pt x="1143" y="130"/>
                  </a:lnTo>
                  <a:lnTo>
                    <a:pt x="1141" y="127"/>
                  </a:lnTo>
                  <a:lnTo>
                    <a:pt x="1139" y="127"/>
                  </a:lnTo>
                  <a:lnTo>
                    <a:pt x="1139" y="134"/>
                  </a:lnTo>
                  <a:lnTo>
                    <a:pt x="1141" y="134"/>
                  </a:lnTo>
                  <a:lnTo>
                    <a:pt x="1146" y="132"/>
                  </a:lnTo>
                  <a:lnTo>
                    <a:pt x="1148" y="134"/>
                  </a:lnTo>
                  <a:lnTo>
                    <a:pt x="1148" y="137"/>
                  </a:lnTo>
                  <a:lnTo>
                    <a:pt x="1148" y="137"/>
                  </a:lnTo>
                  <a:lnTo>
                    <a:pt x="1148" y="134"/>
                  </a:lnTo>
                  <a:lnTo>
                    <a:pt x="1151" y="134"/>
                  </a:lnTo>
                  <a:lnTo>
                    <a:pt x="1151" y="134"/>
                  </a:lnTo>
                  <a:lnTo>
                    <a:pt x="1153" y="137"/>
                  </a:lnTo>
                  <a:lnTo>
                    <a:pt x="1151" y="141"/>
                  </a:lnTo>
                  <a:lnTo>
                    <a:pt x="1129" y="148"/>
                  </a:lnTo>
                  <a:lnTo>
                    <a:pt x="1120" y="151"/>
                  </a:lnTo>
                  <a:lnTo>
                    <a:pt x="1120" y="148"/>
                  </a:lnTo>
                  <a:lnTo>
                    <a:pt x="1117" y="151"/>
                  </a:lnTo>
                  <a:lnTo>
                    <a:pt x="1117" y="156"/>
                  </a:lnTo>
                  <a:lnTo>
                    <a:pt x="1117" y="156"/>
                  </a:lnTo>
                  <a:lnTo>
                    <a:pt x="1115" y="153"/>
                  </a:lnTo>
                  <a:lnTo>
                    <a:pt x="1110" y="156"/>
                  </a:lnTo>
                  <a:lnTo>
                    <a:pt x="1106" y="156"/>
                  </a:lnTo>
                  <a:lnTo>
                    <a:pt x="1099" y="158"/>
                  </a:lnTo>
                  <a:lnTo>
                    <a:pt x="1094" y="158"/>
                  </a:lnTo>
                  <a:lnTo>
                    <a:pt x="1089" y="163"/>
                  </a:lnTo>
                  <a:lnTo>
                    <a:pt x="1094" y="165"/>
                  </a:lnTo>
                  <a:lnTo>
                    <a:pt x="1087" y="167"/>
                  </a:lnTo>
                  <a:lnTo>
                    <a:pt x="1082" y="172"/>
                  </a:lnTo>
                  <a:lnTo>
                    <a:pt x="1077" y="167"/>
                  </a:lnTo>
                  <a:lnTo>
                    <a:pt x="1075" y="170"/>
                  </a:lnTo>
                  <a:lnTo>
                    <a:pt x="1070" y="170"/>
                  </a:lnTo>
                  <a:lnTo>
                    <a:pt x="1070" y="172"/>
                  </a:lnTo>
                  <a:lnTo>
                    <a:pt x="1073" y="172"/>
                  </a:lnTo>
                  <a:lnTo>
                    <a:pt x="1073" y="174"/>
                  </a:lnTo>
                  <a:lnTo>
                    <a:pt x="1068" y="174"/>
                  </a:lnTo>
                  <a:lnTo>
                    <a:pt x="1068" y="177"/>
                  </a:lnTo>
                  <a:lnTo>
                    <a:pt x="1063" y="179"/>
                  </a:lnTo>
                  <a:lnTo>
                    <a:pt x="1061" y="184"/>
                  </a:lnTo>
                  <a:lnTo>
                    <a:pt x="1056" y="186"/>
                  </a:lnTo>
                  <a:lnTo>
                    <a:pt x="1056" y="189"/>
                  </a:lnTo>
                  <a:lnTo>
                    <a:pt x="1056" y="191"/>
                  </a:lnTo>
                  <a:lnTo>
                    <a:pt x="1056" y="193"/>
                  </a:lnTo>
                  <a:lnTo>
                    <a:pt x="1051" y="193"/>
                  </a:lnTo>
                  <a:lnTo>
                    <a:pt x="1051" y="191"/>
                  </a:lnTo>
                  <a:lnTo>
                    <a:pt x="1047" y="191"/>
                  </a:lnTo>
                  <a:lnTo>
                    <a:pt x="1039" y="191"/>
                  </a:lnTo>
                  <a:lnTo>
                    <a:pt x="1037" y="191"/>
                  </a:lnTo>
                  <a:lnTo>
                    <a:pt x="1037" y="193"/>
                  </a:lnTo>
                  <a:lnTo>
                    <a:pt x="1037" y="196"/>
                  </a:lnTo>
                  <a:lnTo>
                    <a:pt x="1044" y="198"/>
                  </a:lnTo>
                  <a:lnTo>
                    <a:pt x="1051" y="198"/>
                  </a:lnTo>
                  <a:lnTo>
                    <a:pt x="1049" y="200"/>
                  </a:lnTo>
                  <a:lnTo>
                    <a:pt x="1047" y="203"/>
                  </a:lnTo>
                  <a:lnTo>
                    <a:pt x="1044" y="203"/>
                  </a:lnTo>
                  <a:lnTo>
                    <a:pt x="1044" y="200"/>
                  </a:lnTo>
                  <a:lnTo>
                    <a:pt x="1042" y="203"/>
                  </a:lnTo>
                  <a:lnTo>
                    <a:pt x="1042" y="203"/>
                  </a:lnTo>
                  <a:lnTo>
                    <a:pt x="1039" y="207"/>
                  </a:lnTo>
                  <a:lnTo>
                    <a:pt x="1037" y="210"/>
                  </a:lnTo>
                  <a:lnTo>
                    <a:pt x="1037" y="217"/>
                  </a:lnTo>
                  <a:lnTo>
                    <a:pt x="1035" y="217"/>
                  </a:lnTo>
                  <a:lnTo>
                    <a:pt x="1032" y="219"/>
                  </a:lnTo>
                  <a:lnTo>
                    <a:pt x="1035" y="222"/>
                  </a:lnTo>
                  <a:lnTo>
                    <a:pt x="1032" y="224"/>
                  </a:lnTo>
                  <a:lnTo>
                    <a:pt x="1030" y="219"/>
                  </a:lnTo>
                  <a:lnTo>
                    <a:pt x="1025" y="217"/>
                  </a:lnTo>
                  <a:lnTo>
                    <a:pt x="1025" y="212"/>
                  </a:lnTo>
                  <a:lnTo>
                    <a:pt x="1021" y="210"/>
                  </a:lnTo>
                  <a:lnTo>
                    <a:pt x="1018" y="212"/>
                  </a:lnTo>
                  <a:lnTo>
                    <a:pt x="1021" y="215"/>
                  </a:lnTo>
                  <a:lnTo>
                    <a:pt x="1016" y="219"/>
                  </a:lnTo>
                  <a:lnTo>
                    <a:pt x="1018" y="222"/>
                  </a:lnTo>
                  <a:lnTo>
                    <a:pt x="1016" y="222"/>
                  </a:lnTo>
                  <a:lnTo>
                    <a:pt x="1016" y="224"/>
                  </a:lnTo>
                  <a:lnTo>
                    <a:pt x="1025" y="224"/>
                  </a:lnTo>
                  <a:lnTo>
                    <a:pt x="1028" y="226"/>
                  </a:lnTo>
                  <a:lnTo>
                    <a:pt x="1032" y="229"/>
                  </a:lnTo>
                  <a:lnTo>
                    <a:pt x="1030" y="231"/>
                  </a:lnTo>
                  <a:lnTo>
                    <a:pt x="1030" y="233"/>
                  </a:lnTo>
                  <a:lnTo>
                    <a:pt x="1032" y="233"/>
                  </a:lnTo>
                  <a:lnTo>
                    <a:pt x="1030" y="236"/>
                  </a:lnTo>
                  <a:lnTo>
                    <a:pt x="1028" y="233"/>
                  </a:lnTo>
                  <a:lnTo>
                    <a:pt x="1025" y="236"/>
                  </a:lnTo>
                  <a:lnTo>
                    <a:pt x="1023" y="238"/>
                  </a:lnTo>
                  <a:lnTo>
                    <a:pt x="1023" y="238"/>
                  </a:lnTo>
                  <a:lnTo>
                    <a:pt x="1021" y="241"/>
                  </a:lnTo>
                  <a:lnTo>
                    <a:pt x="1018" y="241"/>
                  </a:lnTo>
                  <a:lnTo>
                    <a:pt x="1018" y="243"/>
                  </a:lnTo>
                  <a:lnTo>
                    <a:pt x="1021" y="245"/>
                  </a:lnTo>
                  <a:lnTo>
                    <a:pt x="1032" y="250"/>
                  </a:lnTo>
                  <a:lnTo>
                    <a:pt x="1035" y="257"/>
                  </a:lnTo>
                  <a:lnTo>
                    <a:pt x="1035" y="259"/>
                  </a:lnTo>
                  <a:lnTo>
                    <a:pt x="1037" y="262"/>
                  </a:lnTo>
                  <a:lnTo>
                    <a:pt x="1035" y="264"/>
                  </a:lnTo>
                  <a:lnTo>
                    <a:pt x="1032" y="262"/>
                  </a:lnTo>
                  <a:lnTo>
                    <a:pt x="1032" y="264"/>
                  </a:lnTo>
                  <a:lnTo>
                    <a:pt x="1032" y="267"/>
                  </a:lnTo>
                  <a:lnTo>
                    <a:pt x="1030" y="267"/>
                  </a:lnTo>
                  <a:lnTo>
                    <a:pt x="1032" y="269"/>
                  </a:lnTo>
                  <a:lnTo>
                    <a:pt x="1032" y="269"/>
                  </a:lnTo>
                  <a:lnTo>
                    <a:pt x="1032" y="271"/>
                  </a:lnTo>
                  <a:lnTo>
                    <a:pt x="1030" y="274"/>
                  </a:lnTo>
                  <a:lnTo>
                    <a:pt x="1023" y="274"/>
                  </a:lnTo>
                  <a:lnTo>
                    <a:pt x="1018" y="276"/>
                  </a:lnTo>
                  <a:lnTo>
                    <a:pt x="1016" y="276"/>
                  </a:lnTo>
                  <a:lnTo>
                    <a:pt x="1013" y="276"/>
                  </a:lnTo>
                  <a:lnTo>
                    <a:pt x="1011" y="281"/>
                  </a:lnTo>
                  <a:lnTo>
                    <a:pt x="1006" y="283"/>
                  </a:lnTo>
                  <a:lnTo>
                    <a:pt x="1002" y="281"/>
                  </a:lnTo>
                  <a:lnTo>
                    <a:pt x="1002" y="281"/>
                  </a:lnTo>
                  <a:lnTo>
                    <a:pt x="999" y="278"/>
                  </a:lnTo>
                  <a:lnTo>
                    <a:pt x="997" y="281"/>
                  </a:lnTo>
                  <a:lnTo>
                    <a:pt x="988" y="283"/>
                  </a:lnTo>
                  <a:lnTo>
                    <a:pt x="980" y="285"/>
                  </a:lnTo>
                  <a:lnTo>
                    <a:pt x="966" y="288"/>
                  </a:lnTo>
                  <a:lnTo>
                    <a:pt x="964" y="285"/>
                  </a:lnTo>
                  <a:lnTo>
                    <a:pt x="957" y="285"/>
                  </a:lnTo>
                  <a:lnTo>
                    <a:pt x="952" y="285"/>
                  </a:lnTo>
                  <a:lnTo>
                    <a:pt x="940" y="290"/>
                  </a:lnTo>
                  <a:lnTo>
                    <a:pt x="940" y="290"/>
                  </a:lnTo>
                  <a:lnTo>
                    <a:pt x="938" y="290"/>
                  </a:lnTo>
                  <a:lnTo>
                    <a:pt x="936" y="290"/>
                  </a:lnTo>
                  <a:lnTo>
                    <a:pt x="933" y="290"/>
                  </a:lnTo>
                  <a:lnTo>
                    <a:pt x="931" y="293"/>
                  </a:lnTo>
                  <a:lnTo>
                    <a:pt x="926" y="293"/>
                  </a:lnTo>
                  <a:lnTo>
                    <a:pt x="926" y="297"/>
                  </a:lnTo>
                  <a:lnTo>
                    <a:pt x="928" y="300"/>
                  </a:lnTo>
                  <a:lnTo>
                    <a:pt x="928" y="300"/>
                  </a:lnTo>
                  <a:lnTo>
                    <a:pt x="931" y="297"/>
                  </a:lnTo>
                  <a:lnTo>
                    <a:pt x="931" y="297"/>
                  </a:lnTo>
                  <a:lnTo>
                    <a:pt x="931" y="300"/>
                  </a:lnTo>
                  <a:lnTo>
                    <a:pt x="926" y="304"/>
                  </a:lnTo>
                  <a:lnTo>
                    <a:pt x="926" y="304"/>
                  </a:lnTo>
                  <a:lnTo>
                    <a:pt x="924" y="304"/>
                  </a:lnTo>
                  <a:lnTo>
                    <a:pt x="924" y="307"/>
                  </a:lnTo>
                  <a:lnTo>
                    <a:pt x="924" y="309"/>
                  </a:lnTo>
                  <a:lnTo>
                    <a:pt x="926" y="309"/>
                  </a:lnTo>
                  <a:lnTo>
                    <a:pt x="926" y="314"/>
                  </a:lnTo>
                  <a:lnTo>
                    <a:pt x="924" y="316"/>
                  </a:lnTo>
                  <a:lnTo>
                    <a:pt x="928" y="321"/>
                  </a:lnTo>
                  <a:lnTo>
                    <a:pt x="928" y="321"/>
                  </a:lnTo>
                  <a:lnTo>
                    <a:pt x="931" y="323"/>
                  </a:lnTo>
                  <a:lnTo>
                    <a:pt x="931" y="323"/>
                  </a:lnTo>
                  <a:lnTo>
                    <a:pt x="933" y="330"/>
                  </a:lnTo>
                  <a:lnTo>
                    <a:pt x="936" y="333"/>
                  </a:lnTo>
                  <a:lnTo>
                    <a:pt x="933" y="333"/>
                  </a:lnTo>
                  <a:lnTo>
                    <a:pt x="933" y="335"/>
                  </a:lnTo>
                  <a:lnTo>
                    <a:pt x="933" y="337"/>
                  </a:lnTo>
                  <a:lnTo>
                    <a:pt x="931" y="342"/>
                  </a:lnTo>
                  <a:lnTo>
                    <a:pt x="931" y="347"/>
                  </a:lnTo>
                  <a:lnTo>
                    <a:pt x="933" y="349"/>
                  </a:lnTo>
                  <a:lnTo>
                    <a:pt x="933" y="356"/>
                  </a:lnTo>
                  <a:lnTo>
                    <a:pt x="933" y="359"/>
                  </a:lnTo>
                  <a:lnTo>
                    <a:pt x="938" y="363"/>
                  </a:lnTo>
                  <a:lnTo>
                    <a:pt x="943" y="366"/>
                  </a:lnTo>
                  <a:lnTo>
                    <a:pt x="950" y="366"/>
                  </a:lnTo>
                  <a:lnTo>
                    <a:pt x="954" y="370"/>
                  </a:lnTo>
                  <a:lnTo>
                    <a:pt x="957" y="370"/>
                  </a:lnTo>
                  <a:lnTo>
                    <a:pt x="959" y="375"/>
                  </a:lnTo>
                  <a:lnTo>
                    <a:pt x="957" y="380"/>
                  </a:lnTo>
                  <a:lnTo>
                    <a:pt x="957" y="380"/>
                  </a:lnTo>
                  <a:lnTo>
                    <a:pt x="959" y="382"/>
                  </a:lnTo>
                  <a:lnTo>
                    <a:pt x="962" y="385"/>
                  </a:lnTo>
                  <a:lnTo>
                    <a:pt x="964" y="389"/>
                  </a:lnTo>
                  <a:lnTo>
                    <a:pt x="966" y="392"/>
                  </a:lnTo>
                  <a:lnTo>
                    <a:pt x="973" y="392"/>
                  </a:lnTo>
                  <a:lnTo>
                    <a:pt x="976" y="394"/>
                  </a:lnTo>
                  <a:lnTo>
                    <a:pt x="978" y="392"/>
                  </a:lnTo>
                  <a:lnTo>
                    <a:pt x="978" y="396"/>
                  </a:lnTo>
                  <a:lnTo>
                    <a:pt x="980" y="404"/>
                  </a:lnTo>
                  <a:lnTo>
                    <a:pt x="980" y="406"/>
                  </a:lnTo>
                  <a:lnTo>
                    <a:pt x="980" y="413"/>
                  </a:lnTo>
                  <a:lnTo>
                    <a:pt x="976" y="415"/>
                  </a:lnTo>
                  <a:lnTo>
                    <a:pt x="976" y="422"/>
                  </a:lnTo>
                  <a:lnTo>
                    <a:pt x="973" y="425"/>
                  </a:lnTo>
                  <a:lnTo>
                    <a:pt x="976" y="432"/>
                  </a:lnTo>
                  <a:lnTo>
                    <a:pt x="976" y="434"/>
                  </a:lnTo>
                  <a:lnTo>
                    <a:pt x="980" y="441"/>
                  </a:lnTo>
                  <a:lnTo>
                    <a:pt x="980" y="453"/>
                  </a:lnTo>
                  <a:lnTo>
                    <a:pt x="983" y="458"/>
                  </a:lnTo>
                  <a:lnTo>
                    <a:pt x="983" y="463"/>
                  </a:lnTo>
                  <a:lnTo>
                    <a:pt x="983" y="467"/>
                  </a:lnTo>
                  <a:lnTo>
                    <a:pt x="983" y="472"/>
                  </a:lnTo>
                  <a:lnTo>
                    <a:pt x="978" y="477"/>
                  </a:lnTo>
                  <a:lnTo>
                    <a:pt x="976" y="477"/>
                  </a:lnTo>
                  <a:lnTo>
                    <a:pt x="973" y="477"/>
                  </a:lnTo>
                  <a:lnTo>
                    <a:pt x="971" y="479"/>
                  </a:lnTo>
                  <a:lnTo>
                    <a:pt x="976" y="486"/>
                  </a:lnTo>
                  <a:lnTo>
                    <a:pt x="973" y="489"/>
                  </a:lnTo>
                  <a:lnTo>
                    <a:pt x="966" y="486"/>
                  </a:lnTo>
                  <a:lnTo>
                    <a:pt x="959" y="484"/>
                  </a:lnTo>
                  <a:lnTo>
                    <a:pt x="957" y="481"/>
                  </a:lnTo>
                  <a:lnTo>
                    <a:pt x="957" y="477"/>
                  </a:lnTo>
                  <a:lnTo>
                    <a:pt x="957" y="463"/>
                  </a:lnTo>
                  <a:lnTo>
                    <a:pt x="959" y="453"/>
                  </a:lnTo>
                  <a:lnTo>
                    <a:pt x="957" y="451"/>
                  </a:lnTo>
                  <a:lnTo>
                    <a:pt x="957" y="441"/>
                  </a:lnTo>
                  <a:lnTo>
                    <a:pt x="957" y="437"/>
                  </a:lnTo>
                  <a:lnTo>
                    <a:pt x="957" y="432"/>
                  </a:lnTo>
                  <a:lnTo>
                    <a:pt x="957" y="429"/>
                  </a:lnTo>
                  <a:lnTo>
                    <a:pt x="959" y="425"/>
                  </a:lnTo>
                  <a:lnTo>
                    <a:pt x="969" y="418"/>
                  </a:lnTo>
                  <a:lnTo>
                    <a:pt x="971" y="415"/>
                  </a:lnTo>
                  <a:lnTo>
                    <a:pt x="971" y="413"/>
                  </a:lnTo>
                  <a:lnTo>
                    <a:pt x="971" y="408"/>
                  </a:lnTo>
                  <a:lnTo>
                    <a:pt x="973" y="408"/>
                  </a:lnTo>
                  <a:lnTo>
                    <a:pt x="976" y="404"/>
                  </a:lnTo>
                  <a:lnTo>
                    <a:pt x="966" y="396"/>
                  </a:lnTo>
                  <a:lnTo>
                    <a:pt x="957" y="401"/>
                  </a:lnTo>
                  <a:lnTo>
                    <a:pt x="950" y="401"/>
                  </a:lnTo>
                  <a:lnTo>
                    <a:pt x="943" y="399"/>
                  </a:lnTo>
                  <a:lnTo>
                    <a:pt x="940" y="396"/>
                  </a:lnTo>
                  <a:lnTo>
                    <a:pt x="940" y="396"/>
                  </a:lnTo>
                  <a:lnTo>
                    <a:pt x="938" y="392"/>
                  </a:lnTo>
                  <a:lnTo>
                    <a:pt x="933" y="387"/>
                  </a:lnTo>
                  <a:lnTo>
                    <a:pt x="931" y="385"/>
                  </a:lnTo>
                  <a:lnTo>
                    <a:pt x="931" y="382"/>
                  </a:lnTo>
                  <a:lnTo>
                    <a:pt x="924" y="378"/>
                  </a:lnTo>
                  <a:lnTo>
                    <a:pt x="917" y="373"/>
                  </a:lnTo>
                  <a:lnTo>
                    <a:pt x="914" y="368"/>
                  </a:lnTo>
                  <a:lnTo>
                    <a:pt x="905" y="363"/>
                  </a:lnTo>
                  <a:lnTo>
                    <a:pt x="888" y="363"/>
                  </a:lnTo>
                  <a:lnTo>
                    <a:pt x="884" y="366"/>
                  </a:lnTo>
                  <a:lnTo>
                    <a:pt x="879" y="370"/>
                  </a:lnTo>
                  <a:lnTo>
                    <a:pt x="872" y="375"/>
                  </a:lnTo>
                  <a:lnTo>
                    <a:pt x="872" y="380"/>
                  </a:lnTo>
                  <a:lnTo>
                    <a:pt x="879" y="380"/>
                  </a:lnTo>
                  <a:lnTo>
                    <a:pt x="884" y="385"/>
                  </a:lnTo>
                  <a:lnTo>
                    <a:pt x="884" y="389"/>
                  </a:lnTo>
                  <a:lnTo>
                    <a:pt x="879" y="394"/>
                  </a:lnTo>
                  <a:lnTo>
                    <a:pt x="874" y="396"/>
                  </a:lnTo>
                  <a:lnTo>
                    <a:pt x="869" y="399"/>
                  </a:lnTo>
                  <a:lnTo>
                    <a:pt x="862" y="401"/>
                  </a:lnTo>
                  <a:lnTo>
                    <a:pt x="862" y="396"/>
                  </a:lnTo>
                  <a:lnTo>
                    <a:pt x="858" y="392"/>
                  </a:lnTo>
                  <a:lnTo>
                    <a:pt x="853" y="385"/>
                  </a:lnTo>
                  <a:lnTo>
                    <a:pt x="850" y="387"/>
                  </a:lnTo>
                  <a:lnTo>
                    <a:pt x="848" y="389"/>
                  </a:lnTo>
                  <a:lnTo>
                    <a:pt x="850" y="392"/>
                  </a:lnTo>
                  <a:lnTo>
                    <a:pt x="850" y="399"/>
                  </a:lnTo>
                  <a:lnTo>
                    <a:pt x="853" y="404"/>
                  </a:lnTo>
                  <a:lnTo>
                    <a:pt x="853" y="408"/>
                  </a:lnTo>
                  <a:lnTo>
                    <a:pt x="855" y="408"/>
                  </a:lnTo>
                  <a:lnTo>
                    <a:pt x="862" y="415"/>
                  </a:lnTo>
                  <a:lnTo>
                    <a:pt x="867" y="418"/>
                  </a:lnTo>
                  <a:lnTo>
                    <a:pt x="869" y="420"/>
                  </a:lnTo>
                  <a:lnTo>
                    <a:pt x="872" y="420"/>
                  </a:lnTo>
                  <a:lnTo>
                    <a:pt x="874" y="422"/>
                  </a:lnTo>
                  <a:lnTo>
                    <a:pt x="876" y="422"/>
                  </a:lnTo>
                  <a:lnTo>
                    <a:pt x="881" y="418"/>
                  </a:lnTo>
                  <a:lnTo>
                    <a:pt x="879" y="422"/>
                  </a:lnTo>
                  <a:lnTo>
                    <a:pt x="881" y="425"/>
                  </a:lnTo>
                  <a:lnTo>
                    <a:pt x="886" y="425"/>
                  </a:lnTo>
                  <a:lnTo>
                    <a:pt x="886" y="434"/>
                  </a:lnTo>
                  <a:lnTo>
                    <a:pt x="888" y="439"/>
                  </a:lnTo>
                  <a:lnTo>
                    <a:pt x="888" y="441"/>
                  </a:lnTo>
                  <a:lnTo>
                    <a:pt x="884" y="441"/>
                  </a:lnTo>
                  <a:lnTo>
                    <a:pt x="881" y="439"/>
                  </a:lnTo>
                  <a:lnTo>
                    <a:pt x="879" y="437"/>
                  </a:lnTo>
                  <a:lnTo>
                    <a:pt x="879" y="434"/>
                  </a:lnTo>
                  <a:lnTo>
                    <a:pt x="874" y="429"/>
                  </a:lnTo>
                  <a:lnTo>
                    <a:pt x="862" y="429"/>
                  </a:lnTo>
                  <a:lnTo>
                    <a:pt x="860" y="427"/>
                  </a:lnTo>
                  <a:lnTo>
                    <a:pt x="848" y="427"/>
                  </a:lnTo>
                  <a:lnTo>
                    <a:pt x="839" y="422"/>
                  </a:lnTo>
                  <a:lnTo>
                    <a:pt x="836" y="420"/>
                  </a:lnTo>
                  <a:lnTo>
                    <a:pt x="834" y="415"/>
                  </a:lnTo>
                  <a:lnTo>
                    <a:pt x="834" y="415"/>
                  </a:lnTo>
                  <a:lnTo>
                    <a:pt x="839" y="413"/>
                  </a:lnTo>
                  <a:lnTo>
                    <a:pt x="839" y="413"/>
                  </a:lnTo>
                  <a:lnTo>
                    <a:pt x="839" y="406"/>
                  </a:lnTo>
                  <a:lnTo>
                    <a:pt x="834" y="399"/>
                  </a:lnTo>
                  <a:lnTo>
                    <a:pt x="834" y="394"/>
                  </a:lnTo>
                  <a:lnTo>
                    <a:pt x="836" y="387"/>
                  </a:lnTo>
                  <a:lnTo>
                    <a:pt x="834" y="385"/>
                  </a:lnTo>
                  <a:lnTo>
                    <a:pt x="836" y="380"/>
                  </a:lnTo>
                  <a:lnTo>
                    <a:pt x="841" y="368"/>
                  </a:lnTo>
                  <a:lnTo>
                    <a:pt x="839" y="361"/>
                  </a:lnTo>
                  <a:lnTo>
                    <a:pt x="836" y="354"/>
                  </a:lnTo>
                  <a:lnTo>
                    <a:pt x="841" y="354"/>
                  </a:lnTo>
                  <a:lnTo>
                    <a:pt x="836" y="349"/>
                  </a:lnTo>
                  <a:lnTo>
                    <a:pt x="836" y="347"/>
                  </a:lnTo>
                  <a:lnTo>
                    <a:pt x="836" y="342"/>
                  </a:lnTo>
                  <a:lnTo>
                    <a:pt x="832" y="337"/>
                  </a:lnTo>
                  <a:lnTo>
                    <a:pt x="829" y="335"/>
                  </a:lnTo>
                  <a:lnTo>
                    <a:pt x="825" y="337"/>
                  </a:lnTo>
                  <a:lnTo>
                    <a:pt x="825" y="340"/>
                  </a:lnTo>
                  <a:lnTo>
                    <a:pt x="827" y="347"/>
                  </a:lnTo>
                  <a:lnTo>
                    <a:pt x="829" y="354"/>
                  </a:lnTo>
                  <a:lnTo>
                    <a:pt x="829" y="368"/>
                  </a:lnTo>
                  <a:lnTo>
                    <a:pt x="827" y="373"/>
                  </a:lnTo>
                  <a:lnTo>
                    <a:pt x="817" y="382"/>
                  </a:lnTo>
                  <a:lnTo>
                    <a:pt x="810" y="385"/>
                  </a:lnTo>
                  <a:lnTo>
                    <a:pt x="801" y="392"/>
                  </a:lnTo>
                  <a:lnTo>
                    <a:pt x="801" y="396"/>
                  </a:lnTo>
                  <a:lnTo>
                    <a:pt x="801" y="399"/>
                  </a:lnTo>
                  <a:lnTo>
                    <a:pt x="801" y="404"/>
                  </a:lnTo>
                  <a:lnTo>
                    <a:pt x="794" y="408"/>
                  </a:lnTo>
                  <a:lnTo>
                    <a:pt x="794" y="411"/>
                  </a:lnTo>
                  <a:lnTo>
                    <a:pt x="801" y="418"/>
                  </a:lnTo>
                  <a:lnTo>
                    <a:pt x="806" y="425"/>
                  </a:lnTo>
                  <a:lnTo>
                    <a:pt x="808" y="432"/>
                  </a:lnTo>
                  <a:lnTo>
                    <a:pt x="810" y="441"/>
                  </a:lnTo>
                  <a:lnTo>
                    <a:pt x="815" y="448"/>
                  </a:lnTo>
                  <a:lnTo>
                    <a:pt x="817" y="455"/>
                  </a:lnTo>
                  <a:lnTo>
                    <a:pt x="817" y="460"/>
                  </a:lnTo>
                  <a:lnTo>
                    <a:pt x="817" y="465"/>
                  </a:lnTo>
                  <a:lnTo>
                    <a:pt x="813" y="472"/>
                  </a:lnTo>
                  <a:lnTo>
                    <a:pt x="813" y="474"/>
                  </a:lnTo>
                  <a:lnTo>
                    <a:pt x="808" y="481"/>
                  </a:lnTo>
                  <a:lnTo>
                    <a:pt x="808" y="484"/>
                  </a:lnTo>
                  <a:lnTo>
                    <a:pt x="808" y="491"/>
                  </a:lnTo>
                  <a:lnTo>
                    <a:pt x="806" y="493"/>
                  </a:lnTo>
                  <a:lnTo>
                    <a:pt x="806" y="498"/>
                  </a:lnTo>
                  <a:lnTo>
                    <a:pt x="806" y="503"/>
                  </a:lnTo>
                  <a:lnTo>
                    <a:pt x="808" y="512"/>
                  </a:lnTo>
                  <a:lnTo>
                    <a:pt x="810" y="517"/>
                  </a:lnTo>
                  <a:lnTo>
                    <a:pt x="810" y="522"/>
                  </a:lnTo>
                  <a:lnTo>
                    <a:pt x="808" y="529"/>
                  </a:lnTo>
                  <a:lnTo>
                    <a:pt x="808" y="531"/>
                  </a:lnTo>
                  <a:lnTo>
                    <a:pt x="810" y="536"/>
                  </a:lnTo>
                  <a:lnTo>
                    <a:pt x="815" y="536"/>
                  </a:lnTo>
                  <a:lnTo>
                    <a:pt x="820" y="536"/>
                  </a:lnTo>
                  <a:lnTo>
                    <a:pt x="822" y="536"/>
                  </a:lnTo>
                  <a:lnTo>
                    <a:pt x="827" y="536"/>
                  </a:lnTo>
                  <a:lnTo>
                    <a:pt x="832" y="538"/>
                  </a:lnTo>
                  <a:lnTo>
                    <a:pt x="834" y="533"/>
                  </a:lnTo>
                  <a:lnTo>
                    <a:pt x="841" y="529"/>
                  </a:lnTo>
                  <a:lnTo>
                    <a:pt x="848" y="531"/>
                  </a:lnTo>
                  <a:lnTo>
                    <a:pt x="858" y="536"/>
                  </a:lnTo>
                  <a:lnTo>
                    <a:pt x="862" y="538"/>
                  </a:lnTo>
                  <a:lnTo>
                    <a:pt x="869" y="545"/>
                  </a:lnTo>
                  <a:lnTo>
                    <a:pt x="876" y="548"/>
                  </a:lnTo>
                  <a:lnTo>
                    <a:pt x="876" y="550"/>
                  </a:lnTo>
                  <a:lnTo>
                    <a:pt x="879" y="555"/>
                  </a:lnTo>
                  <a:lnTo>
                    <a:pt x="876" y="559"/>
                  </a:lnTo>
                  <a:lnTo>
                    <a:pt x="884" y="571"/>
                  </a:lnTo>
                  <a:lnTo>
                    <a:pt x="884" y="571"/>
                  </a:lnTo>
                  <a:lnTo>
                    <a:pt x="886" y="576"/>
                  </a:lnTo>
                  <a:lnTo>
                    <a:pt x="884" y="578"/>
                  </a:lnTo>
                  <a:lnTo>
                    <a:pt x="879" y="578"/>
                  </a:lnTo>
                  <a:lnTo>
                    <a:pt x="874" y="581"/>
                  </a:lnTo>
                  <a:lnTo>
                    <a:pt x="874" y="585"/>
                  </a:lnTo>
                  <a:lnTo>
                    <a:pt x="874" y="592"/>
                  </a:lnTo>
                  <a:lnTo>
                    <a:pt x="874" y="600"/>
                  </a:lnTo>
                  <a:lnTo>
                    <a:pt x="876" y="602"/>
                  </a:lnTo>
                  <a:lnTo>
                    <a:pt x="879" y="602"/>
                  </a:lnTo>
                  <a:lnTo>
                    <a:pt x="886" y="604"/>
                  </a:lnTo>
                  <a:lnTo>
                    <a:pt x="891" y="604"/>
                  </a:lnTo>
                  <a:lnTo>
                    <a:pt x="898" y="607"/>
                  </a:lnTo>
                  <a:lnTo>
                    <a:pt x="895" y="609"/>
                  </a:lnTo>
                  <a:lnTo>
                    <a:pt x="888" y="611"/>
                  </a:lnTo>
                  <a:lnTo>
                    <a:pt x="884" y="609"/>
                  </a:lnTo>
                  <a:lnTo>
                    <a:pt x="876" y="609"/>
                  </a:lnTo>
                  <a:lnTo>
                    <a:pt x="876" y="607"/>
                  </a:lnTo>
                  <a:lnTo>
                    <a:pt x="874" y="604"/>
                  </a:lnTo>
                  <a:lnTo>
                    <a:pt x="867" y="602"/>
                  </a:lnTo>
                  <a:lnTo>
                    <a:pt x="867" y="597"/>
                  </a:lnTo>
                  <a:lnTo>
                    <a:pt x="869" y="595"/>
                  </a:lnTo>
                  <a:lnTo>
                    <a:pt x="869" y="592"/>
                  </a:lnTo>
                  <a:lnTo>
                    <a:pt x="869" y="590"/>
                  </a:lnTo>
                  <a:lnTo>
                    <a:pt x="869" y="585"/>
                  </a:lnTo>
                  <a:lnTo>
                    <a:pt x="872" y="578"/>
                  </a:lnTo>
                  <a:lnTo>
                    <a:pt x="872" y="578"/>
                  </a:lnTo>
                  <a:lnTo>
                    <a:pt x="869" y="578"/>
                  </a:lnTo>
                  <a:lnTo>
                    <a:pt x="869" y="576"/>
                  </a:lnTo>
                  <a:lnTo>
                    <a:pt x="869" y="571"/>
                  </a:lnTo>
                  <a:lnTo>
                    <a:pt x="869" y="571"/>
                  </a:lnTo>
                  <a:lnTo>
                    <a:pt x="869" y="569"/>
                  </a:lnTo>
                  <a:lnTo>
                    <a:pt x="869" y="566"/>
                  </a:lnTo>
                  <a:lnTo>
                    <a:pt x="869" y="564"/>
                  </a:lnTo>
                  <a:lnTo>
                    <a:pt x="867" y="562"/>
                  </a:lnTo>
                  <a:lnTo>
                    <a:pt x="865" y="559"/>
                  </a:lnTo>
                  <a:lnTo>
                    <a:pt x="862" y="557"/>
                  </a:lnTo>
                  <a:lnTo>
                    <a:pt x="860" y="555"/>
                  </a:lnTo>
                  <a:lnTo>
                    <a:pt x="860" y="552"/>
                  </a:lnTo>
                  <a:lnTo>
                    <a:pt x="860" y="548"/>
                  </a:lnTo>
                  <a:lnTo>
                    <a:pt x="858" y="543"/>
                  </a:lnTo>
                  <a:lnTo>
                    <a:pt x="848" y="543"/>
                  </a:lnTo>
                  <a:lnTo>
                    <a:pt x="843" y="545"/>
                  </a:lnTo>
                  <a:lnTo>
                    <a:pt x="834" y="548"/>
                  </a:lnTo>
                  <a:lnTo>
                    <a:pt x="829" y="550"/>
                  </a:lnTo>
                  <a:lnTo>
                    <a:pt x="822" y="552"/>
                  </a:lnTo>
                  <a:lnTo>
                    <a:pt x="820" y="555"/>
                  </a:lnTo>
                  <a:lnTo>
                    <a:pt x="820" y="559"/>
                  </a:lnTo>
                  <a:lnTo>
                    <a:pt x="820" y="562"/>
                  </a:lnTo>
                  <a:lnTo>
                    <a:pt x="817" y="566"/>
                  </a:lnTo>
                  <a:lnTo>
                    <a:pt x="817" y="569"/>
                  </a:lnTo>
                  <a:lnTo>
                    <a:pt x="817" y="574"/>
                  </a:lnTo>
                  <a:lnTo>
                    <a:pt x="820" y="574"/>
                  </a:lnTo>
                  <a:lnTo>
                    <a:pt x="820" y="576"/>
                  </a:lnTo>
                  <a:lnTo>
                    <a:pt x="822" y="578"/>
                  </a:lnTo>
                  <a:lnTo>
                    <a:pt x="822" y="583"/>
                  </a:lnTo>
                  <a:lnTo>
                    <a:pt x="825" y="585"/>
                  </a:lnTo>
                  <a:lnTo>
                    <a:pt x="825" y="588"/>
                  </a:lnTo>
                  <a:lnTo>
                    <a:pt x="825" y="595"/>
                  </a:lnTo>
                  <a:lnTo>
                    <a:pt x="825" y="602"/>
                  </a:lnTo>
                  <a:lnTo>
                    <a:pt x="820" y="607"/>
                  </a:lnTo>
                  <a:lnTo>
                    <a:pt x="810" y="618"/>
                  </a:lnTo>
                  <a:lnTo>
                    <a:pt x="810" y="621"/>
                  </a:lnTo>
                  <a:lnTo>
                    <a:pt x="810" y="626"/>
                  </a:lnTo>
                  <a:lnTo>
                    <a:pt x="808" y="630"/>
                  </a:lnTo>
                  <a:lnTo>
                    <a:pt x="803" y="640"/>
                  </a:lnTo>
                  <a:lnTo>
                    <a:pt x="801" y="642"/>
                  </a:lnTo>
                  <a:lnTo>
                    <a:pt x="796" y="644"/>
                  </a:lnTo>
                  <a:lnTo>
                    <a:pt x="791" y="649"/>
                  </a:lnTo>
                  <a:lnTo>
                    <a:pt x="784" y="652"/>
                  </a:lnTo>
                  <a:lnTo>
                    <a:pt x="782" y="654"/>
                  </a:lnTo>
                  <a:lnTo>
                    <a:pt x="784" y="659"/>
                  </a:lnTo>
                  <a:lnTo>
                    <a:pt x="782" y="666"/>
                  </a:lnTo>
                  <a:lnTo>
                    <a:pt x="777" y="668"/>
                  </a:lnTo>
                  <a:lnTo>
                    <a:pt x="765" y="661"/>
                  </a:lnTo>
                  <a:lnTo>
                    <a:pt x="761" y="661"/>
                  </a:lnTo>
                  <a:lnTo>
                    <a:pt x="756" y="663"/>
                  </a:lnTo>
                  <a:lnTo>
                    <a:pt x="751" y="663"/>
                  </a:lnTo>
                  <a:lnTo>
                    <a:pt x="744" y="661"/>
                  </a:lnTo>
                  <a:lnTo>
                    <a:pt x="742" y="661"/>
                  </a:lnTo>
                  <a:lnTo>
                    <a:pt x="742" y="656"/>
                  </a:lnTo>
                  <a:lnTo>
                    <a:pt x="744" y="656"/>
                  </a:lnTo>
                  <a:lnTo>
                    <a:pt x="744" y="647"/>
                  </a:lnTo>
                  <a:lnTo>
                    <a:pt x="739" y="647"/>
                  </a:lnTo>
                  <a:lnTo>
                    <a:pt x="737" y="644"/>
                  </a:lnTo>
                  <a:lnTo>
                    <a:pt x="739" y="642"/>
                  </a:lnTo>
                  <a:lnTo>
                    <a:pt x="742" y="642"/>
                  </a:lnTo>
                  <a:lnTo>
                    <a:pt x="747" y="644"/>
                  </a:lnTo>
                  <a:lnTo>
                    <a:pt x="747" y="647"/>
                  </a:lnTo>
                  <a:lnTo>
                    <a:pt x="751" y="647"/>
                  </a:lnTo>
                  <a:lnTo>
                    <a:pt x="754" y="644"/>
                  </a:lnTo>
                  <a:lnTo>
                    <a:pt x="756" y="644"/>
                  </a:lnTo>
                  <a:lnTo>
                    <a:pt x="758" y="637"/>
                  </a:lnTo>
                  <a:lnTo>
                    <a:pt x="761" y="640"/>
                  </a:lnTo>
                  <a:lnTo>
                    <a:pt x="765" y="640"/>
                  </a:lnTo>
                  <a:lnTo>
                    <a:pt x="768" y="637"/>
                  </a:lnTo>
                  <a:lnTo>
                    <a:pt x="768" y="635"/>
                  </a:lnTo>
                  <a:lnTo>
                    <a:pt x="773" y="637"/>
                  </a:lnTo>
                  <a:lnTo>
                    <a:pt x="777" y="635"/>
                  </a:lnTo>
                  <a:lnTo>
                    <a:pt x="777" y="633"/>
                  </a:lnTo>
                  <a:lnTo>
                    <a:pt x="777" y="630"/>
                  </a:lnTo>
                  <a:lnTo>
                    <a:pt x="770" y="630"/>
                  </a:lnTo>
                  <a:lnTo>
                    <a:pt x="768" y="630"/>
                  </a:lnTo>
                  <a:lnTo>
                    <a:pt x="765" y="630"/>
                  </a:lnTo>
                  <a:lnTo>
                    <a:pt x="765" y="626"/>
                  </a:lnTo>
                  <a:lnTo>
                    <a:pt x="773" y="628"/>
                  </a:lnTo>
                  <a:lnTo>
                    <a:pt x="780" y="628"/>
                  </a:lnTo>
                  <a:lnTo>
                    <a:pt x="780" y="626"/>
                  </a:lnTo>
                  <a:lnTo>
                    <a:pt x="780" y="621"/>
                  </a:lnTo>
                  <a:lnTo>
                    <a:pt x="784" y="621"/>
                  </a:lnTo>
                  <a:lnTo>
                    <a:pt x="787" y="618"/>
                  </a:lnTo>
                  <a:lnTo>
                    <a:pt x="787" y="614"/>
                  </a:lnTo>
                  <a:lnTo>
                    <a:pt x="787" y="611"/>
                  </a:lnTo>
                  <a:lnTo>
                    <a:pt x="789" y="607"/>
                  </a:lnTo>
                  <a:lnTo>
                    <a:pt x="794" y="604"/>
                  </a:lnTo>
                  <a:lnTo>
                    <a:pt x="796" y="602"/>
                  </a:lnTo>
                  <a:lnTo>
                    <a:pt x="796" y="600"/>
                  </a:lnTo>
                  <a:lnTo>
                    <a:pt x="796" y="595"/>
                  </a:lnTo>
                  <a:lnTo>
                    <a:pt x="796" y="585"/>
                  </a:lnTo>
                  <a:lnTo>
                    <a:pt x="796" y="581"/>
                  </a:lnTo>
                  <a:lnTo>
                    <a:pt x="799" y="576"/>
                  </a:lnTo>
                  <a:lnTo>
                    <a:pt x="803" y="569"/>
                  </a:lnTo>
                  <a:lnTo>
                    <a:pt x="801" y="559"/>
                  </a:lnTo>
                  <a:lnTo>
                    <a:pt x="791" y="550"/>
                  </a:lnTo>
                  <a:lnTo>
                    <a:pt x="784" y="541"/>
                  </a:lnTo>
                  <a:lnTo>
                    <a:pt x="784" y="533"/>
                  </a:lnTo>
                  <a:lnTo>
                    <a:pt x="787" y="531"/>
                  </a:lnTo>
                  <a:lnTo>
                    <a:pt x="787" y="526"/>
                  </a:lnTo>
                  <a:lnTo>
                    <a:pt x="787" y="522"/>
                  </a:lnTo>
                  <a:lnTo>
                    <a:pt x="789" y="517"/>
                  </a:lnTo>
                  <a:lnTo>
                    <a:pt x="787" y="510"/>
                  </a:lnTo>
                  <a:lnTo>
                    <a:pt x="789" y="505"/>
                  </a:lnTo>
                  <a:lnTo>
                    <a:pt x="789" y="498"/>
                  </a:lnTo>
                  <a:lnTo>
                    <a:pt x="787" y="496"/>
                  </a:lnTo>
                  <a:lnTo>
                    <a:pt x="787" y="496"/>
                  </a:lnTo>
                  <a:lnTo>
                    <a:pt x="787" y="493"/>
                  </a:lnTo>
                  <a:lnTo>
                    <a:pt x="787" y="491"/>
                  </a:lnTo>
                  <a:lnTo>
                    <a:pt x="787" y="486"/>
                  </a:lnTo>
                  <a:lnTo>
                    <a:pt x="787" y="484"/>
                  </a:lnTo>
                  <a:lnTo>
                    <a:pt x="784" y="481"/>
                  </a:lnTo>
                  <a:lnTo>
                    <a:pt x="784" y="477"/>
                  </a:lnTo>
                  <a:lnTo>
                    <a:pt x="787" y="474"/>
                  </a:lnTo>
                  <a:lnTo>
                    <a:pt x="789" y="470"/>
                  </a:lnTo>
                  <a:lnTo>
                    <a:pt x="789" y="467"/>
                  </a:lnTo>
                  <a:lnTo>
                    <a:pt x="789" y="458"/>
                  </a:lnTo>
                  <a:lnTo>
                    <a:pt x="791" y="453"/>
                  </a:lnTo>
                  <a:lnTo>
                    <a:pt x="791" y="446"/>
                  </a:lnTo>
                  <a:lnTo>
                    <a:pt x="787" y="437"/>
                  </a:lnTo>
                  <a:lnTo>
                    <a:pt x="787" y="427"/>
                  </a:lnTo>
                  <a:lnTo>
                    <a:pt x="780" y="422"/>
                  </a:lnTo>
                  <a:lnTo>
                    <a:pt x="777" y="420"/>
                  </a:lnTo>
                  <a:lnTo>
                    <a:pt x="773" y="411"/>
                  </a:lnTo>
                  <a:lnTo>
                    <a:pt x="773" y="406"/>
                  </a:lnTo>
                  <a:lnTo>
                    <a:pt x="775" y="406"/>
                  </a:lnTo>
                  <a:lnTo>
                    <a:pt x="780" y="404"/>
                  </a:lnTo>
                  <a:lnTo>
                    <a:pt x="780" y="399"/>
                  </a:lnTo>
                  <a:lnTo>
                    <a:pt x="782" y="396"/>
                  </a:lnTo>
                  <a:lnTo>
                    <a:pt x="782" y="394"/>
                  </a:lnTo>
                  <a:lnTo>
                    <a:pt x="782" y="392"/>
                  </a:lnTo>
                  <a:lnTo>
                    <a:pt x="784" y="385"/>
                  </a:lnTo>
                  <a:lnTo>
                    <a:pt x="787" y="378"/>
                  </a:lnTo>
                  <a:lnTo>
                    <a:pt x="789" y="373"/>
                  </a:lnTo>
                  <a:lnTo>
                    <a:pt x="789" y="363"/>
                  </a:lnTo>
                  <a:lnTo>
                    <a:pt x="789" y="359"/>
                  </a:lnTo>
                  <a:lnTo>
                    <a:pt x="787" y="354"/>
                  </a:lnTo>
                  <a:lnTo>
                    <a:pt x="789" y="347"/>
                  </a:lnTo>
                  <a:lnTo>
                    <a:pt x="787" y="344"/>
                  </a:lnTo>
                  <a:lnTo>
                    <a:pt x="789" y="342"/>
                  </a:lnTo>
                  <a:lnTo>
                    <a:pt x="787" y="342"/>
                  </a:lnTo>
                  <a:lnTo>
                    <a:pt x="775" y="335"/>
                  </a:lnTo>
                  <a:lnTo>
                    <a:pt x="770" y="333"/>
                  </a:lnTo>
                  <a:lnTo>
                    <a:pt x="756" y="333"/>
                  </a:lnTo>
                  <a:lnTo>
                    <a:pt x="751" y="333"/>
                  </a:lnTo>
                  <a:lnTo>
                    <a:pt x="742" y="333"/>
                  </a:lnTo>
                  <a:lnTo>
                    <a:pt x="737" y="330"/>
                  </a:lnTo>
                  <a:lnTo>
                    <a:pt x="739" y="328"/>
                  </a:lnTo>
                  <a:lnTo>
                    <a:pt x="732" y="330"/>
                  </a:lnTo>
                  <a:lnTo>
                    <a:pt x="730" y="333"/>
                  </a:lnTo>
                  <a:lnTo>
                    <a:pt x="730" y="335"/>
                  </a:lnTo>
                  <a:lnTo>
                    <a:pt x="728" y="340"/>
                  </a:lnTo>
                  <a:lnTo>
                    <a:pt x="725" y="344"/>
                  </a:lnTo>
                  <a:lnTo>
                    <a:pt x="723" y="349"/>
                  </a:lnTo>
                  <a:lnTo>
                    <a:pt x="721" y="361"/>
                  </a:lnTo>
                  <a:lnTo>
                    <a:pt x="721" y="368"/>
                  </a:lnTo>
                  <a:lnTo>
                    <a:pt x="718" y="373"/>
                  </a:lnTo>
                  <a:lnTo>
                    <a:pt x="716" y="389"/>
                  </a:lnTo>
                  <a:lnTo>
                    <a:pt x="713" y="396"/>
                  </a:lnTo>
                  <a:lnTo>
                    <a:pt x="709" y="406"/>
                  </a:lnTo>
                  <a:lnTo>
                    <a:pt x="702" y="413"/>
                  </a:lnTo>
                  <a:lnTo>
                    <a:pt x="695" y="420"/>
                  </a:lnTo>
                  <a:lnTo>
                    <a:pt x="687" y="425"/>
                  </a:lnTo>
                  <a:lnTo>
                    <a:pt x="685" y="434"/>
                  </a:lnTo>
                  <a:lnTo>
                    <a:pt x="685" y="437"/>
                  </a:lnTo>
                  <a:lnTo>
                    <a:pt x="687" y="437"/>
                  </a:lnTo>
                  <a:lnTo>
                    <a:pt x="690" y="429"/>
                  </a:lnTo>
                  <a:lnTo>
                    <a:pt x="690" y="432"/>
                  </a:lnTo>
                  <a:lnTo>
                    <a:pt x="690" y="437"/>
                  </a:lnTo>
                  <a:lnTo>
                    <a:pt x="690" y="439"/>
                  </a:lnTo>
                  <a:lnTo>
                    <a:pt x="683" y="444"/>
                  </a:lnTo>
                  <a:lnTo>
                    <a:pt x="683" y="448"/>
                  </a:lnTo>
                  <a:lnTo>
                    <a:pt x="685" y="453"/>
                  </a:lnTo>
                  <a:lnTo>
                    <a:pt x="687" y="451"/>
                  </a:lnTo>
                  <a:lnTo>
                    <a:pt x="690" y="448"/>
                  </a:lnTo>
                  <a:lnTo>
                    <a:pt x="695" y="448"/>
                  </a:lnTo>
                  <a:lnTo>
                    <a:pt x="697" y="453"/>
                  </a:lnTo>
                  <a:lnTo>
                    <a:pt x="697" y="458"/>
                  </a:lnTo>
                  <a:lnTo>
                    <a:pt x="697" y="472"/>
                  </a:lnTo>
                  <a:lnTo>
                    <a:pt x="695" y="477"/>
                  </a:lnTo>
                  <a:lnTo>
                    <a:pt x="695" y="481"/>
                  </a:lnTo>
                  <a:lnTo>
                    <a:pt x="697" y="486"/>
                  </a:lnTo>
                  <a:lnTo>
                    <a:pt x="695" y="491"/>
                  </a:lnTo>
                  <a:lnTo>
                    <a:pt x="690" y="491"/>
                  </a:lnTo>
                  <a:lnTo>
                    <a:pt x="690" y="489"/>
                  </a:lnTo>
                  <a:lnTo>
                    <a:pt x="687" y="496"/>
                  </a:lnTo>
                  <a:lnTo>
                    <a:pt x="687" y="510"/>
                  </a:lnTo>
                  <a:lnTo>
                    <a:pt x="690" y="515"/>
                  </a:lnTo>
                  <a:lnTo>
                    <a:pt x="690" y="510"/>
                  </a:lnTo>
                  <a:lnTo>
                    <a:pt x="695" y="507"/>
                  </a:lnTo>
                  <a:lnTo>
                    <a:pt x="702" y="512"/>
                  </a:lnTo>
                  <a:lnTo>
                    <a:pt x="706" y="517"/>
                  </a:lnTo>
                  <a:lnTo>
                    <a:pt x="709" y="515"/>
                  </a:lnTo>
                  <a:lnTo>
                    <a:pt x="711" y="515"/>
                  </a:lnTo>
                  <a:lnTo>
                    <a:pt x="709" y="522"/>
                  </a:lnTo>
                  <a:lnTo>
                    <a:pt x="711" y="531"/>
                  </a:lnTo>
                  <a:lnTo>
                    <a:pt x="713" y="536"/>
                  </a:lnTo>
                  <a:lnTo>
                    <a:pt x="716" y="541"/>
                  </a:lnTo>
                  <a:lnTo>
                    <a:pt x="721" y="545"/>
                  </a:lnTo>
                  <a:lnTo>
                    <a:pt x="725" y="543"/>
                  </a:lnTo>
                  <a:lnTo>
                    <a:pt x="725" y="545"/>
                  </a:lnTo>
                  <a:lnTo>
                    <a:pt x="728" y="548"/>
                  </a:lnTo>
                  <a:lnTo>
                    <a:pt x="723" y="552"/>
                  </a:lnTo>
                  <a:lnTo>
                    <a:pt x="721" y="564"/>
                  </a:lnTo>
                  <a:lnTo>
                    <a:pt x="718" y="571"/>
                  </a:lnTo>
                  <a:lnTo>
                    <a:pt x="718" y="576"/>
                  </a:lnTo>
                  <a:lnTo>
                    <a:pt x="713" y="578"/>
                  </a:lnTo>
                  <a:lnTo>
                    <a:pt x="711" y="576"/>
                  </a:lnTo>
                  <a:lnTo>
                    <a:pt x="711" y="571"/>
                  </a:lnTo>
                  <a:lnTo>
                    <a:pt x="709" y="566"/>
                  </a:lnTo>
                  <a:lnTo>
                    <a:pt x="702" y="564"/>
                  </a:lnTo>
                  <a:lnTo>
                    <a:pt x="692" y="550"/>
                  </a:lnTo>
                  <a:lnTo>
                    <a:pt x="687" y="548"/>
                  </a:lnTo>
                  <a:lnTo>
                    <a:pt x="683" y="545"/>
                  </a:lnTo>
                  <a:lnTo>
                    <a:pt x="676" y="541"/>
                  </a:lnTo>
                  <a:lnTo>
                    <a:pt x="666" y="536"/>
                  </a:lnTo>
                  <a:lnTo>
                    <a:pt x="666" y="533"/>
                  </a:lnTo>
                  <a:lnTo>
                    <a:pt x="669" y="533"/>
                  </a:lnTo>
                  <a:lnTo>
                    <a:pt x="669" y="533"/>
                  </a:lnTo>
                  <a:lnTo>
                    <a:pt x="662" y="531"/>
                  </a:lnTo>
                  <a:lnTo>
                    <a:pt x="654" y="526"/>
                  </a:lnTo>
                  <a:lnTo>
                    <a:pt x="650" y="524"/>
                  </a:lnTo>
                  <a:lnTo>
                    <a:pt x="640" y="515"/>
                  </a:lnTo>
                  <a:lnTo>
                    <a:pt x="636" y="512"/>
                  </a:lnTo>
                  <a:lnTo>
                    <a:pt x="626" y="507"/>
                  </a:lnTo>
                  <a:lnTo>
                    <a:pt x="624" y="507"/>
                  </a:lnTo>
                  <a:lnTo>
                    <a:pt x="617" y="505"/>
                  </a:lnTo>
                  <a:lnTo>
                    <a:pt x="612" y="505"/>
                  </a:lnTo>
                  <a:lnTo>
                    <a:pt x="595" y="503"/>
                  </a:lnTo>
                  <a:lnTo>
                    <a:pt x="593" y="500"/>
                  </a:lnTo>
                  <a:lnTo>
                    <a:pt x="588" y="500"/>
                  </a:lnTo>
                  <a:lnTo>
                    <a:pt x="584" y="498"/>
                  </a:lnTo>
                  <a:lnTo>
                    <a:pt x="581" y="500"/>
                  </a:lnTo>
                  <a:lnTo>
                    <a:pt x="581" y="503"/>
                  </a:lnTo>
                  <a:lnTo>
                    <a:pt x="581" y="505"/>
                  </a:lnTo>
                  <a:lnTo>
                    <a:pt x="574" y="510"/>
                  </a:lnTo>
                  <a:lnTo>
                    <a:pt x="574" y="512"/>
                  </a:lnTo>
                  <a:lnTo>
                    <a:pt x="576" y="519"/>
                  </a:lnTo>
                  <a:lnTo>
                    <a:pt x="581" y="526"/>
                  </a:lnTo>
                  <a:lnTo>
                    <a:pt x="584" y="536"/>
                  </a:lnTo>
                  <a:lnTo>
                    <a:pt x="584" y="533"/>
                  </a:lnTo>
                  <a:lnTo>
                    <a:pt x="586" y="533"/>
                  </a:lnTo>
                  <a:lnTo>
                    <a:pt x="584" y="545"/>
                  </a:lnTo>
                  <a:lnTo>
                    <a:pt x="581" y="548"/>
                  </a:lnTo>
                  <a:lnTo>
                    <a:pt x="576" y="555"/>
                  </a:lnTo>
                  <a:lnTo>
                    <a:pt x="567" y="555"/>
                  </a:lnTo>
                  <a:lnTo>
                    <a:pt x="567" y="559"/>
                  </a:lnTo>
                  <a:lnTo>
                    <a:pt x="567" y="562"/>
                  </a:lnTo>
                  <a:lnTo>
                    <a:pt x="567" y="566"/>
                  </a:lnTo>
                  <a:lnTo>
                    <a:pt x="565" y="571"/>
                  </a:lnTo>
                  <a:lnTo>
                    <a:pt x="560" y="574"/>
                  </a:lnTo>
                  <a:lnTo>
                    <a:pt x="555" y="571"/>
                  </a:lnTo>
                  <a:lnTo>
                    <a:pt x="553" y="566"/>
                  </a:lnTo>
                  <a:lnTo>
                    <a:pt x="553" y="562"/>
                  </a:lnTo>
                  <a:lnTo>
                    <a:pt x="555" y="557"/>
                  </a:lnTo>
                  <a:lnTo>
                    <a:pt x="555" y="555"/>
                  </a:lnTo>
                  <a:lnTo>
                    <a:pt x="560" y="555"/>
                  </a:lnTo>
                  <a:lnTo>
                    <a:pt x="553" y="543"/>
                  </a:lnTo>
                  <a:lnTo>
                    <a:pt x="553" y="541"/>
                  </a:lnTo>
                  <a:lnTo>
                    <a:pt x="548" y="541"/>
                  </a:lnTo>
                  <a:lnTo>
                    <a:pt x="536" y="545"/>
                  </a:lnTo>
                  <a:lnTo>
                    <a:pt x="534" y="550"/>
                  </a:lnTo>
                  <a:lnTo>
                    <a:pt x="529" y="552"/>
                  </a:lnTo>
                  <a:lnTo>
                    <a:pt x="522" y="562"/>
                  </a:lnTo>
                  <a:lnTo>
                    <a:pt x="517" y="564"/>
                  </a:lnTo>
                  <a:lnTo>
                    <a:pt x="517" y="559"/>
                  </a:lnTo>
                  <a:lnTo>
                    <a:pt x="510" y="559"/>
                  </a:lnTo>
                  <a:lnTo>
                    <a:pt x="506" y="562"/>
                  </a:lnTo>
                  <a:lnTo>
                    <a:pt x="501" y="557"/>
                  </a:lnTo>
                  <a:lnTo>
                    <a:pt x="494" y="562"/>
                  </a:lnTo>
                  <a:lnTo>
                    <a:pt x="489" y="562"/>
                  </a:lnTo>
                  <a:lnTo>
                    <a:pt x="482" y="569"/>
                  </a:lnTo>
                  <a:lnTo>
                    <a:pt x="480" y="571"/>
                  </a:lnTo>
                  <a:lnTo>
                    <a:pt x="480" y="578"/>
                  </a:lnTo>
                  <a:lnTo>
                    <a:pt x="480" y="581"/>
                  </a:lnTo>
                  <a:lnTo>
                    <a:pt x="477" y="581"/>
                  </a:lnTo>
                  <a:lnTo>
                    <a:pt x="473" y="578"/>
                  </a:lnTo>
                  <a:lnTo>
                    <a:pt x="470" y="576"/>
                  </a:lnTo>
                  <a:lnTo>
                    <a:pt x="470" y="576"/>
                  </a:lnTo>
                  <a:lnTo>
                    <a:pt x="468" y="578"/>
                  </a:lnTo>
                  <a:lnTo>
                    <a:pt x="463" y="574"/>
                  </a:lnTo>
                  <a:lnTo>
                    <a:pt x="463" y="564"/>
                  </a:lnTo>
                  <a:lnTo>
                    <a:pt x="461" y="562"/>
                  </a:lnTo>
                  <a:lnTo>
                    <a:pt x="461" y="559"/>
                  </a:lnTo>
                  <a:lnTo>
                    <a:pt x="463" y="555"/>
                  </a:lnTo>
                  <a:lnTo>
                    <a:pt x="465" y="550"/>
                  </a:lnTo>
                  <a:lnTo>
                    <a:pt x="463" y="548"/>
                  </a:lnTo>
                  <a:lnTo>
                    <a:pt x="461" y="548"/>
                  </a:lnTo>
                  <a:lnTo>
                    <a:pt x="461" y="550"/>
                  </a:lnTo>
                  <a:lnTo>
                    <a:pt x="461" y="550"/>
                  </a:lnTo>
                  <a:lnTo>
                    <a:pt x="461" y="545"/>
                  </a:lnTo>
                  <a:lnTo>
                    <a:pt x="463" y="545"/>
                  </a:lnTo>
                  <a:lnTo>
                    <a:pt x="470" y="543"/>
                  </a:lnTo>
                  <a:lnTo>
                    <a:pt x="475" y="541"/>
                  </a:lnTo>
                  <a:lnTo>
                    <a:pt x="475" y="541"/>
                  </a:lnTo>
                  <a:lnTo>
                    <a:pt x="473" y="541"/>
                  </a:lnTo>
                  <a:lnTo>
                    <a:pt x="468" y="543"/>
                  </a:lnTo>
                  <a:lnTo>
                    <a:pt x="465" y="543"/>
                  </a:lnTo>
                  <a:lnTo>
                    <a:pt x="461" y="543"/>
                  </a:lnTo>
                  <a:lnTo>
                    <a:pt x="454" y="548"/>
                  </a:lnTo>
                  <a:lnTo>
                    <a:pt x="454" y="550"/>
                  </a:lnTo>
                  <a:lnTo>
                    <a:pt x="451" y="550"/>
                  </a:lnTo>
                  <a:lnTo>
                    <a:pt x="449" y="552"/>
                  </a:lnTo>
                  <a:lnTo>
                    <a:pt x="451" y="555"/>
                  </a:lnTo>
                  <a:lnTo>
                    <a:pt x="451" y="557"/>
                  </a:lnTo>
                  <a:lnTo>
                    <a:pt x="447" y="559"/>
                  </a:lnTo>
                  <a:lnTo>
                    <a:pt x="444" y="559"/>
                  </a:lnTo>
                  <a:lnTo>
                    <a:pt x="444" y="555"/>
                  </a:lnTo>
                  <a:lnTo>
                    <a:pt x="447" y="552"/>
                  </a:lnTo>
                  <a:lnTo>
                    <a:pt x="444" y="552"/>
                  </a:lnTo>
                  <a:lnTo>
                    <a:pt x="437" y="562"/>
                  </a:lnTo>
                  <a:lnTo>
                    <a:pt x="439" y="559"/>
                  </a:lnTo>
                  <a:lnTo>
                    <a:pt x="439" y="564"/>
                  </a:lnTo>
                  <a:lnTo>
                    <a:pt x="439" y="566"/>
                  </a:lnTo>
                  <a:lnTo>
                    <a:pt x="439" y="569"/>
                  </a:lnTo>
                  <a:lnTo>
                    <a:pt x="437" y="571"/>
                  </a:lnTo>
                  <a:lnTo>
                    <a:pt x="435" y="571"/>
                  </a:lnTo>
                  <a:lnTo>
                    <a:pt x="432" y="566"/>
                  </a:lnTo>
                  <a:lnTo>
                    <a:pt x="430" y="564"/>
                  </a:lnTo>
                  <a:lnTo>
                    <a:pt x="423" y="566"/>
                  </a:lnTo>
                  <a:lnTo>
                    <a:pt x="423" y="569"/>
                  </a:lnTo>
                  <a:lnTo>
                    <a:pt x="411" y="574"/>
                  </a:lnTo>
                  <a:lnTo>
                    <a:pt x="411" y="574"/>
                  </a:lnTo>
                  <a:lnTo>
                    <a:pt x="409" y="574"/>
                  </a:lnTo>
                  <a:lnTo>
                    <a:pt x="399" y="581"/>
                  </a:lnTo>
                  <a:lnTo>
                    <a:pt x="376" y="597"/>
                  </a:lnTo>
                  <a:lnTo>
                    <a:pt x="373" y="597"/>
                  </a:lnTo>
                  <a:lnTo>
                    <a:pt x="373" y="602"/>
                  </a:lnTo>
                  <a:lnTo>
                    <a:pt x="373" y="602"/>
                  </a:lnTo>
                  <a:lnTo>
                    <a:pt x="371" y="604"/>
                  </a:lnTo>
                  <a:lnTo>
                    <a:pt x="364" y="607"/>
                  </a:lnTo>
                  <a:lnTo>
                    <a:pt x="362" y="609"/>
                  </a:lnTo>
                  <a:lnTo>
                    <a:pt x="359" y="607"/>
                  </a:lnTo>
                  <a:lnTo>
                    <a:pt x="357" y="611"/>
                  </a:lnTo>
                  <a:lnTo>
                    <a:pt x="354" y="621"/>
                  </a:lnTo>
                  <a:lnTo>
                    <a:pt x="354" y="626"/>
                  </a:lnTo>
                  <a:lnTo>
                    <a:pt x="354" y="633"/>
                  </a:lnTo>
                  <a:lnTo>
                    <a:pt x="352" y="637"/>
                  </a:lnTo>
                  <a:lnTo>
                    <a:pt x="347" y="640"/>
                  </a:lnTo>
                  <a:lnTo>
                    <a:pt x="343" y="640"/>
                  </a:lnTo>
                  <a:lnTo>
                    <a:pt x="338" y="642"/>
                  </a:lnTo>
                  <a:lnTo>
                    <a:pt x="336" y="649"/>
                  </a:lnTo>
                  <a:lnTo>
                    <a:pt x="333" y="644"/>
                  </a:lnTo>
                  <a:lnTo>
                    <a:pt x="333" y="640"/>
                  </a:lnTo>
                  <a:lnTo>
                    <a:pt x="328" y="642"/>
                  </a:lnTo>
                  <a:lnTo>
                    <a:pt x="326" y="642"/>
                  </a:lnTo>
                  <a:lnTo>
                    <a:pt x="324" y="640"/>
                  </a:lnTo>
                  <a:lnTo>
                    <a:pt x="319" y="635"/>
                  </a:lnTo>
                  <a:lnTo>
                    <a:pt x="319" y="630"/>
                  </a:lnTo>
                  <a:lnTo>
                    <a:pt x="312" y="623"/>
                  </a:lnTo>
                  <a:lnTo>
                    <a:pt x="310" y="618"/>
                  </a:lnTo>
                  <a:lnTo>
                    <a:pt x="307" y="614"/>
                  </a:lnTo>
                  <a:lnTo>
                    <a:pt x="307" y="609"/>
                  </a:lnTo>
                  <a:lnTo>
                    <a:pt x="310" y="609"/>
                  </a:lnTo>
                  <a:lnTo>
                    <a:pt x="312" y="607"/>
                  </a:lnTo>
                  <a:lnTo>
                    <a:pt x="314" y="602"/>
                  </a:lnTo>
                  <a:lnTo>
                    <a:pt x="319" y="600"/>
                  </a:lnTo>
                  <a:lnTo>
                    <a:pt x="336" y="597"/>
                  </a:lnTo>
                  <a:lnTo>
                    <a:pt x="333" y="592"/>
                  </a:lnTo>
                  <a:lnTo>
                    <a:pt x="333" y="585"/>
                  </a:lnTo>
                  <a:lnTo>
                    <a:pt x="331" y="581"/>
                  </a:lnTo>
                  <a:lnTo>
                    <a:pt x="328" y="581"/>
                  </a:lnTo>
                  <a:lnTo>
                    <a:pt x="326" y="576"/>
                  </a:lnTo>
                  <a:lnTo>
                    <a:pt x="324" y="574"/>
                  </a:lnTo>
                  <a:lnTo>
                    <a:pt x="324" y="569"/>
                  </a:lnTo>
                  <a:lnTo>
                    <a:pt x="319" y="566"/>
                  </a:lnTo>
                  <a:lnTo>
                    <a:pt x="312" y="564"/>
                  </a:lnTo>
                  <a:lnTo>
                    <a:pt x="305" y="564"/>
                  </a:lnTo>
                  <a:lnTo>
                    <a:pt x="295" y="562"/>
                  </a:lnTo>
                  <a:lnTo>
                    <a:pt x="293" y="564"/>
                  </a:lnTo>
                  <a:lnTo>
                    <a:pt x="291" y="564"/>
                  </a:lnTo>
                  <a:lnTo>
                    <a:pt x="276" y="557"/>
                  </a:lnTo>
                  <a:lnTo>
                    <a:pt x="276" y="559"/>
                  </a:lnTo>
                  <a:lnTo>
                    <a:pt x="293" y="574"/>
                  </a:lnTo>
                  <a:lnTo>
                    <a:pt x="293" y="583"/>
                  </a:lnTo>
                  <a:lnTo>
                    <a:pt x="293" y="588"/>
                  </a:lnTo>
                  <a:lnTo>
                    <a:pt x="291" y="595"/>
                  </a:lnTo>
                  <a:lnTo>
                    <a:pt x="291" y="600"/>
                  </a:lnTo>
                  <a:lnTo>
                    <a:pt x="288" y="616"/>
                  </a:lnTo>
                  <a:lnTo>
                    <a:pt x="286" y="621"/>
                  </a:lnTo>
                  <a:lnTo>
                    <a:pt x="288" y="626"/>
                  </a:lnTo>
                  <a:lnTo>
                    <a:pt x="288" y="626"/>
                  </a:lnTo>
                  <a:lnTo>
                    <a:pt x="293" y="626"/>
                  </a:lnTo>
                  <a:lnTo>
                    <a:pt x="295" y="630"/>
                  </a:lnTo>
                  <a:lnTo>
                    <a:pt x="298" y="635"/>
                  </a:lnTo>
                  <a:lnTo>
                    <a:pt x="298" y="640"/>
                  </a:lnTo>
                  <a:lnTo>
                    <a:pt x="298" y="642"/>
                  </a:lnTo>
                  <a:lnTo>
                    <a:pt x="298" y="647"/>
                  </a:lnTo>
                  <a:lnTo>
                    <a:pt x="298" y="652"/>
                  </a:lnTo>
                  <a:lnTo>
                    <a:pt x="293" y="659"/>
                  </a:lnTo>
                  <a:lnTo>
                    <a:pt x="291" y="666"/>
                  </a:lnTo>
                  <a:lnTo>
                    <a:pt x="293" y="670"/>
                  </a:lnTo>
                  <a:lnTo>
                    <a:pt x="293" y="682"/>
                  </a:lnTo>
                  <a:lnTo>
                    <a:pt x="288" y="678"/>
                  </a:lnTo>
                  <a:lnTo>
                    <a:pt x="288" y="673"/>
                  </a:lnTo>
                  <a:lnTo>
                    <a:pt x="286" y="670"/>
                  </a:lnTo>
                  <a:lnTo>
                    <a:pt x="284" y="670"/>
                  </a:lnTo>
                  <a:lnTo>
                    <a:pt x="279" y="675"/>
                  </a:lnTo>
                  <a:lnTo>
                    <a:pt x="281" y="670"/>
                  </a:lnTo>
                  <a:lnTo>
                    <a:pt x="281" y="666"/>
                  </a:lnTo>
                  <a:lnTo>
                    <a:pt x="276" y="661"/>
                  </a:lnTo>
                  <a:lnTo>
                    <a:pt x="274" y="661"/>
                  </a:lnTo>
                  <a:lnTo>
                    <a:pt x="267" y="661"/>
                  </a:lnTo>
                  <a:lnTo>
                    <a:pt x="260" y="654"/>
                  </a:lnTo>
                  <a:lnTo>
                    <a:pt x="258" y="659"/>
                  </a:lnTo>
                  <a:lnTo>
                    <a:pt x="255" y="661"/>
                  </a:lnTo>
                  <a:lnTo>
                    <a:pt x="250" y="666"/>
                  </a:lnTo>
                  <a:lnTo>
                    <a:pt x="248" y="670"/>
                  </a:lnTo>
                  <a:lnTo>
                    <a:pt x="246" y="675"/>
                  </a:lnTo>
                  <a:lnTo>
                    <a:pt x="236" y="678"/>
                  </a:lnTo>
                  <a:lnTo>
                    <a:pt x="234" y="678"/>
                  </a:lnTo>
                  <a:lnTo>
                    <a:pt x="232" y="680"/>
                  </a:lnTo>
                  <a:lnTo>
                    <a:pt x="229" y="685"/>
                  </a:lnTo>
                  <a:lnTo>
                    <a:pt x="224" y="689"/>
                  </a:lnTo>
                  <a:lnTo>
                    <a:pt x="222" y="692"/>
                  </a:lnTo>
                  <a:lnTo>
                    <a:pt x="217" y="694"/>
                  </a:lnTo>
                  <a:lnTo>
                    <a:pt x="217" y="696"/>
                  </a:lnTo>
                  <a:lnTo>
                    <a:pt x="217" y="706"/>
                  </a:lnTo>
                  <a:lnTo>
                    <a:pt x="222" y="713"/>
                  </a:lnTo>
                  <a:lnTo>
                    <a:pt x="224" y="718"/>
                  </a:lnTo>
                  <a:lnTo>
                    <a:pt x="227" y="722"/>
                  </a:lnTo>
                  <a:lnTo>
                    <a:pt x="232" y="732"/>
                  </a:lnTo>
                  <a:lnTo>
                    <a:pt x="232" y="734"/>
                  </a:lnTo>
                  <a:lnTo>
                    <a:pt x="236" y="739"/>
                  </a:lnTo>
                  <a:lnTo>
                    <a:pt x="236" y="741"/>
                  </a:lnTo>
                  <a:lnTo>
                    <a:pt x="229" y="737"/>
                  </a:lnTo>
                  <a:lnTo>
                    <a:pt x="227" y="739"/>
                  </a:lnTo>
                  <a:lnTo>
                    <a:pt x="220" y="734"/>
                  </a:lnTo>
                  <a:lnTo>
                    <a:pt x="220" y="737"/>
                  </a:lnTo>
                  <a:lnTo>
                    <a:pt x="217" y="739"/>
                  </a:lnTo>
                  <a:lnTo>
                    <a:pt x="215" y="737"/>
                  </a:lnTo>
                  <a:lnTo>
                    <a:pt x="208" y="734"/>
                  </a:lnTo>
                  <a:lnTo>
                    <a:pt x="203" y="729"/>
                  </a:lnTo>
                  <a:lnTo>
                    <a:pt x="199" y="729"/>
                  </a:lnTo>
                  <a:lnTo>
                    <a:pt x="194" y="727"/>
                  </a:lnTo>
                  <a:lnTo>
                    <a:pt x="189" y="732"/>
                  </a:lnTo>
                  <a:lnTo>
                    <a:pt x="187" y="737"/>
                  </a:lnTo>
                  <a:lnTo>
                    <a:pt x="187" y="729"/>
                  </a:lnTo>
                  <a:lnTo>
                    <a:pt x="191" y="727"/>
                  </a:lnTo>
                  <a:lnTo>
                    <a:pt x="187" y="725"/>
                  </a:lnTo>
                  <a:lnTo>
                    <a:pt x="182" y="725"/>
                  </a:lnTo>
                  <a:lnTo>
                    <a:pt x="180" y="720"/>
                  </a:lnTo>
                  <a:lnTo>
                    <a:pt x="175" y="715"/>
                  </a:lnTo>
                  <a:lnTo>
                    <a:pt x="170" y="713"/>
                  </a:lnTo>
                  <a:lnTo>
                    <a:pt x="165" y="713"/>
                  </a:lnTo>
                  <a:lnTo>
                    <a:pt x="165" y="718"/>
                  </a:lnTo>
                  <a:lnTo>
                    <a:pt x="163" y="722"/>
                  </a:lnTo>
                  <a:lnTo>
                    <a:pt x="158" y="725"/>
                  </a:lnTo>
                  <a:lnTo>
                    <a:pt x="161" y="727"/>
                  </a:lnTo>
                  <a:lnTo>
                    <a:pt x="163" y="732"/>
                  </a:lnTo>
                  <a:lnTo>
                    <a:pt x="165" y="732"/>
                  </a:lnTo>
                  <a:lnTo>
                    <a:pt x="168" y="741"/>
                  </a:lnTo>
                  <a:lnTo>
                    <a:pt x="173" y="746"/>
                  </a:lnTo>
                  <a:lnTo>
                    <a:pt x="182" y="741"/>
                  </a:lnTo>
                  <a:lnTo>
                    <a:pt x="184" y="746"/>
                  </a:lnTo>
                  <a:lnTo>
                    <a:pt x="187" y="763"/>
                  </a:lnTo>
                  <a:lnTo>
                    <a:pt x="189" y="765"/>
                  </a:lnTo>
                  <a:lnTo>
                    <a:pt x="184" y="763"/>
                  </a:lnTo>
                  <a:lnTo>
                    <a:pt x="180" y="765"/>
                  </a:lnTo>
                  <a:lnTo>
                    <a:pt x="177" y="767"/>
                  </a:lnTo>
                  <a:lnTo>
                    <a:pt x="177" y="770"/>
                  </a:lnTo>
                  <a:lnTo>
                    <a:pt x="173" y="767"/>
                  </a:lnTo>
                  <a:lnTo>
                    <a:pt x="170" y="765"/>
                  </a:lnTo>
                  <a:lnTo>
                    <a:pt x="161" y="760"/>
                  </a:lnTo>
                  <a:lnTo>
                    <a:pt x="154" y="758"/>
                  </a:lnTo>
                  <a:lnTo>
                    <a:pt x="154" y="755"/>
                  </a:lnTo>
                  <a:lnTo>
                    <a:pt x="151" y="753"/>
                  </a:lnTo>
                  <a:lnTo>
                    <a:pt x="149" y="751"/>
                  </a:lnTo>
                  <a:lnTo>
                    <a:pt x="147" y="748"/>
                  </a:lnTo>
                  <a:lnTo>
                    <a:pt x="144" y="746"/>
                  </a:lnTo>
                  <a:lnTo>
                    <a:pt x="142" y="748"/>
                  </a:lnTo>
                  <a:lnTo>
                    <a:pt x="139" y="748"/>
                  </a:lnTo>
                  <a:lnTo>
                    <a:pt x="132" y="744"/>
                  </a:lnTo>
                  <a:lnTo>
                    <a:pt x="130" y="739"/>
                  </a:lnTo>
                  <a:lnTo>
                    <a:pt x="128" y="741"/>
                  </a:lnTo>
                  <a:lnTo>
                    <a:pt x="128" y="739"/>
                  </a:lnTo>
                  <a:lnTo>
                    <a:pt x="130" y="737"/>
                  </a:lnTo>
                  <a:lnTo>
                    <a:pt x="130" y="729"/>
                  </a:lnTo>
                  <a:lnTo>
                    <a:pt x="130" y="725"/>
                  </a:lnTo>
                  <a:lnTo>
                    <a:pt x="128" y="722"/>
                  </a:lnTo>
                  <a:lnTo>
                    <a:pt x="128" y="718"/>
                  </a:lnTo>
                  <a:lnTo>
                    <a:pt x="121" y="706"/>
                  </a:lnTo>
                  <a:lnTo>
                    <a:pt x="123" y="703"/>
                  </a:lnTo>
                  <a:lnTo>
                    <a:pt x="128" y="701"/>
                  </a:lnTo>
                  <a:lnTo>
                    <a:pt x="128" y="694"/>
                  </a:lnTo>
                  <a:lnTo>
                    <a:pt x="130" y="687"/>
                  </a:lnTo>
                  <a:lnTo>
                    <a:pt x="128" y="682"/>
                  </a:lnTo>
                  <a:lnTo>
                    <a:pt x="125" y="680"/>
                  </a:lnTo>
                  <a:lnTo>
                    <a:pt x="123" y="673"/>
                  </a:lnTo>
                  <a:lnTo>
                    <a:pt x="123" y="673"/>
                  </a:lnTo>
                  <a:lnTo>
                    <a:pt x="118" y="670"/>
                  </a:lnTo>
                  <a:lnTo>
                    <a:pt x="116" y="666"/>
                  </a:lnTo>
                  <a:lnTo>
                    <a:pt x="113" y="666"/>
                  </a:lnTo>
                  <a:lnTo>
                    <a:pt x="106" y="666"/>
                  </a:lnTo>
                  <a:lnTo>
                    <a:pt x="106" y="663"/>
                  </a:lnTo>
                  <a:lnTo>
                    <a:pt x="109" y="659"/>
                  </a:lnTo>
                  <a:lnTo>
                    <a:pt x="106" y="659"/>
                  </a:lnTo>
                  <a:lnTo>
                    <a:pt x="102" y="656"/>
                  </a:lnTo>
                  <a:lnTo>
                    <a:pt x="92" y="647"/>
                  </a:lnTo>
                  <a:lnTo>
                    <a:pt x="92" y="647"/>
                  </a:lnTo>
                  <a:lnTo>
                    <a:pt x="87" y="642"/>
                  </a:lnTo>
                  <a:lnTo>
                    <a:pt x="87" y="637"/>
                  </a:lnTo>
                  <a:lnTo>
                    <a:pt x="85" y="633"/>
                  </a:lnTo>
                  <a:lnTo>
                    <a:pt x="80" y="630"/>
                  </a:lnTo>
                  <a:lnTo>
                    <a:pt x="83" y="628"/>
                  </a:lnTo>
                  <a:lnTo>
                    <a:pt x="87" y="628"/>
                  </a:lnTo>
                  <a:lnTo>
                    <a:pt x="95" y="630"/>
                  </a:lnTo>
                  <a:lnTo>
                    <a:pt x="95" y="635"/>
                  </a:lnTo>
                  <a:lnTo>
                    <a:pt x="99" y="640"/>
                  </a:lnTo>
                  <a:lnTo>
                    <a:pt x="106" y="644"/>
                  </a:lnTo>
                  <a:lnTo>
                    <a:pt x="109" y="644"/>
                  </a:lnTo>
                  <a:lnTo>
                    <a:pt x="109" y="642"/>
                  </a:lnTo>
                  <a:lnTo>
                    <a:pt x="111" y="647"/>
                  </a:lnTo>
                  <a:lnTo>
                    <a:pt x="116" y="649"/>
                  </a:lnTo>
                  <a:lnTo>
                    <a:pt x="116" y="647"/>
                  </a:lnTo>
                  <a:lnTo>
                    <a:pt x="118" y="647"/>
                  </a:lnTo>
                  <a:lnTo>
                    <a:pt x="121" y="644"/>
                  </a:lnTo>
                  <a:lnTo>
                    <a:pt x="121" y="647"/>
                  </a:lnTo>
                  <a:lnTo>
                    <a:pt x="123" y="649"/>
                  </a:lnTo>
                  <a:lnTo>
                    <a:pt x="123" y="654"/>
                  </a:lnTo>
                  <a:lnTo>
                    <a:pt x="128" y="652"/>
                  </a:lnTo>
                  <a:lnTo>
                    <a:pt x="135" y="654"/>
                  </a:lnTo>
                  <a:lnTo>
                    <a:pt x="137" y="656"/>
                  </a:lnTo>
                  <a:lnTo>
                    <a:pt x="139" y="656"/>
                  </a:lnTo>
                  <a:lnTo>
                    <a:pt x="142" y="659"/>
                  </a:lnTo>
                  <a:lnTo>
                    <a:pt x="154" y="663"/>
                  </a:lnTo>
                  <a:lnTo>
                    <a:pt x="158" y="666"/>
                  </a:lnTo>
                  <a:lnTo>
                    <a:pt x="168" y="666"/>
                  </a:lnTo>
                  <a:lnTo>
                    <a:pt x="175" y="668"/>
                  </a:lnTo>
                  <a:lnTo>
                    <a:pt x="177" y="670"/>
                  </a:lnTo>
                  <a:lnTo>
                    <a:pt x="184" y="673"/>
                  </a:lnTo>
                  <a:lnTo>
                    <a:pt x="199" y="673"/>
                  </a:lnTo>
                  <a:lnTo>
                    <a:pt x="203" y="673"/>
                  </a:lnTo>
                  <a:lnTo>
                    <a:pt x="208" y="670"/>
                  </a:lnTo>
                  <a:lnTo>
                    <a:pt x="222" y="666"/>
                  </a:lnTo>
                  <a:lnTo>
                    <a:pt x="224" y="661"/>
                  </a:lnTo>
                  <a:lnTo>
                    <a:pt x="227" y="661"/>
                  </a:lnTo>
                  <a:lnTo>
                    <a:pt x="234" y="654"/>
                  </a:lnTo>
                  <a:lnTo>
                    <a:pt x="241" y="642"/>
                  </a:lnTo>
                  <a:lnTo>
                    <a:pt x="243" y="635"/>
                  </a:lnTo>
                  <a:lnTo>
                    <a:pt x="243" y="628"/>
                  </a:lnTo>
                  <a:lnTo>
                    <a:pt x="241" y="626"/>
                  </a:lnTo>
                  <a:lnTo>
                    <a:pt x="239" y="623"/>
                  </a:lnTo>
                  <a:lnTo>
                    <a:pt x="239" y="616"/>
                  </a:lnTo>
                  <a:lnTo>
                    <a:pt x="239" y="611"/>
                  </a:lnTo>
                  <a:lnTo>
                    <a:pt x="239" y="604"/>
                  </a:lnTo>
                  <a:lnTo>
                    <a:pt x="234" y="602"/>
                  </a:lnTo>
                  <a:lnTo>
                    <a:pt x="232" y="600"/>
                  </a:lnTo>
                  <a:lnTo>
                    <a:pt x="229" y="600"/>
                  </a:lnTo>
                  <a:lnTo>
                    <a:pt x="227" y="597"/>
                  </a:lnTo>
                  <a:lnTo>
                    <a:pt x="227" y="595"/>
                  </a:lnTo>
                  <a:lnTo>
                    <a:pt x="224" y="592"/>
                  </a:lnTo>
                  <a:lnTo>
                    <a:pt x="222" y="588"/>
                  </a:lnTo>
                  <a:lnTo>
                    <a:pt x="220" y="585"/>
                  </a:lnTo>
                  <a:lnTo>
                    <a:pt x="217" y="583"/>
                  </a:lnTo>
                  <a:lnTo>
                    <a:pt x="215" y="583"/>
                  </a:lnTo>
                  <a:lnTo>
                    <a:pt x="217" y="588"/>
                  </a:lnTo>
                  <a:lnTo>
                    <a:pt x="215" y="588"/>
                  </a:lnTo>
                  <a:lnTo>
                    <a:pt x="208" y="583"/>
                  </a:lnTo>
                  <a:lnTo>
                    <a:pt x="206" y="578"/>
                  </a:lnTo>
                  <a:lnTo>
                    <a:pt x="203" y="583"/>
                  </a:lnTo>
                  <a:lnTo>
                    <a:pt x="203" y="581"/>
                  </a:lnTo>
                  <a:lnTo>
                    <a:pt x="201" y="576"/>
                  </a:lnTo>
                  <a:lnTo>
                    <a:pt x="199" y="571"/>
                  </a:lnTo>
                  <a:lnTo>
                    <a:pt x="201" y="576"/>
                  </a:lnTo>
                  <a:lnTo>
                    <a:pt x="194" y="576"/>
                  </a:lnTo>
                  <a:lnTo>
                    <a:pt x="191" y="571"/>
                  </a:lnTo>
                  <a:lnTo>
                    <a:pt x="191" y="569"/>
                  </a:lnTo>
                  <a:lnTo>
                    <a:pt x="189" y="566"/>
                  </a:lnTo>
                  <a:lnTo>
                    <a:pt x="177" y="557"/>
                  </a:lnTo>
                  <a:lnTo>
                    <a:pt x="173" y="552"/>
                  </a:lnTo>
                  <a:lnTo>
                    <a:pt x="170" y="550"/>
                  </a:lnTo>
                  <a:lnTo>
                    <a:pt x="163" y="543"/>
                  </a:lnTo>
                  <a:lnTo>
                    <a:pt x="161" y="541"/>
                  </a:lnTo>
                  <a:lnTo>
                    <a:pt x="149" y="533"/>
                  </a:lnTo>
                  <a:lnTo>
                    <a:pt x="147" y="531"/>
                  </a:lnTo>
                  <a:lnTo>
                    <a:pt x="137" y="529"/>
                  </a:lnTo>
                  <a:lnTo>
                    <a:pt x="137" y="531"/>
                  </a:lnTo>
                  <a:lnTo>
                    <a:pt x="137" y="533"/>
                  </a:lnTo>
                  <a:lnTo>
                    <a:pt x="135" y="533"/>
                  </a:lnTo>
                  <a:lnTo>
                    <a:pt x="130" y="529"/>
                  </a:lnTo>
                  <a:lnTo>
                    <a:pt x="118" y="526"/>
                  </a:lnTo>
                  <a:lnTo>
                    <a:pt x="113" y="526"/>
                  </a:lnTo>
                  <a:lnTo>
                    <a:pt x="111" y="526"/>
                  </a:lnTo>
                  <a:lnTo>
                    <a:pt x="106" y="529"/>
                  </a:lnTo>
                  <a:lnTo>
                    <a:pt x="104" y="529"/>
                  </a:lnTo>
                  <a:lnTo>
                    <a:pt x="104" y="526"/>
                  </a:lnTo>
                  <a:lnTo>
                    <a:pt x="102" y="526"/>
                  </a:lnTo>
                  <a:lnTo>
                    <a:pt x="102" y="522"/>
                  </a:lnTo>
                  <a:lnTo>
                    <a:pt x="102" y="522"/>
                  </a:lnTo>
                  <a:lnTo>
                    <a:pt x="95" y="526"/>
                  </a:lnTo>
                  <a:lnTo>
                    <a:pt x="97" y="519"/>
                  </a:lnTo>
                  <a:lnTo>
                    <a:pt x="95" y="522"/>
                  </a:lnTo>
                  <a:lnTo>
                    <a:pt x="95" y="519"/>
                  </a:lnTo>
                  <a:lnTo>
                    <a:pt x="92" y="517"/>
                  </a:lnTo>
                  <a:lnTo>
                    <a:pt x="90" y="517"/>
                  </a:lnTo>
                  <a:lnTo>
                    <a:pt x="85" y="519"/>
                  </a:lnTo>
                  <a:lnTo>
                    <a:pt x="87" y="517"/>
                  </a:lnTo>
                  <a:lnTo>
                    <a:pt x="87" y="515"/>
                  </a:lnTo>
                  <a:lnTo>
                    <a:pt x="85" y="512"/>
                  </a:lnTo>
                  <a:lnTo>
                    <a:pt x="80" y="515"/>
                  </a:lnTo>
                  <a:lnTo>
                    <a:pt x="83" y="505"/>
                  </a:lnTo>
                  <a:lnTo>
                    <a:pt x="83" y="507"/>
                  </a:lnTo>
                  <a:lnTo>
                    <a:pt x="85" y="510"/>
                  </a:lnTo>
                  <a:lnTo>
                    <a:pt x="87" y="510"/>
                  </a:lnTo>
                  <a:lnTo>
                    <a:pt x="90" y="512"/>
                  </a:lnTo>
                  <a:lnTo>
                    <a:pt x="92" y="512"/>
                  </a:lnTo>
                  <a:lnTo>
                    <a:pt x="95" y="512"/>
                  </a:lnTo>
                  <a:lnTo>
                    <a:pt x="99" y="507"/>
                  </a:lnTo>
                  <a:lnTo>
                    <a:pt x="99" y="505"/>
                  </a:lnTo>
                  <a:lnTo>
                    <a:pt x="92" y="503"/>
                  </a:lnTo>
                  <a:lnTo>
                    <a:pt x="90" y="503"/>
                  </a:lnTo>
                  <a:lnTo>
                    <a:pt x="87" y="500"/>
                  </a:lnTo>
                  <a:lnTo>
                    <a:pt x="87" y="500"/>
                  </a:lnTo>
                  <a:lnTo>
                    <a:pt x="83" y="496"/>
                  </a:lnTo>
                  <a:lnTo>
                    <a:pt x="78" y="493"/>
                  </a:lnTo>
                  <a:lnTo>
                    <a:pt x="80" y="498"/>
                  </a:lnTo>
                  <a:lnTo>
                    <a:pt x="80" y="503"/>
                  </a:lnTo>
                  <a:lnTo>
                    <a:pt x="76" y="503"/>
                  </a:lnTo>
                  <a:lnTo>
                    <a:pt x="76" y="500"/>
                  </a:lnTo>
                  <a:lnTo>
                    <a:pt x="76" y="503"/>
                  </a:lnTo>
                  <a:lnTo>
                    <a:pt x="76" y="507"/>
                  </a:lnTo>
                  <a:lnTo>
                    <a:pt x="73" y="510"/>
                  </a:lnTo>
                  <a:lnTo>
                    <a:pt x="71" y="510"/>
                  </a:lnTo>
                  <a:lnTo>
                    <a:pt x="69" y="505"/>
                  </a:lnTo>
                  <a:lnTo>
                    <a:pt x="61" y="503"/>
                  </a:lnTo>
                  <a:lnTo>
                    <a:pt x="61" y="503"/>
                  </a:lnTo>
                  <a:lnTo>
                    <a:pt x="61" y="503"/>
                  </a:lnTo>
                  <a:lnTo>
                    <a:pt x="61" y="505"/>
                  </a:lnTo>
                  <a:lnTo>
                    <a:pt x="61" y="507"/>
                  </a:lnTo>
                  <a:lnTo>
                    <a:pt x="59" y="512"/>
                  </a:lnTo>
                  <a:lnTo>
                    <a:pt x="59" y="512"/>
                  </a:lnTo>
                  <a:lnTo>
                    <a:pt x="54" y="515"/>
                  </a:lnTo>
                  <a:lnTo>
                    <a:pt x="50" y="510"/>
                  </a:lnTo>
                  <a:lnTo>
                    <a:pt x="47" y="519"/>
                  </a:lnTo>
                  <a:lnTo>
                    <a:pt x="45" y="522"/>
                  </a:lnTo>
                  <a:lnTo>
                    <a:pt x="33" y="529"/>
                  </a:lnTo>
                  <a:lnTo>
                    <a:pt x="33" y="529"/>
                  </a:lnTo>
                  <a:lnTo>
                    <a:pt x="33" y="533"/>
                  </a:lnTo>
                  <a:lnTo>
                    <a:pt x="33" y="533"/>
                  </a:lnTo>
                  <a:lnTo>
                    <a:pt x="31" y="536"/>
                  </a:lnTo>
                  <a:lnTo>
                    <a:pt x="28" y="538"/>
                  </a:lnTo>
                  <a:lnTo>
                    <a:pt x="28" y="538"/>
                  </a:lnTo>
                  <a:lnTo>
                    <a:pt x="19" y="545"/>
                  </a:lnTo>
                  <a:lnTo>
                    <a:pt x="24" y="548"/>
                  </a:lnTo>
                  <a:lnTo>
                    <a:pt x="24" y="550"/>
                  </a:lnTo>
                  <a:lnTo>
                    <a:pt x="19" y="557"/>
                  </a:lnTo>
                  <a:lnTo>
                    <a:pt x="19" y="562"/>
                  </a:lnTo>
                  <a:lnTo>
                    <a:pt x="19" y="569"/>
                  </a:lnTo>
                  <a:lnTo>
                    <a:pt x="21" y="576"/>
                  </a:lnTo>
                  <a:lnTo>
                    <a:pt x="24" y="578"/>
                  </a:lnTo>
                  <a:lnTo>
                    <a:pt x="26" y="581"/>
                  </a:lnTo>
                  <a:lnTo>
                    <a:pt x="31" y="581"/>
                  </a:lnTo>
                  <a:lnTo>
                    <a:pt x="36" y="583"/>
                  </a:lnTo>
                  <a:lnTo>
                    <a:pt x="40" y="595"/>
                  </a:lnTo>
                  <a:lnTo>
                    <a:pt x="45" y="600"/>
                  </a:lnTo>
                  <a:lnTo>
                    <a:pt x="45" y="607"/>
                  </a:lnTo>
                  <a:lnTo>
                    <a:pt x="40" y="618"/>
                  </a:lnTo>
                  <a:lnTo>
                    <a:pt x="33" y="633"/>
                  </a:lnTo>
                  <a:lnTo>
                    <a:pt x="31" y="637"/>
                  </a:lnTo>
                  <a:lnTo>
                    <a:pt x="33" y="642"/>
                  </a:lnTo>
                  <a:lnTo>
                    <a:pt x="36" y="649"/>
                  </a:lnTo>
                  <a:lnTo>
                    <a:pt x="38" y="654"/>
                  </a:lnTo>
                  <a:lnTo>
                    <a:pt x="38" y="661"/>
                  </a:lnTo>
                  <a:lnTo>
                    <a:pt x="43" y="668"/>
                  </a:lnTo>
                  <a:lnTo>
                    <a:pt x="47" y="680"/>
                  </a:lnTo>
                  <a:lnTo>
                    <a:pt x="47" y="685"/>
                  </a:lnTo>
                  <a:lnTo>
                    <a:pt x="47" y="689"/>
                  </a:lnTo>
                  <a:lnTo>
                    <a:pt x="43" y="694"/>
                  </a:lnTo>
                  <a:lnTo>
                    <a:pt x="43" y="701"/>
                  </a:lnTo>
                  <a:lnTo>
                    <a:pt x="40" y="706"/>
                  </a:lnTo>
                  <a:lnTo>
                    <a:pt x="43" y="711"/>
                  </a:lnTo>
                  <a:lnTo>
                    <a:pt x="43" y="715"/>
                  </a:lnTo>
                  <a:lnTo>
                    <a:pt x="40" y="720"/>
                  </a:lnTo>
                  <a:lnTo>
                    <a:pt x="40" y="725"/>
                  </a:lnTo>
                  <a:lnTo>
                    <a:pt x="45" y="727"/>
                  </a:lnTo>
                  <a:lnTo>
                    <a:pt x="50" y="732"/>
                  </a:lnTo>
                  <a:lnTo>
                    <a:pt x="47" y="739"/>
                  </a:lnTo>
                  <a:lnTo>
                    <a:pt x="50" y="744"/>
                  </a:lnTo>
                  <a:lnTo>
                    <a:pt x="54" y="748"/>
                  </a:lnTo>
                  <a:lnTo>
                    <a:pt x="57" y="755"/>
                  </a:lnTo>
                  <a:lnTo>
                    <a:pt x="54" y="760"/>
                  </a:lnTo>
                  <a:lnTo>
                    <a:pt x="50" y="765"/>
                  </a:lnTo>
                  <a:lnTo>
                    <a:pt x="50" y="770"/>
                  </a:lnTo>
                  <a:lnTo>
                    <a:pt x="52" y="777"/>
                  </a:lnTo>
                  <a:lnTo>
                    <a:pt x="54" y="781"/>
                  </a:lnTo>
                  <a:lnTo>
                    <a:pt x="64" y="789"/>
                  </a:lnTo>
                  <a:lnTo>
                    <a:pt x="64" y="793"/>
                  </a:lnTo>
                  <a:lnTo>
                    <a:pt x="69" y="798"/>
                  </a:lnTo>
                  <a:lnTo>
                    <a:pt x="69" y="798"/>
                  </a:lnTo>
                  <a:lnTo>
                    <a:pt x="69" y="810"/>
                  </a:lnTo>
                  <a:lnTo>
                    <a:pt x="64" y="822"/>
                  </a:lnTo>
                  <a:lnTo>
                    <a:pt x="59" y="826"/>
                  </a:lnTo>
                  <a:lnTo>
                    <a:pt x="43" y="850"/>
                  </a:lnTo>
                  <a:lnTo>
                    <a:pt x="31" y="864"/>
                  </a:lnTo>
                  <a:lnTo>
                    <a:pt x="14" y="878"/>
                  </a:lnTo>
                  <a:lnTo>
                    <a:pt x="5" y="888"/>
                  </a:lnTo>
                  <a:lnTo>
                    <a:pt x="5" y="888"/>
                  </a:lnTo>
                  <a:lnTo>
                    <a:pt x="12" y="888"/>
                  </a:lnTo>
                  <a:lnTo>
                    <a:pt x="14" y="885"/>
                  </a:lnTo>
                  <a:lnTo>
                    <a:pt x="21" y="881"/>
                  </a:lnTo>
                  <a:lnTo>
                    <a:pt x="21" y="883"/>
                  </a:lnTo>
                  <a:lnTo>
                    <a:pt x="21" y="885"/>
                  </a:lnTo>
                  <a:lnTo>
                    <a:pt x="21" y="890"/>
                  </a:lnTo>
                  <a:lnTo>
                    <a:pt x="19" y="888"/>
                  </a:lnTo>
                  <a:lnTo>
                    <a:pt x="19" y="888"/>
                  </a:lnTo>
                  <a:lnTo>
                    <a:pt x="19" y="892"/>
                  </a:lnTo>
                  <a:lnTo>
                    <a:pt x="19" y="895"/>
                  </a:lnTo>
                  <a:lnTo>
                    <a:pt x="21" y="895"/>
                  </a:lnTo>
                  <a:lnTo>
                    <a:pt x="24" y="897"/>
                  </a:lnTo>
                  <a:lnTo>
                    <a:pt x="28" y="902"/>
                  </a:lnTo>
                  <a:lnTo>
                    <a:pt x="33" y="902"/>
                  </a:lnTo>
                  <a:lnTo>
                    <a:pt x="38" y="900"/>
                  </a:lnTo>
                  <a:lnTo>
                    <a:pt x="40" y="902"/>
                  </a:lnTo>
                  <a:lnTo>
                    <a:pt x="45" y="904"/>
                  </a:lnTo>
                  <a:lnTo>
                    <a:pt x="45" y="907"/>
                  </a:lnTo>
                  <a:lnTo>
                    <a:pt x="45" y="907"/>
                  </a:lnTo>
                  <a:lnTo>
                    <a:pt x="47" y="909"/>
                  </a:lnTo>
                  <a:lnTo>
                    <a:pt x="50" y="909"/>
                  </a:lnTo>
                  <a:lnTo>
                    <a:pt x="47" y="911"/>
                  </a:lnTo>
                  <a:lnTo>
                    <a:pt x="45" y="911"/>
                  </a:lnTo>
                  <a:lnTo>
                    <a:pt x="36" y="909"/>
                  </a:lnTo>
                  <a:lnTo>
                    <a:pt x="28" y="909"/>
                  </a:lnTo>
                  <a:lnTo>
                    <a:pt x="28" y="909"/>
                  </a:lnTo>
                  <a:lnTo>
                    <a:pt x="26" y="911"/>
                  </a:lnTo>
                  <a:lnTo>
                    <a:pt x="21" y="914"/>
                  </a:lnTo>
                  <a:lnTo>
                    <a:pt x="19" y="914"/>
                  </a:lnTo>
                  <a:lnTo>
                    <a:pt x="19" y="914"/>
                  </a:lnTo>
                  <a:lnTo>
                    <a:pt x="17" y="918"/>
                  </a:lnTo>
                  <a:lnTo>
                    <a:pt x="14" y="918"/>
                  </a:lnTo>
                  <a:lnTo>
                    <a:pt x="12" y="916"/>
                  </a:lnTo>
                  <a:lnTo>
                    <a:pt x="10" y="916"/>
                  </a:lnTo>
                  <a:lnTo>
                    <a:pt x="10" y="918"/>
                  </a:lnTo>
                  <a:lnTo>
                    <a:pt x="10" y="923"/>
                  </a:lnTo>
                  <a:lnTo>
                    <a:pt x="12" y="923"/>
                  </a:lnTo>
                  <a:lnTo>
                    <a:pt x="14" y="926"/>
                  </a:lnTo>
                  <a:lnTo>
                    <a:pt x="14" y="928"/>
                  </a:lnTo>
                  <a:lnTo>
                    <a:pt x="14" y="930"/>
                  </a:lnTo>
                  <a:lnTo>
                    <a:pt x="10" y="935"/>
                  </a:lnTo>
                  <a:lnTo>
                    <a:pt x="7" y="940"/>
                  </a:lnTo>
                  <a:lnTo>
                    <a:pt x="5" y="942"/>
                  </a:lnTo>
                  <a:lnTo>
                    <a:pt x="7" y="947"/>
                  </a:lnTo>
                  <a:lnTo>
                    <a:pt x="5" y="954"/>
                  </a:lnTo>
                  <a:lnTo>
                    <a:pt x="7" y="956"/>
                  </a:lnTo>
                  <a:lnTo>
                    <a:pt x="7" y="956"/>
                  </a:lnTo>
                  <a:lnTo>
                    <a:pt x="7" y="959"/>
                  </a:lnTo>
                  <a:lnTo>
                    <a:pt x="7" y="961"/>
                  </a:lnTo>
                  <a:lnTo>
                    <a:pt x="2" y="963"/>
                  </a:lnTo>
                  <a:lnTo>
                    <a:pt x="2" y="966"/>
                  </a:lnTo>
                  <a:lnTo>
                    <a:pt x="0" y="968"/>
                  </a:lnTo>
                  <a:lnTo>
                    <a:pt x="2" y="970"/>
                  </a:lnTo>
                  <a:lnTo>
                    <a:pt x="5" y="970"/>
                  </a:lnTo>
                  <a:lnTo>
                    <a:pt x="10" y="970"/>
                  </a:lnTo>
                  <a:lnTo>
                    <a:pt x="12" y="975"/>
                  </a:lnTo>
                  <a:lnTo>
                    <a:pt x="12" y="980"/>
                  </a:lnTo>
                  <a:lnTo>
                    <a:pt x="10" y="980"/>
                  </a:lnTo>
                  <a:lnTo>
                    <a:pt x="7" y="977"/>
                  </a:lnTo>
                  <a:lnTo>
                    <a:pt x="5" y="975"/>
                  </a:lnTo>
                  <a:lnTo>
                    <a:pt x="5" y="980"/>
                  </a:lnTo>
                  <a:lnTo>
                    <a:pt x="2" y="982"/>
                  </a:lnTo>
                  <a:lnTo>
                    <a:pt x="0" y="987"/>
                  </a:lnTo>
                  <a:lnTo>
                    <a:pt x="0" y="989"/>
                  </a:lnTo>
                  <a:lnTo>
                    <a:pt x="2" y="989"/>
                  </a:lnTo>
                  <a:lnTo>
                    <a:pt x="5" y="992"/>
                  </a:lnTo>
                  <a:lnTo>
                    <a:pt x="7" y="994"/>
                  </a:lnTo>
                  <a:lnTo>
                    <a:pt x="7" y="996"/>
                  </a:lnTo>
                  <a:lnTo>
                    <a:pt x="7" y="999"/>
                  </a:lnTo>
                  <a:lnTo>
                    <a:pt x="7" y="1006"/>
                  </a:lnTo>
                  <a:lnTo>
                    <a:pt x="5" y="1008"/>
                  </a:lnTo>
                  <a:lnTo>
                    <a:pt x="7" y="1011"/>
                  </a:lnTo>
                  <a:lnTo>
                    <a:pt x="10" y="1011"/>
                  </a:lnTo>
                  <a:lnTo>
                    <a:pt x="10" y="1013"/>
                  </a:lnTo>
                  <a:lnTo>
                    <a:pt x="14" y="1020"/>
                  </a:lnTo>
                  <a:lnTo>
                    <a:pt x="14" y="1022"/>
                  </a:lnTo>
                  <a:lnTo>
                    <a:pt x="17" y="1025"/>
                  </a:lnTo>
                  <a:lnTo>
                    <a:pt x="17" y="1029"/>
                  </a:lnTo>
                  <a:lnTo>
                    <a:pt x="17" y="1034"/>
                  </a:lnTo>
                  <a:lnTo>
                    <a:pt x="17" y="1037"/>
                  </a:lnTo>
                  <a:lnTo>
                    <a:pt x="21" y="1034"/>
                  </a:lnTo>
                  <a:lnTo>
                    <a:pt x="24" y="1037"/>
                  </a:lnTo>
                  <a:lnTo>
                    <a:pt x="26" y="1039"/>
                  </a:lnTo>
                  <a:lnTo>
                    <a:pt x="31" y="1037"/>
                  </a:lnTo>
                  <a:lnTo>
                    <a:pt x="33" y="1037"/>
                  </a:lnTo>
                  <a:lnTo>
                    <a:pt x="36" y="1041"/>
                  </a:lnTo>
                  <a:lnTo>
                    <a:pt x="36" y="1046"/>
                  </a:lnTo>
                  <a:lnTo>
                    <a:pt x="40" y="1044"/>
                  </a:lnTo>
                  <a:lnTo>
                    <a:pt x="43" y="1044"/>
                  </a:lnTo>
                  <a:lnTo>
                    <a:pt x="45" y="1041"/>
                  </a:lnTo>
                  <a:lnTo>
                    <a:pt x="50" y="1041"/>
                  </a:lnTo>
                  <a:lnTo>
                    <a:pt x="52" y="1041"/>
                  </a:lnTo>
                  <a:lnTo>
                    <a:pt x="54" y="1044"/>
                  </a:lnTo>
                  <a:lnTo>
                    <a:pt x="57" y="1046"/>
                  </a:lnTo>
                  <a:lnTo>
                    <a:pt x="59" y="1051"/>
                  </a:lnTo>
                  <a:lnTo>
                    <a:pt x="61" y="1051"/>
                  </a:lnTo>
                  <a:lnTo>
                    <a:pt x="61" y="1053"/>
                  </a:lnTo>
                  <a:lnTo>
                    <a:pt x="61" y="1055"/>
                  </a:lnTo>
                  <a:lnTo>
                    <a:pt x="61" y="1058"/>
                  </a:lnTo>
                  <a:lnTo>
                    <a:pt x="64" y="1060"/>
                  </a:lnTo>
                  <a:lnTo>
                    <a:pt x="64" y="1063"/>
                  </a:lnTo>
                  <a:lnTo>
                    <a:pt x="64" y="1065"/>
                  </a:lnTo>
                  <a:lnTo>
                    <a:pt x="64" y="1067"/>
                  </a:lnTo>
                  <a:lnTo>
                    <a:pt x="61" y="1070"/>
                  </a:lnTo>
                  <a:lnTo>
                    <a:pt x="59" y="1072"/>
                  </a:lnTo>
                  <a:lnTo>
                    <a:pt x="61" y="1074"/>
                  </a:lnTo>
                  <a:lnTo>
                    <a:pt x="64" y="1079"/>
                  </a:lnTo>
                  <a:lnTo>
                    <a:pt x="66" y="1084"/>
                  </a:lnTo>
                  <a:lnTo>
                    <a:pt x="69" y="1091"/>
                  </a:lnTo>
                  <a:lnTo>
                    <a:pt x="71" y="1093"/>
                  </a:lnTo>
                  <a:lnTo>
                    <a:pt x="76" y="1096"/>
                  </a:lnTo>
                  <a:lnTo>
                    <a:pt x="78" y="1098"/>
                  </a:lnTo>
                  <a:lnTo>
                    <a:pt x="78" y="1100"/>
                  </a:lnTo>
                  <a:lnTo>
                    <a:pt x="78" y="1103"/>
                  </a:lnTo>
                  <a:lnTo>
                    <a:pt x="78" y="1105"/>
                  </a:lnTo>
                  <a:lnTo>
                    <a:pt x="85" y="1103"/>
                  </a:lnTo>
                  <a:lnTo>
                    <a:pt x="87" y="1105"/>
                  </a:lnTo>
                  <a:lnTo>
                    <a:pt x="90" y="1105"/>
                  </a:lnTo>
                  <a:lnTo>
                    <a:pt x="90" y="1107"/>
                  </a:lnTo>
                  <a:lnTo>
                    <a:pt x="92" y="1110"/>
                  </a:lnTo>
                  <a:lnTo>
                    <a:pt x="95" y="1110"/>
                  </a:lnTo>
                  <a:lnTo>
                    <a:pt x="95" y="1114"/>
                  </a:lnTo>
                  <a:lnTo>
                    <a:pt x="92" y="1117"/>
                  </a:lnTo>
                  <a:lnTo>
                    <a:pt x="90" y="1119"/>
                  </a:lnTo>
                  <a:lnTo>
                    <a:pt x="87" y="1122"/>
                  </a:lnTo>
                  <a:lnTo>
                    <a:pt x="85" y="1124"/>
                  </a:lnTo>
                  <a:lnTo>
                    <a:pt x="80" y="1124"/>
                  </a:lnTo>
                  <a:lnTo>
                    <a:pt x="76" y="1119"/>
                  </a:lnTo>
                  <a:lnTo>
                    <a:pt x="73" y="1119"/>
                  </a:lnTo>
                  <a:lnTo>
                    <a:pt x="71" y="1119"/>
                  </a:lnTo>
                  <a:lnTo>
                    <a:pt x="71" y="1124"/>
                  </a:lnTo>
                  <a:lnTo>
                    <a:pt x="69" y="1124"/>
                  </a:lnTo>
                  <a:lnTo>
                    <a:pt x="69" y="1126"/>
                  </a:lnTo>
                  <a:lnTo>
                    <a:pt x="71" y="1129"/>
                  </a:lnTo>
                  <a:lnTo>
                    <a:pt x="73" y="1133"/>
                  </a:lnTo>
                  <a:lnTo>
                    <a:pt x="71" y="1136"/>
                  </a:lnTo>
                  <a:lnTo>
                    <a:pt x="73" y="1136"/>
                  </a:lnTo>
                  <a:lnTo>
                    <a:pt x="73" y="1138"/>
                  </a:lnTo>
                  <a:lnTo>
                    <a:pt x="76" y="1140"/>
                  </a:lnTo>
                  <a:lnTo>
                    <a:pt x="76" y="1143"/>
                  </a:lnTo>
                  <a:lnTo>
                    <a:pt x="76" y="1145"/>
                  </a:lnTo>
                  <a:lnTo>
                    <a:pt x="78" y="1152"/>
                  </a:lnTo>
                  <a:lnTo>
                    <a:pt x="78" y="1152"/>
                  </a:lnTo>
                  <a:lnTo>
                    <a:pt x="80" y="1155"/>
                  </a:lnTo>
                  <a:lnTo>
                    <a:pt x="83" y="1155"/>
                  </a:lnTo>
                  <a:lnTo>
                    <a:pt x="85" y="1155"/>
                  </a:lnTo>
                  <a:lnTo>
                    <a:pt x="85" y="1152"/>
                  </a:lnTo>
                  <a:lnTo>
                    <a:pt x="87" y="1150"/>
                  </a:lnTo>
                  <a:lnTo>
                    <a:pt x="87" y="1148"/>
                  </a:lnTo>
                  <a:lnTo>
                    <a:pt x="95" y="1148"/>
                  </a:lnTo>
                  <a:lnTo>
                    <a:pt x="97" y="1148"/>
                  </a:lnTo>
                  <a:lnTo>
                    <a:pt x="102" y="1148"/>
                  </a:lnTo>
                  <a:lnTo>
                    <a:pt x="106" y="1148"/>
                  </a:lnTo>
                  <a:lnTo>
                    <a:pt x="111" y="1148"/>
                  </a:lnTo>
                  <a:lnTo>
                    <a:pt x="116" y="1150"/>
                  </a:lnTo>
                  <a:lnTo>
                    <a:pt x="118" y="1152"/>
                  </a:lnTo>
                  <a:lnTo>
                    <a:pt x="118" y="1155"/>
                  </a:lnTo>
                  <a:lnTo>
                    <a:pt x="121" y="1159"/>
                  </a:lnTo>
                  <a:lnTo>
                    <a:pt x="123" y="1159"/>
                  </a:lnTo>
                  <a:lnTo>
                    <a:pt x="123" y="1164"/>
                  </a:lnTo>
                  <a:lnTo>
                    <a:pt x="121" y="1164"/>
                  </a:lnTo>
                  <a:lnTo>
                    <a:pt x="118" y="1164"/>
                  </a:lnTo>
                  <a:lnTo>
                    <a:pt x="118" y="1166"/>
                  </a:lnTo>
                  <a:lnTo>
                    <a:pt x="118" y="1169"/>
                  </a:lnTo>
                  <a:lnTo>
                    <a:pt x="121" y="1174"/>
                  </a:lnTo>
                  <a:lnTo>
                    <a:pt x="123" y="1176"/>
                  </a:lnTo>
                  <a:lnTo>
                    <a:pt x="125" y="1178"/>
                  </a:lnTo>
                  <a:lnTo>
                    <a:pt x="130" y="1178"/>
                  </a:lnTo>
                  <a:lnTo>
                    <a:pt x="132" y="1178"/>
                  </a:lnTo>
                  <a:lnTo>
                    <a:pt x="135" y="1178"/>
                  </a:lnTo>
                  <a:lnTo>
                    <a:pt x="135" y="1181"/>
                  </a:lnTo>
                  <a:lnTo>
                    <a:pt x="139" y="1183"/>
                  </a:lnTo>
                  <a:lnTo>
                    <a:pt x="142" y="1192"/>
                  </a:lnTo>
                  <a:lnTo>
                    <a:pt x="139" y="1195"/>
                  </a:lnTo>
                  <a:lnTo>
                    <a:pt x="142" y="1197"/>
                  </a:lnTo>
                  <a:lnTo>
                    <a:pt x="144" y="1200"/>
                  </a:lnTo>
                  <a:lnTo>
                    <a:pt x="147" y="1200"/>
                  </a:lnTo>
                  <a:lnTo>
                    <a:pt x="149" y="1200"/>
                  </a:lnTo>
                  <a:lnTo>
                    <a:pt x="151" y="1200"/>
                  </a:lnTo>
                  <a:lnTo>
                    <a:pt x="154" y="1200"/>
                  </a:lnTo>
                  <a:lnTo>
                    <a:pt x="156" y="1202"/>
                  </a:lnTo>
                  <a:lnTo>
                    <a:pt x="158" y="1202"/>
                  </a:lnTo>
                  <a:lnTo>
                    <a:pt x="161" y="1204"/>
                  </a:lnTo>
                  <a:lnTo>
                    <a:pt x="170" y="1202"/>
                  </a:lnTo>
                  <a:lnTo>
                    <a:pt x="175" y="1200"/>
                  </a:lnTo>
                  <a:lnTo>
                    <a:pt x="177" y="1200"/>
                  </a:lnTo>
                  <a:lnTo>
                    <a:pt x="177" y="1202"/>
                  </a:lnTo>
                  <a:lnTo>
                    <a:pt x="182" y="1209"/>
                  </a:lnTo>
                  <a:lnTo>
                    <a:pt x="184" y="1211"/>
                  </a:lnTo>
                  <a:lnTo>
                    <a:pt x="187" y="1211"/>
                  </a:lnTo>
                  <a:lnTo>
                    <a:pt x="189" y="1209"/>
                  </a:lnTo>
                  <a:lnTo>
                    <a:pt x="191" y="1209"/>
                  </a:lnTo>
                  <a:lnTo>
                    <a:pt x="194" y="1211"/>
                  </a:lnTo>
                  <a:lnTo>
                    <a:pt x="196" y="1211"/>
                  </a:lnTo>
                  <a:lnTo>
                    <a:pt x="199" y="1214"/>
                  </a:lnTo>
                  <a:lnTo>
                    <a:pt x="199" y="1216"/>
                  </a:lnTo>
                  <a:lnTo>
                    <a:pt x="206" y="1216"/>
                  </a:lnTo>
                  <a:lnTo>
                    <a:pt x="208" y="1218"/>
                  </a:lnTo>
                  <a:lnTo>
                    <a:pt x="210" y="1218"/>
                  </a:lnTo>
                  <a:lnTo>
                    <a:pt x="215" y="1221"/>
                  </a:lnTo>
                  <a:lnTo>
                    <a:pt x="217" y="1221"/>
                  </a:lnTo>
                  <a:lnTo>
                    <a:pt x="220" y="1221"/>
                  </a:lnTo>
                  <a:lnTo>
                    <a:pt x="222" y="1223"/>
                  </a:lnTo>
                  <a:lnTo>
                    <a:pt x="220" y="1225"/>
                  </a:lnTo>
                  <a:lnTo>
                    <a:pt x="222" y="1233"/>
                  </a:lnTo>
                  <a:lnTo>
                    <a:pt x="220" y="1237"/>
                  </a:lnTo>
                  <a:lnTo>
                    <a:pt x="215" y="1237"/>
                  </a:lnTo>
                  <a:lnTo>
                    <a:pt x="217" y="1240"/>
                  </a:lnTo>
                  <a:lnTo>
                    <a:pt x="220" y="1240"/>
                  </a:lnTo>
                  <a:lnTo>
                    <a:pt x="220" y="1242"/>
                  </a:lnTo>
                  <a:lnTo>
                    <a:pt x="215" y="1244"/>
                  </a:lnTo>
                  <a:lnTo>
                    <a:pt x="215" y="1247"/>
                  </a:lnTo>
                  <a:lnTo>
                    <a:pt x="215" y="1249"/>
                  </a:lnTo>
                  <a:lnTo>
                    <a:pt x="215" y="1251"/>
                  </a:lnTo>
                  <a:lnTo>
                    <a:pt x="217" y="1254"/>
                  </a:lnTo>
                  <a:lnTo>
                    <a:pt x="217" y="1256"/>
                  </a:lnTo>
                  <a:lnTo>
                    <a:pt x="220" y="1256"/>
                  </a:lnTo>
                  <a:lnTo>
                    <a:pt x="217" y="1261"/>
                  </a:lnTo>
                  <a:lnTo>
                    <a:pt x="215" y="1270"/>
                  </a:lnTo>
                  <a:lnTo>
                    <a:pt x="213" y="1270"/>
                  </a:lnTo>
                  <a:lnTo>
                    <a:pt x="208" y="1270"/>
                  </a:lnTo>
                  <a:lnTo>
                    <a:pt x="206" y="1270"/>
                  </a:lnTo>
                  <a:lnTo>
                    <a:pt x="201" y="1268"/>
                  </a:lnTo>
                  <a:lnTo>
                    <a:pt x="199" y="1268"/>
                  </a:lnTo>
                  <a:lnTo>
                    <a:pt x="196" y="1273"/>
                  </a:lnTo>
                  <a:lnTo>
                    <a:pt x="191" y="1275"/>
                  </a:lnTo>
                  <a:lnTo>
                    <a:pt x="189" y="1280"/>
                  </a:lnTo>
                  <a:lnTo>
                    <a:pt x="189" y="1282"/>
                  </a:lnTo>
                  <a:lnTo>
                    <a:pt x="189" y="1287"/>
                  </a:lnTo>
                  <a:lnTo>
                    <a:pt x="194" y="1285"/>
                  </a:lnTo>
                  <a:lnTo>
                    <a:pt x="196" y="1287"/>
                  </a:lnTo>
                  <a:lnTo>
                    <a:pt x="199" y="1285"/>
                  </a:lnTo>
                  <a:lnTo>
                    <a:pt x="203" y="1285"/>
                  </a:lnTo>
                  <a:lnTo>
                    <a:pt x="206" y="1285"/>
                  </a:lnTo>
                  <a:lnTo>
                    <a:pt x="206" y="1287"/>
                  </a:lnTo>
                  <a:lnTo>
                    <a:pt x="208" y="1287"/>
                  </a:lnTo>
                  <a:lnTo>
                    <a:pt x="208" y="1287"/>
                  </a:lnTo>
                  <a:lnTo>
                    <a:pt x="208" y="1289"/>
                  </a:lnTo>
                  <a:lnTo>
                    <a:pt x="206" y="1289"/>
                  </a:lnTo>
                  <a:lnTo>
                    <a:pt x="201" y="1292"/>
                  </a:lnTo>
                  <a:lnTo>
                    <a:pt x="196" y="1294"/>
                  </a:lnTo>
                  <a:lnTo>
                    <a:pt x="194" y="1294"/>
                  </a:lnTo>
                  <a:lnTo>
                    <a:pt x="194" y="1296"/>
                  </a:lnTo>
                  <a:lnTo>
                    <a:pt x="194" y="1299"/>
                  </a:lnTo>
                  <a:lnTo>
                    <a:pt x="194" y="1299"/>
                  </a:lnTo>
                  <a:lnTo>
                    <a:pt x="189" y="1299"/>
                  </a:lnTo>
                  <a:lnTo>
                    <a:pt x="182" y="1299"/>
                  </a:lnTo>
                  <a:lnTo>
                    <a:pt x="180" y="1303"/>
                  </a:lnTo>
                  <a:lnTo>
                    <a:pt x="184" y="1306"/>
                  </a:lnTo>
                  <a:lnTo>
                    <a:pt x="187" y="1306"/>
                  </a:lnTo>
                  <a:lnTo>
                    <a:pt x="191" y="1311"/>
                  </a:lnTo>
                  <a:lnTo>
                    <a:pt x="194" y="1313"/>
                  </a:lnTo>
                  <a:lnTo>
                    <a:pt x="194" y="1315"/>
                  </a:lnTo>
                  <a:lnTo>
                    <a:pt x="189" y="1313"/>
                  </a:lnTo>
                  <a:lnTo>
                    <a:pt x="187" y="1315"/>
                  </a:lnTo>
                  <a:lnTo>
                    <a:pt x="184" y="1315"/>
                  </a:lnTo>
                  <a:lnTo>
                    <a:pt x="182" y="1322"/>
                  </a:lnTo>
                  <a:lnTo>
                    <a:pt x="177" y="1325"/>
                  </a:lnTo>
                  <a:lnTo>
                    <a:pt x="175" y="1332"/>
                  </a:lnTo>
                  <a:lnTo>
                    <a:pt x="170" y="1332"/>
                  </a:lnTo>
                  <a:lnTo>
                    <a:pt x="165" y="1332"/>
                  </a:lnTo>
                  <a:lnTo>
                    <a:pt x="165" y="1332"/>
                  </a:lnTo>
                  <a:lnTo>
                    <a:pt x="165" y="1334"/>
                  </a:lnTo>
                  <a:lnTo>
                    <a:pt x="161" y="1337"/>
                  </a:lnTo>
                  <a:lnTo>
                    <a:pt x="165" y="1339"/>
                  </a:lnTo>
                  <a:lnTo>
                    <a:pt x="170" y="1341"/>
                  </a:lnTo>
                  <a:lnTo>
                    <a:pt x="170" y="1346"/>
                  </a:lnTo>
                  <a:lnTo>
                    <a:pt x="175" y="1348"/>
                  </a:lnTo>
                  <a:lnTo>
                    <a:pt x="177" y="1348"/>
                  </a:lnTo>
                  <a:lnTo>
                    <a:pt x="180" y="1348"/>
                  </a:lnTo>
                  <a:lnTo>
                    <a:pt x="180" y="1351"/>
                  </a:lnTo>
                  <a:lnTo>
                    <a:pt x="184" y="1353"/>
                  </a:lnTo>
                  <a:lnTo>
                    <a:pt x="199" y="1360"/>
                  </a:lnTo>
                  <a:lnTo>
                    <a:pt x="208" y="1367"/>
                  </a:lnTo>
                  <a:lnTo>
                    <a:pt x="210" y="1370"/>
                  </a:lnTo>
                  <a:lnTo>
                    <a:pt x="210" y="1372"/>
                  </a:lnTo>
                  <a:lnTo>
                    <a:pt x="215" y="1374"/>
                  </a:lnTo>
                  <a:lnTo>
                    <a:pt x="217" y="1377"/>
                  </a:lnTo>
                  <a:lnTo>
                    <a:pt x="222" y="1377"/>
                  </a:lnTo>
                  <a:lnTo>
                    <a:pt x="224" y="1374"/>
                  </a:lnTo>
                  <a:lnTo>
                    <a:pt x="227" y="1377"/>
                  </a:lnTo>
                  <a:lnTo>
                    <a:pt x="229" y="1377"/>
                  </a:lnTo>
                  <a:lnTo>
                    <a:pt x="236" y="1377"/>
                  </a:lnTo>
                  <a:lnTo>
                    <a:pt x="236" y="1379"/>
                  </a:lnTo>
                  <a:lnTo>
                    <a:pt x="241" y="1381"/>
                  </a:lnTo>
                  <a:lnTo>
                    <a:pt x="250" y="1384"/>
                  </a:lnTo>
                  <a:lnTo>
                    <a:pt x="253" y="1384"/>
                  </a:lnTo>
                  <a:lnTo>
                    <a:pt x="260" y="1384"/>
                  </a:lnTo>
                  <a:lnTo>
                    <a:pt x="265" y="1384"/>
                  </a:lnTo>
                  <a:lnTo>
                    <a:pt x="269" y="1384"/>
                  </a:lnTo>
                  <a:lnTo>
                    <a:pt x="272" y="1386"/>
                  </a:lnTo>
                  <a:lnTo>
                    <a:pt x="274" y="1388"/>
                  </a:lnTo>
                  <a:lnTo>
                    <a:pt x="286" y="1396"/>
                  </a:lnTo>
                  <a:lnTo>
                    <a:pt x="286" y="1398"/>
                  </a:lnTo>
                  <a:lnTo>
                    <a:pt x="288" y="1398"/>
                  </a:lnTo>
                  <a:lnTo>
                    <a:pt x="291" y="1398"/>
                  </a:lnTo>
                  <a:lnTo>
                    <a:pt x="293" y="1396"/>
                  </a:lnTo>
                  <a:lnTo>
                    <a:pt x="298" y="1396"/>
                  </a:lnTo>
                  <a:lnTo>
                    <a:pt x="300" y="1393"/>
                  </a:lnTo>
                  <a:lnTo>
                    <a:pt x="302" y="1396"/>
                  </a:lnTo>
                  <a:lnTo>
                    <a:pt x="305" y="1396"/>
                  </a:lnTo>
                  <a:lnTo>
                    <a:pt x="310" y="1396"/>
                  </a:lnTo>
                  <a:lnTo>
                    <a:pt x="312" y="1398"/>
                  </a:lnTo>
                  <a:lnTo>
                    <a:pt x="314" y="1400"/>
                  </a:lnTo>
                  <a:lnTo>
                    <a:pt x="317" y="1400"/>
                  </a:lnTo>
                  <a:lnTo>
                    <a:pt x="319" y="1400"/>
                  </a:lnTo>
                  <a:lnTo>
                    <a:pt x="319" y="1403"/>
                  </a:lnTo>
                  <a:lnTo>
                    <a:pt x="319" y="1407"/>
                  </a:lnTo>
                  <a:lnTo>
                    <a:pt x="324" y="1410"/>
                  </a:lnTo>
                  <a:lnTo>
                    <a:pt x="328" y="1412"/>
                  </a:lnTo>
                  <a:lnTo>
                    <a:pt x="328" y="1414"/>
                  </a:lnTo>
                  <a:lnTo>
                    <a:pt x="331" y="1414"/>
                  </a:lnTo>
                  <a:lnTo>
                    <a:pt x="333" y="1417"/>
                  </a:lnTo>
                  <a:lnTo>
                    <a:pt x="336" y="1417"/>
                  </a:lnTo>
                  <a:lnTo>
                    <a:pt x="340" y="1419"/>
                  </a:lnTo>
                  <a:lnTo>
                    <a:pt x="340" y="1422"/>
                  </a:lnTo>
                  <a:lnTo>
                    <a:pt x="345" y="1422"/>
                  </a:lnTo>
                  <a:lnTo>
                    <a:pt x="345" y="1429"/>
                  </a:lnTo>
                  <a:lnTo>
                    <a:pt x="347" y="1431"/>
                  </a:lnTo>
                  <a:lnTo>
                    <a:pt x="350" y="1429"/>
                  </a:lnTo>
                  <a:lnTo>
                    <a:pt x="354" y="1431"/>
                  </a:lnTo>
                  <a:lnTo>
                    <a:pt x="357" y="1431"/>
                  </a:lnTo>
                  <a:lnTo>
                    <a:pt x="359" y="1429"/>
                  </a:lnTo>
                  <a:lnTo>
                    <a:pt x="359" y="1424"/>
                  </a:lnTo>
                  <a:lnTo>
                    <a:pt x="362" y="1422"/>
                  </a:lnTo>
                  <a:lnTo>
                    <a:pt x="364" y="1422"/>
                  </a:lnTo>
                  <a:lnTo>
                    <a:pt x="366" y="1419"/>
                  </a:lnTo>
                  <a:lnTo>
                    <a:pt x="366" y="1417"/>
                  </a:lnTo>
                  <a:lnTo>
                    <a:pt x="364" y="1414"/>
                  </a:lnTo>
                  <a:lnTo>
                    <a:pt x="362" y="1405"/>
                  </a:lnTo>
                  <a:lnTo>
                    <a:pt x="354" y="1396"/>
                  </a:lnTo>
                  <a:lnTo>
                    <a:pt x="352" y="1391"/>
                  </a:lnTo>
                  <a:lnTo>
                    <a:pt x="350" y="1386"/>
                  </a:lnTo>
                  <a:lnTo>
                    <a:pt x="350" y="1381"/>
                  </a:lnTo>
                  <a:lnTo>
                    <a:pt x="352" y="1372"/>
                  </a:lnTo>
                  <a:lnTo>
                    <a:pt x="352" y="1367"/>
                  </a:lnTo>
                  <a:lnTo>
                    <a:pt x="350" y="1374"/>
                  </a:lnTo>
                  <a:lnTo>
                    <a:pt x="347" y="1372"/>
                  </a:lnTo>
                  <a:lnTo>
                    <a:pt x="347" y="1367"/>
                  </a:lnTo>
                  <a:lnTo>
                    <a:pt x="345" y="1362"/>
                  </a:lnTo>
                  <a:lnTo>
                    <a:pt x="340" y="1355"/>
                  </a:lnTo>
                  <a:lnTo>
                    <a:pt x="338" y="1355"/>
                  </a:lnTo>
                  <a:lnTo>
                    <a:pt x="336" y="1351"/>
                  </a:lnTo>
                  <a:lnTo>
                    <a:pt x="338" y="1346"/>
                  </a:lnTo>
                  <a:lnTo>
                    <a:pt x="338" y="1344"/>
                  </a:lnTo>
                  <a:lnTo>
                    <a:pt x="343" y="1341"/>
                  </a:lnTo>
                  <a:lnTo>
                    <a:pt x="343" y="1341"/>
                  </a:lnTo>
                  <a:lnTo>
                    <a:pt x="343" y="1339"/>
                  </a:lnTo>
                  <a:lnTo>
                    <a:pt x="343" y="1337"/>
                  </a:lnTo>
                  <a:lnTo>
                    <a:pt x="347" y="1334"/>
                  </a:lnTo>
                  <a:lnTo>
                    <a:pt x="350" y="1322"/>
                  </a:lnTo>
                  <a:lnTo>
                    <a:pt x="352" y="1322"/>
                  </a:lnTo>
                  <a:lnTo>
                    <a:pt x="352" y="1318"/>
                  </a:lnTo>
                  <a:lnTo>
                    <a:pt x="352" y="1313"/>
                  </a:lnTo>
                  <a:lnTo>
                    <a:pt x="350" y="1308"/>
                  </a:lnTo>
                  <a:lnTo>
                    <a:pt x="354" y="1308"/>
                  </a:lnTo>
                  <a:lnTo>
                    <a:pt x="357" y="1308"/>
                  </a:lnTo>
                  <a:lnTo>
                    <a:pt x="357" y="1311"/>
                  </a:lnTo>
                  <a:lnTo>
                    <a:pt x="359" y="1315"/>
                  </a:lnTo>
                  <a:lnTo>
                    <a:pt x="359" y="1320"/>
                  </a:lnTo>
                  <a:lnTo>
                    <a:pt x="362" y="1320"/>
                  </a:lnTo>
                  <a:lnTo>
                    <a:pt x="364" y="1320"/>
                  </a:lnTo>
                  <a:lnTo>
                    <a:pt x="366" y="1320"/>
                  </a:lnTo>
                  <a:lnTo>
                    <a:pt x="369" y="1311"/>
                  </a:lnTo>
                  <a:lnTo>
                    <a:pt x="371" y="1308"/>
                  </a:lnTo>
                  <a:lnTo>
                    <a:pt x="369" y="1308"/>
                  </a:lnTo>
                  <a:lnTo>
                    <a:pt x="369" y="1306"/>
                  </a:lnTo>
                  <a:lnTo>
                    <a:pt x="366" y="1306"/>
                  </a:lnTo>
                  <a:lnTo>
                    <a:pt x="364" y="1306"/>
                  </a:lnTo>
                  <a:lnTo>
                    <a:pt x="362" y="1303"/>
                  </a:lnTo>
                  <a:lnTo>
                    <a:pt x="359" y="1301"/>
                  </a:lnTo>
                  <a:lnTo>
                    <a:pt x="362" y="1299"/>
                  </a:lnTo>
                  <a:lnTo>
                    <a:pt x="362" y="1296"/>
                  </a:lnTo>
                  <a:lnTo>
                    <a:pt x="364" y="1296"/>
                  </a:lnTo>
                  <a:lnTo>
                    <a:pt x="369" y="1299"/>
                  </a:lnTo>
                  <a:lnTo>
                    <a:pt x="371" y="1296"/>
                  </a:lnTo>
                  <a:lnTo>
                    <a:pt x="369" y="1280"/>
                  </a:lnTo>
                  <a:lnTo>
                    <a:pt x="366" y="1280"/>
                  </a:lnTo>
                  <a:lnTo>
                    <a:pt x="364" y="1277"/>
                  </a:lnTo>
                  <a:lnTo>
                    <a:pt x="364" y="1275"/>
                  </a:lnTo>
                  <a:lnTo>
                    <a:pt x="364" y="1273"/>
                  </a:lnTo>
                  <a:lnTo>
                    <a:pt x="362" y="1270"/>
                  </a:lnTo>
                  <a:lnTo>
                    <a:pt x="359" y="1270"/>
                  </a:lnTo>
                  <a:lnTo>
                    <a:pt x="352" y="1270"/>
                  </a:lnTo>
                  <a:lnTo>
                    <a:pt x="350" y="1270"/>
                  </a:lnTo>
                  <a:lnTo>
                    <a:pt x="350" y="1273"/>
                  </a:lnTo>
                  <a:lnTo>
                    <a:pt x="345" y="1268"/>
                  </a:lnTo>
                  <a:lnTo>
                    <a:pt x="345" y="1266"/>
                  </a:lnTo>
                  <a:lnTo>
                    <a:pt x="343" y="1263"/>
                  </a:lnTo>
                  <a:lnTo>
                    <a:pt x="345" y="1261"/>
                  </a:lnTo>
                  <a:lnTo>
                    <a:pt x="343" y="1259"/>
                  </a:lnTo>
                  <a:lnTo>
                    <a:pt x="343" y="1256"/>
                  </a:lnTo>
                  <a:lnTo>
                    <a:pt x="333" y="1254"/>
                  </a:lnTo>
                  <a:lnTo>
                    <a:pt x="338" y="1240"/>
                  </a:lnTo>
                  <a:lnTo>
                    <a:pt x="343" y="1237"/>
                  </a:lnTo>
                  <a:lnTo>
                    <a:pt x="343" y="1235"/>
                  </a:lnTo>
                  <a:lnTo>
                    <a:pt x="343" y="1233"/>
                  </a:lnTo>
                  <a:lnTo>
                    <a:pt x="338" y="1230"/>
                  </a:lnTo>
                  <a:lnTo>
                    <a:pt x="343" y="1216"/>
                  </a:lnTo>
                  <a:lnTo>
                    <a:pt x="345" y="1211"/>
                  </a:lnTo>
                  <a:lnTo>
                    <a:pt x="347" y="1211"/>
                  </a:lnTo>
                  <a:lnTo>
                    <a:pt x="347" y="1207"/>
                  </a:lnTo>
                  <a:lnTo>
                    <a:pt x="347" y="1204"/>
                  </a:lnTo>
                  <a:lnTo>
                    <a:pt x="347" y="1202"/>
                  </a:lnTo>
                  <a:lnTo>
                    <a:pt x="350" y="1200"/>
                  </a:lnTo>
                  <a:lnTo>
                    <a:pt x="350" y="1197"/>
                  </a:lnTo>
                  <a:lnTo>
                    <a:pt x="352" y="1200"/>
                  </a:lnTo>
                  <a:lnTo>
                    <a:pt x="354" y="1202"/>
                  </a:lnTo>
                  <a:lnTo>
                    <a:pt x="357" y="1204"/>
                  </a:lnTo>
                  <a:lnTo>
                    <a:pt x="364" y="1216"/>
                  </a:lnTo>
                  <a:lnTo>
                    <a:pt x="366" y="1218"/>
                  </a:lnTo>
                  <a:lnTo>
                    <a:pt x="373" y="1211"/>
                  </a:lnTo>
                  <a:lnTo>
                    <a:pt x="373" y="1209"/>
                  </a:lnTo>
                  <a:lnTo>
                    <a:pt x="373" y="1207"/>
                  </a:lnTo>
                  <a:lnTo>
                    <a:pt x="371" y="1200"/>
                  </a:lnTo>
                  <a:lnTo>
                    <a:pt x="369" y="1195"/>
                  </a:lnTo>
                  <a:lnTo>
                    <a:pt x="371" y="1195"/>
                  </a:lnTo>
                  <a:lnTo>
                    <a:pt x="373" y="1195"/>
                  </a:lnTo>
                  <a:lnTo>
                    <a:pt x="380" y="1190"/>
                  </a:lnTo>
                  <a:lnTo>
                    <a:pt x="383" y="1188"/>
                  </a:lnTo>
                  <a:lnTo>
                    <a:pt x="383" y="1188"/>
                  </a:lnTo>
                  <a:lnTo>
                    <a:pt x="385" y="1183"/>
                  </a:lnTo>
                  <a:lnTo>
                    <a:pt x="383" y="1181"/>
                  </a:lnTo>
                  <a:lnTo>
                    <a:pt x="387" y="1181"/>
                  </a:lnTo>
                  <a:lnTo>
                    <a:pt x="390" y="1181"/>
                  </a:lnTo>
                  <a:lnTo>
                    <a:pt x="392" y="1181"/>
                  </a:lnTo>
                  <a:lnTo>
                    <a:pt x="392" y="1178"/>
                  </a:lnTo>
                  <a:lnTo>
                    <a:pt x="395" y="1178"/>
                  </a:lnTo>
                  <a:lnTo>
                    <a:pt x="397" y="1176"/>
                  </a:lnTo>
                  <a:lnTo>
                    <a:pt x="399" y="1174"/>
                  </a:lnTo>
                  <a:lnTo>
                    <a:pt x="402" y="1174"/>
                  </a:lnTo>
                  <a:lnTo>
                    <a:pt x="404" y="1171"/>
                  </a:lnTo>
                  <a:lnTo>
                    <a:pt x="404" y="1169"/>
                  </a:lnTo>
                  <a:lnTo>
                    <a:pt x="406" y="1166"/>
                  </a:lnTo>
                  <a:lnTo>
                    <a:pt x="411" y="1166"/>
                  </a:lnTo>
                  <a:lnTo>
                    <a:pt x="416" y="1166"/>
                  </a:lnTo>
                  <a:lnTo>
                    <a:pt x="416" y="1169"/>
                  </a:lnTo>
                  <a:lnTo>
                    <a:pt x="418" y="1171"/>
                  </a:lnTo>
                  <a:lnTo>
                    <a:pt x="423" y="1169"/>
                  </a:lnTo>
                  <a:lnTo>
                    <a:pt x="423" y="1171"/>
                  </a:lnTo>
                  <a:lnTo>
                    <a:pt x="425" y="1169"/>
                  </a:lnTo>
                  <a:lnTo>
                    <a:pt x="425" y="1166"/>
                  </a:lnTo>
                  <a:lnTo>
                    <a:pt x="428" y="1164"/>
                  </a:lnTo>
                  <a:lnTo>
                    <a:pt x="430" y="1164"/>
                  </a:lnTo>
                  <a:lnTo>
                    <a:pt x="432" y="1164"/>
                  </a:lnTo>
                  <a:lnTo>
                    <a:pt x="435" y="1164"/>
                  </a:lnTo>
                  <a:lnTo>
                    <a:pt x="437" y="1169"/>
                  </a:lnTo>
                  <a:lnTo>
                    <a:pt x="439" y="1171"/>
                  </a:lnTo>
                  <a:lnTo>
                    <a:pt x="442" y="1169"/>
                  </a:lnTo>
                  <a:lnTo>
                    <a:pt x="444" y="1169"/>
                  </a:lnTo>
                  <a:lnTo>
                    <a:pt x="447" y="1171"/>
                  </a:lnTo>
                  <a:lnTo>
                    <a:pt x="451" y="1169"/>
                  </a:lnTo>
                  <a:lnTo>
                    <a:pt x="454" y="1169"/>
                  </a:lnTo>
                  <a:lnTo>
                    <a:pt x="456" y="1171"/>
                  </a:lnTo>
                  <a:lnTo>
                    <a:pt x="458" y="1174"/>
                  </a:lnTo>
                  <a:lnTo>
                    <a:pt x="458" y="1178"/>
                  </a:lnTo>
                  <a:lnTo>
                    <a:pt x="465" y="1181"/>
                  </a:lnTo>
                  <a:lnTo>
                    <a:pt x="468" y="1183"/>
                  </a:lnTo>
                  <a:lnTo>
                    <a:pt x="468" y="1185"/>
                  </a:lnTo>
                  <a:lnTo>
                    <a:pt x="473" y="1190"/>
                  </a:lnTo>
                  <a:lnTo>
                    <a:pt x="473" y="1192"/>
                  </a:lnTo>
                  <a:lnTo>
                    <a:pt x="473" y="1195"/>
                  </a:lnTo>
                  <a:lnTo>
                    <a:pt x="473" y="1197"/>
                  </a:lnTo>
                  <a:lnTo>
                    <a:pt x="475" y="1195"/>
                  </a:lnTo>
                  <a:lnTo>
                    <a:pt x="475" y="1192"/>
                  </a:lnTo>
                  <a:lnTo>
                    <a:pt x="475" y="1190"/>
                  </a:lnTo>
                  <a:lnTo>
                    <a:pt x="475" y="1188"/>
                  </a:lnTo>
                  <a:lnTo>
                    <a:pt x="475" y="1185"/>
                  </a:lnTo>
                  <a:lnTo>
                    <a:pt x="475" y="1183"/>
                  </a:lnTo>
                  <a:lnTo>
                    <a:pt x="477" y="1183"/>
                  </a:lnTo>
                  <a:lnTo>
                    <a:pt x="480" y="1185"/>
                  </a:lnTo>
                  <a:lnTo>
                    <a:pt x="482" y="1188"/>
                  </a:lnTo>
                  <a:lnTo>
                    <a:pt x="482" y="1190"/>
                  </a:lnTo>
                  <a:lnTo>
                    <a:pt x="484" y="1192"/>
                  </a:lnTo>
                  <a:lnTo>
                    <a:pt x="489" y="1195"/>
                  </a:lnTo>
                  <a:lnTo>
                    <a:pt x="494" y="1197"/>
                  </a:lnTo>
                  <a:lnTo>
                    <a:pt x="496" y="1195"/>
                  </a:lnTo>
                  <a:lnTo>
                    <a:pt x="503" y="1190"/>
                  </a:lnTo>
                  <a:lnTo>
                    <a:pt x="503" y="1188"/>
                  </a:lnTo>
                  <a:lnTo>
                    <a:pt x="506" y="1188"/>
                  </a:lnTo>
                  <a:lnTo>
                    <a:pt x="506" y="1185"/>
                  </a:lnTo>
                  <a:lnTo>
                    <a:pt x="508" y="1185"/>
                  </a:lnTo>
                  <a:lnTo>
                    <a:pt x="510" y="1185"/>
                  </a:lnTo>
                  <a:lnTo>
                    <a:pt x="513" y="1183"/>
                  </a:lnTo>
                  <a:lnTo>
                    <a:pt x="515" y="1183"/>
                  </a:lnTo>
                  <a:lnTo>
                    <a:pt x="517" y="1183"/>
                  </a:lnTo>
                  <a:lnTo>
                    <a:pt x="520" y="1183"/>
                  </a:lnTo>
                  <a:lnTo>
                    <a:pt x="520" y="1183"/>
                  </a:lnTo>
                  <a:lnTo>
                    <a:pt x="525" y="1188"/>
                  </a:lnTo>
                  <a:lnTo>
                    <a:pt x="529" y="1185"/>
                  </a:lnTo>
                  <a:lnTo>
                    <a:pt x="529" y="1183"/>
                  </a:lnTo>
                  <a:lnTo>
                    <a:pt x="536" y="1183"/>
                  </a:lnTo>
                  <a:lnTo>
                    <a:pt x="539" y="1181"/>
                  </a:lnTo>
                  <a:lnTo>
                    <a:pt x="543" y="1183"/>
                  </a:lnTo>
                  <a:lnTo>
                    <a:pt x="543" y="1185"/>
                  </a:lnTo>
                  <a:lnTo>
                    <a:pt x="543" y="1190"/>
                  </a:lnTo>
                  <a:lnTo>
                    <a:pt x="546" y="1192"/>
                  </a:lnTo>
                  <a:lnTo>
                    <a:pt x="548" y="1195"/>
                  </a:lnTo>
                  <a:lnTo>
                    <a:pt x="553" y="1195"/>
                  </a:lnTo>
                  <a:lnTo>
                    <a:pt x="558" y="1195"/>
                  </a:lnTo>
                  <a:lnTo>
                    <a:pt x="558" y="1195"/>
                  </a:lnTo>
                  <a:lnTo>
                    <a:pt x="558" y="1197"/>
                  </a:lnTo>
                  <a:lnTo>
                    <a:pt x="565" y="1197"/>
                  </a:lnTo>
                  <a:lnTo>
                    <a:pt x="567" y="1197"/>
                  </a:lnTo>
                  <a:lnTo>
                    <a:pt x="569" y="1192"/>
                  </a:lnTo>
                  <a:lnTo>
                    <a:pt x="569" y="1190"/>
                  </a:lnTo>
                  <a:lnTo>
                    <a:pt x="572" y="1190"/>
                  </a:lnTo>
                  <a:lnTo>
                    <a:pt x="576" y="1195"/>
                  </a:lnTo>
                  <a:lnTo>
                    <a:pt x="581" y="1195"/>
                  </a:lnTo>
                  <a:lnTo>
                    <a:pt x="586" y="1195"/>
                  </a:lnTo>
                  <a:lnTo>
                    <a:pt x="588" y="1192"/>
                  </a:lnTo>
                  <a:lnTo>
                    <a:pt x="593" y="1190"/>
                  </a:lnTo>
                  <a:lnTo>
                    <a:pt x="595" y="1178"/>
                  </a:lnTo>
                  <a:lnTo>
                    <a:pt x="598" y="1176"/>
                  </a:lnTo>
                  <a:lnTo>
                    <a:pt x="595" y="1174"/>
                  </a:lnTo>
                  <a:lnTo>
                    <a:pt x="595" y="1174"/>
                  </a:lnTo>
                  <a:lnTo>
                    <a:pt x="591" y="1174"/>
                  </a:lnTo>
                  <a:lnTo>
                    <a:pt x="586" y="1171"/>
                  </a:lnTo>
                  <a:lnTo>
                    <a:pt x="584" y="1169"/>
                  </a:lnTo>
                  <a:lnTo>
                    <a:pt x="584" y="1169"/>
                  </a:lnTo>
                  <a:lnTo>
                    <a:pt x="576" y="1166"/>
                  </a:lnTo>
                  <a:lnTo>
                    <a:pt x="574" y="1166"/>
                  </a:lnTo>
                  <a:lnTo>
                    <a:pt x="576" y="1164"/>
                  </a:lnTo>
                  <a:lnTo>
                    <a:pt x="574" y="1162"/>
                  </a:lnTo>
                  <a:lnTo>
                    <a:pt x="569" y="1159"/>
                  </a:lnTo>
                  <a:lnTo>
                    <a:pt x="569" y="1157"/>
                  </a:lnTo>
                  <a:lnTo>
                    <a:pt x="572" y="1157"/>
                  </a:lnTo>
                  <a:lnTo>
                    <a:pt x="576" y="1155"/>
                  </a:lnTo>
                  <a:lnTo>
                    <a:pt x="581" y="1152"/>
                  </a:lnTo>
                  <a:lnTo>
                    <a:pt x="586" y="1150"/>
                  </a:lnTo>
                  <a:lnTo>
                    <a:pt x="586" y="1148"/>
                  </a:lnTo>
                  <a:lnTo>
                    <a:pt x="586" y="1145"/>
                  </a:lnTo>
                  <a:lnTo>
                    <a:pt x="581" y="1136"/>
                  </a:lnTo>
                  <a:lnTo>
                    <a:pt x="584" y="1136"/>
                  </a:lnTo>
                  <a:lnTo>
                    <a:pt x="586" y="1133"/>
                  </a:lnTo>
                  <a:lnTo>
                    <a:pt x="586" y="1131"/>
                  </a:lnTo>
                  <a:lnTo>
                    <a:pt x="588" y="1129"/>
                  </a:lnTo>
                  <a:lnTo>
                    <a:pt x="591" y="1129"/>
                  </a:lnTo>
                  <a:lnTo>
                    <a:pt x="593" y="1129"/>
                  </a:lnTo>
                  <a:lnTo>
                    <a:pt x="595" y="1129"/>
                  </a:lnTo>
                  <a:lnTo>
                    <a:pt x="598" y="1129"/>
                  </a:lnTo>
                  <a:lnTo>
                    <a:pt x="602" y="1129"/>
                  </a:lnTo>
                  <a:lnTo>
                    <a:pt x="605" y="1129"/>
                  </a:lnTo>
                  <a:lnTo>
                    <a:pt x="607" y="1126"/>
                  </a:lnTo>
                  <a:lnTo>
                    <a:pt x="605" y="1124"/>
                  </a:lnTo>
                  <a:lnTo>
                    <a:pt x="600" y="1122"/>
                  </a:lnTo>
                  <a:lnTo>
                    <a:pt x="591" y="1119"/>
                  </a:lnTo>
                  <a:lnTo>
                    <a:pt x="588" y="1117"/>
                  </a:lnTo>
                  <a:lnTo>
                    <a:pt x="588" y="1114"/>
                  </a:lnTo>
                  <a:lnTo>
                    <a:pt x="593" y="1114"/>
                  </a:lnTo>
                  <a:lnTo>
                    <a:pt x="595" y="1114"/>
                  </a:lnTo>
                  <a:lnTo>
                    <a:pt x="595" y="1112"/>
                  </a:lnTo>
                  <a:lnTo>
                    <a:pt x="593" y="1110"/>
                  </a:lnTo>
                  <a:lnTo>
                    <a:pt x="591" y="1112"/>
                  </a:lnTo>
                  <a:lnTo>
                    <a:pt x="586" y="1112"/>
                  </a:lnTo>
                  <a:lnTo>
                    <a:pt x="586" y="1107"/>
                  </a:lnTo>
                  <a:lnTo>
                    <a:pt x="588" y="1105"/>
                  </a:lnTo>
                  <a:lnTo>
                    <a:pt x="588" y="1105"/>
                  </a:lnTo>
                  <a:lnTo>
                    <a:pt x="586" y="1100"/>
                  </a:lnTo>
                  <a:lnTo>
                    <a:pt x="591" y="1100"/>
                  </a:lnTo>
                  <a:lnTo>
                    <a:pt x="591" y="1098"/>
                  </a:lnTo>
                  <a:lnTo>
                    <a:pt x="595" y="1098"/>
                  </a:lnTo>
                  <a:lnTo>
                    <a:pt x="595" y="1100"/>
                  </a:lnTo>
                  <a:lnTo>
                    <a:pt x="598" y="1100"/>
                  </a:lnTo>
                  <a:lnTo>
                    <a:pt x="600" y="1100"/>
                  </a:lnTo>
                  <a:lnTo>
                    <a:pt x="602" y="1100"/>
                  </a:lnTo>
                  <a:lnTo>
                    <a:pt x="612" y="1100"/>
                  </a:lnTo>
                  <a:lnTo>
                    <a:pt x="612" y="1103"/>
                  </a:lnTo>
                  <a:lnTo>
                    <a:pt x="617" y="1098"/>
                  </a:lnTo>
                  <a:lnTo>
                    <a:pt x="619" y="1098"/>
                  </a:lnTo>
                  <a:lnTo>
                    <a:pt x="624" y="1098"/>
                  </a:lnTo>
                  <a:lnTo>
                    <a:pt x="626" y="1096"/>
                  </a:lnTo>
                  <a:lnTo>
                    <a:pt x="628" y="1096"/>
                  </a:lnTo>
                  <a:lnTo>
                    <a:pt x="633" y="1091"/>
                  </a:lnTo>
                  <a:lnTo>
                    <a:pt x="636" y="1093"/>
                  </a:lnTo>
                  <a:lnTo>
                    <a:pt x="636" y="1093"/>
                  </a:lnTo>
                  <a:lnTo>
                    <a:pt x="640" y="1093"/>
                  </a:lnTo>
                  <a:lnTo>
                    <a:pt x="640" y="1091"/>
                  </a:lnTo>
                  <a:lnTo>
                    <a:pt x="645" y="1091"/>
                  </a:lnTo>
                  <a:lnTo>
                    <a:pt x="647" y="1088"/>
                  </a:lnTo>
                  <a:lnTo>
                    <a:pt x="650" y="1088"/>
                  </a:lnTo>
                  <a:lnTo>
                    <a:pt x="652" y="1088"/>
                  </a:lnTo>
                  <a:lnTo>
                    <a:pt x="654" y="1088"/>
                  </a:lnTo>
                  <a:lnTo>
                    <a:pt x="657" y="1088"/>
                  </a:lnTo>
                  <a:lnTo>
                    <a:pt x="659" y="1086"/>
                  </a:lnTo>
                  <a:lnTo>
                    <a:pt x="659" y="1084"/>
                  </a:lnTo>
                  <a:lnTo>
                    <a:pt x="659" y="1081"/>
                  </a:lnTo>
                  <a:lnTo>
                    <a:pt x="662" y="1079"/>
                  </a:lnTo>
                  <a:lnTo>
                    <a:pt x="664" y="1079"/>
                  </a:lnTo>
                  <a:lnTo>
                    <a:pt x="666" y="1081"/>
                  </a:lnTo>
                  <a:lnTo>
                    <a:pt x="673" y="1079"/>
                  </a:lnTo>
                  <a:lnTo>
                    <a:pt x="673" y="1079"/>
                  </a:lnTo>
                  <a:lnTo>
                    <a:pt x="685" y="1077"/>
                  </a:lnTo>
                  <a:lnTo>
                    <a:pt x="695" y="1074"/>
                  </a:lnTo>
                  <a:lnTo>
                    <a:pt x="704" y="1072"/>
                  </a:lnTo>
                  <a:lnTo>
                    <a:pt x="706" y="1070"/>
                  </a:lnTo>
                  <a:lnTo>
                    <a:pt x="709" y="1070"/>
                  </a:lnTo>
                  <a:lnTo>
                    <a:pt x="711" y="1070"/>
                  </a:lnTo>
                  <a:lnTo>
                    <a:pt x="713" y="1067"/>
                  </a:lnTo>
                  <a:lnTo>
                    <a:pt x="713" y="1065"/>
                  </a:lnTo>
                  <a:lnTo>
                    <a:pt x="713" y="1063"/>
                  </a:lnTo>
                  <a:lnTo>
                    <a:pt x="716" y="1063"/>
                  </a:lnTo>
                  <a:lnTo>
                    <a:pt x="718" y="1063"/>
                  </a:lnTo>
                  <a:lnTo>
                    <a:pt x="718" y="1060"/>
                  </a:lnTo>
                  <a:lnTo>
                    <a:pt x="721" y="1058"/>
                  </a:lnTo>
                  <a:lnTo>
                    <a:pt x="723" y="1058"/>
                  </a:lnTo>
                  <a:lnTo>
                    <a:pt x="725" y="1055"/>
                  </a:lnTo>
                  <a:lnTo>
                    <a:pt x="728" y="1055"/>
                  </a:lnTo>
                  <a:lnTo>
                    <a:pt x="730" y="1058"/>
                  </a:lnTo>
                  <a:lnTo>
                    <a:pt x="732" y="1058"/>
                  </a:lnTo>
                  <a:lnTo>
                    <a:pt x="735" y="1058"/>
                  </a:lnTo>
                  <a:lnTo>
                    <a:pt x="737" y="1058"/>
                  </a:lnTo>
                  <a:lnTo>
                    <a:pt x="739" y="1060"/>
                  </a:lnTo>
                  <a:lnTo>
                    <a:pt x="742" y="1060"/>
                  </a:lnTo>
                  <a:lnTo>
                    <a:pt x="747" y="1065"/>
                  </a:lnTo>
                  <a:lnTo>
                    <a:pt x="747" y="1063"/>
                  </a:lnTo>
                  <a:lnTo>
                    <a:pt x="749" y="1060"/>
                  </a:lnTo>
                  <a:lnTo>
                    <a:pt x="754" y="1060"/>
                  </a:lnTo>
                  <a:lnTo>
                    <a:pt x="758" y="1060"/>
                  </a:lnTo>
                  <a:lnTo>
                    <a:pt x="758" y="1063"/>
                  </a:lnTo>
                  <a:lnTo>
                    <a:pt x="761" y="1065"/>
                  </a:lnTo>
                  <a:lnTo>
                    <a:pt x="761" y="1070"/>
                  </a:lnTo>
                  <a:lnTo>
                    <a:pt x="761" y="1072"/>
                  </a:lnTo>
                  <a:lnTo>
                    <a:pt x="761" y="1077"/>
                  </a:lnTo>
                  <a:lnTo>
                    <a:pt x="765" y="1079"/>
                  </a:lnTo>
                  <a:lnTo>
                    <a:pt x="763" y="1081"/>
                  </a:lnTo>
                  <a:lnTo>
                    <a:pt x="763" y="1086"/>
                  </a:lnTo>
                  <a:lnTo>
                    <a:pt x="763" y="1088"/>
                  </a:lnTo>
                  <a:lnTo>
                    <a:pt x="761" y="1091"/>
                  </a:lnTo>
                  <a:lnTo>
                    <a:pt x="763" y="1093"/>
                  </a:lnTo>
                  <a:lnTo>
                    <a:pt x="763" y="1096"/>
                  </a:lnTo>
                  <a:lnTo>
                    <a:pt x="768" y="1093"/>
                  </a:lnTo>
                  <a:lnTo>
                    <a:pt x="770" y="1096"/>
                  </a:lnTo>
                  <a:lnTo>
                    <a:pt x="773" y="1096"/>
                  </a:lnTo>
                  <a:lnTo>
                    <a:pt x="775" y="1093"/>
                  </a:lnTo>
                  <a:lnTo>
                    <a:pt x="777" y="1093"/>
                  </a:lnTo>
                  <a:lnTo>
                    <a:pt x="780" y="1093"/>
                  </a:lnTo>
                  <a:lnTo>
                    <a:pt x="780" y="1091"/>
                  </a:lnTo>
                  <a:lnTo>
                    <a:pt x="780" y="1088"/>
                  </a:lnTo>
                  <a:lnTo>
                    <a:pt x="782" y="1088"/>
                  </a:lnTo>
                  <a:lnTo>
                    <a:pt x="782" y="1091"/>
                  </a:lnTo>
                  <a:lnTo>
                    <a:pt x="784" y="1093"/>
                  </a:lnTo>
                  <a:lnTo>
                    <a:pt x="784" y="1096"/>
                  </a:lnTo>
                  <a:lnTo>
                    <a:pt x="784" y="1098"/>
                  </a:lnTo>
                  <a:lnTo>
                    <a:pt x="784" y="1100"/>
                  </a:lnTo>
                  <a:lnTo>
                    <a:pt x="789" y="1100"/>
                  </a:lnTo>
                  <a:lnTo>
                    <a:pt x="789" y="1098"/>
                  </a:lnTo>
                  <a:lnTo>
                    <a:pt x="787" y="1096"/>
                  </a:lnTo>
                  <a:lnTo>
                    <a:pt x="789" y="1096"/>
                  </a:lnTo>
                  <a:lnTo>
                    <a:pt x="794" y="1096"/>
                  </a:lnTo>
                  <a:lnTo>
                    <a:pt x="796" y="1098"/>
                  </a:lnTo>
                  <a:lnTo>
                    <a:pt x="799" y="1100"/>
                  </a:lnTo>
                  <a:lnTo>
                    <a:pt x="801" y="1100"/>
                  </a:lnTo>
                  <a:lnTo>
                    <a:pt x="803" y="1100"/>
                  </a:lnTo>
                  <a:lnTo>
                    <a:pt x="806" y="1098"/>
                  </a:lnTo>
                  <a:lnTo>
                    <a:pt x="806" y="1098"/>
                  </a:lnTo>
                  <a:lnTo>
                    <a:pt x="808" y="1100"/>
                  </a:lnTo>
                  <a:lnTo>
                    <a:pt x="808" y="1103"/>
                  </a:lnTo>
                  <a:lnTo>
                    <a:pt x="806" y="1103"/>
                  </a:lnTo>
                  <a:lnTo>
                    <a:pt x="803" y="1105"/>
                  </a:lnTo>
                  <a:lnTo>
                    <a:pt x="801" y="1107"/>
                  </a:lnTo>
                  <a:lnTo>
                    <a:pt x="801" y="1110"/>
                  </a:lnTo>
                  <a:lnTo>
                    <a:pt x="801" y="1112"/>
                  </a:lnTo>
                  <a:lnTo>
                    <a:pt x="803" y="1114"/>
                  </a:lnTo>
                  <a:lnTo>
                    <a:pt x="806" y="1114"/>
                  </a:lnTo>
                  <a:lnTo>
                    <a:pt x="806" y="1112"/>
                  </a:lnTo>
                  <a:lnTo>
                    <a:pt x="810" y="1110"/>
                  </a:lnTo>
                  <a:lnTo>
                    <a:pt x="813" y="1112"/>
                  </a:lnTo>
                  <a:lnTo>
                    <a:pt x="815" y="1112"/>
                  </a:lnTo>
                  <a:lnTo>
                    <a:pt x="817" y="1112"/>
                  </a:lnTo>
                  <a:lnTo>
                    <a:pt x="820" y="1112"/>
                  </a:lnTo>
                  <a:lnTo>
                    <a:pt x="820" y="1110"/>
                  </a:lnTo>
                  <a:lnTo>
                    <a:pt x="822" y="1107"/>
                  </a:lnTo>
                  <a:lnTo>
                    <a:pt x="825" y="1107"/>
                  </a:lnTo>
                  <a:lnTo>
                    <a:pt x="827" y="1105"/>
                  </a:lnTo>
                  <a:lnTo>
                    <a:pt x="832" y="1103"/>
                  </a:lnTo>
                  <a:lnTo>
                    <a:pt x="836" y="1100"/>
                  </a:lnTo>
                  <a:lnTo>
                    <a:pt x="839" y="1096"/>
                  </a:lnTo>
                  <a:lnTo>
                    <a:pt x="841" y="1093"/>
                  </a:lnTo>
                  <a:lnTo>
                    <a:pt x="843" y="1093"/>
                  </a:lnTo>
                  <a:lnTo>
                    <a:pt x="848" y="1093"/>
                  </a:lnTo>
                  <a:lnTo>
                    <a:pt x="850" y="1093"/>
                  </a:lnTo>
                  <a:lnTo>
                    <a:pt x="850" y="1091"/>
                  </a:lnTo>
                  <a:lnTo>
                    <a:pt x="858" y="1088"/>
                  </a:lnTo>
                  <a:lnTo>
                    <a:pt x="860" y="1086"/>
                  </a:lnTo>
                  <a:lnTo>
                    <a:pt x="862" y="1088"/>
                  </a:lnTo>
                  <a:lnTo>
                    <a:pt x="862" y="1091"/>
                  </a:lnTo>
                  <a:lnTo>
                    <a:pt x="860" y="1093"/>
                  </a:lnTo>
                  <a:lnTo>
                    <a:pt x="858" y="1096"/>
                  </a:lnTo>
                  <a:lnTo>
                    <a:pt x="855" y="1096"/>
                  </a:lnTo>
                  <a:lnTo>
                    <a:pt x="855" y="1098"/>
                  </a:lnTo>
                  <a:close/>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8" name="Freeform 610">
              <a:extLst>
                <a:ext uri="{FF2B5EF4-FFF2-40B4-BE49-F238E27FC236}">
                  <a16:creationId xmlns:a16="http://schemas.microsoft.com/office/drawing/2014/main" id="{2B138B60-9A57-4569-B51E-ED7123B89124}"/>
                </a:ext>
              </a:extLst>
            </p:cNvPr>
            <p:cNvSpPr>
              <a:spLocks/>
            </p:cNvSpPr>
            <p:nvPr/>
          </p:nvSpPr>
          <p:spPr bwMode="auto">
            <a:xfrm>
              <a:off x="2729753" y="3221003"/>
              <a:ext cx="393699" cy="269875"/>
            </a:xfrm>
            <a:custGeom>
              <a:avLst/>
              <a:gdLst>
                <a:gd name="T0" fmla="*/ 78 w 248"/>
                <a:gd name="T1" fmla="*/ 31 h 170"/>
                <a:gd name="T2" fmla="*/ 80 w 248"/>
                <a:gd name="T3" fmla="*/ 19 h 170"/>
                <a:gd name="T4" fmla="*/ 92 w 248"/>
                <a:gd name="T5" fmla="*/ 14 h 170"/>
                <a:gd name="T6" fmla="*/ 97 w 248"/>
                <a:gd name="T7" fmla="*/ 7 h 170"/>
                <a:gd name="T8" fmla="*/ 102 w 248"/>
                <a:gd name="T9" fmla="*/ 7 h 170"/>
                <a:gd name="T10" fmla="*/ 106 w 248"/>
                <a:gd name="T11" fmla="*/ 3 h 170"/>
                <a:gd name="T12" fmla="*/ 121 w 248"/>
                <a:gd name="T13" fmla="*/ 12 h 170"/>
                <a:gd name="T14" fmla="*/ 132 w 248"/>
                <a:gd name="T15" fmla="*/ 17 h 170"/>
                <a:gd name="T16" fmla="*/ 135 w 248"/>
                <a:gd name="T17" fmla="*/ 24 h 170"/>
                <a:gd name="T18" fmla="*/ 132 w 248"/>
                <a:gd name="T19" fmla="*/ 33 h 170"/>
                <a:gd name="T20" fmla="*/ 147 w 248"/>
                <a:gd name="T21" fmla="*/ 38 h 170"/>
                <a:gd name="T22" fmla="*/ 158 w 248"/>
                <a:gd name="T23" fmla="*/ 36 h 170"/>
                <a:gd name="T24" fmla="*/ 168 w 248"/>
                <a:gd name="T25" fmla="*/ 45 h 170"/>
                <a:gd name="T26" fmla="*/ 173 w 248"/>
                <a:gd name="T27" fmla="*/ 55 h 170"/>
                <a:gd name="T28" fmla="*/ 177 w 248"/>
                <a:gd name="T29" fmla="*/ 69 h 170"/>
                <a:gd name="T30" fmla="*/ 208 w 248"/>
                <a:gd name="T31" fmla="*/ 88 h 170"/>
                <a:gd name="T32" fmla="*/ 227 w 248"/>
                <a:gd name="T33" fmla="*/ 104 h 170"/>
                <a:gd name="T34" fmla="*/ 241 w 248"/>
                <a:gd name="T35" fmla="*/ 106 h 170"/>
                <a:gd name="T36" fmla="*/ 246 w 248"/>
                <a:gd name="T37" fmla="*/ 114 h 170"/>
                <a:gd name="T38" fmla="*/ 246 w 248"/>
                <a:gd name="T39" fmla="*/ 125 h 170"/>
                <a:gd name="T40" fmla="*/ 234 w 248"/>
                <a:gd name="T41" fmla="*/ 121 h 170"/>
                <a:gd name="T42" fmla="*/ 229 w 248"/>
                <a:gd name="T43" fmla="*/ 125 h 170"/>
                <a:gd name="T44" fmla="*/ 220 w 248"/>
                <a:gd name="T45" fmla="*/ 128 h 170"/>
                <a:gd name="T46" fmla="*/ 215 w 248"/>
                <a:gd name="T47" fmla="*/ 132 h 170"/>
                <a:gd name="T48" fmla="*/ 210 w 248"/>
                <a:gd name="T49" fmla="*/ 144 h 170"/>
                <a:gd name="T50" fmla="*/ 203 w 248"/>
                <a:gd name="T51" fmla="*/ 151 h 170"/>
                <a:gd name="T52" fmla="*/ 191 w 248"/>
                <a:gd name="T53" fmla="*/ 156 h 170"/>
                <a:gd name="T54" fmla="*/ 189 w 248"/>
                <a:gd name="T55" fmla="*/ 161 h 170"/>
                <a:gd name="T56" fmla="*/ 184 w 248"/>
                <a:gd name="T57" fmla="*/ 168 h 170"/>
                <a:gd name="T58" fmla="*/ 173 w 248"/>
                <a:gd name="T59" fmla="*/ 170 h 170"/>
                <a:gd name="T60" fmla="*/ 165 w 248"/>
                <a:gd name="T61" fmla="*/ 166 h 170"/>
                <a:gd name="T62" fmla="*/ 156 w 248"/>
                <a:gd name="T63" fmla="*/ 163 h 170"/>
                <a:gd name="T64" fmla="*/ 154 w 248"/>
                <a:gd name="T65" fmla="*/ 142 h 170"/>
                <a:gd name="T66" fmla="*/ 130 w 248"/>
                <a:gd name="T67" fmla="*/ 132 h 170"/>
                <a:gd name="T68" fmla="*/ 118 w 248"/>
                <a:gd name="T69" fmla="*/ 121 h 170"/>
                <a:gd name="T70" fmla="*/ 104 w 248"/>
                <a:gd name="T71" fmla="*/ 118 h 170"/>
                <a:gd name="T72" fmla="*/ 80 w 248"/>
                <a:gd name="T73" fmla="*/ 104 h 170"/>
                <a:gd name="T74" fmla="*/ 66 w 248"/>
                <a:gd name="T75" fmla="*/ 109 h 170"/>
                <a:gd name="T76" fmla="*/ 52 w 248"/>
                <a:gd name="T77" fmla="*/ 109 h 170"/>
                <a:gd name="T78" fmla="*/ 26 w 248"/>
                <a:gd name="T79" fmla="*/ 123 h 170"/>
                <a:gd name="T80" fmla="*/ 24 w 248"/>
                <a:gd name="T81" fmla="*/ 99 h 170"/>
                <a:gd name="T82" fmla="*/ 21 w 248"/>
                <a:gd name="T83" fmla="*/ 85 h 170"/>
                <a:gd name="T84" fmla="*/ 21 w 248"/>
                <a:gd name="T85" fmla="*/ 76 h 170"/>
                <a:gd name="T86" fmla="*/ 17 w 248"/>
                <a:gd name="T87" fmla="*/ 71 h 170"/>
                <a:gd name="T88" fmla="*/ 24 w 248"/>
                <a:gd name="T89" fmla="*/ 66 h 170"/>
                <a:gd name="T90" fmla="*/ 7 w 248"/>
                <a:gd name="T91" fmla="*/ 69 h 170"/>
                <a:gd name="T92" fmla="*/ 7 w 248"/>
                <a:gd name="T93" fmla="*/ 50 h 170"/>
                <a:gd name="T94" fmla="*/ 17 w 248"/>
                <a:gd name="T95" fmla="*/ 50 h 170"/>
                <a:gd name="T96" fmla="*/ 36 w 248"/>
                <a:gd name="T97" fmla="*/ 50 h 170"/>
                <a:gd name="T98" fmla="*/ 40 w 248"/>
                <a:gd name="T99" fmla="*/ 40 h 170"/>
                <a:gd name="T100" fmla="*/ 21 w 248"/>
                <a:gd name="T101" fmla="*/ 19 h 170"/>
                <a:gd name="T102" fmla="*/ 7 w 248"/>
                <a:gd name="T103" fmla="*/ 24 h 170"/>
                <a:gd name="T104" fmla="*/ 7 w 248"/>
                <a:gd name="T105" fmla="*/ 38 h 170"/>
                <a:gd name="T106" fmla="*/ 10 w 248"/>
                <a:gd name="T107" fmla="*/ 17 h 170"/>
                <a:gd name="T108" fmla="*/ 28 w 248"/>
                <a:gd name="T109" fmla="*/ 10 h 170"/>
                <a:gd name="T110" fmla="*/ 40 w 248"/>
                <a:gd name="T111" fmla="*/ 19 h 170"/>
                <a:gd name="T112" fmla="*/ 47 w 248"/>
                <a:gd name="T113" fmla="*/ 3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8" h="170">
                  <a:moveTo>
                    <a:pt x="62" y="36"/>
                  </a:moveTo>
                  <a:lnTo>
                    <a:pt x="78" y="38"/>
                  </a:lnTo>
                  <a:lnTo>
                    <a:pt x="80" y="36"/>
                  </a:lnTo>
                  <a:lnTo>
                    <a:pt x="78" y="31"/>
                  </a:lnTo>
                  <a:lnTo>
                    <a:pt x="80" y="29"/>
                  </a:lnTo>
                  <a:lnTo>
                    <a:pt x="78" y="24"/>
                  </a:lnTo>
                  <a:lnTo>
                    <a:pt x="78" y="21"/>
                  </a:lnTo>
                  <a:lnTo>
                    <a:pt x="80" y="19"/>
                  </a:lnTo>
                  <a:lnTo>
                    <a:pt x="83" y="17"/>
                  </a:lnTo>
                  <a:lnTo>
                    <a:pt x="85" y="17"/>
                  </a:lnTo>
                  <a:lnTo>
                    <a:pt x="88" y="14"/>
                  </a:lnTo>
                  <a:lnTo>
                    <a:pt x="92" y="14"/>
                  </a:lnTo>
                  <a:lnTo>
                    <a:pt x="95" y="14"/>
                  </a:lnTo>
                  <a:lnTo>
                    <a:pt x="95" y="12"/>
                  </a:lnTo>
                  <a:lnTo>
                    <a:pt x="95" y="10"/>
                  </a:lnTo>
                  <a:lnTo>
                    <a:pt x="97" y="7"/>
                  </a:lnTo>
                  <a:lnTo>
                    <a:pt x="102" y="12"/>
                  </a:lnTo>
                  <a:lnTo>
                    <a:pt x="104" y="12"/>
                  </a:lnTo>
                  <a:lnTo>
                    <a:pt x="104" y="10"/>
                  </a:lnTo>
                  <a:lnTo>
                    <a:pt x="102" y="7"/>
                  </a:lnTo>
                  <a:lnTo>
                    <a:pt x="99" y="5"/>
                  </a:lnTo>
                  <a:lnTo>
                    <a:pt x="102" y="5"/>
                  </a:lnTo>
                  <a:lnTo>
                    <a:pt x="104" y="5"/>
                  </a:lnTo>
                  <a:lnTo>
                    <a:pt x="106" y="3"/>
                  </a:lnTo>
                  <a:lnTo>
                    <a:pt x="106" y="0"/>
                  </a:lnTo>
                  <a:lnTo>
                    <a:pt x="113" y="7"/>
                  </a:lnTo>
                  <a:lnTo>
                    <a:pt x="118" y="10"/>
                  </a:lnTo>
                  <a:lnTo>
                    <a:pt x="121" y="12"/>
                  </a:lnTo>
                  <a:lnTo>
                    <a:pt x="123" y="14"/>
                  </a:lnTo>
                  <a:lnTo>
                    <a:pt x="125" y="12"/>
                  </a:lnTo>
                  <a:lnTo>
                    <a:pt x="130" y="14"/>
                  </a:lnTo>
                  <a:lnTo>
                    <a:pt x="132" y="17"/>
                  </a:lnTo>
                  <a:lnTo>
                    <a:pt x="130" y="19"/>
                  </a:lnTo>
                  <a:lnTo>
                    <a:pt x="130" y="21"/>
                  </a:lnTo>
                  <a:lnTo>
                    <a:pt x="132" y="24"/>
                  </a:lnTo>
                  <a:lnTo>
                    <a:pt x="135" y="24"/>
                  </a:lnTo>
                  <a:lnTo>
                    <a:pt x="132" y="24"/>
                  </a:lnTo>
                  <a:lnTo>
                    <a:pt x="132" y="29"/>
                  </a:lnTo>
                  <a:lnTo>
                    <a:pt x="132" y="31"/>
                  </a:lnTo>
                  <a:lnTo>
                    <a:pt x="132" y="33"/>
                  </a:lnTo>
                  <a:lnTo>
                    <a:pt x="135" y="36"/>
                  </a:lnTo>
                  <a:lnTo>
                    <a:pt x="139" y="38"/>
                  </a:lnTo>
                  <a:lnTo>
                    <a:pt x="144" y="38"/>
                  </a:lnTo>
                  <a:lnTo>
                    <a:pt x="147" y="38"/>
                  </a:lnTo>
                  <a:lnTo>
                    <a:pt x="154" y="40"/>
                  </a:lnTo>
                  <a:lnTo>
                    <a:pt x="156" y="38"/>
                  </a:lnTo>
                  <a:lnTo>
                    <a:pt x="156" y="36"/>
                  </a:lnTo>
                  <a:lnTo>
                    <a:pt x="158" y="36"/>
                  </a:lnTo>
                  <a:lnTo>
                    <a:pt x="161" y="36"/>
                  </a:lnTo>
                  <a:lnTo>
                    <a:pt x="165" y="40"/>
                  </a:lnTo>
                  <a:lnTo>
                    <a:pt x="165" y="43"/>
                  </a:lnTo>
                  <a:lnTo>
                    <a:pt x="168" y="45"/>
                  </a:lnTo>
                  <a:lnTo>
                    <a:pt x="168" y="50"/>
                  </a:lnTo>
                  <a:lnTo>
                    <a:pt x="168" y="52"/>
                  </a:lnTo>
                  <a:lnTo>
                    <a:pt x="170" y="52"/>
                  </a:lnTo>
                  <a:lnTo>
                    <a:pt x="173" y="55"/>
                  </a:lnTo>
                  <a:lnTo>
                    <a:pt x="175" y="59"/>
                  </a:lnTo>
                  <a:lnTo>
                    <a:pt x="175" y="62"/>
                  </a:lnTo>
                  <a:lnTo>
                    <a:pt x="175" y="66"/>
                  </a:lnTo>
                  <a:lnTo>
                    <a:pt x="177" y="69"/>
                  </a:lnTo>
                  <a:lnTo>
                    <a:pt x="194" y="78"/>
                  </a:lnTo>
                  <a:lnTo>
                    <a:pt x="201" y="85"/>
                  </a:lnTo>
                  <a:lnTo>
                    <a:pt x="203" y="88"/>
                  </a:lnTo>
                  <a:lnTo>
                    <a:pt x="208" y="88"/>
                  </a:lnTo>
                  <a:lnTo>
                    <a:pt x="213" y="92"/>
                  </a:lnTo>
                  <a:lnTo>
                    <a:pt x="217" y="97"/>
                  </a:lnTo>
                  <a:lnTo>
                    <a:pt x="225" y="104"/>
                  </a:lnTo>
                  <a:lnTo>
                    <a:pt x="227" y="104"/>
                  </a:lnTo>
                  <a:lnTo>
                    <a:pt x="229" y="106"/>
                  </a:lnTo>
                  <a:lnTo>
                    <a:pt x="232" y="104"/>
                  </a:lnTo>
                  <a:lnTo>
                    <a:pt x="234" y="104"/>
                  </a:lnTo>
                  <a:lnTo>
                    <a:pt x="241" y="106"/>
                  </a:lnTo>
                  <a:lnTo>
                    <a:pt x="243" y="109"/>
                  </a:lnTo>
                  <a:lnTo>
                    <a:pt x="246" y="109"/>
                  </a:lnTo>
                  <a:lnTo>
                    <a:pt x="248" y="111"/>
                  </a:lnTo>
                  <a:lnTo>
                    <a:pt x="246" y="114"/>
                  </a:lnTo>
                  <a:lnTo>
                    <a:pt x="246" y="116"/>
                  </a:lnTo>
                  <a:lnTo>
                    <a:pt x="246" y="121"/>
                  </a:lnTo>
                  <a:lnTo>
                    <a:pt x="246" y="123"/>
                  </a:lnTo>
                  <a:lnTo>
                    <a:pt x="246" y="125"/>
                  </a:lnTo>
                  <a:lnTo>
                    <a:pt x="246" y="125"/>
                  </a:lnTo>
                  <a:lnTo>
                    <a:pt x="241" y="125"/>
                  </a:lnTo>
                  <a:lnTo>
                    <a:pt x="236" y="125"/>
                  </a:lnTo>
                  <a:lnTo>
                    <a:pt x="234" y="121"/>
                  </a:lnTo>
                  <a:lnTo>
                    <a:pt x="232" y="121"/>
                  </a:lnTo>
                  <a:lnTo>
                    <a:pt x="229" y="121"/>
                  </a:lnTo>
                  <a:lnTo>
                    <a:pt x="229" y="123"/>
                  </a:lnTo>
                  <a:lnTo>
                    <a:pt x="229" y="125"/>
                  </a:lnTo>
                  <a:lnTo>
                    <a:pt x="227" y="128"/>
                  </a:lnTo>
                  <a:lnTo>
                    <a:pt x="227" y="128"/>
                  </a:lnTo>
                  <a:lnTo>
                    <a:pt x="222" y="128"/>
                  </a:lnTo>
                  <a:lnTo>
                    <a:pt x="220" y="128"/>
                  </a:lnTo>
                  <a:lnTo>
                    <a:pt x="217" y="128"/>
                  </a:lnTo>
                  <a:lnTo>
                    <a:pt x="215" y="130"/>
                  </a:lnTo>
                  <a:lnTo>
                    <a:pt x="215" y="130"/>
                  </a:lnTo>
                  <a:lnTo>
                    <a:pt x="215" y="132"/>
                  </a:lnTo>
                  <a:lnTo>
                    <a:pt x="215" y="132"/>
                  </a:lnTo>
                  <a:lnTo>
                    <a:pt x="213" y="140"/>
                  </a:lnTo>
                  <a:lnTo>
                    <a:pt x="213" y="140"/>
                  </a:lnTo>
                  <a:lnTo>
                    <a:pt x="210" y="144"/>
                  </a:lnTo>
                  <a:lnTo>
                    <a:pt x="210" y="147"/>
                  </a:lnTo>
                  <a:lnTo>
                    <a:pt x="210" y="147"/>
                  </a:lnTo>
                  <a:lnTo>
                    <a:pt x="206" y="151"/>
                  </a:lnTo>
                  <a:lnTo>
                    <a:pt x="203" y="151"/>
                  </a:lnTo>
                  <a:lnTo>
                    <a:pt x="201" y="154"/>
                  </a:lnTo>
                  <a:lnTo>
                    <a:pt x="199" y="154"/>
                  </a:lnTo>
                  <a:lnTo>
                    <a:pt x="196" y="156"/>
                  </a:lnTo>
                  <a:lnTo>
                    <a:pt x="191" y="156"/>
                  </a:lnTo>
                  <a:lnTo>
                    <a:pt x="189" y="158"/>
                  </a:lnTo>
                  <a:lnTo>
                    <a:pt x="187" y="158"/>
                  </a:lnTo>
                  <a:lnTo>
                    <a:pt x="187" y="158"/>
                  </a:lnTo>
                  <a:lnTo>
                    <a:pt x="189" y="161"/>
                  </a:lnTo>
                  <a:lnTo>
                    <a:pt x="187" y="163"/>
                  </a:lnTo>
                  <a:lnTo>
                    <a:pt x="187" y="163"/>
                  </a:lnTo>
                  <a:lnTo>
                    <a:pt x="184" y="168"/>
                  </a:lnTo>
                  <a:lnTo>
                    <a:pt x="184" y="168"/>
                  </a:lnTo>
                  <a:lnTo>
                    <a:pt x="182" y="168"/>
                  </a:lnTo>
                  <a:lnTo>
                    <a:pt x="180" y="170"/>
                  </a:lnTo>
                  <a:lnTo>
                    <a:pt x="175" y="170"/>
                  </a:lnTo>
                  <a:lnTo>
                    <a:pt x="173" y="170"/>
                  </a:lnTo>
                  <a:lnTo>
                    <a:pt x="170" y="170"/>
                  </a:lnTo>
                  <a:lnTo>
                    <a:pt x="170" y="168"/>
                  </a:lnTo>
                  <a:lnTo>
                    <a:pt x="168" y="168"/>
                  </a:lnTo>
                  <a:lnTo>
                    <a:pt x="165" y="166"/>
                  </a:lnTo>
                  <a:lnTo>
                    <a:pt x="161" y="168"/>
                  </a:lnTo>
                  <a:lnTo>
                    <a:pt x="158" y="166"/>
                  </a:lnTo>
                  <a:lnTo>
                    <a:pt x="158" y="166"/>
                  </a:lnTo>
                  <a:lnTo>
                    <a:pt x="156" y="163"/>
                  </a:lnTo>
                  <a:lnTo>
                    <a:pt x="154" y="163"/>
                  </a:lnTo>
                  <a:lnTo>
                    <a:pt x="154" y="158"/>
                  </a:lnTo>
                  <a:lnTo>
                    <a:pt x="154" y="154"/>
                  </a:lnTo>
                  <a:lnTo>
                    <a:pt x="154" y="142"/>
                  </a:lnTo>
                  <a:lnTo>
                    <a:pt x="151" y="142"/>
                  </a:lnTo>
                  <a:lnTo>
                    <a:pt x="144" y="142"/>
                  </a:lnTo>
                  <a:lnTo>
                    <a:pt x="137" y="137"/>
                  </a:lnTo>
                  <a:lnTo>
                    <a:pt x="130" y="132"/>
                  </a:lnTo>
                  <a:lnTo>
                    <a:pt x="125" y="130"/>
                  </a:lnTo>
                  <a:lnTo>
                    <a:pt x="123" y="128"/>
                  </a:lnTo>
                  <a:lnTo>
                    <a:pt x="121" y="123"/>
                  </a:lnTo>
                  <a:lnTo>
                    <a:pt x="118" y="121"/>
                  </a:lnTo>
                  <a:lnTo>
                    <a:pt x="116" y="118"/>
                  </a:lnTo>
                  <a:lnTo>
                    <a:pt x="111" y="118"/>
                  </a:lnTo>
                  <a:lnTo>
                    <a:pt x="109" y="118"/>
                  </a:lnTo>
                  <a:lnTo>
                    <a:pt x="104" y="118"/>
                  </a:lnTo>
                  <a:lnTo>
                    <a:pt x="99" y="116"/>
                  </a:lnTo>
                  <a:lnTo>
                    <a:pt x="88" y="111"/>
                  </a:lnTo>
                  <a:lnTo>
                    <a:pt x="85" y="106"/>
                  </a:lnTo>
                  <a:lnTo>
                    <a:pt x="80" y="104"/>
                  </a:lnTo>
                  <a:lnTo>
                    <a:pt x="73" y="104"/>
                  </a:lnTo>
                  <a:lnTo>
                    <a:pt x="69" y="104"/>
                  </a:lnTo>
                  <a:lnTo>
                    <a:pt x="69" y="106"/>
                  </a:lnTo>
                  <a:lnTo>
                    <a:pt x="66" y="109"/>
                  </a:lnTo>
                  <a:lnTo>
                    <a:pt x="64" y="109"/>
                  </a:lnTo>
                  <a:lnTo>
                    <a:pt x="59" y="106"/>
                  </a:lnTo>
                  <a:lnTo>
                    <a:pt x="57" y="106"/>
                  </a:lnTo>
                  <a:lnTo>
                    <a:pt x="52" y="109"/>
                  </a:lnTo>
                  <a:lnTo>
                    <a:pt x="47" y="111"/>
                  </a:lnTo>
                  <a:lnTo>
                    <a:pt x="36" y="121"/>
                  </a:lnTo>
                  <a:lnTo>
                    <a:pt x="28" y="123"/>
                  </a:lnTo>
                  <a:lnTo>
                    <a:pt x="26" y="123"/>
                  </a:lnTo>
                  <a:lnTo>
                    <a:pt x="26" y="123"/>
                  </a:lnTo>
                  <a:lnTo>
                    <a:pt x="26" y="121"/>
                  </a:lnTo>
                  <a:lnTo>
                    <a:pt x="24" y="109"/>
                  </a:lnTo>
                  <a:lnTo>
                    <a:pt x="24" y="99"/>
                  </a:lnTo>
                  <a:lnTo>
                    <a:pt x="24" y="92"/>
                  </a:lnTo>
                  <a:lnTo>
                    <a:pt x="28" y="88"/>
                  </a:lnTo>
                  <a:lnTo>
                    <a:pt x="24" y="88"/>
                  </a:lnTo>
                  <a:lnTo>
                    <a:pt x="21" y="85"/>
                  </a:lnTo>
                  <a:lnTo>
                    <a:pt x="19" y="81"/>
                  </a:lnTo>
                  <a:lnTo>
                    <a:pt x="17" y="81"/>
                  </a:lnTo>
                  <a:lnTo>
                    <a:pt x="17" y="81"/>
                  </a:lnTo>
                  <a:lnTo>
                    <a:pt x="21" y="76"/>
                  </a:lnTo>
                  <a:lnTo>
                    <a:pt x="24" y="76"/>
                  </a:lnTo>
                  <a:lnTo>
                    <a:pt x="21" y="73"/>
                  </a:lnTo>
                  <a:lnTo>
                    <a:pt x="19" y="73"/>
                  </a:lnTo>
                  <a:lnTo>
                    <a:pt x="17" y="71"/>
                  </a:lnTo>
                  <a:lnTo>
                    <a:pt x="19" y="66"/>
                  </a:lnTo>
                  <a:lnTo>
                    <a:pt x="21" y="69"/>
                  </a:lnTo>
                  <a:lnTo>
                    <a:pt x="24" y="71"/>
                  </a:lnTo>
                  <a:lnTo>
                    <a:pt x="24" y="66"/>
                  </a:lnTo>
                  <a:lnTo>
                    <a:pt x="17" y="64"/>
                  </a:lnTo>
                  <a:lnTo>
                    <a:pt x="12" y="66"/>
                  </a:lnTo>
                  <a:lnTo>
                    <a:pt x="10" y="69"/>
                  </a:lnTo>
                  <a:lnTo>
                    <a:pt x="7" y="69"/>
                  </a:lnTo>
                  <a:lnTo>
                    <a:pt x="5" y="59"/>
                  </a:lnTo>
                  <a:lnTo>
                    <a:pt x="5" y="55"/>
                  </a:lnTo>
                  <a:lnTo>
                    <a:pt x="7" y="50"/>
                  </a:lnTo>
                  <a:lnTo>
                    <a:pt x="7" y="50"/>
                  </a:lnTo>
                  <a:lnTo>
                    <a:pt x="7" y="40"/>
                  </a:lnTo>
                  <a:lnTo>
                    <a:pt x="10" y="45"/>
                  </a:lnTo>
                  <a:lnTo>
                    <a:pt x="10" y="50"/>
                  </a:lnTo>
                  <a:lnTo>
                    <a:pt x="17" y="50"/>
                  </a:lnTo>
                  <a:lnTo>
                    <a:pt x="24" y="50"/>
                  </a:lnTo>
                  <a:lnTo>
                    <a:pt x="26" y="50"/>
                  </a:lnTo>
                  <a:lnTo>
                    <a:pt x="31" y="52"/>
                  </a:lnTo>
                  <a:lnTo>
                    <a:pt x="36" y="50"/>
                  </a:lnTo>
                  <a:lnTo>
                    <a:pt x="31" y="50"/>
                  </a:lnTo>
                  <a:lnTo>
                    <a:pt x="31" y="47"/>
                  </a:lnTo>
                  <a:lnTo>
                    <a:pt x="36" y="47"/>
                  </a:lnTo>
                  <a:lnTo>
                    <a:pt x="40" y="40"/>
                  </a:lnTo>
                  <a:lnTo>
                    <a:pt x="33" y="36"/>
                  </a:lnTo>
                  <a:lnTo>
                    <a:pt x="28" y="31"/>
                  </a:lnTo>
                  <a:lnTo>
                    <a:pt x="26" y="24"/>
                  </a:lnTo>
                  <a:lnTo>
                    <a:pt x="21" y="19"/>
                  </a:lnTo>
                  <a:lnTo>
                    <a:pt x="21" y="19"/>
                  </a:lnTo>
                  <a:lnTo>
                    <a:pt x="19" y="19"/>
                  </a:lnTo>
                  <a:lnTo>
                    <a:pt x="12" y="21"/>
                  </a:lnTo>
                  <a:lnTo>
                    <a:pt x="7" y="24"/>
                  </a:lnTo>
                  <a:lnTo>
                    <a:pt x="5" y="26"/>
                  </a:lnTo>
                  <a:lnTo>
                    <a:pt x="5" y="31"/>
                  </a:lnTo>
                  <a:lnTo>
                    <a:pt x="5" y="31"/>
                  </a:lnTo>
                  <a:lnTo>
                    <a:pt x="7" y="38"/>
                  </a:lnTo>
                  <a:lnTo>
                    <a:pt x="5" y="38"/>
                  </a:lnTo>
                  <a:lnTo>
                    <a:pt x="0" y="31"/>
                  </a:lnTo>
                  <a:lnTo>
                    <a:pt x="0" y="24"/>
                  </a:lnTo>
                  <a:lnTo>
                    <a:pt x="10" y="17"/>
                  </a:lnTo>
                  <a:lnTo>
                    <a:pt x="17" y="14"/>
                  </a:lnTo>
                  <a:lnTo>
                    <a:pt x="24" y="12"/>
                  </a:lnTo>
                  <a:lnTo>
                    <a:pt x="26" y="10"/>
                  </a:lnTo>
                  <a:lnTo>
                    <a:pt x="28" y="10"/>
                  </a:lnTo>
                  <a:lnTo>
                    <a:pt x="31" y="12"/>
                  </a:lnTo>
                  <a:lnTo>
                    <a:pt x="33" y="14"/>
                  </a:lnTo>
                  <a:lnTo>
                    <a:pt x="38" y="17"/>
                  </a:lnTo>
                  <a:lnTo>
                    <a:pt x="40" y="19"/>
                  </a:lnTo>
                  <a:lnTo>
                    <a:pt x="43" y="24"/>
                  </a:lnTo>
                  <a:lnTo>
                    <a:pt x="45" y="24"/>
                  </a:lnTo>
                  <a:lnTo>
                    <a:pt x="45" y="26"/>
                  </a:lnTo>
                  <a:lnTo>
                    <a:pt x="47" y="33"/>
                  </a:lnTo>
                  <a:lnTo>
                    <a:pt x="52" y="36"/>
                  </a:lnTo>
                  <a:lnTo>
                    <a:pt x="57" y="36"/>
                  </a:lnTo>
                  <a:lnTo>
                    <a:pt x="62" y="3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69" name="Freeform 611">
              <a:extLst>
                <a:ext uri="{FF2B5EF4-FFF2-40B4-BE49-F238E27FC236}">
                  <a16:creationId xmlns:a16="http://schemas.microsoft.com/office/drawing/2014/main" id="{73B66492-AECC-44C7-B534-C63129A6686A}"/>
                </a:ext>
              </a:extLst>
            </p:cNvPr>
            <p:cNvSpPr>
              <a:spLocks/>
            </p:cNvSpPr>
            <p:nvPr/>
          </p:nvSpPr>
          <p:spPr bwMode="auto">
            <a:xfrm>
              <a:off x="2729753" y="3221003"/>
              <a:ext cx="393699" cy="269875"/>
            </a:xfrm>
            <a:custGeom>
              <a:avLst/>
              <a:gdLst>
                <a:gd name="T0" fmla="*/ 78 w 248"/>
                <a:gd name="T1" fmla="*/ 31 h 170"/>
                <a:gd name="T2" fmla="*/ 80 w 248"/>
                <a:gd name="T3" fmla="*/ 19 h 170"/>
                <a:gd name="T4" fmla="*/ 92 w 248"/>
                <a:gd name="T5" fmla="*/ 14 h 170"/>
                <a:gd name="T6" fmla="*/ 97 w 248"/>
                <a:gd name="T7" fmla="*/ 7 h 170"/>
                <a:gd name="T8" fmla="*/ 102 w 248"/>
                <a:gd name="T9" fmla="*/ 7 h 170"/>
                <a:gd name="T10" fmla="*/ 106 w 248"/>
                <a:gd name="T11" fmla="*/ 3 h 170"/>
                <a:gd name="T12" fmla="*/ 121 w 248"/>
                <a:gd name="T13" fmla="*/ 12 h 170"/>
                <a:gd name="T14" fmla="*/ 132 w 248"/>
                <a:gd name="T15" fmla="*/ 17 h 170"/>
                <a:gd name="T16" fmla="*/ 135 w 248"/>
                <a:gd name="T17" fmla="*/ 24 h 170"/>
                <a:gd name="T18" fmla="*/ 132 w 248"/>
                <a:gd name="T19" fmla="*/ 33 h 170"/>
                <a:gd name="T20" fmla="*/ 147 w 248"/>
                <a:gd name="T21" fmla="*/ 38 h 170"/>
                <a:gd name="T22" fmla="*/ 158 w 248"/>
                <a:gd name="T23" fmla="*/ 36 h 170"/>
                <a:gd name="T24" fmla="*/ 168 w 248"/>
                <a:gd name="T25" fmla="*/ 45 h 170"/>
                <a:gd name="T26" fmla="*/ 173 w 248"/>
                <a:gd name="T27" fmla="*/ 55 h 170"/>
                <a:gd name="T28" fmla="*/ 177 w 248"/>
                <a:gd name="T29" fmla="*/ 69 h 170"/>
                <a:gd name="T30" fmla="*/ 208 w 248"/>
                <a:gd name="T31" fmla="*/ 88 h 170"/>
                <a:gd name="T32" fmla="*/ 227 w 248"/>
                <a:gd name="T33" fmla="*/ 104 h 170"/>
                <a:gd name="T34" fmla="*/ 241 w 248"/>
                <a:gd name="T35" fmla="*/ 106 h 170"/>
                <a:gd name="T36" fmla="*/ 246 w 248"/>
                <a:gd name="T37" fmla="*/ 114 h 170"/>
                <a:gd name="T38" fmla="*/ 246 w 248"/>
                <a:gd name="T39" fmla="*/ 125 h 170"/>
                <a:gd name="T40" fmla="*/ 234 w 248"/>
                <a:gd name="T41" fmla="*/ 121 h 170"/>
                <a:gd name="T42" fmla="*/ 229 w 248"/>
                <a:gd name="T43" fmla="*/ 125 h 170"/>
                <a:gd name="T44" fmla="*/ 220 w 248"/>
                <a:gd name="T45" fmla="*/ 128 h 170"/>
                <a:gd name="T46" fmla="*/ 215 w 248"/>
                <a:gd name="T47" fmla="*/ 132 h 170"/>
                <a:gd name="T48" fmla="*/ 210 w 248"/>
                <a:gd name="T49" fmla="*/ 144 h 170"/>
                <a:gd name="T50" fmla="*/ 203 w 248"/>
                <a:gd name="T51" fmla="*/ 151 h 170"/>
                <a:gd name="T52" fmla="*/ 191 w 248"/>
                <a:gd name="T53" fmla="*/ 156 h 170"/>
                <a:gd name="T54" fmla="*/ 189 w 248"/>
                <a:gd name="T55" fmla="*/ 161 h 170"/>
                <a:gd name="T56" fmla="*/ 184 w 248"/>
                <a:gd name="T57" fmla="*/ 168 h 170"/>
                <a:gd name="T58" fmla="*/ 173 w 248"/>
                <a:gd name="T59" fmla="*/ 170 h 170"/>
                <a:gd name="T60" fmla="*/ 165 w 248"/>
                <a:gd name="T61" fmla="*/ 166 h 170"/>
                <a:gd name="T62" fmla="*/ 156 w 248"/>
                <a:gd name="T63" fmla="*/ 163 h 170"/>
                <a:gd name="T64" fmla="*/ 154 w 248"/>
                <a:gd name="T65" fmla="*/ 142 h 170"/>
                <a:gd name="T66" fmla="*/ 130 w 248"/>
                <a:gd name="T67" fmla="*/ 132 h 170"/>
                <a:gd name="T68" fmla="*/ 118 w 248"/>
                <a:gd name="T69" fmla="*/ 121 h 170"/>
                <a:gd name="T70" fmla="*/ 104 w 248"/>
                <a:gd name="T71" fmla="*/ 118 h 170"/>
                <a:gd name="T72" fmla="*/ 80 w 248"/>
                <a:gd name="T73" fmla="*/ 104 h 170"/>
                <a:gd name="T74" fmla="*/ 66 w 248"/>
                <a:gd name="T75" fmla="*/ 109 h 170"/>
                <a:gd name="T76" fmla="*/ 52 w 248"/>
                <a:gd name="T77" fmla="*/ 109 h 170"/>
                <a:gd name="T78" fmla="*/ 26 w 248"/>
                <a:gd name="T79" fmla="*/ 123 h 170"/>
                <a:gd name="T80" fmla="*/ 24 w 248"/>
                <a:gd name="T81" fmla="*/ 99 h 170"/>
                <a:gd name="T82" fmla="*/ 21 w 248"/>
                <a:gd name="T83" fmla="*/ 85 h 170"/>
                <a:gd name="T84" fmla="*/ 21 w 248"/>
                <a:gd name="T85" fmla="*/ 76 h 170"/>
                <a:gd name="T86" fmla="*/ 17 w 248"/>
                <a:gd name="T87" fmla="*/ 71 h 170"/>
                <a:gd name="T88" fmla="*/ 24 w 248"/>
                <a:gd name="T89" fmla="*/ 66 h 170"/>
                <a:gd name="T90" fmla="*/ 7 w 248"/>
                <a:gd name="T91" fmla="*/ 69 h 170"/>
                <a:gd name="T92" fmla="*/ 7 w 248"/>
                <a:gd name="T93" fmla="*/ 50 h 170"/>
                <a:gd name="T94" fmla="*/ 17 w 248"/>
                <a:gd name="T95" fmla="*/ 50 h 170"/>
                <a:gd name="T96" fmla="*/ 36 w 248"/>
                <a:gd name="T97" fmla="*/ 50 h 170"/>
                <a:gd name="T98" fmla="*/ 40 w 248"/>
                <a:gd name="T99" fmla="*/ 40 h 170"/>
                <a:gd name="T100" fmla="*/ 21 w 248"/>
                <a:gd name="T101" fmla="*/ 19 h 170"/>
                <a:gd name="T102" fmla="*/ 7 w 248"/>
                <a:gd name="T103" fmla="*/ 24 h 170"/>
                <a:gd name="T104" fmla="*/ 7 w 248"/>
                <a:gd name="T105" fmla="*/ 38 h 170"/>
                <a:gd name="T106" fmla="*/ 10 w 248"/>
                <a:gd name="T107" fmla="*/ 17 h 170"/>
                <a:gd name="T108" fmla="*/ 28 w 248"/>
                <a:gd name="T109" fmla="*/ 10 h 170"/>
                <a:gd name="T110" fmla="*/ 40 w 248"/>
                <a:gd name="T111" fmla="*/ 19 h 170"/>
                <a:gd name="T112" fmla="*/ 47 w 248"/>
                <a:gd name="T113" fmla="*/ 3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8" h="170">
                  <a:moveTo>
                    <a:pt x="62" y="36"/>
                  </a:moveTo>
                  <a:lnTo>
                    <a:pt x="78" y="38"/>
                  </a:lnTo>
                  <a:lnTo>
                    <a:pt x="80" y="36"/>
                  </a:lnTo>
                  <a:lnTo>
                    <a:pt x="78" y="31"/>
                  </a:lnTo>
                  <a:lnTo>
                    <a:pt x="80" y="29"/>
                  </a:lnTo>
                  <a:lnTo>
                    <a:pt x="78" y="24"/>
                  </a:lnTo>
                  <a:lnTo>
                    <a:pt x="78" y="21"/>
                  </a:lnTo>
                  <a:lnTo>
                    <a:pt x="80" y="19"/>
                  </a:lnTo>
                  <a:lnTo>
                    <a:pt x="83" y="17"/>
                  </a:lnTo>
                  <a:lnTo>
                    <a:pt x="85" y="17"/>
                  </a:lnTo>
                  <a:lnTo>
                    <a:pt x="88" y="14"/>
                  </a:lnTo>
                  <a:lnTo>
                    <a:pt x="92" y="14"/>
                  </a:lnTo>
                  <a:lnTo>
                    <a:pt x="95" y="14"/>
                  </a:lnTo>
                  <a:lnTo>
                    <a:pt x="95" y="12"/>
                  </a:lnTo>
                  <a:lnTo>
                    <a:pt x="95" y="10"/>
                  </a:lnTo>
                  <a:lnTo>
                    <a:pt x="97" y="7"/>
                  </a:lnTo>
                  <a:lnTo>
                    <a:pt x="102" y="12"/>
                  </a:lnTo>
                  <a:lnTo>
                    <a:pt x="104" y="12"/>
                  </a:lnTo>
                  <a:lnTo>
                    <a:pt x="104" y="10"/>
                  </a:lnTo>
                  <a:lnTo>
                    <a:pt x="102" y="7"/>
                  </a:lnTo>
                  <a:lnTo>
                    <a:pt x="99" y="5"/>
                  </a:lnTo>
                  <a:lnTo>
                    <a:pt x="102" y="5"/>
                  </a:lnTo>
                  <a:lnTo>
                    <a:pt x="104" y="5"/>
                  </a:lnTo>
                  <a:lnTo>
                    <a:pt x="106" y="3"/>
                  </a:lnTo>
                  <a:lnTo>
                    <a:pt x="106" y="0"/>
                  </a:lnTo>
                  <a:lnTo>
                    <a:pt x="113" y="7"/>
                  </a:lnTo>
                  <a:lnTo>
                    <a:pt x="118" y="10"/>
                  </a:lnTo>
                  <a:lnTo>
                    <a:pt x="121" y="12"/>
                  </a:lnTo>
                  <a:lnTo>
                    <a:pt x="123" y="14"/>
                  </a:lnTo>
                  <a:lnTo>
                    <a:pt x="125" y="12"/>
                  </a:lnTo>
                  <a:lnTo>
                    <a:pt x="130" y="14"/>
                  </a:lnTo>
                  <a:lnTo>
                    <a:pt x="132" y="17"/>
                  </a:lnTo>
                  <a:lnTo>
                    <a:pt x="130" y="19"/>
                  </a:lnTo>
                  <a:lnTo>
                    <a:pt x="130" y="21"/>
                  </a:lnTo>
                  <a:lnTo>
                    <a:pt x="132" y="24"/>
                  </a:lnTo>
                  <a:lnTo>
                    <a:pt x="135" y="24"/>
                  </a:lnTo>
                  <a:lnTo>
                    <a:pt x="132" y="24"/>
                  </a:lnTo>
                  <a:lnTo>
                    <a:pt x="132" y="29"/>
                  </a:lnTo>
                  <a:lnTo>
                    <a:pt x="132" y="31"/>
                  </a:lnTo>
                  <a:lnTo>
                    <a:pt x="132" y="33"/>
                  </a:lnTo>
                  <a:lnTo>
                    <a:pt x="135" y="36"/>
                  </a:lnTo>
                  <a:lnTo>
                    <a:pt x="139" y="38"/>
                  </a:lnTo>
                  <a:lnTo>
                    <a:pt x="144" y="38"/>
                  </a:lnTo>
                  <a:lnTo>
                    <a:pt x="147" y="38"/>
                  </a:lnTo>
                  <a:lnTo>
                    <a:pt x="154" y="40"/>
                  </a:lnTo>
                  <a:lnTo>
                    <a:pt x="156" y="38"/>
                  </a:lnTo>
                  <a:lnTo>
                    <a:pt x="156" y="36"/>
                  </a:lnTo>
                  <a:lnTo>
                    <a:pt x="158" y="36"/>
                  </a:lnTo>
                  <a:lnTo>
                    <a:pt x="161" y="36"/>
                  </a:lnTo>
                  <a:lnTo>
                    <a:pt x="165" y="40"/>
                  </a:lnTo>
                  <a:lnTo>
                    <a:pt x="165" y="43"/>
                  </a:lnTo>
                  <a:lnTo>
                    <a:pt x="168" y="45"/>
                  </a:lnTo>
                  <a:lnTo>
                    <a:pt x="168" y="50"/>
                  </a:lnTo>
                  <a:lnTo>
                    <a:pt x="168" y="52"/>
                  </a:lnTo>
                  <a:lnTo>
                    <a:pt x="170" y="52"/>
                  </a:lnTo>
                  <a:lnTo>
                    <a:pt x="173" y="55"/>
                  </a:lnTo>
                  <a:lnTo>
                    <a:pt x="175" y="59"/>
                  </a:lnTo>
                  <a:lnTo>
                    <a:pt x="175" y="62"/>
                  </a:lnTo>
                  <a:lnTo>
                    <a:pt x="175" y="66"/>
                  </a:lnTo>
                  <a:lnTo>
                    <a:pt x="177" y="69"/>
                  </a:lnTo>
                  <a:lnTo>
                    <a:pt x="194" y="78"/>
                  </a:lnTo>
                  <a:lnTo>
                    <a:pt x="201" y="85"/>
                  </a:lnTo>
                  <a:lnTo>
                    <a:pt x="203" y="88"/>
                  </a:lnTo>
                  <a:lnTo>
                    <a:pt x="208" y="88"/>
                  </a:lnTo>
                  <a:lnTo>
                    <a:pt x="213" y="92"/>
                  </a:lnTo>
                  <a:lnTo>
                    <a:pt x="217" y="97"/>
                  </a:lnTo>
                  <a:lnTo>
                    <a:pt x="225" y="104"/>
                  </a:lnTo>
                  <a:lnTo>
                    <a:pt x="227" y="104"/>
                  </a:lnTo>
                  <a:lnTo>
                    <a:pt x="229" y="106"/>
                  </a:lnTo>
                  <a:lnTo>
                    <a:pt x="232" y="104"/>
                  </a:lnTo>
                  <a:lnTo>
                    <a:pt x="234" y="104"/>
                  </a:lnTo>
                  <a:lnTo>
                    <a:pt x="241" y="106"/>
                  </a:lnTo>
                  <a:lnTo>
                    <a:pt x="243" y="109"/>
                  </a:lnTo>
                  <a:lnTo>
                    <a:pt x="246" y="109"/>
                  </a:lnTo>
                  <a:lnTo>
                    <a:pt x="248" y="111"/>
                  </a:lnTo>
                  <a:lnTo>
                    <a:pt x="246" y="114"/>
                  </a:lnTo>
                  <a:lnTo>
                    <a:pt x="246" y="116"/>
                  </a:lnTo>
                  <a:lnTo>
                    <a:pt x="246" y="121"/>
                  </a:lnTo>
                  <a:lnTo>
                    <a:pt x="246" y="123"/>
                  </a:lnTo>
                  <a:lnTo>
                    <a:pt x="246" y="125"/>
                  </a:lnTo>
                  <a:lnTo>
                    <a:pt x="246" y="125"/>
                  </a:lnTo>
                  <a:lnTo>
                    <a:pt x="241" y="125"/>
                  </a:lnTo>
                  <a:lnTo>
                    <a:pt x="236" y="125"/>
                  </a:lnTo>
                  <a:lnTo>
                    <a:pt x="234" y="121"/>
                  </a:lnTo>
                  <a:lnTo>
                    <a:pt x="232" y="121"/>
                  </a:lnTo>
                  <a:lnTo>
                    <a:pt x="229" y="121"/>
                  </a:lnTo>
                  <a:lnTo>
                    <a:pt x="229" y="123"/>
                  </a:lnTo>
                  <a:lnTo>
                    <a:pt x="229" y="125"/>
                  </a:lnTo>
                  <a:lnTo>
                    <a:pt x="227" y="128"/>
                  </a:lnTo>
                  <a:lnTo>
                    <a:pt x="227" y="128"/>
                  </a:lnTo>
                  <a:lnTo>
                    <a:pt x="222" y="128"/>
                  </a:lnTo>
                  <a:lnTo>
                    <a:pt x="220" y="128"/>
                  </a:lnTo>
                  <a:lnTo>
                    <a:pt x="217" y="128"/>
                  </a:lnTo>
                  <a:lnTo>
                    <a:pt x="215" y="130"/>
                  </a:lnTo>
                  <a:lnTo>
                    <a:pt x="215" y="130"/>
                  </a:lnTo>
                  <a:lnTo>
                    <a:pt x="215" y="132"/>
                  </a:lnTo>
                  <a:lnTo>
                    <a:pt x="215" y="132"/>
                  </a:lnTo>
                  <a:lnTo>
                    <a:pt x="213" y="140"/>
                  </a:lnTo>
                  <a:lnTo>
                    <a:pt x="213" y="140"/>
                  </a:lnTo>
                  <a:lnTo>
                    <a:pt x="210" y="144"/>
                  </a:lnTo>
                  <a:lnTo>
                    <a:pt x="210" y="147"/>
                  </a:lnTo>
                  <a:lnTo>
                    <a:pt x="210" y="147"/>
                  </a:lnTo>
                  <a:lnTo>
                    <a:pt x="206" y="151"/>
                  </a:lnTo>
                  <a:lnTo>
                    <a:pt x="203" y="151"/>
                  </a:lnTo>
                  <a:lnTo>
                    <a:pt x="201" y="154"/>
                  </a:lnTo>
                  <a:lnTo>
                    <a:pt x="199" y="154"/>
                  </a:lnTo>
                  <a:lnTo>
                    <a:pt x="196" y="156"/>
                  </a:lnTo>
                  <a:lnTo>
                    <a:pt x="191" y="156"/>
                  </a:lnTo>
                  <a:lnTo>
                    <a:pt x="189" y="158"/>
                  </a:lnTo>
                  <a:lnTo>
                    <a:pt x="187" y="158"/>
                  </a:lnTo>
                  <a:lnTo>
                    <a:pt x="187" y="158"/>
                  </a:lnTo>
                  <a:lnTo>
                    <a:pt x="189" y="161"/>
                  </a:lnTo>
                  <a:lnTo>
                    <a:pt x="187" y="163"/>
                  </a:lnTo>
                  <a:lnTo>
                    <a:pt x="187" y="163"/>
                  </a:lnTo>
                  <a:lnTo>
                    <a:pt x="184" y="168"/>
                  </a:lnTo>
                  <a:lnTo>
                    <a:pt x="184" y="168"/>
                  </a:lnTo>
                  <a:lnTo>
                    <a:pt x="182" y="168"/>
                  </a:lnTo>
                  <a:lnTo>
                    <a:pt x="180" y="170"/>
                  </a:lnTo>
                  <a:lnTo>
                    <a:pt x="175" y="170"/>
                  </a:lnTo>
                  <a:lnTo>
                    <a:pt x="173" y="170"/>
                  </a:lnTo>
                  <a:lnTo>
                    <a:pt x="170" y="170"/>
                  </a:lnTo>
                  <a:lnTo>
                    <a:pt x="170" y="168"/>
                  </a:lnTo>
                  <a:lnTo>
                    <a:pt x="168" y="168"/>
                  </a:lnTo>
                  <a:lnTo>
                    <a:pt x="165" y="166"/>
                  </a:lnTo>
                  <a:lnTo>
                    <a:pt x="161" y="168"/>
                  </a:lnTo>
                  <a:lnTo>
                    <a:pt x="158" y="166"/>
                  </a:lnTo>
                  <a:lnTo>
                    <a:pt x="158" y="166"/>
                  </a:lnTo>
                  <a:lnTo>
                    <a:pt x="156" y="163"/>
                  </a:lnTo>
                  <a:lnTo>
                    <a:pt x="154" y="163"/>
                  </a:lnTo>
                  <a:lnTo>
                    <a:pt x="154" y="158"/>
                  </a:lnTo>
                  <a:lnTo>
                    <a:pt x="154" y="154"/>
                  </a:lnTo>
                  <a:lnTo>
                    <a:pt x="154" y="142"/>
                  </a:lnTo>
                  <a:lnTo>
                    <a:pt x="151" y="142"/>
                  </a:lnTo>
                  <a:lnTo>
                    <a:pt x="144" y="142"/>
                  </a:lnTo>
                  <a:lnTo>
                    <a:pt x="137" y="137"/>
                  </a:lnTo>
                  <a:lnTo>
                    <a:pt x="130" y="132"/>
                  </a:lnTo>
                  <a:lnTo>
                    <a:pt x="125" y="130"/>
                  </a:lnTo>
                  <a:lnTo>
                    <a:pt x="123" y="128"/>
                  </a:lnTo>
                  <a:lnTo>
                    <a:pt x="121" y="123"/>
                  </a:lnTo>
                  <a:lnTo>
                    <a:pt x="118" y="121"/>
                  </a:lnTo>
                  <a:lnTo>
                    <a:pt x="116" y="118"/>
                  </a:lnTo>
                  <a:lnTo>
                    <a:pt x="111" y="118"/>
                  </a:lnTo>
                  <a:lnTo>
                    <a:pt x="109" y="118"/>
                  </a:lnTo>
                  <a:lnTo>
                    <a:pt x="104" y="118"/>
                  </a:lnTo>
                  <a:lnTo>
                    <a:pt x="99" y="116"/>
                  </a:lnTo>
                  <a:lnTo>
                    <a:pt x="88" y="111"/>
                  </a:lnTo>
                  <a:lnTo>
                    <a:pt x="85" y="106"/>
                  </a:lnTo>
                  <a:lnTo>
                    <a:pt x="80" y="104"/>
                  </a:lnTo>
                  <a:lnTo>
                    <a:pt x="73" y="104"/>
                  </a:lnTo>
                  <a:lnTo>
                    <a:pt x="69" y="104"/>
                  </a:lnTo>
                  <a:lnTo>
                    <a:pt x="69" y="106"/>
                  </a:lnTo>
                  <a:lnTo>
                    <a:pt x="66" y="109"/>
                  </a:lnTo>
                  <a:lnTo>
                    <a:pt x="64" y="109"/>
                  </a:lnTo>
                  <a:lnTo>
                    <a:pt x="59" y="106"/>
                  </a:lnTo>
                  <a:lnTo>
                    <a:pt x="57" y="106"/>
                  </a:lnTo>
                  <a:lnTo>
                    <a:pt x="52" y="109"/>
                  </a:lnTo>
                  <a:lnTo>
                    <a:pt x="47" y="111"/>
                  </a:lnTo>
                  <a:lnTo>
                    <a:pt x="36" y="121"/>
                  </a:lnTo>
                  <a:lnTo>
                    <a:pt x="28" y="123"/>
                  </a:lnTo>
                  <a:lnTo>
                    <a:pt x="26" y="123"/>
                  </a:lnTo>
                  <a:lnTo>
                    <a:pt x="26" y="123"/>
                  </a:lnTo>
                  <a:lnTo>
                    <a:pt x="26" y="121"/>
                  </a:lnTo>
                  <a:lnTo>
                    <a:pt x="24" y="109"/>
                  </a:lnTo>
                  <a:lnTo>
                    <a:pt x="24" y="99"/>
                  </a:lnTo>
                  <a:lnTo>
                    <a:pt x="24" y="92"/>
                  </a:lnTo>
                  <a:lnTo>
                    <a:pt x="28" y="88"/>
                  </a:lnTo>
                  <a:lnTo>
                    <a:pt x="24" y="88"/>
                  </a:lnTo>
                  <a:lnTo>
                    <a:pt x="21" y="85"/>
                  </a:lnTo>
                  <a:lnTo>
                    <a:pt x="19" y="81"/>
                  </a:lnTo>
                  <a:lnTo>
                    <a:pt x="17" y="81"/>
                  </a:lnTo>
                  <a:lnTo>
                    <a:pt x="17" y="81"/>
                  </a:lnTo>
                  <a:lnTo>
                    <a:pt x="21" y="76"/>
                  </a:lnTo>
                  <a:lnTo>
                    <a:pt x="24" y="76"/>
                  </a:lnTo>
                  <a:lnTo>
                    <a:pt x="21" y="73"/>
                  </a:lnTo>
                  <a:lnTo>
                    <a:pt x="19" y="73"/>
                  </a:lnTo>
                  <a:lnTo>
                    <a:pt x="17" y="71"/>
                  </a:lnTo>
                  <a:lnTo>
                    <a:pt x="19" y="66"/>
                  </a:lnTo>
                  <a:lnTo>
                    <a:pt x="21" y="69"/>
                  </a:lnTo>
                  <a:lnTo>
                    <a:pt x="24" y="71"/>
                  </a:lnTo>
                  <a:lnTo>
                    <a:pt x="24" y="66"/>
                  </a:lnTo>
                  <a:lnTo>
                    <a:pt x="17" y="64"/>
                  </a:lnTo>
                  <a:lnTo>
                    <a:pt x="12" y="66"/>
                  </a:lnTo>
                  <a:lnTo>
                    <a:pt x="10" y="69"/>
                  </a:lnTo>
                  <a:lnTo>
                    <a:pt x="7" y="69"/>
                  </a:lnTo>
                  <a:lnTo>
                    <a:pt x="5" y="59"/>
                  </a:lnTo>
                  <a:lnTo>
                    <a:pt x="5" y="55"/>
                  </a:lnTo>
                  <a:lnTo>
                    <a:pt x="7" y="50"/>
                  </a:lnTo>
                  <a:lnTo>
                    <a:pt x="7" y="50"/>
                  </a:lnTo>
                  <a:lnTo>
                    <a:pt x="7" y="40"/>
                  </a:lnTo>
                  <a:lnTo>
                    <a:pt x="10" y="45"/>
                  </a:lnTo>
                  <a:lnTo>
                    <a:pt x="10" y="50"/>
                  </a:lnTo>
                  <a:lnTo>
                    <a:pt x="17" y="50"/>
                  </a:lnTo>
                  <a:lnTo>
                    <a:pt x="24" y="50"/>
                  </a:lnTo>
                  <a:lnTo>
                    <a:pt x="26" y="50"/>
                  </a:lnTo>
                  <a:lnTo>
                    <a:pt x="31" y="52"/>
                  </a:lnTo>
                  <a:lnTo>
                    <a:pt x="36" y="50"/>
                  </a:lnTo>
                  <a:lnTo>
                    <a:pt x="31" y="50"/>
                  </a:lnTo>
                  <a:lnTo>
                    <a:pt x="31" y="47"/>
                  </a:lnTo>
                  <a:lnTo>
                    <a:pt x="36" y="47"/>
                  </a:lnTo>
                  <a:lnTo>
                    <a:pt x="40" y="40"/>
                  </a:lnTo>
                  <a:lnTo>
                    <a:pt x="33" y="36"/>
                  </a:lnTo>
                  <a:lnTo>
                    <a:pt x="28" y="31"/>
                  </a:lnTo>
                  <a:lnTo>
                    <a:pt x="26" y="24"/>
                  </a:lnTo>
                  <a:lnTo>
                    <a:pt x="21" y="19"/>
                  </a:lnTo>
                  <a:lnTo>
                    <a:pt x="21" y="19"/>
                  </a:lnTo>
                  <a:lnTo>
                    <a:pt x="19" y="19"/>
                  </a:lnTo>
                  <a:lnTo>
                    <a:pt x="12" y="21"/>
                  </a:lnTo>
                  <a:lnTo>
                    <a:pt x="7" y="24"/>
                  </a:lnTo>
                  <a:lnTo>
                    <a:pt x="5" y="26"/>
                  </a:lnTo>
                  <a:lnTo>
                    <a:pt x="5" y="31"/>
                  </a:lnTo>
                  <a:lnTo>
                    <a:pt x="5" y="31"/>
                  </a:lnTo>
                  <a:lnTo>
                    <a:pt x="7" y="38"/>
                  </a:lnTo>
                  <a:lnTo>
                    <a:pt x="5" y="38"/>
                  </a:lnTo>
                  <a:lnTo>
                    <a:pt x="0" y="31"/>
                  </a:lnTo>
                  <a:lnTo>
                    <a:pt x="0" y="24"/>
                  </a:lnTo>
                  <a:lnTo>
                    <a:pt x="10" y="17"/>
                  </a:lnTo>
                  <a:lnTo>
                    <a:pt x="17" y="14"/>
                  </a:lnTo>
                  <a:lnTo>
                    <a:pt x="24" y="12"/>
                  </a:lnTo>
                  <a:lnTo>
                    <a:pt x="26" y="10"/>
                  </a:lnTo>
                  <a:lnTo>
                    <a:pt x="28" y="10"/>
                  </a:lnTo>
                  <a:lnTo>
                    <a:pt x="31" y="12"/>
                  </a:lnTo>
                  <a:lnTo>
                    <a:pt x="33" y="14"/>
                  </a:lnTo>
                  <a:lnTo>
                    <a:pt x="38" y="17"/>
                  </a:lnTo>
                  <a:lnTo>
                    <a:pt x="40" y="19"/>
                  </a:lnTo>
                  <a:lnTo>
                    <a:pt x="43" y="24"/>
                  </a:lnTo>
                  <a:lnTo>
                    <a:pt x="45" y="24"/>
                  </a:lnTo>
                  <a:lnTo>
                    <a:pt x="45" y="26"/>
                  </a:lnTo>
                  <a:lnTo>
                    <a:pt x="47" y="33"/>
                  </a:lnTo>
                  <a:lnTo>
                    <a:pt x="52" y="36"/>
                  </a:lnTo>
                  <a:lnTo>
                    <a:pt x="57" y="36"/>
                  </a:lnTo>
                  <a:lnTo>
                    <a:pt x="62" y="3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0" name="Freeform 613">
              <a:extLst>
                <a:ext uri="{FF2B5EF4-FFF2-40B4-BE49-F238E27FC236}">
                  <a16:creationId xmlns:a16="http://schemas.microsoft.com/office/drawing/2014/main" id="{AC887AC4-7EE7-4A9C-A213-1A9C11D53071}"/>
                </a:ext>
              </a:extLst>
            </p:cNvPr>
            <p:cNvSpPr>
              <a:spLocks/>
            </p:cNvSpPr>
            <p:nvPr/>
          </p:nvSpPr>
          <p:spPr bwMode="auto">
            <a:xfrm>
              <a:off x="3194888" y="3206716"/>
              <a:ext cx="303212" cy="146050"/>
            </a:xfrm>
            <a:custGeom>
              <a:avLst/>
              <a:gdLst>
                <a:gd name="T0" fmla="*/ 83 w 191"/>
                <a:gd name="T1" fmla="*/ 75 h 92"/>
                <a:gd name="T2" fmla="*/ 97 w 191"/>
                <a:gd name="T3" fmla="*/ 68 h 92"/>
                <a:gd name="T4" fmla="*/ 106 w 191"/>
                <a:gd name="T5" fmla="*/ 64 h 92"/>
                <a:gd name="T6" fmla="*/ 116 w 191"/>
                <a:gd name="T7" fmla="*/ 68 h 92"/>
                <a:gd name="T8" fmla="*/ 128 w 191"/>
                <a:gd name="T9" fmla="*/ 66 h 92"/>
                <a:gd name="T10" fmla="*/ 137 w 191"/>
                <a:gd name="T11" fmla="*/ 54 h 92"/>
                <a:gd name="T12" fmla="*/ 156 w 191"/>
                <a:gd name="T13" fmla="*/ 52 h 92"/>
                <a:gd name="T14" fmla="*/ 175 w 191"/>
                <a:gd name="T15" fmla="*/ 35 h 92"/>
                <a:gd name="T16" fmla="*/ 191 w 191"/>
                <a:gd name="T17" fmla="*/ 26 h 92"/>
                <a:gd name="T18" fmla="*/ 189 w 191"/>
                <a:gd name="T19" fmla="*/ 21 h 92"/>
                <a:gd name="T20" fmla="*/ 172 w 191"/>
                <a:gd name="T21" fmla="*/ 12 h 92"/>
                <a:gd name="T22" fmla="*/ 163 w 191"/>
                <a:gd name="T23" fmla="*/ 9 h 92"/>
                <a:gd name="T24" fmla="*/ 151 w 191"/>
                <a:gd name="T25" fmla="*/ 9 h 92"/>
                <a:gd name="T26" fmla="*/ 137 w 191"/>
                <a:gd name="T27" fmla="*/ 4 h 92"/>
                <a:gd name="T28" fmla="*/ 118 w 191"/>
                <a:gd name="T29" fmla="*/ 7 h 92"/>
                <a:gd name="T30" fmla="*/ 106 w 191"/>
                <a:gd name="T31" fmla="*/ 7 h 92"/>
                <a:gd name="T32" fmla="*/ 99 w 191"/>
                <a:gd name="T33" fmla="*/ 4 h 92"/>
                <a:gd name="T34" fmla="*/ 85 w 191"/>
                <a:gd name="T35" fmla="*/ 0 h 92"/>
                <a:gd name="T36" fmla="*/ 78 w 191"/>
                <a:gd name="T37" fmla="*/ 2 h 92"/>
                <a:gd name="T38" fmla="*/ 73 w 191"/>
                <a:gd name="T39" fmla="*/ 12 h 92"/>
                <a:gd name="T40" fmla="*/ 66 w 191"/>
                <a:gd name="T41" fmla="*/ 16 h 92"/>
                <a:gd name="T42" fmla="*/ 54 w 191"/>
                <a:gd name="T43" fmla="*/ 12 h 92"/>
                <a:gd name="T44" fmla="*/ 43 w 191"/>
                <a:gd name="T45" fmla="*/ 9 h 92"/>
                <a:gd name="T46" fmla="*/ 33 w 191"/>
                <a:gd name="T47" fmla="*/ 9 h 92"/>
                <a:gd name="T48" fmla="*/ 31 w 191"/>
                <a:gd name="T49" fmla="*/ 16 h 92"/>
                <a:gd name="T50" fmla="*/ 33 w 191"/>
                <a:gd name="T51" fmla="*/ 23 h 92"/>
                <a:gd name="T52" fmla="*/ 26 w 191"/>
                <a:gd name="T53" fmla="*/ 30 h 92"/>
                <a:gd name="T54" fmla="*/ 17 w 191"/>
                <a:gd name="T55" fmla="*/ 40 h 92"/>
                <a:gd name="T56" fmla="*/ 24 w 191"/>
                <a:gd name="T57" fmla="*/ 42 h 92"/>
                <a:gd name="T58" fmla="*/ 35 w 191"/>
                <a:gd name="T59" fmla="*/ 49 h 92"/>
                <a:gd name="T60" fmla="*/ 40 w 191"/>
                <a:gd name="T61" fmla="*/ 40 h 92"/>
                <a:gd name="T62" fmla="*/ 45 w 191"/>
                <a:gd name="T63" fmla="*/ 47 h 92"/>
                <a:gd name="T64" fmla="*/ 54 w 191"/>
                <a:gd name="T65" fmla="*/ 49 h 92"/>
                <a:gd name="T66" fmla="*/ 66 w 191"/>
                <a:gd name="T67" fmla="*/ 54 h 92"/>
                <a:gd name="T68" fmla="*/ 61 w 191"/>
                <a:gd name="T69" fmla="*/ 59 h 92"/>
                <a:gd name="T70" fmla="*/ 54 w 191"/>
                <a:gd name="T71" fmla="*/ 61 h 92"/>
                <a:gd name="T72" fmla="*/ 50 w 191"/>
                <a:gd name="T73" fmla="*/ 66 h 92"/>
                <a:gd name="T74" fmla="*/ 40 w 191"/>
                <a:gd name="T75" fmla="*/ 71 h 92"/>
                <a:gd name="T76" fmla="*/ 28 w 191"/>
                <a:gd name="T77" fmla="*/ 68 h 92"/>
                <a:gd name="T78" fmla="*/ 24 w 191"/>
                <a:gd name="T79" fmla="*/ 75 h 92"/>
                <a:gd name="T80" fmla="*/ 14 w 191"/>
                <a:gd name="T81" fmla="*/ 73 h 92"/>
                <a:gd name="T82" fmla="*/ 5 w 191"/>
                <a:gd name="T83" fmla="*/ 73 h 92"/>
                <a:gd name="T84" fmla="*/ 0 w 191"/>
                <a:gd name="T85" fmla="*/ 82 h 92"/>
                <a:gd name="T86" fmla="*/ 7 w 191"/>
                <a:gd name="T87" fmla="*/ 85 h 92"/>
                <a:gd name="T88" fmla="*/ 21 w 191"/>
                <a:gd name="T89" fmla="*/ 85 h 92"/>
                <a:gd name="T90" fmla="*/ 28 w 191"/>
                <a:gd name="T91" fmla="*/ 87 h 92"/>
                <a:gd name="T92" fmla="*/ 43 w 191"/>
                <a:gd name="T93" fmla="*/ 87 h 92"/>
                <a:gd name="T94" fmla="*/ 52 w 191"/>
                <a:gd name="T95" fmla="*/ 92 h 92"/>
                <a:gd name="T96" fmla="*/ 66 w 191"/>
                <a:gd name="T97" fmla="*/ 90 h 92"/>
                <a:gd name="T98" fmla="*/ 73 w 191"/>
                <a:gd name="T99" fmla="*/ 8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1" h="92">
                  <a:moveTo>
                    <a:pt x="80" y="85"/>
                  </a:moveTo>
                  <a:lnTo>
                    <a:pt x="80" y="82"/>
                  </a:lnTo>
                  <a:lnTo>
                    <a:pt x="83" y="75"/>
                  </a:lnTo>
                  <a:lnTo>
                    <a:pt x="92" y="71"/>
                  </a:lnTo>
                  <a:lnTo>
                    <a:pt x="95" y="68"/>
                  </a:lnTo>
                  <a:lnTo>
                    <a:pt x="97" y="68"/>
                  </a:lnTo>
                  <a:lnTo>
                    <a:pt x="99" y="64"/>
                  </a:lnTo>
                  <a:lnTo>
                    <a:pt x="102" y="66"/>
                  </a:lnTo>
                  <a:lnTo>
                    <a:pt x="106" y="64"/>
                  </a:lnTo>
                  <a:lnTo>
                    <a:pt x="109" y="64"/>
                  </a:lnTo>
                  <a:lnTo>
                    <a:pt x="111" y="68"/>
                  </a:lnTo>
                  <a:lnTo>
                    <a:pt x="116" y="68"/>
                  </a:lnTo>
                  <a:lnTo>
                    <a:pt x="120" y="68"/>
                  </a:lnTo>
                  <a:lnTo>
                    <a:pt x="123" y="68"/>
                  </a:lnTo>
                  <a:lnTo>
                    <a:pt x="128" y="66"/>
                  </a:lnTo>
                  <a:lnTo>
                    <a:pt x="130" y="59"/>
                  </a:lnTo>
                  <a:lnTo>
                    <a:pt x="132" y="56"/>
                  </a:lnTo>
                  <a:lnTo>
                    <a:pt x="137" y="54"/>
                  </a:lnTo>
                  <a:lnTo>
                    <a:pt x="144" y="54"/>
                  </a:lnTo>
                  <a:lnTo>
                    <a:pt x="151" y="52"/>
                  </a:lnTo>
                  <a:lnTo>
                    <a:pt x="156" y="52"/>
                  </a:lnTo>
                  <a:lnTo>
                    <a:pt x="158" y="47"/>
                  </a:lnTo>
                  <a:lnTo>
                    <a:pt x="163" y="42"/>
                  </a:lnTo>
                  <a:lnTo>
                    <a:pt x="175" y="35"/>
                  </a:lnTo>
                  <a:lnTo>
                    <a:pt x="187" y="33"/>
                  </a:lnTo>
                  <a:lnTo>
                    <a:pt x="189" y="30"/>
                  </a:lnTo>
                  <a:lnTo>
                    <a:pt x="191" y="26"/>
                  </a:lnTo>
                  <a:lnTo>
                    <a:pt x="191" y="21"/>
                  </a:lnTo>
                  <a:lnTo>
                    <a:pt x="191" y="21"/>
                  </a:lnTo>
                  <a:lnTo>
                    <a:pt x="189" y="21"/>
                  </a:lnTo>
                  <a:lnTo>
                    <a:pt x="184" y="19"/>
                  </a:lnTo>
                  <a:lnTo>
                    <a:pt x="177" y="16"/>
                  </a:lnTo>
                  <a:lnTo>
                    <a:pt x="172" y="12"/>
                  </a:lnTo>
                  <a:lnTo>
                    <a:pt x="168" y="12"/>
                  </a:lnTo>
                  <a:lnTo>
                    <a:pt x="165" y="9"/>
                  </a:lnTo>
                  <a:lnTo>
                    <a:pt x="163" y="9"/>
                  </a:lnTo>
                  <a:lnTo>
                    <a:pt x="161" y="9"/>
                  </a:lnTo>
                  <a:lnTo>
                    <a:pt x="158" y="9"/>
                  </a:lnTo>
                  <a:lnTo>
                    <a:pt x="151" y="9"/>
                  </a:lnTo>
                  <a:lnTo>
                    <a:pt x="144" y="7"/>
                  </a:lnTo>
                  <a:lnTo>
                    <a:pt x="142" y="7"/>
                  </a:lnTo>
                  <a:lnTo>
                    <a:pt x="137" y="4"/>
                  </a:lnTo>
                  <a:lnTo>
                    <a:pt x="135" y="4"/>
                  </a:lnTo>
                  <a:lnTo>
                    <a:pt x="130" y="7"/>
                  </a:lnTo>
                  <a:lnTo>
                    <a:pt x="118" y="7"/>
                  </a:lnTo>
                  <a:lnTo>
                    <a:pt x="116" y="7"/>
                  </a:lnTo>
                  <a:lnTo>
                    <a:pt x="111" y="7"/>
                  </a:lnTo>
                  <a:lnTo>
                    <a:pt x="106" y="7"/>
                  </a:lnTo>
                  <a:lnTo>
                    <a:pt x="104" y="7"/>
                  </a:lnTo>
                  <a:lnTo>
                    <a:pt x="102" y="4"/>
                  </a:lnTo>
                  <a:lnTo>
                    <a:pt x="99" y="4"/>
                  </a:lnTo>
                  <a:lnTo>
                    <a:pt x="95" y="4"/>
                  </a:lnTo>
                  <a:lnTo>
                    <a:pt x="92" y="4"/>
                  </a:lnTo>
                  <a:lnTo>
                    <a:pt x="85" y="0"/>
                  </a:lnTo>
                  <a:lnTo>
                    <a:pt x="83" y="2"/>
                  </a:lnTo>
                  <a:lnTo>
                    <a:pt x="80" y="2"/>
                  </a:lnTo>
                  <a:lnTo>
                    <a:pt x="78" y="2"/>
                  </a:lnTo>
                  <a:lnTo>
                    <a:pt x="73" y="7"/>
                  </a:lnTo>
                  <a:lnTo>
                    <a:pt x="73" y="9"/>
                  </a:lnTo>
                  <a:lnTo>
                    <a:pt x="73" y="12"/>
                  </a:lnTo>
                  <a:lnTo>
                    <a:pt x="71" y="16"/>
                  </a:lnTo>
                  <a:lnTo>
                    <a:pt x="71" y="19"/>
                  </a:lnTo>
                  <a:lnTo>
                    <a:pt x="66" y="16"/>
                  </a:lnTo>
                  <a:lnTo>
                    <a:pt x="61" y="14"/>
                  </a:lnTo>
                  <a:lnTo>
                    <a:pt x="57" y="12"/>
                  </a:lnTo>
                  <a:lnTo>
                    <a:pt x="54" y="12"/>
                  </a:lnTo>
                  <a:lnTo>
                    <a:pt x="52" y="12"/>
                  </a:lnTo>
                  <a:lnTo>
                    <a:pt x="47" y="12"/>
                  </a:lnTo>
                  <a:lnTo>
                    <a:pt x="43" y="9"/>
                  </a:lnTo>
                  <a:lnTo>
                    <a:pt x="40" y="9"/>
                  </a:lnTo>
                  <a:lnTo>
                    <a:pt x="38" y="9"/>
                  </a:lnTo>
                  <a:lnTo>
                    <a:pt x="33" y="9"/>
                  </a:lnTo>
                  <a:lnTo>
                    <a:pt x="31" y="12"/>
                  </a:lnTo>
                  <a:lnTo>
                    <a:pt x="31" y="14"/>
                  </a:lnTo>
                  <a:lnTo>
                    <a:pt x="31" y="16"/>
                  </a:lnTo>
                  <a:lnTo>
                    <a:pt x="28" y="19"/>
                  </a:lnTo>
                  <a:lnTo>
                    <a:pt x="28" y="21"/>
                  </a:lnTo>
                  <a:lnTo>
                    <a:pt x="33" y="23"/>
                  </a:lnTo>
                  <a:lnTo>
                    <a:pt x="33" y="26"/>
                  </a:lnTo>
                  <a:lnTo>
                    <a:pt x="28" y="28"/>
                  </a:lnTo>
                  <a:lnTo>
                    <a:pt x="26" y="30"/>
                  </a:lnTo>
                  <a:lnTo>
                    <a:pt x="21" y="35"/>
                  </a:lnTo>
                  <a:lnTo>
                    <a:pt x="17" y="38"/>
                  </a:lnTo>
                  <a:lnTo>
                    <a:pt x="17" y="40"/>
                  </a:lnTo>
                  <a:lnTo>
                    <a:pt x="19" y="42"/>
                  </a:lnTo>
                  <a:lnTo>
                    <a:pt x="21" y="42"/>
                  </a:lnTo>
                  <a:lnTo>
                    <a:pt x="24" y="42"/>
                  </a:lnTo>
                  <a:lnTo>
                    <a:pt x="26" y="45"/>
                  </a:lnTo>
                  <a:lnTo>
                    <a:pt x="33" y="49"/>
                  </a:lnTo>
                  <a:lnTo>
                    <a:pt x="35" y="49"/>
                  </a:lnTo>
                  <a:lnTo>
                    <a:pt x="38" y="47"/>
                  </a:lnTo>
                  <a:lnTo>
                    <a:pt x="40" y="45"/>
                  </a:lnTo>
                  <a:lnTo>
                    <a:pt x="40" y="40"/>
                  </a:lnTo>
                  <a:lnTo>
                    <a:pt x="43" y="42"/>
                  </a:lnTo>
                  <a:lnTo>
                    <a:pt x="45" y="45"/>
                  </a:lnTo>
                  <a:lnTo>
                    <a:pt x="45" y="47"/>
                  </a:lnTo>
                  <a:lnTo>
                    <a:pt x="50" y="49"/>
                  </a:lnTo>
                  <a:lnTo>
                    <a:pt x="52" y="52"/>
                  </a:lnTo>
                  <a:lnTo>
                    <a:pt x="54" y="49"/>
                  </a:lnTo>
                  <a:lnTo>
                    <a:pt x="57" y="54"/>
                  </a:lnTo>
                  <a:lnTo>
                    <a:pt x="61" y="54"/>
                  </a:lnTo>
                  <a:lnTo>
                    <a:pt x="66" y="54"/>
                  </a:lnTo>
                  <a:lnTo>
                    <a:pt x="66" y="56"/>
                  </a:lnTo>
                  <a:lnTo>
                    <a:pt x="66" y="59"/>
                  </a:lnTo>
                  <a:lnTo>
                    <a:pt x="61" y="59"/>
                  </a:lnTo>
                  <a:lnTo>
                    <a:pt x="59" y="61"/>
                  </a:lnTo>
                  <a:lnTo>
                    <a:pt x="57" y="64"/>
                  </a:lnTo>
                  <a:lnTo>
                    <a:pt x="54" y="61"/>
                  </a:lnTo>
                  <a:lnTo>
                    <a:pt x="54" y="64"/>
                  </a:lnTo>
                  <a:lnTo>
                    <a:pt x="50" y="64"/>
                  </a:lnTo>
                  <a:lnTo>
                    <a:pt x="50" y="66"/>
                  </a:lnTo>
                  <a:lnTo>
                    <a:pt x="47" y="68"/>
                  </a:lnTo>
                  <a:lnTo>
                    <a:pt x="45" y="68"/>
                  </a:lnTo>
                  <a:lnTo>
                    <a:pt x="40" y="71"/>
                  </a:lnTo>
                  <a:lnTo>
                    <a:pt x="35" y="68"/>
                  </a:lnTo>
                  <a:lnTo>
                    <a:pt x="33" y="68"/>
                  </a:lnTo>
                  <a:lnTo>
                    <a:pt x="28" y="68"/>
                  </a:lnTo>
                  <a:lnTo>
                    <a:pt x="28" y="71"/>
                  </a:lnTo>
                  <a:lnTo>
                    <a:pt x="26" y="73"/>
                  </a:lnTo>
                  <a:lnTo>
                    <a:pt x="24" y="75"/>
                  </a:lnTo>
                  <a:lnTo>
                    <a:pt x="21" y="75"/>
                  </a:lnTo>
                  <a:lnTo>
                    <a:pt x="17" y="73"/>
                  </a:lnTo>
                  <a:lnTo>
                    <a:pt x="14" y="73"/>
                  </a:lnTo>
                  <a:lnTo>
                    <a:pt x="9" y="73"/>
                  </a:lnTo>
                  <a:lnTo>
                    <a:pt x="7" y="73"/>
                  </a:lnTo>
                  <a:lnTo>
                    <a:pt x="5" y="73"/>
                  </a:lnTo>
                  <a:lnTo>
                    <a:pt x="0" y="75"/>
                  </a:lnTo>
                  <a:lnTo>
                    <a:pt x="0" y="78"/>
                  </a:lnTo>
                  <a:lnTo>
                    <a:pt x="0" y="82"/>
                  </a:lnTo>
                  <a:lnTo>
                    <a:pt x="2" y="85"/>
                  </a:lnTo>
                  <a:lnTo>
                    <a:pt x="5" y="85"/>
                  </a:lnTo>
                  <a:lnTo>
                    <a:pt x="7" y="85"/>
                  </a:lnTo>
                  <a:lnTo>
                    <a:pt x="12" y="85"/>
                  </a:lnTo>
                  <a:lnTo>
                    <a:pt x="19" y="85"/>
                  </a:lnTo>
                  <a:lnTo>
                    <a:pt x="21" y="85"/>
                  </a:lnTo>
                  <a:lnTo>
                    <a:pt x="24" y="85"/>
                  </a:lnTo>
                  <a:lnTo>
                    <a:pt x="26" y="87"/>
                  </a:lnTo>
                  <a:lnTo>
                    <a:pt x="28" y="87"/>
                  </a:lnTo>
                  <a:lnTo>
                    <a:pt x="38" y="85"/>
                  </a:lnTo>
                  <a:lnTo>
                    <a:pt x="40" y="85"/>
                  </a:lnTo>
                  <a:lnTo>
                    <a:pt x="43" y="87"/>
                  </a:lnTo>
                  <a:lnTo>
                    <a:pt x="45" y="92"/>
                  </a:lnTo>
                  <a:lnTo>
                    <a:pt x="50" y="90"/>
                  </a:lnTo>
                  <a:lnTo>
                    <a:pt x="52" y="92"/>
                  </a:lnTo>
                  <a:lnTo>
                    <a:pt x="57" y="90"/>
                  </a:lnTo>
                  <a:lnTo>
                    <a:pt x="61" y="90"/>
                  </a:lnTo>
                  <a:lnTo>
                    <a:pt x="66" y="90"/>
                  </a:lnTo>
                  <a:lnTo>
                    <a:pt x="69" y="90"/>
                  </a:lnTo>
                  <a:lnTo>
                    <a:pt x="73" y="90"/>
                  </a:lnTo>
                  <a:lnTo>
                    <a:pt x="73" y="85"/>
                  </a:lnTo>
                  <a:lnTo>
                    <a:pt x="80" y="85"/>
                  </a:lnTo>
                  <a:lnTo>
                    <a:pt x="80" y="8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1" name="Freeform 614">
              <a:extLst>
                <a:ext uri="{FF2B5EF4-FFF2-40B4-BE49-F238E27FC236}">
                  <a16:creationId xmlns:a16="http://schemas.microsoft.com/office/drawing/2014/main" id="{DECBF417-56C7-4E9B-A81F-179FBD8D4D80}"/>
                </a:ext>
              </a:extLst>
            </p:cNvPr>
            <p:cNvSpPr>
              <a:spLocks/>
            </p:cNvSpPr>
            <p:nvPr/>
          </p:nvSpPr>
          <p:spPr bwMode="auto">
            <a:xfrm>
              <a:off x="3194888" y="3206716"/>
              <a:ext cx="303212" cy="146050"/>
            </a:xfrm>
            <a:custGeom>
              <a:avLst/>
              <a:gdLst>
                <a:gd name="T0" fmla="*/ 83 w 191"/>
                <a:gd name="T1" fmla="*/ 75 h 92"/>
                <a:gd name="T2" fmla="*/ 97 w 191"/>
                <a:gd name="T3" fmla="*/ 68 h 92"/>
                <a:gd name="T4" fmla="*/ 106 w 191"/>
                <a:gd name="T5" fmla="*/ 64 h 92"/>
                <a:gd name="T6" fmla="*/ 116 w 191"/>
                <a:gd name="T7" fmla="*/ 68 h 92"/>
                <a:gd name="T8" fmla="*/ 128 w 191"/>
                <a:gd name="T9" fmla="*/ 66 h 92"/>
                <a:gd name="T10" fmla="*/ 137 w 191"/>
                <a:gd name="T11" fmla="*/ 54 h 92"/>
                <a:gd name="T12" fmla="*/ 156 w 191"/>
                <a:gd name="T13" fmla="*/ 52 h 92"/>
                <a:gd name="T14" fmla="*/ 175 w 191"/>
                <a:gd name="T15" fmla="*/ 35 h 92"/>
                <a:gd name="T16" fmla="*/ 191 w 191"/>
                <a:gd name="T17" fmla="*/ 26 h 92"/>
                <a:gd name="T18" fmla="*/ 189 w 191"/>
                <a:gd name="T19" fmla="*/ 21 h 92"/>
                <a:gd name="T20" fmla="*/ 172 w 191"/>
                <a:gd name="T21" fmla="*/ 12 h 92"/>
                <a:gd name="T22" fmla="*/ 163 w 191"/>
                <a:gd name="T23" fmla="*/ 9 h 92"/>
                <a:gd name="T24" fmla="*/ 151 w 191"/>
                <a:gd name="T25" fmla="*/ 9 h 92"/>
                <a:gd name="T26" fmla="*/ 137 w 191"/>
                <a:gd name="T27" fmla="*/ 4 h 92"/>
                <a:gd name="T28" fmla="*/ 118 w 191"/>
                <a:gd name="T29" fmla="*/ 7 h 92"/>
                <a:gd name="T30" fmla="*/ 106 w 191"/>
                <a:gd name="T31" fmla="*/ 7 h 92"/>
                <a:gd name="T32" fmla="*/ 99 w 191"/>
                <a:gd name="T33" fmla="*/ 4 h 92"/>
                <a:gd name="T34" fmla="*/ 85 w 191"/>
                <a:gd name="T35" fmla="*/ 0 h 92"/>
                <a:gd name="T36" fmla="*/ 78 w 191"/>
                <a:gd name="T37" fmla="*/ 2 h 92"/>
                <a:gd name="T38" fmla="*/ 73 w 191"/>
                <a:gd name="T39" fmla="*/ 12 h 92"/>
                <a:gd name="T40" fmla="*/ 66 w 191"/>
                <a:gd name="T41" fmla="*/ 16 h 92"/>
                <a:gd name="T42" fmla="*/ 54 w 191"/>
                <a:gd name="T43" fmla="*/ 12 h 92"/>
                <a:gd name="T44" fmla="*/ 43 w 191"/>
                <a:gd name="T45" fmla="*/ 9 h 92"/>
                <a:gd name="T46" fmla="*/ 33 w 191"/>
                <a:gd name="T47" fmla="*/ 9 h 92"/>
                <a:gd name="T48" fmla="*/ 31 w 191"/>
                <a:gd name="T49" fmla="*/ 16 h 92"/>
                <a:gd name="T50" fmla="*/ 33 w 191"/>
                <a:gd name="T51" fmla="*/ 23 h 92"/>
                <a:gd name="T52" fmla="*/ 26 w 191"/>
                <a:gd name="T53" fmla="*/ 30 h 92"/>
                <a:gd name="T54" fmla="*/ 17 w 191"/>
                <a:gd name="T55" fmla="*/ 40 h 92"/>
                <a:gd name="T56" fmla="*/ 24 w 191"/>
                <a:gd name="T57" fmla="*/ 42 h 92"/>
                <a:gd name="T58" fmla="*/ 35 w 191"/>
                <a:gd name="T59" fmla="*/ 49 h 92"/>
                <a:gd name="T60" fmla="*/ 40 w 191"/>
                <a:gd name="T61" fmla="*/ 40 h 92"/>
                <a:gd name="T62" fmla="*/ 45 w 191"/>
                <a:gd name="T63" fmla="*/ 47 h 92"/>
                <a:gd name="T64" fmla="*/ 54 w 191"/>
                <a:gd name="T65" fmla="*/ 49 h 92"/>
                <a:gd name="T66" fmla="*/ 66 w 191"/>
                <a:gd name="T67" fmla="*/ 54 h 92"/>
                <a:gd name="T68" fmla="*/ 61 w 191"/>
                <a:gd name="T69" fmla="*/ 59 h 92"/>
                <a:gd name="T70" fmla="*/ 54 w 191"/>
                <a:gd name="T71" fmla="*/ 61 h 92"/>
                <a:gd name="T72" fmla="*/ 50 w 191"/>
                <a:gd name="T73" fmla="*/ 66 h 92"/>
                <a:gd name="T74" fmla="*/ 40 w 191"/>
                <a:gd name="T75" fmla="*/ 71 h 92"/>
                <a:gd name="T76" fmla="*/ 28 w 191"/>
                <a:gd name="T77" fmla="*/ 68 h 92"/>
                <a:gd name="T78" fmla="*/ 24 w 191"/>
                <a:gd name="T79" fmla="*/ 75 h 92"/>
                <a:gd name="T80" fmla="*/ 14 w 191"/>
                <a:gd name="T81" fmla="*/ 73 h 92"/>
                <a:gd name="T82" fmla="*/ 5 w 191"/>
                <a:gd name="T83" fmla="*/ 73 h 92"/>
                <a:gd name="T84" fmla="*/ 0 w 191"/>
                <a:gd name="T85" fmla="*/ 82 h 92"/>
                <a:gd name="T86" fmla="*/ 7 w 191"/>
                <a:gd name="T87" fmla="*/ 85 h 92"/>
                <a:gd name="T88" fmla="*/ 21 w 191"/>
                <a:gd name="T89" fmla="*/ 85 h 92"/>
                <a:gd name="T90" fmla="*/ 28 w 191"/>
                <a:gd name="T91" fmla="*/ 87 h 92"/>
                <a:gd name="T92" fmla="*/ 43 w 191"/>
                <a:gd name="T93" fmla="*/ 87 h 92"/>
                <a:gd name="T94" fmla="*/ 52 w 191"/>
                <a:gd name="T95" fmla="*/ 92 h 92"/>
                <a:gd name="T96" fmla="*/ 66 w 191"/>
                <a:gd name="T97" fmla="*/ 90 h 92"/>
                <a:gd name="T98" fmla="*/ 73 w 191"/>
                <a:gd name="T99" fmla="*/ 8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1" h="92">
                  <a:moveTo>
                    <a:pt x="80" y="85"/>
                  </a:moveTo>
                  <a:lnTo>
                    <a:pt x="80" y="82"/>
                  </a:lnTo>
                  <a:lnTo>
                    <a:pt x="83" y="75"/>
                  </a:lnTo>
                  <a:lnTo>
                    <a:pt x="92" y="71"/>
                  </a:lnTo>
                  <a:lnTo>
                    <a:pt x="95" y="68"/>
                  </a:lnTo>
                  <a:lnTo>
                    <a:pt x="97" y="68"/>
                  </a:lnTo>
                  <a:lnTo>
                    <a:pt x="99" y="64"/>
                  </a:lnTo>
                  <a:lnTo>
                    <a:pt x="102" y="66"/>
                  </a:lnTo>
                  <a:lnTo>
                    <a:pt x="106" y="64"/>
                  </a:lnTo>
                  <a:lnTo>
                    <a:pt x="109" y="64"/>
                  </a:lnTo>
                  <a:lnTo>
                    <a:pt x="111" y="68"/>
                  </a:lnTo>
                  <a:lnTo>
                    <a:pt x="116" y="68"/>
                  </a:lnTo>
                  <a:lnTo>
                    <a:pt x="120" y="68"/>
                  </a:lnTo>
                  <a:lnTo>
                    <a:pt x="123" y="68"/>
                  </a:lnTo>
                  <a:lnTo>
                    <a:pt x="128" y="66"/>
                  </a:lnTo>
                  <a:lnTo>
                    <a:pt x="130" y="59"/>
                  </a:lnTo>
                  <a:lnTo>
                    <a:pt x="132" y="56"/>
                  </a:lnTo>
                  <a:lnTo>
                    <a:pt x="137" y="54"/>
                  </a:lnTo>
                  <a:lnTo>
                    <a:pt x="144" y="54"/>
                  </a:lnTo>
                  <a:lnTo>
                    <a:pt x="151" y="52"/>
                  </a:lnTo>
                  <a:lnTo>
                    <a:pt x="156" y="52"/>
                  </a:lnTo>
                  <a:lnTo>
                    <a:pt x="158" y="47"/>
                  </a:lnTo>
                  <a:lnTo>
                    <a:pt x="163" y="42"/>
                  </a:lnTo>
                  <a:lnTo>
                    <a:pt x="175" y="35"/>
                  </a:lnTo>
                  <a:lnTo>
                    <a:pt x="187" y="33"/>
                  </a:lnTo>
                  <a:lnTo>
                    <a:pt x="189" y="30"/>
                  </a:lnTo>
                  <a:lnTo>
                    <a:pt x="191" y="26"/>
                  </a:lnTo>
                  <a:lnTo>
                    <a:pt x="191" y="21"/>
                  </a:lnTo>
                  <a:lnTo>
                    <a:pt x="191" y="21"/>
                  </a:lnTo>
                  <a:lnTo>
                    <a:pt x="189" y="21"/>
                  </a:lnTo>
                  <a:lnTo>
                    <a:pt x="184" y="19"/>
                  </a:lnTo>
                  <a:lnTo>
                    <a:pt x="177" y="16"/>
                  </a:lnTo>
                  <a:lnTo>
                    <a:pt x="172" y="12"/>
                  </a:lnTo>
                  <a:lnTo>
                    <a:pt x="168" y="12"/>
                  </a:lnTo>
                  <a:lnTo>
                    <a:pt x="165" y="9"/>
                  </a:lnTo>
                  <a:lnTo>
                    <a:pt x="163" y="9"/>
                  </a:lnTo>
                  <a:lnTo>
                    <a:pt x="161" y="9"/>
                  </a:lnTo>
                  <a:lnTo>
                    <a:pt x="158" y="9"/>
                  </a:lnTo>
                  <a:lnTo>
                    <a:pt x="151" y="9"/>
                  </a:lnTo>
                  <a:lnTo>
                    <a:pt x="144" y="7"/>
                  </a:lnTo>
                  <a:lnTo>
                    <a:pt x="142" y="7"/>
                  </a:lnTo>
                  <a:lnTo>
                    <a:pt x="137" y="4"/>
                  </a:lnTo>
                  <a:lnTo>
                    <a:pt x="135" y="4"/>
                  </a:lnTo>
                  <a:lnTo>
                    <a:pt x="130" y="7"/>
                  </a:lnTo>
                  <a:lnTo>
                    <a:pt x="118" y="7"/>
                  </a:lnTo>
                  <a:lnTo>
                    <a:pt x="116" y="7"/>
                  </a:lnTo>
                  <a:lnTo>
                    <a:pt x="111" y="7"/>
                  </a:lnTo>
                  <a:lnTo>
                    <a:pt x="106" y="7"/>
                  </a:lnTo>
                  <a:lnTo>
                    <a:pt x="104" y="7"/>
                  </a:lnTo>
                  <a:lnTo>
                    <a:pt x="102" y="4"/>
                  </a:lnTo>
                  <a:lnTo>
                    <a:pt x="99" y="4"/>
                  </a:lnTo>
                  <a:lnTo>
                    <a:pt x="95" y="4"/>
                  </a:lnTo>
                  <a:lnTo>
                    <a:pt x="92" y="4"/>
                  </a:lnTo>
                  <a:lnTo>
                    <a:pt x="85" y="0"/>
                  </a:lnTo>
                  <a:lnTo>
                    <a:pt x="83" y="2"/>
                  </a:lnTo>
                  <a:lnTo>
                    <a:pt x="80" y="2"/>
                  </a:lnTo>
                  <a:lnTo>
                    <a:pt x="78" y="2"/>
                  </a:lnTo>
                  <a:lnTo>
                    <a:pt x="73" y="7"/>
                  </a:lnTo>
                  <a:lnTo>
                    <a:pt x="73" y="9"/>
                  </a:lnTo>
                  <a:lnTo>
                    <a:pt x="73" y="12"/>
                  </a:lnTo>
                  <a:lnTo>
                    <a:pt x="71" y="16"/>
                  </a:lnTo>
                  <a:lnTo>
                    <a:pt x="71" y="19"/>
                  </a:lnTo>
                  <a:lnTo>
                    <a:pt x="66" y="16"/>
                  </a:lnTo>
                  <a:lnTo>
                    <a:pt x="61" y="14"/>
                  </a:lnTo>
                  <a:lnTo>
                    <a:pt x="57" y="12"/>
                  </a:lnTo>
                  <a:lnTo>
                    <a:pt x="54" y="12"/>
                  </a:lnTo>
                  <a:lnTo>
                    <a:pt x="52" y="12"/>
                  </a:lnTo>
                  <a:lnTo>
                    <a:pt x="47" y="12"/>
                  </a:lnTo>
                  <a:lnTo>
                    <a:pt x="43" y="9"/>
                  </a:lnTo>
                  <a:lnTo>
                    <a:pt x="40" y="9"/>
                  </a:lnTo>
                  <a:lnTo>
                    <a:pt x="38" y="9"/>
                  </a:lnTo>
                  <a:lnTo>
                    <a:pt x="33" y="9"/>
                  </a:lnTo>
                  <a:lnTo>
                    <a:pt x="31" y="12"/>
                  </a:lnTo>
                  <a:lnTo>
                    <a:pt x="31" y="14"/>
                  </a:lnTo>
                  <a:lnTo>
                    <a:pt x="31" y="16"/>
                  </a:lnTo>
                  <a:lnTo>
                    <a:pt x="28" y="19"/>
                  </a:lnTo>
                  <a:lnTo>
                    <a:pt x="28" y="21"/>
                  </a:lnTo>
                  <a:lnTo>
                    <a:pt x="33" y="23"/>
                  </a:lnTo>
                  <a:lnTo>
                    <a:pt x="33" y="26"/>
                  </a:lnTo>
                  <a:lnTo>
                    <a:pt x="28" y="28"/>
                  </a:lnTo>
                  <a:lnTo>
                    <a:pt x="26" y="30"/>
                  </a:lnTo>
                  <a:lnTo>
                    <a:pt x="21" y="35"/>
                  </a:lnTo>
                  <a:lnTo>
                    <a:pt x="17" y="38"/>
                  </a:lnTo>
                  <a:lnTo>
                    <a:pt x="17" y="40"/>
                  </a:lnTo>
                  <a:lnTo>
                    <a:pt x="19" y="42"/>
                  </a:lnTo>
                  <a:lnTo>
                    <a:pt x="21" y="42"/>
                  </a:lnTo>
                  <a:lnTo>
                    <a:pt x="24" y="42"/>
                  </a:lnTo>
                  <a:lnTo>
                    <a:pt x="26" y="45"/>
                  </a:lnTo>
                  <a:lnTo>
                    <a:pt x="33" y="49"/>
                  </a:lnTo>
                  <a:lnTo>
                    <a:pt x="35" y="49"/>
                  </a:lnTo>
                  <a:lnTo>
                    <a:pt x="38" y="47"/>
                  </a:lnTo>
                  <a:lnTo>
                    <a:pt x="40" y="45"/>
                  </a:lnTo>
                  <a:lnTo>
                    <a:pt x="40" y="40"/>
                  </a:lnTo>
                  <a:lnTo>
                    <a:pt x="43" y="42"/>
                  </a:lnTo>
                  <a:lnTo>
                    <a:pt x="45" y="45"/>
                  </a:lnTo>
                  <a:lnTo>
                    <a:pt x="45" y="47"/>
                  </a:lnTo>
                  <a:lnTo>
                    <a:pt x="50" y="49"/>
                  </a:lnTo>
                  <a:lnTo>
                    <a:pt x="52" y="52"/>
                  </a:lnTo>
                  <a:lnTo>
                    <a:pt x="54" y="49"/>
                  </a:lnTo>
                  <a:lnTo>
                    <a:pt x="57" y="54"/>
                  </a:lnTo>
                  <a:lnTo>
                    <a:pt x="61" y="54"/>
                  </a:lnTo>
                  <a:lnTo>
                    <a:pt x="66" y="54"/>
                  </a:lnTo>
                  <a:lnTo>
                    <a:pt x="66" y="56"/>
                  </a:lnTo>
                  <a:lnTo>
                    <a:pt x="66" y="59"/>
                  </a:lnTo>
                  <a:lnTo>
                    <a:pt x="61" y="59"/>
                  </a:lnTo>
                  <a:lnTo>
                    <a:pt x="59" y="61"/>
                  </a:lnTo>
                  <a:lnTo>
                    <a:pt x="57" y="64"/>
                  </a:lnTo>
                  <a:lnTo>
                    <a:pt x="54" y="61"/>
                  </a:lnTo>
                  <a:lnTo>
                    <a:pt x="54" y="64"/>
                  </a:lnTo>
                  <a:lnTo>
                    <a:pt x="50" y="64"/>
                  </a:lnTo>
                  <a:lnTo>
                    <a:pt x="50" y="66"/>
                  </a:lnTo>
                  <a:lnTo>
                    <a:pt x="47" y="68"/>
                  </a:lnTo>
                  <a:lnTo>
                    <a:pt x="45" y="68"/>
                  </a:lnTo>
                  <a:lnTo>
                    <a:pt x="40" y="71"/>
                  </a:lnTo>
                  <a:lnTo>
                    <a:pt x="35" y="68"/>
                  </a:lnTo>
                  <a:lnTo>
                    <a:pt x="33" y="68"/>
                  </a:lnTo>
                  <a:lnTo>
                    <a:pt x="28" y="68"/>
                  </a:lnTo>
                  <a:lnTo>
                    <a:pt x="28" y="71"/>
                  </a:lnTo>
                  <a:lnTo>
                    <a:pt x="26" y="73"/>
                  </a:lnTo>
                  <a:lnTo>
                    <a:pt x="24" y="75"/>
                  </a:lnTo>
                  <a:lnTo>
                    <a:pt x="21" y="75"/>
                  </a:lnTo>
                  <a:lnTo>
                    <a:pt x="17" y="73"/>
                  </a:lnTo>
                  <a:lnTo>
                    <a:pt x="14" y="73"/>
                  </a:lnTo>
                  <a:lnTo>
                    <a:pt x="9" y="73"/>
                  </a:lnTo>
                  <a:lnTo>
                    <a:pt x="7" y="73"/>
                  </a:lnTo>
                  <a:lnTo>
                    <a:pt x="5" y="73"/>
                  </a:lnTo>
                  <a:lnTo>
                    <a:pt x="0" y="75"/>
                  </a:lnTo>
                  <a:lnTo>
                    <a:pt x="0" y="78"/>
                  </a:lnTo>
                  <a:lnTo>
                    <a:pt x="0" y="82"/>
                  </a:lnTo>
                  <a:lnTo>
                    <a:pt x="2" y="85"/>
                  </a:lnTo>
                  <a:lnTo>
                    <a:pt x="5" y="85"/>
                  </a:lnTo>
                  <a:lnTo>
                    <a:pt x="7" y="85"/>
                  </a:lnTo>
                  <a:lnTo>
                    <a:pt x="12" y="85"/>
                  </a:lnTo>
                  <a:lnTo>
                    <a:pt x="19" y="85"/>
                  </a:lnTo>
                  <a:lnTo>
                    <a:pt x="21" y="85"/>
                  </a:lnTo>
                  <a:lnTo>
                    <a:pt x="24" y="85"/>
                  </a:lnTo>
                  <a:lnTo>
                    <a:pt x="26" y="87"/>
                  </a:lnTo>
                  <a:lnTo>
                    <a:pt x="28" y="87"/>
                  </a:lnTo>
                  <a:lnTo>
                    <a:pt x="38" y="85"/>
                  </a:lnTo>
                  <a:lnTo>
                    <a:pt x="40" y="85"/>
                  </a:lnTo>
                  <a:lnTo>
                    <a:pt x="43" y="87"/>
                  </a:lnTo>
                  <a:lnTo>
                    <a:pt x="45" y="92"/>
                  </a:lnTo>
                  <a:lnTo>
                    <a:pt x="50" y="90"/>
                  </a:lnTo>
                  <a:lnTo>
                    <a:pt x="52" y="92"/>
                  </a:lnTo>
                  <a:lnTo>
                    <a:pt x="57" y="90"/>
                  </a:lnTo>
                  <a:lnTo>
                    <a:pt x="61" y="90"/>
                  </a:lnTo>
                  <a:lnTo>
                    <a:pt x="66" y="90"/>
                  </a:lnTo>
                  <a:lnTo>
                    <a:pt x="69" y="90"/>
                  </a:lnTo>
                  <a:lnTo>
                    <a:pt x="73" y="90"/>
                  </a:lnTo>
                  <a:lnTo>
                    <a:pt x="73" y="85"/>
                  </a:lnTo>
                  <a:lnTo>
                    <a:pt x="80" y="85"/>
                  </a:lnTo>
                  <a:lnTo>
                    <a:pt x="80" y="8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2" name="Freeform 615">
              <a:extLst>
                <a:ext uri="{FF2B5EF4-FFF2-40B4-BE49-F238E27FC236}">
                  <a16:creationId xmlns:a16="http://schemas.microsoft.com/office/drawing/2014/main" id="{8FB01DB3-71EC-482E-87E3-D8C8C9A21CE9}"/>
                </a:ext>
              </a:extLst>
            </p:cNvPr>
            <p:cNvSpPr>
              <a:spLocks/>
            </p:cNvSpPr>
            <p:nvPr/>
          </p:nvSpPr>
          <p:spPr bwMode="auto">
            <a:xfrm>
              <a:off x="791418" y="4065553"/>
              <a:ext cx="176213" cy="123825"/>
            </a:xfrm>
            <a:custGeom>
              <a:avLst/>
              <a:gdLst>
                <a:gd name="T0" fmla="*/ 14 w 111"/>
                <a:gd name="T1" fmla="*/ 49 h 78"/>
                <a:gd name="T2" fmla="*/ 9 w 111"/>
                <a:gd name="T3" fmla="*/ 40 h 78"/>
                <a:gd name="T4" fmla="*/ 2 w 111"/>
                <a:gd name="T5" fmla="*/ 35 h 78"/>
                <a:gd name="T6" fmla="*/ 0 w 111"/>
                <a:gd name="T7" fmla="*/ 33 h 78"/>
                <a:gd name="T8" fmla="*/ 12 w 111"/>
                <a:gd name="T9" fmla="*/ 26 h 78"/>
                <a:gd name="T10" fmla="*/ 19 w 111"/>
                <a:gd name="T11" fmla="*/ 9 h 78"/>
                <a:gd name="T12" fmla="*/ 23 w 111"/>
                <a:gd name="T13" fmla="*/ 2 h 78"/>
                <a:gd name="T14" fmla="*/ 31 w 111"/>
                <a:gd name="T15" fmla="*/ 2 h 78"/>
                <a:gd name="T16" fmla="*/ 40 w 111"/>
                <a:gd name="T17" fmla="*/ 0 h 78"/>
                <a:gd name="T18" fmla="*/ 42 w 111"/>
                <a:gd name="T19" fmla="*/ 0 h 78"/>
                <a:gd name="T20" fmla="*/ 54 w 111"/>
                <a:gd name="T21" fmla="*/ 0 h 78"/>
                <a:gd name="T22" fmla="*/ 59 w 111"/>
                <a:gd name="T23" fmla="*/ 2 h 78"/>
                <a:gd name="T24" fmla="*/ 66 w 111"/>
                <a:gd name="T25" fmla="*/ 9 h 78"/>
                <a:gd name="T26" fmla="*/ 71 w 111"/>
                <a:gd name="T27" fmla="*/ 9 h 78"/>
                <a:gd name="T28" fmla="*/ 75 w 111"/>
                <a:gd name="T29" fmla="*/ 16 h 78"/>
                <a:gd name="T30" fmla="*/ 80 w 111"/>
                <a:gd name="T31" fmla="*/ 21 h 78"/>
                <a:gd name="T32" fmla="*/ 82 w 111"/>
                <a:gd name="T33" fmla="*/ 23 h 78"/>
                <a:gd name="T34" fmla="*/ 85 w 111"/>
                <a:gd name="T35" fmla="*/ 26 h 78"/>
                <a:gd name="T36" fmla="*/ 90 w 111"/>
                <a:gd name="T37" fmla="*/ 28 h 78"/>
                <a:gd name="T38" fmla="*/ 92 w 111"/>
                <a:gd name="T39" fmla="*/ 33 h 78"/>
                <a:gd name="T40" fmla="*/ 94 w 111"/>
                <a:gd name="T41" fmla="*/ 37 h 78"/>
                <a:gd name="T42" fmla="*/ 97 w 111"/>
                <a:gd name="T43" fmla="*/ 42 h 78"/>
                <a:gd name="T44" fmla="*/ 99 w 111"/>
                <a:gd name="T45" fmla="*/ 49 h 78"/>
                <a:gd name="T46" fmla="*/ 99 w 111"/>
                <a:gd name="T47" fmla="*/ 56 h 78"/>
                <a:gd name="T48" fmla="*/ 104 w 111"/>
                <a:gd name="T49" fmla="*/ 59 h 78"/>
                <a:gd name="T50" fmla="*/ 106 w 111"/>
                <a:gd name="T51" fmla="*/ 61 h 78"/>
                <a:gd name="T52" fmla="*/ 108 w 111"/>
                <a:gd name="T53" fmla="*/ 66 h 78"/>
                <a:gd name="T54" fmla="*/ 108 w 111"/>
                <a:gd name="T55" fmla="*/ 71 h 78"/>
                <a:gd name="T56" fmla="*/ 111 w 111"/>
                <a:gd name="T57" fmla="*/ 75 h 78"/>
                <a:gd name="T58" fmla="*/ 104 w 111"/>
                <a:gd name="T59" fmla="*/ 75 h 78"/>
                <a:gd name="T60" fmla="*/ 94 w 111"/>
                <a:gd name="T61" fmla="*/ 78 h 78"/>
                <a:gd name="T62" fmla="*/ 87 w 111"/>
                <a:gd name="T63" fmla="*/ 75 h 78"/>
                <a:gd name="T64" fmla="*/ 82 w 111"/>
                <a:gd name="T65" fmla="*/ 75 h 78"/>
                <a:gd name="T66" fmla="*/ 75 w 111"/>
                <a:gd name="T67" fmla="*/ 71 h 78"/>
                <a:gd name="T68" fmla="*/ 52 w 111"/>
                <a:gd name="T69" fmla="*/ 71 h 78"/>
                <a:gd name="T70" fmla="*/ 35 w 111"/>
                <a:gd name="T71" fmla="*/ 73 h 78"/>
                <a:gd name="T72" fmla="*/ 19 w 111"/>
                <a:gd name="T73" fmla="*/ 78 h 78"/>
                <a:gd name="T74" fmla="*/ 14 w 111"/>
                <a:gd name="T75" fmla="*/ 75 h 78"/>
                <a:gd name="T76" fmla="*/ 16 w 111"/>
                <a:gd name="T77" fmla="*/ 61 h 78"/>
                <a:gd name="T78" fmla="*/ 33 w 111"/>
                <a:gd name="T79" fmla="*/ 59 h 78"/>
                <a:gd name="T80" fmla="*/ 40 w 111"/>
                <a:gd name="T81" fmla="*/ 56 h 78"/>
                <a:gd name="T82" fmla="*/ 47 w 111"/>
                <a:gd name="T83" fmla="*/ 56 h 78"/>
                <a:gd name="T84" fmla="*/ 57 w 111"/>
                <a:gd name="T85" fmla="*/ 61 h 78"/>
                <a:gd name="T86" fmla="*/ 66 w 111"/>
                <a:gd name="T87" fmla="*/ 59 h 78"/>
                <a:gd name="T88" fmla="*/ 66 w 111"/>
                <a:gd name="T89" fmla="*/ 54 h 78"/>
                <a:gd name="T90" fmla="*/ 61 w 111"/>
                <a:gd name="T91" fmla="*/ 54 h 78"/>
                <a:gd name="T92" fmla="*/ 54 w 111"/>
                <a:gd name="T93" fmla="*/ 54 h 78"/>
                <a:gd name="T94" fmla="*/ 45 w 111"/>
                <a:gd name="T95" fmla="*/ 52 h 78"/>
                <a:gd name="T96" fmla="*/ 40 w 111"/>
                <a:gd name="T97"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78">
                  <a:moveTo>
                    <a:pt x="19" y="54"/>
                  </a:moveTo>
                  <a:lnTo>
                    <a:pt x="16" y="54"/>
                  </a:lnTo>
                  <a:lnTo>
                    <a:pt x="16" y="52"/>
                  </a:lnTo>
                  <a:lnTo>
                    <a:pt x="14" y="49"/>
                  </a:lnTo>
                  <a:lnTo>
                    <a:pt x="14" y="47"/>
                  </a:lnTo>
                  <a:lnTo>
                    <a:pt x="14" y="45"/>
                  </a:lnTo>
                  <a:lnTo>
                    <a:pt x="12" y="42"/>
                  </a:lnTo>
                  <a:lnTo>
                    <a:pt x="9" y="40"/>
                  </a:lnTo>
                  <a:lnTo>
                    <a:pt x="7" y="37"/>
                  </a:lnTo>
                  <a:lnTo>
                    <a:pt x="5" y="35"/>
                  </a:lnTo>
                  <a:lnTo>
                    <a:pt x="5" y="35"/>
                  </a:lnTo>
                  <a:lnTo>
                    <a:pt x="2" y="35"/>
                  </a:lnTo>
                  <a:lnTo>
                    <a:pt x="2" y="35"/>
                  </a:lnTo>
                  <a:lnTo>
                    <a:pt x="0" y="35"/>
                  </a:lnTo>
                  <a:lnTo>
                    <a:pt x="0" y="33"/>
                  </a:lnTo>
                  <a:lnTo>
                    <a:pt x="0" y="33"/>
                  </a:lnTo>
                  <a:lnTo>
                    <a:pt x="2" y="33"/>
                  </a:lnTo>
                  <a:lnTo>
                    <a:pt x="7" y="33"/>
                  </a:lnTo>
                  <a:lnTo>
                    <a:pt x="12" y="28"/>
                  </a:lnTo>
                  <a:lnTo>
                    <a:pt x="12" y="26"/>
                  </a:lnTo>
                  <a:lnTo>
                    <a:pt x="14" y="23"/>
                  </a:lnTo>
                  <a:lnTo>
                    <a:pt x="19" y="16"/>
                  </a:lnTo>
                  <a:lnTo>
                    <a:pt x="19" y="14"/>
                  </a:lnTo>
                  <a:lnTo>
                    <a:pt x="19" y="9"/>
                  </a:lnTo>
                  <a:lnTo>
                    <a:pt x="19" y="9"/>
                  </a:lnTo>
                  <a:lnTo>
                    <a:pt x="19" y="9"/>
                  </a:lnTo>
                  <a:lnTo>
                    <a:pt x="21" y="7"/>
                  </a:lnTo>
                  <a:lnTo>
                    <a:pt x="23" y="2"/>
                  </a:lnTo>
                  <a:lnTo>
                    <a:pt x="23" y="2"/>
                  </a:lnTo>
                  <a:lnTo>
                    <a:pt x="23" y="2"/>
                  </a:lnTo>
                  <a:lnTo>
                    <a:pt x="28" y="2"/>
                  </a:lnTo>
                  <a:lnTo>
                    <a:pt x="31" y="2"/>
                  </a:lnTo>
                  <a:lnTo>
                    <a:pt x="33" y="2"/>
                  </a:lnTo>
                  <a:lnTo>
                    <a:pt x="35" y="2"/>
                  </a:lnTo>
                  <a:lnTo>
                    <a:pt x="35" y="2"/>
                  </a:lnTo>
                  <a:lnTo>
                    <a:pt x="40" y="0"/>
                  </a:lnTo>
                  <a:lnTo>
                    <a:pt x="42" y="0"/>
                  </a:lnTo>
                  <a:lnTo>
                    <a:pt x="42" y="0"/>
                  </a:lnTo>
                  <a:lnTo>
                    <a:pt x="42" y="0"/>
                  </a:lnTo>
                  <a:lnTo>
                    <a:pt x="42" y="0"/>
                  </a:lnTo>
                  <a:lnTo>
                    <a:pt x="45" y="0"/>
                  </a:lnTo>
                  <a:lnTo>
                    <a:pt x="47" y="0"/>
                  </a:lnTo>
                  <a:lnTo>
                    <a:pt x="49" y="0"/>
                  </a:lnTo>
                  <a:lnTo>
                    <a:pt x="54" y="0"/>
                  </a:lnTo>
                  <a:lnTo>
                    <a:pt x="54" y="0"/>
                  </a:lnTo>
                  <a:lnTo>
                    <a:pt x="57" y="0"/>
                  </a:lnTo>
                  <a:lnTo>
                    <a:pt x="57" y="2"/>
                  </a:lnTo>
                  <a:lnTo>
                    <a:pt x="59" y="2"/>
                  </a:lnTo>
                  <a:lnTo>
                    <a:pt x="61" y="4"/>
                  </a:lnTo>
                  <a:lnTo>
                    <a:pt x="64" y="7"/>
                  </a:lnTo>
                  <a:lnTo>
                    <a:pt x="66" y="9"/>
                  </a:lnTo>
                  <a:lnTo>
                    <a:pt x="66" y="9"/>
                  </a:lnTo>
                  <a:lnTo>
                    <a:pt x="68" y="7"/>
                  </a:lnTo>
                  <a:lnTo>
                    <a:pt x="68" y="9"/>
                  </a:lnTo>
                  <a:lnTo>
                    <a:pt x="68" y="9"/>
                  </a:lnTo>
                  <a:lnTo>
                    <a:pt x="71" y="9"/>
                  </a:lnTo>
                  <a:lnTo>
                    <a:pt x="71" y="9"/>
                  </a:lnTo>
                  <a:lnTo>
                    <a:pt x="75" y="14"/>
                  </a:lnTo>
                  <a:lnTo>
                    <a:pt x="75" y="16"/>
                  </a:lnTo>
                  <a:lnTo>
                    <a:pt x="75" y="16"/>
                  </a:lnTo>
                  <a:lnTo>
                    <a:pt x="78" y="19"/>
                  </a:lnTo>
                  <a:lnTo>
                    <a:pt x="78" y="19"/>
                  </a:lnTo>
                  <a:lnTo>
                    <a:pt x="78" y="21"/>
                  </a:lnTo>
                  <a:lnTo>
                    <a:pt x="80" y="21"/>
                  </a:lnTo>
                  <a:lnTo>
                    <a:pt x="80" y="21"/>
                  </a:lnTo>
                  <a:lnTo>
                    <a:pt x="80" y="21"/>
                  </a:lnTo>
                  <a:lnTo>
                    <a:pt x="82" y="23"/>
                  </a:lnTo>
                  <a:lnTo>
                    <a:pt x="82" y="23"/>
                  </a:lnTo>
                  <a:lnTo>
                    <a:pt x="82" y="23"/>
                  </a:lnTo>
                  <a:lnTo>
                    <a:pt x="82" y="23"/>
                  </a:lnTo>
                  <a:lnTo>
                    <a:pt x="82" y="26"/>
                  </a:lnTo>
                  <a:lnTo>
                    <a:pt x="85" y="26"/>
                  </a:lnTo>
                  <a:lnTo>
                    <a:pt x="85" y="26"/>
                  </a:lnTo>
                  <a:lnTo>
                    <a:pt x="85" y="28"/>
                  </a:lnTo>
                  <a:lnTo>
                    <a:pt x="87" y="28"/>
                  </a:lnTo>
                  <a:lnTo>
                    <a:pt x="90" y="28"/>
                  </a:lnTo>
                  <a:lnTo>
                    <a:pt x="90" y="28"/>
                  </a:lnTo>
                  <a:lnTo>
                    <a:pt x="90" y="30"/>
                  </a:lnTo>
                  <a:lnTo>
                    <a:pt x="90" y="30"/>
                  </a:lnTo>
                  <a:lnTo>
                    <a:pt x="92" y="33"/>
                  </a:lnTo>
                  <a:lnTo>
                    <a:pt x="94" y="33"/>
                  </a:lnTo>
                  <a:lnTo>
                    <a:pt x="97" y="35"/>
                  </a:lnTo>
                  <a:lnTo>
                    <a:pt x="97" y="35"/>
                  </a:lnTo>
                  <a:lnTo>
                    <a:pt x="94" y="37"/>
                  </a:lnTo>
                  <a:lnTo>
                    <a:pt x="94" y="40"/>
                  </a:lnTo>
                  <a:lnTo>
                    <a:pt x="97" y="40"/>
                  </a:lnTo>
                  <a:lnTo>
                    <a:pt x="97" y="42"/>
                  </a:lnTo>
                  <a:lnTo>
                    <a:pt x="97" y="42"/>
                  </a:lnTo>
                  <a:lnTo>
                    <a:pt x="97" y="42"/>
                  </a:lnTo>
                  <a:lnTo>
                    <a:pt x="99" y="45"/>
                  </a:lnTo>
                  <a:lnTo>
                    <a:pt x="99" y="47"/>
                  </a:lnTo>
                  <a:lnTo>
                    <a:pt x="99" y="49"/>
                  </a:lnTo>
                  <a:lnTo>
                    <a:pt x="99" y="49"/>
                  </a:lnTo>
                  <a:lnTo>
                    <a:pt x="97" y="52"/>
                  </a:lnTo>
                  <a:lnTo>
                    <a:pt x="97" y="54"/>
                  </a:lnTo>
                  <a:lnTo>
                    <a:pt x="99" y="56"/>
                  </a:lnTo>
                  <a:lnTo>
                    <a:pt x="101" y="59"/>
                  </a:lnTo>
                  <a:lnTo>
                    <a:pt x="101" y="59"/>
                  </a:lnTo>
                  <a:lnTo>
                    <a:pt x="101" y="59"/>
                  </a:lnTo>
                  <a:lnTo>
                    <a:pt x="104" y="59"/>
                  </a:lnTo>
                  <a:lnTo>
                    <a:pt x="104" y="59"/>
                  </a:lnTo>
                  <a:lnTo>
                    <a:pt x="104" y="59"/>
                  </a:lnTo>
                  <a:lnTo>
                    <a:pt x="106" y="61"/>
                  </a:lnTo>
                  <a:lnTo>
                    <a:pt x="106" y="61"/>
                  </a:lnTo>
                  <a:lnTo>
                    <a:pt x="106" y="61"/>
                  </a:lnTo>
                  <a:lnTo>
                    <a:pt x="108" y="63"/>
                  </a:lnTo>
                  <a:lnTo>
                    <a:pt x="108" y="66"/>
                  </a:lnTo>
                  <a:lnTo>
                    <a:pt x="108" y="66"/>
                  </a:lnTo>
                  <a:lnTo>
                    <a:pt x="108" y="66"/>
                  </a:lnTo>
                  <a:lnTo>
                    <a:pt x="108" y="68"/>
                  </a:lnTo>
                  <a:lnTo>
                    <a:pt x="108" y="68"/>
                  </a:lnTo>
                  <a:lnTo>
                    <a:pt x="108" y="71"/>
                  </a:lnTo>
                  <a:lnTo>
                    <a:pt x="108" y="71"/>
                  </a:lnTo>
                  <a:lnTo>
                    <a:pt x="108" y="73"/>
                  </a:lnTo>
                  <a:lnTo>
                    <a:pt x="111" y="73"/>
                  </a:lnTo>
                  <a:lnTo>
                    <a:pt x="111" y="75"/>
                  </a:lnTo>
                  <a:lnTo>
                    <a:pt x="108" y="75"/>
                  </a:lnTo>
                  <a:lnTo>
                    <a:pt x="106" y="75"/>
                  </a:lnTo>
                  <a:lnTo>
                    <a:pt x="104" y="75"/>
                  </a:lnTo>
                  <a:lnTo>
                    <a:pt x="104" y="75"/>
                  </a:lnTo>
                  <a:lnTo>
                    <a:pt x="99" y="75"/>
                  </a:lnTo>
                  <a:lnTo>
                    <a:pt x="99" y="75"/>
                  </a:lnTo>
                  <a:lnTo>
                    <a:pt x="97" y="75"/>
                  </a:lnTo>
                  <a:lnTo>
                    <a:pt x="94" y="78"/>
                  </a:lnTo>
                  <a:lnTo>
                    <a:pt x="92" y="78"/>
                  </a:lnTo>
                  <a:lnTo>
                    <a:pt x="90" y="75"/>
                  </a:lnTo>
                  <a:lnTo>
                    <a:pt x="90" y="75"/>
                  </a:lnTo>
                  <a:lnTo>
                    <a:pt x="87" y="75"/>
                  </a:lnTo>
                  <a:lnTo>
                    <a:pt x="85" y="75"/>
                  </a:lnTo>
                  <a:lnTo>
                    <a:pt x="82" y="73"/>
                  </a:lnTo>
                  <a:lnTo>
                    <a:pt x="82" y="73"/>
                  </a:lnTo>
                  <a:lnTo>
                    <a:pt x="82" y="75"/>
                  </a:lnTo>
                  <a:lnTo>
                    <a:pt x="80" y="75"/>
                  </a:lnTo>
                  <a:lnTo>
                    <a:pt x="80" y="73"/>
                  </a:lnTo>
                  <a:lnTo>
                    <a:pt x="78" y="71"/>
                  </a:lnTo>
                  <a:lnTo>
                    <a:pt x="75" y="71"/>
                  </a:lnTo>
                  <a:lnTo>
                    <a:pt x="73" y="71"/>
                  </a:lnTo>
                  <a:lnTo>
                    <a:pt x="73" y="71"/>
                  </a:lnTo>
                  <a:lnTo>
                    <a:pt x="68" y="71"/>
                  </a:lnTo>
                  <a:lnTo>
                    <a:pt x="52" y="71"/>
                  </a:lnTo>
                  <a:lnTo>
                    <a:pt x="52" y="71"/>
                  </a:lnTo>
                  <a:lnTo>
                    <a:pt x="42" y="71"/>
                  </a:lnTo>
                  <a:lnTo>
                    <a:pt x="40" y="73"/>
                  </a:lnTo>
                  <a:lnTo>
                    <a:pt x="35" y="73"/>
                  </a:lnTo>
                  <a:lnTo>
                    <a:pt x="33" y="75"/>
                  </a:lnTo>
                  <a:lnTo>
                    <a:pt x="23" y="75"/>
                  </a:lnTo>
                  <a:lnTo>
                    <a:pt x="21" y="75"/>
                  </a:lnTo>
                  <a:lnTo>
                    <a:pt x="19" y="78"/>
                  </a:lnTo>
                  <a:lnTo>
                    <a:pt x="16" y="78"/>
                  </a:lnTo>
                  <a:lnTo>
                    <a:pt x="16" y="75"/>
                  </a:lnTo>
                  <a:lnTo>
                    <a:pt x="14" y="75"/>
                  </a:lnTo>
                  <a:lnTo>
                    <a:pt x="14" y="75"/>
                  </a:lnTo>
                  <a:lnTo>
                    <a:pt x="14" y="75"/>
                  </a:lnTo>
                  <a:lnTo>
                    <a:pt x="14" y="75"/>
                  </a:lnTo>
                  <a:lnTo>
                    <a:pt x="14" y="63"/>
                  </a:lnTo>
                  <a:lnTo>
                    <a:pt x="16" y="61"/>
                  </a:lnTo>
                  <a:lnTo>
                    <a:pt x="28" y="61"/>
                  </a:lnTo>
                  <a:lnTo>
                    <a:pt x="31" y="61"/>
                  </a:lnTo>
                  <a:lnTo>
                    <a:pt x="31" y="61"/>
                  </a:lnTo>
                  <a:lnTo>
                    <a:pt x="33" y="59"/>
                  </a:lnTo>
                  <a:lnTo>
                    <a:pt x="33" y="59"/>
                  </a:lnTo>
                  <a:lnTo>
                    <a:pt x="35" y="59"/>
                  </a:lnTo>
                  <a:lnTo>
                    <a:pt x="38" y="59"/>
                  </a:lnTo>
                  <a:lnTo>
                    <a:pt x="40" y="56"/>
                  </a:lnTo>
                  <a:lnTo>
                    <a:pt x="42" y="56"/>
                  </a:lnTo>
                  <a:lnTo>
                    <a:pt x="42" y="54"/>
                  </a:lnTo>
                  <a:lnTo>
                    <a:pt x="45" y="56"/>
                  </a:lnTo>
                  <a:lnTo>
                    <a:pt x="47" y="56"/>
                  </a:lnTo>
                  <a:lnTo>
                    <a:pt x="49" y="56"/>
                  </a:lnTo>
                  <a:lnTo>
                    <a:pt x="52" y="59"/>
                  </a:lnTo>
                  <a:lnTo>
                    <a:pt x="54" y="59"/>
                  </a:lnTo>
                  <a:lnTo>
                    <a:pt x="57" y="61"/>
                  </a:lnTo>
                  <a:lnTo>
                    <a:pt x="59" y="61"/>
                  </a:lnTo>
                  <a:lnTo>
                    <a:pt x="59" y="61"/>
                  </a:lnTo>
                  <a:lnTo>
                    <a:pt x="61" y="59"/>
                  </a:lnTo>
                  <a:lnTo>
                    <a:pt x="66" y="59"/>
                  </a:lnTo>
                  <a:lnTo>
                    <a:pt x="66" y="59"/>
                  </a:lnTo>
                  <a:lnTo>
                    <a:pt x="66" y="56"/>
                  </a:lnTo>
                  <a:lnTo>
                    <a:pt x="66" y="54"/>
                  </a:lnTo>
                  <a:lnTo>
                    <a:pt x="66" y="54"/>
                  </a:lnTo>
                  <a:lnTo>
                    <a:pt x="66" y="56"/>
                  </a:lnTo>
                  <a:lnTo>
                    <a:pt x="64" y="54"/>
                  </a:lnTo>
                  <a:lnTo>
                    <a:pt x="64" y="54"/>
                  </a:lnTo>
                  <a:lnTo>
                    <a:pt x="61" y="54"/>
                  </a:lnTo>
                  <a:lnTo>
                    <a:pt x="59" y="56"/>
                  </a:lnTo>
                  <a:lnTo>
                    <a:pt x="57" y="56"/>
                  </a:lnTo>
                  <a:lnTo>
                    <a:pt x="54" y="56"/>
                  </a:lnTo>
                  <a:lnTo>
                    <a:pt x="54" y="54"/>
                  </a:lnTo>
                  <a:lnTo>
                    <a:pt x="52" y="54"/>
                  </a:lnTo>
                  <a:lnTo>
                    <a:pt x="49" y="54"/>
                  </a:lnTo>
                  <a:lnTo>
                    <a:pt x="47" y="52"/>
                  </a:lnTo>
                  <a:lnTo>
                    <a:pt x="45" y="52"/>
                  </a:lnTo>
                  <a:lnTo>
                    <a:pt x="45" y="49"/>
                  </a:lnTo>
                  <a:lnTo>
                    <a:pt x="42" y="49"/>
                  </a:lnTo>
                  <a:lnTo>
                    <a:pt x="40" y="52"/>
                  </a:lnTo>
                  <a:lnTo>
                    <a:pt x="40" y="52"/>
                  </a:lnTo>
                  <a:lnTo>
                    <a:pt x="38" y="52"/>
                  </a:lnTo>
                  <a:lnTo>
                    <a:pt x="35" y="54"/>
                  </a:lnTo>
                  <a:lnTo>
                    <a:pt x="19" y="5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3" name="Freeform 616">
              <a:extLst>
                <a:ext uri="{FF2B5EF4-FFF2-40B4-BE49-F238E27FC236}">
                  <a16:creationId xmlns:a16="http://schemas.microsoft.com/office/drawing/2014/main" id="{E7662F97-596E-4C8A-99D9-712E3E2523CF}"/>
                </a:ext>
              </a:extLst>
            </p:cNvPr>
            <p:cNvSpPr>
              <a:spLocks/>
            </p:cNvSpPr>
            <p:nvPr/>
          </p:nvSpPr>
          <p:spPr bwMode="auto">
            <a:xfrm>
              <a:off x="791418" y="4065553"/>
              <a:ext cx="176213" cy="123825"/>
            </a:xfrm>
            <a:custGeom>
              <a:avLst/>
              <a:gdLst>
                <a:gd name="T0" fmla="*/ 14 w 111"/>
                <a:gd name="T1" fmla="*/ 49 h 78"/>
                <a:gd name="T2" fmla="*/ 9 w 111"/>
                <a:gd name="T3" fmla="*/ 40 h 78"/>
                <a:gd name="T4" fmla="*/ 2 w 111"/>
                <a:gd name="T5" fmla="*/ 35 h 78"/>
                <a:gd name="T6" fmla="*/ 0 w 111"/>
                <a:gd name="T7" fmla="*/ 33 h 78"/>
                <a:gd name="T8" fmla="*/ 12 w 111"/>
                <a:gd name="T9" fmla="*/ 26 h 78"/>
                <a:gd name="T10" fmla="*/ 19 w 111"/>
                <a:gd name="T11" fmla="*/ 9 h 78"/>
                <a:gd name="T12" fmla="*/ 23 w 111"/>
                <a:gd name="T13" fmla="*/ 2 h 78"/>
                <a:gd name="T14" fmla="*/ 31 w 111"/>
                <a:gd name="T15" fmla="*/ 2 h 78"/>
                <a:gd name="T16" fmla="*/ 40 w 111"/>
                <a:gd name="T17" fmla="*/ 0 h 78"/>
                <a:gd name="T18" fmla="*/ 42 w 111"/>
                <a:gd name="T19" fmla="*/ 0 h 78"/>
                <a:gd name="T20" fmla="*/ 54 w 111"/>
                <a:gd name="T21" fmla="*/ 0 h 78"/>
                <a:gd name="T22" fmla="*/ 59 w 111"/>
                <a:gd name="T23" fmla="*/ 2 h 78"/>
                <a:gd name="T24" fmla="*/ 66 w 111"/>
                <a:gd name="T25" fmla="*/ 9 h 78"/>
                <a:gd name="T26" fmla="*/ 71 w 111"/>
                <a:gd name="T27" fmla="*/ 9 h 78"/>
                <a:gd name="T28" fmla="*/ 75 w 111"/>
                <a:gd name="T29" fmla="*/ 16 h 78"/>
                <a:gd name="T30" fmla="*/ 80 w 111"/>
                <a:gd name="T31" fmla="*/ 21 h 78"/>
                <a:gd name="T32" fmla="*/ 82 w 111"/>
                <a:gd name="T33" fmla="*/ 23 h 78"/>
                <a:gd name="T34" fmla="*/ 85 w 111"/>
                <a:gd name="T35" fmla="*/ 26 h 78"/>
                <a:gd name="T36" fmla="*/ 90 w 111"/>
                <a:gd name="T37" fmla="*/ 28 h 78"/>
                <a:gd name="T38" fmla="*/ 92 w 111"/>
                <a:gd name="T39" fmla="*/ 33 h 78"/>
                <a:gd name="T40" fmla="*/ 94 w 111"/>
                <a:gd name="T41" fmla="*/ 37 h 78"/>
                <a:gd name="T42" fmla="*/ 97 w 111"/>
                <a:gd name="T43" fmla="*/ 42 h 78"/>
                <a:gd name="T44" fmla="*/ 99 w 111"/>
                <a:gd name="T45" fmla="*/ 49 h 78"/>
                <a:gd name="T46" fmla="*/ 99 w 111"/>
                <a:gd name="T47" fmla="*/ 56 h 78"/>
                <a:gd name="T48" fmla="*/ 104 w 111"/>
                <a:gd name="T49" fmla="*/ 59 h 78"/>
                <a:gd name="T50" fmla="*/ 106 w 111"/>
                <a:gd name="T51" fmla="*/ 61 h 78"/>
                <a:gd name="T52" fmla="*/ 108 w 111"/>
                <a:gd name="T53" fmla="*/ 66 h 78"/>
                <a:gd name="T54" fmla="*/ 108 w 111"/>
                <a:gd name="T55" fmla="*/ 71 h 78"/>
                <a:gd name="T56" fmla="*/ 111 w 111"/>
                <a:gd name="T57" fmla="*/ 75 h 78"/>
                <a:gd name="T58" fmla="*/ 104 w 111"/>
                <a:gd name="T59" fmla="*/ 75 h 78"/>
                <a:gd name="T60" fmla="*/ 94 w 111"/>
                <a:gd name="T61" fmla="*/ 78 h 78"/>
                <a:gd name="T62" fmla="*/ 87 w 111"/>
                <a:gd name="T63" fmla="*/ 75 h 78"/>
                <a:gd name="T64" fmla="*/ 82 w 111"/>
                <a:gd name="T65" fmla="*/ 75 h 78"/>
                <a:gd name="T66" fmla="*/ 75 w 111"/>
                <a:gd name="T67" fmla="*/ 71 h 78"/>
                <a:gd name="T68" fmla="*/ 52 w 111"/>
                <a:gd name="T69" fmla="*/ 71 h 78"/>
                <a:gd name="T70" fmla="*/ 35 w 111"/>
                <a:gd name="T71" fmla="*/ 73 h 78"/>
                <a:gd name="T72" fmla="*/ 19 w 111"/>
                <a:gd name="T73" fmla="*/ 78 h 78"/>
                <a:gd name="T74" fmla="*/ 14 w 111"/>
                <a:gd name="T75" fmla="*/ 75 h 78"/>
                <a:gd name="T76" fmla="*/ 16 w 111"/>
                <a:gd name="T77" fmla="*/ 61 h 78"/>
                <a:gd name="T78" fmla="*/ 33 w 111"/>
                <a:gd name="T79" fmla="*/ 59 h 78"/>
                <a:gd name="T80" fmla="*/ 40 w 111"/>
                <a:gd name="T81" fmla="*/ 56 h 78"/>
                <a:gd name="T82" fmla="*/ 47 w 111"/>
                <a:gd name="T83" fmla="*/ 56 h 78"/>
                <a:gd name="T84" fmla="*/ 57 w 111"/>
                <a:gd name="T85" fmla="*/ 61 h 78"/>
                <a:gd name="T86" fmla="*/ 66 w 111"/>
                <a:gd name="T87" fmla="*/ 59 h 78"/>
                <a:gd name="T88" fmla="*/ 66 w 111"/>
                <a:gd name="T89" fmla="*/ 54 h 78"/>
                <a:gd name="T90" fmla="*/ 61 w 111"/>
                <a:gd name="T91" fmla="*/ 54 h 78"/>
                <a:gd name="T92" fmla="*/ 54 w 111"/>
                <a:gd name="T93" fmla="*/ 54 h 78"/>
                <a:gd name="T94" fmla="*/ 45 w 111"/>
                <a:gd name="T95" fmla="*/ 52 h 78"/>
                <a:gd name="T96" fmla="*/ 40 w 111"/>
                <a:gd name="T97"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78">
                  <a:moveTo>
                    <a:pt x="19" y="54"/>
                  </a:moveTo>
                  <a:lnTo>
                    <a:pt x="16" y="54"/>
                  </a:lnTo>
                  <a:lnTo>
                    <a:pt x="16" y="52"/>
                  </a:lnTo>
                  <a:lnTo>
                    <a:pt x="14" y="49"/>
                  </a:lnTo>
                  <a:lnTo>
                    <a:pt x="14" y="47"/>
                  </a:lnTo>
                  <a:lnTo>
                    <a:pt x="14" y="45"/>
                  </a:lnTo>
                  <a:lnTo>
                    <a:pt x="12" y="42"/>
                  </a:lnTo>
                  <a:lnTo>
                    <a:pt x="9" y="40"/>
                  </a:lnTo>
                  <a:lnTo>
                    <a:pt x="7" y="37"/>
                  </a:lnTo>
                  <a:lnTo>
                    <a:pt x="5" y="35"/>
                  </a:lnTo>
                  <a:lnTo>
                    <a:pt x="5" y="35"/>
                  </a:lnTo>
                  <a:lnTo>
                    <a:pt x="2" y="35"/>
                  </a:lnTo>
                  <a:lnTo>
                    <a:pt x="2" y="35"/>
                  </a:lnTo>
                  <a:lnTo>
                    <a:pt x="0" y="35"/>
                  </a:lnTo>
                  <a:lnTo>
                    <a:pt x="0" y="33"/>
                  </a:lnTo>
                  <a:lnTo>
                    <a:pt x="0" y="33"/>
                  </a:lnTo>
                  <a:lnTo>
                    <a:pt x="2" y="33"/>
                  </a:lnTo>
                  <a:lnTo>
                    <a:pt x="7" y="33"/>
                  </a:lnTo>
                  <a:lnTo>
                    <a:pt x="12" y="28"/>
                  </a:lnTo>
                  <a:lnTo>
                    <a:pt x="12" y="26"/>
                  </a:lnTo>
                  <a:lnTo>
                    <a:pt x="14" y="23"/>
                  </a:lnTo>
                  <a:lnTo>
                    <a:pt x="19" y="16"/>
                  </a:lnTo>
                  <a:lnTo>
                    <a:pt x="19" y="14"/>
                  </a:lnTo>
                  <a:lnTo>
                    <a:pt x="19" y="9"/>
                  </a:lnTo>
                  <a:lnTo>
                    <a:pt x="19" y="9"/>
                  </a:lnTo>
                  <a:lnTo>
                    <a:pt x="19" y="9"/>
                  </a:lnTo>
                  <a:lnTo>
                    <a:pt x="21" y="7"/>
                  </a:lnTo>
                  <a:lnTo>
                    <a:pt x="23" y="2"/>
                  </a:lnTo>
                  <a:lnTo>
                    <a:pt x="23" y="2"/>
                  </a:lnTo>
                  <a:lnTo>
                    <a:pt x="23" y="2"/>
                  </a:lnTo>
                  <a:lnTo>
                    <a:pt x="28" y="2"/>
                  </a:lnTo>
                  <a:lnTo>
                    <a:pt x="31" y="2"/>
                  </a:lnTo>
                  <a:lnTo>
                    <a:pt x="33" y="2"/>
                  </a:lnTo>
                  <a:lnTo>
                    <a:pt x="35" y="2"/>
                  </a:lnTo>
                  <a:lnTo>
                    <a:pt x="35" y="2"/>
                  </a:lnTo>
                  <a:lnTo>
                    <a:pt x="40" y="0"/>
                  </a:lnTo>
                  <a:lnTo>
                    <a:pt x="42" y="0"/>
                  </a:lnTo>
                  <a:lnTo>
                    <a:pt x="42" y="0"/>
                  </a:lnTo>
                  <a:lnTo>
                    <a:pt x="42" y="0"/>
                  </a:lnTo>
                  <a:lnTo>
                    <a:pt x="42" y="0"/>
                  </a:lnTo>
                  <a:lnTo>
                    <a:pt x="45" y="0"/>
                  </a:lnTo>
                  <a:lnTo>
                    <a:pt x="47" y="0"/>
                  </a:lnTo>
                  <a:lnTo>
                    <a:pt x="49" y="0"/>
                  </a:lnTo>
                  <a:lnTo>
                    <a:pt x="54" y="0"/>
                  </a:lnTo>
                  <a:lnTo>
                    <a:pt x="54" y="0"/>
                  </a:lnTo>
                  <a:lnTo>
                    <a:pt x="57" y="0"/>
                  </a:lnTo>
                  <a:lnTo>
                    <a:pt x="57" y="2"/>
                  </a:lnTo>
                  <a:lnTo>
                    <a:pt x="59" y="2"/>
                  </a:lnTo>
                  <a:lnTo>
                    <a:pt x="61" y="4"/>
                  </a:lnTo>
                  <a:lnTo>
                    <a:pt x="64" y="7"/>
                  </a:lnTo>
                  <a:lnTo>
                    <a:pt x="66" y="9"/>
                  </a:lnTo>
                  <a:lnTo>
                    <a:pt x="66" y="9"/>
                  </a:lnTo>
                  <a:lnTo>
                    <a:pt x="68" y="7"/>
                  </a:lnTo>
                  <a:lnTo>
                    <a:pt x="68" y="9"/>
                  </a:lnTo>
                  <a:lnTo>
                    <a:pt x="68" y="9"/>
                  </a:lnTo>
                  <a:lnTo>
                    <a:pt x="71" y="9"/>
                  </a:lnTo>
                  <a:lnTo>
                    <a:pt x="71" y="9"/>
                  </a:lnTo>
                  <a:lnTo>
                    <a:pt x="75" y="14"/>
                  </a:lnTo>
                  <a:lnTo>
                    <a:pt x="75" y="16"/>
                  </a:lnTo>
                  <a:lnTo>
                    <a:pt x="75" y="16"/>
                  </a:lnTo>
                  <a:lnTo>
                    <a:pt x="78" y="19"/>
                  </a:lnTo>
                  <a:lnTo>
                    <a:pt x="78" y="19"/>
                  </a:lnTo>
                  <a:lnTo>
                    <a:pt x="78" y="21"/>
                  </a:lnTo>
                  <a:lnTo>
                    <a:pt x="80" y="21"/>
                  </a:lnTo>
                  <a:lnTo>
                    <a:pt x="80" y="21"/>
                  </a:lnTo>
                  <a:lnTo>
                    <a:pt x="80" y="21"/>
                  </a:lnTo>
                  <a:lnTo>
                    <a:pt x="82" y="23"/>
                  </a:lnTo>
                  <a:lnTo>
                    <a:pt x="82" y="23"/>
                  </a:lnTo>
                  <a:lnTo>
                    <a:pt x="82" y="23"/>
                  </a:lnTo>
                  <a:lnTo>
                    <a:pt x="82" y="23"/>
                  </a:lnTo>
                  <a:lnTo>
                    <a:pt x="82" y="26"/>
                  </a:lnTo>
                  <a:lnTo>
                    <a:pt x="85" y="26"/>
                  </a:lnTo>
                  <a:lnTo>
                    <a:pt x="85" y="26"/>
                  </a:lnTo>
                  <a:lnTo>
                    <a:pt x="85" y="28"/>
                  </a:lnTo>
                  <a:lnTo>
                    <a:pt x="87" y="28"/>
                  </a:lnTo>
                  <a:lnTo>
                    <a:pt x="90" y="28"/>
                  </a:lnTo>
                  <a:lnTo>
                    <a:pt x="90" y="28"/>
                  </a:lnTo>
                  <a:lnTo>
                    <a:pt x="90" y="30"/>
                  </a:lnTo>
                  <a:lnTo>
                    <a:pt x="90" y="30"/>
                  </a:lnTo>
                  <a:lnTo>
                    <a:pt x="92" y="33"/>
                  </a:lnTo>
                  <a:lnTo>
                    <a:pt x="94" y="33"/>
                  </a:lnTo>
                  <a:lnTo>
                    <a:pt x="97" y="35"/>
                  </a:lnTo>
                  <a:lnTo>
                    <a:pt x="97" y="35"/>
                  </a:lnTo>
                  <a:lnTo>
                    <a:pt x="94" y="37"/>
                  </a:lnTo>
                  <a:lnTo>
                    <a:pt x="94" y="40"/>
                  </a:lnTo>
                  <a:lnTo>
                    <a:pt x="97" y="40"/>
                  </a:lnTo>
                  <a:lnTo>
                    <a:pt x="97" y="42"/>
                  </a:lnTo>
                  <a:lnTo>
                    <a:pt x="97" y="42"/>
                  </a:lnTo>
                  <a:lnTo>
                    <a:pt x="97" y="42"/>
                  </a:lnTo>
                  <a:lnTo>
                    <a:pt x="99" y="45"/>
                  </a:lnTo>
                  <a:lnTo>
                    <a:pt x="99" y="47"/>
                  </a:lnTo>
                  <a:lnTo>
                    <a:pt x="99" y="49"/>
                  </a:lnTo>
                  <a:lnTo>
                    <a:pt x="99" y="49"/>
                  </a:lnTo>
                  <a:lnTo>
                    <a:pt x="97" y="52"/>
                  </a:lnTo>
                  <a:lnTo>
                    <a:pt x="97" y="54"/>
                  </a:lnTo>
                  <a:lnTo>
                    <a:pt x="99" y="56"/>
                  </a:lnTo>
                  <a:lnTo>
                    <a:pt x="101" y="59"/>
                  </a:lnTo>
                  <a:lnTo>
                    <a:pt x="101" y="59"/>
                  </a:lnTo>
                  <a:lnTo>
                    <a:pt x="101" y="59"/>
                  </a:lnTo>
                  <a:lnTo>
                    <a:pt x="104" y="59"/>
                  </a:lnTo>
                  <a:lnTo>
                    <a:pt x="104" y="59"/>
                  </a:lnTo>
                  <a:lnTo>
                    <a:pt x="104" y="59"/>
                  </a:lnTo>
                  <a:lnTo>
                    <a:pt x="106" y="61"/>
                  </a:lnTo>
                  <a:lnTo>
                    <a:pt x="106" y="61"/>
                  </a:lnTo>
                  <a:lnTo>
                    <a:pt x="106" y="61"/>
                  </a:lnTo>
                  <a:lnTo>
                    <a:pt x="108" y="63"/>
                  </a:lnTo>
                  <a:lnTo>
                    <a:pt x="108" y="66"/>
                  </a:lnTo>
                  <a:lnTo>
                    <a:pt x="108" y="66"/>
                  </a:lnTo>
                  <a:lnTo>
                    <a:pt x="108" y="66"/>
                  </a:lnTo>
                  <a:lnTo>
                    <a:pt x="108" y="68"/>
                  </a:lnTo>
                  <a:lnTo>
                    <a:pt x="108" y="68"/>
                  </a:lnTo>
                  <a:lnTo>
                    <a:pt x="108" y="71"/>
                  </a:lnTo>
                  <a:lnTo>
                    <a:pt x="108" y="71"/>
                  </a:lnTo>
                  <a:lnTo>
                    <a:pt x="108" y="73"/>
                  </a:lnTo>
                  <a:lnTo>
                    <a:pt x="111" y="73"/>
                  </a:lnTo>
                  <a:lnTo>
                    <a:pt x="111" y="75"/>
                  </a:lnTo>
                  <a:lnTo>
                    <a:pt x="108" y="75"/>
                  </a:lnTo>
                  <a:lnTo>
                    <a:pt x="106" y="75"/>
                  </a:lnTo>
                  <a:lnTo>
                    <a:pt x="104" y="75"/>
                  </a:lnTo>
                  <a:lnTo>
                    <a:pt x="104" y="75"/>
                  </a:lnTo>
                  <a:lnTo>
                    <a:pt x="99" y="75"/>
                  </a:lnTo>
                  <a:lnTo>
                    <a:pt x="99" y="75"/>
                  </a:lnTo>
                  <a:lnTo>
                    <a:pt x="97" y="75"/>
                  </a:lnTo>
                  <a:lnTo>
                    <a:pt x="94" y="78"/>
                  </a:lnTo>
                  <a:lnTo>
                    <a:pt x="92" y="78"/>
                  </a:lnTo>
                  <a:lnTo>
                    <a:pt x="90" y="75"/>
                  </a:lnTo>
                  <a:lnTo>
                    <a:pt x="90" y="75"/>
                  </a:lnTo>
                  <a:lnTo>
                    <a:pt x="87" y="75"/>
                  </a:lnTo>
                  <a:lnTo>
                    <a:pt x="85" y="75"/>
                  </a:lnTo>
                  <a:lnTo>
                    <a:pt x="82" y="73"/>
                  </a:lnTo>
                  <a:lnTo>
                    <a:pt x="82" y="73"/>
                  </a:lnTo>
                  <a:lnTo>
                    <a:pt x="82" y="75"/>
                  </a:lnTo>
                  <a:lnTo>
                    <a:pt x="80" y="75"/>
                  </a:lnTo>
                  <a:lnTo>
                    <a:pt x="80" y="73"/>
                  </a:lnTo>
                  <a:lnTo>
                    <a:pt x="78" y="71"/>
                  </a:lnTo>
                  <a:lnTo>
                    <a:pt x="75" y="71"/>
                  </a:lnTo>
                  <a:lnTo>
                    <a:pt x="73" y="71"/>
                  </a:lnTo>
                  <a:lnTo>
                    <a:pt x="73" y="71"/>
                  </a:lnTo>
                  <a:lnTo>
                    <a:pt x="68" y="71"/>
                  </a:lnTo>
                  <a:lnTo>
                    <a:pt x="52" y="71"/>
                  </a:lnTo>
                  <a:lnTo>
                    <a:pt x="52" y="71"/>
                  </a:lnTo>
                  <a:lnTo>
                    <a:pt x="42" y="71"/>
                  </a:lnTo>
                  <a:lnTo>
                    <a:pt x="40" y="73"/>
                  </a:lnTo>
                  <a:lnTo>
                    <a:pt x="35" y="73"/>
                  </a:lnTo>
                  <a:lnTo>
                    <a:pt x="33" y="75"/>
                  </a:lnTo>
                  <a:lnTo>
                    <a:pt x="23" y="75"/>
                  </a:lnTo>
                  <a:lnTo>
                    <a:pt x="21" y="75"/>
                  </a:lnTo>
                  <a:lnTo>
                    <a:pt x="19" y="78"/>
                  </a:lnTo>
                  <a:lnTo>
                    <a:pt x="16" y="78"/>
                  </a:lnTo>
                  <a:lnTo>
                    <a:pt x="16" y="75"/>
                  </a:lnTo>
                  <a:lnTo>
                    <a:pt x="14" y="75"/>
                  </a:lnTo>
                  <a:lnTo>
                    <a:pt x="14" y="75"/>
                  </a:lnTo>
                  <a:lnTo>
                    <a:pt x="14" y="75"/>
                  </a:lnTo>
                  <a:lnTo>
                    <a:pt x="14" y="75"/>
                  </a:lnTo>
                  <a:lnTo>
                    <a:pt x="14" y="63"/>
                  </a:lnTo>
                  <a:lnTo>
                    <a:pt x="16" y="61"/>
                  </a:lnTo>
                  <a:lnTo>
                    <a:pt x="28" y="61"/>
                  </a:lnTo>
                  <a:lnTo>
                    <a:pt x="31" y="61"/>
                  </a:lnTo>
                  <a:lnTo>
                    <a:pt x="31" y="61"/>
                  </a:lnTo>
                  <a:lnTo>
                    <a:pt x="33" y="59"/>
                  </a:lnTo>
                  <a:lnTo>
                    <a:pt x="33" y="59"/>
                  </a:lnTo>
                  <a:lnTo>
                    <a:pt x="35" y="59"/>
                  </a:lnTo>
                  <a:lnTo>
                    <a:pt x="38" y="59"/>
                  </a:lnTo>
                  <a:lnTo>
                    <a:pt x="40" y="56"/>
                  </a:lnTo>
                  <a:lnTo>
                    <a:pt x="42" y="56"/>
                  </a:lnTo>
                  <a:lnTo>
                    <a:pt x="42" y="54"/>
                  </a:lnTo>
                  <a:lnTo>
                    <a:pt x="45" y="56"/>
                  </a:lnTo>
                  <a:lnTo>
                    <a:pt x="47" y="56"/>
                  </a:lnTo>
                  <a:lnTo>
                    <a:pt x="49" y="56"/>
                  </a:lnTo>
                  <a:lnTo>
                    <a:pt x="52" y="59"/>
                  </a:lnTo>
                  <a:lnTo>
                    <a:pt x="54" y="59"/>
                  </a:lnTo>
                  <a:lnTo>
                    <a:pt x="57" y="61"/>
                  </a:lnTo>
                  <a:lnTo>
                    <a:pt x="59" y="61"/>
                  </a:lnTo>
                  <a:lnTo>
                    <a:pt x="59" y="61"/>
                  </a:lnTo>
                  <a:lnTo>
                    <a:pt x="61" y="59"/>
                  </a:lnTo>
                  <a:lnTo>
                    <a:pt x="66" y="59"/>
                  </a:lnTo>
                  <a:lnTo>
                    <a:pt x="66" y="59"/>
                  </a:lnTo>
                  <a:lnTo>
                    <a:pt x="66" y="56"/>
                  </a:lnTo>
                  <a:lnTo>
                    <a:pt x="66" y="54"/>
                  </a:lnTo>
                  <a:lnTo>
                    <a:pt x="66" y="54"/>
                  </a:lnTo>
                  <a:lnTo>
                    <a:pt x="66" y="56"/>
                  </a:lnTo>
                  <a:lnTo>
                    <a:pt x="64" y="54"/>
                  </a:lnTo>
                  <a:lnTo>
                    <a:pt x="64" y="54"/>
                  </a:lnTo>
                  <a:lnTo>
                    <a:pt x="61" y="54"/>
                  </a:lnTo>
                  <a:lnTo>
                    <a:pt x="59" y="56"/>
                  </a:lnTo>
                  <a:lnTo>
                    <a:pt x="57" y="56"/>
                  </a:lnTo>
                  <a:lnTo>
                    <a:pt x="54" y="56"/>
                  </a:lnTo>
                  <a:lnTo>
                    <a:pt x="54" y="54"/>
                  </a:lnTo>
                  <a:lnTo>
                    <a:pt x="52" y="54"/>
                  </a:lnTo>
                  <a:lnTo>
                    <a:pt x="49" y="54"/>
                  </a:lnTo>
                  <a:lnTo>
                    <a:pt x="47" y="52"/>
                  </a:lnTo>
                  <a:lnTo>
                    <a:pt x="45" y="52"/>
                  </a:lnTo>
                  <a:lnTo>
                    <a:pt x="45" y="49"/>
                  </a:lnTo>
                  <a:lnTo>
                    <a:pt x="42" y="49"/>
                  </a:lnTo>
                  <a:lnTo>
                    <a:pt x="40" y="52"/>
                  </a:lnTo>
                  <a:lnTo>
                    <a:pt x="40" y="52"/>
                  </a:lnTo>
                  <a:lnTo>
                    <a:pt x="38" y="52"/>
                  </a:lnTo>
                  <a:lnTo>
                    <a:pt x="35" y="54"/>
                  </a:lnTo>
                  <a:lnTo>
                    <a:pt x="19" y="54"/>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4" name="Freeform 630">
              <a:extLst>
                <a:ext uri="{FF2B5EF4-FFF2-40B4-BE49-F238E27FC236}">
                  <a16:creationId xmlns:a16="http://schemas.microsoft.com/office/drawing/2014/main" id="{02B2A3C8-38A6-46C8-A350-D9C749A21464}"/>
                </a:ext>
              </a:extLst>
            </p:cNvPr>
            <p:cNvSpPr>
              <a:spLocks/>
            </p:cNvSpPr>
            <p:nvPr/>
          </p:nvSpPr>
          <p:spPr bwMode="auto">
            <a:xfrm>
              <a:off x="1997916" y="3251166"/>
              <a:ext cx="82550" cy="71437"/>
            </a:xfrm>
            <a:custGeom>
              <a:avLst/>
              <a:gdLst>
                <a:gd name="T0" fmla="*/ 36 w 52"/>
                <a:gd name="T1" fmla="*/ 2 h 45"/>
                <a:gd name="T2" fmla="*/ 34 w 52"/>
                <a:gd name="T3" fmla="*/ 2 h 45"/>
                <a:gd name="T4" fmla="*/ 24 w 52"/>
                <a:gd name="T5" fmla="*/ 5 h 45"/>
                <a:gd name="T6" fmla="*/ 19 w 52"/>
                <a:gd name="T7" fmla="*/ 0 h 45"/>
                <a:gd name="T8" fmla="*/ 12 w 52"/>
                <a:gd name="T9" fmla="*/ 2 h 45"/>
                <a:gd name="T10" fmla="*/ 8 w 52"/>
                <a:gd name="T11" fmla="*/ 5 h 45"/>
                <a:gd name="T12" fmla="*/ 5 w 52"/>
                <a:gd name="T13" fmla="*/ 7 h 45"/>
                <a:gd name="T14" fmla="*/ 8 w 52"/>
                <a:gd name="T15" fmla="*/ 10 h 45"/>
                <a:gd name="T16" fmla="*/ 10 w 52"/>
                <a:gd name="T17" fmla="*/ 12 h 45"/>
                <a:gd name="T18" fmla="*/ 10 w 52"/>
                <a:gd name="T19" fmla="*/ 14 h 45"/>
                <a:gd name="T20" fmla="*/ 5 w 52"/>
                <a:gd name="T21" fmla="*/ 17 h 45"/>
                <a:gd name="T22" fmla="*/ 5 w 52"/>
                <a:gd name="T23" fmla="*/ 21 h 45"/>
                <a:gd name="T24" fmla="*/ 3 w 52"/>
                <a:gd name="T25" fmla="*/ 26 h 45"/>
                <a:gd name="T26" fmla="*/ 0 w 52"/>
                <a:gd name="T27" fmla="*/ 31 h 45"/>
                <a:gd name="T28" fmla="*/ 0 w 52"/>
                <a:gd name="T29" fmla="*/ 33 h 45"/>
                <a:gd name="T30" fmla="*/ 3 w 52"/>
                <a:gd name="T31" fmla="*/ 33 h 45"/>
                <a:gd name="T32" fmla="*/ 15 w 52"/>
                <a:gd name="T33" fmla="*/ 33 h 45"/>
                <a:gd name="T34" fmla="*/ 12 w 52"/>
                <a:gd name="T35" fmla="*/ 36 h 45"/>
                <a:gd name="T36" fmla="*/ 8 w 52"/>
                <a:gd name="T37" fmla="*/ 38 h 45"/>
                <a:gd name="T38" fmla="*/ 3 w 52"/>
                <a:gd name="T39" fmla="*/ 38 h 45"/>
                <a:gd name="T40" fmla="*/ 3 w 52"/>
                <a:gd name="T41" fmla="*/ 40 h 45"/>
                <a:gd name="T42" fmla="*/ 3 w 52"/>
                <a:gd name="T43" fmla="*/ 45 h 45"/>
                <a:gd name="T44" fmla="*/ 5 w 52"/>
                <a:gd name="T45" fmla="*/ 45 h 45"/>
                <a:gd name="T46" fmla="*/ 8 w 52"/>
                <a:gd name="T47" fmla="*/ 40 h 45"/>
                <a:gd name="T48" fmla="*/ 10 w 52"/>
                <a:gd name="T49" fmla="*/ 38 h 45"/>
                <a:gd name="T50" fmla="*/ 19 w 52"/>
                <a:gd name="T51" fmla="*/ 33 h 45"/>
                <a:gd name="T52" fmla="*/ 24 w 52"/>
                <a:gd name="T53" fmla="*/ 28 h 45"/>
                <a:gd name="T54" fmla="*/ 26 w 52"/>
                <a:gd name="T55" fmla="*/ 26 h 45"/>
                <a:gd name="T56" fmla="*/ 31 w 52"/>
                <a:gd name="T57" fmla="*/ 24 h 45"/>
                <a:gd name="T58" fmla="*/ 36 w 52"/>
                <a:gd name="T59" fmla="*/ 24 h 45"/>
                <a:gd name="T60" fmla="*/ 41 w 52"/>
                <a:gd name="T61" fmla="*/ 24 h 45"/>
                <a:gd name="T62" fmla="*/ 45 w 52"/>
                <a:gd name="T63" fmla="*/ 24 h 45"/>
                <a:gd name="T64" fmla="*/ 48 w 52"/>
                <a:gd name="T65" fmla="*/ 26 h 45"/>
                <a:gd name="T66" fmla="*/ 52 w 52"/>
                <a:gd name="T67" fmla="*/ 24 h 45"/>
                <a:gd name="T68" fmla="*/ 52 w 52"/>
                <a:gd name="T69" fmla="*/ 21 h 45"/>
                <a:gd name="T70" fmla="*/ 52 w 52"/>
                <a:gd name="T71" fmla="*/ 19 h 45"/>
                <a:gd name="T72" fmla="*/ 50 w 52"/>
                <a:gd name="T73" fmla="*/ 19 h 45"/>
                <a:gd name="T74" fmla="*/ 45 w 52"/>
                <a:gd name="T75" fmla="*/ 17 h 45"/>
                <a:gd name="T76" fmla="*/ 41 w 52"/>
                <a:gd name="T77" fmla="*/ 14 h 45"/>
                <a:gd name="T78" fmla="*/ 38 w 52"/>
                <a:gd name="T79" fmla="*/ 12 h 45"/>
                <a:gd name="T80" fmla="*/ 36 w 52"/>
                <a:gd name="T81" fmla="*/ 10 h 45"/>
                <a:gd name="T82" fmla="*/ 34 w 52"/>
                <a:gd name="T83" fmla="*/ 7 h 45"/>
                <a:gd name="T84" fmla="*/ 36 w 52"/>
                <a:gd name="T85"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45">
                  <a:moveTo>
                    <a:pt x="36" y="2"/>
                  </a:moveTo>
                  <a:lnTo>
                    <a:pt x="34" y="2"/>
                  </a:lnTo>
                  <a:lnTo>
                    <a:pt x="24" y="5"/>
                  </a:lnTo>
                  <a:lnTo>
                    <a:pt x="19" y="0"/>
                  </a:lnTo>
                  <a:lnTo>
                    <a:pt x="12" y="2"/>
                  </a:lnTo>
                  <a:lnTo>
                    <a:pt x="8" y="5"/>
                  </a:lnTo>
                  <a:lnTo>
                    <a:pt x="5" y="7"/>
                  </a:lnTo>
                  <a:lnTo>
                    <a:pt x="8" y="10"/>
                  </a:lnTo>
                  <a:lnTo>
                    <a:pt x="10" y="12"/>
                  </a:lnTo>
                  <a:lnTo>
                    <a:pt x="10" y="14"/>
                  </a:lnTo>
                  <a:lnTo>
                    <a:pt x="5" y="17"/>
                  </a:lnTo>
                  <a:lnTo>
                    <a:pt x="5" y="21"/>
                  </a:lnTo>
                  <a:lnTo>
                    <a:pt x="3" y="26"/>
                  </a:lnTo>
                  <a:lnTo>
                    <a:pt x="0" y="31"/>
                  </a:lnTo>
                  <a:lnTo>
                    <a:pt x="0" y="33"/>
                  </a:lnTo>
                  <a:lnTo>
                    <a:pt x="3" y="33"/>
                  </a:lnTo>
                  <a:lnTo>
                    <a:pt x="15" y="33"/>
                  </a:lnTo>
                  <a:lnTo>
                    <a:pt x="12" y="36"/>
                  </a:lnTo>
                  <a:lnTo>
                    <a:pt x="8" y="38"/>
                  </a:lnTo>
                  <a:lnTo>
                    <a:pt x="3" y="38"/>
                  </a:lnTo>
                  <a:lnTo>
                    <a:pt x="3" y="40"/>
                  </a:lnTo>
                  <a:lnTo>
                    <a:pt x="3" y="45"/>
                  </a:lnTo>
                  <a:lnTo>
                    <a:pt x="5" y="45"/>
                  </a:lnTo>
                  <a:lnTo>
                    <a:pt x="8" y="40"/>
                  </a:lnTo>
                  <a:lnTo>
                    <a:pt x="10" y="38"/>
                  </a:lnTo>
                  <a:lnTo>
                    <a:pt x="19" y="33"/>
                  </a:lnTo>
                  <a:lnTo>
                    <a:pt x="24" y="28"/>
                  </a:lnTo>
                  <a:lnTo>
                    <a:pt x="26" y="26"/>
                  </a:lnTo>
                  <a:lnTo>
                    <a:pt x="31" y="24"/>
                  </a:lnTo>
                  <a:lnTo>
                    <a:pt x="36" y="24"/>
                  </a:lnTo>
                  <a:lnTo>
                    <a:pt x="41" y="24"/>
                  </a:lnTo>
                  <a:lnTo>
                    <a:pt x="45" y="24"/>
                  </a:lnTo>
                  <a:lnTo>
                    <a:pt x="48" y="26"/>
                  </a:lnTo>
                  <a:lnTo>
                    <a:pt x="52" y="24"/>
                  </a:lnTo>
                  <a:lnTo>
                    <a:pt x="52" y="21"/>
                  </a:lnTo>
                  <a:lnTo>
                    <a:pt x="52" y="19"/>
                  </a:lnTo>
                  <a:lnTo>
                    <a:pt x="50" y="19"/>
                  </a:lnTo>
                  <a:lnTo>
                    <a:pt x="45" y="17"/>
                  </a:lnTo>
                  <a:lnTo>
                    <a:pt x="41" y="14"/>
                  </a:lnTo>
                  <a:lnTo>
                    <a:pt x="38" y="12"/>
                  </a:lnTo>
                  <a:lnTo>
                    <a:pt x="36" y="10"/>
                  </a:lnTo>
                  <a:lnTo>
                    <a:pt x="34" y="7"/>
                  </a:lnTo>
                  <a:lnTo>
                    <a:pt x="36"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5" name="Freeform 631">
              <a:extLst>
                <a:ext uri="{FF2B5EF4-FFF2-40B4-BE49-F238E27FC236}">
                  <a16:creationId xmlns:a16="http://schemas.microsoft.com/office/drawing/2014/main" id="{DFECF946-B6A0-47E5-AA59-59BC41F5C649}"/>
                </a:ext>
              </a:extLst>
            </p:cNvPr>
            <p:cNvSpPr>
              <a:spLocks/>
            </p:cNvSpPr>
            <p:nvPr/>
          </p:nvSpPr>
          <p:spPr bwMode="auto">
            <a:xfrm>
              <a:off x="1997916" y="3251166"/>
              <a:ext cx="82550" cy="71437"/>
            </a:xfrm>
            <a:custGeom>
              <a:avLst/>
              <a:gdLst>
                <a:gd name="T0" fmla="*/ 36 w 52"/>
                <a:gd name="T1" fmla="*/ 2 h 45"/>
                <a:gd name="T2" fmla="*/ 34 w 52"/>
                <a:gd name="T3" fmla="*/ 2 h 45"/>
                <a:gd name="T4" fmla="*/ 24 w 52"/>
                <a:gd name="T5" fmla="*/ 5 h 45"/>
                <a:gd name="T6" fmla="*/ 19 w 52"/>
                <a:gd name="T7" fmla="*/ 0 h 45"/>
                <a:gd name="T8" fmla="*/ 12 w 52"/>
                <a:gd name="T9" fmla="*/ 2 h 45"/>
                <a:gd name="T10" fmla="*/ 8 w 52"/>
                <a:gd name="T11" fmla="*/ 5 h 45"/>
                <a:gd name="T12" fmla="*/ 5 w 52"/>
                <a:gd name="T13" fmla="*/ 7 h 45"/>
                <a:gd name="T14" fmla="*/ 8 w 52"/>
                <a:gd name="T15" fmla="*/ 10 h 45"/>
                <a:gd name="T16" fmla="*/ 10 w 52"/>
                <a:gd name="T17" fmla="*/ 12 h 45"/>
                <a:gd name="T18" fmla="*/ 10 w 52"/>
                <a:gd name="T19" fmla="*/ 14 h 45"/>
                <a:gd name="T20" fmla="*/ 5 w 52"/>
                <a:gd name="T21" fmla="*/ 17 h 45"/>
                <a:gd name="T22" fmla="*/ 5 w 52"/>
                <a:gd name="T23" fmla="*/ 21 h 45"/>
                <a:gd name="T24" fmla="*/ 3 w 52"/>
                <a:gd name="T25" fmla="*/ 26 h 45"/>
                <a:gd name="T26" fmla="*/ 0 w 52"/>
                <a:gd name="T27" fmla="*/ 31 h 45"/>
                <a:gd name="T28" fmla="*/ 0 w 52"/>
                <a:gd name="T29" fmla="*/ 33 h 45"/>
                <a:gd name="T30" fmla="*/ 3 w 52"/>
                <a:gd name="T31" fmla="*/ 33 h 45"/>
                <a:gd name="T32" fmla="*/ 15 w 52"/>
                <a:gd name="T33" fmla="*/ 33 h 45"/>
                <a:gd name="T34" fmla="*/ 12 w 52"/>
                <a:gd name="T35" fmla="*/ 36 h 45"/>
                <a:gd name="T36" fmla="*/ 8 w 52"/>
                <a:gd name="T37" fmla="*/ 38 h 45"/>
                <a:gd name="T38" fmla="*/ 3 w 52"/>
                <a:gd name="T39" fmla="*/ 38 h 45"/>
                <a:gd name="T40" fmla="*/ 3 w 52"/>
                <a:gd name="T41" fmla="*/ 40 h 45"/>
                <a:gd name="T42" fmla="*/ 3 w 52"/>
                <a:gd name="T43" fmla="*/ 45 h 45"/>
                <a:gd name="T44" fmla="*/ 5 w 52"/>
                <a:gd name="T45" fmla="*/ 45 h 45"/>
                <a:gd name="T46" fmla="*/ 8 w 52"/>
                <a:gd name="T47" fmla="*/ 40 h 45"/>
                <a:gd name="T48" fmla="*/ 10 w 52"/>
                <a:gd name="T49" fmla="*/ 38 h 45"/>
                <a:gd name="T50" fmla="*/ 19 w 52"/>
                <a:gd name="T51" fmla="*/ 33 h 45"/>
                <a:gd name="T52" fmla="*/ 24 w 52"/>
                <a:gd name="T53" fmla="*/ 28 h 45"/>
                <a:gd name="T54" fmla="*/ 26 w 52"/>
                <a:gd name="T55" fmla="*/ 26 h 45"/>
                <a:gd name="T56" fmla="*/ 31 w 52"/>
                <a:gd name="T57" fmla="*/ 24 h 45"/>
                <a:gd name="T58" fmla="*/ 36 w 52"/>
                <a:gd name="T59" fmla="*/ 24 h 45"/>
                <a:gd name="T60" fmla="*/ 41 w 52"/>
                <a:gd name="T61" fmla="*/ 24 h 45"/>
                <a:gd name="T62" fmla="*/ 45 w 52"/>
                <a:gd name="T63" fmla="*/ 24 h 45"/>
                <a:gd name="T64" fmla="*/ 48 w 52"/>
                <a:gd name="T65" fmla="*/ 26 h 45"/>
                <a:gd name="T66" fmla="*/ 52 w 52"/>
                <a:gd name="T67" fmla="*/ 24 h 45"/>
                <a:gd name="T68" fmla="*/ 52 w 52"/>
                <a:gd name="T69" fmla="*/ 21 h 45"/>
                <a:gd name="T70" fmla="*/ 52 w 52"/>
                <a:gd name="T71" fmla="*/ 19 h 45"/>
                <a:gd name="T72" fmla="*/ 50 w 52"/>
                <a:gd name="T73" fmla="*/ 19 h 45"/>
                <a:gd name="T74" fmla="*/ 45 w 52"/>
                <a:gd name="T75" fmla="*/ 17 h 45"/>
                <a:gd name="T76" fmla="*/ 41 w 52"/>
                <a:gd name="T77" fmla="*/ 14 h 45"/>
                <a:gd name="T78" fmla="*/ 38 w 52"/>
                <a:gd name="T79" fmla="*/ 12 h 45"/>
                <a:gd name="T80" fmla="*/ 36 w 52"/>
                <a:gd name="T81" fmla="*/ 10 h 45"/>
                <a:gd name="T82" fmla="*/ 34 w 52"/>
                <a:gd name="T83" fmla="*/ 7 h 45"/>
                <a:gd name="T84" fmla="*/ 36 w 52"/>
                <a:gd name="T85"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45">
                  <a:moveTo>
                    <a:pt x="36" y="2"/>
                  </a:moveTo>
                  <a:lnTo>
                    <a:pt x="34" y="2"/>
                  </a:lnTo>
                  <a:lnTo>
                    <a:pt x="24" y="5"/>
                  </a:lnTo>
                  <a:lnTo>
                    <a:pt x="19" y="0"/>
                  </a:lnTo>
                  <a:lnTo>
                    <a:pt x="12" y="2"/>
                  </a:lnTo>
                  <a:lnTo>
                    <a:pt x="8" y="5"/>
                  </a:lnTo>
                  <a:lnTo>
                    <a:pt x="5" y="7"/>
                  </a:lnTo>
                  <a:lnTo>
                    <a:pt x="8" y="10"/>
                  </a:lnTo>
                  <a:lnTo>
                    <a:pt x="10" y="12"/>
                  </a:lnTo>
                  <a:lnTo>
                    <a:pt x="10" y="14"/>
                  </a:lnTo>
                  <a:lnTo>
                    <a:pt x="5" y="17"/>
                  </a:lnTo>
                  <a:lnTo>
                    <a:pt x="5" y="21"/>
                  </a:lnTo>
                  <a:lnTo>
                    <a:pt x="3" y="26"/>
                  </a:lnTo>
                  <a:lnTo>
                    <a:pt x="0" y="31"/>
                  </a:lnTo>
                  <a:lnTo>
                    <a:pt x="0" y="33"/>
                  </a:lnTo>
                  <a:lnTo>
                    <a:pt x="3" y="33"/>
                  </a:lnTo>
                  <a:lnTo>
                    <a:pt x="15" y="33"/>
                  </a:lnTo>
                  <a:lnTo>
                    <a:pt x="12" y="36"/>
                  </a:lnTo>
                  <a:lnTo>
                    <a:pt x="8" y="38"/>
                  </a:lnTo>
                  <a:lnTo>
                    <a:pt x="3" y="38"/>
                  </a:lnTo>
                  <a:lnTo>
                    <a:pt x="3" y="40"/>
                  </a:lnTo>
                  <a:lnTo>
                    <a:pt x="3" y="45"/>
                  </a:lnTo>
                  <a:lnTo>
                    <a:pt x="5" y="45"/>
                  </a:lnTo>
                  <a:lnTo>
                    <a:pt x="8" y="40"/>
                  </a:lnTo>
                  <a:lnTo>
                    <a:pt x="10" y="38"/>
                  </a:lnTo>
                  <a:lnTo>
                    <a:pt x="19" y="33"/>
                  </a:lnTo>
                  <a:lnTo>
                    <a:pt x="24" y="28"/>
                  </a:lnTo>
                  <a:lnTo>
                    <a:pt x="26" y="26"/>
                  </a:lnTo>
                  <a:lnTo>
                    <a:pt x="31" y="24"/>
                  </a:lnTo>
                  <a:lnTo>
                    <a:pt x="36" y="24"/>
                  </a:lnTo>
                  <a:lnTo>
                    <a:pt x="41" y="24"/>
                  </a:lnTo>
                  <a:lnTo>
                    <a:pt x="45" y="24"/>
                  </a:lnTo>
                  <a:lnTo>
                    <a:pt x="48" y="26"/>
                  </a:lnTo>
                  <a:lnTo>
                    <a:pt x="52" y="24"/>
                  </a:lnTo>
                  <a:lnTo>
                    <a:pt x="52" y="21"/>
                  </a:lnTo>
                  <a:lnTo>
                    <a:pt x="52" y="19"/>
                  </a:lnTo>
                  <a:lnTo>
                    <a:pt x="50" y="19"/>
                  </a:lnTo>
                  <a:lnTo>
                    <a:pt x="45" y="17"/>
                  </a:lnTo>
                  <a:lnTo>
                    <a:pt x="41" y="14"/>
                  </a:lnTo>
                  <a:lnTo>
                    <a:pt x="38" y="12"/>
                  </a:lnTo>
                  <a:lnTo>
                    <a:pt x="36" y="10"/>
                  </a:lnTo>
                  <a:lnTo>
                    <a:pt x="34" y="7"/>
                  </a:lnTo>
                  <a:lnTo>
                    <a:pt x="36"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6" name="Freeform 633">
              <a:extLst>
                <a:ext uri="{FF2B5EF4-FFF2-40B4-BE49-F238E27FC236}">
                  <a16:creationId xmlns:a16="http://schemas.microsoft.com/office/drawing/2014/main" id="{224BB93A-CBA7-49B3-93F7-3F414A27ECA6}"/>
                </a:ext>
              </a:extLst>
            </p:cNvPr>
            <p:cNvSpPr>
              <a:spLocks/>
            </p:cNvSpPr>
            <p:nvPr/>
          </p:nvSpPr>
          <p:spPr bwMode="auto">
            <a:xfrm>
              <a:off x="3833062" y="3719478"/>
              <a:ext cx="242888" cy="528638"/>
            </a:xfrm>
            <a:custGeom>
              <a:avLst/>
              <a:gdLst>
                <a:gd name="T0" fmla="*/ 40 w 153"/>
                <a:gd name="T1" fmla="*/ 208 h 333"/>
                <a:gd name="T2" fmla="*/ 35 w 153"/>
                <a:gd name="T3" fmla="*/ 187 h 333"/>
                <a:gd name="T4" fmla="*/ 28 w 153"/>
                <a:gd name="T5" fmla="*/ 177 h 333"/>
                <a:gd name="T6" fmla="*/ 26 w 153"/>
                <a:gd name="T7" fmla="*/ 170 h 333"/>
                <a:gd name="T8" fmla="*/ 23 w 153"/>
                <a:gd name="T9" fmla="*/ 163 h 333"/>
                <a:gd name="T10" fmla="*/ 7 w 153"/>
                <a:gd name="T11" fmla="*/ 149 h 333"/>
                <a:gd name="T12" fmla="*/ 0 w 153"/>
                <a:gd name="T13" fmla="*/ 140 h 333"/>
                <a:gd name="T14" fmla="*/ 4 w 153"/>
                <a:gd name="T15" fmla="*/ 133 h 333"/>
                <a:gd name="T16" fmla="*/ 7 w 153"/>
                <a:gd name="T17" fmla="*/ 118 h 333"/>
                <a:gd name="T18" fmla="*/ 14 w 153"/>
                <a:gd name="T19" fmla="*/ 116 h 333"/>
                <a:gd name="T20" fmla="*/ 11 w 153"/>
                <a:gd name="T21" fmla="*/ 104 h 333"/>
                <a:gd name="T22" fmla="*/ 19 w 153"/>
                <a:gd name="T23" fmla="*/ 88 h 333"/>
                <a:gd name="T24" fmla="*/ 30 w 153"/>
                <a:gd name="T25" fmla="*/ 85 h 333"/>
                <a:gd name="T26" fmla="*/ 42 w 153"/>
                <a:gd name="T27" fmla="*/ 62 h 333"/>
                <a:gd name="T28" fmla="*/ 49 w 153"/>
                <a:gd name="T29" fmla="*/ 50 h 333"/>
                <a:gd name="T30" fmla="*/ 61 w 153"/>
                <a:gd name="T31" fmla="*/ 29 h 333"/>
                <a:gd name="T32" fmla="*/ 75 w 153"/>
                <a:gd name="T33" fmla="*/ 19 h 333"/>
                <a:gd name="T34" fmla="*/ 82 w 153"/>
                <a:gd name="T35" fmla="*/ 10 h 333"/>
                <a:gd name="T36" fmla="*/ 92 w 153"/>
                <a:gd name="T37" fmla="*/ 0 h 333"/>
                <a:gd name="T38" fmla="*/ 101 w 153"/>
                <a:gd name="T39" fmla="*/ 5 h 333"/>
                <a:gd name="T40" fmla="*/ 111 w 153"/>
                <a:gd name="T41" fmla="*/ 24 h 333"/>
                <a:gd name="T42" fmla="*/ 108 w 153"/>
                <a:gd name="T43" fmla="*/ 52 h 333"/>
                <a:gd name="T44" fmla="*/ 99 w 153"/>
                <a:gd name="T45" fmla="*/ 62 h 333"/>
                <a:gd name="T46" fmla="*/ 96 w 153"/>
                <a:gd name="T47" fmla="*/ 81 h 333"/>
                <a:gd name="T48" fmla="*/ 101 w 153"/>
                <a:gd name="T49" fmla="*/ 81 h 333"/>
                <a:gd name="T50" fmla="*/ 115 w 153"/>
                <a:gd name="T51" fmla="*/ 90 h 333"/>
                <a:gd name="T52" fmla="*/ 122 w 153"/>
                <a:gd name="T53" fmla="*/ 109 h 333"/>
                <a:gd name="T54" fmla="*/ 134 w 153"/>
                <a:gd name="T55" fmla="*/ 123 h 333"/>
                <a:gd name="T56" fmla="*/ 153 w 153"/>
                <a:gd name="T57" fmla="*/ 123 h 333"/>
                <a:gd name="T58" fmla="*/ 144 w 153"/>
                <a:gd name="T59" fmla="*/ 135 h 333"/>
                <a:gd name="T60" fmla="*/ 141 w 153"/>
                <a:gd name="T61" fmla="*/ 140 h 333"/>
                <a:gd name="T62" fmla="*/ 134 w 153"/>
                <a:gd name="T63" fmla="*/ 147 h 333"/>
                <a:gd name="T64" fmla="*/ 120 w 153"/>
                <a:gd name="T65" fmla="*/ 159 h 333"/>
                <a:gd name="T66" fmla="*/ 104 w 153"/>
                <a:gd name="T67" fmla="*/ 163 h 333"/>
                <a:gd name="T68" fmla="*/ 96 w 153"/>
                <a:gd name="T69" fmla="*/ 185 h 333"/>
                <a:gd name="T70" fmla="*/ 99 w 153"/>
                <a:gd name="T71" fmla="*/ 201 h 333"/>
                <a:gd name="T72" fmla="*/ 108 w 153"/>
                <a:gd name="T73" fmla="*/ 220 h 333"/>
                <a:gd name="T74" fmla="*/ 111 w 153"/>
                <a:gd name="T75" fmla="*/ 229 h 333"/>
                <a:gd name="T76" fmla="*/ 108 w 153"/>
                <a:gd name="T77" fmla="*/ 241 h 333"/>
                <a:gd name="T78" fmla="*/ 106 w 153"/>
                <a:gd name="T79" fmla="*/ 255 h 333"/>
                <a:gd name="T80" fmla="*/ 118 w 153"/>
                <a:gd name="T81" fmla="*/ 272 h 333"/>
                <a:gd name="T82" fmla="*/ 122 w 153"/>
                <a:gd name="T83" fmla="*/ 293 h 333"/>
                <a:gd name="T84" fmla="*/ 118 w 153"/>
                <a:gd name="T85" fmla="*/ 317 h 333"/>
                <a:gd name="T86" fmla="*/ 113 w 153"/>
                <a:gd name="T87" fmla="*/ 333 h 333"/>
                <a:gd name="T88" fmla="*/ 111 w 153"/>
                <a:gd name="T89" fmla="*/ 324 h 333"/>
                <a:gd name="T90" fmla="*/ 111 w 153"/>
                <a:gd name="T91" fmla="*/ 305 h 333"/>
                <a:gd name="T92" fmla="*/ 111 w 153"/>
                <a:gd name="T93" fmla="*/ 298 h 333"/>
                <a:gd name="T94" fmla="*/ 106 w 153"/>
                <a:gd name="T95" fmla="*/ 270 h 333"/>
                <a:gd name="T96" fmla="*/ 99 w 153"/>
                <a:gd name="T97" fmla="*/ 260 h 333"/>
                <a:gd name="T98" fmla="*/ 94 w 153"/>
                <a:gd name="T99" fmla="*/ 229 h 333"/>
                <a:gd name="T100" fmla="*/ 87 w 153"/>
                <a:gd name="T101" fmla="*/ 218 h 333"/>
                <a:gd name="T102" fmla="*/ 78 w 153"/>
                <a:gd name="T103" fmla="*/ 208 h 333"/>
                <a:gd name="T104" fmla="*/ 70 w 153"/>
                <a:gd name="T105" fmla="*/ 220 h 333"/>
                <a:gd name="T106" fmla="*/ 56 w 153"/>
                <a:gd name="T107" fmla="*/ 229 h 333"/>
                <a:gd name="T108" fmla="*/ 47 w 153"/>
                <a:gd name="T109" fmla="*/ 232 h 333"/>
                <a:gd name="T110" fmla="*/ 37 w 153"/>
                <a:gd name="T111" fmla="*/ 229 h 333"/>
                <a:gd name="T112" fmla="*/ 35 w 153"/>
                <a:gd name="T113" fmla="*/ 2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333">
                  <a:moveTo>
                    <a:pt x="35" y="225"/>
                  </a:moveTo>
                  <a:lnTo>
                    <a:pt x="35" y="220"/>
                  </a:lnTo>
                  <a:lnTo>
                    <a:pt x="37" y="213"/>
                  </a:lnTo>
                  <a:lnTo>
                    <a:pt x="40" y="208"/>
                  </a:lnTo>
                  <a:lnTo>
                    <a:pt x="40" y="201"/>
                  </a:lnTo>
                  <a:lnTo>
                    <a:pt x="37" y="192"/>
                  </a:lnTo>
                  <a:lnTo>
                    <a:pt x="35" y="189"/>
                  </a:lnTo>
                  <a:lnTo>
                    <a:pt x="35" y="187"/>
                  </a:lnTo>
                  <a:lnTo>
                    <a:pt x="33" y="185"/>
                  </a:lnTo>
                  <a:lnTo>
                    <a:pt x="30" y="177"/>
                  </a:lnTo>
                  <a:lnTo>
                    <a:pt x="28" y="173"/>
                  </a:lnTo>
                  <a:lnTo>
                    <a:pt x="28" y="177"/>
                  </a:lnTo>
                  <a:lnTo>
                    <a:pt x="23" y="175"/>
                  </a:lnTo>
                  <a:lnTo>
                    <a:pt x="21" y="170"/>
                  </a:lnTo>
                  <a:lnTo>
                    <a:pt x="23" y="168"/>
                  </a:lnTo>
                  <a:lnTo>
                    <a:pt x="26" y="170"/>
                  </a:lnTo>
                  <a:lnTo>
                    <a:pt x="26" y="168"/>
                  </a:lnTo>
                  <a:lnTo>
                    <a:pt x="23" y="166"/>
                  </a:lnTo>
                  <a:lnTo>
                    <a:pt x="23" y="166"/>
                  </a:lnTo>
                  <a:lnTo>
                    <a:pt x="23" y="163"/>
                  </a:lnTo>
                  <a:lnTo>
                    <a:pt x="11" y="156"/>
                  </a:lnTo>
                  <a:lnTo>
                    <a:pt x="11" y="154"/>
                  </a:lnTo>
                  <a:lnTo>
                    <a:pt x="9" y="152"/>
                  </a:lnTo>
                  <a:lnTo>
                    <a:pt x="7" y="149"/>
                  </a:lnTo>
                  <a:lnTo>
                    <a:pt x="4" y="152"/>
                  </a:lnTo>
                  <a:lnTo>
                    <a:pt x="4" y="149"/>
                  </a:lnTo>
                  <a:lnTo>
                    <a:pt x="2" y="144"/>
                  </a:lnTo>
                  <a:lnTo>
                    <a:pt x="0" y="140"/>
                  </a:lnTo>
                  <a:lnTo>
                    <a:pt x="0" y="135"/>
                  </a:lnTo>
                  <a:lnTo>
                    <a:pt x="0" y="133"/>
                  </a:lnTo>
                  <a:lnTo>
                    <a:pt x="2" y="130"/>
                  </a:lnTo>
                  <a:lnTo>
                    <a:pt x="4" y="133"/>
                  </a:lnTo>
                  <a:lnTo>
                    <a:pt x="4" y="123"/>
                  </a:lnTo>
                  <a:lnTo>
                    <a:pt x="4" y="121"/>
                  </a:lnTo>
                  <a:lnTo>
                    <a:pt x="7" y="121"/>
                  </a:lnTo>
                  <a:lnTo>
                    <a:pt x="7" y="118"/>
                  </a:lnTo>
                  <a:lnTo>
                    <a:pt x="11" y="121"/>
                  </a:lnTo>
                  <a:lnTo>
                    <a:pt x="11" y="118"/>
                  </a:lnTo>
                  <a:lnTo>
                    <a:pt x="14" y="118"/>
                  </a:lnTo>
                  <a:lnTo>
                    <a:pt x="14" y="116"/>
                  </a:lnTo>
                  <a:lnTo>
                    <a:pt x="14" y="116"/>
                  </a:lnTo>
                  <a:lnTo>
                    <a:pt x="11" y="111"/>
                  </a:lnTo>
                  <a:lnTo>
                    <a:pt x="11" y="107"/>
                  </a:lnTo>
                  <a:lnTo>
                    <a:pt x="11" y="104"/>
                  </a:lnTo>
                  <a:lnTo>
                    <a:pt x="16" y="104"/>
                  </a:lnTo>
                  <a:lnTo>
                    <a:pt x="16" y="102"/>
                  </a:lnTo>
                  <a:lnTo>
                    <a:pt x="19" y="95"/>
                  </a:lnTo>
                  <a:lnTo>
                    <a:pt x="19" y="88"/>
                  </a:lnTo>
                  <a:lnTo>
                    <a:pt x="21" y="85"/>
                  </a:lnTo>
                  <a:lnTo>
                    <a:pt x="26" y="85"/>
                  </a:lnTo>
                  <a:lnTo>
                    <a:pt x="28" y="85"/>
                  </a:lnTo>
                  <a:lnTo>
                    <a:pt x="30" y="85"/>
                  </a:lnTo>
                  <a:lnTo>
                    <a:pt x="33" y="83"/>
                  </a:lnTo>
                  <a:lnTo>
                    <a:pt x="35" y="76"/>
                  </a:lnTo>
                  <a:lnTo>
                    <a:pt x="40" y="66"/>
                  </a:lnTo>
                  <a:lnTo>
                    <a:pt x="42" y="62"/>
                  </a:lnTo>
                  <a:lnTo>
                    <a:pt x="40" y="59"/>
                  </a:lnTo>
                  <a:lnTo>
                    <a:pt x="42" y="57"/>
                  </a:lnTo>
                  <a:lnTo>
                    <a:pt x="47" y="52"/>
                  </a:lnTo>
                  <a:lnTo>
                    <a:pt x="49" y="50"/>
                  </a:lnTo>
                  <a:lnTo>
                    <a:pt x="49" y="40"/>
                  </a:lnTo>
                  <a:lnTo>
                    <a:pt x="52" y="36"/>
                  </a:lnTo>
                  <a:lnTo>
                    <a:pt x="56" y="31"/>
                  </a:lnTo>
                  <a:lnTo>
                    <a:pt x="61" y="29"/>
                  </a:lnTo>
                  <a:lnTo>
                    <a:pt x="63" y="26"/>
                  </a:lnTo>
                  <a:lnTo>
                    <a:pt x="66" y="22"/>
                  </a:lnTo>
                  <a:lnTo>
                    <a:pt x="73" y="22"/>
                  </a:lnTo>
                  <a:lnTo>
                    <a:pt x="75" y="19"/>
                  </a:lnTo>
                  <a:lnTo>
                    <a:pt x="82" y="22"/>
                  </a:lnTo>
                  <a:lnTo>
                    <a:pt x="82" y="19"/>
                  </a:lnTo>
                  <a:lnTo>
                    <a:pt x="82" y="15"/>
                  </a:lnTo>
                  <a:lnTo>
                    <a:pt x="82" y="10"/>
                  </a:lnTo>
                  <a:lnTo>
                    <a:pt x="87" y="7"/>
                  </a:lnTo>
                  <a:lnTo>
                    <a:pt x="89" y="7"/>
                  </a:lnTo>
                  <a:lnTo>
                    <a:pt x="89" y="3"/>
                  </a:lnTo>
                  <a:lnTo>
                    <a:pt x="92" y="0"/>
                  </a:lnTo>
                  <a:lnTo>
                    <a:pt x="92" y="0"/>
                  </a:lnTo>
                  <a:lnTo>
                    <a:pt x="94" y="0"/>
                  </a:lnTo>
                  <a:lnTo>
                    <a:pt x="96" y="3"/>
                  </a:lnTo>
                  <a:lnTo>
                    <a:pt x="101" y="5"/>
                  </a:lnTo>
                  <a:lnTo>
                    <a:pt x="101" y="12"/>
                  </a:lnTo>
                  <a:lnTo>
                    <a:pt x="104" y="15"/>
                  </a:lnTo>
                  <a:lnTo>
                    <a:pt x="108" y="15"/>
                  </a:lnTo>
                  <a:lnTo>
                    <a:pt x="111" y="24"/>
                  </a:lnTo>
                  <a:lnTo>
                    <a:pt x="111" y="31"/>
                  </a:lnTo>
                  <a:lnTo>
                    <a:pt x="111" y="40"/>
                  </a:lnTo>
                  <a:lnTo>
                    <a:pt x="111" y="43"/>
                  </a:lnTo>
                  <a:lnTo>
                    <a:pt x="108" y="52"/>
                  </a:lnTo>
                  <a:lnTo>
                    <a:pt x="104" y="55"/>
                  </a:lnTo>
                  <a:lnTo>
                    <a:pt x="104" y="57"/>
                  </a:lnTo>
                  <a:lnTo>
                    <a:pt x="101" y="59"/>
                  </a:lnTo>
                  <a:lnTo>
                    <a:pt x="99" y="62"/>
                  </a:lnTo>
                  <a:lnTo>
                    <a:pt x="96" y="69"/>
                  </a:lnTo>
                  <a:lnTo>
                    <a:pt x="94" y="74"/>
                  </a:lnTo>
                  <a:lnTo>
                    <a:pt x="96" y="78"/>
                  </a:lnTo>
                  <a:lnTo>
                    <a:pt x="96" y="81"/>
                  </a:lnTo>
                  <a:lnTo>
                    <a:pt x="92" y="85"/>
                  </a:lnTo>
                  <a:lnTo>
                    <a:pt x="94" y="88"/>
                  </a:lnTo>
                  <a:lnTo>
                    <a:pt x="99" y="83"/>
                  </a:lnTo>
                  <a:lnTo>
                    <a:pt x="101" y="81"/>
                  </a:lnTo>
                  <a:lnTo>
                    <a:pt x="108" y="81"/>
                  </a:lnTo>
                  <a:lnTo>
                    <a:pt x="113" y="81"/>
                  </a:lnTo>
                  <a:lnTo>
                    <a:pt x="113" y="85"/>
                  </a:lnTo>
                  <a:lnTo>
                    <a:pt x="115" y="90"/>
                  </a:lnTo>
                  <a:lnTo>
                    <a:pt x="115" y="95"/>
                  </a:lnTo>
                  <a:lnTo>
                    <a:pt x="120" y="100"/>
                  </a:lnTo>
                  <a:lnTo>
                    <a:pt x="125" y="102"/>
                  </a:lnTo>
                  <a:lnTo>
                    <a:pt x="122" y="109"/>
                  </a:lnTo>
                  <a:lnTo>
                    <a:pt x="122" y="116"/>
                  </a:lnTo>
                  <a:lnTo>
                    <a:pt x="127" y="116"/>
                  </a:lnTo>
                  <a:lnTo>
                    <a:pt x="132" y="118"/>
                  </a:lnTo>
                  <a:lnTo>
                    <a:pt x="134" y="123"/>
                  </a:lnTo>
                  <a:lnTo>
                    <a:pt x="139" y="128"/>
                  </a:lnTo>
                  <a:lnTo>
                    <a:pt x="146" y="128"/>
                  </a:lnTo>
                  <a:lnTo>
                    <a:pt x="151" y="123"/>
                  </a:lnTo>
                  <a:lnTo>
                    <a:pt x="153" y="123"/>
                  </a:lnTo>
                  <a:lnTo>
                    <a:pt x="153" y="126"/>
                  </a:lnTo>
                  <a:lnTo>
                    <a:pt x="153" y="128"/>
                  </a:lnTo>
                  <a:lnTo>
                    <a:pt x="153" y="130"/>
                  </a:lnTo>
                  <a:lnTo>
                    <a:pt x="144" y="135"/>
                  </a:lnTo>
                  <a:lnTo>
                    <a:pt x="144" y="137"/>
                  </a:lnTo>
                  <a:lnTo>
                    <a:pt x="144" y="140"/>
                  </a:lnTo>
                  <a:lnTo>
                    <a:pt x="144" y="140"/>
                  </a:lnTo>
                  <a:lnTo>
                    <a:pt x="141" y="140"/>
                  </a:lnTo>
                  <a:lnTo>
                    <a:pt x="139" y="142"/>
                  </a:lnTo>
                  <a:lnTo>
                    <a:pt x="139" y="144"/>
                  </a:lnTo>
                  <a:lnTo>
                    <a:pt x="137" y="144"/>
                  </a:lnTo>
                  <a:lnTo>
                    <a:pt x="134" y="147"/>
                  </a:lnTo>
                  <a:lnTo>
                    <a:pt x="132" y="152"/>
                  </a:lnTo>
                  <a:lnTo>
                    <a:pt x="127" y="152"/>
                  </a:lnTo>
                  <a:lnTo>
                    <a:pt x="125" y="154"/>
                  </a:lnTo>
                  <a:lnTo>
                    <a:pt x="120" y="159"/>
                  </a:lnTo>
                  <a:lnTo>
                    <a:pt x="118" y="159"/>
                  </a:lnTo>
                  <a:lnTo>
                    <a:pt x="113" y="163"/>
                  </a:lnTo>
                  <a:lnTo>
                    <a:pt x="111" y="163"/>
                  </a:lnTo>
                  <a:lnTo>
                    <a:pt x="104" y="163"/>
                  </a:lnTo>
                  <a:lnTo>
                    <a:pt x="101" y="166"/>
                  </a:lnTo>
                  <a:lnTo>
                    <a:pt x="96" y="177"/>
                  </a:lnTo>
                  <a:lnTo>
                    <a:pt x="94" y="182"/>
                  </a:lnTo>
                  <a:lnTo>
                    <a:pt x="96" y="185"/>
                  </a:lnTo>
                  <a:lnTo>
                    <a:pt x="92" y="187"/>
                  </a:lnTo>
                  <a:lnTo>
                    <a:pt x="94" y="189"/>
                  </a:lnTo>
                  <a:lnTo>
                    <a:pt x="94" y="194"/>
                  </a:lnTo>
                  <a:lnTo>
                    <a:pt x="99" y="201"/>
                  </a:lnTo>
                  <a:lnTo>
                    <a:pt x="106" y="208"/>
                  </a:lnTo>
                  <a:lnTo>
                    <a:pt x="108" y="211"/>
                  </a:lnTo>
                  <a:lnTo>
                    <a:pt x="108" y="215"/>
                  </a:lnTo>
                  <a:lnTo>
                    <a:pt x="108" y="220"/>
                  </a:lnTo>
                  <a:lnTo>
                    <a:pt x="108" y="225"/>
                  </a:lnTo>
                  <a:lnTo>
                    <a:pt x="113" y="225"/>
                  </a:lnTo>
                  <a:lnTo>
                    <a:pt x="113" y="227"/>
                  </a:lnTo>
                  <a:lnTo>
                    <a:pt x="111" y="229"/>
                  </a:lnTo>
                  <a:lnTo>
                    <a:pt x="111" y="234"/>
                  </a:lnTo>
                  <a:lnTo>
                    <a:pt x="108" y="237"/>
                  </a:lnTo>
                  <a:lnTo>
                    <a:pt x="108" y="241"/>
                  </a:lnTo>
                  <a:lnTo>
                    <a:pt x="108" y="241"/>
                  </a:lnTo>
                  <a:lnTo>
                    <a:pt x="104" y="244"/>
                  </a:lnTo>
                  <a:lnTo>
                    <a:pt x="104" y="246"/>
                  </a:lnTo>
                  <a:lnTo>
                    <a:pt x="104" y="251"/>
                  </a:lnTo>
                  <a:lnTo>
                    <a:pt x="106" y="255"/>
                  </a:lnTo>
                  <a:lnTo>
                    <a:pt x="111" y="260"/>
                  </a:lnTo>
                  <a:lnTo>
                    <a:pt x="118" y="267"/>
                  </a:lnTo>
                  <a:lnTo>
                    <a:pt x="118" y="267"/>
                  </a:lnTo>
                  <a:lnTo>
                    <a:pt x="118" y="272"/>
                  </a:lnTo>
                  <a:lnTo>
                    <a:pt x="120" y="281"/>
                  </a:lnTo>
                  <a:lnTo>
                    <a:pt x="120" y="289"/>
                  </a:lnTo>
                  <a:lnTo>
                    <a:pt x="122" y="289"/>
                  </a:lnTo>
                  <a:lnTo>
                    <a:pt x="122" y="293"/>
                  </a:lnTo>
                  <a:lnTo>
                    <a:pt x="127" y="303"/>
                  </a:lnTo>
                  <a:lnTo>
                    <a:pt x="127" y="305"/>
                  </a:lnTo>
                  <a:lnTo>
                    <a:pt x="122" y="314"/>
                  </a:lnTo>
                  <a:lnTo>
                    <a:pt x="118" y="317"/>
                  </a:lnTo>
                  <a:lnTo>
                    <a:pt x="115" y="322"/>
                  </a:lnTo>
                  <a:lnTo>
                    <a:pt x="115" y="326"/>
                  </a:lnTo>
                  <a:lnTo>
                    <a:pt x="113" y="331"/>
                  </a:lnTo>
                  <a:lnTo>
                    <a:pt x="113" y="333"/>
                  </a:lnTo>
                  <a:lnTo>
                    <a:pt x="111" y="333"/>
                  </a:lnTo>
                  <a:lnTo>
                    <a:pt x="108" y="331"/>
                  </a:lnTo>
                  <a:lnTo>
                    <a:pt x="108" y="326"/>
                  </a:lnTo>
                  <a:lnTo>
                    <a:pt x="111" y="324"/>
                  </a:lnTo>
                  <a:lnTo>
                    <a:pt x="113" y="314"/>
                  </a:lnTo>
                  <a:lnTo>
                    <a:pt x="113" y="312"/>
                  </a:lnTo>
                  <a:lnTo>
                    <a:pt x="113" y="307"/>
                  </a:lnTo>
                  <a:lnTo>
                    <a:pt x="111" y="305"/>
                  </a:lnTo>
                  <a:lnTo>
                    <a:pt x="108" y="303"/>
                  </a:lnTo>
                  <a:lnTo>
                    <a:pt x="108" y="300"/>
                  </a:lnTo>
                  <a:lnTo>
                    <a:pt x="111" y="300"/>
                  </a:lnTo>
                  <a:lnTo>
                    <a:pt x="111" y="298"/>
                  </a:lnTo>
                  <a:lnTo>
                    <a:pt x="111" y="293"/>
                  </a:lnTo>
                  <a:lnTo>
                    <a:pt x="111" y="284"/>
                  </a:lnTo>
                  <a:lnTo>
                    <a:pt x="106" y="277"/>
                  </a:lnTo>
                  <a:lnTo>
                    <a:pt x="106" y="270"/>
                  </a:lnTo>
                  <a:lnTo>
                    <a:pt x="104" y="272"/>
                  </a:lnTo>
                  <a:lnTo>
                    <a:pt x="104" y="272"/>
                  </a:lnTo>
                  <a:lnTo>
                    <a:pt x="101" y="267"/>
                  </a:lnTo>
                  <a:lnTo>
                    <a:pt x="99" y="260"/>
                  </a:lnTo>
                  <a:lnTo>
                    <a:pt x="99" y="255"/>
                  </a:lnTo>
                  <a:lnTo>
                    <a:pt x="96" y="248"/>
                  </a:lnTo>
                  <a:lnTo>
                    <a:pt x="94" y="241"/>
                  </a:lnTo>
                  <a:lnTo>
                    <a:pt x="94" y="229"/>
                  </a:lnTo>
                  <a:lnTo>
                    <a:pt x="94" y="220"/>
                  </a:lnTo>
                  <a:lnTo>
                    <a:pt x="92" y="220"/>
                  </a:lnTo>
                  <a:lnTo>
                    <a:pt x="92" y="220"/>
                  </a:lnTo>
                  <a:lnTo>
                    <a:pt x="87" y="218"/>
                  </a:lnTo>
                  <a:lnTo>
                    <a:pt x="85" y="215"/>
                  </a:lnTo>
                  <a:lnTo>
                    <a:pt x="82" y="213"/>
                  </a:lnTo>
                  <a:lnTo>
                    <a:pt x="80" y="213"/>
                  </a:lnTo>
                  <a:lnTo>
                    <a:pt x="78" y="208"/>
                  </a:lnTo>
                  <a:lnTo>
                    <a:pt x="78" y="203"/>
                  </a:lnTo>
                  <a:lnTo>
                    <a:pt x="78" y="211"/>
                  </a:lnTo>
                  <a:lnTo>
                    <a:pt x="75" y="218"/>
                  </a:lnTo>
                  <a:lnTo>
                    <a:pt x="70" y="220"/>
                  </a:lnTo>
                  <a:lnTo>
                    <a:pt x="66" y="222"/>
                  </a:lnTo>
                  <a:lnTo>
                    <a:pt x="63" y="225"/>
                  </a:lnTo>
                  <a:lnTo>
                    <a:pt x="59" y="227"/>
                  </a:lnTo>
                  <a:lnTo>
                    <a:pt x="56" y="229"/>
                  </a:lnTo>
                  <a:lnTo>
                    <a:pt x="54" y="234"/>
                  </a:lnTo>
                  <a:lnTo>
                    <a:pt x="52" y="232"/>
                  </a:lnTo>
                  <a:lnTo>
                    <a:pt x="49" y="234"/>
                  </a:lnTo>
                  <a:lnTo>
                    <a:pt x="47" y="232"/>
                  </a:lnTo>
                  <a:lnTo>
                    <a:pt x="44" y="234"/>
                  </a:lnTo>
                  <a:lnTo>
                    <a:pt x="42" y="232"/>
                  </a:lnTo>
                  <a:lnTo>
                    <a:pt x="40" y="232"/>
                  </a:lnTo>
                  <a:lnTo>
                    <a:pt x="37" y="229"/>
                  </a:lnTo>
                  <a:lnTo>
                    <a:pt x="40" y="227"/>
                  </a:lnTo>
                  <a:lnTo>
                    <a:pt x="35" y="229"/>
                  </a:lnTo>
                  <a:lnTo>
                    <a:pt x="33" y="229"/>
                  </a:lnTo>
                  <a:lnTo>
                    <a:pt x="35" y="22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7" name="Freeform 638">
              <a:extLst>
                <a:ext uri="{FF2B5EF4-FFF2-40B4-BE49-F238E27FC236}">
                  <a16:creationId xmlns:a16="http://schemas.microsoft.com/office/drawing/2014/main" id="{6E75FFF2-8B57-4D5E-A506-FCF5038FB530}"/>
                </a:ext>
              </a:extLst>
            </p:cNvPr>
            <p:cNvSpPr>
              <a:spLocks/>
            </p:cNvSpPr>
            <p:nvPr/>
          </p:nvSpPr>
          <p:spPr bwMode="auto">
            <a:xfrm>
              <a:off x="2099516" y="4556092"/>
              <a:ext cx="300038" cy="300038"/>
            </a:xfrm>
            <a:custGeom>
              <a:avLst/>
              <a:gdLst>
                <a:gd name="T0" fmla="*/ 142 w 189"/>
                <a:gd name="T1" fmla="*/ 45 h 189"/>
                <a:gd name="T2" fmla="*/ 166 w 189"/>
                <a:gd name="T3" fmla="*/ 76 h 189"/>
                <a:gd name="T4" fmla="*/ 161 w 189"/>
                <a:gd name="T5" fmla="*/ 92 h 189"/>
                <a:gd name="T6" fmla="*/ 170 w 189"/>
                <a:gd name="T7" fmla="*/ 104 h 189"/>
                <a:gd name="T8" fmla="*/ 170 w 189"/>
                <a:gd name="T9" fmla="*/ 111 h 189"/>
                <a:gd name="T10" fmla="*/ 170 w 189"/>
                <a:gd name="T11" fmla="*/ 121 h 189"/>
                <a:gd name="T12" fmla="*/ 168 w 189"/>
                <a:gd name="T13" fmla="*/ 128 h 189"/>
                <a:gd name="T14" fmla="*/ 173 w 189"/>
                <a:gd name="T15" fmla="*/ 137 h 189"/>
                <a:gd name="T16" fmla="*/ 175 w 189"/>
                <a:gd name="T17" fmla="*/ 149 h 189"/>
                <a:gd name="T18" fmla="*/ 177 w 189"/>
                <a:gd name="T19" fmla="*/ 156 h 189"/>
                <a:gd name="T20" fmla="*/ 187 w 189"/>
                <a:gd name="T21" fmla="*/ 163 h 189"/>
                <a:gd name="T22" fmla="*/ 189 w 189"/>
                <a:gd name="T23" fmla="*/ 168 h 189"/>
                <a:gd name="T24" fmla="*/ 173 w 189"/>
                <a:gd name="T25" fmla="*/ 177 h 189"/>
                <a:gd name="T26" fmla="*/ 151 w 189"/>
                <a:gd name="T27" fmla="*/ 180 h 189"/>
                <a:gd name="T28" fmla="*/ 140 w 189"/>
                <a:gd name="T29" fmla="*/ 184 h 189"/>
                <a:gd name="T30" fmla="*/ 121 w 189"/>
                <a:gd name="T31" fmla="*/ 187 h 189"/>
                <a:gd name="T32" fmla="*/ 114 w 189"/>
                <a:gd name="T33" fmla="*/ 184 h 189"/>
                <a:gd name="T34" fmla="*/ 104 w 189"/>
                <a:gd name="T35" fmla="*/ 187 h 189"/>
                <a:gd name="T36" fmla="*/ 90 w 189"/>
                <a:gd name="T37" fmla="*/ 180 h 189"/>
                <a:gd name="T38" fmla="*/ 85 w 189"/>
                <a:gd name="T39" fmla="*/ 168 h 189"/>
                <a:gd name="T40" fmla="*/ 78 w 189"/>
                <a:gd name="T41" fmla="*/ 151 h 189"/>
                <a:gd name="T42" fmla="*/ 73 w 189"/>
                <a:gd name="T43" fmla="*/ 151 h 189"/>
                <a:gd name="T44" fmla="*/ 66 w 189"/>
                <a:gd name="T45" fmla="*/ 151 h 189"/>
                <a:gd name="T46" fmla="*/ 57 w 189"/>
                <a:gd name="T47" fmla="*/ 147 h 189"/>
                <a:gd name="T48" fmla="*/ 40 w 189"/>
                <a:gd name="T49" fmla="*/ 139 h 189"/>
                <a:gd name="T50" fmla="*/ 31 w 189"/>
                <a:gd name="T51" fmla="*/ 132 h 189"/>
                <a:gd name="T52" fmla="*/ 21 w 189"/>
                <a:gd name="T53" fmla="*/ 123 h 189"/>
                <a:gd name="T54" fmla="*/ 14 w 189"/>
                <a:gd name="T55" fmla="*/ 104 h 189"/>
                <a:gd name="T56" fmla="*/ 3 w 189"/>
                <a:gd name="T57" fmla="*/ 90 h 189"/>
                <a:gd name="T58" fmla="*/ 3 w 189"/>
                <a:gd name="T59" fmla="*/ 73 h 189"/>
                <a:gd name="T60" fmla="*/ 0 w 189"/>
                <a:gd name="T61" fmla="*/ 59 h 189"/>
                <a:gd name="T62" fmla="*/ 12 w 189"/>
                <a:gd name="T63" fmla="*/ 50 h 189"/>
                <a:gd name="T64" fmla="*/ 19 w 189"/>
                <a:gd name="T65" fmla="*/ 38 h 189"/>
                <a:gd name="T66" fmla="*/ 17 w 189"/>
                <a:gd name="T67" fmla="*/ 33 h 189"/>
                <a:gd name="T68" fmla="*/ 14 w 189"/>
                <a:gd name="T69" fmla="*/ 26 h 189"/>
                <a:gd name="T70" fmla="*/ 21 w 189"/>
                <a:gd name="T71" fmla="*/ 14 h 189"/>
                <a:gd name="T72" fmla="*/ 21 w 189"/>
                <a:gd name="T73" fmla="*/ 2 h 189"/>
                <a:gd name="T74" fmla="*/ 38 w 189"/>
                <a:gd name="T75" fmla="*/ 2 h 189"/>
                <a:gd name="T76" fmla="*/ 38 w 189"/>
                <a:gd name="T77" fmla="*/ 26 h 189"/>
                <a:gd name="T78" fmla="*/ 43 w 189"/>
                <a:gd name="T79" fmla="*/ 28 h 189"/>
                <a:gd name="T80" fmla="*/ 47 w 189"/>
                <a:gd name="T81" fmla="*/ 24 h 189"/>
                <a:gd name="T82" fmla="*/ 55 w 189"/>
                <a:gd name="T83" fmla="*/ 28 h 189"/>
                <a:gd name="T84" fmla="*/ 59 w 189"/>
                <a:gd name="T85" fmla="*/ 26 h 189"/>
                <a:gd name="T86" fmla="*/ 69 w 189"/>
                <a:gd name="T87" fmla="*/ 26 h 189"/>
                <a:gd name="T88" fmla="*/ 66 w 189"/>
                <a:gd name="T89" fmla="*/ 21 h 189"/>
                <a:gd name="T90" fmla="*/ 66 w 189"/>
                <a:gd name="T91" fmla="*/ 17 h 189"/>
                <a:gd name="T92" fmla="*/ 71 w 189"/>
                <a:gd name="T93" fmla="*/ 12 h 189"/>
                <a:gd name="T94" fmla="*/ 76 w 189"/>
                <a:gd name="T95" fmla="*/ 7 h 189"/>
                <a:gd name="T96" fmla="*/ 81 w 189"/>
                <a:gd name="T9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9" h="189">
                  <a:moveTo>
                    <a:pt x="140" y="35"/>
                  </a:moveTo>
                  <a:lnTo>
                    <a:pt x="142" y="38"/>
                  </a:lnTo>
                  <a:lnTo>
                    <a:pt x="142" y="40"/>
                  </a:lnTo>
                  <a:lnTo>
                    <a:pt x="142" y="45"/>
                  </a:lnTo>
                  <a:lnTo>
                    <a:pt x="144" y="50"/>
                  </a:lnTo>
                  <a:lnTo>
                    <a:pt x="168" y="64"/>
                  </a:lnTo>
                  <a:lnTo>
                    <a:pt x="168" y="66"/>
                  </a:lnTo>
                  <a:lnTo>
                    <a:pt x="166" y="76"/>
                  </a:lnTo>
                  <a:lnTo>
                    <a:pt x="163" y="78"/>
                  </a:lnTo>
                  <a:lnTo>
                    <a:pt x="163" y="83"/>
                  </a:lnTo>
                  <a:lnTo>
                    <a:pt x="161" y="90"/>
                  </a:lnTo>
                  <a:lnTo>
                    <a:pt x="161" y="92"/>
                  </a:lnTo>
                  <a:lnTo>
                    <a:pt x="161" y="95"/>
                  </a:lnTo>
                  <a:lnTo>
                    <a:pt x="166" y="99"/>
                  </a:lnTo>
                  <a:lnTo>
                    <a:pt x="168" y="102"/>
                  </a:lnTo>
                  <a:lnTo>
                    <a:pt x="170" y="104"/>
                  </a:lnTo>
                  <a:lnTo>
                    <a:pt x="173" y="106"/>
                  </a:lnTo>
                  <a:lnTo>
                    <a:pt x="173" y="109"/>
                  </a:lnTo>
                  <a:lnTo>
                    <a:pt x="173" y="109"/>
                  </a:lnTo>
                  <a:lnTo>
                    <a:pt x="170" y="111"/>
                  </a:lnTo>
                  <a:lnTo>
                    <a:pt x="170" y="116"/>
                  </a:lnTo>
                  <a:lnTo>
                    <a:pt x="170" y="118"/>
                  </a:lnTo>
                  <a:lnTo>
                    <a:pt x="170" y="118"/>
                  </a:lnTo>
                  <a:lnTo>
                    <a:pt x="170" y="121"/>
                  </a:lnTo>
                  <a:lnTo>
                    <a:pt x="170" y="123"/>
                  </a:lnTo>
                  <a:lnTo>
                    <a:pt x="170" y="125"/>
                  </a:lnTo>
                  <a:lnTo>
                    <a:pt x="168" y="125"/>
                  </a:lnTo>
                  <a:lnTo>
                    <a:pt x="168" y="128"/>
                  </a:lnTo>
                  <a:lnTo>
                    <a:pt x="168" y="132"/>
                  </a:lnTo>
                  <a:lnTo>
                    <a:pt x="170" y="135"/>
                  </a:lnTo>
                  <a:lnTo>
                    <a:pt x="173" y="137"/>
                  </a:lnTo>
                  <a:lnTo>
                    <a:pt x="173" y="137"/>
                  </a:lnTo>
                  <a:lnTo>
                    <a:pt x="170" y="139"/>
                  </a:lnTo>
                  <a:lnTo>
                    <a:pt x="175" y="144"/>
                  </a:lnTo>
                  <a:lnTo>
                    <a:pt x="175" y="147"/>
                  </a:lnTo>
                  <a:lnTo>
                    <a:pt x="175" y="149"/>
                  </a:lnTo>
                  <a:lnTo>
                    <a:pt x="177" y="151"/>
                  </a:lnTo>
                  <a:lnTo>
                    <a:pt x="177" y="151"/>
                  </a:lnTo>
                  <a:lnTo>
                    <a:pt x="177" y="154"/>
                  </a:lnTo>
                  <a:lnTo>
                    <a:pt x="177" y="156"/>
                  </a:lnTo>
                  <a:lnTo>
                    <a:pt x="177" y="158"/>
                  </a:lnTo>
                  <a:lnTo>
                    <a:pt x="182" y="161"/>
                  </a:lnTo>
                  <a:lnTo>
                    <a:pt x="184" y="163"/>
                  </a:lnTo>
                  <a:lnTo>
                    <a:pt x="187" y="163"/>
                  </a:lnTo>
                  <a:lnTo>
                    <a:pt x="189" y="165"/>
                  </a:lnTo>
                  <a:lnTo>
                    <a:pt x="189" y="165"/>
                  </a:lnTo>
                  <a:lnTo>
                    <a:pt x="189" y="168"/>
                  </a:lnTo>
                  <a:lnTo>
                    <a:pt x="189" y="168"/>
                  </a:lnTo>
                  <a:lnTo>
                    <a:pt x="184" y="170"/>
                  </a:lnTo>
                  <a:lnTo>
                    <a:pt x="180" y="175"/>
                  </a:lnTo>
                  <a:lnTo>
                    <a:pt x="177" y="175"/>
                  </a:lnTo>
                  <a:lnTo>
                    <a:pt x="173" y="177"/>
                  </a:lnTo>
                  <a:lnTo>
                    <a:pt x="161" y="182"/>
                  </a:lnTo>
                  <a:lnTo>
                    <a:pt x="159" y="182"/>
                  </a:lnTo>
                  <a:lnTo>
                    <a:pt x="156" y="182"/>
                  </a:lnTo>
                  <a:lnTo>
                    <a:pt x="151" y="180"/>
                  </a:lnTo>
                  <a:lnTo>
                    <a:pt x="149" y="180"/>
                  </a:lnTo>
                  <a:lnTo>
                    <a:pt x="144" y="182"/>
                  </a:lnTo>
                  <a:lnTo>
                    <a:pt x="140" y="184"/>
                  </a:lnTo>
                  <a:lnTo>
                    <a:pt x="140" y="184"/>
                  </a:lnTo>
                  <a:lnTo>
                    <a:pt x="137" y="187"/>
                  </a:lnTo>
                  <a:lnTo>
                    <a:pt x="125" y="184"/>
                  </a:lnTo>
                  <a:lnTo>
                    <a:pt x="123" y="187"/>
                  </a:lnTo>
                  <a:lnTo>
                    <a:pt x="121" y="187"/>
                  </a:lnTo>
                  <a:lnTo>
                    <a:pt x="118" y="189"/>
                  </a:lnTo>
                  <a:lnTo>
                    <a:pt x="116" y="189"/>
                  </a:lnTo>
                  <a:lnTo>
                    <a:pt x="114" y="187"/>
                  </a:lnTo>
                  <a:lnTo>
                    <a:pt x="114" y="184"/>
                  </a:lnTo>
                  <a:lnTo>
                    <a:pt x="111" y="184"/>
                  </a:lnTo>
                  <a:lnTo>
                    <a:pt x="109" y="184"/>
                  </a:lnTo>
                  <a:lnTo>
                    <a:pt x="107" y="187"/>
                  </a:lnTo>
                  <a:lnTo>
                    <a:pt x="104" y="187"/>
                  </a:lnTo>
                  <a:lnTo>
                    <a:pt x="92" y="187"/>
                  </a:lnTo>
                  <a:lnTo>
                    <a:pt x="92" y="184"/>
                  </a:lnTo>
                  <a:lnTo>
                    <a:pt x="90" y="182"/>
                  </a:lnTo>
                  <a:lnTo>
                    <a:pt x="90" y="180"/>
                  </a:lnTo>
                  <a:lnTo>
                    <a:pt x="88" y="177"/>
                  </a:lnTo>
                  <a:lnTo>
                    <a:pt x="88" y="177"/>
                  </a:lnTo>
                  <a:lnTo>
                    <a:pt x="88" y="172"/>
                  </a:lnTo>
                  <a:lnTo>
                    <a:pt x="85" y="168"/>
                  </a:lnTo>
                  <a:lnTo>
                    <a:pt x="85" y="163"/>
                  </a:lnTo>
                  <a:lnTo>
                    <a:pt x="83" y="158"/>
                  </a:lnTo>
                  <a:lnTo>
                    <a:pt x="83" y="156"/>
                  </a:lnTo>
                  <a:lnTo>
                    <a:pt x="78" y="151"/>
                  </a:lnTo>
                  <a:lnTo>
                    <a:pt x="76" y="151"/>
                  </a:lnTo>
                  <a:lnTo>
                    <a:pt x="73" y="154"/>
                  </a:lnTo>
                  <a:lnTo>
                    <a:pt x="73" y="151"/>
                  </a:lnTo>
                  <a:lnTo>
                    <a:pt x="73" y="151"/>
                  </a:lnTo>
                  <a:lnTo>
                    <a:pt x="71" y="151"/>
                  </a:lnTo>
                  <a:lnTo>
                    <a:pt x="71" y="151"/>
                  </a:lnTo>
                  <a:lnTo>
                    <a:pt x="66" y="151"/>
                  </a:lnTo>
                  <a:lnTo>
                    <a:pt x="66" y="151"/>
                  </a:lnTo>
                  <a:lnTo>
                    <a:pt x="64" y="149"/>
                  </a:lnTo>
                  <a:lnTo>
                    <a:pt x="62" y="149"/>
                  </a:lnTo>
                  <a:lnTo>
                    <a:pt x="57" y="147"/>
                  </a:lnTo>
                  <a:lnTo>
                    <a:pt x="57" y="147"/>
                  </a:lnTo>
                  <a:lnTo>
                    <a:pt x="55" y="147"/>
                  </a:lnTo>
                  <a:lnTo>
                    <a:pt x="52" y="144"/>
                  </a:lnTo>
                  <a:lnTo>
                    <a:pt x="50" y="144"/>
                  </a:lnTo>
                  <a:lnTo>
                    <a:pt x="40" y="139"/>
                  </a:lnTo>
                  <a:lnTo>
                    <a:pt x="36" y="139"/>
                  </a:lnTo>
                  <a:lnTo>
                    <a:pt x="36" y="137"/>
                  </a:lnTo>
                  <a:lnTo>
                    <a:pt x="33" y="137"/>
                  </a:lnTo>
                  <a:lnTo>
                    <a:pt x="31" y="132"/>
                  </a:lnTo>
                  <a:lnTo>
                    <a:pt x="29" y="132"/>
                  </a:lnTo>
                  <a:lnTo>
                    <a:pt x="26" y="132"/>
                  </a:lnTo>
                  <a:lnTo>
                    <a:pt x="21" y="128"/>
                  </a:lnTo>
                  <a:lnTo>
                    <a:pt x="21" y="123"/>
                  </a:lnTo>
                  <a:lnTo>
                    <a:pt x="19" y="118"/>
                  </a:lnTo>
                  <a:lnTo>
                    <a:pt x="14" y="111"/>
                  </a:lnTo>
                  <a:lnTo>
                    <a:pt x="17" y="109"/>
                  </a:lnTo>
                  <a:lnTo>
                    <a:pt x="14" y="104"/>
                  </a:lnTo>
                  <a:lnTo>
                    <a:pt x="10" y="99"/>
                  </a:lnTo>
                  <a:lnTo>
                    <a:pt x="3" y="95"/>
                  </a:lnTo>
                  <a:lnTo>
                    <a:pt x="3" y="90"/>
                  </a:lnTo>
                  <a:lnTo>
                    <a:pt x="3" y="90"/>
                  </a:lnTo>
                  <a:lnTo>
                    <a:pt x="5" y="87"/>
                  </a:lnTo>
                  <a:lnTo>
                    <a:pt x="3" y="83"/>
                  </a:lnTo>
                  <a:lnTo>
                    <a:pt x="3" y="78"/>
                  </a:lnTo>
                  <a:lnTo>
                    <a:pt x="3" y="73"/>
                  </a:lnTo>
                  <a:lnTo>
                    <a:pt x="3" y="71"/>
                  </a:lnTo>
                  <a:lnTo>
                    <a:pt x="0" y="71"/>
                  </a:lnTo>
                  <a:lnTo>
                    <a:pt x="0" y="66"/>
                  </a:lnTo>
                  <a:lnTo>
                    <a:pt x="0" y="59"/>
                  </a:lnTo>
                  <a:lnTo>
                    <a:pt x="0" y="59"/>
                  </a:lnTo>
                  <a:lnTo>
                    <a:pt x="5" y="59"/>
                  </a:lnTo>
                  <a:lnTo>
                    <a:pt x="10" y="57"/>
                  </a:lnTo>
                  <a:lnTo>
                    <a:pt x="12" y="50"/>
                  </a:lnTo>
                  <a:lnTo>
                    <a:pt x="14" y="50"/>
                  </a:lnTo>
                  <a:lnTo>
                    <a:pt x="17" y="45"/>
                  </a:lnTo>
                  <a:lnTo>
                    <a:pt x="19" y="40"/>
                  </a:lnTo>
                  <a:lnTo>
                    <a:pt x="19" y="38"/>
                  </a:lnTo>
                  <a:lnTo>
                    <a:pt x="19" y="35"/>
                  </a:lnTo>
                  <a:lnTo>
                    <a:pt x="19" y="33"/>
                  </a:lnTo>
                  <a:lnTo>
                    <a:pt x="19" y="33"/>
                  </a:lnTo>
                  <a:lnTo>
                    <a:pt x="17" y="33"/>
                  </a:lnTo>
                  <a:lnTo>
                    <a:pt x="14" y="31"/>
                  </a:lnTo>
                  <a:lnTo>
                    <a:pt x="14" y="31"/>
                  </a:lnTo>
                  <a:lnTo>
                    <a:pt x="14" y="28"/>
                  </a:lnTo>
                  <a:lnTo>
                    <a:pt x="14" y="26"/>
                  </a:lnTo>
                  <a:lnTo>
                    <a:pt x="17" y="24"/>
                  </a:lnTo>
                  <a:lnTo>
                    <a:pt x="21" y="21"/>
                  </a:lnTo>
                  <a:lnTo>
                    <a:pt x="21" y="17"/>
                  </a:lnTo>
                  <a:lnTo>
                    <a:pt x="21" y="14"/>
                  </a:lnTo>
                  <a:lnTo>
                    <a:pt x="19" y="10"/>
                  </a:lnTo>
                  <a:lnTo>
                    <a:pt x="14" y="2"/>
                  </a:lnTo>
                  <a:lnTo>
                    <a:pt x="14" y="0"/>
                  </a:lnTo>
                  <a:lnTo>
                    <a:pt x="21" y="2"/>
                  </a:lnTo>
                  <a:lnTo>
                    <a:pt x="24" y="0"/>
                  </a:lnTo>
                  <a:lnTo>
                    <a:pt x="24" y="0"/>
                  </a:lnTo>
                  <a:lnTo>
                    <a:pt x="38" y="0"/>
                  </a:lnTo>
                  <a:lnTo>
                    <a:pt x="38" y="2"/>
                  </a:lnTo>
                  <a:lnTo>
                    <a:pt x="38" y="10"/>
                  </a:lnTo>
                  <a:lnTo>
                    <a:pt x="36" y="12"/>
                  </a:lnTo>
                  <a:lnTo>
                    <a:pt x="36" y="19"/>
                  </a:lnTo>
                  <a:lnTo>
                    <a:pt x="38" y="26"/>
                  </a:lnTo>
                  <a:lnTo>
                    <a:pt x="38" y="28"/>
                  </a:lnTo>
                  <a:lnTo>
                    <a:pt x="38" y="31"/>
                  </a:lnTo>
                  <a:lnTo>
                    <a:pt x="40" y="31"/>
                  </a:lnTo>
                  <a:lnTo>
                    <a:pt x="43" y="28"/>
                  </a:lnTo>
                  <a:lnTo>
                    <a:pt x="45" y="28"/>
                  </a:lnTo>
                  <a:lnTo>
                    <a:pt x="43" y="26"/>
                  </a:lnTo>
                  <a:lnTo>
                    <a:pt x="45" y="24"/>
                  </a:lnTo>
                  <a:lnTo>
                    <a:pt x="47" y="24"/>
                  </a:lnTo>
                  <a:lnTo>
                    <a:pt x="50" y="28"/>
                  </a:lnTo>
                  <a:lnTo>
                    <a:pt x="52" y="28"/>
                  </a:lnTo>
                  <a:lnTo>
                    <a:pt x="55" y="28"/>
                  </a:lnTo>
                  <a:lnTo>
                    <a:pt x="55" y="28"/>
                  </a:lnTo>
                  <a:lnTo>
                    <a:pt x="57" y="33"/>
                  </a:lnTo>
                  <a:lnTo>
                    <a:pt x="57" y="33"/>
                  </a:lnTo>
                  <a:lnTo>
                    <a:pt x="57" y="31"/>
                  </a:lnTo>
                  <a:lnTo>
                    <a:pt x="59" y="26"/>
                  </a:lnTo>
                  <a:lnTo>
                    <a:pt x="59" y="26"/>
                  </a:lnTo>
                  <a:lnTo>
                    <a:pt x="64" y="26"/>
                  </a:lnTo>
                  <a:lnTo>
                    <a:pt x="64" y="26"/>
                  </a:lnTo>
                  <a:lnTo>
                    <a:pt x="69" y="26"/>
                  </a:lnTo>
                  <a:lnTo>
                    <a:pt x="71" y="24"/>
                  </a:lnTo>
                  <a:lnTo>
                    <a:pt x="71" y="21"/>
                  </a:lnTo>
                  <a:lnTo>
                    <a:pt x="71" y="21"/>
                  </a:lnTo>
                  <a:lnTo>
                    <a:pt x="66" y="21"/>
                  </a:lnTo>
                  <a:lnTo>
                    <a:pt x="64" y="19"/>
                  </a:lnTo>
                  <a:lnTo>
                    <a:pt x="64" y="19"/>
                  </a:lnTo>
                  <a:lnTo>
                    <a:pt x="66" y="17"/>
                  </a:lnTo>
                  <a:lnTo>
                    <a:pt x="66" y="17"/>
                  </a:lnTo>
                  <a:lnTo>
                    <a:pt x="66" y="14"/>
                  </a:lnTo>
                  <a:lnTo>
                    <a:pt x="69" y="14"/>
                  </a:lnTo>
                  <a:lnTo>
                    <a:pt x="69" y="14"/>
                  </a:lnTo>
                  <a:lnTo>
                    <a:pt x="71" y="12"/>
                  </a:lnTo>
                  <a:lnTo>
                    <a:pt x="71" y="10"/>
                  </a:lnTo>
                  <a:lnTo>
                    <a:pt x="73" y="10"/>
                  </a:lnTo>
                  <a:lnTo>
                    <a:pt x="73" y="7"/>
                  </a:lnTo>
                  <a:lnTo>
                    <a:pt x="76" y="7"/>
                  </a:lnTo>
                  <a:lnTo>
                    <a:pt x="76" y="5"/>
                  </a:lnTo>
                  <a:lnTo>
                    <a:pt x="76" y="5"/>
                  </a:lnTo>
                  <a:lnTo>
                    <a:pt x="76" y="2"/>
                  </a:lnTo>
                  <a:lnTo>
                    <a:pt x="81" y="0"/>
                  </a:lnTo>
                  <a:lnTo>
                    <a:pt x="140" y="3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8" name="Freeform 639">
              <a:extLst>
                <a:ext uri="{FF2B5EF4-FFF2-40B4-BE49-F238E27FC236}">
                  <a16:creationId xmlns:a16="http://schemas.microsoft.com/office/drawing/2014/main" id="{D4F4EDC2-FDF6-4377-9140-0CECE65A9C7B}"/>
                </a:ext>
              </a:extLst>
            </p:cNvPr>
            <p:cNvSpPr>
              <a:spLocks/>
            </p:cNvSpPr>
            <p:nvPr/>
          </p:nvSpPr>
          <p:spPr bwMode="auto">
            <a:xfrm>
              <a:off x="2099516" y="4556092"/>
              <a:ext cx="300038" cy="300038"/>
            </a:xfrm>
            <a:custGeom>
              <a:avLst/>
              <a:gdLst>
                <a:gd name="T0" fmla="*/ 142 w 189"/>
                <a:gd name="T1" fmla="*/ 45 h 189"/>
                <a:gd name="T2" fmla="*/ 166 w 189"/>
                <a:gd name="T3" fmla="*/ 76 h 189"/>
                <a:gd name="T4" fmla="*/ 161 w 189"/>
                <a:gd name="T5" fmla="*/ 92 h 189"/>
                <a:gd name="T6" fmla="*/ 170 w 189"/>
                <a:gd name="T7" fmla="*/ 104 h 189"/>
                <a:gd name="T8" fmla="*/ 170 w 189"/>
                <a:gd name="T9" fmla="*/ 111 h 189"/>
                <a:gd name="T10" fmla="*/ 170 w 189"/>
                <a:gd name="T11" fmla="*/ 121 h 189"/>
                <a:gd name="T12" fmla="*/ 168 w 189"/>
                <a:gd name="T13" fmla="*/ 128 h 189"/>
                <a:gd name="T14" fmla="*/ 173 w 189"/>
                <a:gd name="T15" fmla="*/ 137 h 189"/>
                <a:gd name="T16" fmla="*/ 175 w 189"/>
                <a:gd name="T17" fmla="*/ 149 h 189"/>
                <a:gd name="T18" fmla="*/ 177 w 189"/>
                <a:gd name="T19" fmla="*/ 156 h 189"/>
                <a:gd name="T20" fmla="*/ 187 w 189"/>
                <a:gd name="T21" fmla="*/ 163 h 189"/>
                <a:gd name="T22" fmla="*/ 189 w 189"/>
                <a:gd name="T23" fmla="*/ 168 h 189"/>
                <a:gd name="T24" fmla="*/ 173 w 189"/>
                <a:gd name="T25" fmla="*/ 177 h 189"/>
                <a:gd name="T26" fmla="*/ 151 w 189"/>
                <a:gd name="T27" fmla="*/ 180 h 189"/>
                <a:gd name="T28" fmla="*/ 140 w 189"/>
                <a:gd name="T29" fmla="*/ 184 h 189"/>
                <a:gd name="T30" fmla="*/ 121 w 189"/>
                <a:gd name="T31" fmla="*/ 187 h 189"/>
                <a:gd name="T32" fmla="*/ 114 w 189"/>
                <a:gd name="T33" fmla="*/ 184 h 189"/>
                <a:gd name="T34" fmla="*/ 104 w 189"/>
                <a:gd name="T35" fmla="*/ 187 h 189"/>
                <a:gd name="T36" fmla="*/ 90 w 189"/>
                <a:gd name="T37" fmla="*/ 180 h 189"/>
                <a:gd name="T38" fmla="*/ 85 w 189"/>
                <a:gd name="T39" fmla="*/ 168 h 189"/>
                <a:gd name="T40" fmla="*/ 78 w 189"/>
                <a:gd name="T41" fmla="*/ 151 h 189"/>
                <a:gd name="T42" fmla="*/ 73 w 189"/>
                <a:gd name="T43" fmla="*/ 151 h 189"/>
                <a:gd name="T44" fmla="*/ 66 w 189"/>
                <a:gd name="T45" fmla="*/ 151 h 189"/>
                <a:gd name="T46" fmla="*/ 57 w 189"/>
                <a:gd name="T47" fmla="*/ 147 h 189"/>
                <a:gd name="T48" fmla="*/ 40 w 189"/>
                <a:gd name="T49" fmla="*/ 139 h 189"/>
                <a:gd name="T50" fmla="*/ 31 w 189"/>
                <a:gd name="T51" fmla="*/ 132 h 189"/>
                <a:gd name="T52" fmla="*/ 21 w 189"/>
                <a:gd name="T53" fmla="*/ 123 h 189"/>
                <a:gd name="T54" fmla="*/ 14 w 189"/>
                <a:gd name="T55" fmla="*/ 104 h 189"/>
                <a:gd name="T56" fmla="*/ 3 w 189"/>
                <a:gd name="T57" fmla="*/ 90 h 189"/>
                <a:gd name="T58" fmla="*/ 3 w 189"/>
                <a:gd name="T59" fmla="*/ 73 h 189"/>
                <a:gd name="T60" fmla="*/ 0 w 189"/>
                <a:gd name="T61" fmla="*/ 59 h 189"/>
                <a:gd name="T62" fmla="*/ 12 w 189"/>
                <a:gd name="T63" fmla="*/ 50 h 189"/>
                <a:gd name="T64" fmla="*/ 19 w 189"/>
                <a:gd name="T65" fmla="*/ 38 h 189"/>
                <a:gd name="T66" fmla="*/ 17 w 189"/>
                <a:gd name="T67" fmla="*/ 33 h 189"/>
                <a:gd name="T68" fmla="*/ 14 w 189"/>
                <a:gd name="T69" fmla="*/ 26 h 189"/>
                <a:gd name="T70" fmla="*/ 21 w 189"/>
                <a:gd name="T71" fmla="*/ 14 h 189"/>
                <a:gd name="T72" fmla="*/ 21 w 189"/>
                <a:gd name="T73" fmla="*/ 2 h 189"/>
                <a:gd name="T74" fmla="*/ 38 w 189"/>
                <a:gd name="T75" fmla="*/ 2 h 189"/>
                <a:gd name="T76" fmla="*/ 38 w 189"/>
                <a:gd name="T77" fmla="*/ 26 h 189"/>
                <a:gd name="T78" fmla="*/ 43 w 189"/>
                <a:gd name="T79" fmla="*/ 28 h 189"/>
                <a:gd name="T80" fmla="*/ 47 w 189"/>
                <a:gd name="T81" fmla="*/ 24 h 189"/>
                <a:gd name="T82" fmla="*/ 55 w 189"/>
                <a:gd name="T83" fmla="*/ 28 h 189"/>
                <a:gd name="T84" fmla="*/ 59 w 189"/>
                <a:gd name="T85" fmla="*/ 26 h 189"/>
                <a:gd name="T86" fmla="*/ 69 w 189"/>
                <a:gd name="T87" fmla="*/ 26 h 189"/>
                <a:gd name="T88" fmla="*/ 66 w 189"/>
                <a:gd name="T89" fmla="*/ 21 h 189"/>
                <a:gd name="T90" fmla="*/ 66 w 189"/>
                <a:gd name="T91" fmla="*/ 17 h 189"/>
                <a:gd name="T92" fmla="*/ 71 w 189"/>
                <a:gd name="T93" fmla="*/ 12 h 189"/>
                <a:gd name="T94" fmla="*/ 76 w 189"/>
                <a:gd name="T95" fmla="*/ 7 h 189"/>
                <a:gd name="T96" fmla="*/ 81 w 189"/>
                <a:gd name="T9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9" h="189">
                  <a:moveTo>
                    <a:pt x="140" y="35"/>
                  </a:moveTo>
                  <a:lnTo>
                    <a:pt x="142" y="38"/>
                  </a:lnTo>
                  <a:lnTo>
                    <a:pt x="142" y="40"/>
                  </a:lnTo>
                  <a:lnTo>
                    <a:pt x="142" y="45"/>
                  </a:lnTo>
                  <a:lnTo>
                    <a:pt x="144" y="50"/>
                  </a:lnTo>
                  <a:lnTo>
                    <a:pt x="168" y="64"/>
                  </a:lnTo>
                  <a:lnTo>
                    <a:pt x="168" y="66"/>
                  </a:lnTo>
                  <a:lnTo>
                    <a:pt x="166" y="76"/>
                  </a:lnTo>
                  <a:lnTo>
                    <a:pt x="163" y="78"/>
                  </a:lnTo>
                  <a:lnTo>
                    <a:pt x="163" y="83"/>
                  </a:lnTo>
                  <a:lnTo>
                    <a:pt x="161" y="90"/>
                  </a:lnTo>
                  <a:lnTo>
                    <a:pt x="161" y="92"/>
                  </a:lnTo>
                  <a:lnTo>
                    <a:pt x="161" y="95"/>
                  </a:lnTo>
                  <a:lnTo>
                    <a:pt x="166" y="99"/>
                  </a:lnTo>
                  <a:lnTo>
                    <a:pt x="168" y="102"/>
                  </a:lnTo>
                  <a:lnTo>
                    <a:pt x="170" y="104"/>
                  </a:lnTo>
                  <a:lnTo>
                    <a:pt x="173" y="106"/>
                  </a:lnTo>
                  <a:lnTo>
                    <a:pt x="173" y="109"/>
                  </a:lnTo>
                  <a:lnTo>
                    <a:pt x="173" y="109"/>
                  </a:lnTo>
                  <a:lnTo>
                    <a:pt x="170" y="111"/>
                  </a:lnTo>
                  <a:lnTo>
                    <a:pt x="170" y="116"/>
                  </a:lnTo>
                  <a:lnTo>
                    <a:pt x="170" y="118"/>
                  </a:lnTo>
                  <a:lnTo>
                    <a:pt x="170" y="118"/>
                  </a:lnTo>
                  <a:lnTo>
                    <a:pt x="170" y="121"/>
                  </a:lnTo>
                  <a:lnTo>
                    <a:pt x="170" y="123"/>
                  </a:lnTo>
                  <a:lnTo>
                    <a:pt x="170" y="125"/>
                  </a:lnTo>
                  <a:lnTo>
                    <a:pt x="168" y="125"/>
                  </a:lnTo>
                  <a:lnTo>
                    <a:pt x="168" y="128"/>
                  </a:lnTo>
                  <a:lnTo>
                    <a:pt x="168" y="132"/>
                  </a:lnTo>
                  <a:lnTo>
                    <a:pt x="170" y="135"/>
                  </a:lnTo>
                  <a:lnTo>
                    <a:pt x="173" y="137"/>
                  </a:lnTo>
                  <a:lnTo>
                    <a:pt x="173" y="137"/>
                  </a:lnTo>
                  <a:lnTo>
                    <a:pt x="170" y="139"/>
                  </a:lnTo>
                  <a:lnTo>
                    <a:pt x="175" y="144"/>
                  </a:lnTo>
                  <a:lnTo>
                    <a:pt x="175" y="147"/>
                  </a:lnTo>
                  <a:lnTo>
                    <a:pt x="175" y="149"/>
                  </a:lnTo>
                  <a:lnTo>
                    <a:pt x="177" y="151"/>
                  </a:lnTo>
                  <a:lnTo>
                    <a:pt x="177" y="151"/>
                  </a:lnTo>
                  <a:lnTo>
                    <a:pt x="177" y="154"/>
                  </a:lnTo>
                  <a:lnTo>
                    <a:pt x="177" y="156"/>
                  </a:lnTo>
                  <a:lnTo>
                    <a:pt x="177" y="158"/>
                  </a:lnTo>
                  <a:lnTo>
                    <a:pt x="182" y="161"/>
                  </a:lnTo>
                  <a:lnTo>
                    <a:pt x="184" y="163"/>
                  </a:lnTo>
                  <a:lnTo>
                    <a:pt x="187" y="163"/>
                  </a:lnTo>
                  <a:lnTo>
                    <a:pt x="189" y="165"/>
                  </a:lnTo>
                  <a:lnTo>
                    <a:pt x="189" y="165"/>
                  </a:lnTo>
                  <a:lnTo>
                    <a:pt x="189" y="168"/>
                  </a:lnTo>
                  <a:lnTo>
                    <a:pt x="189" y="168"/>
                  </a:lnTo>
                  <a:lnTo>
                    <a:pt x="184" y="170"/>
                  </a:lnTo>
                  <a:lnTo>
                    <a:pt x="180" y="175"/>
                  </a:lnTo>
                  <a:lnTo>
                    <a:pt x="177" y="175"/>
                  </a:lnTo>
                  <a:lnTo>
                    <a:pt x="173" y="177"/>
                  </a:lnTo>
                  <a:lnTo>
                    <a:pt x="161" y="182"/>
                  </a:lnTo>
                  <a:lnTo>
                    <a:pt x="159" y="182"/>
                  </a:lnTo>
                  <a:lnTo>
                    <a:pt x="156" y="182"/>
                  </a:lnTo>
                  <a:lnTo>
                    <a:pt x="151" y="180"/>
                  </a:lnTo>
                  <a:lnTo>
                    <a:pt x="149" y="180"/>
                  </a:lnTo>
                  <a:lnTo>
                    <a:pt x="144" y="182"/>
                  </a:lnTo>
                  <a:lnTo>
                    <a:pt x="140" y="184"/>
                  </a:lnTo>
                  <a:lnTo>
                    <a:pt x="140" y="184"/>
                  </a:lnTo>
                  <a:lnTo>
                    <a:pt x="137" y="187"/>
                  </a:lnTo>
                  <a:lnTo>
                    <a:pt x="125" y="184"/>
                  </a:lnTo>
                  <a:lnTo>
                    <a:pt x="123" y="187"/>
                  </a:lnTo>
                  <a:lnTo>
                    <a:pt x="121" y="187"/>
                  </a:lnTo>
                  <a:lnTo>
                    <a:pt x="118" y="189"/>
                  </a:lnTo>
                  <a:lnTo>
                    <a:pt x="116" y="189"/>
                  </a:lnTo>
                  <a:lnTo>
                    <a:pt x="114" y="187"/>
                  </a:lnTo>
                  <a:lnTo>
                    <a:pt x="114" y="184"/>
                  </a:lnTo>
                  <a:lnTo>
                    <a:pt x="111" y="184"/>
                  </a:lnTo>
                  <a:lnTo>
                    <a:pt x="109" y="184"/>
                  </a:lnTo>
                  <a:lnTo>
                    <a:pt x="107" y="187"/>
                  </a:lnTo>
                  <a:lnTo>
                    <a:pt x="104" y="187"/>
                  </a:lnTo>
                  <a:lnTo>
                    <a:pt x="92" y="187"/>
                  </a:lnTo>
                  <a:lnTo>
                    <a:pt x="92" y="184"/>
                  </a:lnTo>
                  <a:lnTo>
                    <a:pt x="90" y="182"/>
                  </a:lnTo>
                  <a:lnTo>
                    <a:pt x="90" y="180"/>
                  </a:lnTo>
                  <a:lnTo>
                    <a:pt x="88" y="177"/>
                  </a:lnTo>
                  <a:lnTo>
                    <a:pt x="88" y="177"/>
                  </a:lnTo>
                  <a:lnTo>
                    <a:pt x="88" y="172"/>
                  </a:lnTo>
                  <a:lnTo>
                    <a:pt x="85" y="168"/>
                  </a:lnTo>
                  <a:lnTo>
                    <a:pt x="85" y="163"/>
                  </a:lnTo>
                  <a:lnTo>
                    <a:pt x="83" y="158"/>
                  </a:lnTo>
                  <a:lnTo>
                    <a:pt x="83" y="156"/>
                  </a:lnTo>
                  <a:lnTo>
                    <a:pt x="78" y="151"/>
                  </a:lnTo>
                  <a:lnTo>
                    <a:pt x="76" y="151"/>
                  </a:lnTo>
                  <a:lnTo>
                    <a:pt x="73" y="154"/>
                  </a:lnTo>
                  <a:lnTo>
                    <a:pt x="73" y="151"/>
                  </a:lnTo>
                  <a:lnTo>
                    <a:pt x="73" y="151"/>
                  </a:lnTo>
                  <a:lnTo>
                    <a:pt x="71" y="151"/>
                  </a:lnTo>
                  <a:lnTo>
                    <a:pt x="71" y="151"/>
                  </a:lnTo>
                  <a:lnTo>
                    <a:pt x="66" y="151"/>
                  </a:lnTo>
                  <a:lnTo>
                    <a:pt x="66" y="151"/>
                  </a:lnTo>
                  <a:lnTo>
                    <a:pt x="64" y="149"/>
                  </a:lnTo>
                  <a:lnTo>
                    <a:pt x="62" y="149"/>
                  </a:lnTo>
                  <a:lnTo>
                    <a:pt x="57" y="147"/>
                  </a:lnTo>
                  <a:lnTo>
                    <a:pt x="57" y="147"/>
                  </a:lnTo>
                  <a:lnTo>
                    <a:pt x="55" y="147"/>
                  </a:lnTo>
                  <a:lnTo>
                    <a:pt x="52" y="144"/>
                  </a:lnTo>
                  <a:lnTo>
                    <a:pt x="50" y="144"/>
                  </a:lnTo>
                  <a:lnTo>
                    <a:pt x="40" y="139"/>
                  </a:lnTo>
                  <a:lnTo>
                    <a:pt x="36" y="139"/>
                  </a:lnTo>
                  <a:lnTo>
                    <a:pt x="36" y="137"/>
                  </a:lnTo>
                  <a:lnTo>
                    <a:pt x="33" y="137"/>
                  </a:lnTo>
                  <a:lnTo>
                    <a:pt x="31" y="132"/>
                  </a:lnTo>
                  <a:lnTo>
                    <a:pt x="29" y="132"/>
                  </a:lnTo>
                  <a:lnTo>
                    <a:pt x="26" y="132"/>
                  </a:lnTo>
                  <a:lnTo>
                    <a:pt x="21" y="128"/>
                  </a:lnTo>
                  <a:lnTo>
                    <a:pt x="21" y="123"/>
                  </a:lnTo>
                  <a:lnTo>
                    <a:pt x="19" y="118"/>
                  </a:lnTo>
                  <a:lnTo>
                    <a:pt x="14" y="111"/>
                  </a:lnTo>
                  <a:lnTo>
                    <a:pt x="17" y="109"/>
                  </a:lnTo>
                  <a:lnTo>
                    <a:pt x="14" y="104"/>
                  </a:lnTo>
                  <a:lnTo>
                    <a:pt x="10" y="99"/>
                  </a:lnTo>
                  <a:lnTo>
                    <a:pt x="3" y="95"/>
                  </a:lnTo>
                  <a:lnTo>
                    <a:pt x="3" y="90"/>
                  </a:lnTo>
                  <a:lnTo>
                    <a:pt x="3" y="90"/>
                  </a:lnTo>
                  <a:lnTo>
                    <a:pt x="5" y="87"/>
                  </a:lnTo>
                  <a:lnTo>
                    <a:pt x="3" y="83"/>
                  </a:lnTo>
                  <a:lnTo>
                    <a:pt x="3" y="78"/>
                  </a:lnTo>
                  <a:lnTo>
                    <a:pt x="3" y="73"/>
                  </a:lnTo>
                  <a:lnTo>
                    <a:pt x="3" y="71"/>
                  </a:lnTo>
                  <a:lnTo>
                    <a:pt x="0" y="71"/>
                  </a:lnTo>
                  <a:lnTo>
                    <a:pt x="0" y="66"/>
                  </a:lnTo>
                  <a:lnTo>
                    <a:pt x="0" y="59"/>
                  </a:lnTo>
                  <a:lnTo>
                    <a:pt x="0" y="59"/>
                  </a:lnTo>
                  <a:lnTo>
                    <a:pt x="5" y="59"/>
                  </a:lnTo>
                  <a:lnTo>
                    <a:pt x="10" y="57"/>
                  </a:lnTo>
                  <a:lnTo>
                    <a:pt x="12" y="50"/>
                  </a:lnTo>
                  <a:lnTo>
                    <a:pt x="14" y="50"/>
                  </a:lnTo>
                  <a:lnTo>
                    <a:pt x="17" y="45"/>
                  </a:lnTo>
                  <a:lnTo>
                    <a:pt x="19" y="40"/>
                  </a:lnTo>
                  <a:lnTo>
                    <a:pt x="19" y="38"/>
                  </a:lnTo>
                  <a:lnTo>
                    <a:pt x="19" y="35"/>
                  </a:lnTo>
                  <a:lnTo>
                    <a:pt x="19" y="33"/>
                  </a:lnTo>
                  <a:lnTo>
                    <a:pt x="19" y="33"/>
                  </a:lnTo>
                  <a:lnTo>
                    <a:pt x="17" y="33"/>
                  </a:lnTo>
                  <a:lnTo>
                    <a:pt x="14" y="31"/>
                  </a:lnTo>
                  <a:lnTo>
                    <a:pt x="14" y="31"/>
                  </a:lnTo>
                  <a:lnTo>
                    <a:pt x="14" y="28"/>
                  </a:lnTo>
                  <a:lnTo>
                    <a:pt x="14" y="26"/>
                  </a:lnTo>
                  <a:lnTo>
                    <a:pt x="17" y="24"/>
                  </a:lnTo>
                  <a:lnTo>
                    <a:pt x="21" y="21"/>
                  </a:lnTo>
                  <a:lnTo>
                    <a:pt x="21" y="17"/>
                  </a:lnTo>
                  <a:lnTo>
                    <a:pt x="21" y="14"/>
                  </a:lnTo>
                  <a:lnTo>
                    <a:pt x="19" y="10"/>
                  </a:lnTo>
                  <a:lnTo>
                    <a:pt x="14" y="2"/>
                  </a:lnTo>
                  <a:lnTo>
                    <a:pt x="14" y="0"/>
                  </a:lnTo>
                  <a:lnTo>
                    <a:pt x="21" y="2"/>
                  </a:lnTo>
                  <a:lnTo>
                    <a:pt x="24" y="0"/>
                  </a:lnTo>
                  <a:lnTo>
                    <a:pt x="24" y="0"/>
                  </a:lnTo>
                  <a:lnTo>
                    <a:pt x="38" y="0"/>
                  </a:lnTo>
                  <a:lnTo>
                    <a:pt x="38" y="2"/>
                  </a:lnTo>
                  <a:lnTo>
                    <a:pt x="38" y="10"/>
                  </a:lnTo>
                  <a:lnTo>
                    <a:pt x="36" y="12"/>
                  </a:lnTo>
                  <a:lnTo>
                    <a:pt x="36" y="19"/>
                  </a:lnTo>
                  <a:lnTo>
                    <a:pt x="38" y="26"/>
                  </a:lnTo>
                  <a:lnTo>
                    <a:pt x="38" y="28"/>
                  </a:lnTo>
                  <a:lnTo>
                    <a:pt x="38" y="31"/>
                  </a:lnTo>
                  <a:lnTo>
                    <a:pt x="40" y="31"/>
                  </a:lnTo>
                  <a:lnTo>
                    <a:pt x="43" y="28"/>
                  </a:lnTo>
                  <a:lnTo>
                    <a:pt x="45" y="28"/>
                  </a:lnTo>
                  <a:lnTo>
                    <a:pt x="43" y="26"/>
                  </a:lnTo>
                  <a:lnTo>
                    <a:pt x="45" y="24"/>
                  </a:lnTo>
                  <a:lnTo>
                    <a:pt x="47" y="24"/>
                  </a:lnTo>
                  <a:lnTo>
                    <a:pt x="50" y="28"/>
                  </a:lnTo>
                  <a:lnTo>
                    <a:pt x="52" y="28"/>
                  </a:lnTo>
                  <a:lnTo>
                    <a:pt x="55" y="28"/>
                  </a:lnTo>
                  <a:lnTo>
                    <a:pt x="55" y="28"/>
                  </a:lnTo>
                  <a:lnTo>
                    <a:pt x="57" y="33"/>
                  </a:lnTo>
                  <a:lnTo>
                    <a:pt x="57" y="33"/>
                  </a:lnTo>
                  <a:lnTo>
                    <a:pt x="57" y="31"/>
                  </a:lnTo>
                  <a:lnTo>
                    <a:pt x="59" y="26"/>
                  </a:lnTo>
                  <a:lnTo>
                    <a:pt x="59" y="26"/>
                  </a:lnTo>
                  <a:lnTo>
                    <a:pt x="64" y="26"/>
                  </a:lnTo>
                  <a:lnTo>
                    <a:pt x="64" y="26"/>
                  </a:lnTo>
                  <a:lnTo>
                    <a:pt x="69" y="26"/>
                  </a:lnTo>
                  <a:lnTo>
                    <a:pt x="71" y="24"/>
                  </a:lnTo>
                  <a:lnTo>
                    <a:pt x="71" y="21"/>
                  </a:lnTo>
                  <a:lnTo>
                    <a:pt x="71" y="21"/>
                  </a:lnTo>
                  <a:lnTo>
                    <a:pt x="66" y="21"/>
                  </a:lnTo>
                  <a:lnTo>
                    <a:pt x="64" y="19"/>
                  </a:lnTo>
                  <a:lnTo>
                    <a:pt x="64" y="19"/>
                  </a:lnTo>
                  <a:lnTo>
                    <a:pt x="66" y="17"/>
                  </a:lnTo>
                  <a:lnTo>
                    <a:pt x="66" y="17"/>
                  </a:lnTo>
                  <a:lnTo>
                    <a:pt x="66" y="14"/>
                  </a:lnTo>
                  <a:lnTo>
                    <a:pt x="69" y="14"/>
                  </a:lnTo>
                  <a:lnTo>
                    <a:pt x="69" y="14"/>
                  </a:lnTo>
                  <a:lnTo>
                    <a:pt x="71" y="12"/>
                  </a:lnTo>
                  <a:lnTo>
                    <a:pt x="71" y="10"/>
                  </a:lnTo>
                  <a:lnTo>
                    <a:pt x="73" y="10"/>
                  </a:lnTo>
                  <a:lnTo>
                    <a:pt x="73" y="7"/>
                  </a:lnTo>
                  <a:lnTo>
                    <a:pt x="76" y="7"/>
                  </a:lnTo>
                  <a:lnTo>
                    <a:pt x="76" y="5"/>
                  </a:lnTo>
                  <a:lnTo>
                    <a:pt x="76" y="5"/>
                  </a:lnTo>
                  <a:lnTo>
                    <a:pt x="76" y="2"/>
                  </a:lnTo>
                  <a:lnTo>
                    <a:pt x="81" y="0"/>
                  </a:lnTo>
                  <a:lnTo>
                    <a:pt x="140" y="3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79" name="Freeform 640">
              <a:extLst>
                <a:ext uri="{FF2B5EF4-FFF2-40B4-BE49-F238E27FC236}">
                  <a16:creationId xmlns:a16="http://schemas.microsoft.com/office/drawing/2014/main" id="{3B7DE6F7-E304-493A-9FDF-D9309F2FF607}"/>
                </a:ext>
              </a:extLst>
            </p:cNvPr>
            <p:cNvSpPr>
              <a:spLocks/>
            </p:cNvSpPr>
            <p:nvPr/>
          </p:nvSpPr>
          <p:spPr bwMode="auto">
            <a:xfrm>
              <a:off x="918417" y="3468653"/>
              <a:ext cx="330199" cy="266701"/>
            </a:xfrm>
            <a:custGeom>
              <a:avLst/>
              <a:gdLst>
                <a:gd name="T0" fmla="*/ 66 w 208"/>
                <a:gd name="T1" fmla="*/ 168 h 168"/>
                <a:gd name="T2" fmla="*/ 26 w 208"/>
                <a:gd name="T3" fmla="*/ 168 h 168"/>
                <a:gd name="T4" fmla="*/ 0 w 208"/>
                <a:gd name="T5" fmla="*/ 168 h 168"/>
                <a:gd name="T6" fmla="*/ 10 w 208"/>
                <a:gd name="T7" fmla="*/ 163 h 168"/>
                <a:gd name="T8" fmla="*/ 28 w 208"/>
                <a:gd name="T9" fmla="*/ 156 h 168"/>
                <a:gd name="T10" fmla="*/ 36 w 208"/>
                <a:gd name="T11" fmla="*/ 149 h 168"/>
                <a:gd name="T12" fmla="*/ 47 w 208"/>
                <a:gd name="T13" fmla="*/ 142 h 168"/>
                <a:gd name="T14" fmla="*/ 52 w 208"/>
                <a:gd name="T15" fmla="*/ 132 h 168"/>
                <a:gd name="T16" fmla="*/ 59 w 208"/>
                <a:gd name="T17" fmla="*/ 116 h 168"/>
                <a:gd name="T18" fmla="*/ 57 w 208"/>
                <a:gd name="T19" fmla="*/ 97 h 168"/>
                <a:gd name="T20" fmla="*/ 62 w 208"/>
                <a:gd name="T21" fmla="*/ 85 h 168"/>
                <a:gd name="T22" fmla="*/ 69 w 208"/>
                <a:gd name="T23" fmla="*/ 76 h 168"/>
                <a:gd name="T24" fmla="*/ 78 w 208"/>
                <a:gd name="T25" fmla="*/ 59 h 168"/>
                <a:gd name="T26" fmla="*/ 95 w 208"/>
                <a:gd name="T27" fmla="*/ 50 h 168"/>
                <a:gd name="T28" fmla="*/ 111 w 208"/>
                <a:gd name="T29" fmla="*/ 38 h 168"/>
                <a:gd name="T30" fmla="*/ 121 w 208"/>
                <a:gd name="T31" fmla="*/ 19 h 168"/>
                <a:gd name="T32" fmla="*/ 135 w 208"/>
                <a:gd name="T33" fmla="*/ 0 h 168"/>
                <a:gd name="T34" fmla="*/ 149 w 208"/>
                <a:gd name="T35" fmla="*/ 17 h 168"/>
                <a:gd name="T36" fmla="*/ 161 w 208"/>
                <a:gd name="T37" fmla="*/ 14 h 168"/>
                <a:gd name="T38" fmla="*/ 175 w 208"/>
                <a:gd name="T39" fmla="*/ 14 h 168"/>
                <a:gd name="T40" fmla="*/ 182 w 208"/>
                <a:gd name="T41" fmla="*/ 19 h 168"/>
                <a:gd name="T42" fmla="*/ 191 w 208"/>
                <a:gd name="T43" fmla="*/ 19 h 168"/>
                <a:gd name="T44" fmla="*/ 194 w 208"/>
                <a:gd name="T45" fmla="*/ 21 h 168"/>
                <a:gd name="T46" fmla="*/ 196 w 208"/>
                <a:gd name="T47" fmla="*/ 26 h 168"/>
                <a:gd name="T48" fmla="*/ 199 w 208"/>
                <a:gd name="T49" fmla="*/ 28 h 168"/>
                <a:gd name="T50" fmla="*/ 199 w 208"/>
                <a:gd name="T51" fmla="*/ 31 h 168"/>
                <a:gd name="T52" fmla="*/ 199 w 208"/>
                <a:gd name="T53" fmla="*/ 40 h 168"/>
                <a:gd name="T54" fmla="*/ 199 w 208"/>
                <a:gd name="T55" fmla="*/ 47 h 168"/>
                <a:gd name="T56" fmla="*/ 201 w 208"/>
                <a:gd name="T57" fmla="*/ 52 h 168"/>
                <a:gd name="T58" fmla="*/ 201 w 208"/>
                <a:gd name="T59" fmla="*/ 57 h 168"/>
                <a:gd name="T60" fmla="*/ 203 w 208"/>
                <a:gd name="T61" fmla="*/ 66 h 168"/>
                <a:gd name="T62" fmla="*/ 208 w 208"/>
                <a:gd name="T63" fmla="*/ 71 h 168"/>
                <a:gd name="T64" fmla="*/ 206 w 208"/>
                <a:gd name="T65" fmla="*/ 76 h 168"/>
                <a:gd name="T66" fmla="*/ 206 w 208"/>
                <a:gd name="T67" fmla="*/ 78 h 168"/>
                <a:gd name="T68" fmla="*/ 196 w 208"/>
                <a:gd name="T69" fmla="*/ 78 h 168"/>
                <a:gd name="T70" fmla="*/ 182 w 208"/>
                <a:gd name="T71" fmla="*/ 78 h 168"/>
                <a:gd name="T72" fmla="*/ 177 w 208"/>
                <a:gd name="T73" fmla="*/ 80 h 168"/>
                <a:gd name="T74" fmla="*/ 175 w 208"/>
                <a:gd name="T75" fmla="*/ 83 h 168"/>
                <a:gd name="T76" fmla="*/ 170 w 208"/>
                <a:gd name="T77" fmla="*/ 87 h 168"/>
                <a:gd name="T78" fmla="*/ 163 w 208"/>
                <a:gd name="T79" fmla="*/ 87 h 168"/>
                <a:gd name="T80" fmla="*/ 161 w 208"/>
                <a:gd name="T81" fmla="*/ 90 h 168"/>
                <a:gd name="T82" fmla="*/ 161 w 208"/>
                <a:gd name="T83" fmla="*/ 95 h 168"/>
                <a:gd name="T84" fmla="*/ 161 w 208"/>
                <a:gd name="T85" fmla="*/ 99 h 168"/>
                <a:gd name="T86" fmla="*/ 163 w 208"/>
                <a:gd name="T87" fmla="*/ 99 h 168"/>
                <a:gd name="T88" fmla="*/ 165 w 208"/>
                <a:gd name="T89" fmla="*/ 102 h 168"/>
                <a:gd name="T90" fmla="*/ 149 w 208"/>
                <a:gd name="T91" fmla="*/ 109 h 168"/>
                <a:gd name="T92" fmla="*/ 140 w 208"/>
                <a:gd name="T93" fmla="*/ 113 h 168"/>
                <a:gd name="T94" fmla="*/ 137 w 208"/>
                <a:gd name="T95" fmla="*/ 118 h 168"/>
                <a:gd name="T96" fmla="*/ 128 w 208"/>
                <a:gd name="T97" fmla="*/ 125 h 168"/>
                <a:gd name="T98" fmla="*/ 118 w 208"/>
                <a:gd name="T99" fmla="*/ 125 h 168"/>
                <a:gd name="T100" fmla="*/ 114 w 208"/>
                <a:gd name="T101" fmla="*/ 130 h 168"/>
                <a:gd name="T102" fmla="*/ 106 w 208"/>
                <a:gd name="T103" fmla="*/ 130 h 168"/>
                <a:gd name="T104" fmla="*/ 102 w 208"/>
                <a:gd name="T105" fmla="*/ 130 h 168"/>
                <a:gd name="T106" fmla="*/ 95 w 208"/>
                <a:gd name="T107" fmla="*/ 135 h 168"/>
                <a:gd name="T108" fmla="*/ 76 w 208"/>
                <a:gd name="T109" fmla="*/ 14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168">
                  <a:moveTo>
                    <a:pt x="76" y="147"/>
                  </a:moveTo>
                  <a:lnTo>
                    <a:pt x="76" y="168"/>
                  </a:lnTo>
                  <a:lnTo>
                    <a:pt x="66" y="168"/>
                  </a:lnTo>
                  <a:lnTo>
                    <a:pt x="52" y="168"/>
                  </a:lnTo>
                  <a:lnTo>
                    <a:pt x="38" y="168"/>
                  </a:lnTo>
                  <a:lnTo>
                    <a:pt x="26" y="168"/>
                  </a:lnTo>
                  <a:lnTo>
                    <a:pt x="14" y="168"/>
                  </a:lnTo>
                  <a:lnTo>
                    <a:pt x="2" y="168"/>
                  </a:lnTo>
                  <a:lnTo>
                    <a:pt x="0" y="168"/>
                  </a:lnTo>
                  <a:lnTo>
                    <a:pt x="2" y="165"/>
                  </a:lnTo>
                  <a:lnTo>
                    <a:pt x="5" y="163"/>
                  </a:lnTo>
                  <a:lnTo>
                    <a:pt x="10" y="163"/>
                  </a:lnTo>
                  <a:lnTo>
                    <a:pt x="14" y="163"/>
                  </a:lnTo>
                  <a:lnTo>
                    <a:pt x="24" y="158"/>
                  </a:lnTo>
                  <a:lnTo>
                    <a:pt x="28" y="156"/>
                  </a:lnTo>
                  <a:lnTo>
                    <a:pt x="31" y="151"/>
                  </a:lnTo>
                  <a:lnTo>
                    <a:pt x="33" y="151"/>
                  </a:lnTo>
                  <a:lnTo>
                    <a:pt x="36" y="149"/>
                  </a:lnTo>
                  <a:lnTo>
                    <a:pt x="43" y="147"/>
                  </a:lnTo>
                  <a:lnTo>
                    <a:pt x="45" y="142"/>
                  </a:lnTo>
                  <a:lnTo>
                    <a:pt x="47" y="142"/>
                  </a:lnTo>
                  <a:lnTo>
                    <a:pt x="47" y="139"/>
                  </a:lnTo>
                  <a:lnTo>
                    <a:pt x="50" y="139"/>
                  </a:lnTo>
                  <a:lnTo>
                    <a:pt x="52" y="132"/>
                  </a:lnTo>
                  <a:lnTo>
                    <a:pt x="59" y="123"/>
                  </a:lnTo>
                  <a:lnTo>
                    <a:pt x="59" y="121"/>
                  </a:lnTo>
                  <a:lnTo>
                    <a:pt x="59" y="116"/>
                  </a:lnTo>
                  <a:lnTo>
                    <a:pt x="54" y="111"/>
                  </a:lnTo>
                  <a:lnTo>
                    <a:pt x="57" y="106"/>
                  </a:lnTo>
                  <a:lnTo>
                    <a:pt x="57" y="97"/>
                  </a:lnTo>
                  <a:lnTo>
                    <a:pt x="57" y="95"/>
                  </a:lnTo>
                  <a:lnTo>
                    <a:pt x="62" y="85"/>
                  </a:lnTo>
                  <a:lnTo>
                    <a:pt x="62" y="85"/>
                  </a:lnTo>
                  <a:lnTo>
                    <a:pt x="66" y="83"/>
                  </a:lnTo>
                  <a:lnTo>
                    <a:pt x="66" y="83"/>
                  </a:lnTo>
                  <a:lnTo>
                    <a:pt x="69" y="76"/>
                  </a:lnTo>
                  <a:lnTo>
                    <a:pt x="69" y="71"/>
                  </a:lnTo>
                  <a:lnTo>
                    <a:pt x="76" y="64"/>
                  </a:lnTo>
                  <a:lnTo>
                    <a:pt x="78" y="59"/>
                  </a:lnTo>
                  <a:lnTo>
                    <a:pt x="80" y="57"/>
                  </a:lnTo>
                  <a:lnTo>
                    <a:pt x="85" y="54"/>
                  </a:lnTo>
                  <a:lnTo>
                    <a:pt x="95" y="50"/>
                  </a:lnTo>
                  <a:lnTo>
                    <a:pt x="99" y="47"/>
                  </a:lnTo>
                  <a:lnTo>
                    <a:pt x="106" y="43"/>
                  </a:lnTo>
                  <a:lnTo>
                    <a:pt x="111" y="38"/>
                  </a:lnTo>
                  <a:lnTo>
                    <a:pt x="114" y="33"/>
                  </a:lnTo>
                  <a:lnTo>
                    <a:pt x="116" y="28"/>
                  </a:lnTo>
                  <a:lnTo>
                    <a:pt x="121" y="19"/>
                  </a:lnTo>
                  <a:lnTo>
                    <a:pt x="125" y="5"/>
                  </a:lnTo>
                  <a:lnTo>
                    <a:pt x="128" y="2"/>
                  </a:lnTo>
                  <a:lnTo>
                    <a:pt x="135" y="0"/>
                  </a:lnTo>
                  <a:lnTo>
                    <a:pt x="137" y="7"/>
                  </a:lnTo>
                  <a:lnTo>
                    <a:pt x="142" y="12"/>
                  </a:lnTo>
                  <a:lnTo>
                    <a:pt x="149" y="17"/>
                  </a:lnTo>
                  <a:lnTo>
                    <a:pt x="151" y="17"/>
                  </a:lnTo>
                  <a:lnTo>
                    <a:pt x="158" y="14"/>
                  </a:lnTo>
                  <a:lnTo>
                    <a:pt x="161" y="14"/>
                  </a:lnTo>
                  <a:lnTo>
                    <a:pt x="168" y="14"/>
                  </a:lnTo>
                  <a:lnTo>
                    <a:pt x="173" y="14"/>
                  </a:lnTo>
                  <a:lnTo>
                    <a:pt x="175" y="14"/>
                  </a:lnTo>
                  <a:lnTo>
                    <a:pt x="177" y="14"/>
                  </a:lnTo>
                  <a:lnTo>
                    <a:pt x="180" y="17"/>
                  </a:lnTo>
                  <a:lnTo>
                    <a:pt x="182" y="19"/>
                  </a:lnTo>
                  <a:lnTo>
                    <a:pt x="184" y="19"/>
                  </a:lnTo>
                  <a:lnTo>
                    <a:pt x="187" y="17"/>
                  </a:lnTo>
                  <a:lnTo>
                    <a:pt x="191" y="19"/>
                  </a:lnTo>
                  <a:lnTo>
                    <a:pt x="191" y="19"/>
                  </a:lnTo>
                  <a:lnTo>
                    <a:pt x="191" y="21"/>
                  </a:lnTo>
                  <a:lnTo>
                    <a:pt x="194" y="21"/>
                  </a:lnTo>
                  <a:lnTo>
                    <a:pt x="194" y="24"/>
                  </a:lnTo>
                  <a:lnTo>
                    <a:pt x="196" y="24"/>
                  </a:lnTo>
                  <a:lnTo>
                    <a:pt x="196" y="26"/>
                  </a:lnTo>
                  <a:lnTo>
                    <a:pt x="199" y="26"/>
                  </a:lnTo>
                  <a:lnTo>
                    <a:pt x="199" y="26"/>
                  </a:lnTo>
                  <a:lnTo>
                    <a:pt x="199" y="28"/>
                  </a:lnTo>
                  <a:lnTo>
                    <a:pt x="199" y="28"/>
                  </a:lnTo>
                  <a:lnTo>
                    <a:pt x="199" y="28"/>
                  </a:lnTo>
                  <a:lnTo>
                    <a:pt x="199" y="31"/>
                  </a:lnTo>
                  <a:lnTo>
                    <a:pt x="199" y="33"/>
                  </a:lnTo>
                  <a:lnTo>
                    <a:pt x="199" y="36"/>
                  </a:lnTo>
                  <a:lnTo>
                    <a:pt x="199" y="40"/>
                  </a:lnTo>
                  <a:lnTo>
                    <a:pt x="199" y="43"/>
                  </a:lnTo>
                  <a:lnTo>
                    <a:pt x="199" y="45"/>
                  </a:lnTo>
                  <a:lnTo>
                    <a:pt x="199" y="47"/>
                  </a:lnTo>
                  <a:lnTo>
                    <a:pt x="201" y="50"/>
                  </a:lnTo>
                  <a:lnTo>
                    <a:pt x="201" y="50"/>
                  </a:lnTo>
                  <a:lnTo>
                    <a:pt x="201" y="52"/>
                  </a:lnTo>
                  <a:lnTo>
                    <a:pt x="201" y="54"/>
                  </a:lnTo>
                  <a:lnTo>
                    <a:pt x="201" y="54"/>
                  </a:lnTo>
                  <a:lnTo>
                    <a:pt x="201" y="57"/>
                  </a:lnTo>
                  <a:lnTo>
                    <a:pt x="201" y="59"/>
                  </a:lnTo>
                  <a:lnTo>
                    <a:pt x="201" y="61"/>
                  </a:lnTo>
                  <a:lnTo>
                    <a:pt x="203" y="66"/>
                  </a:lnTo>
                  <a:lnTo>
                    <a:pt x="206" y="69"/>
                  </a:lnTo>
                  <a:lnTo>
                    <a:pt x="208" y="71"/>
                  </a:lnTo>
                  <a:lnTo>
                    <a:pt x="208" y="71"/>
                  </a:lnTo>
                  <a:lnTo>
                    <a:pt x="208" y="71"/>
                  </a:lnTo>
                  <a:lnTo>
                    <a:pt x="206" y="73"/>
                  </a:lnTo>
                  <a:lnTo>
                    <a:pt x="206" y="76"/>
                  </a:lnTo>
                  <a:lnTo>
                    <a:pt x="206" y="78"/>
                  </a:lnTo>
                  <a:lnTo>
                    <a:pt x="206" y="78"/>
                  </a:lnTo>
                  <a:lnTo>
                    <a:pt x="206" y="78"/>
                  </a:lnTo>
                  <a:lnTo>
                    <a:pt x="203" y="78"/>
                  </a:lnTo>
                  <a:lnTo>
                    <a:pt x="199" y="78"/>
                  </a:lnTo>
                  <a:lnTo>
                    <a:pt x="196" y="78"/>
                  </a:lnTo>
                  <a:lnTo>
                    <a:pt x="194" y="78"/>
                  </a:lnTo>
                  <a:lnTo>
                    <a:pt x="184" y="78"/>
                  </a:lnTo>
                  <a:lnTo>
                    <a:pt x="182" y="78"/>
                  </a:lnTo>
                  <a:lnTo>
                    <a:pt x="180" y="80"/>
                  </a:lnTo>
                  <a:lnTo>
                    <a:pt x="180" y="80"/>
                  </a:lnTo>
                  <a:lnTo>
                    <a:pt x="177" y="80"/>
                  </a:lnTo>
                  <a:lnTo>
                    <a:pt x="177" y="80"/>
                  </a:lnTo>
                  <a:lnTo>
                    <a:pt x="175" y="80"/>
                  </a:lnTo>
                  <a:lnTo>
                    <a:pt x="175" y="83"/>
                  </a:lnTo>
                  <a:lnTo>
                    <a:pt x="175" y="85"/>
                  </a:lnTo>
                  <a:lnTo>
                    <a:pt x="175" y="85"/>
                  </a:lnTo>
                  <a:lnTo>
                    <a:pt x="170" y="87"/>
                  </a:lnTo>
                  <a:lnTo>
                    <a:pt x="168" y="87"/>
                  </a:lnTo>
                  <a:lnTo>
                    <a:pt x="165" y="87"/>
                  </a:lnTo>
                  <a:lnTo>
                    <a:pt x="163" y="87"/>
                  </a:lnTo>
                  <a:lnTo>
                    <a:pt x="161" y="87"/>
                  </a:lnTo>
                  <a:lnTo>
                    <a:pt x="161" y="90"/>
                  </a:lnTo>
                  <a:lnTo>
                    <a:pt x="161" y="90"/>
                  </a:lnTo>
                  <a:lnTo>
                    <a:pt x="161" y="92"/>
                  </a:lnTo>
                  <a:lnTo>
                    <a:pt x="161" y="92"/>
                  </a:lnTo>
                  <a:lnTo>
                    <a:pt x="161" y="95"/>
                  </a:lnTo>
                  <a:lnTo>
                    <a:pt x="163" y="95"/>
                  </a:lnTo>
                  <a:lnTo>
                    <a:pt x="161" y="95"/>
                  </a:lnTo>
                  <a:lnTo>
                    <a:pt x="161" y="99"/>
                  </a:lnTo>
                  <a:lnTo>
                    <a:pt x="161" y="99"/>
                  </a:lnTo>
                  <a:lnTo>
                    <a:pt x="161" y="99"/>
                  </a:lnTo>
                  <a:lnTo>
                    <a:pt x="163" y="99"/>
                  </a:lnTo>
                  <a:lnTo>
                    <a:pt x="163" y="99"/>
                  </a:lnTo>
                  <a:lnTo>
                    <a:pt x="163" y="102"/>
                  </a:lnTo>
                  <a:lnTo>
                    <a:pt x="165" y="102"/>
                  </a:lnTo>
                  <a:lnTo>
                    <a:pt x="163" y="104"/>
                  </a:lnTo>
                  <a:lnTo>
                    <a:pt x="156" y="104"/>
                  </a:lnTo>
                  <a:lnTo>
                    <a:pt x="149" y="109"/>
                  </a:lnTo>
                  <a:lnTo>
                    <a:pt x="147" y="109"/>
                  </a:lnTo>
                  <a:lnTo>
                    <a:pt x="142" y="111"/>
                  </a:lnTo>
                  <a:lnTo>
                    <a:pt x="140" y="113"/>
                  </a:lnTo>
                  <a:lnTo>
                    <a:pt x="137" y="116"/>
                  </a:lnTo>
                  <a:lnTo>
                    <a:pt x="137" y="118"/>
                  </a:lnTo>
                  <a:lnTo>
                    <a:pt x="137" y="118"/>
                  </a:lnTo>
                  <a:lnTo>
                    <a:pt x="135" y="121"/>
                  </a:lnTo>
                  <a:lnTo>
                    <a:pt x="132" y="123"/>
                  </a:lnTo>
                  <a:lnTo>
                    <a:pt x="128" y="125"/>
                  </a:lnTo>
                  <a:lnTo>
                    <a:pt x="123" y="125"/>
                  </a:lnTo>
                  <a:lnTo>
                    <a:pt x="121" y="125"/>
                  </a:lnTo>
                  <a:lnTo>
                    <a:pt x="118" y="125"/>
                  </a:lnTo>
                  <a:lnTo>
                    <a:pt x="114" y="125"/>
                  </a:lnTo>
                  <a:lnTo>
                    <a:pt x="114" y="128"/>
                  </a:lnTo>
                  <a:lnTo>
                    <a:pt x="114" y="130"/>
                  </a:lnTo>
                  <a:lnTo>
                    <a:pt x="111" y="130"/>
                  </a:lnTo>
                  <a:lnTo>
                    <a:pt x="109" y="130"/>
                  </a:lnTo>
                  <a:lnTo>
                    <a:pt x="106" y="130"/>
                  </a:lnTo>
                  <a:lnTo>
                    <a:pt x="106" y="130"/>
                  </a:lnTo>
                  <a:lnTo>
                    <a:pt x="104" y="130"/>
                  </a:lnTo>
                  <a:lnTo>
                    <a:pt x="102" y="130"/>
                  </a:lnTo>
                  <a:lnTo>
                    <a:pt x="99" y="132"/>
                  </a:lnTo>
                  <a:lnTo>
                    <a:pt x="97" y="132"/>
                  </a:lnTo>
                  <a:lnTo>
                    <a:pt x="95" y="135"/>
                  </a:lnTo>
                  <a:lnTo>
                    <a:pt x="92" y="135"/>
                  </a:lnTo>
                  <a:lnTo>
                    <a:pt x="85" y="139"/>
                  </a:lnTo>
                  <a:lnTo>
                    <a:pt x="76" y="14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0" name="Freeform 641">
              <a:extLst>
                <a:ext uri="{FF2B5EF4-FFF2-40B4-BE49-F238E27FC236}">
                  <a16:creationId xmlns:a16="http://schemas.microsoft.com/office/drawing/2014/main" id="{6F0FA600-6749-4598-9241-88BA0F18B56E}"/>
                </a:ext>
              </a:extLst>
            </p:cNvPr>
            <p:cNvSpPr>
              <a:spLocks/>
            </p:cNvSpPr>
            <p:nvPr/>
          </p:nvSpPr>
          <p:spPr bwMode="auto">
            <a:xfrm>
              <a:off x="918417" y="3468653"/>
              <a:ext cx="330199" cy="266701"/>
            </a:xfrm>
            <a:custGeom>
              <a:avLst/>
              <a:gdLst>
                <a:gd name="T0" fmla="*/ 66 w 208"/>
                <a:gd name="T1" fmla="*/ 168 h 168"/>
                <a:gd name="T2" fmla="*/ 26 w 208"/>
                <a:gd name="T3" fmla="*/ 168 h 168"/>
                <a:gd name="T4" fmla="*/ 0 w 208"/>
                <a:gd name="T5" fmla="*/ 168 h 168"/>
                <a:gd name="T6" fmla="*/ 10 w 208"/>
                <a:gd name="T7" fmla="*/ 163 h 168"/>
                <a:gd name="T8" fmla="*/ 28 w 208"/>
                <a:gd name="T9" fmla="*/ 156 h 168"/>
                <a:gd name="T10" fmla="*/ 36 w 208"/>
                <a:gd name="T11" fmla="*/ 149 h 168"/>
                <a:gd name="T12" fmla="*/ 47 w 208"/>
                <a:gd name="T13" fmla="*/ 142 h 168"/>
                <a:gd name="T14" fmla="*/ 52 w 208"/>
                <a:gd name="T15" fmla="*/ 132 h 168"/>
                <a:gd name="T16" fmla="*/ 59 w 208"/>
                <a:gd name="T17" fmla="*/ 116 h 168"/>
                <a:gd name="T18" fmla="*/ 57 w 208"/>
                <a:gd name="T19" fmla="*/ 97 h 168"/>
                <a:gd name="T20" fmla="*/ 62 w 208"/>
                <a:gd name="T21" fmla="*/ 85 h 168"/>
                <a:gd name="T22" fmla="*/ 69 w 208"/>
                <a:gd name="T23" fmla="*/ 76 h 168"/>
                <a:gd name="T24" fmla="*/ 78 w 208"/>
                <a:gd name="T25" fmla="*/ 59 h 168"/>
                <a:gd name="T26" fmla="*/ 95 w 208"/>
                <a:gd name="T27" fmla="*/ 50 h 168"/>
                <a:gd name="T28" fmla="*/ 111 w 208"/>
                <a:gd name="T29" fmla="*/ 38 h 168"/>
                <a:gd name="T30" fmla="*/ 121 w 208"/>
                <a:gd name="T31" fmla="*/ 19 h 168"/>
                <a:gd name="T32" fmla="*/ 135 w 208"/>
                <a:gd name="T33" fmla="*/ 0 h 168"/>
                <a:gd name="T34" fmla="*/ 149 w 208"/>
                <a:gd name="T35" fmla="*/ 17 h 168"/>
                <a:gd name="T36" fmla="*/ 161 w 208"/>
                <a:gd name="T37" fmla="*/ 14 h 168"/>
                <a:gd name="T38" fmla="*/ 175 w 208"/>
                <a:gd name="T39" fmla="*/ 14 h 168"/>
                <a:gd name="T40" fmla="*/ 182 w 208"/>
                <a:gd name="T41" fmla="*/ 19 h 168"/>
                <a:gd name="T42" fmla="*/ 191 w 208"/>
                <a:gd name="T43" fmla="*/ 19 h 168"/>
                <a:gd name="T44" fmla="*/ 194 w 208"/>
                <a:gd name="T45" fmla="*/ 21 h 168"/>
                <a:gd name="T46" fmla="*/ 196 w 208"/>
                <a:gd name="T47" fmla="*/ 26 h 168"/>
                <a:gd name="T48" fmla="*/ 199 w 208"/>
                <a:gd name="T49" fmla="*/ 28 h 168"/>
                <a:gd name="T50" fmla="*/ 199 w 208"/>
                <a:gd name="T51" fmla="*/ 31 h 168"/>
                <a:gd name="T52" fmla="*/ 199 w 208"/>
                <a:gd name="T53" fmla="*/ 40 h 168"/>
                <a:gd name="T54" fmla="*/ 199 w 208"/>
                <a:gd name="T55" fmla="*/ 47 h 168"/>
                <a:gd name="T56" fmla="*/ 201 w 208"/>
                <a:gd name="T57" fmla="*/ 52 h 168"/>
                <a:gd name="T58" fmla="*/ 201 w 208"/>
                <a:gd name="T59" fmla="*/ 57 h 168"/>
                <a:gd name="T60" fmla="*/ 203 w 208"/>
                <a:gd name="T61" fmla="*/ 66 h 168"/>
                <a:gd name="T62" fmla="*/ 208 w 208"/>
                <a:gd name="T63" fmla="*/ 71 h 168"/>
                <a:gd name="T64" fmla="*/ 206 w 208"/>
                <a:gd name="T65" fmla="*/ 76 h 168"/>
                <a:gd name="T66" fmla="*/ 206 w 208"/>
                <a:gd name="T67" fmla="*/ 78 h 168"/>
                <a:gd name="T68" fmla="*/ 196 w 208"/>
                <a:gd name="T69" fmla="*/ 78 h 168"/>
                <a:gd name="T70" fmla="*/ 182 w 208"/>
                <a:gd name="T71" fmla="*/ 78 h 168"/>
                <a:gd name="T72" fmla="*/ 177 w 208"/>
                <a:gd name="T73" fmla="*/ 80 h 168"/>
                <a:gd name="T74" fmla="*/ 175 w 208"/>
                <a:gd name="T75" fmla="*/ 83 h 168"/>
                <a:gd name="T76" fmla="*/ 170 w 208"/>
                <a:gd name="T77" fmla="*/ 87 h 168"/>
                <a:gd name="T78" fmla="*/ 163 w 208"/>
                <a:gd name="T79" fmla="*/ 87 h 168"/>
                <a:gd name="T80" fmla="*/ 161 w 208"/>
                <a:gd name="T81" fmla="*/ 90 h 168"/>
                <a:gd name="T82" fmla="*/ 161 w 208"/>
                <a:gd name="T83" fmla="*/ 95 h 168"/>
                <a:gd name="T84" fmla="*/ 161 w 208"/>
                <a:gd name="T85" fmla="*/ 99 h 168"/>
                <a:gd name="T86" fmla="*/ 163 w 208"/>
                <a:gd name="T87" fmla="*/ 99 h 168"/>
                <a:gd name="T88" fmla="*/ 165 w 208"/>
                <a:gd name="T89" fmla="*/ 102 h 168"/>
                <a:gd name="T90" fmla="*/ 149 w 208"/>
                <a:gd name="T91" fmla="*/ 109 h 168"/>
                <a:gd name="T92" fmla="*/ 140 w 208"/>
                <a:gd name="T93" fmla="*/ 113 h 168"/>
                <a:gd name="T94" fmla="*/ 137 w 208"/>
                <a:gd name="T95" fmla="*/ 118 h 168"/>
                <a:gd name="T96" fmla="*/ 128 w 208"/>
                <a:gd name="T97" fmla="*/ 125 h 168"/>
                <a:gd name="T98" fmla="*/ 118 w 208"/>
                <a:gd name="T99" fmla="*/ 125 h 168"/>
                <a:gd name="T100" fmla="*/ 114 w 208"/>
                <a:gd name="T101" fmla="*/ 130 h 168"/>
                <a:gd name="T102" fmla="*/ 106 w 208"/>
                <a:gd name="T103" fmla="*/ 130 h 168"/>
                <a:gd name="T104" fmla="*/ 102 w 208"/>
                <a:gd name="T105" fmla="*/ 130 h 168"/>
                <a:gd name="T106" fmla="*/ 95 w 208"/>
                <a:gd name="T107" fmla="*/ 135 h 168"/>
                <a:gd name="T108" fmla="*/ 76 w 208"/>
                <a:gd name="T109" fmla="*/ 14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168">
                  <a:moveTo>
                    <a:pt x="76" y="147"/>
                  </a:moveTo>
                  <a:lnTo>
                    <a:pt x="76" y="168"/>
                  </a:lnTo>
                  <a:lnTo>
                    <a:pt x="66" y="168"/>
                  </a:lnTo>
                  <a:lnTo>
                    <a:pt x="52" y="168"/>
                  </a:lnTo>
                  <a:lnTo>
                    <a:pt x="38" y="168"/>
                  </a:lnTo>
                  <a:lnTo>
                    <a:pt x="26" y="168"/>
                  </a:lnTo>
                  <a:lnTo>
                    <a:pt x="14" y="168"/>
                  </a:lnTo>
                  <a:lnTo>
                    <a:pt x="2" y="168"/>
                  </a:lnTo>
                  <a:lnTo>
                    <a:pt x="0" y="168"/>
                  </a:lnTo>
                  <a:lnTo>
                    <a:pt x="2" y="165"/>
                  </a:lnTo>
                  <a:lnTo>
                    <a:pt x="5" y="163"/>
                  </a:lnTo>
                  <a:lnTo>
                    <a:pt x="10" y="163"/>
                  </a:lnTo>
                  <a:lnTo>
                    <a:pt x="14" y="163"/>
                  </a:lnTo>
                  <a:lnTo>
                    <a:pt x="24" y="158"/>
                  </a:lnTo>
                  <a:lnTo>
                    <a:pt x="28" y="156"/>
                  </a:lnTo>
                  <a:lnTo>
                    <a:pt x="31" y="151"/>
                  </a:lnTo>
                  <a:lnTo>
                    <a:pt x="33" y="151"/>
                  </a:lnTo>
                  <a:lnTo>
                    <a:pt x="36" y="149"/>
                  </a:lnTo>
                  <a:lnTo>
                    <a:pt x="43" y="147"/>
                  </a:lnTo>
                  <a:lnTo>
                    <a:pt x="45" y="142"/>
                  </a:lnTo>
                  <a:lnTo>
                    <a:pt x="47" y="142"/>
                  </a:lnTo>
                  <a:lnTo>
                    <a:pt x="47" y="139"/>
                  </a:lnTo>
                  <a:lnTo>
                    <a:pt x="50" y="139"/>
                  </a:lnTo>
                  <a:lnTo>
                    <a:pt x="52" y="132"/>
                  </a:lnTo>
                  <a:lnTo>
                    <a:pt x="59" y="123"/>
                  </a:lnTo>
                  <a:lnTo>
                    <a:pt x="59" y="121"/>
                  </a:lnTo>
                  <a:lnTo>
                    <a:pt x="59" y="116"/>
                  </a:lnTo>
                  <a:lnTo>
                    <a:pt x="54" y="111"/>
                  </a:lnTo>
                  <a:lnTo>
                    <a:pt x="57" y="106"/>
                  </a:lnTo>
                  <a:lnTo>
                    <a:pt x="57" y="97"/>
                  </a:lnTo>
                  <a:lnTo>
                    <a:pt x="57" y="95"/>
                  </a:lnTo>
                  <a:lnTo>
                    <a:pt x="62" y="85"/>
                  </a:lnTo>
                  <a:lnTo>
                    <a:pt x="62" y="85"/>
                  </a:lnTo>
                  <a:lnTo>
                    <a:pt x="66" y="83"/>
                  </a:lnTo>
                  <a:lnTo>
                    <a:pt x="66" y="83"/>
                  </a:lnTo>
                  <a:lnTo>
                    <a:pt x="69" y="76"/>
                  </a:lnTo>
                  <a:lnTo>
                    <a:pt x="69" y="71"/>
                  </a:lnTo>
                  <a:lnTo>
                    <a:pt x="76" y="64"/>
                  </a:lnTo>
                  <a:lnTo>
                    <a:pt x="78" y="59"/>
                  </a:lnTo>
                  <a:lnTo>
                    <a:pt x="80" y="57"/>
                  </a:lnTo>
                  <a:lnTo>
                    <a:pt x="85" y="54"/>
                  </a:lnTo>
                  <a:lnTo>
                    <a:pt x="95" y="50"/>
                  </a:lnTo>
                  <a:lnTo>
                    <a:pt x="99" y="47"/>
                  </a:lnTo>
                  <a:lnTo>
                    <a:pt x="106" y="43"/>
                  </a:lnTo>
                  <a:lnTo>
                    <a:pt x="111" y="38"/>
                  </a:lnTo>
                  <a:lnTo>
                    <a:pt x="114" y="33"/>
                  </a:lnTo>
                  <a:lnTo>
                    <a:pt x="116" y="28"/>
                  </a:lnTo>
                  <a:lnTo>
                    <a:pt x="121" y="19"/>
                  </a:lnTo>
                  <a:lnTo>
                    <a:pt x="125" y="5"/>
                  </a:lnTo>
                  <a:lnTo>
                    <a:pt x="128" y="2"/>
                  </a:lnTo>
                  <a:lnTo>
                    <a:pt x="135" y="0"/>
                  </a:lnTo>
                  <a:lnTo>
                    <a:pt x="137" y="7"/>
                  </a:lnTo>
                  <a:lnTo>
                    <a:pt x="142" y="12"/>
                  </a:lnTo>
                  <a:lnTo>
                    <a:pt x="149" y="17"/>
                  </a:lnTo>
                  <a:lnTo>
                    <a:pt x="151" y="17"/>
                  </a:lnTo>
                  <a:lnTo>
                    <a:pt x="158" y="14"/>
                  </a:lnTo>
                  <a:lnTo>
                    <a:pt x="161" y="14"/>
                  </a:lnTo>
                  <a:lnTo>
                    <a:pt x="168" y="14"/>
                  </a:lnTo>
                  <a:lnTo>
                    <a:pt x="173" y="14"/>
                  </a:lnTo>
                  <a:lnTo>
                    <a:pt x="175" y="14"/>
                  </a:lnTo>
                  <a:lnTo>
                    <a:pt x="177" y="14"/>
                  </a:lnTo>
                  <a:lnTo>
                    <a:pt x="180" y="17"/>
                  </a:lnTo>
                  <a:lnTo>
                    <a:pt x="182" y="19"/>
                  </a:lnTo>
                  <a:lnTo>
                    <a:pt x="184" y="19"/>
                  </a:lnTo>
                  <a:lnTo>
                    <a:pt x="187" y="17"/>
                  </a:lnTo>
                  <a:lnTo>
                    <a:pt x="191" y="19"/>
                  </a:lnTo>
                  <a:lnTo>
                    <a:pt x="191" y="19"/>
                  </a:lnTo>
                  <a:lnTo>
                    <a:pt x="191" y="21"/>
                  </a:lnTo>
                  <a:lnTo>
                    <a:pt x="194" y="21"/>
                  </a:lnTo>
                  <a:lnTo>
                    <a:pt x="194" y="24"/>
                  </a:lnTo>
                  <a:lnTo>
                    <a:pt x="196" y="24"/>
                  </a:lnTo>
                  <a:lnTo>
                    <a:pt x="196" y="26"/>
                  </a:lnTo>
                  <a:lnTo>
                    <a:pt x="199" y="26"/>
                  </a:lnTo>
                  <a:lnTo>
                    <a:pt x="199" y="26"/>
                  </a:lnTo>
                  <a:lnTo>
                    <a:pt x="199" y="28"/>
                  </a:lnTo>
                  <a:lnTo>
                    <a:pt x="199" y="28"/>
                  </a:lnTo>
                  <a:lnTo>
                    <a:pt x="199" y="28"/>
                  </a:lnTo>
                  <a:lnTo>
                    <a:pt x="199" y="31"/>
                  </a:lnTo>
                  <a:lnTo>
                    <a:pt x="199" y="33"/>
                  </a:lnTo>
                  <a:lnTo>
                    <a:pt x="199" y="36"/>
                  </a:lnTo>
                  <a:lnTo>
                    <a:pt x="199" y="40"/>
                  </a:lnTo>
                  <a:lnTo>
                    <a:pt x="199" y="43"/>
                  </a:lnTo>
                  <a:lnTo>
                    <a:pt x="199" y="45"/>
                  </a:lnTo>
                  <a:lnTo>
                    <a:pt x="199" y="47"/>
                  </a:lnTo>
                  <a:lnTo>
                    <a:pt x="201" y="50"/>
                  </a:lnTo>
                  <a:lnTo>
                    <a:pt x="201" y="50"/>
                  </a:lnTo>
                  <a:lnTo>
                    <a:pt x="201" y="52"/>
                  </a:lnTo>
                  <a:lnTo>
                    <a:pt x="201" y="54"/>
                  </a:lnTo>
                  <a:lnTo>
                    <a:pt x="201" y="54"/>
                  </a:lnTo>
                  <a:lnTo>
                    <a:pt x="201" y="57"/>
                  </a:lnTo>
                  <a:lnTo>
                    <a:pt x="201" y="59"/>
                  </a:lnTo>
                  <a:lnTo>
                    <a:pt x="201" y="61"/>
                  </a:lnTo>
                  <a:lnTo>
                    <a:pt x="203" y="66"/>
                  </a:lnTo>
                  <a:lnTo>
                    <a:pt x="206" y="69"/>
                  </a:lnTo>
                  <a:lnTo>
                    <a:pt x="208" y="71"/>
                  </a:lnTo>
                  <a:lnTo>
                    <a:pt x="208" y="71"/>
                  </a:lnTo>
                  <a:lnTo>
                    <a:pt x="208" y="71"/>
                  </a:lnTo>
                  <a:lnTo>
                    <a:pt x="206" y="73"/>
                  </a:lnTo>
                  <a:lnTo>
                    <a:pt x="206" y="76"/>
                  </a:lnTo>
                  <a:lnTo>
                    <a:pt x="206" y="78"/>
                  </a:lnTo>
                  <a:lnTo>
                    <a:pt x="206" y="78"/>
                  </a:lnTo>
                  <a:lnTo>
                    <a:pt x="206" y="78"/>
                  </a:lnTo>
                  <a:lnTo>
                    <a:pt x="203" y="78"/>
                  </a:lnTo>
                  <a:lnTo>
                    <a:pt x="199" y="78"/>
                  </a:lnTo>
                  <a:lnTo>
                    <a:pt x="196" y="78"/>
                  </a:lnTo>
                  <a:lnTo>
                    <a:pt x="194" y="78"/>
                  </a:lnTo>
                  <a:lnTo>
                    <a:pt x="184" y="78"/>
                  </a:lnTo>
                  <a:lnTo>
                    <a:pt x="182" y="78"/>
                  </a:lnTo>
                  <a:lnTo>
                    <a:pt x="180" y="80"/>
                  </a:lnTo>
                  <a:lnTo>
                    <a:pt x="180" y="80"/>
                  </a:lnTo>
                  <a:lnTo>
                    <a:pt x="177" y="80"/>
                  </a:lnTo>
                  <a:lnTo>
                    <a:pt x="177" y="80"/>
                  </a:lnTo>
                  <a:lnTo>
                    <a:pt x="175" y="80"/>
                  </a:lnTo>
                  <a:lnTo>
                    <a:pt x="175" y="83"/>
                  </a:lnTo>
                  <a:lnTo>
                    <a:pt x="175" y="85"/>
                  </a:lnTo>
                  <a:lnTo>
                    <a:pt x="175" y="85"/>
                  </a:lnTo>
                  <a:lnTo>
                    <a:pt x="170" y="87"/>
                  </a:lnTo>
                  <a:lnTo>
                    <a:pt x="168" y="87"/>
                  </a:lnTo>
                  <a:lnTo>
                    <a:pt x="165" y="87"/>
                  </a:lnTo>
                  <a:lnTo>
                    <a:pt x="163" y="87"/>
                  </a:lnTo>
                  <a:lnTo>
                    <a:pt x="161" y="87"/>
                  </a:lnTo>
                  <a:lnTo>
                    <a:pt x="161" y="90"/>
                  </a:lnTo>
                  <a:lnTo>
                    <a:pt x="161" y="90"/>
                  </a:lnTo>
                  <a:lnTo>
                    <a:pt x="161" y="92"/>
                  </a:lnTo>
                  <a:lnTo>
                    <a:pt x="161" y="92"/>
                  </a:lnTo>
                  <a:lnTo>
                    <a:pt x="161" y="95"/>
                  </a:lnTo>
                  <a:lnTo>
                    <a:pt x="163" y="95"/>
                  </a:lnTo>
                  <a:lnTo>
                    <a:pt x="161" y="95"/>
                  </a:lnTo>
                  <a:lnTo>
                    <a:pt x="161" y="99"/>
                  </a:lnTo>
                  <a:lnTo>
                    <a:pt x="161" y="99"/>
                  </a:lnTo>
                  <a:lnTo>
                    <a:pt x="161" y="99"/>
                  </a:lnTo>
                  <a:lnTo>
                    <a:pt x="163" y="99"/>
                  </a:lnTo>
                  <a:lnTo>
                    <a:pt x="163" y="99"/>
                  </a:lnTo>
                  <a:lnTo>
                    <a:pt x="163" y="102"/>
                  </a:lnTo>
                  <a:lnTo>
                    <a:pt x="165" y="102"/>
                  </a:lnTo>
                  <a:lnTo>
                    <a:pt x="163" y="104"/>
                  </a:lnTo>
                  <a:lnTo>
                    <a:pt x="156" y="104"/>
                  </a:lnTo>
                  <a:lnTo>
                    <a:pt x="149" y="109"/>
                  </a:lnTo>
                  <a:lnTo>
                    <a:pt x="147" y="109"/>
                  </a:lnTo>
                  <a:lnTo>
                    <a:pt x="142" y="111"/>
                  </a:lnTo>
                  <a:lnTo>
                    <a:pt x="140" y="113"/>
                  </a:lnTo>
                  <a:lnTo>
                    <a:pt x="137" y="116"/>
                  </a:lnTo>
                  <a:lnTo>
                    <a:pt x="137" y="118"/>
                  </a:lnTo>
                  <a:lnTo>
                    <a:pt x="137" y="118"/>
                  </a:lnTo>
                  <a:lnTo>
                    <a:pt x="135" y="121"/>
                  </a:lnTo>
                  <a:lnTo>
                    <a:pt x="132" y="123"/>
                  </a:lnTo>
                  <a:lnTo>
                    <a:pt x="128" y="125"/>
                  </a:lnTo>
                  <a:lnTo>
                    <a:pt x="123" y="125"/>
                  </a:lnTo>
                  <a:lnTo>
                    <a:pt x="121" y="125"/>
                  </a:lnTo>
                  <a:lnTo>
                    <a:pt x="118" y="125"/>
                  </a:lnTo>
                  <a:lnTo>
                    <a:pt x="114" y="125"/>
                  </a:lnTo>
                  <a:lnTo>
                    <a:pt x="114" y="128"/>
                  </a:lnTo>
                  <a:lnTo>
                    <a:pt x="114" y="130"/>
                  </a:lnTo>
                  <a:lnTo>
                    <a:pt x="111" y="130"/>
                  </a:lnTo>
                  <a:lnTo>
                    <a:pt x="109" y="130"/>
                  </a:lnTo>
                  <a:lnTo>
                    <a:pt x="106" y="130"/>
                  </a:lnTo>
                  <a:lnTo>
                    <a:pt x="106" y="130"/>
                  </a:lnTo>
                  <a:lnTo>
                    <a:pt x="104" y="130"/>
                  </a:lnTo>
                  <a:lnTo>
                    <a:pt x="102" y="130"/>
                  </a:lnTo>
                  <a:lnTo>
                    <a:pt x="99" y="132"/>
                  </a:lnTo>
                  <a:lnTo>
                    <a:pt x="97" y="132"/>
                  </a:lnTo>
                  <a:lnTo>
                    <a:pt x="95" y="135"/>
                  </a:lnTo>
                  <a:lnTo>
                    <a:pt x="92" y="135"/>
                  </a:lnTo>
                  <a:lnTo>
                    <a:pt x="85" y="139"/>
                  </a:lnTo>
                  <a:lnTo>
                    <a:pt x="76" y="14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1" name="Freeform 642">
              <a:extLst>
                <a:ext uri="{FF2B5EF4-FFF2-40B4-BE49-F238E27FC236}">
                  <a16:creationId xmlns:a16="http://schemas.microsoft.com/office/drawing/2014/main" id="{522D557B-FC39-4BD0-8A1E-A31363B1C9F6}"/>
                </a:ext>
              </a:extLst>
            </p:cNvPr>
            <p:cNvSpPr>
              <a:spLocks/>
            </p:cNvSpPr>
            <p:nvPr/>
          </p:nvSpPr>
          <p:spPr bwMode="auto">
            <a:xfrm>
              <a:off x="910480" y="4252879"/>
              <a:ext cx="82550" cy="85725"/>
            </a:xfrm>
            <a:custGeom>
              <a:avLst/>
              <a:gdLst>
                <a:gd name="T0" fmla="*/ 3 w 52"/>
                <a:gd name="T1" fmla="*/ 16 h 54"/>
                <a:gd name="T2" fmla="*/ 5 w 52"/>
                <a:gd name="T3" fmla="*/ 16 h 54"/>
                <a:gd name="T4" fmla="*/ 7 w 52"/>
                <a:gd name="T5" fmla="*/ 14 h 54"/>
                <a:gd name="T6" fmla="*/ 10 w 52"/>
                <a:gd name="T7" fmla="*/ 12 h 54"/>
                <a:gd name="T8" fmla="*/ 10 w 52"/>
                <a:gd name="T9" fmla="*/ 9 h 54"/>
                <a:gd name="T10" fmla="*/ 15 w 52"/>
                <a:gd name="T11" fmla="*/ 4 h 54"/>
                <a:gd name="T12" fmla="*/ 15 w 52"/>
                <a:gd name="T13" fmla="*/ 2 h 54"/>
                <a:gd name="T14" fmla="*/ 19 w 52"/>
                <a:gd name="T15" fmla="*/ 2 h 54"/>
                <a:gd name="T16" fmla="*/ 22 w 52"/>
                <a:gd name="T17" fmla="*/ 2 h 54"/>
                <a:gd name="T18" fmla="*/ 24 w 52"/>
                <a:gd name="T19" fmla="*/ 0 h 54"/>
                <a:gd name="T20" fmla="*/ 36 w 52"/>
                <a:gd name="T21" fmla="*/ 0 h 54"/>
                <a:gd name="T22" fmla="*/ 38 w 52"/>
                <a:gd name="T23" fmla="*/ 4 h 54"/>
                <a:gd name="T24" fmla="*/ 41 w 52"/>
                <a:gd name="T25" fmla="*/ 7 h 54"/>
                <a:gd name="T26" fmla="*/ 43 w 52"/>
                <a:gd name="T27" fmla="*/ 9 h 54"/>
                <a:gd name="T28" fmla="*/ 43 w 52"/>
                <a:gd name="T29" fmla="*/ 12 h 54"/>
                <a:gd name="T30" fmla="*/ 45 w 52"/>
                <a:gd name="T31" fmla="*/ 12 h 54"/>
                <a:gd name="T32" fmla="*/ 45 w 52"/>
                <a:gd name="T33" fmla="*/ 14 h 54"/>
                <a:gd name="T34" fmla="*/ 45 w 52"/>
                <a:gd name="T35" fmla="*/ 14 h 54"/>
                <a:gd name="T36" fmla="*/ 45 w 52"/>
                <a:gd name="T37" fmla="*/ 16 h 54"/>
                <a:gd name="T38" fmla="*/ 48 w 52"/>
                <a:gd name="T39" fmla="*/ 19 h 54"/>
                <a:gd name="T40" fmla="*/ 48 w 52"/>
                <a:gd name="T41" fmla="*/ 23 h 54"/>
                <a:gd name="T42" fmla="*/ 45 w 52"/>
                <a:gd name="T43" fmla="*/ 28 h 54"/>
                <a:gd name="T44" fmla="*/ 45 w 52"/>
                <a:gd name="T45" fmla="*/ 30 h 54"/>
                <a:gd name="T46" fmla="*/ 50 w 52"/>
                <a:gd name="T47" fmla="*/ 26 h 54"/>
                <a:gd name="T48" fmla="*/ 52 w 52"/>
                <a:gd name="T49" fmla="*/ 28 h 54"/>
                <a:gd name="T50" fmla="*/ 52 w 52"/>
                <a:gd name="T51" fmla="*/ 30 h 54"/>
                <a:gd name="T52" fmla="*/ 52 w 52"/>
                <a:gd name="T53" fmla="*/ 33 h 54"/>
                <a:gd name="T54" fmla="*/ 48 w 52"/>
                <a:gd name="T55" fmla="*/ 33 h 54"/>
                <a:gd name="T56" fmla="*/ 48 w 52"/>
                <a:gd name="T57" fmla="*/ 40 h 54"/>
                <a:gd name="T58" fmla="*/ 45 w 52"/>
                <a:gd name="T59" fmla="*/ 42 h 54"/>
                <a:gd name="T60" fmla="*/ 43 w 52"/>
                <a:gd name="T61" fmla="*/ 45 h 54"/>
                <a:gd name="T62" fmla="*/ 38 w 52"/>
                <a:gd name="T63" fmla="*/ 47 h 54"/>
                <a:gd name="T64" fmla="*/ 36 w 52"/>
                <a:gd name="T65" fmla="*/ 47 h 54"/>
                <a:gd name="T66" fmla="*/ 36 w 52"/>
                <a:gd name="T67" fmla="*/ 49 h 54"/>
                <a:gd name="T68" fmla="*/ 33 w 52"/>
                <a:gd name="T69" fmla="*/ 52 h 54"/>
                <a:gd name="T70" fmla="*/ 31 w 52"/>
                <a:gd name="T71" fmla="*/ 54 h 54"/>
                <a:gd name="T72" fmla="*/ 19 w 52"/>
                <a:gd name="T73" fmla="*/ 47 h 54"/>
                <a:gd name="T74" fmla="*/ 15 w 52"/>
                <a:gd name="T75" fmla="*/ 45 h 54"/>
                <a:gd name="T76" fmla="*/ 10 w 52"/>
                <a:gd name="T77" fmla="*/ 40 h 54"/>
                <a:gd name="T78" fmla="*/ 7 w 52"/>
                <a:gd name="T79" fmla="*/ 38 h 54"/>
                <a:gd name="T80" fmla="*/ 5 w 52"/>
                <a:gd name="T81" fmla="*/ 35 h 54"/>
                <a:gd name="T82" fmla="*/ 5 w 52"/>
                <a:gd name="T83" fmla="*/ 33 h 54"/>
                <a:gd name="T84" fmla="*/ 0 w 52"/>
                <a:gd name="T85" fmla="*/ 30 h 54"/>
                <a:gd name="T86" fmla="*/ 3 w 52"/>
                <a:gd name="T87" fmla="*/ 28 h 54"/>
                <a:gd name="T88" fmla="*/ 3 w 52"/>
                <a:gd name="T89" fmla="*/ 28 h 54"/>
                <a:gd name="T90" fmla="*/ 3 w 52"/>
                <a:gd name="T91" fmla="*/ 26 h 54"/>
                <a:gd name="T92" fmla="*/ 0 w 52"/>
                <a:gd name="T93" fmla="*/ 26 h 54"/>
                <a:gd name="T94" fmla="*/ 0 w 52"/>
                <a:gd name="T95" fmla="*/ 21 h 54"/>
                <a:gd name="T96" fmla="*/ 0 w 52"/>
                <a:gd name="T97" fmla="*/ 19 h 54"/>
                <a:gd name="T98" fmla="*/ 0 w 52"/>
                <a:gd name="T99"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4">
                  <a:moveTo>
                    <a:pt x="0" y="16"/>
                  </a:moveTo>
                  <a:lnTo>
                    <a:pt x="3" y="16"/>
                  </a:lnTo>
                  <a:lnTo>
                    <a:pt x="3" y="16"/>
                  </a:lnTo>
                  <a:lnTo>
                    <a:pt x="5" y="16"/>
                  </a:lnTo>
                  <a:lnTo>
                    <a:pt x="5" y="16"/>
                  </a:lnTo>
                  <a:lnTo>
                    <a:pt x="7" y="14"/>
                  </a:lnTo>
                  <a:lnTo>
                    <a:pt x="7" y="12"/>
                  </a:lnTo>
                  <a:lnTo>
                    <a:pt x="10" y="12"/>
                  </a:lnTo>
                  <a:lnTo>
                    <a:pt x="10" y="12"/>
                  </a:lnTo>
                  <a:lnTo>
                    <a:pt x="10" y="9"/>
                  </a:lnTo>
                  <a:lnTo>
                    <a:pt x="12" y="7"/>
                  </a:lnTo>
                  <a:lnTo>
                    <a:pt x="15" y="4"/>
                  </a:lnTo>
                  <a:lnTo>
                    <a:pt x="15" y="2"/>
                  </a:lnTo>
                  <a:lnTo>
                    <a:pt x="15" y="2"/>
                  </a:lnTo>
                  <a:lnTo>
                    <a:pt x="17" y="2"/>
                  </a:lnTo>
                  <a:lnTo>
                    <a:pt x="19" y="2"/>
                  </a:lnTo>
                  <a:lnTo>
                    <a:pt x="19" y="2"/>
                  </a:lnTo>
                  <a:lnTo>
                    <a:pt x="22" y="2"/>
                  </a:lnTo>
                  <a:lnTo>
                    <a:pt x="24" y="2"/>
                  </a:lnTo>
                  <a:lnTo>
                    <a:pt x="24" y="0"/>
                  </a:lnTo>
                  <a:lnTo>
                    <a:pt x="31" y="0"/>
                  </a:lnTo>
                  <a:lnTo>
                    <a:pt x="36" y="0"/>
                  </a:lnTo>
                  <a:lnTo>
                    <a:pt x="38" y="2"/>
                  </a:lnTo>
                  <a:lnTo>
                    <a:pt x="38" y="4"/>
                  </a:lnTo>
                  <a:lnTo>
                    <a:pt x="41" y="7"/>
                  </a:lnTo>
                  <a:lnTo>
                    <a:pt x="41" y="7"/>
                  </a:lnTo>
                  <a:lnTo>
                    <a:pt x="41" y="7"/>
                  </a:lnTo>
                  <a:lnTo>
                    <a:pt x="43" y="9"/>
                  </a:lnTo>
                  <a:lnTo>
                    <a:pt x="43" y="9"/>
                  </a:lnTo>
                  <a:lnTo>
                    <a:pt x="43" y="12"/>
                  </a:lnTo>
                  <a:lnTo>
                    <a:pt x="45" y="12"/>
                  </a:lnTo>
                  <a:lnTo>
                    <a:pt x="45" y="12"/>
                  </a:lnTo>
                  <a:lnTo>
                    <a:pt x="45" y="12"/>
                  </a:lnTo>
                  <a:lnTo>
                    <a:pt x="45" y="14"/>
                  </a:lnTo>
                  <a:lnTo>
                    <a:pt x="45" y="14"/>
                  </a:lnTo>
                  <a:lnTo>
                    <a:pt x="45" y="14"/>
                  </a:lnTo>
                  <a:lnTo>
                    <a:pt x="45" y="16"/>
                  </a:lnTo>
                  <a:lnTo>
                    <a:pt x="45" y="16"/>
                  </a:lnTo>
                  <a:lnTo>
                    <a:pt x="48" y="19"/>
                  </a:lnTo>
                  <a:lnTo>
                    <a:pt x="48" y="19"/>
                  </a:lnTo>
                  <a:lnTo>
                    <a:pt x="48" y="23"/>
                  </a:lnTo>
                  <a:lnTo>
                    <a:pt x="48" y="23"/>
                  </a:lnTo>
                  <a:lnTo>
                    <a:pt x="48" y="23"/>
                  </a:lnTo>
                  <a:lnTo>
                    <a:pt x="45" y="28"/>
                  </a:lnTo>
                  <a:lnTo>
                    <a:pt x="45" y="28"/>
                  </a:lnTo>
                  <a:lnTo>
                    <a:pt x="45" y="30"/>
                  </a:lnTo>
                  <a:lnTo>
                    <a:pt x="50" y="28"/>
                  </a:lnTo>
                  <a:lnTo>
                    <a:pt x="50" y="26"/>
                  </a:lnTo>
                  <a:lnTo>
                    <a:pt x="52" y="26"/>
                  </a:lnTo>
                  <a:lnTo>
                    <a:pt x="52" y="28"/>
                  </a:lnTo>
                  <a:lnTo>
                    <a:pt x="52" y="28"/>
                  </a:lnTo>
                  <a:lnTo>
                    <a:pt x="52" y="30"/>
                  </a:lnTo>
                  <a:lnTo>
                    <a:pt x="52" y="30"/>
                  </a:lnTo>
                  <a:lnTo>
                    <a:pt x="52" y="33"/>
                  </a:lnTo>
                  <a:lnTo>
                    <a:pt x="50" y="33"/>
                  </a:lnTo>
                  <a:lnTo>
                    <a:pt x="48" y="33"/>
                  </a:lnTo>
                  <a:lnTo>
                    <a:pt x="48" y="35"/>
                  </a:lnTo>
                  <a:lnTo>
                    <a:pt x="48" y="40"/>
                  </a:lnTo>
                  <a:lnTo>
                    <a:pt x="45" y="40"/>
                  </a:lnTo>
                  <a:lnTo>
                    <a:pt x="45" y="42"/>
                  </a:lnTo>
                  <a:lnTo>
                    <a:pt x="43" y="42"/>
                  </a:lnTo>
                  <a:lnTo>
                    <a:pt x="43" y="45"/>
                  </a:lnTo>
                  <a:lnTo>
                    <a:pt x="41" y="45"/>
                  </a:lnTo>
                  <a:lnTo>
                    <a:pt x="38" y="47"/>
                  </a:lnTo>
                  <a:lnTo>
                    <a:pt x="36" y="47"/>
                  </a:lnTo>
                  <a:lnTo>
                    <a:pt x="36" y="47"/>
                  </a:lnTo>
                  <a:lnTo>
                    <a:pt x="36" y="49"/>
                  </a:lnTo>
                  <a:lnTo>
                    <a:pt x="36" y="49"/>
                  </a:lnTo>
                  <a:lnTo>
                    <a:pt x="33" y="49"/>
                  </a:lnTo>
                  <a:lnTo>
                    <a:pt x="33" y="52"/>
                  </a:lnTo>
                  <a:lnTo>
                    <a:pt x="31" y="54"/>
                  </a:lnTo>
                  <a:lnTo>
                    <a:pt x="31" y="54"/>
                  </a:lnTo>
                  <a:lnTo>
                    <a:pt x="29" y="52"/>
                  </a:lnTo>
                  <a:lnTo>
                    <a:pt x="19" y="47"/>
                  </a:lnTo>
                  <a:lnTo>
                    <a:pt x="17" y="47"/>
                  </a:lnTo>
                  <a:lnTo>
                    <a:pt x="15" y="45"/>
                  </a:lnTo>
                  <a:lnTo>
                    <a:pt x="15" y="42"/>
                  </a:lnTo>
                  <a:lnTo>
                    <a:pt x="10" y="40"/>
                  </a:lnTo>
                  <a:lnTo>
                    <a:pt x="7" y="38"/>
                  </a:lnTo>
                  <a:lnTo>
                    <a:pt x="7" y="38"/>
                  </a:lnTo>
                  <a:lnTo>
                    <a:pt x="7" y="35"/>
                  </a:lnTo>
                  <a:lnTo>
                    <a:pt x="5" y="35"/>
                  </a:lnTo>
                  <a:lnTo>
                    <a:pt x="5" y="35"/>
                  </a:lnTo>
                  <a:lnTo>
                    <a:pt x="5" y="33"/>
                  </a:lnTo>
                  <a:lnTo>
                    <a:pt x="3" y="33"/>
                  </a:lnTo>
                  <a:lnTo>
                    <a:pt x="0" y="30"/>
                  </a:lnTo>
                  <a:lnTo>
                    <a:pt x="0" y="28"/>
                  </a:lnTo>
                  <a:lnTo>
                    <a:pt x="3" y="28"/>
                  </a:lnTo>
                  <a:lnTo>
                    <a:pt x="3" y="28"/>
                  </a:lnTo>
                  <a:lnTo>
                    <a:pt x="3" y="28"/>
                  </a:lnTo>
                  <a:lnTo>
                    <a:pt x="3" y="28"/>
                  </a:lnTo>
                  <a:lnTo>
                    <a:pt x="3" y="26"/>
                  </a:lnTo>
                  <a:lnTo>
                    <a:pt x="3" y="26"/>
                  </a:lnTo>
                  <a:lnTo>
                    <a:pt x="0" y="26"/>
                  </a:lnTo>
                  <a:lnTo>
                    <a:pt x="0" y="23"/>
                  </a:lnTo>
                  <a:lnTo>
                    <a:pt x="0" y="21"/>
                  </a:lnTo>
                  <a:lnTo>
                    <a:pt x="0" y="21"/>
                  </a:lnTo>
                  <a:lnTo>
                    <a:pt x="0" y="19"/>
                  </a:lnTo>
                  <a:lnTo>
                    <a:pt x="0" y="19"/>
                  </a:lnTo>
                  <a:lnTo>
                    <a:pt x="0" y="1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2" name="Freeform 643">
              <a:extLst>
                <a:ext uri="{FF2B5EF4-FFF2-40B4-BE49-F238E27FC236}">
                  <a16:creationId xmlns:a16="http://schemas.microsoft.com/office/drawing/2014/main" id="{8A78D09E-F5A4-4BEA-BEFC-F0D216688BAC}"/>
                </a:ext>
              </a:extLst>
            </p:cNvPr>
            <p:cNvSpPr>
              <a:spLocks/>
            </p:cNvSpPr>
            <p:nvPr/>
          </p:nvSpPr>
          <p:spPr bwMode="auto">
            <a:xfrm>
              <a:off x="910480" y="4252879"/>
              <a:ext cx="82550" cy="85725"/>
            </a:xfrm>
            <a:custGeom>
              <a:avLst/>
              <a:gdLst>
                <a:gd name="T0" fmla="*/ 3 w 52"/>
                <a:gd name="T1" fmla="*/ 16 h 54"/>
                <a:gd name="T2" fmla="*/ 5 w 52"/>
                <a:gd name="T3" fmla="*/ 16 h 54"/>
                <a:gd name="T4" fmla="*/ 7 w 52"/>
                <a:gd name="T5" fmla="*/ 14 h 54"/>
                <a:gd name="T6" fmla="*/ 10 w 52"/>
                <a:gd name="T7" fmla="*/ 12 h 54"/>
                <a:gd name="T8" fmla="*/ 10 w 52"/>
                <a:gd name="T9" fmla="*/ 9 h 54"/>
                <a:gd name="T10" fmla="*/ 15 w 52"/>
                <a:gd name="T11" fmla="*/ 4 h 54"/>
                <a:gd name="T12" fmla="*/ 15 w 52"/>
                <a:gd name="T13" fmla="*/ 2 h 54"/>
                <a:gd name="T14" fmla="*/ 19 w 52"/>
                <a:gd name="T15" fmla="*/ 2 h 54"/>
                <a:gd name="T16" fmla="*/ 22 w 52"/>
                <a:gd name="T17" fmla="*/ 2 h 54"/>
                <a:gd name="T18" fmla="*/ 24 w 52"/>
                <a:gd name="T19" fmla="*/ 0 h 54"/>
                <a:gd name="T20" fmla="*/ 36 w 52"/>
                <a:gd name="T21" fmla="*/ 0 h 54"/>
                <a:gd name="T22" fmla="*/ 38 w 52"/>
                <a:gd name="T23" fmla="*/ 4 h 54"/>
                <a:gd name="T24" fmla="*/ 41 w 52"/>
                <a:gd name="T25" fmla="*/ 7 h 54"/>
                <a:gd name="T26" fmla="*/ 43 w 52"/>
                <a:gd name="T27" fmla="*/ 9 h 54"/>
                <a:gd name="T28" fmla="*/ 43 w 52"/>
                <a:gd name="T29" fmla="*/ 12 h 54"/>
                <a:gd name="T30" fmla="*/ 45 w 52"/>
                <a:gd name="T31" fmla="*/ 12 h 54"/>
                <a:gd name="T32" fmla="*/ 45 w 52"/>
                <a:gd name="T33" fmla="*/ 14 h 54"/>
                <a:gd name="T34" fmla="*/ 45 w 52"/>
                <a:gd name="T35" fmla="*/ 14 h 54"/>
                <a:gd name="T36" fmla="*/ 45 w 52"/>
                <a:gd name="T37" fmla="*/ 16 h 54"/>
                <a:gd name="T38" fmla="*/ 48 w 52"/>
                <a:gd name="T39" fmla="*/ 19 h 54"/>
                <a:gd name="T40" fmla="*/ 48 w 52"/>
                <a:gd name="T41" fmla="*/ 23 h 54"/>
                <a:gd name="T42" fmla="*/ 45 w 52"/>
                <a:gd name="T43" fmla="*/ 28 h 54"/>
                <a:gd name="T44" fmla="*/ 45 w 52"/>
                <a:gd name="T45" fmla="*/ 30 h 54"/>
                <a:gd name="T46" fmla="*/ 50 w 52"/>
                <a:gd name="T47" fmla="*/ 26 h 54"/>
                <a:gd name="T48" fmla="*/ 52 w 52"/>
                <a:gd name="T49" fmla="*/ 28 h 54"/>
                <a:gd name="T50" fmla="*/ 52 w 52"/>
                <a:gd name="T51" fmla="*/ 30 h 54"/>
                <a:gd name="T52" fmla="*/ 52 w 52"/>
                <a:gd name="T53" fmla="*/ 33 h 54"/>
                <a:gd name="T54" fmla="*/ 48 w 52"/>
                <a:gd name="T55" fmla="*/ 33 h 54"/>
                <a:gd name="T56" fmla="*/ 48 w 52"/>
                <a:gd name="T57" fmla="*/ 40 h 54"/>
                <a:gd name="T58" fmla="*/ 45 w 52"/>
                <a:gd name="T59" fmla="*/ 42 h 54"/>
                <a:gd name="T60" fmla="*/ 43 w 52"/>
                <a:gd name="T61" fmla="*/ 45 h 54"/>
                <a:gd name="T62" fmla="*/ 38 w 52"/>
                <a:gd name="T63" fmla="*/ 47 h 54"/>
                <a:gd name="T64" fmla="*/ 36 w 52"/>
                <a:gd name="T65" fmla="*/ 47 h 54"/>
                <a:gd name="T66" fmla="*/ 36 w 52"/>
                <a:gd name="T67" fmla="*/ 49 h 54"/>
                <a:gd name="T68" fmla="*/ 33 w 52"/>
                <a:gd name="T69" fmla="*/ 52 h 54"/>
                <a:gd name="T70" fmla="*/ 31 w 52"/>
                <a:gd name="T71" fmla="*/ 54 h 54"/>
                <a:gd name="T72" fmla="*/ 19 w 52"/>
                <a:gd name="T73" fmla="*/ 47 h 54"/>
                <a:gd name="T74" fmla="*/ 15 w 52"/>
                <a:gd name="T75" fmla="*/ 45 h 54"/>
                <a:gd name="T76" fmla="*/ 10 w 52"/>
                <a:gd name="T77" fmla="*/ 40 h 54"/>
                <a:gd name="T78" fmla="*/ 7 w 52"/>
                <a:gd name="T79" fmla="*/ 38 h 54"/>
                <a:gd name="T80" fmla="*/ 5 w 52"/>
                <a:gd name="T81" fmla="*/ 35 h 54"/>
                <a:gd name="T82" fmla="*/ 5 w 52"/>
                <a:gd name="T83" fmla="*/ 33 h 54"/>
                <a:gd name="T84" fmla="*/ 0 w 52"/>
                <a:gd name="T85" fmla="*/ 30 h 54"/>
                <a:gd name="T86" fmla="*/ 3 w 52"/>
                <a:gd name="T87" fmla="*/ 28 h 54"/>
                <a:gd name="T88" fmla="*/ 3 w 52"/>
                <a:gd name="T89" fmla="*/ 28 h 54"/>
                <a:gd name="T90" fmla="*/ 3 w 52"/>
                <a:gd name="T91" fmla="*/ 26 h 54"/>
                <a:gd name="T92" fmla="*/ 0 w 52"/>
                <a:gd name="T93" fmla="*/ 26 h 54"/>
                <a:gd name="T94" fmla="*/ 0 w 52"/>
                <a:gd name="T95" fmla="*/ 21 h 54"/>
                <a:gd name="T96" fmla="*/ 0 w 52"/>
                <a:gd name="T97" fmla="*/ 19 h 54"/>
                <a:gd name="T98" fmla="*/ 0 w 52"/>
                <a:gd name="T99"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4">
                  <a:moveTo>
                    <a:pt x="0" y="16"/>
                  </a:moveTo>
                  <a:lnTo>
                    <a:pt x="3" y="16"/>
                  </a:lnTo>
                  <a:lnTo>
                    <a:pt x="3" y="16"/>
                  </a:lnTo>
                  <a:lnTo>
                    <a:pt x="5" y="16"/>
                  </a:lnTo>
                  <a:lnTo>
                    <a:pt x="5" y="16"/>
                  </a:lnTo>
                  <a:lnTo>
                    <a:pt x="7" y="14"/>
                  </a:lnTo>
                  <a:lnTo>
                    <a:pt x="7" y="12"/>
                  </a:lnTo>
                  <a:lnTo>
                    <a:pt x="10" y="12"/>
                  </a:lnTo>
                  <a:lnTo>
                    <a:pt x="10" y="12"/>
                  </a:lnTo>
                  <a:lnTo>
                    <a:pt x="10" y="9"/>
                  </a:lnTo>
                  <a:lnTo>
                    <a:pt x="12" y="7"/>
                  </a:lnTo>
                  <a:lnTo>
                    <a:pt x="15" y="4"/>
                  </a:lnTo>
                  <a:lnTo>
                    <a:pt x="15" y="2"/>
                  </a:lnTo>
                  <a:lnTo>
                    <a:pt x="15" y="2"/>
                  </a:lnTo>
                  <a:lnTo>
                    <a:pt x="17" y="2"/>
                  </a:lnTo>
                  <a:lnTo>
                    <a:pt x="19" y="2"/>
                  </a:lnTo>
                  <a:lnTo>
                    <a:pt x="19" y="2"/>
                  </a:lnTo>
                  <a:lnTo>
                    <a:pt x="22" y="2"/>
                  </a:lnTo>
                  <a:lnTo>
                    <a:pt x="24" y="2"/>
                  </a:lnTo>
                  <a:lnTo>
                    <a:pt x="24" y="0"/>
                  </a:lnTo>
                  <a:lnTo>
                    <a:pt x="31" y="0"/>
                  </a:lnTo>
                  <a:lnTo>
                    <a:pt x="36" y="0"/>
                  </a:lnTo>
                  <a:lnTo>
                    <a:pt x="38" y="2"/>
                  </a:lnTo>
                  <a:lnTo>
                    <a:pt x="38" y="4"/>
                  </a:lnTo>
                  <a:lnTo>
                    <a:pt x="41" y="7"/>
                  </a:lnTo>
                  <a:lnTo>
                    <a:pt x="41" y="7"/>
                  </a:lnTo>
                  <a:lnTo>
                    <a:pt x="41" y="7"/>
                  </a:lnTo>
                  <a:lnTo>
                    <a:pt x="43" y="9"/>
                  </a:lnTo>
                  <a:lnTo>
                    <a:pt x="43" y="9"/>
                  </a:lnTo>
                  <a:lnTo>
                    <a:pt x="43" y="12"/>
                  </a:lnTo>
                  <a:lnTo>
                    <a:pt x="45" y="12"/>
                  </a:lnTo>
                  <a:lnTo>
                    <a:pt x="45" y="12"/>
                  </a:lnTo>
                  <a:lnTo>
                    <a:pt x="45" y="12"/>
                  </a:lnTo>
                  <a:lnTo>
                    <a:pt x="45" y="14"/>
                  </a:lnTo>
                  <a:lnTo>
                    <a:pt x="45" y="14"/>
                  </a:lnTo>
                  <a:lnTo>
                    <a:pt x="45" y="14"/>
                  </a:lnTo>
                  <a:lnTo>
                    <a:pt x="45" y="16"/>
                  </a:lnTo>
                  <a:lnTo>
                    <a:pt x="45" y="16"/>
                  </a:lnTo>
                  <a:lnTo>
                    <a:pt x="48" y="19"/>
                  </a:lnTo>
                  <a:lnTo>
                    <a:pt x="48" y="19"/>
                  </a:lnTo>
                  <a:lnTo>
                    <a:pt x="48" y="23"/>
                  </a:lnTo>
                  <a:lnTo>
                    <a:pt x="48" y="23"/>
                  </a:lnTo>
                  <a:lnTo>
                    <a:pt x="48" y="23"/>
                  </a:lnTo>
                  <a:lnTo>
                    <a:pt x="45" y="28"/>
                  </a:lnTo>
                  <a:lnTo>
                    <a:pt x="45" y="28"/>
                  </a:lnTo>
                  <a:lnTo>
                    <a:pt x="45" y="30"/>
                  </a:lnTo>
                  <a:lnTo>
                    <a:pt x="50" y="28"/>
                  </a:lnTo>
                  <a:lnTo>
                    <a:pt x="50" y="26"/>
                  </a:lnTo>
                  <a:lnTo>
                    <a:pt x="52" y="26"/>
                  </a:lnTo>
                  <a:lnTo>
                    <a:pt x="52" y="28"/>
                  </a:lnTo>
                  <a:lnTo>
                    <a:pt x="52" y="28"/>
                  </a:lnTo>
                  <a:lnTo>
                    <a:pt x="52" y="30"/>
                  </a:lnTo>
                  <a:lnTo>
                    <a:pt x="52" y="30"/>
                  </a:lnTo>
                  <a:lnTo>
                    <a:pt x="52" y="33"/>
                  </a:lnTo>
                  <a:lnTo>
                    <a:pt x="50" y="33"/>
                  </a:lnTo>
                  <a:lnTo>
                    <a:pt x="48" y="33"/>
                  </a:lnTo>
                  <a:lnTo>
                    <a:pt x="48" y="35"/>
                  </a:lnTo>
                  <a:lnTo>
                    <a:pt x="48" y="40"/>
                  </a:lnTo>
                  <a:lnTo>
                    <a:pt x="45" y="40"/>
                  </a:lnTo>
                  <a:lnTo>
                    <a:pt x="45" y="42"/>
                  </a:lnTo>
                  <a:lnTo>
                    <a:pt x="43" y="42"/>
                  </a:lnTo>
                  <a:lnTo>
                    <a:pt x="43" y="45"/>
                  </a:lnTo>
                  <a:lnTo>
                    <a:pt x="41" y="45"/>
                  </a:lnTo>
                  <a:lnTo>
                    <a:pt x="38" y="47"/>
                  </a:lnTo>
                  <a:lnTo>
                    <a:pt x="36" y="47"/>
                  </a:lnTo>
                  <a:lnTo>
                    <a:pt x="36" y="47"/>
                  </a:lnTo>
                  <a:lnTo>
                    <a:pt x="36" y="49"/>
                  </a:lnTo>
                  <a:lnTo>
                    <a:pt x="36" y="49"/>
                  </a:lnTo>
                  <a:lnTo>
                    <a:pt x="33" y="49"/>
                  </a:lnTo>
                  <a:lnTo>
                    <a:pt x="33" y="52"/>
                  </a:lnTo>
                  <a:lnTo>
                    <a:pt x="31" y="54"/>
                  </a:lnTo>
                  <a:lnTo>
                    <a:pt x="31" y="54"/>
                  </a:lnTo>
                  <a:lnTo>
                    <a:pt x="29" y="52"/>
                  </a:lnTo>
                  <a:lnTo>
                    <a:pt x="19" y="47"/>
                  </a:lnTo>
                  <a:lnTo>
                    <a:pt x="17" y="47"/>
                  </a:lnTo>
                  <a:lnTo>
                    <a:pt x="15" y="45"/>
                  </a:lnTo>
                  <a:lnTo>
                    <a:pt x="15" y="42"/>
                  </a:lnTo>
                  <a:lnTo>
                    <a:pt x="10" y="40"/>
                  </a:lnTo>
                  <a:lnTo>
                    <a:pt x="7" y="38"/>
                  </a:lnTo>
                  <a:lnTo>
                    <a:pt x="7" y="38"/>
                  </a:lnTo>
                  <a:lnTo>
                    <a:pt x="7" y="35"/>
                  </a:lnTo>
                  <a:lnTo>
                    <a:pt x="5" y="35"/>
                  </a:lnTo>
                  <a:lnTo>
                    <a:pt x="5" y="35"/>
                  </a:lnTo>
                  <a:lnTo>
                    <a:pt x="5" y="33"/>
                  </a:lnTo>
                  <a:lnTo>
                    <a:pt x="3" y="33"/>
                  </a:lnTo>
                  <a:lnTo>
                    <a:pt x="0" y="30"/>
                  </a:lnTo>
                  <a:lnTo>
                    <a:pt x="0" y="28"/>
                  </a:lnTo>
                  <a:lnTo>
                    <a:pt x="3" y="28"/>
                  </a:lnTo>
                  <a:lnTo>
                    <a:pt x="3" y="28"/>
                  </a:lnTo>
                  <a:lnTo>
                    <a:pt x="3" y="28"/>
                  </a:lnTo>
                  <a:lnTo>
                    <a:pt x="3" y="28"/>
                  </a:lnTo>
                  <a:lnTo>
                    <a:pt x="3" y="26"/>
                  </a:lnTo>
                  <a:lnTo>
                    <a:pt x="3" y="26"/>
                  </a:lnTo>
                  <a:lnTo>
                    <a:pt x="0" y="26"/>
                  </a:lnTo>
                  <a:lnTo>
                    <a:pt x="0" y="23"/>
                  </a:lnTo>
                  <a:lnTo>
                    <a:pt x="0" y="21"/>
                  </a:lnTo>
                  <a:lnTo>
                    <a:pt x="0" y="21"/>
                  </a:lnTo>
                  <a:lnTo>
                    <a:pt x="0" y="19"/>
                  </a:lnTo>
                  <a:lnTo>
                    <a:pt x="0" y="19"/>
                  </a:lnTo>
                  <a:lnTo>
                    <a:pt x="0" y="1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3" name="Freeform 644">
              <a:extLst>
                <a:ext uri="{FF2B5EF4-FFF2-40B4-BE49-F238E27FC236}">
                  <a16:creationId xmlns:a16="http://schemas.microsoft.com/office/drawing/2014/main" id="{5C202BE5-CCE5-4B84-BDE8-61048A1FAF09}"/>
                </a:ext>
              </a:extLst>
            </p:cNvPr>
            <p:cNvSpPr>
              <a:spLocks/>
            </p:cNvSpPr>
            <p:nvPr/>
          </p:nvSpPr>
          <p:spPr bwMode="auto">
            <a:xfrm>
              <a:off x="1042242" y="4233829"/>
              <a:ext cx="168275" cy="176213"/>
            </a:xfrm>
            <a:custGeom>
              <a:avLst/>
              <a:gdLst>
                <a:gd name="T0" fmla="*/ 31 w 106"/>
                <a:gd name="T1" fmla="*/ 109 h 111"/>
                <a:gd name="T2" fmla="*/ 54 w 106"/>
                <a:gd name="T3" fmla="*/ 99 h 111"/>
                <a:gd name="T4" fmla="*/ 80 w 106"/>
                <a:gd name="T5" fmla="*/ 97 h 111"/>
                <a:gd name="T6" fmla="*/ 95 w 106"/>
                <a:gd name="T7" fmla="*/ 99 h 111"/>
                <a:gd name="T8" fmla="*/ 99 w 106"/>
                <a:gd name="T9" fmla="*/ 97 h 111"/>
                <a:gd name="T10" fmla="*/ 99 w 106"/>
                <a:gd name="T11" fmla="*/ 87 h 111"/>
                <a:gd name="T12" fmla="*/ 92 w 106"/>
                <a:gd name="T13" fmla="*/ 76 h 111"/>
                <a:gd name="T14" fmla="*/ 97 w 106"/>
                <a:gd name="T15" fmla="*/ 61 h 111"/>
                <a:gd name="T16" fmla="*/ 99 w 106"/>
                <a:gd name="T17" fmla="*/ 50 h 111"/>
                <a:gd name="T18" fmla="*/ 104 w 106"/>
                <a:gd name="T19" fmla="*/ 45 h 111"/>
                <a:gd name="T20" fmla="*/ 104 w 106"/>
                <a:gd name="T21" fmla="*/ 28 h 111"/>
                <a:gd name="T22" fmla="*/ 102 w 106"/>
                <a:gd name="T23" fmla="*/ 26 h 111"/>
                <a:gd name="T24" fmla="*/ 102 w 106"/>
                <a:gd name="T25" fmla="*/ 21 h 111"/>
                <a:gd name="T26" fmla="*/ 97 w 106"/>
                <a:gd name="T27" fmla="*/ 16 h 111"/>
                <a:gd name="T28" fmla="*/ 92 w 106"/>
                <a:gd name="T29" fmla="*/ 14 h 111"/>
                <a:gd name="T30" fmla="*/ 78 w 106"/>
                <a:gd name="T31" fmla="*/ 14 h 111"/>
                <a:gd name="T32" fmla="*/ 73 w 106"/>
                <a:gd name="T33" fmla="*/ 19 h 111"/>
                <a:gd name="T34" fmla="*/ 69 w 106"/>
                <a:gd name="T35" fmla="*/ 16 h 111"/>
                <a:gd name="T36" fmla="*/ 64 w 106"/>
                <a:gd name="T37" fmla="*/ 14 h 111"/>
                <a:gd name="T38" fmla="*/ 62 w 106"/>
                <a:gd name="T39" fmla="*/ 12 h 111"/>
                <a:gd name="T40" fmla="*/ 59 w 106"/>
                <a:gd name="T41" fmla="*/ 9 h 111"/>
                <a:gd name="T42" fmla="*/ 54 w 106"/>
                <a:gd name="T43" fmla="*/ 7 h 111"/>
                <a:gd name="T44" fmla="*/ 47 w 106"/>
                <a:gd name="T45" fmla="*/ 5 h 111"/>
                <a:gd name="T46" fmla="*/ 43 w 106"/>
                <a:gd name="T47" fmla="*/ 7 h 111"/>
                <a:gd name="T48" fmla="*/ 40 w 106"/>
                <a:gd name="T49" fmla="*/ 2 h 111"/>
                <a:gd name="T50" fmla="*/ 38 w 106"/>
                <a:gd name="T51" fmla="*/ 0 h 111"/>
                <a:gd name="T52" fmla="*/ 33 w 106"/>
                <a:gd name="T53" fmla="*/ 0 h 111"/>
                <a:gd name="T54" fmla="*/ 33 w 106"/>
                <a:gd name="T55" fmla="*/ 5 h 111"/>
                <a:gd name="T56" fmla="*/ 26 w 106"/>
                <a:gd name="T57" fmla="*/ 7 h 111"/>
                <a:gd name="T58" fmla="*/ 21 w 106"/>
                <a:gd name="T59" fmla="*/ 7 h 111"/>
                <a:gd name="T60" fmla="*/ 19 w 106"/>
                <a:gd name="T61" fmla="*/ 7 h 111"/>
                <a:gd name="T62" fmla="*/ 17 w 106"/>
                <a:gd name="T63" fmla="*/ 5 h 111"/>
                <a:gd name="T64" fmla="*/ 12 w 106"/>
                <a:gd name="T65" fmla="*/ 7 h 111"/>
                <a:gd name="T66" fmla="*/ 7 w 106"/>
                <a:gd name="T67" fmla="*/ 12 h 111"/>
                <a:gd name="T68" fmla="*/ 7 w 106"/>
                <a:gd name="T69" fmla="*/ 21 h 111"/>
                <a:gd name="T70" fmla="*/ 12 w 106"/>
                <a:gd name="T71" fmla="*/ 28 h 111"/>
                <a:gd name="T72" fmla="*/ 12 w 106"/>
                <a:gd name="T73" fmla="*/ 31 h 111"/>
                <a:gd name="T74" fmla="*/ 12 w 106"/>
                <a:gd name="T75" fmla="*/ 35 h 111"/>
                <a:gd name="T76" fmla="*/ 14 w 106"/>
                <a:gd name="T77" fmla="*/ 38 h 111"/>
                <a:gd name="T78" fmla="*/ 12 w 106"/>
                <a:gd name="T79" fmla="*/ 40 h 111"/>
                <a:gd name="T80" fmla="*/ 5 w 106"/>
                <a:gd name="T81" fmla="*/ 40 h 111"/>
                <a:gd name="T82" fmla="*/ 5 w 106"/>
                <a:gd name="T83" fmla="*/ 42 h 111"/>
                <a:gd name="T84" fmla="*/ 10 w 106"/>
                <a:gd name="T85" fmla="*/ 45 h 111"/>
                <a:gd name="T86" fmla="*/ 7 w 106"/>
                <a:gd name="T87" fmla="*/ 47 h 111"/>
                <a:gd name="T88" fmla="*/ 7 w 106"/>
                <a:gd name="T89" fmla="*/ 54 h 111"/>
                <a:gd name="T90" fmla="*/ 2 w 106"/>
                <a:gd name="T91" fmla="*/ 61 h 111"/>
                <a:gd name="T92" fmla="*/ 5 w 106"/>
                <a:gd name="T93" fmla="*/ 64 h 111"/>
                <a:gd name="T94" fmla="*/ 0 w 106"/>
                <a:gd name="T95" fmla="*/ 73 h 111"/>
                <a:gd name="T96" fmla="*/ 2 w 106"/>
                <a:gd name="T97" fmla="*/ 73 h 111"/>
                <a:gd name="T98" fmla="*/ 7 w 106"/>
                <a:gd name="T99" fmla="*/ 78 h 111"/>
                <a:gd name="T100" fmla="*/ 12 w 106"/>
                <a:gd name="T101" fmla="*/ 80 h 111"/>
                <a:gd name="T102" fmla="*/ 14 w 106"/>
                <a:gd name="T103" fmla="*/ 85 h 111"/>
                <a:gd name="T104" fmla="*/ 19 w 106"/>
                <a:gd name="T105" fmla="*/ 87 h 111"/>
                <a:gd name="T106" fmla="*/ 19 w 106"/>
                <a:gd name="T107" fmla="*/ 94 h 111"/>
                <a:gd name="T108" fmla="*/ 17 w 106"/>
                <a:gd name="T109" fmla="*/ 99 h 111"/>
                <a:gd name="T110" fmla="*/ 17 w 106"/>
                <a:gd name="T11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 h="111">
                  <a:moveTo>
                    <a:pt x="17" y="111"/>
                  </a:moveTo>
                  <a:lnTo>
                    <a:pt x="17" y="111"/>
                  </a:lnTo>
                  <a:lnTo>
                    <a:pt x="21" y="111"/>
                  </a:lnTo>
                  <a:lnTo>
                    <a:pt x="31" y="109"/>
                  </a:lnTo>
                  <a:lnTo>
                    <a:pt x="38" y="104"/>
                  </a:lnTo>
                  <a:lnTo>
                    <a:pt x="43" y="102"/>
                  </a:lnTo>
                  <a:lnTo>
                    <a:pt x="50" y="102"/>
                  </a:lnTo>
                  <a:lnTo>
                    <a:pt x="54" y="99"/>
                  </a:lnTo>
                  <a:lnTo>
                    <a:pt x="66" y="97"/>
                  </a:lnTo>
                  <a:lnTo>
                    <a:pt x="69" y="97"/>
                  </a:lnTo>
                  <a:lnTo>
                    <a:pt x="76" y="97"/>
                  </a:lnTo>
                  <a:lnTo>
                    <a:pt x="80" y="97"/>
                  </a:lnTo>
                  <a:lnTo>
                    <a:pt x="85" y="99"/>
                  </a:lnTo>
                  <a:lnTo>
                    <a:pt x="92" y="99"/>
                  </a:lnTo>
                  <a:lnTo>
                    <a:pt x="95" y="99"/>
                  </a:lnTo>
                  <a:lnTo>
                    <a:pt x="95" y="99"/>
                  </a:lnTo>
                  <a:lnTo>
                    <a:pt x="97" y="97"/>
                  </a:lnTo>
                  <a:lnTo>
                    <a:pt x="97" y="97"/>
                  </a:lnTo>
                  <a:lnTo>
                    <a:pt x="99" y="97"/>
                  </a:lnTo>
                  <a:lnTo>
                    <a:pt x="99" y="97"/>
                  </a:lnTo>
                  <a:lnTo>
                    <a:pt x="102" y="97"/>
                  </a:lnTo>
                  <a:lnTo>
                    <a:pt x="102" y="92"/>
                  </a:lnTo>
                  <a:lnTo>
                    <a:pt x="102" y="90"/>
                  </a:lnTo>
                  <a:lnTo>
                    <a:pt x="99" y="87"/>
                  </a:lnTo>
                  <a:lnTo>
                    <a:pt x="97" y="87"/>
                  </a:lnTo>
                  <a:lnTo>
                    <a:pt x="97" y="87"/>
                  </a:lnTo>
                  <a:lnTo>
                    <a:pt x="95" y="80"/>
                  </a:lnTo>
                  <a:lnTo>
                    <a:pt x="92" y="76"/>
                  </a:lnTo>
                  <a:lnTo>
                    <a:pt x="92" y="73"/>
                  </a:lnTo>
                  <a:lnTo>
                    <a:pt x="95" y="66"/>
                  </a:lnTo>
                  <a:lnTo>
                    <a:pt x="95" y="64"/>
                  </a:lnTo>
                  <a:lnTo>
                    <a:pt x="97" y="61"/>
                  </a:lnTo>
                  <a:lnTo>
                    <a:pt x="97" y="61"/>
                  </a:lnTo>
                  <a:lnTo>
                    <a:pt x="97" y="57"/>
                  </a:lnTo>
                  <a:lnTo>
                    <a:pt x="99" y="54"/>
                  </a:lnTo>
                  <a:lnTo>
                    <a:pt x="99" y="50"/>
                  </a:lnTo>
                  <a:lnTo>
                    <a:pt x="102" y="47"/>
                  </a:lnTo>
                  <a:lnTo>
                    <a:pt x="102" y="47"/>
                  </a:lnTo>
                  <a:lnTo>
                    <a:pt x="104" y="45"/>
                  </a:lnTo>
                  <a:lnTo>
                    <a:pt x="104" y="45"/>
                  </a:lnTo>
                  <a:lnTo>
                    <a:pt x="104" y="42"/>
                  </a:lnTo>
                  <a:lnTo>
                    <a:pt x="106" y="42"/>
                  </a:lnTo>
                  <a:lnTo>
                    <a:pt x="106" y="38"/>
                  </a:lnTo>
                  <a:lnTo>
                    <a:pt x="104" y="28"/>
                  </a:lnTo>
                  <a:lnTo>
                    <a:pt x="102" y="28"/>
                  </a:lnTo>
                  <a:lnTo>
                    <a:pt x="102" y="28"/>
                  </a:lnTo>
                  <a:lnTo>
                    <a:pt x="102" y="26"/>
                  </a:lnTo>
                  <a:lnTo>
                    <a:pt x="102" y="26"/>
                  </a:lnTo>
                  <a:lnTo>
                    <a:pt x="102" y="24"/>
                  </a:lnTo>
                  <a:lnTo>
                    <a:pt x="102" y="24"/>
                  </a:lnTo>
                  <a:lnTo>
                    <a:pt x="102" y="21"/>
                  </a:lnTo>
                  <a:lnTo>
                    <a:pt x="102" y="21"/>
                  </a:lnTo>
                  <a:lnTo>
                    <a:pt x="99" y="21"/>
                  </a:lnTo>
                  <a:lnTo>
                    <a:pt x="99" y="21"/>
                  </a:lnTo>
                  <a:lnTo>
                    <a:pt x="97" y="19"/>
                  </a:lnTo>
                  <a:lnTo>
                    <a:pt x="97" y="16"/>
                  </a:lnTo>
                  <a:lnTo>
                    <a:pt x="95" y="16"/>
                  </a:lnTo>
                  <a:lnTo>
                    <a:pt x="92" y="12"/>
                  </a:lnTo>
                  <a:lnTo>
                    <a:pt x="92" y="12"/>
                  </a:lnTo>
                  <a:lnTo>
                    <a:pt x="92" y="14"/>
                  </a:lnTo>
                  <a:lnTo>
                    <a:pt x="87" y="12"/>
                  </a:lnTo>
                  <a:lnTo>
                    <a:pt x="85" y="12"/>
                  </a:lnTo>
                  <a:lnTo>
                    <a:pt x="83" y="14"/>
                  </a:lnTo>
                  <a:lnTo>
                    <a:pt x="78" y="14"/>
                  </a:lnTo>
                  <a:lnTo>
                    <a:pt x="76" y="16"/>
                  </a:lnTo>
                  <a:lnTo>
                    <a:pt x="73" y="16"/>
                  </a:lnTo>
                  <a:lnTo>
                    <a:pt x="73" y="19"/>
                  </a:lnTo>
                  <a:lnTo>
                    <a:pt x="73" y="19"/>
                  </a:lnTo>
                  <a:lnTo>
                    <a:pt x="69" y="16"/>
                  </a:lnTo>
                  <a:lnTo>
                    <a:pt x="69" y="16"/>
                  </a:lnTo>
                  <a:lnTo>
                    <a:pt x="69" y="16"/>
                  </a:lnTo>
                  <a:lnTo>
                    <a:pt x="69" y="16"/>
                  </a:lnTo>
                  <a:lnTo>
                    <a:pt x="66" y="16"/>
                  </a:lnTo>
                  <a:lnTo>
                    <a:pt x="66" y="16"/>
                  </a:lnTo>
                  <a:lnTo>
                    <a:pt x="64" y="16"/>
                  </a:lnTo>
                  <a:lnTo>
                    <a:pt x="64" y="14"/>
                  </a:lnTo>
                  <a:lnTo>
                    <a:pt x="64" y="14"/>
                  </a:lnTo>
                  <a:lnTo>
                    <a:pt x="62" y="14"/>
                  </a:lnTo>
                  <a:lnTo>
                    <a:pt x="62" y="12"/>
                  </a:lnTo>
                  <a:lnTo>
                    <a:pt x="62" y="12"/>
                  </a:lnTo>
                  <a:lnTo>
                    <a:pt x="62" y="12"/>
                  </a:lnTo>
                  <a:lnTo>
                    <a:pt x="59" y="9"/>
                  </a:lnTo>
                  <a:lnTo>
                    <a:pt x="59" y="9"/>
                  </a:lnTo>
                  <a:lnTo>
                    <a:pt x="59" y="9"/>
                  </a:lnTo>
                  <a:lnTo>
                    <a:pt x="59" y="7"/>
                  </a:lnTo>
                  <a:lnTo>
                    <a:pt x="59" y="7"/>
                  </a:lnTo>
                  <a:lnTo>
                    <a:pt x="57" y="7"/>
                  </a:lnTo>
                  <a:lnTo>
                    <a:pt x="54" y="7"/>
                  </a:lnTo>
                  <a:lnTo>
                    <a:pt x="54" y="7"/>
                  </a:lnTo>
                  <a:lnTo>
                    <a:pt x="52" y="5"/>
                  </a:lnTo>
                  <a:lnTo>
                    <a:pt x="52" y="5"/>
                  </a:lnTo>
                  <a:lnTo>
                    <a:pt x="47" y="5"/>
                  </a:lnTo>
                  <a:lnTo>
                    <a:pt x="47" y="5"/>
                  </a:lnTo>
                  <a:lnTo>
                    <a:pt x="45" y="7"/>
                  </a:lnTo>
                  <a:lnTo>
                    <a:pt x="45" y="7"/>
                  </a:lnTo>
                  <a:lnTo>
                    <a:pt x="43" y="7"/>
                  </a:lnTo>
                  <a:lnTo>
                    <a:pt x="40" y="7"/>
                  </a:lnTo>
                  <a:lnTo>
                    <a:pt x="40" y="7"/>
                  </a:lnTo>
                  <a:lnTo>
                    <a:pt x="40" y="2"/>
                  </a:lnTo>
                  <a:lnTo>
                    <a:pt x="40" y="2"/>
                  </a:lnTo>
                  <a:lnTo>
                    <a:pt x="40" y="2"/>
                  </a:lnTo>
                  <a:lnTo>
                    <a:pt x="40" y="0"/>
                  </a:lnTo>
                  <a:lnTo>
                    <a:pt x="40" y="0"/>
                  </a:lnTo>
                  <a:lnTo>
                    <a:pt x="38" y="0"/>
                  </a:lnTo>
                  <a:lnTo>
                    <a:pt x="36" y="0"/>
                  </a:lnTo>
                  <a:lnTo>
                    <a:pt x="36" y="2"/>
                  </a:lnTo>
                  <a:lnTo>
                    <a:pt x="36" y="2"/>
                  </a:lnTo>
                  <a:lnTo>
                    <a:pt x="33" y="0"/>
                  </a:lnTo>
                  <a:lnTo>
                    <a:pt x="33" y="0"/>
                  </a:lnTo>
                  <a:lnTo>
                    <a:pt x="31" y="2"/>
                  </a:lnTo>
                  <a:lnTo>
                    <a:pt x="31" y="2"/>
                  </a:lnTo>
                  <a:lnTo>
                    <a:pt x="33" y="5"/>
                  </a:lnTo>
                  <a:lnTo>
                    <a:pt x="31" y="7"/>
                  </a:lnTo>
                  <a:lnTo>
                    <a:pt x="28" y="7"/>
                  </a:lnTo>
                  <a:lnTo>
                    <a:pt x="26" y="7"/>
                  </a:lnTo>
                  <a:lnTo>
                    <a:pt x="26" y="7"/>
                  </a:lnTo>
                  <a:lnTo>
                    <a:pt x="26" y="9"/>
                  </a:lnTo>
                  <a:lnTo>
                    <a:pt x="24" y="9"/>
                  </a:lnTo>
                  <a:lnTo>
                    <a:pt x="24" y="9"/>
                  </a:lnTo>
                  <a:lnTo>
                    <a:pt x="21" y="7"/>
                  </a:lnTo>
                  <a:lnTo>
                    <a:pt x="21" y="7"/>
                  </a:lnTo>
                  <a:lnTo>
                    <a:pt x="21" y="7"/>
                  </a:lnTo>
                  <a:lnTo>
                    <a:pt x="21" y="7"/>
                  </a:lnTo>
                  <a:lnTo>
                    <a:pt x="19" y="7"/>
                  </a:lnTo>
                  <a:lnTo>
                    <a:pt x="19" y="7"/>
                  </a:lnTo>
                  <a:lnTo>
                    <a:pt x="19" y="5"/>
                  </a:lnTo>
                  <a:lnTo>
                    <a:pt x="17" y="5"/>
                  </a:lnTo>
                  <a:lnTo>
                    <a:pt x="17" y="5"/>
                  </a:lnTo>
                  <a:lnTo>
                    <a:pt x="14" y="5"/>
                  </a:lnTo>
                  <a:lnTo>
                    <a:pt x="14" y="5"/>
                  </a:lnTo>
                  <a:lnTo>
                    <a:pt x="12" y="5"/>
                  </a:lnTo>
                  <a:lnTo>
                    <a:pt x="12" y="7"/>
                  </a:lnTo>
                  <a:lnTo>
                    <a:pt x="12" y="7"/>
                  </a:lnTo>
                  <a:lnTo>
                    <a:pt x="10" y="9"/>
                  </a:lnTo>
                  <a:lnTo>
                    <a:pt x="10" y="9"/>
                  </a:lnTo>
                  <a:lnTo>
                    <a:pt x="7" y="12"/>
                  </a:lnTo>
                  <a:lnTo>
                    <a:pt x="7" y="12"/>
                  </a:lnTo>
                  <a:lnTo>
                    <a:pt x="7" y="14"/>
                  </a:lnTo>
                  <a:lnTo>
                    <a:pt x="7" y="16"/>
                  </a:lnTo>
                  <a:lnTo>
                    <a:pt x="7" y="21"/>
                  </a:lnTo>
                  <a:lnTo>
                    <a:pt x="7" y="21"/>
                  </a:lnTo>
                  <a:lnTo>
                    <a:pt x="10" y="24"/>
                  </a:lnTo>
                  <a:lnTo>
                    <a:pt x="12" y="24"/>
                  </a:lnTo>
                  <a:lnTo>
                    <a:pt x="12" y="28"/>
                  </a:lnTo>
                  <a:lnTo>
                    <a:pt x="12" y="28"/>
                  </a:lnTo>
                  <a:lnTo>
                    <a:pt x="14" y="28"/>
                  </a:lnTo>
                  <a:lnTo>
                    <a:pt x="14" y="28"/>
                  </a:lnTo>
                  <a:lnTo>
                    <a:pt x="12" y="31"/>
                  </a:lnTo>
                  <a:lnTo>
                    <a:pt x="12" y="31"/>
                  </a:lnTo>
                  <a:lnTo>
                    <a:pt x="10" y="33"/>
                  </a:lnTo>
                  <a:lnTo>
                    <a:pt x="12" y="33"/>
                  </a:lnTo>
                  <a:lnTo>
                    <a:pt x="12" y="35"/>
                  </a:lnTo>
                  <a:lnTo>
                    <a:pt x="12" y="35"/>
                  </a:lnTo>
                  <a:lnTo>
                    <a:pt x="12" y="35"/>
                  </a:lnTo>
                  <a:lnTo>
                    <a:pt x="14" y="38"/>
                  </a:lnTo>
                  <a:lnTo>
                    <a:pt x="14" y="38"/>
                  </a:lnTo>
                  <a:lnTo>
                    <a:pt x="14" y="42"/>
                  </a:lnTo>
                  <a:lnTo>
                    <a:pt x="14" y="42"/>
                  </a:lnTo>
                  <a:lnTo>
                    <a:pt x="12" y="40"/>
                  </a:lnTo>
                  <a:lnTo>
                    <a:pt x="12" y="40"/>
                  </a:lnTo>
                  <a:lnTo>
                    <a:pt x="12" y="40"/>
                  </a:lnTo>
                  <a:lnTo>
                    <a:pt x="10" y="38"/>
                  </a:lnTo>
                  <a:lnTo>
                    <a:pt x="7" y="38"/>
                  </a:lnTo>
                  <a:lnTo>
                    <a:pt x="5" y="40"/>
                  </a:lnTo>
                  <a:lnTo>
                    <a:pt x="5" y="40"/>
                  </a:lnTo>
                  <a:lnTo>
                    <a:pt x="5" y="40"/>
                  </a:lnTo>
                  <a:lnTo>
                    <a:pt x="5" y="42"/>
                  </a:lnTo>
                  <a:lnTo>
                    <a:pt x="5" y="42"/>
                  </a:lnTo>
                  <a:lnTo>
                    <a:pt x="5" y="45"/>
                  </a:lnTo>
                  <a:lnTo>
                    <a:pt x="7" y="45"/>
                  </a:lnTo>
                  <a:lnTo>
                    <a:pt x="10" y="45"/>
                  </a:lnTo>
                  <a:lnTo>
                    <a:pt x="10" y="45"/>
                  </a:lnTo>
                  <a:lnTo>
                    <a:pt x="10" y="45"/>
                  </a:lnTo>
                  <a:lnTo>
                    <a:pt x="10" y="45"/>
                  </a:lnTo>
                  <a:lnTo>
                    <a:pt x="10" y="47"/>
                  </a:lnTo>
                  <a:lnTo>
                    <a:pt x="7" y="47"/>
                  </a:lnTo>
                  <a:lnTo>
                    <a:pt x="7" y="50"/>
                  </a:lnTo>
                  <a:lnTo>
                    <a:pt x="7" y="52"/>
                  </a:lnTo>
                  <a:lnTo>
                    <a:pt x="7" y="54"/>
                  </a:lnTo>
                  <a:lnTo>
                    <a:pt x="7" y="54"/>
                  </a:lnTo>
                  <a:lnTo>
                    <a:pt x="2" y="54"/>
                  </a:lnTo>
                  <a:lnTo>
                    <a:pt x="0" y="57"/>
                  </a:lnTo>
                  <a:lnTo>
                    <a:pt x="0" y="57"/>
                  </a:lnTo>
                  <a:lnTo>
                    <a:pt x="2" y="61"/>
                  </a:lnTo>
                  <a:lnTo>
                    <a:pt x="2" y="61"/>
                  </a:lnTo>
                  <a:lnTo>
                    <a:pt x="2" y="61"/>
                  </a:lnTo>
                  <a:lnTo>
                    <a:pt x="2" y="61"/>
                  </a:lnTo>
                  <a:lnTo>
                    <a:pt x="5" y="64"/>
                  </a:lnTo>
                  <a:lnTo>
                    <a:pt x="2" y="68"/>
                  </a:lnTo>
                  <a:lnTo>
                    <a:pt x="2" y="68"/>
                  </a:lnTo>
                  <a:lnTo>
                    <a:pt x="0" y="71"/>
                  </a:lnTo>
                  <a:lnTo>
                    <a:pt x="0" y="73"/>
                  </a:lnTo>
                  <a:lnTo>
                    <a:pt x="0" y="73"/>
                  </a:lnTo>
                  <a:lnTo>
                    <a:pt x="0" y="73"/>
                  </a:lnTo>
                  <a:lnTo>
                    <a:pt x="0" y="73"/>
                  </a:lnTo>
                  <a:lnTo>
                    <a:pt x="2" y="73"/>
                  </a:lnTo>
                  <a:lnTo>
                    <a:pt x="2" y="76"/>
                  </a:lnTo>
                  <a:lnTo>
                    <a:pt x="2" y="76"/>
                  </a:lnTo>
                  <a:lnTo>
                    <a:pt x="5" y="76"/>
                  </a:lnTo>
                  <a:lnTo>
                    <a:pt x="7" y="78"/>
                  </a:lnTo>
                  <a:lnTo>
                    <a:pt x="10" y="78"/>
                  </a:lnTo>
                  <a:lnTo>
                    <a:pt x="10" y="78"/>
                  </a:lnTo>
                  <a:lnTo>
                    <a:pt x="12" y="78"/>
                  </a:lnTo>
                  <a:lnTo>
                    <a:pt x="12" y="80"/>
                  </a:lnTo>
                  <a:lnTo>
                    <a:pt x="12" y="80"/>
                  </a:lnTo>
                  <a:lnTo>
                    <a:pt x="12" y="83"/>
                  </a:lnTo>
                  <a:lnTo>
                    <a:pt x="14" y="83"/>
                  </a:lnTo>
                  <a:lnTo>
                    <a:pt x="14" y="85"/>
                  </a:lnTo>
                  <a:lnTo>
                    <a:pt x="17" y="85"/>
                  </a:lnTo>
                  <a:lnTo>
                    <a:pt x="19" y="85"/>
                  </a:lnTo>
                  <a:lnTo>
                    <a:pt x="19" y="87"/>
                  </a:lnTo>
                  <a:lnTo>
                    <a:pt x="19" y="87"/>
                  </a:lnTo>
                  <a:lnTo>
                    <a:pt x="19" y="90"/>
                  </a:lnTo>
                  <a:lnTo>
                    <a:pt x="19" y="92"/>
                  </a:lnTo>
                  <a:lnTo>
                    <a:pt x="19" y="94"/>
                  </a:lnTo>
                  <a:lnTo>
                    <a:pt x="19" y="94"/>
                  </a:lnTo>
                  <a:lnTo>
                    <a:pt x="19" y="94"/>
                  </a:lnTo>
                  <a:lnTo>
                    <a:pt x="19" y="94"/>
                  </a:lnTo>
                  <a:lnTo>
                    <a:pt x="19" y="97"/>
                  </a:lnTo>
                  <a:lnTo>
                    <a:pt x="17" y="99"/>
                  </a:lnTo>
                  <a:lnTo>
                    <a:pt x="17" y="99"/>
                  </a:lnTo>
                  <a:lnTo>
                    <a:pt x="17" y="102"/>
                  </a:lnTo>
                  <a:lnTo>
                    <a:pt x="17" y="102"/>
                  </a:lnTo>
                  <a:lnTo>
                    <a:pt x="17" y="11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4" name="Freeform 645">
              <a:extLst>
                <a:ext uri="{FF2B5EF4-FFF2-40B4-BE49-F238E27FC236}">
                  <a16:creationId xmlns:a16="http://schemas.microsoft.com/office/drawing/2014/main" id="{A83FB9B5-F36E-4985-B96A-F1815CFDD420}"/>
                </a:ext>
              </a:extLst>
            </p:cNvPr>
            <p:cNvSpPr>
              <a:spLocks/>
            </p:cNvSpPr>
            <p:nvPr/>
          </p:nvSpPr>
          <p:spPr bwMode="auto">
            <a:xfrm>
              <a:off x="1042242" y="4233829"/>
              <a:ext cx="168275" cy="176213"/>
            </a:xfrm>
            <a:custGeom>
              <a:avLst/>
              <a:gdLst>
                <a:gd name="T0" fmla="*/ 31 w 106"/>
                <a:gd name="T1" fmla="*/ 109 h 111"/>
                <a:gd name="T2" fmla="*/ 54 w 106"/>
                <a:gd name="T3" fmla="*/ 99 h 111"/>
                <a:gd name="T4" fmla="*/ 80 w 106"/>
                <a:gd name="T5" fmla="*/ 97 h 111"/>
                <a:gd name="T6" fmla="*/ 95 w 106"/>
                <a:gd name="T7" fmla="*/ 99 h 111"/>
                <a:gd name="T8" fmla="*/ 99 w 106"/>
                <a:gd name="T9" fmla="*/ 97 h 111"/>
                <a:gd name="T10" fmla="*/ 99 w 106"/>
                <a:gd name="T11" fmla="*/ 87 h 111"/>
                <a:gd name="T12" fmla="*/ 92 w 106"/>
                <a:gd name="T13" fmla="*/ 76 h 111"/>
                <a:gd name="T14" fmla="*/ 97 w 106"/>
                <a:gd name="T15" fmla="*/ 61 h 111"/>
                <a:gd name="T16" fmla="*/ 99 w 106"/>
                <a:gd name="T17" fmla="*/ 50 h 111"/>
                <a:gd name="T18" fmla="*/ 104 w 106"/>
                <a:gd name="T19" fmla="*/ 45 h 111"/>
                <a:gd name="T20" fmla="*/ 104 w 106"/>
                <a:gd name="T21" fmla="*/ 28 h 111"/>
                <a:gd name="T22" fmla="*/ 102 w 106"/>
                <a:gd name="T23" fmla="*/ 26 h 111"/>
                <a:gd name="T24" fmla="*/ 102 w 106"/>
                <a:gd name="T25" fmla="*/ 21 h 111"/>
                <a:gd name="T26" fmla="*/ 97 w 106"/>
                <a:gd name="T27" fmla="*/ 16 h 111"/>
                <a:gd name="T28" fmla="*/ 92 w 106"/>
                <a:gd name="T29" fmla="*/ 14 h 111"/>
                <a:gd name="T30" fmla="*/ 78 w 106"/>
                <a:gd name="T31" fmla="*/ 14 h 111"/>
                <a:gd name="T32" fmla="*/ 73 w 106"/>
                <a:gd name="T33" fmla="*/ 19 h 111"/>
                <a:gd name="T34" fmla="*/ 69 w 106"/>
                <a:gd name="T35" fmla="*/ 16 h 111"/>
                <a:gd name="T36" fmla="*/ 64 w 106"/>
                <a:gd name="T37" fmla="*/ 14 h 111"/>
                <a:gd name="T38" fmla="*/ 62 w 106"/>
                <a:gd name="T39" fmla="*/ 12 h 111"/>
                <a:gd name="T40" fmla="*/ 59 w 106"/>
                <a:gd name="T41" fmla="*/ 9 h 111"/>
                <a:gd name="T42" fmla="*/ 54 w 106"/>
                <a:gd name="T43" fmla="*/ 7 h 111"/>
                <a:gd name="T44" fmla="*/ 47 w 106"/>
                <a:gd name="T45" fmla="*/ 5 h 111"/>
                <a:gd name="T46" fmla="*/ 43 w 106"/>
                <a:gd name="T47" fmla="*/ 7 h 111"/>
                <a:gd name="T48" fmla="*/ 40 w 106"/>
                <a:gd name="T49" fmla="*/ 2 h 111"/>
                <a:gd name="T50" fmla="*/ 38 w 106"/>
                <a:gd name="T51" fmla="*/ 0 h 111"/>
                <a:gd name="T52" fmla="*/ 33 w 106"/>
                <a:gd name="T53" fmla="*/ 0 h 111"/>
                <a:gd name="T54" fmla="*/ 33 w 106"/>
                <a:gd name="T55" fmla="*/ 5 h 111"/>
                <a:gd name="T56" fmla="*/ 26 w 106"/>
                <a:gd name="T57" fmla="*/ 7 h 111"/>
                <a:gd name="T58" fmla="*/ 21 w 106"/>
                <a:gd name="T59" fmla="*/ 7 h 111"/>
                <a:gd name="T60" fmla="*/ 19 w 106"/>
                <a:gd name="T61" fmla="*/ 7 h 111"/>
                <a:gd name="T62" fmla="*/ 17 w 106"/>
                <a:gd name="T63" fmla="*/ 5 h 111"/>
                <a:gd name="T64" fmla="*/ 12 w 106"/>
                <a:gd name="T65" fmla="*/ 7 h 111"/>
                <a:gd name="T66" fmla="*/ 7 w 106"/>
                <a:gd name="T67" fmla="*/ 12 h 111"/>
                <a:gd name="T68" fmla="*/ 7 w 106"/>
                <a:gd name="T69" fmla="*/ 21 h 111"/>
                <a:gd name="T70" fmla="*/ 12 w 106"/>
                <a:gd name="T71" fmla="*/ 28 h 111"/>
                <a:gd name="T72" fmla="*/ 12 w 106"/>
                <a:gd name="T73" fmla="*/ 31 h 111"/>
                <a:gd name="T74" fmla="*/ 12 w 106"/>
                <a:gd name="T75" fmla="*/ 35 h 111"/>
                <a:gd name="T76" fmla="*/ 14 w 106"/>
                <a:gd name="T77" fmla="*/ 38 h 111"/>
                <a:gd name="T78" fmla="*/ 12 w 106"/>
                <a:gd name="T79" fmla="*/ 40 h 111"/>
                <a:gd name="T80" fmla="*/ 5 w 106"/>
                <a:gd name="T81" fmla="*/ 40 h 111"/>
                <a:gd name="T82" fmla="*/ 5 w 106"/>
                <a:gd name="T83" fmla="*/ 42 h 111"/>
                <a:gd name="T84" fmla="*/ 10 w 106"/>
                <a:gd name="T85" fmla="*/ 45 h 111"/>
                <a:gd name="T86" fmla="*/ 7 w 106"/>
                <a:gd name="T87" fmla="*/ 47 h 111"/>
                <a:gd name="T88" fmla="*/ 7 w 106"/>
                <a:gd name="T89" fmla="*/ 54 h 111"/>
                <a:gd name="T90" fmla="*/ 2 w 106"/>
                <a:gd name="T91" fmla="*/ 61 h 111"/>
                <a:gd name="T92" fmla="*/ 5 w 106"/>
                <a:gd name="T93" fmla="*/ 64 h 111"/>
                <a:gd name="T94" fmla="*/ 0 w 106"/>
                <a:gd name="T95" fmla="*/ 73 h 111"/>
                <a:gd name="T96" fmla="*/ 2 w 106"/>
                <a:gd name="T97" fmla="*/ 73 h 111"/>
                <a:gd name="T98" fmla="*/ 7 w 106"/>
                <a:gd name="T99" fmla="*/ 78 h 111"/>
                <a:gd name="T100" fmla="*/ 12 w 106"/>
                <a:gd name="T101" fmla="*/ 80 h 111"/>
                <a:gd name="T102" fmla="*/ 14 w 106"/>
                <a:gd name="T103" fmla="*/ 85 h 111"/>
                <a:gd name="T104" fmla="*/ 19 w 106"/>
                <a:gd name="T105" fmla="*/ 87 h 111"/>
                <a:gd name="T106" fmla="*/ 19 w 106"/>
                <a:gd name="T107" fmla="*/ 94 h 111"/>
                <a:gd name="T108" fmla="*/ 17 w 106"/>
                <a:gd name="T109" fmla="*/ 99 h 111"/>
                <a:gd name="T110" fmla="*/ 17 w 106"/>
                <a:gd name="T11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 h="111">
                  <a:moveTo>
                    <a:pt x="17" y="111"/>
                  </a:moveTo>
                  <a:lnTo>
                    <a:pt x="17" y="111"/>
                  </a:lnTo>
                  <a:lnTo>
                    <a:pt x="21" y="111"/>
                  </a:lnTo>
                  <a:lnTo>
                    <a:pt x="31" y="109"/>
                  </a:lnTo>
                  <a:lnTo>
                    <a:pt x="38" y="104"/>
                  </a:lnTo>
                  <a:lnTo>
                    <a:pt x="43" y="102"/>
                  </a:lnTo>
                  <a:lnTo>
                    <a:pt x="50" y="102"/>
                  </a:lnTo>
                  <a:lnTo>
                    <a:pt x="54" y="99"/>
                  </a:lnTo>
                  <a:lnTo>
                    <a:pt x="66" y="97"/>
                  </a:lnTo>
                  <a:lnTo>
                    <a:pt x="69" y="97"/>
                  </a:lnTo>
                  <a:lnTo>
                    <a:pt x="76" y="97"/>
                  </a:lnTo>
                  <a:lnTo>
                    <a:pt x="80" y="97"/>
                  </a:lnTo>
                  <a:lnTo>
                    <a:pt x="85" y="99"/>
                  </a:lnTo>
                  <a:lnTo>
                    <a:pt x="92" y="99"/>
                  </a:lnTo>
                  <a:lnTo>
                    <a:pt x="95" y="99"/>
                  </a:lnTo>
                  <a:lnTo>
                    <a:pt x="95" y="99"/>
                  </a:lnTo>
                  <a:lnTo>
                    <a:pt x="97" y="97"/>
                  </a:lnTo>
                  <a:lnTo>
                    <a:pt x="97" y="97"/>
                  </a:lnTo>
                  <a:lnTo>
                    <a:pt x="99" y="97"/>
                  </a:lnTo>
                  <a:lnTo>
                    <a:pt x="99" y="97"/>
                  </a:lnTo>
                  <a:lnTo>
                    <a:pt x="102" y="97"/>
                  </a:lnTo>
                  <a:lnTo>
                    <a:pt x="102" y="92"/>
                  </a:lnTo>
                  <a:lnTo>
                    <a:pt x="102" y="90"/>
                  </a:lnTo>
                  <a:lnTo>
                    <a:pt x="99" y="87"/>
                  </a:lnTo>
                  <a:lnTo>
                    <a:pt x="97" y="87"/>
                  </a:lnTo>
                  <a:lnTo>
                    <a:pt x="97" y="87"/>
                  </a:lnTo>
                  <a:lnTo>
                    <a:pt x="95" y="80"/>
                  </a:lnTo>
                  <a:lnTo>
                    <a:pt x="92" y="76"/>
                  </a:lnTo>
                  <a:lnTo>
                    <a:pt x="92" y="73"/>
                  </a:lnTo>
                  <a:lnTo>
                    <a:pt x="95" y="66"/>
                  </a:lnTo>
                  <a:lnTo>
                    <a:pt x="95" y="64"/>
                  </a:lnTo>
                  <a:lnTo>
                    <a:pt x="97" y="61"/>
                  </a:lnTo>
                  <a:lnTo>
                    <a:pt x="97" y="61"/>
                  </a:lnTo>
                  <a:lnTo>
                    <a:pt x="97" y="57"/>
                  </a:lnTo>
                  <a:lnTo>
                    <a:pt x="99" y="54"/>
                  </a:lnTo>
                  <a:lnTo>
                    <a:pt x="99" y="50"/>
                  </a:lnTo>
                  <a:lnTo>
                    <a:pt x="102" y="47"/>
                  </a:lnTo>
                  <a:lnTo>
                    <a:pt x="102" y="47"/>
                  </a:lnTo>
                  <a:lnTo>
                    <a:pt x="104" y="45"/>
                  </a:lnTo>
                  <a:lnTo>
                    <a:pt x="104" y="45"/>
                  </a:lnTo>
                  <a:lnTo>
                    <a:pt x="104" y="42"/>
                  </a:lnTo>
                  <a:lnTo>
                    <a:pt x="106" y="42"/>
                  </a:lnTo>
                  <a:lnTo>
                    <a:pt x="106" y="38"/>
                  </a:lnTo>
                  <a:lnTo>
                    <a:pt x="104" y="28"/>
                  </a:lnTo>
                  <a:lnTo>
                    <a:pt x="102" y="28"/>
                  </a:lnTo>
                  <a:lnTo>
                    <a:pt x="102" y="28"/>
                  </a:lnTo>
                  <a:lnTo>
                    <a:pt x="102" y="26"/>
                  </a:lnTo>
                  <a:lnTo>
                    <a:pt x="102" y="26"/>
                  </a:lnTo>
                  <a:lnTo>
                    <a:pt x="102" y="24"/>
                  </a:lnTo>
                  <a:lnTo>
                    <a:pt x="102" y="24"/>
                  </a:lnTo>
                  <a:lnTo>
                    <a:pt x="102" y="21"/>
                  </a:lnTo>
                  <a:lnTo>
                    <a:pt x="102" y="21"/>
                  </a:lnTo>
                  <a:lnTo>
                    <a:pt x="99" y="21"/>
                  </a:lnTo>
                  <a:lnTo>
                    <a:pt x="99" y="21"/>
                  </a:lnTo>
                  <a:lnTo>
                    <a:pt x="97" y="19"/>
                  </a:lnTo>
                  <a:lnTo>
                    <a:pt x="97" y="16"/>
                  </a:lnTo>
                  <a:lnTo>
                    <a:pt x="95" y="16"/>
                  </a:lnTo>
                  <a:lnTo>
                    <a:pt x="92" y="12"/>
                  </a:lnTo>
                  <a:lnTo>
                    <a:pt x="92" y="12"/>
                  </a:lnTo>
                  <a:lnTo>
                    <a:pt x="92" y="14"/>
                  </a:lnTo>
                  <a:lnTo>
                    <a:pt x="87" y="12"/>
                  </a:lnTo>
                  <a:lnTo>
                    <a:pt x="85" y="12"/>
                  </a:lnTo>
                  <a:lnTo>
                    <a:pt x="83" y="14"/>
                  </a:lnTo>
                  <a:lnTo>
                    <a:pt x="78" y="14"/>
                  </a:lnTo>
                  <a:lnTo>
                    <a:pt x="76" y="16"/>
                  </a:lnTo>
                  <a:lnTo>
                    <a:pt x="73" y="16"/>
                  </a:lnTo>
                  <a:lnTo>
                    <a:pt x="73" y="19"/>
                  </a:lnTo>
                  <a:lnTo>
                    <a:pt x="73" y="19"/>
                  </a:lnTo>
                  <a:lnTo>
                    <a:pt x="69" y="16"/>
                  </a:lnTo>
                  <a:lnTo>
                    <a:pt x="69" y="16"/>
                  </a:lnTo>
                  <a:lnTo>
                    <a:pt x="69" y="16"/>
                  </a:lnTo>
                  <a:lnTo>
                    <a:pt x="69" y="16"/>
                  </a:lnTo>
                  <a:lnTo>
                    <a:pt x="66" y="16"/>
                  </a:lnTo>
                  <a:lnTo>
                    <a:pt x="66" y="16"/>
                  </a:lnTo>
                  <a:lnTo>
                    <a:pt x="64" y="16"/>
                  </a:lnTo>
                  <a:lnTo>
                    <a:pt x="64" y="14"/>
                  </a:lnTo>
                  <a:lnTo>
                    <a:pt x="64" y="14"/>
                  </a:lnTo>
                  <a:lnTo>
                    <a:pt x="62" y="14"/>
                  </a:lnTo>
                  <a:lnTo>
                    <a:pt x="62" y="12"/>
                  </a:lnTo>
                  <a:lnTo>
                    <a:pt x="62" y="12"/>
                  </a:lnTo>
                  <a:lnTo>
                    <a:pt x="62" y="12"/>
                  </a:lnTo>
                  <a:lnTo>
                    <a:pt x="59" y="9"/>
                  </a:lnTo>
                  <a:lnTo>
                    <a:pt x="59" y="9"/>
                  </a:lnTo>
                  <a:lnTo>
                    <a:pt x="59" y="9"/>
                  </a:lnTo>
                  <a:lnTo>
                    <a:pt x="59" y="7"/>
                  </a:lnTo>
                  <a:lnTo>
                    <a:pt x="59" y="7"/>
                  </a:lnTo>
                  <a:lnTo>
                    <a:pt x="57" y="7"/>
                  </a:lnTo>
                  <a:lnTo>
                    <a:pt x="54" y="7"/>
                  </a:lnTo>
                  <a:lnTo>
                    <a:pt x="54" y="7"/>
                  </a:lnTo>
                  <a:lnTo>
                    <a:pt x="52" y="5"/>
                  </a:lnTo>
                  <a:lnTo>
                    <a:pt x="52" y="5"/>
                  </a:lnTo>
                  <a:lnTo>
                    <a:pt x="47" y="5"/>
                  </a:lnTo>
                  <a:lnTo>
                    <a:pt x="47" y="5"/>
                  </a:lnTo>
                  <a:lnTo>
                    <a:pt x="45" y="7"/>
                  </a:lnTo>
                  <a:lnTo>
                    <a:pt x="45" y="7"/>
                  </a:lnTo>
                  <a:lnTo>
                    <a:pt x="43" y="7"/>
                  </a:lnTo>
                  <a:lnTo>
                    <a:pt x="40" y="7"/>
                  </a:lnTo>
                  <a:lnTo>
                    <a:pt x="40" y="7"/>
                  </a:lnTo>
                  <a:lnTo>
                    <a:pt x="40" y="2"/>
                  </a:lnTo>
                  <a:lnTo>
                    <a:pt x="40" y="2"/>
                  </a:lnTo>
                  <a:lnTo>
                    <a:pt x="40" y="2"/>
                  </a:lnTo>
                  <a:lnTo>
                    <a:pt x="40" y="0"/>
                  </a:lnTo>
                  <a:lnTo>
                    <a:pt x="40" y="0"/>
                  </a:lnTo>
                  <a:lnTo>
                    <a:pt x="38" y="0"/>
                  </a:lnTo>
                  <a:lnTo>
                    <a:pt x="36" y="0"/>
                  </a:lnTo>
                  <a:lnTo>
                    <a:pt x="36" y="2"/>
                  </a:lnTo>
                  <a:lnTo>
                    <a:pt x="36" y="2"/>
                  </a:lnTo>
                  <a:lnTo>
                    <a:pt x="33" y="0"/>
                  </a:lnTo>
                  <a:lnTo>
                    <a:pt x="33" y="0"/>
                  </a:lnTo>
                  <a:lnTo>
                    <a:pt x="31" y="2"/>
                  </a:lnTo>
                  <a:lnTo>
                    <a:pt x="31" y="2"/>
                  </a:lnTo>
                  <a:lnTo>
                    <a:pt x="33" y="5"/>
                  </a:lnTo>
                  <a:lnTo>
                    <a:pt x="31" y="7"/>
                  </a:lnTo>
                  <a:lnTo>
                    <a:pt x="28" y="7"/>
                  </a:lnTo>
                  <a:lnTo>
                    <a:pt x="26" y="7"/>
                  </a:lnTo>
                  <a:lnTo>
                    <a:pt x="26" y="7"/>
                  </a:lnTo>
                  <a:lnTo>
                    <a:pt x="26" y="9"/>
                  </a:lnTo>
                  <a:lnTo>
                    <a:pt x="24" y="9"/>
                  </a:lnTo>
                  <a:lnTo>
                    <a:pt x="24" y="9"/>
                  </a:lnTo>
                  <a:lnTo>
                    <a:pt x="21" y="7"/>
                  </a:lnTo>
                  <a:lnTo>
                    <a:pt x="21" y="7"/>
                  </a:lnTo>
                  <a:lnTo>
                    <a:pt x="21" y="7"/>
                  </a:lnTo>
                  <a:lnTo>
                    <a:pt x="21" y="7"/>
                  </a:lnTo>
                  <a:lnTo>
                    <a:pt x="19" y="7"/>
                  </a:lnTo>
                  <a:lnTo>
                    <a:pt x="19" y="7"/>
                  </a:lnTo>
                  <a:lnTo>
                    <a:pt x="19" y="5"/>
                  </a:lnTo>
                  <a:lnTo>
                    <a:pt x="17" y="5"/>
                  </a:lnTo>
                  <a:lnTo>
                    <a:pt x="17" y="5"/>
                  </a:lnTo>
                  <a:lnTo>
                    <a:pt x="14" y="5"/>
                  </a:lnTo>
                  <a:lnTo>
                    <a:pt x="14" y="5"/>
                  </a:lnTo>
                  <a:lnTo>
                    <a:pt x="12" y="5"/>
                  </a:lnTo>
                  <a:lnTo>
                    <a:pt x="12" y="7"/>
                  </a:lnTo>
                  <a:lnTo>
                    <a:pt x="12" y="7"/>
                  </a:lnTo>
                  <a:lnTo>
                    <a:pt x="10" y="9"/>
                  </a:lnTo>
                  <a:lnTo>
                    <a:pt x="10" y="9"/>
                  </a:lnTo>
                  <a:lnTo>
                    <a:pt x="7" y="12"/>
                  </a:lnTo>
                  <a:lnTo>
                    <a:pt x="7" y="12"/>
                  </a:lnTo>
                  <a:lnTo>
                    <a:pt x="7" y="14"/>
                  </a:lnTo>
                  <a:lnTo>
                    <a:pt x="7" y="16"/>
                  </a:lnTo>
                  <a:lnTo>
                    <a:pt x="7" y="21"/>
                  </a:lnTo>
                  <a:lnTo>
                    <a:pt x="7" y="21"/>
                  </a:lnTo>
                  <a:lnTo>
                    <a:pt x="10" y="24"/>
                  </a:lnTo>
                  <a:lnTo>
                    <a:pt x="12" y="24"/>
                  </a:lnTo>
                  <a:lnTo>
                    <a:pt x="12" y="28"/>
                  </a:lnTo>
                  <a:lnTo>
                    <a:pt x="12" y="28"/>
                  </a:lnTo>
                  <a:lnTo>
                    <a:pt x="14" y="28"/>
                  </a:lnTo>
                  <a:lnTo>
                    <a:pt x="14" y="28"/>
                  </a:lnTo>
                  <a:lnTo>
                    <a:pt x="12" y="31"/>
                  </a:lnTo>
                  <a:lnTo>
                    <a:pt x="12" y="31"/>
                  </a:lnTo>
                  <a:lnTo>
                    <a:pt x="10" y="33"/>
                  </a:lnTo>
                  <a:lnTo>
                    <a:pt x="12" y="33"/>
                  </a:lnTo>
                  <a:lnTo>
                    <a:pt x="12" y="35"/>
                  </a:lnTo>
                  <a:lnTo>
                    <a:pt x="12" y="35"/>
                  </a:lnTo>
                  <a:lnTo>
                    <a:pt x="12" y="35"/>
                  </a:lnTo>
                  <a:lnTo>
                    <a:pt x="14" y="38"/>
                  </a:lnTo>
                  <a:lnTo>
                    <a:pt x="14" y="38"/>
                  </a:lnTo>
                  <a:lnTo>
                    <a:pt x="14" y="42"/>
                  </a:lnTo>
                  <a:lnTo>
                    <a:pt x="14" y="42"/>
                  </a:lnTo>
                  <a:lnTo>
                    <a:pt x="12" y="40"/>
                  </a:lnTo>
                  <a:lnTo>
                    <a:pt x="12" y="40"/>
                  </a:lnTo>
                  <a:lnTo>
                    <a:pt x="12" y="40"/>
                  </a:lnTo>
                  <a:lnTo>
                    <a:pt x="10" y="38"/>
                  </a:lnTo>
                  <a:lnTo>
                    <a:pt x="7" y="38"/>
                  </a:lnTo>
                  <a:lnTo>
                    <a:pt x="5" y="40"/>
                  </a:lnTo>
                  <a:lnTo>
                    <a:pt x="5" y="40"/>
                  </a:lnTo>
                  <a:lnTo>
                    <a:pt x="5" y="40"/>
                  </a:lnTo>
                  <a:lnTo>
                    <a:pt x="5" y="42"/>
                  </a:lnTo>
                  <a:lnTo>
                    <a:pt x="5" y="42"/>
                  </a:lnTo>
                  <a:lnTo>
                    <a:pt x="5" y="45"/>
                  </a:lnTo>
                  <a:lnTo>
                    <a:pt x="7" y="45"/>
                  </a:lnTo>
                  <a:lnTo>
                    <a:pt x="10" y="45"/>
                  </a:lnTo>
                  <a:lnTo>
                    <a:pt x="10" y="45"/>
                  </a:lnTo>
                  <a:lnTo>
                    <a:pt x="10" y="45"/>
                  </a:lnTo>
                  <a:lnTo>
                    <a:pt x="10" y="45"/>
                  </a:lnTo>
                  <a:lnTo>
                    <a:pt x="10" y="47"/>
                  </a:lnTo>
                  <a:lnTo>
                    <a:pt x="7" y="47"/>
                  </a:lnTo>
                  <a:lnTo>
                    <a:pt x="7" y="50"/>
                  </a:lnTo>
                  <a:lnTo>
                    <a:pt x="7" y="52"/>
                  </a:lnTo>
                  <a:lnTo>
                    <a:pt x="7" y="54"/>
                  </a:lnTo>
                  <a:lnTo>
                    <a:pt x="7" y="54"/>
                  </a:lnTo>
                  <a:lnTo>
                    <a:pt x="2" y="54"/>
                  </a:lnTo>
                  <a:lnTo>
                    <a:pt x="0" y="57"/>
                  </a:lnTo>
                  <a:lnTo>
                    <a:pt x="0" y="57"/>
                  </a:lnTo>
                  <a:lnTo>
                    <a:pt x="2" y="61"/>
                  </a:lnTo>
                  <a:lnTo>
                    <a:pt x="2" y="61"/>
                  </a:lnTo>
                  <a:lnTo>
                    <a:pt x="2" y="61"/>
                  </a:lnTo>
                  <a:lnTo>
                    <a:pt x="2" y="61"/>
                  </a:lnTo>
                  <a:lnTo>
                    <a:pt x="5" y="64"/>
                  </a:lnTo>
                  <a:lnTo>
                    <a:pt x="2" y="68"/>
                  </a:lnTo>
                  <a:lnTo>
                    <a:pt x="2" y="68"/>
                  </a:lnTo>
                  <a:lnTo>
                    <a:pt x="0" y="71"/>
                  </a:lnTo>
                  <a:lnTo>
                    <a:pt x="0" y="73"/>
                  </a:lnTo>
                  <a:lnTo>
                    <a:pt x="0" y="73"/>
                  </a:lnTo>
                  <a:lnTo>
                    <a:pt x="0" y="73"/>
                  </a:lnTo>
                  <a:lnTo>
                    <a:pt x="0" y="73"/>
                  </a:lnTo>
                  <a:lnTo>
                    <a:pt x="2" y="73"/>
                  </a:lnTo>
                  <a:lnTo>
                    <a:pt x="2" y="76"/>
                  </a:lnTo>
                  <a:lnTo>
                    <a:pt x="2" y="76"/>
                  </a:lnTo>
                  <a:lnTo>
                    <a:pt x="5" y="76"/>
                  </a:lnTo>
                  <a:lnTo>
                    <a:pt x="7" y="78"/>
                  </a:lnTo>
                  <a:lnTo>
                    <a:pt x="10" y="78"/>
                  </a:lnTo>
                  <a:lnTo>
                    <a:pt x="10" y="78"/>
                  </a:lnTo>
                  <a:lnTo>
                    <a:pt x="12" y="78"/>
                  </a:lnTo>
                  <a:lnTo>
                    <a:pt x="12" y="80"/>
                  </a:lnTo>
                  <a:lnTo>
                    <a:pt x="12" y="80"/>
                  </a:lnTo>
                  <a:lnTo>
                    <a:pt x="12" y="83"/>
                  </a:lnTo>
                  <a:lnTo>
                    <a:pt x="14" y="83"/>
                  </a:lnTo>
                  <a:lnTo>
                    <a:pt x="14" y="85"/>
                  </a:lnTo>
                  <a:lnTo>
                    <a:pt x="17" y="85"/>
                  </a:lnTo>
                  <a:lnTo>
                    <a:pt x="19" y="85"/>
                  </a:lnTo>
                  <a:lnTo>
                    <a:pt x="19" y="87"/>
                  </a:lnTo>
                  <a:lnTo>
                    <a:pt x="19" y="87"/>
                  </a:lnTo>
                  <a:lnTo>
                    <a:pt x="19" y="90"/>
                  </a:lnTo>
                  <a:lnTo>
                    <a:pt x="19" y="92"/>
                  </a:lnTo>
                  <a:lnTo>
                    <a:pt x="19" y="94"/>
                  </a:lnTo>
                  <a:lnTo>
                    <a:pt x="19" y="94"/>
                  </a:lnTo>
                  <a:lnTo>
                    <a:pt x="19" y="94"/>
                  </a:lnTo>
                  <a:lnTo>
                    <a:pt x="19" y="94"/>
                  </a:lnTo>
                  <a:lnTo>
                    <a:pt x="19" y="97"/>
                  </a:lnTo>
                  <a:lnTo>
                    <a:pt x="17" y="99"/>
                  </a:lnTo>
                  <a:lnTo>
                    <a:pt x="17" y="99"/>
                  </a:lnTo>
                  <a:lnTo>
                    <a:pt x="17" y="102"/>
                  </a:lnTo>
                  <a:lnTo>
                    <a:pt x="17" y="102"/>
                  </a:lnTo>
                  <a:lnTo>
                    <a:pt x="17" y="11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5" name="Freeform 646">
              <a:extLst>
                <a:ext uri="{FF2B5EF4-FFF2-40B4-BE49-F238E27FC236}">
                  <a16:creationId xmlns:a16="http://schemas.microsoft.com/office/drawing/2014/main" id="{766E43EA-6EBE-4FD8-AC71-75A9D4F0C39D}"/>
                </a:ext>
              </a:extLst>
            </p:cNvPr>
            <p:cNvSpPr>
              <a:spLocks/>
            </p:cNvSpPr>
            <p:nvPr/>
          </p:nvSpPr>
          <p:spPr bwMode="auto">
            <a:xfrm>
              <a:off x="1270842" y="4222717"/>
              <a:ext cx="60325" cy="142876"/>
            </a:xfrm>
            <a:custGeom>
              <a:avLst/>
              <a:gdLst>
                <a:gd name="T0" fmla="*/ 26 w 38"/>
                <a:gd name="T1" fmla="*/ 90 h 90"/>
                <a:gd name="T2" fmla="*/ 24 w 38"/>
                <a:gd name="T3" fmla="*/ 87 h 90"/>
                <a:gd name="T4" fmla="*/ 19 w 38"/>
                <a:gd name="T5" fmla="*/ 83 h 90"/>
                <a:gd name="T6" fmla="*/ 17 w 38"/>
                <a:gd name="T7" fmla="*/ 80 h 90"/>
                <a:gd name="T8" fmla="*/ 17 w 38"/>
                <a:gd name="T9" fmla="*/ 75 h 90"/>
                <a:gd name="T10" fmla="*/ 14 w 38"/>
                <a:gd name="T11" fmla="*/ 73 h 90"/>
                <a:gd name="T12" fmla="*/ 14 w 38"/>
                <a:gd name="T13" fmla="*/ 66 h 90"/>
                <a:gd name="T14" fmla="*/ 17 w 38"/>
                <a:gd name="T15" fmla="*/ 59 h 90"/>
                <a:gd name="T16" fmla="*/ 14 w 38"/>
                <a:gd name="T17" fmla="*/ 47 h 90"/>
                <a:gd name="T18" fmla="*/ 14 w 38"/>
                <a:gd name="T19" fmla="*/ 35 h 90"/>
                <a:gd name="T20" fmla="*/ 14 w 38"/>
                <a:gd name="T21" fmla="*/ 31 h 90"/>
                <a:gd name="T22" fmla="*/ 12 w 38"/>
                <a:gd name="T23" fmla="*/ 31 h 90"/>
                <a:gd name="T24" fmla="*/ 12 w 38"/>
                <a:gd name="T25" fmla="*/ 28 h 90"/>
                <a:gd name="T26" fmla="*/ 12 w 38"/>
                <a:gd name="T27" fmla="*/ 21 h 90"/>
                <a:gd name="T28" fmla="*/ 10 w 38"/>
                <a:gd name="T29" fmla="*/ 16 h 90"/>
                <a:gd name="T30" fmla="*/ 10 w 38"/>
                <a:gd name="T31" fmla="*/ 14 h 90"/>
                <a:gd name="T32" fmla="*/ 7 w 38"/>
                <a:gd name="T33" fmla="*/ 12 h 90"/>
                <a:gd name="T34" fmla="*/ 5 w 38"/>
                <a:gd name="T35" fmla="*/ 9 h 90"/>
                <a:gd name="T36" fmla="*/ 3 w 38"/>
                <a:gd name="T37" fmla="*/ 7 h 90"/>
                <a:gd name="T38" fmla="*/ 3 w 38"/>
                <a:gd name="T39" fmla="*/ 7 h 90"/>
                <a:gd name="T40" fmla="*/ 3 w 38"/>
                <a:gd name="T41" fmla="*/ 5 h 90"/>
                <a:gd name="T42" fmla="*/ 3 w 38"/>
                <a:gd name="T43" fmla="*/ 2 h 90"/>
                <a:gd name="T44" fmla="*/ 5 w 38"/>
                <a:gd name="T45" fmla="*/ 2 h 90"/>
                <a:gd name="T46" fmla="*/ 5 w 38"/>
                <a:gd name="T47" fmla="*/ 0 h 90"/>
                <a:gd name="T48" fmla="*/ 0 w 38"/>
                <a:gd name="T49" fmla="*/ 0 h 90"/>
                <a:gd name="T50" fmla="*/ 0 w 38"/>
                <a:gd name="T51" fmla="*/ 0 h 90"/>
                <a:gd name="T52" fmla="*/ 0 w 38"/>
                <a:gd name="T53" fmla="*/ 0 h 90"/>
                <a:gd name="T54" fmla="*/ 0 w 38"/>
                <a:gd name="T55" fmla="*/ 0 h 90"/>
                <a:gd name="T56" fmla="*/ 12 w 38"/>
                <a:gd name="T57" fmla="*/ 2 h 90"/>
                <a:gd name="T58" fmla="*/ 12 w 38"/>
                <a:gd name="T59" fmla="*/ 2 h 90"/>
                <a:gd name="T60" fmla="*/ 14 w 38"/>
                <a:gd name="T61" fmla="*/ 2 h 90"/>
                <a:gd name="T62" fmla="*/ 14 w 38"/>
                <a:gd name="T63" fmla="*/ 2 h 90"/>
                <a:gd name="T64" fmla="*/ 19 w 38"/>
                <a:gd name="T65" fmla="*/ 2 h 90"/>
                <a:gd name="T66" fmla="*/ 19 w 38"/>
                <a:gd name="T67" fmla="*/ 2 h 90"/>
                <a:gd name="T68" fmla="*/ 19 w 38"/>
                <a:gd name="T69" fmla="*/ 2 h 90"/>
                <a:gd name="T70" fmla="*/ 19 w 38"/>
                <a:gd name="T71" fmla="*/ 5 h 90"/>
                <a:gd name="T72" fmla="*/ 17 w 38"/>
                <a:gd name="T73" fmla="*/ 7 h 90"/>
                <a:gd name="T74" fmla="*/ 17 w 38"/>
                <a:gd name="T75" fmla="*/ 12 h 90"/>
                <a:gd name="T76" fmla="*/ 17 w 38"/>
                <a:gd name="T77" fmla="*/ 14 h 90"/>
                <a:gd name="T78" fmla="*/ 19 w 38"/>
                <a:gd name="T79" fmla="*/ 14 h 90"/>
                <a:gd name="T80" fmla="*/ 21 w 38"/>
                <a:gd name="T81" fmla="*/ 16 h 90"/>
                <a:gd name="T82" fmla="*/ 21 w 38"/>
                <a:gd name="T83" fmla="*/ 16 h 90"/>
                <a:gd name="T84" fmla="*/ 24 w 38"/>
                <a:gd name="T85" fmla="*/ 16 h 90"/>
                <a:gd name="T86" fmla="*/ 29 w 38"/>
                <a:gd name="T87" fmla="*/ 21 h 90"/>
                <a:gd name="T88" fmla="*/ 31 w 38"/>
                <a:gd name="T89" fmla="*/ 28 h 90"/>
                <a:gd name="T90" fmla="*/ 31 w 38"/>
                <a:gd name="T91" fmla="*/ 35 h 90"/>
                <a:gd name="T92" fmla="*/ 33 w 38"/>
                <a:gd name="T93" fmla="*/ 38 h 90"/>
                <a:gd name="T94" fmla="*/ 33 w 38"/>
                <a:gd name="T95" fmla="*/ 40 h 90"/>
                <a:gd name="T96" fmla="*/ 33 w 38"/>
                <a:gd name="T97" fmla="*/ 42 h 90"/>
                <a:gd name="T98" fmla="*/ 36 w 38"/>
                <a:gd name="T99" fmla="*/ 45 h 90"/>
                <a:gd name="T100" fmla="*/ 36 w 38"/>
                <a:gd name="T101" fmla="*/ 52 h 90"/>
                <a:gd name="T102" fmla="*/ 36 w 38"/>
                <a:gd name="T103" fmla="*/ 68 h 90"/>
                <a:gd name="T104" fmla="*/ 33 w 38"/>
                <a:gd name="T105" fmla="*/ 75 h 90"/>
                <a:gd name="T106" fmla="*/ 33 w 38"/>
                <a:gd name="T107" fmla="*/ 78 h 90"/>
                <a:gd name="T108" fmla="*/ 36 w 38"/>
                <a:gd name="T109" fmla="*/ 83 h 90"/>
                <a:gd name="T110" fmla="*/ 36 w 38"/>
                <a:gd name="T111" fmla="*/ 85 h 90"/>
                <a:gd name="T112" fmla="*/ 36 w 38"/>
                <a:gd name="T113" fmla="*/ 85 h 90"/>
                <a:gd name="T114" fmla="*/ 38 w 38"/>
                <a:gd name="T115" fmla="*/ 85 h 90"/>
                <a:gd name="T116" fmla="*/ 31 w 38"/>
                <a:gd name="T117" fmla="*/ 87 h 90"/>
                <a:gd name="T118" fmla="*/ 26 w 38"/>
                <a:gd name="T1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90">
                  <a:moveTo>
                    <a:pt x="26" y="90"/>
                  </a:moveTo>
                  <a:lnTo>
                    <a:pt x="24" y="87"/>
                  </a:lnTo>
                  <a:lnTo>
                    <a:pt x="19" y="83"/>
                  </a:lnTo>
                  <a:lnTo>
                    <a:pt x="17" y="80"/>
                  </a:lnTo>
                  <a:lnTo>
                    <a:pt x="17" y="75"/>
                  </a:lnTo>
                  <a:lnTo>
                    <a:pt x="14" y="73"/>
                  </a:lnTo>
                  <a:lnTo>
                    <a:pt x="14" y="66"/>
                  </a:lnTo>
                  <a:lnTo>
                    <a:pt x="17" y="59"/>
                  </a:lnTo>
                  <a:lnTo>
                    <a:pt x="14" y="47"/>
                  </a:lnTo>
                  <a:lnTo>
                    <a:pt x="14" y="35"/>
                  </a:lnTo>
                  <a:lnTo>
                    <a:pt x="14" y="31"/>
                  </a:lnTo>
                  <a:lnTo>
                    <a:pt x="12" y="31"/>
                  </a:lnTo>
                  <a:lnTo>
                    <a:pt x="12" y="28"/>
                  </a:lnTo>
                  <a:lnTo>
                    <a:pt x="12" y="21"/>
                  </a:lnTo>
                  <a:lnTo>
                    <a:pt x="10" y="16"/>
                  </a:lnTo>
                  <a:lnTo>
                    <a:pt x="10" y="14"/>
                  </a:lnTo>
                  <a:lnTo>
                    <a:pt x="7" y="12"/>
                  </a:lnTo>
                  <a:lnTo>
                    <a:pt x="5" y="9"/>
                  </a:lnTo>
                  <a:lnTo>
                    <a:pt x="3" y="7"/>
                  </a:lnTo>
                  <a:lnTo>
                    <a:pt x="3" y="7"/>
                  </a:lnTo>
                  <a:lnTo>
                    <a:pt x="3" y="5"/>
                  </a:lnTo>
                  <a:lnTo>
                    <a:pt x="3" y="2"/>
                  </a:lnTo>
                  <a:lnTo>
                    <a:pt x="5" y="2"/>
                  </a:lnTo>
                  <a:lnTo>
                    <a:pt x="5" y="0"/>
                  </a:lnTo>
                  <a:lnTo>
                    <a:pt x="0" y="0"/>
                  </a:lnTo>
                  <a:lnTo>
                    <a:pt x="0" y="0"/>
                  </a:lnTo>
                  <a:lnTo>
                    <a:pt x="0" y="0"/>
                  </a:lnTo>
                  <a:lnTo>
                    <a:pt x="0" y="0"/>
                  </a:lnTo>
                  <a:lnTo>
                    <a:pt x="12" y="2"/>
                  </a:lnTo>
                  <a:lnTo>
                    <a:pt x="12" y="2"/>
                  </a:lnTo>
                  <a:lnTo>
                    <a:pt x="14" y="2"/>
                  </a:lnTo>
                  <a:lnTo>
                    <a:pt x="14" y="2"/>
                  </a:lnTo>
                  <a:lnTo>
                    <a:pt x="19" y="2"/>
                  </a:lnTo>
                  <a:lnTo>
                    <a:pt x="19" y="2"/>
                  </a:lnTo>
                  <a:lnTo>
                    <a:pt x="19" y="2"/>
                  </a:lnTo>
                  <a:lnTo>
                    <a:pt x="19" y="5"/>
                  </a:lnTo>
                  <a:lnTo>
                    <a:pt x="17" y="7"/>
                  </a:lnTo>
                  <a:lnTo>
                    <a:pt x="17" y="12"/>
                  </a:lnTo>
                  <a:lnTo>
                    <a:pt x="17" y="14"/>
                  </a:lnTo>
                  <a:lnTo>
                    <a:pt x="19" y="14"/>
                  </a:lnTo>
                  <a:lnTo>
                    <a:pt x="21" y="16"/>
                  </a:lnTo>
                  <a:lnTo>
                    <a:pt x="21" y="16"/>
                  </a:lnTo>
                  <a:lnTo>
                    <a:pt x="24" y="16"/>
                  </a:lnTo>
                  <a:lnTo>
                    <a:pt x="29" y="21"/>
                  </a:lnTo>
                  <a:lnTo>
                    <a:pt x="31" y="28"/>
                  </a:lnTo>
                  <a:lnTo>
                    <a:pt x="31" y="35"/>
                  </a:lnTo>
                  <a:lnTo>
                    <a:pt x="33" y="38"/>
                  </a:lnTo>
                  <a:lnTo>
                    <a:pt x="33" y="40"/>
                  </a:lnTo>
                  <a:lnTo>
                    <a:pt x="33" y="42"/>
                  </a:lnTo>
                  <a:lnTo>
                    <a:pt x="36" y="45"/>
                  </a:lnTo>
                  <a:lnTo>
                    <a:pt x="36" y="52"/>
                  </a:lnTo>
                  <a:lnTo>
                    <a:pt x="36" y="68"/>
                  </a:lnTo>
                  <a:lnTo>
                    <a:pt x="33" y="75"/>
                  </a:lnTo>
                  <a:lnTo>
                    <a:pt x="33" y="78"/>
                  </a:lnTo>
                  <a:lnTo>
                    <a:pt x="36" y="83"/>
                  </a:lnTo>
                  <a:lnTo>
                    <a:pt x="36" y="85"/>
                  </a:lnTo>
                  <a:lnTo>
                    <a:pt x="36" y="85"/>
                  </a:lnTo>
                  <a:lnTo>
                    <a:pt x="38" y="85"/>
                  </a:lnTo>
                  <a:lnTo>
                    <a:pt x="31" y="87"/>
                  </a:lnTo>
                  <a:lnTo>
                    <a:pt x="26" y="9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6" name="Freeform 647">
              <a:extLst>
                <a:ext uri="{FF2B5EF4-FFF2-40B4-BE49-F238E27FC236}">
                  <a16:creationId xmlns:a16="http://schemas.microsoft.com/office/drawing/2014/main" id="{F55E6F9C-F3C3-4969-B2AD-19683ADA743E}"/>
                </a:ext>
              </a:extLst>
            </p:cNvPr>
            <p:cNvSpPr>
              <a:spLocks/>
            </p:cNvSpPr>
            <p:nvPr/>
          </p:nvSpPr>
          <p:spPr bwMode="auto">
            <a:xfrm>
              <a:off x="1270842" y="4222717"/>
              <a:ext cx="60325" cy="142876"/>
            </a:xfrm>
            <a:custGeom>
              <a:avLst/>
              <a:gdLst>
                <a:gd name="T0" fmla="*/ 26 w 38"/>
                <a:gd name="T1" fmla="*/ 90 h 90"/>
                <a:gd name="T2" fmla="*/ 24 w 38"/>
                <a:gd name="T3" fmla="*/ 87 h 90"/>
                <a:gd name="T4" fmla="*/ 19 w 38"/>
                <a:gd name="T5" fmla="*/ 83 h 90"/>
                <a:gd name="T6" fmla="*/ 17 w 38"/>
                <a:gd name="T7" fmla="*/ 80 h 90"/>
                <a:gd name="T8" fmla="*/ 17 w 38"/>
                <a:gd name="T9" fmla="*/ 75 h 90"/>
                <a:gd name="T10" fmla="*/ 14 w 38"/>
                <a:gd name="T11" fmla="*/ 73 h 90"/>
                <a:gd name="T12" fmla="*/ 14 w 38"/>
                <a:gd name="T13" fmla="*/ 66 h 90"/>
                <a:gd name="T14" fmla="*/ 17 w 38"/>
                <a:gd name="T15" fmla="*/ 59 h 90"/>
                <a:gd name="T16" fmla="*/ 14 w 38"/>
                <a:gd name="T17" fmla="*/ 47 h 90"/>
                <a:gd name="T18" fmla="*/ 14 w 38"/>
                <a:gd name="T19" fmla="*/ 35 h 90"/>
                <a:gd name="T20" fmla="*/ 14 w 38"/>
                <a:gd name="T21" fmla="*/ 31 h 90"/>
                <a:gd name="T22" fmla="*/ 12 w 38"/>
                <a:gd name="T23" fmla="*/ 31 h 90"/>
                <a:gd name="T24" fmla="*/ 12 w 38"/>
                <a:gd name="T25" fmla="*/ 28 h 90"/>
                <a:gd name="T26" fmla="*/ 12 w 38"/>
                <a:gd name="T27" fmla="*/ 21 h 90"/>
                <a:gd name="T28" fmla="*/ 10 w 38"/>
                <a:gd name="T29" fmla="*/ 16 h 90"/>
                <a:gd name="T30" fmla="*/ 10 w 38"/>
                <a:gd name="T31" fmla="*/ 14 h 90"/>
                <a:gd name="T32" fmla="*/ 7 w 38"/>
                <a:gd name="T33" fmla="*/ 12 h 90"/>
                <a:gd name="T34" fmla="*/ 5 w 38"/>
                <a:gd name="T35" fmla="*/ 9 h 90"/>
                <a:gd name="T36" fmla="*/ 3 w 38"/>
                <a:gd name="T37" fmla="*/ 7 h 90"/>
                <a:gd name="T38" fmla="*/ 3 w 38"/>
                <a:gd name="T39" fmla="*/ 7 h 90"/>
                <a:gd name="T40" fmla="*/ 3 w 38"/>
                <a:gd name="T41" fmla="*/ 5 h 90"/>
                <a:gd name="T42" fmla="*/ 3 w 38"/>
                <a:gd name="T43" fmla="*/ 2 h 90"/>
                <a:gd name="T44" fmla="*/ 5 w 38"/>
                <a:gd name="T45" fmla="*/ 2 h 90"/>
                <a:gd name="T46" fmla="*/ 5 w 38"/>
                <a:gd name="T47" fmla="*/ 0 h 90"/>
                <a:gd name="T48" fmla="*/ 0 w 38"/>
                <a:gd name="T49" fmla="*/ 0 h 90"/>
                <a:gd name="T50" fmla="*/ 0 w 38"/>
                <a:gd name="T51" fmla="*/ 0 h 90"/>
                <a:gd name="T52" fmla="*/ 0 w 38"/>
                <a:gd name="T53" fmla="*/ 0 h 90"/>
                <a:gd name="T54" fmla="*/ 0 w 38"/>
                <a:gd name="T55" fmla="*/ 0 h 90"/>
                <a:gd name="T56" fmla="*/ 12 w 38"/>
                <a:gd name="T57" fmla="*/ 2 h 90"/>
                <a:gd name="T58" fmla="*/ 12 w 38"/>
                <a:gd name="T59" fmla="*/ 2 h 90"/>
                <a:gd name="T60" fmla="*/ 14 w 38"/>
                <a:gd name="T61" fmla="*/ 2 h 90"/>
                <a:gd name="T62" fmla="*/ 14 w 38"/>
                <a:gd name="T63" fmla="*/ 2 h 90"/>
                <a:gd name="T64" fmla="*/ 19 w 38"/>
                <a:gd name="T65" fmla="*/ 2 h 90"/>
                <a:gd name="T66" fmla="*/ 19 w 38"/>
                <a:gd name="T67" fmla="*/ 2 h 90"/>
                <a:gd name="T68" fmla="*/ 19 w 38"/>
                <a:gd name="T69" fmla="*/ 2 h 90"/>
                <a:gd name="T70" fmla="*/ 19 w 38"/>
                <a:gd name="T71" fmla="*/ 5 h 90"/>
                <a:gd name="T72" fmla="*/ 17 w 38"/>
                <a:gd name="T73" fmla="*/ 7 h 90"/>
                <a:gd name="T74" fmla="*/ 17 w 38"/>
                <a:gd name="T75" fmla="*/ 12 h 90"/>
                <a:gd name="T76" fmla="*/ 17 w 38"/>
                <a:gd name="T77" fmla="*/ 14 h 90"/>
                <a:gd name="T78" fmla="*/ 19 w 38"/>
                <a:gd name="T79" fmla="*/ 14 h 90"/>
                <a:gd name="T80" fmla="*/ 21 w 38"/>
                <a:gd name="T81" fmla="*/ 16 h 90"/>
                <a:gd name="T82" fmla="*/ 21 w 38"/>
                <a:gd name="T83" fmla="*/ 16 h 90"/>
                <a:gd name="T84" fmla="*/ 24 w 38"/>
                <a:gd name="T85" fmla="*/ 16 h 90"/>
                <a:gd name="T86" fmla="*/ 29 w 38"/>
                <a:gd name="T87" fmla="*/ 21 h 90"/>
                <a:gd name="T88" fmla="*/ 31 w 38"/>
                <a:gd name="T89" fmla="*/ 28 h 90"/>
                <a:gd name="T90" fmla="*/ 31 w 38"/>
                <a:gd name="T91" fmla="*/ 35 h 90"/>
                <a:gd name="T92" fmla="*/ 33 w 38"/>
                <a:gd name="T93" fmla="*/ 38 h 90"/>
                <a:gd name="T94" fmla="*/ 33 w 38"/>
                <a:gd name="T95" fmla="*/ 40 h 90"/>
                <a:gd name="T96" fmla="*/ 33 w 38"/>
                <a:gd name="T97" fmla="*/ 42 h 90"/>
                <a:gd name="T98" fmla="*/ 36 w 38"/>
                <a:gd name="T99" fmla="*/ 45 h 90"/>
                <a:gd name="T100" fmla="*/ 36 w 38"/>
                <a:gd name="T101" fmla="*/ 52 h 90"/>
                <a:gd name="T102" fmla="*/ 36 w 38"/>
                <a:gd name="T103" fmla="*/ 68 h 90"/>
                <a:gd name="T104" fmla="*/ 33 w 38"/>
                <a:gd name="T105" fmla="*/ 75 h 90"/>
                <a:gd name="T106" fmla="*/ 33 w 38"/>
                <a:gd name="T107" fmla="*/ 78 h 90"/>
                <a:gd name="T108" fmla="*/ 36 w 38"/>
                <a:gd name="T109" fmla="*/ 83 h 90"/>
                <a:gd name="T110" fmla="*/ 36 w 38"/>
                <a:gd name="T111" fmla="*/ 85 h 90"/>
                <a:gd name="T112" fmla="*/ 36 w 38"/>
                <a:gd name="T113" fmla="*/ 85 h 90"/>
                <a:gd name="T114" fmla="*/ 38 w 38"/>
                <a:gd name="T115" fmla="*/ 85 h 90"/>
                <a:gd name="T116" fmla="*/ 31 w 38"/>
                <a:gd name="T117" fmla="*/ 87 h 90"/>
                <a:gd name="T118" fmla="*/ 26 w 38"/>
                <a:gd name="T1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90">
                  <a:moveTo>
                    <a:pt x="26" y="90"/>
                  </a:moveTo>
                  <a:lnTo>
                    <a:pt x="24" y="87"/>
                  </a:lnTo>
                  <a:lnTo>
                    <a:pt x="19" y="83"/>
                  </a:lnTo>
                  <a:lnTo>
                    <a:pt x="17" y="80"/>
                  </a:lnTo>
                  <a:lnTo>
                    <a:pt x="17" y="75"/>
                  </a:lnTo>
                  <a:lnTo>
                    <a:pt x="14" y="73"/>
                  </a:lnTo>
                  <a:lnTo>
                    <a:pt x="14" y="66"/>
                  </a:lnTo>
                  <a:lnTo>
                    <a:pt x="17" y="59"/>
                  </a:lnTo>
                  <a:lnTo>
                    <a:pt x="14" y="47"/>
                  </a:lnTo>
                  <a:lnTo>
                    <a:pt x="14" y="35"/>
                  </a:lnTo>
                  <a:lnTo>
                    <a:pt x="14" y="31"/>
                  </a:lnTo>
                  <a:lnTo>
                    <a:pt x="12" y="31"/>
                  </a:lnTo>
                  <a:lnTo>
                    <a:pt x="12" y="28"/>
                  </a:lnTo>
                  <a:lnTo>
                    <a:pt x="12" y="21"/>
                  </a:lnTo>
                  <a:lnTo>
                    <a:pt x="10" y="16"/>
                  </a:lnTo>
                  <a:lnTo>
                    <a:pt x="10" y="14"/>
                  </a:lnTo>
                  <a:lnTo>
                    <a:pt x="7" y="12"/>
                  </a:lnTo>
                  <a:lnTo>
                    <a:pt x="5" y="9"/>
                  </a:lnTo>
                  <a:lnTo>
                    <a:pt x="3" y="7"/>
                  </a:lnTo>
                  <a:lnTo>
                    <a:pt x="3" y="7"/>
                  </a:lnTo>
                  <a:lnTo>
                    <a:pt x="3" y="5"/>
                  </a:lnTo>
                  <a:lnTo>
                    <a:pt x="3" y="2"/>
                  </a:lnTo>
                  <a:lnTo>
                    <a:pt x="5" y="2"/>
                  </a:lnTo>
                  <a:lnTo>
                    <a:pt x="5" y="0"/>
                  </a:lnTo>
                  <a:lnTo>
                    <a:pt x="0" y="0"/>
                  </a:lnTo>
                  <a:lnTo>
                    <a:pt x="0" y="0"/>
                  </a:lnTo>
                  <a:lnTo>
                    <a:pt x="0" y="0"/>
                  </a:lnTo>
                  <a:lnTo>
                    <a:pt x="0" y="0"/>
                  </a:lnTo>
                  <a:lnTo>
                    <a:pt x="12" y="2"/>
                  </a:lnTo>
                  <a:lnTo>
                    <a:pt x="12" y="2"/>
                  </a:lnTo>
                  <a:lnTo>
                    <a:pt x="14" y="2"/>
                  </a:lnTo>
                  <a:lnTo>
                    <a:pt x="14" y="2"/>
                  </a:lnTo>
                  <a:lnTo>
                    <a:pt x="19" y="2"/>
                  </a:lnTo>
                  <a:lnTo>
                    <a:pt x="19" y="2"/>
                  </a:lnTo>
                  <a:lnTo>
                    <a:pt x="19" y="2"/>
                  </a:lnTo>
                  <a:lnTo>
                    <a:pt x="19" y="5"/>
                  </a:lnTo>
                  <a:lnTo>
                    <a:pt x="17" y="7"/>
                  </a:lnTo>
                  <a:lnTo>
                    <a:pt x="17" y="12"/>
                  </a:lnTo>
                  <a:lnTo>
                    <a:pt x="17" y="14"/>
                  </a:lnTo>
                  <a:lnTo>
                    <a:pt x="19" y="14"/>
                  </a:lnTo>
                  <a:lnTo>
                    <a:pt x="21" y="16"/>
                  </a:lnTo>
                  <a:lnTo>
                    <a:pt x="21" y="16"/>
                  </a:lnTo>
                  <a:lnTo>
                    <a:pt x="24" y="16"/>
                  </a:lnTo>
                  <a:lnTo>
                    <a:pt x="29" y="21"/>
                  </a:lnTo>
                  <a:lnTo>
                    <a:pt x="31" y="28"/>
                  </a:lnTo>
                  <a:lnTo>
                    <a:pt x="31" y="35"/>
                  </a:lnTo>
                  <a:lnTo>
                    <a:pt x="33" y="38"/>
                  </a:lnTo>
                  <a:lnTo>
                    <a:pt x="33" y="40"/>
                  </a:lnTo>
                  <a:lnTo>
                    <a:pt x="33" y="42"/>
                  </a:lnTo>
                  <a:lnTo>
                    <a:pt x="36" y="45"/>
                  </a:lnTo>
                  <a:lnTo>
                    <a:pt x="36" y="52"/>
                  </a:lnTo>
                  <a:lnTo>
                    <a:pt x="36" y="68"/>
                  </a:lnTo>
                  <a:lnTo>
                    <a:pt x="33" y="75"/>
                  </a:lnTo>
                  <a:lnTo>
                    <a:pt x="33" y="78"/>
                  </a:lnTo>
                  <a:lnTo>
                    <a:pt x="36" y="83"/>
                  </a:lnTo>
                  <a:lnTo>
                    <a:pt x="36" y="85"/>
                  </a:lnTo>
                  <a:lnTo>
                    <a:pt x="36" y="85"/>
                  </a:lnTo>
                  <a:lnTo>
                    <a:pt x="38" y="85"/>
                  </a:lnTo>
                  <a:lnTo>
                    <a:pt x="31" y="87"/>
                  </a:lnTo>
                  <a:lnTo>
                    <a:pt x="26" y="90"/>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7" name="Freeform 648">
              <a:extLst>
                <a:ext uri="{FF2B5EF4-FFF2-40B4-BE49-F238E27FC236}">
                  <a16:creationId xmlns:a16="http://schemas.microsoft.com/office/drawing/2014/main" id="{DC4AC65B-EA6D-44CC-905A-9EDD80CAD9F2}"/>
                </a:ext>
              </a:extLst>
            </p:cNvPr>
            <p:cNvSpPr>
              <a:spLocks/>
            </p:cNvSpPr>
            <p:nvPr/>
          </p:nvSpPr>
          <p:spPr bwMode="auto">
            <a:xfrm>
              <a:off x="2415426" y="4200492"/>
              <a:ext cx="280987" cy="374650"/>
            </a:xfrm>
            <a:custGeom>
              <a:avLst/>
              <a:gdLst>
                <a:gd name="T0" fmla="*/ 0 w 177"/>
                <a:gd name="T1" fmla="*/ 226 h 236"/>
                <a:gd name="T2" fmla="*/ 0 w 177"/>
                <a:gd name="T3" fmla="*/ 193 h 236"/>
                <a:gd name="T4" fmla="*/ 0 w 177"/>
                <a:gd name="T5" fmla="*/ 158 h 236"/>
                <a:gd name="T6" fmla="*/ 14 w 177"/>
                <a:gd name="T7" fmla="*/ 139 h 236"/>
                <a:gd name="T8" fmla="*/ 30 w 177"/>
                <a:gd name="T9" fmla="*/ 132 h 236"/>
                <a:gd name="T10" fmla="*/ 47 w 177"/>
                <a:gd name="T11" fmla="*/ 123 h 236"/>
                <a:gd name="T12" fmla="*/ 94 w 177"/>
                <a:gd name="T13" fmla="*/ 94 h 236"/>
                <a:gd name="T14" fmla="*/ 120 w 177"/>
                <a:gd name="T15" fmla="*/ 68 h 236"/>
                <a:gd name="T16" fmla="*/ 52 w 177"/>
                <a:gd name="T17" fmla="*/ 49 h 236"/>
                <a:gd name="T18" fmla="*/ 40 w 177"/>
                <a:gd name="T19" fmla="*/ 40 h 236"/>
                <a:gd name="T20" fmla="*/ 37 w 177"/>
                <a:gd name="T21" fmla="*/ 35 h 236"/>
                <a:gd name="T22" fmla="*/ 30 w 177"/>
                <a:gd name="T23" fmla="*/ 28 h 236"/>
                <a:gd name="T24" fmla="*/ 30 w 177"/>
                <a:gd name="T25" fmla="*/ 19 h 236"/>
                <a:gd name="T26" fmla="*/ 37 w 177"/>
                <a:gd name="T27" fmla="*/ 9 h 236"/>
                <a:gd name="T28" fmla="*/ 40 w 177"/>
                <a:gd name="T29" fmla="*/ 9 h 236"/>
                <a:gd name="T30" fmla="*/ 47 w 177"/>
                <a:gd name="T31" fmla="*/ 19 h 236"/>
                <a:gd name="T32" fmla="*/ 59 w 177"/>
                <a:gd name="T33" fmla="*/ 28 h 236"/>
                <a:gd name="T34" fmla="*/ 68 w 177"/>
                <a:gd name="T35" fmla="*/ 26 h 236"/>
                <a:gd name="T36" fmla="*/ 78 w 177"/>
                <a:gd name="T37" fmla="*/ 21 h 236"/>
                <a:gd name="T38" fmla="*/ 80 w 177"/>
                <a:gd name="T39" fmla="*/ 19 h 236"/>
                <a:gd name="T40" fmla="*/ 85 w 177"/>
                <a:gd name="T41" fmla="*/ 21 h 236"/>
                <a:gd name="T42" fmla="*/ 92 w 177"/>
                <a:gd name="T43" fmla="*/ 21 h 236"/>
                <a:gd name="T44" fmla="*/ 99 w 177"/>
                <a:gd name="T45" fmla="*/ 21 h 236"/>
                <a:gd name="T46" fmla="*/ 106 w 177"/>
                <a:gd name="T47" fmla="*/ 16 h 236"/>
                <a:gd name="T48" fmla="*/ 115 w 177"/>
                <a:gd name="T49" fmla="*/ 16 h 236"/>
                <a:gd name="T50" fmla="*/ 123 w 177"/>
                <a:gd name="T51" fmla="*/ 14 h 236"/>
                <a:gd name="T52" fmla="*/ 132 w 177"/>
                <a:gd name="T53" fmla="*/ 11 h 236"/>
                <a:gd name="T54" fmla="*/ 141 w 177"/>
                <a:gd name="T55" fmla="*/ 9 h 236"/>
                <a:gd name="T56" fmla="*/ 148 w 177"/>
                <a:gd name="T57" fmla="*/ 9 h 236"/>
                <a:gd name="T58" fmla="*/ 158 w 177"/>
                <a:gd name="T59" fmla="*/ 7 h 236"/>
                <a:gd name="T60" fmla="*/ 165 w 177"/>
                <a:gd name="T61" fmla="*/ 0 h 236"/>
                <a:gd name="T62" fmla="*/ 174 w 177"/>
                <a:gd name="T63" fmla="*/ 2 h 236"/>
                <a:gd name="T64" fmla="*/ 174 w 177"/>
                <a:gd name="T65" fmla="*/ 7 h 236"/>
                <a:gd name="T66" fmla="*/ 172 w 177"/>
                <a:gd name="T67" fmla="*/ 14 h 236"/>
                <a:gd name="T68" fmla="*/ 174 w 177"/>
                <a:gd name="T69" fmla="*/ 19 h 236"/>
                <a:gd name="T70" fmla="*/ 174 w 177"/>
                <a:gd name="T71" fmla="*/ 26 h 236"/>
                <a:gd name="T72" fmla="*/ 174 w 177"/>
                <a:gd name="T73" fmla="*/ 28 h 236"/>
                <a:gd name="T74" fmla="*/ 174 w 177"/>
                <a:gd name="T75" fmla="*/ 28 h 236"/>
                <a:gd name="T76" fmla="*/ 177 w 177"/>
                <a:gd name="T77" fmla="*/ 30 h 236"/>
                <a:gd name="T78" fmla="*/ 172 w 177"/>
                <a:gd name="T79" fmla="*/ 28 h 236"/>
                <a:gd name="T80" fmla="*/ 170 w 177"/>
                <a:gd name="T81" fmla="*/ 33 h 236"/>
                <a:gd name="T82" fmla="*/ 167 w 177"/>
                <a:gd name="T83" fmla="*/ 47 h 236"/>
                <a:gd name="T84" fmla="*/ 163 w 177"/>
                <a:gd name="T85" fmla="*/ 54 h 236"/>
                <a:gd name="T86" fmla="*/ 156 w 177"/>
                <a:gd name="T87" fmla="*/ 66 h 236"/>
                <a:gd name="T88" fmla="*/ 153 w 177"/>
                <a:gd name="T89" fmla="*/ 68 h 236"/>
                <a:gd name="T90" fmla="*/ 151 w 177"/>
                <a:gd name="T91" fmla="*/ 75 h 236"/>
                <a:gd name="T92" fmla="*/ 139 w 177"/>
                <a:gd name="T93" fmla="*/ 97 h 236"/>
                <a:gd name="T94" fmla="*/ 132 w 177"/>
                <a:gd name="T95" fmla="*/ 113 h 236"/>
                <a:gd name="T96" fmla="*/ 130 w 177"/>
                <a:gd name="T97" fmla="*/ 115 h 236"/>
                <a:gd name="T98" fmla="*/ 123 w 177"/>
                <a:gd name="T99" fmla="*/ 125 h 236"/>
                <a:gd name="T100" fmla="*/ 120 w 177"/>
                <a:gd name="T101" fmla="*/ 130 h 236"/>
                <a:gd name="T102" fmla="*/ 113 w 177"/>
                <a:gd name="T103" fmla="*/ 139 h 236"/>
                <a:gd name="T104" fmla="*/ 106 w 177"/>
                <a:gd name="T105" fmla="*/ 148 h 236"/>
                <a:gd name="T106" fmla="*/ 94 w 177"/>
                <a:gd name="T107" fmla="*/ 158 h 236"/>
                <a:gd name="T108" fmla="*/ 87 w 177"/>
                <a:gd name="T109" fmla="*/ 167 h 236"/>
                <a:gd name="T110" fmla="*/ 75 w 177"/>
                <a:gd name="T111" fmla="*/ 174 h 236"/>
                <a:gd name="T112" fmla="*/ 68 w 177"/>
                <a:gd name="T113" fmla="*/ 177 h 236"/>
                <a:gd name="T114" fmla="*/ 37 w 177"/>
                <a:gd name="T115" fmla="*/ 203 h 236"/>
                <a:gd name="T116" fmla="*/ 28 w 177"/>
                <a:gd name="T117" fmla="*/ 212 h 236"/>
                <a:gd name="T118" fmla="*/ 26 w 177"/>
                <a:gd name="T119" fmla="*/ 212 h 236"/>
                <a:gd name="T120" fmla="*/ 26 w 177"/>
                <a:gd name="T121" fmla="*/ 215 h 236"/>
                <a:gd name="T122" fmla="*/ 19 w 177"/>
                <a:gd name="T123" fmla="*/ 224 h 236"/>
                <a:gd name="T124" fmla="*/ 9 w 177"/>
                <a:gd name="T1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7" h="236">
                  <a:moveTo>
                    <a:pt x="9" y="236"/>
                  </a:moveTo>
                  <a:lnTo>
                    <a:pt x="9" y="236"/>
                  </a:lnTo>
                  <a:lnTo>
                    <a:pt x="0" y="226"/>
                  </a:lnTo>
                  <a:lnTo>
                    <a:pt x="0" y="224"/>
                  </a:lnTo>
                  <a:lnTo>
                    <a:pt x="0" y="210"/>
                  </a:lnTo>
                  <a:lnTo>
                    <a:pt x="0" y="193"/>
                  </a:lnTo>
                  <a:lnTo>
                    <a:pt x="0" y="177"/>
                  </a:lnTo>
                  <a:lnTo>
                    <a:pt x="0" y="160"/>
                  </a:lnTo>
                  <a:lnTo>
                    <a:pt x="0" y="158"/>
                  </a:lnTo>
                  <a:lnTo>
                    <a:pt x="7" y="151"/>
                  </a:lnTo>
                  <a:lnTo>
                    <a:pt x="14" y="141"/>
                  </a:lnTo>
                  <a:lnTo>
                    <a:pt x="14" y="139"/>
                  </a:lnTo>
                  <a:lnTo>
                    <a:pt x="14" y="139"/>
                  </a:lnTo>
                  <a:lnTo>
                    <a:pt x="19" y="137"/>
                  </a:lnTo>
                  <a:lnTo>
                    <a:pt x="30" y="132"/>
                  </a:lnTo>
                  <a:lnTo>
                    <a:pt x="35" y="127"/>
                  </a:lnTo>
                  <a:lnTo>
                    <a:pt x="40" y="125"/>
                  </a:lnTo>
                  <a:lnTo>
                    <a:pt x="47" y="123"/>
                  </a:lnTo>
                  <a:lnTo>
                    <a:pt x="49" y="123"/>
                  </a:lnTo>
                  <a:lnTo>
                    <a:pt x="68" y="120"/>
                  </a:lnTo>
                  <a:lnTo>
                    <a:pt x="94" y="94"/>
                  </a:lnTo>
                  <a:lnTo>
                    <a:pt x="118" y="73"/>
                  </a:lnTo>
                  <a:lnTo>
                    <a:pt x="120" y="68"/>
                  </a:lnTo>
                  <a:lnTo>
                    <a:pt x="120" y="68"/>
                  </a:lnTo>
                  <a:lnTo>
                    <a:pt x="104" y="68"/>
                  </a:lnTo>
                  <a:lnTo>
                    <a:pt x="75" y="59"/>
                  </a:lnTo>
                  <a:lnTo>
                    <a:pt x="52" y="49"/>
                  </a:lnTo>
                  <a:lnTo>
                    <a:pt x="49" y="47"/>
                  </a:lnTo>
                  <a:lnTo>
                    <a:pt x="42" y="42"/>
                  </a:lnTo>
                  <a:lnTo>
                    <a:pt x="40" y="40"/>
                  </a:lnTo>
                  <a:lnTo>
                    <a:pt x="37" y="37"/>
                  </a:lnTo>
                  <a:lnTo>
                    <a:pt x="37" y="35"/>
                  </a:lnTo>
                  <a:lnTo>
                    <a:pt x="37" y="35"/>
                  </a:lnTo>
                  <a:lnTo>
                    <a:pt x="35" y="33"/>
                  </a:lnTo>
                  <a:lnTo>
                    <a:pt x="33" y="30"/>
                  </a:lnTo>
                  <a:lnTo>
                    <a:pt x="30" y="28"/>
                  </a:lnTo>
                  <a:lnTo>
                    <a:pt x="30" y="21"/>
                  </a:lnTo>
                  <a:lnTo>
                    <a:pt x="30" y="21"/>
                  </a:lnTo>
                  <a:lnTo>
                    <a:pt x="30" y="19"/>
                  </a:lnTo>
                  <a:lnTo>
                    <a:pt x="33" y="16"/>
                  </a:lnTo>
                  <a:lnTo>
                    <a:pt x="35" y="11"/>
                  </a:lnTo>
                  <a:lnTo>
                    <a:pt x="37" y="9"/>
                  </a:lnTo>
                  <a:lnTo>
                    <a:pt x="37" y="9"/>
                  </a:lnTo>
                  <a:lnTo>
                    <a:pt x="37" y="9"/>
                  </a:lnTo>
                  <a:lnTo>
                    <a:pt x="40" y="9"/>
                  </a:lnTo>
                  <a:lnTo>
                    <a:pt x="42" y="11"/>
                  </a:lnTo>
                  <a:lnTo>
                    <a:pt x="42" y="14"/>
                  </a:lnTo>
                  <a:lnTo>
                    <a:pt x="47" y="19"/>
                  </a:lnTo>
                  <a:lnTo>
                    <a:pt x="52" y="23"/>
                  </a:lnTo>
                  <a:lnTo>
                    <a:pt x="56" y="26"/>
                  </a:lnTo>
                  <a:lnTo>
                    <a:pt x="59" y="28"/>
                  </a:lnTo>
                  <a:lnTo>
                    <a:pt x="61" y="28"/>
                  </a:lnTo>
                  <a:lnTo>
                    <a:pt x="66" y="28"/>
                  </a:lnTo>
                  <a:lnTo>
                    <a:pt x="68" y="26"/>
                  </a:lnTo>
                  <a:lnTo>
                    <a:pt x="73" y="23"/>
                  </a:lnTo>
                  <a:lnTo>
                    <a:pt x="75" y="23"/>
                  </a:lnTo>
                  <a:lnTo>
                    <a:pt x="78" y="21"/>
                  </a:lnTo>
                  <a:lnTo>
                    <a:pt x="80" y="21"/>
                  </a:lnTo>
                  <a:lnTo>
                    <a:pt x="80" y="19"/>
                  </a:lnTo>
                  <a:lnTo>
                    <a:pt x="80" y="19"/>
                  </a:lnTo>
                  <a:lnTo>
                    <a:pt x="82" y="19"/>
                  </a:lnTo>
                  <a:lnTo>
                    <a:pt x="82" y="21"/>
                  </a:lnTo>
                  <a:lnTo>
                    <a:pt x="85" y="21"/>
                  </a:lnTo>
                  <a:lnTo>
                    <a:pt x="85" y="21"/>
                  </a:lnTo>
                  <a:lnTo>
                    <a:pt x="89" y="21"/>
                  </a:lnTo>
                  <a:lnTo>
                    <a:pt x="92" y="21"/>
                  </a:lnTo>
                  <a:lnTo>
                    <a:pt x="94" y="21"/>
                  </a:lnTo>
                  <a:lnTo>
                    <a:pt x="97" y="21"/>
                  </a:lnTo>
                  <a:lnTo>
                    <a:pt x="99" y="21"/>
                  </a:lnTo>
                  <a:lnTo>
                    <a:pt x="101" y="19"/>
                  </a:lnTo>
                  <a:lnTo>
                    <a:pt x="104" y="19"/>
                  </a:lnTo>
                  <a:lnTo>
                    <a:pt x="106" y="16"/>
                  </a:lnTo>
                  <a:lnTo>
                    <a:pt x="108" y="14"/>
                  </a:lnTo>
                  <a:lnTo>
                    <a:pt x="111" y="14"/>
                  </a:lnTo>
                  <a:lnTo>
                    <a:pt x="115" y="16"/>
                  </a:lnTo>
                  <a:lnTo>
                    <a:pt x="118" y="16"/>
                  </a:lnTo>
                  <a:lnTo>
                    <a:pt x="120" y="14"/>
                  </a:lnTo>
                  <a:lnTo>
                    <a:pt x="123" y="14"/>
                  </a:lnTo>
                  <a:lnTo>
                    <a:pt x="125" y="14"/>
                  </a:lnTo>
                  <a:lnTo>
                    <a:pt x="130" y="11"/>
                  </a:lnTo>
                  <a:lnTo>
                    <a:pt x="132" y="11"/>
                  </a:lnTo>
                  <a:lnTo>
                    <a:pt x="134" y="11"/>
                  </a:lnTo>
                  <a:lnTo>
                    <a:pt x="141" y="9"/>
                  </a:lnTo>
                  <a:lnTo>
                    <a:pt x="141" y="9"/>
                  </a:lnTo>
                  <a:lnTo>
                    <a:pt x="144" y="9"/>
                  </a:lnTo>
                  <a:lnTo>
                    <a:pt x="146" y="9"/>
                  </a:lnTo>
                  <a:lnTo>
                    <a:pt x="148" y="9"/>
                  </a:lnTo>
                  <a:lnTo>
                    <a:pt x="151" y="9"/>
                  </a:lnTo>
                  <a:lnTo>
                    <a:pt x="156" y="7"/>
                  </a:lnTo>
                  <a:lnTo>
                    <a:pt x="158" y="7"/>
                  </a:lnTo>
                  <a:lnTo>
                    <a:pt x="163" y="4"/>
                  </a:lnTo>
                  <a:lnTo>
                    <a:pt x="163" y="2"/>
                  </a:lnTo>
                  <a:lnTo>
                    <a:pt x="165" y="0"/>
                  </a:lnTo>
                  <a:lnTo>
                    <a:pt x="170" y="0"/>
                  </a:lnTo>
                  <a:lnTo>
                    <a:pt x="172" y="2"/>
                  </a:lnTo>
                  <a:lnTo>
                    <a:pt x="174" y="2"/>
                  </a:lnTo>
                  <a:lnTo>
                    <a:pt x="174" y="2"/>
                  </a:lnTo>
                  <a:lnTo>
                    <a:pt x="174" y="4"/>
                  </a:lnTo>
                  <a:lnTo>
                    <a:pt x="174" y="7"/>
                  </a:lnTo>
                  <a:lnTo>
                    <a:pt x="172" y="9"/>
                  </a:lnTo>
                  <a:lnTo>
                    <a:pt x="172" y="11"/>
                  </a:lnTo>
                  <a:lnTo>
                    <a:pt x="172" y="14"/>
                  </a:lnTo>
                  <a:lnTo>
                    <a:pt x="174" y="16"/>
                  </a:lnTo>
                  <a:lnTo>
                    <a:pt x="174" y="16"/>
                  </a:lnTo>
                  <a:lnTo>
                    <a:pt x="174" y="19"/>
                  </a:lnTo>
                  <a:lnTo>
                    <a:pt x="174" y="21"/>
                  </a:lnTo>
                  <a:lnTo>
                    <a:pt x="174" y="26"/>
                  </a:lnTo>
                  <a:lnTo>
                    <a:pt x="174" y="26"/>
                  </a:lnTo>
                  <a:lnTo>
                    <a:pt x="172" y="28"/>
                  </a:lnTo>
                  <a:lnTo>
                    <a:pt x="172" y="28"/>
                  </a:lnTo>
                  <a:lnTo>
                    <a:pt x="174" y="28"/>
                  </a:lnTo>
                  <a:lnTo>
                    <a:pt x="174" y="28"/>
                  </a:lnTo>
                  <a:lnTo>
                    <a:pt x="174" y="26"/>
                  </a:lnTo>
                  <a:lnTo>
                    <a:pt x="174" y="28"/>
                  </a:lnTo>
                  <a:lnTo>
                    <a:pt x="177" y="28"/>
                  </a:lnTo>
                  <a:lnTo>
                    <a:pt x="177" y="28"/>
                  </a:lnTo>
                  <a:lnTo>
                    <a:pt x="177" y="30"/>
                  </a:lnTo>
                  <a:lnTo>
                    <a:pt x="177" y="30"/>
                  </a:lnTo>
                  <a:lnTo>
                    <a:pt x="174" y="28"/>
                  </a:lnTo>
                  <a:lnTo>
                    <a:pt x="172" y="28"/>
                  </a:lnTo>
                  <a:lnTo>
                    <a:pt x="170" y="30"/>
                  </a:lnTo>
                  <a:lnTo>
                    <a:pt x="170" y="30"/>
                  </a:lnTo>
                  <a:lnTo>
                    <a:pt x="170" y="33"/>
                  </a:lnTo>
                  <a:lnTo>
                    <a:pt x="167" y="40"/>
                  </a:lnTo>
                  <a:lnTo>
                    <a:pt x="167" y="45"/>
                  </a:lnTo>
                  <a:lnTo>
                    <a:pt x="167" y="47"/>
                  </a:lnTo>
                  <a:lnTo>
                    <a:pt x="167" y="49"/>
                  </a:lnTo>
                  <a:lnTo>
                    <a:pt x="165" y="52"/>
                  </a:lnTo>
                  <a:lnTo>
                    <a:pt x="163" y="54"/>
                  </a:lnTo>
                  <a:lnTo>
                    <a:pt x="160" y="59"/>
                  </a:lnTo>
                  <a:lnTo>
                    <a:pt x="158" y="61"/>
                  </a:lnTo>
                  <a:lnTo>
                    <a:pt x="156" y="66"/>
                  </a:lnTo>
                  <a:lnTo>
                    <a:pt x="156" y="66"/>
                  </a:lnTo>
                  <a:lnTo>
                    <a:pt x="156" y="66"/>
                  </a:lnTo>
                  <a:lnTo>
                    <a:pt x="153" y="68"/>
                  </a:lnTo>
                  <a:lnTo>
                    <a:pt x="153" y="71"/>
                  </a:lnTo>
                  <a:lnTo>
                    <a:pt x="151" y="73"/>
                  </a:lnTo>
                  <a:lnTo>
                    <a:pt x="151" y="75"/>
                  </a:lnTo>
                  <a:lnTo>
                    <a:pt x="146" y="87"/>
                  </a:lnTo>
                  <a:lnTo>
                    <a:pt x="141" y="94"/>
                  </a:lnTo>
                  <a:lnTo>
                    <a:pt x="139" y="97"/>
                  </a:lnTo>
                  <a:lnTo>
                    <a:pt x="139" y="104"/>
                  </a:lnTo>
                  <a:lnTo>
                    <a:pt x="134" y="111"/>
                  </a:lnTo>
                  <a:lnTo>
                    <a:pt x="132" y="113"/>
                  </a:lnTo>
                  <a:lnTo>
                    <a:pt x="132" y="113"/>
                  </a:lnTo>
                  <a:lnTo>
                    <a:pt x="132" y="115"/>
                  </a:lnTo>
                  <a:lnTo>
                    <a:pt x="130" y="115"/>
                  </a:lnTo>
                  <a:lnTo>
                    <a:pt x="130" y="115"/>
                  </a:lnTo>
                  <a:lnTo>
                    <a:pt x="125" y="120"/>
                  </a:lnTo>
                  <a:lnTo>
                    <a:pt x="123" y="125"/>
                  </a:lnTo>
                  <a:lnTo>
                    <a:pt x="123" y="125"/>
                  </a:lnTo>
                  <a:lnTo>
                    <a:pt x="123" y="127"/>
                  </a:lnTo>
                  <a:lnTo>
                    <a:pt x="120" y="130"/>
                  </a:lnTo>
                  <a:lnTo>
                    <a:pt x="118" y="134"/>
                  </a:lnTo>
                  <a:lnTo>
                    <a:pt x="113" y="139"/>
                  </a:lnTo>
                  <a:lnTo>
                    <a:pt x="113" y="139"/>
                  </a:lnTo>
                  <a:lnTo>
                    <a:pt x="111" y="141"/>
                  </a:lnTo>
                  <a:lnTo>
                    <a:pt x="106" y="144"/>
                  </a:lnTo>
                  <a:lnTo>
                    <a:pt x="106" y="148"/>
                  </a:lnTo>
                  <a:lnTo>
                    <a:pt x="101" y="151"/>
                  </a:lnTo>
                  <a:lnTo>
                    <a:pt x="97" y="156"/>
                  </a:lnTo>
                  <a:lnTo>
                    <a:pt x="94" y="158"/>
                  </a:lnTo>
                  <a:lnTo>
                    <a:pt x="92" y="158"/>
                  </a:lnTo>
                  <a:lnTo>
                    <a:pt x="92" y="163"/>
                  </a:lnTo>
                  <a:lnTo>
                    <a:pt x="87" y="167"/>
                  </a:lnTo>
                  <a:lnTo>
                    <a:pt x="82" y="170"/>
                  </a:lnTo>
                  <a:lnTo>
                    <a:pt x="78" y="172"/>
                  </a:lnTo>
                  <a:lnTo>
                    <a:pt x="75" y="174"/>
                  </a:lnTo>
                  <a:lnTo>
                    <a:pt x="73" y="174"/>
                  </a:lnTo>
                  <a:lnTo>
                    <a:pt x="71" y="174"/>
                  </a:lnTo>
                  <a:lnTo>
                    <a:pt x="68" y="177"/>
                  </a:lnTo>
                  <a:lnTo>
                    <a:pt x="59" y="182"/>
                  </a:lnTo>
                  <a:lnTo>
                    <a:pt x="42" y="198"/>
                  </a:lnTo>
                  <a:lnTo>
                    <a:pt x="37" y="203"/>
                  </a:lnTo>
                  <a:lnTo>
                    <a:pt x="35" y="208"/>
                  </a:lnTo>
                  <a:lnTo>
                    <a:pt x="30" y="210"/>
                  </a:lnTo>
                  <a:lnTo>
                    <a:pt x="28" y="212"/>
                  </a:lnTo>
                  <a:lnTo>
                    <a:pt x="26" y="210"/>
                  </a:lnTo>
                  <a:lnTo>
                    <a:pt x="26" y="212"/>
                  </a:lnTo>
                  <a:lnTo>
                    <a:pt x="26" y="212"/>
                  </a:lnTo>
                  <a:lnTo>
                    <a:pt x="26" y="215"/>
                  </a:lnTo>
                  <a:lnTo>
                    <a:pt x="26" y="215"/>
                  </a:lnTo>
                  <a:lnTo>
                    <a:pt x="26" y="215"/>
                  </a:lnTo>
                  <a:lnTo>
                    <a:pt x="23" y="217"/>
                  </a:lnTo>
                  <a:lnTo>
                    <a:pt x="23" y="219"/>
                  </a:lnTo>
                  <a:lnTo>
                    <a:pt x="19" y="224"/>
                  </a:lnTo>
                  <a:lnTo>
                    <a:pt x="14" y="229"/>
                  </a:lnTo>
                  <a:lnTo>
                    <a:pt x="11" y="234"/>
                  </a:lnTo>
                  <a:lnTo>
                    <a:pt x="9" y="236"/>
                  </a:lnTo>
                  <a:lnTo>
                    <a:pt x="9" y="23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8" name="Freeform 649">
              <a:extLst>
                <a:ext uri="{FF2B5EF4-FFF2-40B4-BE49-F238E27FC236}">
                  <a16:creationId xmlns:a16="http://schemas.microsoft.com/office/drawing/2014/main" id="{7FDD1F40-B324-4114-8F6C-463D4D0DC09D}"/>
                </a:ext>
              </a:extLst>
            </p:cNvPr>
            <p:cNvSpPr>
              <a:spLocks/>
            </p:cNvSpPr>
            <p:nvPr/>
          </p:nvSpPr>
          <p:spPr bwMode="auto">
            <a:xfrm>
              <a:off x="2415426" y="4200492"/>
              <a:ext cx="280987" cy="374650"/>
            </a:xfrm>
            <a:custGeom>
              <a:avLst/>
              <a:gdLst>
                <a:gd name="T0" fmla="*/ 0 w 177"/>
                <a:gd name="T1" fmla="*/ 226 h 236"/>
                <a:gd name="T2" fmla="*/ 0 w 177"/>
                <a:gd name="T3" fmla="*/ 193 h 236"/>
                <a:gd name="T4" fmla="*/ 0 w 177"/>
                <a:gd name="T5" fmla="*/ 158 h 236"/>
                <a:gd name="T6" fmla="*/ 14 w 177"/>
                <a:gd name="T7" fmla="*/ 139 h 236"/>
                <a:gd name="T8" fmla="*/ 30 w 177"/>
                <a:gd name="T9" fmla="*/ 132 h 236"/>
                <a:gd name="T10" fmla="*/ 47 w 177"/>
                <a:gd name="T11" fmla="*/ 123 h 236"/>
                <a:gd name="T12" fmla="*/ 94 w 177"/>
                <a:gd name="T13" fmla="*/ 94 h 236"/>
                <a:gd name="T14" fmla="*/ 120 w 177"/>
                <a:gd name="T15" fmla="*/ 68 h 236"/>
                <a:gd name="T16" fmla="*/ 52 w 177"/>
                <a:gd name="T17" fmla="*/ 49 h 236"/>
                <a:gd name="T18" fmla="*/ 40 w 177"/>
                <a:gd name="T19" fmla="*/ 40 h 236"/>
                <a:gd name="T20" fmla="*/ 37 w 177"/>
                <a:gd name="T21" fmla="*/ 35 h 236"/>
                <a:gd name="T22" fmla="*/ 30 w 177"/>
                <a:gd name="T23" fmla="*/ 28 h 236"/>
                <a:gd name="T24" fmla="*/ 30 w 177"/>
                <a:gd name="T25" fmla="*/ 19 h 236"/>
                <a:gd name="T26" fmla="*/ 37 w 177"/>
                <a:gd name="T27" fmla="*/ 9 h 236"/>
                <a:gd name="T28" fmla="*/ 40 w 177"/>
                <a:gd name="T29" fmla="*/ 9 h 236"/>
                <a:gd name="T30" fmla="*/ 47 w 177"/>
                <a:gd name="T31" fmla="*/ 19 h 236"/>
                <a:gd name="T32" fmla="*/ 59 w 177"/>
                <a:gd name="T33" fmla="*/ 28 h 236"/>
                <a:gd name="T34" fmla="*/ 68 w 177"/>
                <a:gd name="T35" fmla="*/ 26 h 236"/>
                <a:gd name="T36" fmla="*/ 78 w 177"/>
                <a:gd name="T37" fmla="*/ 21 h 236"/>
                <a:gd name="T38" fmla="*/ 80 w 177"/>
                <a:gd name="T39" fmla="*/ 19 h 236"/>
                <a:gd name="T40" fmla="*/ 85 w 177"/>
                <a:gd name="T41" fmla="*/ 21 h 236"/>
                <a:gd name="T42" fmla="*/ 92 w 177"/>
                <a:gd name="T43" fmla="*/ 21 h 236"/>
                <a:gd name="T44" fmla="*/ 99 w 177"/>
                <a:gd name="T45" fmla="*/ 21 h 236"/>
                <a:gd name="T46" fmla="*/ 106 w 177"/>
                <a:gd name="T47" fmla="*/ 16 h 236"/>
                <a:gd name="T48" fmla="*/ 115 w 177"/>
                <a:gd name="T49" fmla="*/ 16 h 236"/>
                <a:gd name="T50" fmla="*/ 123 w 177"/>
                <a:gd name="T51" fmla="*/ 14 h 236"/>
                <a:gd name="T52" fmla="*/ 132 w 177"/>
                <a:gd name="T53" fmla="*/ 11 h 236"/>
                <a:gd name="T54" fmla="*/ 141 w 177"/>
                <a:gd name="T55" fmla="*/ 9 h 236"/>
                <a:gd name="T56" fmla="*/ 148 w 177"/>
                <a:gd name="T57" fmla="*/ 9 h 236"/>
                <a:gd name="T58" fmla="*/ 158 w 177"/>
                <a:gd name="T59" fmla="*/ 7 h 236"/>
                <a:gd name="T60" fmla="*/ 165 w 177"/>
                <a:gd name="T61" fmla="*/ 0 h 236"/>
                <a:gd name="T62" fmla="*/ 174 w 177"/>
                <a:gd name="T63" fmla="*/ 2 h 236"/>
                <a:gd name="T64" fmla="*/ 174 w 177"/>
                <a:gd name="T65" fmla="*/ 7 h 236"/>
                <a:gd name="T66" fmla="*/ 172 w 177"/>
                <a:gd name="T67" fmla="*/ 14 h 236"/>
                <a:gd name="T68" fmla="*/ 174 w 177"/>
                <a:gd name="T69" fmla="*/ 19 h 236"/>
                <a:gd name="T70" fmla="*/ 174 w 177"/>
                <a:gd name="T71" fmla="*/ 26 h 236"/>
                <a:gd name="T72" fmla="*/ 174 w 177"/>
                <a:gd name="T73" fmla="*/ 28 h 236"/>
                <a:gd name="T74" fmla="*/ 174 w 177"/>
                <a:gd name="T75" fmla="*/ 28 h 236"/>
                <a:gd name="T76" fmla="*/ 177 w 177"/>
                <a:gd name="T77" fmla="*/ 30 h 236"/>
                <a:gd name="T78" fmla="*/ 172 w 177"/>
                <a:gd name="T79" fmla="*/ 28 h 236"/>
                <a:gd name="T80" fmla="*/ 170 w 177"/>
                <a:gd name="T81" fmla="*/ 33 h 236"/>
                <a:gd name="T82" fmla="*/ 167 w 177"/>
                <a:gd name="T83" fmla="*/ 47 h 236"/>
                <a:gd name="T84" fmla="*/ 163 w 177"/>
                <a:gd name="T85" fmla="*/ 54 h 236"/>
                <a:gd name="T86" fmla="*/ 156 w 177"/>
                <a:gd name="T87" fmla="*/ 66 h 236"/>
                <a:gd name="T88" fmla="*/ 153 w 177"/>
                <a:gd name="T89" fmla="*/ 68 h 236"/>
                <a:gd name="T90" fmla="*/ 151 w 177"/>
                <a:gd name="T91" fmla="*/ 75 h 236"/>
                <a:gd name="T92" fmla="*/ 139 w 177"/>
                <a:gd name="T93" fmla="*/ 97 h 236"/>
                <a:gd name="T94" fmla="*/ 132 w 177"/>
                <a:gd name="T95" fmla="*/ 113 h 236"/>
                <a:gd name="T96" fmla="*/ 130 w 177"/>
                <a:gd name="T97" fmla="*/ 115 h 236"/>
                <a:gd name="T98" fmla="*/ 123 w 177"/>
                <a:gd name="T99" fmla="*/ 125 h 236"/>
                <a:gd name="T100" fmla="*/ 120 w 177"/>
                <a:gd name="T101" fmla="*/ 130 h 236"/>
                <a:gd name="T102" fmla="*/ 113 w 177"/>
                <a:gd name="T103" fmla="*/ 139 h 236"/>
                <a:gd name="T104" fmla="*/ 106 w 177"/>
                <a:gd name="T105" fmla="*/ 148 h 236"/>
                <a:gd name="T106" fmla="*/ 94 w 177"/>
                <a:gd name="T107" fmla="*/ 158 h 236"/>
                <a:gd name="T108" fmla="*/ 87 w 177"/>
                <a:gd name="T109" fmla="*/ 167 h 236"/>
                <a:gd name="T110" fmla="*/ 75 w 177"/>
                <a:gd name="T111" fmla="*/ 174 h 236"/>
                <a:gd name="T112" fmla="*/ 68 w 177"/>
                <a:gd name="T113" fmla="*/ 177 h 236"/>
                <a:gd name="T114" fmla="*/ 37 w 177"/>
                <a:gd name="T115" fmla="*/ 203 h 236"/>
                <a:gd name="T116" fmla="*/ 28 w 177"/>
                <a:gd name="T117" fmla="*/ 212 h 236"/>
                <a:gd name="T118" fmla="*/ 26 w 177"/>
                <a:gd name="T119" fmla="*/ 212 h 236"/>
                <a:gd name="T120" fmla="*/ 26 w 177"/>
                <a:gd name="T121" fmla="*/ 215 h 236"/>
                <a:gd name="T122" fmla="*/ 19 w 177"/>
                <a:gd name="T123" fmla="*/ 224 h 236"/>
                <a:gd name="T124" fmla="*/ 9 w 177"/>
                <a:gd name="T1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7" h="236">
                  <a:moveTo>
                    <a:pt x="9" y="236"/>
                  </a:moveTo>
                  <a:lnTo>
                    <a:pt x="9" y="236"/>
                  </a:lnTo>
                  <a:lnTo>
                    <a:pt x="0" y="226"/>
                  </a:lnTo>
                  <a:lnTo>
                    <a:pt x="0" y="224"/>
                  </a:lnTo>
                  <a:lnTo>
                    <a:pt x="0" y="210"/>
                  </a:lnTo>
                  <a:lnTo>
                    <a:pt x="0" y="193"/>
                  </a:lnTo>
                  <a:lnTo>
                    <a:pt x="0" y="177"/>
                  </a:lnTo>
                  <a:lnTo>
                    <a:pt x="0" y="160"/>
                  </a:lnTo>
                  <a:lnTo>
                    <a:pt x="0" y="158"/>
                  </a:lnTo>
                  <a:lnTo>
                    <a:pt x="7" y="151"/>
                  </a:lnTo>
                  <a:lnTo>
                    <a:pt x="14" y="141"/>
                  </a:lnTo>
                  <a:lnTo>
                    <a:pt x="14" y="139"/>
                  </a:lnTo>
                  <a:lnTo>
                    <a:pt x="14" y="139"/>
                  </a:lnTo>
                  <a:lnTo>
                    <a:pt x="19" y="137"/>
                  </a:lnTo>
                  <a:lnTo>
                    <a:pt x="30" y="132"/>
                  </a:lnTo>
                  <a:lnTo>
                    <a:pt x="35" y="127"/>
                  </a:lnTo>
                  <a:lnTo>
                    <a:pt x="40" y="125"/>
                  </a:lnTo>
                  <a:lnTo>
                    <a:pt x="47" y="123"/>
                  </a:lnTo>
                  <a:lnTo>
                    <a:pt x="49" y="123"/>
                  </a:lnTo>
                  <a:lnTo>
                    <a:pt x="68" y="120"/>
                  </a:lnTo>
                  <a:lnTo>
                    <a:pt x="94" y="94"/>
                  </a:lnTo>
                  <a:lnTo>
                    <a:pt x="118" y="73"/>
                  </a:lnTo>
                  <a:lnTo>
                    <a:pt x="120" y="68"/>
                  </a:lnTo>
                  <a:lnTo>
                    <a:pt x="120" y="68"/>
                  </a:lnTo>
                  <a:lnTo>
                    <a:pt x="104" y="68"/>
                  </a:lnTo>
                  <a:lnTo>
                    <a:pt x="75" y="59"/>
                  </a:lnTo>
                  <a:lnTo>
                    <a:pt x="52" y="49"/>
                  </a:lnTo>
                  <a:lnTo>
                    <a:pt x="49" y="47"/>
                  </a:lnTo>
                  <a:lnTo>
                    <a:pt x="42" y="42"/>
                  </a:lnTo>
                  <a:lnTo>
                    <a:pt x="40" y="40"/>
                  </a:lnTo>
                  <a:lnTo>
                    <a:pt x="37" y="37"/>
                  </a:lnTo>
                  <a:lnTo>
                    <a:pt x="37" y="35"/>
                  </a:lnTo>
                  <a:lnTo>
                    <a:pt x="37" y="35"/>
                  </a:lnTo>
                  <a:lnTo>
                    <a:pt x="35" y="33"/>
                  </a:lnTo>
                  <a:lnTo>
                    <a:pt x="33" y="30"/>
                  </a:lnTo>
                  <a:lnTo>
                    <a:pt x="30" y="28"/>
                  </a:lnTo>
                  <a:lnTo>
                    <a:pt x="30" y="21"/>
                  </a:lnTo>
                  <a:lnTo>
                    <a:pt x="30" y="21"/>
                  </a:lnTo>
                  <a:lnTo>
                    <a:pt x="30" y="19"/>
                  </a:lnTo>
                  <a:lnTo>
                    <a:pt x="33" y="16"/>
                  </a:lnTo>
                  <a:lnTo>
                    <a:pt x="35" y="11"/>
                  </a:lnTo>
                  <a:lnTo>
                    <a:pt x="37" y="9"/>
                  </a:lnTo>
                  <a:lnTo>
                    <a:pt x="37" y="9"/>
                  </a:lnTo>
                  <a:lnTo>
                    <a:pt x="37" y="9"/>
                  </a:lnTo>
                  <a:lnTo>
                    <a:pt x="40" y="9"/>
                  </a:lnTo>
                  <a:lnTo>
                    <a:pt x="42" y="11"/>
                  </a:lnTo>
                  <a:lnTo>
                    <a:pt x="42" y="14"/>
                  </a:lnTo>
                  <a:lnTo>
                    <a:pt x="47" y="19"/>
                  </a:lnTo>
                  <a:lnTo>
                    <a:pt x="52" y="23"/>
                  </a:lnTo>
                  <a:lnTo>
                    <a:pt x="56" y="26"/>
                  </a:lnTo>
                  <a:lnTo>
                    <a:pt x="59" y="28"/>
                  </a:lnTo>
                  <a:lnTo>
                    <a:pt x="61" y="28"/>
                  </a:lnTo>
                  <a:lnTo>
                    <a:pt x="66" y="28"/>
                  </a:lnTo>
                  <a:lnTo>
                    <a:pt x="68" y="26"/>
                  </a:lnTo>
                  <a:lnTo>
                    <a:pt x="73" y="23"/>
                  </a:lnTo>
                  <a:lnTo>
                    <a:pt x="75" y="23"/>
                  </a:lnTo>
                  <a:lnTo>
                    <a:pt x="78" y="21"/>
                  </a:lnTo>
                  <a:lnTo>
                    <a:pt x="80" y="21"/>
                  </a:lnTo>
                  <a:lnTo>
                    <a:pt x="80" y="19"/>
                  </a:lnTo>
                  <a:lnTo>
                    <a:pt x="80" y="19"/>
                  </a:lnTo>
                  <a:lnTo>
                    <a:pt x="82" y="19"/>
                  </a:lnTo>
                  <a:lnTo>
                    <a:pt x="82" y="21"/>
                  </a:lnTo>
                  <a:lnTo>
                    <a:pt x="85" y="21"/>
                  </a:lnTo>
                  <a:lnTo>
                    <a:pt x="85" y="21"/>
                  </a:lnTo>
                  <a:lnTo>
                    <a:pt x="89" y="21"/>
                  </a:lnTo>
                  <a:lnTo>
                    <a:pt x="92" y="21"/>
                  </a:lnTo>
                  <a:lnTo>
                    <a:pt x="94" y="21"/>
                  </a:lnTo>
                  <a:lnTo>
                    <a:pt x="97" y="21"/>
                  </a:lnTo>
                  <a:lnTo>
                    <a:pt x="99" y="21"/>
                  </a:lnTo>
                  <a:lnTo>
                    <a:pt x="101" y="19"/>
                  </a:lnTo>
                  <a:lnTo>
                    <a:pt x="104" y="19"/>
                  </a:lnTo>
                  <a:lnTo>
                    <a:pt x="106" y="16"/>
                  </a:lnTo>
                  <a:lnTo>
                    <a:pt x="108" y="14"/>
                  </a:lnTo>
                  <a:lnTo>
                    <a:pt x="111" y="14"/>
                  </a:lnTo>
                  <a:lnTo>
                    <a:pt x="115" y="16"/>
                  </a:lnTo>
                  <a:lnTo>
                    <a:pt x="118" y="16"/>
                  </a:lnTo>
                  <a:lnTo>
                    <a:pt x="120" y="14"/>
                  </a:lnTo>
                  <a:lnTo>
                    <a:pt x="123" y="14"/>
                  </a:lnTo>
                  <a:lnTo>
                    <a:pt x="125" y="14"/>
                  </a:lnTo>
                  <a:lnTo>
                    <a:pt x="130" y="11"/>
                  </a:lnTo>
                  <a:lnTo>
                    <a:pt x="132" y="11"/>
                  </a:lnTo>
                  <a:lnTo>
                    <a:pt x="134" y="11"/>
                  </a:lnTo>
                  <a:lnTo>
                    <a:pt x="141" y="9"/>
                  </a:lnTo>
                  <a:lnTo>
                    <a:pt x="141" y="9"/>
                  </a:lnTo>
                  <a:lnTo>
                    <a:pt x="144" y="9"/>
                  </a:lnTo>
                  <a:lnTo>
                    <a:pt x="146" y="9"/>
                  </a:lnTo>
                  <a:lnTo>
                    <a:pt x="148" y="9"/>
                  </a:lnTo>
                  <a:lnTo>
                    <a:pt x="151" y="9"/>
                  </a:lnTo>
                  <a:lnTo>
                    <a:pt x="156" y="7"/>
                  </a:lnTo>
                  <a:lnTo>
                    <a:pt x="158" y="7"/>
                  </a:lnTo>
                  <a:lnTo>
                    <a:pt x="163" y="4"/>
                  </a:lnTo>
                  <a:lnTo>
                    <a:pt x="163" y="2"/>
                  </a:lnTo>
                  <a:lnTo>
                    <a:pt x="165" y="0"/>
                  </a:lnTo>
                  <a:lnTo>
                    <a:pt x="170" y="0"/>
                  </a:lnTo>
                  <a:lnTo>
                    <a:pt x="172" y="2"/>
                  </a:lnTo>
                  <a:lnTo>
                    <a:pt x="174" y="2"/>
                  </a:lnTo>
                  <a:lnTo>
                    <a:pt x="174" y="2"/>
                  </a:lnTo>
                  <a:lnTo>
                    <a:pt x="174" y="4"/>
                  </a:lnTo>
                  <a:lnTo>
                    <a:pt x="174" y="7"/>
                  </a:lnTo>
                  <a:lnTo>
                    <a:pt x="172" y="9"/>
                  </a:lnTo>
                  <a:lnTo>
                    <a:pt x="172" y="11"/>
                  </a:lnTo>
                  <a:lnTo>
                    <a:pt x="172" y="14"/>
                  </a:lnTo>
                  <a:lnTo>
                    <a:pt x="174" y="16"/>
                  </a:lnTo>
                  <a:lnTo>
                    <a:pt x="174" y="16"/>
                  </a:lnTo>
                  <a:lnTo>
                    <a:pt x="174" y="19"/>
                  </a:lnTo>
                  <a:lnTo>
                    <a:pt x="174" y="21"/>
                  </a:lnTo>
                  <a:lnTo>
                    <a:pt x="174" y="26"/>
                  </a:lnTo>
                  <a:lnTo>
                    <a:pt x="174" y="26"/>
                  </a:lnTo>
                  <a:lnTo>
                    <a:pt x="172" y="28"/>
                  </a:lnTo>
                  <a:lnTo>
                    <a:pt x="172" y="28"/>
                  </a:lnTo>
                  <a:lnTo>
                    <a:pt x="174" y="28"/>
                  </a:lnTo>
                  <a:lnTo>
                    <a:pt x="174" y="28"/>
                  </a:lnTo>
                  <a:lnTo>
                    <a:pt x="174" y="26"/>
                  </a:lnTo>
                  <a:lnTo>
                    <a:pt x="174" y="28"/>
                  </a:lnTo>
                  <a:lnTo>
                    <a:pt x="177" y="28"/>
                  </a:lnTo>
                  <a:lnTo>
                    <a:pt x="177" y="28"/>
                  </a:lnTo>
                  <a:lnTo>
                    <a:pt x="177" y="30"/>
                  </a:lnTo>
                  <a:lnTo>
                    <a:pt x="177" y="30"/>
                  </a:lnTo>
                  <a:lnTo>
                    <a:pt x="174" y="28"/>
                  </a:lnTo>
                  <a:lnTo>
                    <a:pt x="172" y="28"/>
                  </a:lnTo>
                  <a:lnTo>
                    <a:pt x="170" y="30"/>
                  </a:lnTo>
                  <a:lnTo>
                    <a:pt x="170" y="30"/>
                  </a:lnTo>
                  <a:lnTo>
                    <a:pt x="170" y="33"/>
                  </a:lnTo>
                  <a:lnTo>
                    <a:pt x="167" y="40"/>
                  </a:lnTo>
                  <a:lnTo>
                    <a:pt x="167" y="45"/>
                  </a:lnTo>
                  <a:lnTo>
                    <a:pt x="167" y="47"/>
                  </a:lnTo>
                  <a:lnTo>
                    <a:pt x="167" y="49"/>
                  </a:lnTo>
                  <a:lnTo>
                    <a:pt x="165" y="52"/>
                  </a:lnTo>
                  <a:lnTo>
                    <a:pt x="163" y="54"/>
                  </a:lnTo>
                  <a:lnTo>
                    <a:pt x="160" y="59"/>
                  </a:lnTo>
                  <a:lnTo>
                    <a:pt x="158" y="61"/>
                  </a:lnTo>
                  <a:lnTo>
                    <a:pt x="156" y="66"/>
                  </a:lnTo>
                  <a:lnTo>
                    <a:pt x="156" y="66"/>
                  </a:lnTo>
                  <a:lnTo>
                    <a:pt x="156" y="66"/>
                  </a:lnTo>
                  <a:lnTo>
                    <a:pt x="153" y="68"/>
                  </a:lnTo>
                  <a:lnTo>
                    <a:pt x="153" y="71"/>
                  </a:lnTo>
                  <a:lnTo>
                    <a:pt x="151" y="73"/>
                  </a:lnTo>
                  <a:lnTo>
                    <a:pt x="151" y="75"/>
                  </a:lnTo>
                  <a:lnTo>
                    <a:pt x="146" y="87"/>
                  </a:lnTo>
                  <a:lnTo>
                    <a:pt x="141" y="94"/>
                  </a:lnTo>
                  <a:lnTo>
                    <a:pt x="139" y="97"/>
                  </a:lnTo>
                  <a:lnTo>
                    <a:pt x="139" y="104"/>
                  </a:lnTo>
                  <a:lnTo>
                    <a:pt x="134" y="111"/>
                  </a:lnTo>
                  <a:lnTo>
                    <a:pt x="132" y="113"/>
                  </a:lnTo>
                  <a:lnTo>
                    <a:pt x="132" y="113"/>
                  </a:lnTo>
                  <a:lnTo>
                    <a:pt x="132" y="115"/>
                  </a:lnTo>
                  <a:lnTo>
                    <a:pt x="130" y="115"/>
                  </a:lnTo>
                  <a:lnTo>
                    <a:pt x="130" y="115"/>
                  </a:lnTo>
                  <a:lnTo>
                    <a:pt x="125" y="120"/>
                  </a:lnTo>
                  <a:lnTo>
                    <a:pt x="123" y="125"/>
                  </a:lnTo>
                  <a:lnTo>
                    <a:pt x="123" y="125"/>
                  </a:lnTo>
                  <a:lnTo>
                    <a:pt x="123" y="127"/>
                  </a:lnTo>
                  <a:lnTo>
                    <a:pt x="120" y="130"/>
                  </a:lnTo>
                  <a:lnTo>
                    <a:pt x="118" y="134"/>
                  </a:lnTo>
                  <a:lnTo>
                    <a:pt x="113" y="139"/>
                  </a:lnTo>
                  <a:lnTo>
                    <a:pt x="113" y="139"/>
                  </a:lnTo>
                  <a:lnTo>
                    <a:pt x="111" y="141"/>
                  </a:lnTo>
                  <a:lnTo>
                    <a:pt x="106" y="144"/>
                  </a:lnTo>
                  <a:lnTo>
                    <a:pt x="106" y="148"/>
                  </a:lnTo>
                  <a:lnTo>
                    <a:pt x="101" y="151"/>
                  </a:lnTo>
                  <a:lnTo>
                    <a:pt x="97" y="156"/>
                  </a:lnTo>
                  <a:lnTo>
                    <a:pt x="94" y="158"/>
                  </a:lnTo>
                  <a:lnTo>
                    <a:pt x="92" y="158"/>
                  </a:lnTo>
                  <a:lnTo>
                    <a:pt x="92" y="163"/>
                  </a:lnTo>
                  <a:lnTo>
                    <a:pt x="87" y="167"/>
                  </a:lnTo>
                  <a:lnTo>
                    <a:pt x="82" y="170"/>
                  </a:lnTo>
                  <a:lnTo>
                    <a:pt x="78" y="172"/>
                  </a:lnTo>
                  <a:lnTo>
                    <a:pt x="75" y="174"/>
                  </a:lnTo>
                  <a:lnTo>
                    <a:pt x="73" y="174"/>
                  </a:lnTo>
                  <a:lnTo>
                    <a:pt x="71" y="174"/>
                  </a:lnTo>
                  <a:lnTo>
                    <a:pt x="68" y="177"/>
                  </a:lnTo>
                  <a:lnTo>
                    <a:pt x="59" y="182"/>
                  </a:lnTo>
                  <a:lnTo>
                    <a:pt x="42" y="198"/>
                  </a:lnTo>
                  <a:lnTo>
                    <a:pt x="37" y="203"/>
                  </a:lnTo>
                  <a:lnTo>
                    <a:pt x="35" y="208"/>
                  </a:lnTo>
                  <a:lnTo>
                    <a:pt x="30" y="210"/>
                  </a:lnTo>
                  <a:lnTo>
                    <a:pt x="28" y="212"/>
                  </a:lnTo>
                  <a:lnTo>
                    <a:pt x="26" y="210"/>
                  </a:lnTo>
                  <a:lnTo>
                    <a:pt x="26" y="212"/>
                  </a:lnTo>
                  <a:lnTo>
                    <a:pt x="26" y="212"/>
                  </a:lnTo>
                  <a:lnTo>
                    <a:pt x="26" y="215"/>
                  </a:lnTo>
                  <a:lnTo>
                    <a:pt x="26" y="215"/>
                  </a:lnTo>
                  <a:lnTo>
                    <a:pt x="26" y="215"/>
                  </a:lnTo>
                  <a:lnTo>
                    <a:pt x="23" y="217"/>
                  </a:lnTo>
                  <a:lnTo>
                    <a:pt x="23" y="219"/>
                  </a:lnTo>
                  <a:lnTo>
                    <a:pt x="19" y="224"/>
                  </a:lnTo>
                  <a:lnTo>
                    <a:pt x="14" y="229"/>
                  </a:lnTo>
                  <a:lnTo>
                    <a:pt x="11" y="234"/>
                  </a:lnTo>
                  <a:lnTo>
                    <a:pt x="9" y="236"/>
                  </a:lnTo>
                  <a:lnTo>
                    <a:pt x="9" y="23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89" name="Freeform 650">
              <a:extLst>
                <a:ext uri="{FF2B5EF4-FFF2-40B4-BE49-F238E27FC236}">
                  <a16:creationId xmlns:a16="http://schemas.microsoft.com/office/drawing/2014/main" id="{F49AFE1C-F8D4-4E9D-9910-42412579ED05}"/>
                </a:ext>
              </a:extLst>
            </p:cNvPr>
            <p:cNvSpPr>
              <a:spLocks/>
            </p:cNvSpPr>
            <p:nvPr/>
          </p:nvSpPr>
          <p:spPr bwMode="auto">
            <a:xfrm>
              <a:off x="1972515" y="4965668"/>
              <a:ext cx="217487" cy="204788"/>
            </a:xfrm>
            <a:custGeom>
              <a:avLst/>
              <a:gdLst>
                <a:gd name="T0" fmla="*/ 64 w 137"/>
                <a:gd name="T1" fmla="*/ 18 h 129"/>
                <a:gd name="T2" fmla="*/ 64 w 137"/>
                <a:gd name="T3" fmla="*/ 21 h 129"/>
                <a:gd name="T4" fmla="*/ 61 w 137"/>
                <a:gd name="T5" fmla="*/ 21 h 129"/>
                <a:gd name="T6" fmla="*/ 57 w 137"/>
                <a:gd name="T7" fmla="*/ 21 h 129"/>
                <a:gd name="T8" fmla="*/ 57 w 137"/>
                <a:gd name="T9" fmla="*/ 23 h 129"/>
                <a:gd name="T10" fmla="*/ 54 w 137"/>
                <a:gd name="T11" fmla="*/ 21 h 129"/>
                <a:gd name="T12" fmla="*/ 52 w 137"/>
                <a:gd name="T13" fmla="*/ 23 h 129"/>
                <a:gd name="T14" fmla="*/ 50 w 137"/>
                <a:gd name="T15" fmla="*/ 23 h 129"/>
                <a:gd name="T16" fmla="*/ 50 w 137"/>
                <a:gd name="T17" fmla="*/ 26 h 129"/>
                <a:gd name="T18" fmla="*/ 50 w 137"/>
                <a:gd name="T19" fmla="*/ 26 h 129"/>
                <a:gd name="T20" fmla="*/ 47 w 137"/>
                <a:gd name="T21" fmla="*/ 28 h 129"/>
                <a:gd name="T22" fmla="*/ 45 w 137"/>
                <a:gd name="T23" fmla="*/ 30 h 129"/>
                <a:gd name="T24" fmla="*/ 42 w 137"/>
                <a:gd name="T25" fmla="*/ 33 h 129"/>
                <a:gd name="T26" fmla="*/ 40 w 137"/>
                <a:gd name="T27" fmla="*/ 35 h 129"/>
                <a:gd name="T28" fmla="*/ 38 w 137"/>
                <a:gd name="T29" fmla="*/ 35 h 129"/>
                <a:gd name="T30" fmla="*/ 33 w 137"/>
                <a:gd name="T31" fmla="*/ 40 h 129"/>
                <a:gd name="T32" fmla="*/ 31 w 137"/>
                <a:gd name="T33" fmla="*/ 42 h 129"/>
                <a:gd name="T34" fmla="*/ 26 w 137"/>
                <a:gd name="T35" fmla="*/ 44 h 129"/>
                <a:gd name="T36" fmla="*/ 24 w 137"/>
                <a:gd name="T37" fmla="*/ 42 h 129"/>
                <a:gd name="T38" fmla="*/ 19 w 137"/>
                <a:gd name="T39" fmla="*/ 42 h 129"/>
                <a:gd name="T40" fmla="*/ 14 w 137"/>
                <a:gd name="T41" fmla="*/ 42 h 129"/>
                <a:gd name="T42" fmla="*/ 2 w 137"/>
                <a:gd name="T43" fmla="*/ 40 h 129"/>
                <a:gd name="T44" fmla="*/ 0 w 137"/>
                <a:gd name="T45" fmla="*/ 40 h 129"/>
                <a:gd name="T46" fmla="*/ 2 w 137"/>
                <a:gd name="T47" fmla="*/ 44 h 129"/>
                <a:gd name="T48" fmla="*/ 9 w 137"/>
                <a:gd name="T49" fmla="*/ 54 h 129"/>
                <a:gd name="T50" fmla="*/ 12 w 137"/>
                <a:gd name="T51" fmla="*/ 61 h 129"/>
                <a:gd name="T52" fmla="*/ 26 w 137"/>
                <a:gd name="T53" fmla="*/ 77 h 129"/>
                <a:gd name="T54" fmla="*/ 35 w 137"/>
                <a:gd name="T55" fmla="*/ 82 h 129"/>
                <a:gd name="T56" fmla="*/ 42 w 137"/>
                <a:gd name="T57" fmla="*/ 87 h 129"/>
                <a:gd name="T58" fmla="*/ 45 w 137"/>
                <a:gd name="T59" fmla="*/ 96 h 129"/>
                <a:gd name="T60" fmla="*/ 50 w 137"/>
                <a:gd name="T61" fmla="*/ 108 h 129"/>
                <a:gd name="T62" fmla="*/ 54 w 137"/>
                <a:gd name="T63" fmla="*/ 113 h 129"/>
                <a:gd name="T64" fmla="*/ 61 w 137"/>
                <a:gd name="T65" fmla="*/ 113 h 129"/>
                <a:gd name="T66" fmla="*/ 68 w 137"/>
                <a:gd name="T67" fmla="*/ 115 h 129"/>
                <a:gd name="T68" fmla="*/ 76 w 137"/>
                <a:gd name="T69" fmla="*/ 118 h 129"/>
                <a:gd name="T70" fmla="*/ 87 w 137"/>
                <a:gd name="T71" fmla="*/ 120 h 129"/>
                <a:gd name="T72" fmla="*/ 94 w 137"/>
                <a:gd name="T73" fmla="*/ 120 h 129"/>
                <a:gd name="T74" fmla="*/ 106 w 137"/>
                <a:gd name="T75" fmla="*/ 122 h 129"/>
                <a:gd name="T76" fmla="*/ 111 w 137"/>
                <a:gd name="T77" fmla="*/ 127 h 129"/>
                <a:gd name="T78" fmla="*/ 113 w 137"/>
                <a:gd name="T79" fmla="*/ 127 h 129"/>
                <a:gd name="T80" fmla="*/ 113 w 137"/>
                <a:gd name="T81" fmla="*/ 120 h 129"/>
                <a:gd name="T82" fmla="*/ 118 w 137"/>
                <a:gd name="T83" fmla="*/ 113 h 129"/>
                <a:gd name="T84" fmla="*/ 127 w 137"/>
                <a:gd name="T85" fmla="*/ 101 h 129"/>
                <a:gd name="T86" fmla="*/ 135 w 137"/>
                <a:gd name="T87" fmla="*/ 80 h 129"/>
                <a:gd name="T88" fmla="*/ 132 w 137"/>
                <a:gd name="T89" fmla="*/ 66 h 129"/>
                <a:gd name="T90" fmla="*/ 135 w 137"/>
                <a:gd name="T91" fmla="*/ 56 h 129"/>
                <a:gd name="T92" fmla="*/ 137 w 137"/>
                <a:gd name="T93" fmla="*/ 47 h 129"/>
                <a:gd name="T94" fmla="*/ 137 w 137"/>
                <a:gd name="T95" fmla="*/ 33 h 129"/>
                <a:gd name="T96" fmla="*/ 135 w 137"/>
                <a:gd name="T97" fmla="*/ 23 h 129"/>
                <a:gd name="T98" fmla="*/ 132 w 137"/>
                <a:gd name="T99" fmla="*/ 16 h 129"/>
                <a:gd name="T100" fmla="*/ 113 w 137"/>
                <a:gd name="T101" fmla="*/ 9 h 129"/>
                <a:gd name="T102" fmla="*/ 104 w 137"/>
                <a:gd name="T103" fmla="*/ 7 h 129"/>
                <a:gd name="T104" fmla="*/ 90 w 137"/>
                <a:gd name="T105" fmla="*/ 7 h 129"/>
                <a:gd name="T106" fmla="*/ 90 w 137"/>
                <a:gd name="T107" fmla="*/ 0 h 129"/>
                <a:gd name="T108" fmla="*/ 85 w 137"/>
                <a:gd name="T109" fmla="*/ 0 h 129"/>
                <a:gd name="T110" fmla="*/ 80 w 137"/>
                <a:gd name="T111" fmla="*/ 0 h 129"/>
                <a:gd name="T112" fmla="*/ 76 w 137"/>
                <a:gd name="T113" fmla="*/ 2 h 129"/>
                <a:gd name="T114" fmla="*/ 68 w 137"/>
                <a:gd name="T115" fmla="*/ 2 h 129"/>
                <a:gd name="T116" fmla="*/ 64 w 137"/>
                <a:gd name="T117" fmla="*/ 4 h 129"/>
                <a:gd name="T118" fmla="*/ 61 w 137"/>
                <a:gd name="T119" fmla="*/ 9 h 129"/>
                <a:gd name="T120" fmla="*/ 61 w 137"/>
                <a:gd name="T121" fmla="*/ 14 h 129"/>
                <a:gd name="T122" fmla="*/ 61 w 137"/>
                <a:gd name="T123" fmla="*/ 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29">
                  <a:moveTo>
                    <a:pt x="61" y="16"/>
                  </a:moveTo>
                  <a:lnTo>
                    <a:pt x="64" y="18"/>
                  </a:lnTo>
                  <a:lnTo>
                    <a:pt x="66" y="21"/>
                  </a:lnTo>
                  <a:lnTo>
                    <a:pt x="64" y="21"/>
                  </a:lnTo>
                  <a:lnTo>
                    <a:pt x="64" y="21"/>
                  </a:lnTo>
                  <a:lnTo>
                    <a:pt x="61" y="21"/>
                  </a:lnTo>
                  <a:lnTo>
                    <a:pt x="59" y="21"/>
                  </a:lnTo>
                  <a:lnTo>
                    <a:pt x="57" y="21"/>
                  </a:lnTo>
                  <a:lnTo>
                    <a:pt x="57" y="21"/>
                  </a:lnTo>
                  <a:lnTo>
                    <a:pt x="57" y="23"/>
                  </a:lnTo>
                  <a:lnTo>
                    <a:pt x="54" y="23"/>
                  </a:lnTo>
                  <a:lnTo>
                    <a:pt x="54" y="21"/>
                  </a:lnTo>
                  <a:lnTo>
                    <a:pt x="54" y="21"/>
                  </a:lnTo>
                  <a:lnTo>
                    <a:pt x="52" y="23"/>
                  </a:lnTo>
                  <a:lnTo>
                    <a:pt x="52" y="23"/>
                  </a:lnTo>
                  <a:lnTo>
                    <a:pt x="50" y="23"/>
                  </a:lnTo>
                  <a:lnTo>
                    <a:pt x="50" y="26"/>
                  </a:lnTo>
                  <a:lnTo>
                    <a:pt x="50" y="26"/>
                  </a:lnTo>
                  <a:lnTo>
                    <a:pt x="50" y="26"/>
                  </a:lnTo>
                  <a:lnTo>
                    <a:pt x="50" y="26"/>
                  </a:lnTo>
                  <a:lnTo>
                    <a:pt x="50" y="26"/>
                  </a:lnTo>
                  <a:lnTo>
                    <a:pt x="47" y="28"/>
                  </a:lnTo>
                  <a:lnTo>
                    <a:pt x="45" y="28"/>
                  </a:lnTo>
                  <a:lnTo>
                    <a:pt x="45" y="30"/>
                  </a:lnTo>
                  <a:lnTo>
                    <a:pt x="42" y="30"/>
                  </a:lnTo>
                  <a:lnTo>
                    <a:pt x="42" y="33"/>
                  </a:lnTo>
                  <a:lnTo>
                    <a:pt x="40" y="33"/>
                  </a:lnTo>
                  <a:lnTo>
                    <a:pt x="40" y="35"/>
                  </a:lnTo>
                  <a:lnTo>
                    <a:pt x="40" y="35"/>
                  </a:lnTo>
                  <a:lnTo>
                    <a:pt x="38" y="35"/>
                  </a:lnTo>
                  <a:lnTo>
                    <a:pt x="35" y="40"/>
                  </a:lnTo>
                  <a:lnTo>
                    <a:pt x="33" y="40"/>
                  </a:lnTo>
                  <a:lnTo>
                    <a:pt x="33" y="40"/>
                  </a:lnTo>
                  <a:lnTo>
                    <a:pt x="31" y="42"/>
                  </a:lnTo>
                  <a:lnTo>
                    <a:pt x="28" y="42"/>
                  </a:lnTo>
                  <a:lnTo>
                    <a:pt x="26" y="44"/>
                  </a:lnTo>
                  <a:lnTo>
                    <a:pt x="24" y="42"/>
                  </a:lnTo>
                  <a:lnTo>
                    <a:pt x="24" y="42"/>
                  </a:lnTo>
                  <a:lnTo>
                    <a:pt x="24" y="40"/>
                  </a:lnTo>
                  <a:lnTo>
                    <a:pt x="19" y="42"/>
                  </a:lnTo>
                  <a:lnTo>
                    <a:pt x="19" y="40"/>
                  </a:lnTo>
                  <a:lnTo>
                    <a:pt x="14" y="42"/>
                  </a:lnTo>
                  <a:lnTo>
                    <a:pt x="9" y="40"/>
                  </a:lnTo>
                  <a:lnTo>
                    <a:pt x="2" y="40"/>
                  </a:lnTo>
                  <a:lnTo>
                    <a:pt x="2" y="40"/>
                  </a:lnTo>
                  <a:lnTo>
                    <a:pt x="0" y="40"/>
                  </a:lnTo>
                  <a:lnTo>
                    <a:pt x="0" y="42"/>
                  </a:lnTo>
                  <a:lnTo>
                    <a:pt x="2" y="44"/>
                  </a:lnTo>
                  <a:lnTo>
                    <a:pt x="5" y="51"/>
                  </a:lnTo>
                  <a:lnTo>
                    <a:pt x="9" y="54"/>
                  </a:lnTo>
                  <a:lnTo>
                    <a:pt x="9" y="59"/>
                  </a:lnTo>
                  <a:lnTo>
                    <a:pt x="12" y="61"/>
                  </a:lnTo>
                  <a:lnTo>
                    <a:pt x="16" y="68"/>
                  </a:lnTo>
                  <a:lnTo>
                    <a:pt x="26" y="77"/>
                  </a:lnTo>
                  <a:lnTo>
                    <a:pt x="31" y="80"/>
                  </a:lnTo>
                  <a:lnTo>
                    <a:pt x="35" y="82"/>
                  </a:lnTo>
                  <a:lnTo>
                    <a:pt x="38" y="87"/>
                  </a:lnTo>
                  <a:lnTo>
                    <a:pt x="42" y="87"/>
                  </a:lnTo>
                  <a:lnTo>
                    <a:pt x="45" y="92"/>
                  </a:lnTo>
                  <a:lnTo>
                    <a:pt x="45" y="96"/>
                  </a:lnTo>
                  <a:lnTo>
                    <a:pt x="47" y="103"/>
                  </a:lnTo>
                  <a:lnTo>
                    <a:pt x="50" y="108"/>
                  </a:lnTo>
                  <a:lnTo>
                    <a:pt x="52" y="111"/>
                  </a:lnTo>
                  <a:lnTo>
                    <a:pt x="54" y="113"/>
                  </a:lnTo>
                  <a:lnTo>
                    <a:pt x="59" y="113"/>
                  </a:lnTo>
                  <a:lnTo>
                    <a:pt x="61" y="113"/>
                  </a:lnTo>
                  <a:lnTo>
                    <a:pt x="66" y="115"/>
                  </a:lnTo>
                  <a:lnTo>
                    <a:pt x="68" y="115"/>
                  </a:lnTo>
                  <a:lnTo>
                    <a:pt x="73" y="118"/>
                  </a:lnTo>
                  <a:lnTo>
                    <a:pt x="76" y="118"/>
                  </a:lnTo>
                  <a:lnTo>
                    <a:pt x="80" y="118"/>
                  </a:lnTo>
                  <a:lnTo>
                    <a:pt x="87" y="120"/>
                  </a:lnTo>
                  <a:lnTo>
                    <a:pt x="92" y="120"/>
                  </a:lnTo>
                  <a:lnTo>
                    <a:pt x="94" y="120"/>
                  </a:lnTo>
                  <a:lnTo>
                    <a:pt x="99" y="120"/>
                  </a:lnTo>
                  <a:lnTo>
                    <a:pt x="106" y="122"/>
                  </a:lnTo>
                  <a:lnTo>
                    <a:pt x="111" y="127"/>
                  </a:lnTo>
                  <a:lnTo>
                    <a:pt x="111" y="127"/>
                  </a:lnTo>
                  <a:lnTo>
                    <a:pt x="111" y="129"/>
                  </a:lnTo>
                  <a:lnTo>
                    <a:pt x="113" y="127"/>
                  </a:lnTo>
                  <a:lnTo>
                    <a:pt x="113" y="122"/>
                  </a:lnTo>
                  <a:lnTo>
                    <a:pt x="113" y="120"/>
                  </a:lnTo>
                  <a:lnTo>
                    <a:pt x="116" y="115"/>
                  </a:lnTo>
                  <a:lnTo>
                    <a:pt x="118" y="113"/>
                  </a:lnTo>
                  <a:lnTo>
                    <a:pt x="120" y="111"/>
                  </a:lnTo>
                  <a:lnTo>
                    <a:pt x="127" y="101"/>
                  </a:lnTo>
                  <a:lnTo>
                    <a:pt x="130" y="92"/>
                  </a:lnTo>
                  <a:lnTo>
                    <a:pt x="135" y="80"/>
                  </a:lnTo>
                  <a:lnTo>
                    <a:pt x="135" y="70"/>
                  </a:lnTo>
                  <a:lnTo>
                    <a:pt x="132" y="66"/>
                  </a:lnTo>
                  <a:lnTo>
                    <a:pt x="132" y="61"/>
                  </a:lnTo>
                  <a:lnTo>
                    <a:pt x="135" y="56"/>
                  </a:lnTo>
                  <a:lnTo>
                    <a:pt x="135" y="51"/>
                  </a:lnTo>
                  <a:lnTo>
                    <a:pt x="137" y="47"/>
                  </a:lnTo>
                  <a:lnTo>
                    <a:pt x="137" y="44"/>
                  </a:lnTo>
                  <a:lnTo>
                    <a:pt x="137" y="33"/>
                  </a:lnTo>
                  <a:lnTo>
                    <a:pt x="135" y="26"/>
                  </a:lnTo>
                  <a:lnTo>
                    <a:pt x="135" y="23"/>
                  </a:lnTo>
                  <a:lnTo>
                    <a:pt x="135" y="18"/>
                  </a:lnTo>
                  <a:lnTo>
                    <a:pt x="132" y="16"/>
                  </a:lnTo>
                  <a:lnTo>
                    <a:pt x="120" y="11"/>
                  </a:lnTo>
                  <a:lnTo>
                    <a:pt x="113" y="9"/>
                  </a:lnTo>
                  <a:lnTo>
                    <a:pt x="109" y="7"/>
                  </a:lnTo>
                  <a:lnTo>
                    <a:pt x="104" y="7"/>
                  </a:lnTo>
                  <a:lnTo>
                    <a:pt x="97" y="7"/>
                  </a:lnTo>
                  <a:lnTo>
                    <a:pt x="90" y="7"/>
                  </a:lnTo>
                  <a:lnTo>
                    <a:pt x="90" y="0"/>
                  </a:lnTo>
                  <a:lnTo>
                    <a:pt x="90" y="0"/>
                  </a:lnTo>
                  <a:lnTo>
                    <a:pt x="87" y="0"/>
                  </a:lnTo>
                  <a:lnTo>
                    <a:pt x="85" y="0"/>
                  </a:lnTo>
                  <a:lnTo>
                    <a:pt x="83" y="0"/>
                  </a:lnTo>
                  <a:lnTo>
                    <a:pt x="80" y="0"/>
                  </a:lnTo>
                  <a:lnTo>
                    <a:pt x="80" y="0"/>
                  </a:lnTo>
                  <a:lnTo>
                    <a:pt x="76" y="2"/>
                  </a:lnTo>
                  <a:lnTo>
                    <a:pt x="71" y="2"/>
                  </a:lnTo>
                  <a:lnTo>
                    <a:pt x="68" y="2"/>
                  </a:lnTo>
                  <a:lnTo>
                    <a:pt x="66" y="4"/>
                  </a:lnTo>
                  <a:lnTo>
                    <a:pt x="64" y="4"/>
                  </a:lnTo>
                  <a:lnTo>
                    <a:pt x="61" y="7"/>
                  </a:lnTo>
                  <a:lnTo>
                    <a:pt x="61" y="9"/>
                  </a:lnTo>
                  <a:lnTo>
                    <a:pt x="61" y="11"/>
                  </a:lnTo>
                  <a:lnTo>
                    <a:pt x="61" y="14"/>
                  </a:lnTo>
                  <a:lnTo>
                    <a:pt x="61" y="14"/>
                  </a:lnTo>
                  <a:lnTo>
                    <a:pt x="61" y="16"/>
                  </a:lnTo>
                  <a:lnTo>
                    <a:pt x="61" y="1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0" name="Freeform 651">
              <a:extLst>
                <a:ext uri="{FF2B5EF4-FFF2-40B4-BE49-F238E27FC236}">
                  <a16:creationId xmlns:a16="http://schemas.microsoft.com/office/drawing/2014/main" id="{671C40A9-EE75-4689-8876-E23BB25B1234}"/>
                </a:ext>
              </a:extLst>
            </p:cNvPr>
            <p:cNvSpPr>
              <a:spLocks/>
            </p:cNvSpPr>
            <p:nvPr/>
          </p:nvSpPr>
          <p:spPr bwMode="auto">
            <a:xfrm>
              <a:off x="1972515" y="4965668"/>
              <a:ext cx="217487" cy="204788"/>
            </a:xfrm>
            <a:custGeom>
              <a:avLst/>
              <a:gdLst>
                <a:gd name="T0" fmla="*/ 64 w 137"/>
                <a:gd name="T1" fmla="*/ 18 h 129"/>
                <a:gd name="T2" fmla="*/ 64 w 137"/>
                <a:gd name="T3" fmla="*/ 21 h 129"/>
                <a:gd name="T4" fmla="*/ 61 w 137"/>
                <a:gd name="T5" fmla="*/ 21 h 129"/>
                <a:gd name="T6" fmla="*/ 57 w 137"/>
                <a:gd name="T7" fmla="*/ 21 h 129"/>
                <a:gd name="T8" fmla="*/ 57 w 137"/>
                <a:gd name="T9" fmla="*/ 23 h 129"/>
                <a:gd name="T10" fmla="*/ 54 w 137"/>
                <a:gd name="T11" fmla="*/ 21 h 129"/>
                <a:gd name="T12" fmla="*/ 52 w 137"/>
                <a:gd name="T13" fmla="*/ 23 h 129"/>
                <a:gd name="T14" fmla="*/ 50 w 137"/>
                <a:gd name="T15" fmla="*/ 23 h 129"/>
                <a:gd name="T16" fmla="*/ 50 w 137"/>
                <a:gd name="T17" fmla="*/ 26 h 129"/>
                <a:gd name="T18" fmla="*/ 50 w 137"/>
                <a:gd name="T19" fmla="*/ 26 h 129"/>
                <a:gd name="T20" fmla="*/ 47 w 137"/>
                <a:gd name="T21" fmla="*/ 28 h 129"/>
                <a:gd name="T22" fmla="*/ 45 w 137"/>
                <a:gd name="T23" fmla="*/ 30 h 129"/>
                <a:gd name="T24" fmla="*/ 42 w 137"/>
                <a:gd name="T25" fmla="*/ 33 h 129"/>
                <a:gd name="T26" fmla="*/ 40 w 137"/>
                <a:gd name="T27" fmla="*/ 35 h 129"/>
                <a:gd name="T28" fmla="*/ 38 w 137"/>
                <a:gd name="T29" fmla="*/ 35 h 129"/>
                <a:gd name="T30" fmla="*/ 33 w 137"/>
                <a:gd name="T31" fmla="*/ 40 h 129"/>
                <a:gd name="T32" fmla="*/ 31 w 137"/>
                <a:gd name="T33" fmla="*/ 42 h 129"/>
                <a:gd name="T34" fmla="*/ 26 w 137"/>
                <a:gd name="T35" fmla="*/ 44 h 129"/>
                <a:gd name="T36" fmla="*/ 24 w 137"/>
                <a:gd name="T37" fmla="*/ 42 h 129"/>
                <a:gd name="T38" fmla="*/ 19 w 137"/>
                <a:gd name="T39" fmla="*/ 42 h 129"/>
                <a:gd name="T40" fmla="*/ 14 w 137"/>
                <a:gd name="T41" fmla="*/ 42 h 129"/>
                <a:gd name="T42" fmla="*/ 2 w 137"/>
                <a:gd name="T43" fmla="*/ 40 h 129"/>
                <a:gd name="T44" fmla="*/ 0 w 137"/>
                <a:gd name="T45" fmla="*/ 40 h 129"/>
                <a:gd name="T46" fmla="*/ 2 w 137"/>
                <a:gd name="T47" fmla="*/ 44 h 129"/>
                <a:gd name="T48" fmla="*/ 9 w 137"/>
                <a:gd name="T49" fmla="*/ 54 h 129"/>
                <a:gd name="T50" fmla="*/ 12 w 137"/>
                <a:gd name="T51" fmla="*/ 61 h 129"/>
                <a:gd name="T52" fmla="*/ 26 w 137"/>
                <a:gd name="T53" fmla="*/ 77 h 129"/>
                <a:gd name="T54" fmla="*/ 35 w 137"/>
                <a:gd name="T55" fmla="*/ 82 h 129"/>
                <a:gd name="T56" fmla="*/ 42 w 137"/>
                <a:gd name="T57" fmla="*/ 87 h 129"/>
                <a:gd name="T58" fmla="*/ 45 w 137"/>
                <a:gd name="T59" fmla="*/ 96 h 129"/>
                <a:gd name="T60" fmla="*/ 50 w 137"/>
                <a:gd name="T61" fmla="*/ 108 h 129"/>
                <a:gd name="T62" fmla="*/ 54 w 137"/>
                <a:gd name="T63" fmla="*/ 113 h 129"/>
                <a:gd name="T64" fmla="*/ 61 w 137"/>
                <a:gd name="T65" fmla="*/ 113 h 129"/>
                <a:gd name="T66" fmla="*/ 68 w 137"/>
                <a:gd name="T67" fmla="*/ 115 h 129"/>
                <a:gd name="T68" fmla="*/ 76 w 137"/>
                <a:gd name="T69" fmla="*/ 118 h 129"/>
                <a:gd name="T70" fmla="*/ 87 w 137"/>
                <a:gd name="T71" fmla="*/ 120 h 129"/>
                <a:gd name="T72" fmla="*/ 94 w 137"/>
                <a:gd name="T73" fmla="*/ 120 h 129"/>
                <a:gd name="T74" fmla="*/ 106 w 137"/>
                <a:gd name="T75" fmla="*/ 122 h 129"/>
                <a:gd name="T76" fmla="*/ 111 w 137"/>
                <a:gd name="T77" fmla="*/ 127 h 129"/>
                <a:gd name="T78" fmla="*/ 113 w 137"/>
                <a:gd name="T79" fmla="*/ 127 h 129"/>
                <a:gd name="T80" fmla="*/ 113 w 137"/>
                <a:gd name="T81" fmla="*/ 120 h 129"/>
                <a:gd name="T82" fmla="*/ 118 w 137"/>
                <a:gd name="T83" fmla="*/ 113 h 129"/>
                <a:gd name="T84" fmla="*/ 127 w 137"/>
                <a:gd name="T85" fmla="*/ 101 h 129"/>
                <a:gd name="T86" fmla="*/ 135 w 137"/>
                <a:gd name="T87" fmla="*/ 80 h 129"/>
                <a:gd name="T88" fmla="*/ 132 w 137"/>
                <a:gd name="T89" fmla="*/ 66 h 129"/>
                <a:gd name="T90" fmla="*/ 135 w 137"/>
                <a:gd name="T91" fmla="*/ 56 h 129"/>
                <a:gd name="T92" fmla="*/ 137 w 137"/>
                <a:gd name="T93" fmla="*/ 47 h 129"/>
                <a:gd name="T94" fmla="*/ 137 w 137"/>
                <a:gd name="T95" fmla="*/ 33 h 129"/>
                <a:gd name="T96" fmla="*/ 135 w 137"/>
                <a:gd name="T97" fmla="*/ 23 h 129"/>
                <a:gd name="T98" fmla="*/ 132 w 137"/>
                <a:gd name="T99" fmla="*/ 16 h 129"/>
                <a:gd name="T100" fmla="*/ 113 w 137"/>
                <a:gd name="T101" fmla="*/ 9 h 129"/>
                <a:gd name="T102" fmla="*/ 104 w 137"/>
                <a:gd name="T103" fmla="*/ 7 h 129"/>
                <a:gd name="T104" fmla="*/ 90 w 137"/>
                <a:gd name="T105" fmla="*/ 7 h 129"/>
                <a:gd name="T106" fmla="*/ 90 w 137"/>
                <a:gd name="T107" fmla="*/ 0 h 129"/>
                <a:gd name="T108" fmla="*/ 85 w 137"/>
                <a:gd name="T109" fmla="*/ 0 h 129"/>
                <a:gd name="T110" fmla="*/ 80 w 137"/>
                <a:gd name="T111" fmla="*/ 0 h 129"/>
                <a:gd name="T112" fmla="*/ 76 w 137"/>
                <a:gd name="T113" fmla="*/ 2 h 129"/>
                <a:gd name="T114" fmla="*/ 68 w 137"/>
                <a:gd name="T115" fmla="*/ 2 h 129"/>
                <a:gd name="T116" fmla="*/ 64 w 137"/>
                <a:gd name="T117" fmla="*/ 4 h 129"/>
                <a:gd name="T118" fmla="*/ 61 w 137"/>
                <a:gd name="T119" fmla="*/ 9 h 129"/>
                <a:gd name="T120" fmla="*/ 61 w 137"/>
                <a:gd name="T121" fmla="*/ 14 h 129"/>
                <a:gd name="T122" fmla="*/ 61 w 137"/>
                <a:gd name="T123" fmla="*/ 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29">
                  <a:moveTo>
                    <a:pt x="61" y="16"/>
                  </a:moveTo>
                  <a:lnTo>
                    <a:pt x="64" y="18"/>
                  </a:lnTo>
                  <a:lnTo>
                    <a:pt x="66" y="21"/>
                  </a:lnTo>
                  <a:lnTo>
                    <a:pt x="64" y="21"/>
                  </a:lnTo>
                  <a:lnTo>
                    <a:pt x="64" y="21"/>
                  </a:lnTo>
                  <a:lnTo>
                    <a:pt x="61" y="21"/>
                  </a:lnTo>
                  <a:lnTo>
                    <a:pt x="59" y="21"/>
                  </a:lnTo>
                  <a:lnTo>
                    <a:pt x="57" y="21"/>
                  </a:lnTo>
                  <a:lnTo>
                    <a:pt x="57" y="21"/>
                  </a:lnTo>
                  <a:lnTo>
                    <a:pt x="57" y="23"/>
                  </a:lnTo>
                  <a:lnTo>
                    <a:pt x="54" y="23"/>
                  </a:lnTo>
                  <a:lnTo>
                    <a:pt x="54" y="21"/>
                  </a:lnTo>
                  <a:lnTo>
                    <a:pt x="54" y="21"/>
                  </a:lnTo>
                  <a:lnTo>
                    <a:pt x="52" y="23"/>
                  </a:lnTo>
                  <a:lnTo>
                    <a:pt x="52" y="23"/>
                  </a:lnTo>
                  <a:lnTo>
                    <a:pt x="50" y="23"/>
                  </a:lnTo>
                  <a:lnTo>
                    <a:pt x="50" y="26"/>
                  </a:lnTo>
                  <a:lnTo>
                    <a:pt x="50" y="26"/>
                  </a:lnTo>
                  <a:lnTo>
                    <a:pt x="50" y="26"/>
                  </a:lnTo>
                  <a:lnTo>
                    <a:pt x="50" y="26"/>
                  </a:lnTo>
                  <a:lnTo>
                    <a:pt x="50" y="26"/>
                  </a:lnTo>
                  <a:lnTo>
                    <a:pt x="47" y="28"/>
                  </a:lnTo>
                  <a:lnTo>
                    <a:pt x="45" y="28"/>
                  </a:lnTo>
                  <a:lnTo>
                    <a:pt x="45" y="30"/>
                  </a:lnTo>
                  <a:lnTo>
                    <a:pt x="42" y="30"/>
                  </a:lnTo>
                  <a:lnTo>
                    <a:pt x="42" y="33"/>
                  </a:lnTo>
                  <a:lnTo>
                    <a:pt x="40" y="33"/>
                  </a:lnTo>
                  <a:lnTo>
                    <a:pt x="40" y="35"/>
                  </a:lnTo>
                  <a:lnTo>
                    <a:pt x="40" y="35"/>
                  </a:lnTo>
                  <a:lnTo>
                    <a:pt x="38" y="35"/>
                  </a:lnTo>
                  <a:lnTo>
                    <a:pt x="35" y="40"/>
                  </a:lnTo>
                  <a:lnTo>
                    <a:pt x="33" y="40"/>
                  </a:lnTo>
                  <a:lnTo>
                    <a:pt x="33" y="40"/>
                  </a:lnTo>
                  <a:lnTo>
                    <a:pt x="31" y="42"/>
                  </a:lnTo>
                  <a:lnTo>
                    <a:pt x="28" y="42"/>
                  </a:lnTo>
                  <a:lnTo>
                    <a:pt x="26" y="44"/>
                  </a:lnTo>
                  <a:lnTo>
                    <a:pt x="24" y="42"/>
                  </a:lnTo>
                  <a:lnTo>
                    <a:pt x="24" y="42"/>
                  </a:lnTo>
                  <a:lnTo>
                    <a:pt x="24" y="40"/>
                  </a:lnTo>
                  <a:lnTo>
                    <a:pt x="19" y="42"/>
                  </a:lnTo>
                  <a:lnTo>
                    <a:pt x="19" y="40"/>
                  </a:lnTo>
                  <a:lnTo>
                    <a:pt x="14" y="42"/>
                  </a:lnTo>
                  <a:lnTo>
                    <a:pt x="9" y="40"/>
                  </a:lnTo>
                  <a:lnTo>
                    <a:pt x="2" y="40"/>
                  </a:lnTo>
                  <a:lnTo>
                    <a:pt x="2" y="40"/>
                  </a:lnTo>
                  <a:lnTo>
                    <a:pt x="0" y="40"/>
                  </a:lnTo>
                  <a:lnTo>
                    <a:pt x="0" y="42"/>
                  </a:lnTo>
                  <a:lnTo>
                    <a:pt x="2" y="44"/>
                  </a:lnTo>
                  <a:lnTo>
                    <a:pt x="5" y="51"/>
                  </a:lnTo>
                  <a:lnTo>
                    <a:pt x="9" y="54"/>
                  </a:lnTo>
                  <a:lnTo>
                    <a:pt x="9" y="59"/>
                  </a:lnTo>
                  <a:lnTo>
                    <a:pt x="12" y="61"/>
                  </a:lnTo>
                  <a:lnTo>
                    <a:pt x="16" y="68"/>
                  </a:lnTo>
                  <a:lnTo>
                    <a:pt x="26" y="77"/>
                  </a:lnTo>
                  <a:lnTo>
                    <a:pt x="31" y="80"/>
                  </a:lnTo>
                  <a:lnTo>
                    <a:pt x="35" y="82"/>
                  </a:lnTo>
                  <a:lnTo>
                    <a:pt x="38" y="87"/>
                  </a:lnTo>
                  <a:lnTo>
                    <a:pt x="42" y="87"/>
                  </a:lnTo>
                  <a:lnTo>
                    <a:pt x="45" y="92"/>
                  </a:lnTo>
                  <a:lnTo>
                    <a:pt x="45" y="96"/>
                  </a:lnTo>
                  <a:lnTo>
                    <a:pt x="47" y="103"/>
                  </a:lnTo>
                  <a:lnTo>
                    <a:pt x="50" y="108"/>
                  </a:lnTo>
                  <a:lnTo>
                    <a:pt x="52" y="111"/>
                  </a:lnTo>
                  <a:lnTo>
                    <a:pt x="54" y="113"/>
                  </a:lnTo>
                  <a:lnTo>
                    <a:pt x="59" y="113"/>
                  </a:lnTo>
                  <a:lnTo>
                    <a:pt x="61" y="113"/>
                  </a:lnTo>
                  <a:lnTo>
                    <a:pt x="66" y="115"/>
                  </a:lnTo>
                  <a:lnTo>
                    <a:pt x="68" y="115"/>
                  </a:lnTo>
                  <a:lnTo>
                    <a:pt x="73" y="118"/>
                  </a:lnTo>
                  <a:lnTo>
                    <a:pt x="76" y="118"/>
                  </a:lnTo>
                  <a:lnTo>
                    <a:pt x="80" y="118"/>
                  </a:lnTo>
                  <a:lnTo>
                    <a:pt x="87" y="120"/>
                  </a:lnTo>
                  <a:lnTo>
                    <a:pt x="92" y="120"/>
                  </a:lnTo>
                  <a:lnTo>
                    <a:pt x="94" y="120"/>
                  </a:lnTo>
                  <a:lnTo>
                    <a:pt x="99" y="120"/>
                  </a:lnTo>
                  <a:lnTo>
                    <a:pt x="106" y="122"/>
                  </a:lnTo>
                  <a:lnTo>
                    <a:pt x="111" y="127"/>
                  </a:lnTo>
                  <a:lnTo>
                    <a:pt x="111" y="127"/>
                  </a:lnTo>
                  <a:lnTo>
                    <a:pt x="111" y="129"/>
                  </a:lnTo>
                  <a:lnTo>
                    <a:pt x="113" y="127"/>
                  </a:lnTo>
                  <a:lnTo>
                    <a:pt x="113" y="122"/>
                  </a:lnTo>
                  <a:lnTo>
                    <a:pt x="113" y="120"/>
                  </a:lnTo>
                  <a:lnTo>
                    <a:pt x="116" y="115"/>
                  </a:lnTo>
                  <a:lnTo>
                    <a:pt x="118" y="113"/>
                  </a:lnTo>
                  <a:lnTo>
                    <a:pt x="120" y="111"/>
                  </a:lnTo>
                  <a:lnTo>
                    <a:pt x="127" y="101"/>
                  </a:lnTo>
                  <a:lnTo>
                    <a:pt x="130" y="92"/>
                  </a:lnTo>
                  <a:lnTo>
                    <a:pt x="135" y="80"/>
                  </a:lnTo>
                  <a:lnTo>
                    <a:pt x="135" y="70"/>
                  </a:lnTo>
                  <a:lnTo>
                    <a:pt x="132" y="66"/>
                  </a:lnTo>
                  <a:lnTo>
                    <a:pt x="132" y="61"/>
                  </a:lnTo>
                  <a:lnTo>
                    <a:pt x="135" y="56"/>
                  </a:lnTo>
                  <a:lnTo>
                    <a:pt x="135" y="51"/>
                  </a:lnTo>
                  <a:lnTo>
                    <a:pt x="137" y="47"/>
                  </a:lnTo>
                  <a:lnTo>
                    <a:pt x="137" y="44"/>
                  </a:lnTo>
                  <a:lnTo>
                    <a:pt x="137" y="33"/>
                  </a:lnTo>
                  <a:lnTo>
                    <a:pt x="135" y="26"/>
                  </a:lnTo>
                  <a:lnTo>
                    <a:pt x="135" y="23"/>
                  </a:lnTo>
                  <a:lnTo>
                    <a:pt x="135" y="18"/>
                  </a:lnTo>
                  <a:lnTo>
                    <a:pt x="132" y="16"/>
                  </a:lnTo>
                  <a:lnTo>
                    <a:pt x="120" y="11"/>
                  </a:lnTo>
                  <a:lnTo>
                    <a:pt x="113" y="9"/>
                  </a:lnTo>
                  <a:lnTo>
                    <a:pt x="109" y="7"/>
                  </a:lnTo>
                  <a:lnTo>
                    <a:pt x="104" y="7"/>
                  </a:lnTo>
                  <a:lnTo>
                    <a:pt x="97" y="7"/>
                  </a:lnTo>
                  <a:lnTo>
                    <a:pt x="90" y="7"/>
                  </a:lnTo>
                  <a:lnTo>
                    <a:pt x="90" y="0"/>
                  </a:lnTo>
                  <a:lnTo>
                    <a:pt x="90" y="0"/>
                  </a:lnTo>
                  <a:lnTo>
                    <a:pt x="87" y="0"/>
                  </a:lnTo>
                  <a:lnTo>
                    <a:pt x="85" y="0"/>
                  </a:lnTo>
                  <a:lnTo>
                    <a:pt x="83" y="0"/>
                  </a:lnTo>
                  <a:lnTo>
                    <a:pt x="80" y="0"/>
                  </a:lnTo>
                  <a:lnTo>
                    <a:pt x="80" y="0"/>
                  </a:lnTo>
                  <a:lnTo>
                    <a:pt x="76" y="2"/>
                  </a:lnTo>
                  <a:lnTo>
                    <a:pt x="71" y="2"/>
                  </a:lnTo>
                  <a:lnTo>
                    <a:pt x="68" y="2"/>
                  </a:lnTo>
                  <a:lnTo>
                    <a:pt x="66" y="4"/>
                  </a:lnTo>
                  <a:lnTo>
                    <a:pt x="64" y="4"/>
                  </a:lnTo>
                  <a:lnTo>
                    <a:pt x="61" y="7"/>
                  </a:lnTo>
                  <a:lnTo>
                    <a:pt x="61" y="9"/>
                  </a:lnTo>
                  <a:lnTo>
                    <a:pt x="61" y="11"/>
                  </a:lnTo>
                  <a:lnTo>
                    <a:pt x="61" y="14"/>
                  </a:lnTo>
                  <a:lnTo>
                    <a:pt x="61" y="14"/>
                  </a:lnTo>
                  <a:lnTo>
                    <a:pt x="61" y="16"/>
                  </a:lnTo>
                  <a:lnTo>
                    <a:pt x="61" y="1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1" name="Freeform 652">
              <a:extLst>
                <a:ext uri="{FF2B5EF4-FFF2-40B4-BE49-F238E27FC236}">
                  <a16:creationId xmlns:a16="http://schemas.microsoft.com/office/drawing/2014/main" id="{98AB8894-8FA8-4A13-84DC-9D46CDDF6DC6}"/>
                </a:ext>
              </a:extLst>
            </p:cNvPr>
            <p:cNvSpPr>
              <a:spLocks/>
            </p:cNvSpPr>
            <p:nvPr/>
          </p:nvSpPr>
          <p:spPr bwMode="auto">
            <a:xfrm>
              <a:off x="1882027" y="3878228"/>
              <a:ext cx="457199" cy="554037"/>
            </a:xfrm>
            <a:custGeom>
              <a:avLst/>
              <a:gdLst>
                <a:gd name="T0" fmla="*/ 38 w 288"/>
                <a:gd name="T1" fmla="*/ 118 h 349"/>
                <a:gd name="T2" fmla="*/ 24 w 288"/>
                <a:gd name="T3" fmla="*/ 134 h 349"/>
                <a:gd name="T4" fmla="*/ 19 w 288"/>
                <a:gd name="T5" fmla="*/ 141 h 349"/>
                <a:gd name="T6" fmla="*/ 7 w 288"/>
                <a:gd name="T7" fmla="*/ 160 h 349"/>
                <a:gd name="T8" fmla="*/ 5 w 288"/>
                <a:gd name="T9" fmla="*/ 167 h 349"/>
                <a:gd name="T10" fmla="*/ 3 w 288"/>
                <a:gd name="T11" fmla="*/ 179 h 349"/>
                <a:gd name="T12" fmla="*/ 3 w 288"/>
                <a:gd name="T13" fmla="*/ 189 h 349"/>
                <a:gd name="T14" fmla="*/ 10 w 288"/>
                <a:gd name="T15" fmla="*/ 198 h 349"/>
                <a:gd name="T16" fmla="*/ 17 w 288"/>
                <a:gd name="T17" fmla="*/ 212 h 349"/>
                <a:gd name="T18" fmla="*/ 19 w 288"/>
                <a:gd name="T19" fmla="*/ 222 h 349"/>
                <a:gd name="T20" fmla="*/ 29 w 288"/>
                <a:gd name="T21" fmla="*/ 245 h 349"/>
                <a:gd name="T22" fmla="*/ 36 w 288"/>
                <a:gd name="T23" fmla="*/ 259 h 349"/>
                <a:gd name="T24" fmla="*/ 52 w 288"/>
                <a:gd name="T25" fmla="*/ 266 h 349"/>
                <a:gd name="T26" fmla="*/ 57 w 288"/>
                <a:gd name="T27" fmla="*/ 276 h 349"/>
                <a:gd name="T28" fmla="*/ 73 w 288"/>
                <a:gd name="T29" fmla="*/ 290 h 349"/>
                <a:gd name="T30" fmla="*/ 83 w 288"/>
                <a:gd name="T31" fmla="*/ 302 h 349"/>
                <a:gd name="T32" fmla="*/ 97 w 288"/>
                <a:gd name="T33" fmla="*/ 316 h 349"/>
                <a:gd name="T34" fmla="*/ 107 w 288"/>
                <a:gd name="T35" fmla="*/ 328 h 349"/>
                <a:gd name="T36" fmla="*/ 118 w 288"/>
                <a:gd name="T37" fmla="*/ 335 h 349"/>
                <a:gd name="T38" fmla="*/ 137 w 288"/>
                <a:gd name="T39" fmla="*/ 330 h 349"/>
                <a:gd name="T40" fmla="*/ 154 w 288"/>
                <a:gd name="T41" fmla="*/ 347 h 349"/>
                <a:gd name="T42" fmla="*/ 166 w 288"/>
                <a:gd name="T43" fmla="*/ 347 h 349"/>
                <a:gd name="T44" fmla="*/ 177 w 288"/>
                <a:gd name="T45" fmla="*/ 349 h 349"/>
                <a:gd name="T46" fmla="*/ 196 w 288"/>
                <a:gd name="T47" fmla="*/ 344 h 349"/>
                <a:gd name="T48" fmla="*/ 210 w 288"/>
                <a:gd name="T49" fmla="*/ 340 h 349"/>
                <a:gd name="T50" fmla="*/ 234 w 288"/>
                <a:gd name="T51" fmla="*/ 333 h 349"/>
                <a:gd name="T52" fmla="*/ 246 w 288"/>
                <a:gd name="T53" fmla="*/ 321 h 349"/>
                <a:gd name="T54" fmla="*/ 232 w 288"/>
                <a:gd name="T55" fmla="*/ 314 h 349"/>
                <a:gd name="T56" fmla="*/ 225 w 288"/>
                <a:gd name="T57" fmla="*/ 295 h 349"/>
                <a:gd name="T58" fmla="*/ 213 w 288"/>
                <a:gd name="T59" fmla="*/ 283 h 349"/>
                <a:gd name="T60" fmla="*/ 201 w 288"/>
                <a:gd name="T61" fmla="*/ 276 h 349"/>
                <a:gd name="T62" fmla="*/ 196 w 288"/>
                <a:gd name="T63" fmla="*/ 271 h 349"/>
                <a:gd name="T64" fmla="*/ 208 w 288"/>
                <a:gd name="T65" fmla="*/ 264 h 349"/>
                <a:gd name="T66" fmla="*/ 215 w 288"/>
                <a:gd name="T67" fmla="*/ 243 h 349"/>
                <a:gd name="T68" fmla="*/ 215 w 288"/>
                <a:gd name="T69" fmla="*/ 229 h 349"/>
                <a:gd name="T70" fmla="*/ 222 w 288"/>
                <a:gd name="T71" fmla="*/ 222 h 349"/>
                <a:gd name="T72" fmla="*/ 232 w 288"/>
                <a:gd name="T73" fmla="*/ 207 h 349"/>
                <a:gd name="T74" fmla="*/ 251 w 288"/>
                <a:gd name="T75" fmla="*/ 184 h 349"/>
                <a:gd name="T76" fmla="*/ 255 w 288"/>
                <a:gd name="T77" fmla="*/ 151 h 349"/>
                <a:gd name="T78" fmla="*/ 262 w 288"/>
                <a:gd name="T79" fmla="*/ 122 h 349"/>
                <a:gd name="T80" fmla="*/ 270 w 288"/>
                <a:gd name="T81" fmla="*/ 111 h 349"/>
                <a:gd name="T82" fmla="*/ 281 w 288"/>
                <a:gd name="T83" fmla="*/ 101 h 349"/>
                <a:gd name="T84" fmla="*/ 288 w 288"/>
                <a:gd name="T85" fmla="*/ 89 h 349"/>
                <a:gd name="T86" fmla="*/ 284 w 288"/>
                <a:gd name="T87" fmla="*/ 85 h 349"/>
                <a:gd name="T88" fmla="*/ 272 w 288"/>
                <a:gd name="T89" fmla="*/ 80 h 349"/>
                <a:gd name="T90" fmla="*/ 267 w 288"/>
                <a:gd name="T91" fmla="*/ 49 h 349"/>
                <a:gd name="T92" fmla="*/ 262 w 288"/>
                <a:gd name="T93" fmla="*/ 28 h 349"/>
                <a:gd name="T94" fmla="*/ 255 w 288"/>
                <a:gd name="T95" fmla="*/ 14 h 349"/>
                <a:gd name="T96" fmla="*/ 239 w 288"/>
                <a:gd name="T97" fmla="*/ 0 h 349"/>
                <a:gd name="T98" fmla="*/ 215 w 288"/>
                <a:gd name="T99" fmla="*/ 16 h 349"/>
                <a:gd name="T100" fmla="*/ 168 w 288"/>
                <a:gd name="T101" fmla="*/ 21 h 349"/>
                <a:gd name="T102" fmla="*/ 166 w 288"/>
                <a:gd name="T103" fmla="*/ 16 h 349"/>
                <a:gd name="T104" fmla="*/ 121 w 288"/>
                <a:gd name="T105" fmla="*/ 21 h 349"/>
                <a:gd name="T106" fmla="*/ 55 w 288"/>
                <a:gd name="T107" fmla="*/ 21 h 349"/>
                <a:gd name="T108" fmla="*/ 38 w 288"/>
                <a:gd name="T109" fmla="*/ 5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8" h="349">
                  <a:moveTo>
                    <a:pt x="38" y="66"/>
                  </a:moveTo>
                  <a:lnTo>
                    <a:pt x="38" y="85"/>
                  </a:lnTo>
                  <a:lnTo>
                    <a:pt x="38" y="101"/>
                  </a:lnTo>
                  <a:lnTo>
                    <a:pt x="38" y="118"/>
                  </a:lnTo>
                  <a:lnTo>
                    <a:pt x="38" y="134"/>
                  </a:lnTo>
                  <a:lnTo>
                    <a:pt x="36" y="134"/>
                  </a:lnTo>
                  <a:lnTo>
                    <a:pt x="26" y="134"/>
                  </a:lnTo>
                  <a:lnTo>
                    <a:pt x="24" y="134"/>
                  </a:lnTo>
                  <a:lnTo>
                    <a:pt x="19" y="134"/>
                  </a:lnTo>
                  <a:lnTo>
                    <a:pt x="19" y="137"/>
                  </a:lnTo>
                  <a:lnTo>
                    <a:pt x="19" y="139"/>
                  </a:lnTo>
                  <a:lnTo>
                    <a:pt x="19" y="141"/>
                  </a:lnTo>
                  <a:lnTo>
                    <a:pt x="17" y="146"/>
                  </a:lnTo>
                  <a:lnTo>
                    <a:pt x="14" y="151"/>
                  </a:lnTo>
                  <a:lnTo>
                    <a:pt x="7" y="158"/>
                  </a:lnTo>
                  <a:lnTo>
                    <a:pt x="7" y="160"/>
                  </a:lnTo>
                  <a:lnTo>
                    <a:pt x="10" y="163"/>
                  </a:lnTo>
                  <a:lnTo>
                    <a:pt x="7" y="165"/>
                  </a:lnTo>
                  <a:lnTo>
                    <a:pt x="7" y="165"/>
                  </a:lnTo>
                  <a:lnTo>
                    <a:pt x="5" y="167"/>
                  </a:lnTo>
                  <a:lnTo>
                    <a:pt x="5" y="167"/>
                  </a:lnTo>
                  <a:lnTo>
                    <a:pt x="5" y="172"/>
                  </a:lnTo>
                  <a:lnTo>
                    <a:pt x="5" y="177"/>
                  </a:lnTo>
                  <a:lnTo>
                    <a:pt x="3" y="179"/>
                  </a:lnTo>
                  <a:lnTo>
                    <a:pt x="0" y="181"/>
                  </a:lnTo>
                  <a:lnTo>
                    <a:pt x="0" y="184"/>
                  </a:lnTo>
                  <a:lnTo>
                    <a:pt x="0" y="189"/>
                  </a:lnTo>
                  <a:lnTo>
                    <a:pt x="3" y="189"/>
                  </a:lnTo>
                  <a:lnTo>
                    <a:pt x="3" y="189"/>
                  </a:lnTo>
                  <a:lnTo>
                    <a:pt x="10" y="186"/>
                  </a:lnTo>
                  <a:lnTo>
                    <a:pt x="7" y="193"/>
                  </a:lnTo>
                  <a:lnTo>
                    <a:pt x="10" y="198"/>
                  </a:lnTo>
                  <a:lnTo>
                    <a:pt x="14" y="207"/>
                  </a:lnTo>
                  <a:lnTo>
                    <a:pt x="14" y="210"/>
                  </a:lnTo>
                  <a:lnTo>
                    <a:pt x="17" y="210"/>
                  </a:lnTo>
                  <a:lnTo>
                    <a:pt x="17" y="212"/>
                  </a:lnTo>
                  <a:lnTo>
                    <a:pt x="19" y="214"/>
                  </a:lnTo>
                  <a:lnTo>
                    <a:pt x="19" y="217"/>
                  </a:lnTo>
                  <a:lnTo>
                    <a:pt x="14" y="219"/>
                  </a:lnTo>
                  <a:lnTo>
                    <a:pt x="19" y="222"/>
                  </a:lnTo>
                  <a:lnTo>
                    <a:pt x="24" y="229"/>
                  </a:lnTo>
                  <a:lnTo>
                    <a:pt x="29" y="236"/>
                  </a:lnTo>
                  <a:lnTo>
                    <a:pt x="31" y="240"/>
                  </a:lnTo>
                  <a:lnTo>
                    <a:pt x="29" y="245"/>
                  </a:lnTo>
                  <a:lnTo>
                    <a:pt x="29" y="252"/>
                  </a:lnTo>
                  <a:lnTo>
                    <a:pt x="29" y="255"/>
                  </a:lnTo>
                  <a:lnTo>
                    <a:pt x="33" y="259"/>
                  </a:lnTo>
                  <a:lnTo>
                    <a:pt x="36" y="259"/>
                  </a:lnTo>
                  <a:lnTo>
                    <a:pt x="40" y="259"/>
                  </a:lnTo>
                  <a:lnTo>
                    <a:pt x="43" y="264"/>
                  </a:lnTo>
                  <a:lnTo>
                    <a:pt x="45" y="266"/>
                  </a:lnTo>
                  <a:lnTo>
                    <a:pt x="52" y="266"/>
                  </a:lnTo>
                  <a:lnTo>
                    <a:pt x="55" y="269"/>
                  </a:lnTo>
                  <a:lnTo>
                    <a:pt x="57" y="271"/>
                  </a:lnTo>
                  <a:lnTo>
                    <a:pt x="59" y="271"/>
                  </a:lnTo>
                  <a:lnTo>
                    <a:pt x="57" y="276"/>
                  </a:lnTo>
                  <a:lnTo>
                    <a:pt x="59" y="278"/>
                  </a:lnTo>
                  <a:lnTo>
                    <a:pt x="66" y="283"/>
                  </a:lnTo>
                  <a:lnTo>
                    <a:pt x="71" y="288"/>
                  </a:lnTo>
                  <a:lnTo>
                    <a:pt x="73" y="290"/>
                  </a:lnTo>
                  <a:lnTo>
                    <a:pt x="78" y="292"/>
                  </a:lnTo>
                  <a:lnTo>
                    <a:pt x="78" y="295"/>
                  </a:lnTo>
                  <a:lnTo>
                    <a:pt x="81" y="300"/>
                  </a:lnTo>
                  <a:lnTo>
                    <a:pt x="83" y="302"/>
                  </a:lnTo>
                  <a:lnTo>
                    <a:pt x="83" y="304"/>
                  </a:lnTo>
                  <a:lnTo>
                    <a:pt x="85" y="307"/>
                  </a:lnTo>
                  <a:lnTo>
                    <a:pt x="95" y="311"/>
                  </a:lnTo>
                  <a:lnTo>
                    <a:pt x="97" y="316"/>
                  </a:lnTo>
                  <a:lnTo>
                    <a:pt x="97" y="318"/>
                  </a:lnTo>
                  <a:lnTo>
                    <a:pt x="99" y="321"/>
                  </a:lnTo>
                  <a:lnTo>
                    <a:pt x="102" y="323"/>
                  </a:lnTo>
                  <a:lnTo>
                    <a:pt x="107" y="328"/>
                  </a:lnTo>
                  <a:lnTo>
                    <a:pt x="107" y="330"/>
                  </a:lnTo>
                  <a:lnTo>
                    <a:pt x="109" y="333"/>
                  </a:lnTo>
                  <a:lnTo>
                    <a:pt x="116" y="335"/>
                  </a:lnTo>
                  <a:lnTo>
                    <a:pt x="118" y="335"/>
                  </a:lnTo>
                  <a:lnTo>
                    <a:pt x="121" y="333"/>
                  </a:lnTo>
                  <a:lnTo>
                    <a:pt x="128" y="335"/>
                  </a:lnTo>
                  <a:lnTo>
                    <a:pt x="133" y="333"/>
                  </a:lnTo>
                  <a:lnTo>
                    <a:pt x="137" y="330"/>
                  </a:lnTo>
                  <a:lnTo>
                    <a:pt x="140" y="333"/>
                  </a:lnTo>
                  <a:lnTo>
                    <a:pt x="149" y="340"/>
                  </a:lnTo>
                  <a:lnTo>
                    <a:pt x="151" y="344"/>
                  </a:lnTo>
                  <a:lnTo>
                    <a:pt x="154" y="347"/>
                  </a:lnTo>
                  <a:lnTo>
                    <a:pt x="156" y="347"/>
                  </a:lnTo>
                  <a:lnTo>
                    <a:pt x="158" y="347"/>
                  </a:lnTo>
                  <a:lnTo>
                    <a:pt x="161" y="347"/>
                  </a:lnTo>
                  <a:lnTo>
                    <a:pt x="166" y="347"/>
                  </a:lnTo>
                  <a:lnTo>
                    <a:pt x="168" y="347"/>
                  </a:lnTo>
                  <a:lnTo>
                    <a:pt x="173" y="347"/>
                  </a:lnTo>
                  <a:lnTo>
                    <a:pt x="175" y="347"/>
                  </a:lnTo>
                  <a:lnTo>
                    <a:pt x="177" y="349"/>
                  </a:lnTo>
                  <a:lnTo>
                    <a:pt x="182" y="347"/>
                  </a:lnTo>
                  <a:lnTo>
                    <a:pt x="187" y="347"/>
                  </a:lnTo>
                  <a:lnTo>
                    <a:pt x="192" y="344"/>
                  </a:lnTo>
                  <a:lnTo>
                    <a:pt x="196" y="344"/>
                  </a:lnTo>
                  <a:lnTo>
                    <a:pt x="203" y="344"/>
                  </a:lnTo>
                  <a:lnTo>
                    <a:pt x="210" y="340"/>
                  </a:lnTo>
                  <a:lnTo>
                    <a:pt x="210" y="340"/>
                  </a:lnTo>
                  <a:lnTo>
                    <a:pt x="210" y="340"/>
                  </a:lnTo>
                  <a:lnTo>
                    <a:pt x="218" y="333"/>
                  </a:lnTo>
                  <a:lnTo>
                    <a:pt x="220" y="330"/>
                  </a:lnTo>
                  <a:lnTo>
                    <a:pt x="225" y="330"/>
                  </a:lnTo>
                  <a:lnTo>
                    <a:pt x="234" y="333"/>
                  </a:lnTo>
                  <a:lnTo>
                    <a:pt x="239" y="333"/>
                  </a:lnTo>
                  <a:lnTo>
                    <a:pt x="244" y="330"/>
                  </a:lnTo>
                  <a:lnTo>
                    <a:pt x="244" y="323"/>
                  </a:lnTo>
                  <a:lnTo>
                    <a:pt x="246" y="321"/>
                  </a:lnTo>
                  <a:lnTo>
                    <a:pt x="244" y="318"/>
                  </a:lnTo>
                  <a:lnTo>
                    <a:pt x="244" y="316"/>
                  </a:lnTo>
                  <a:lnTo>
                    <a:pt x="234" y="316"/>
                  </a:lnTo>
                  <a:lnTo>
                    <a:pt x="232" y="314"/>
                  </a:lnTo>
                  <a:lnTo>
                    <a:pt x="232" y="311"/>
                  </a:lnTo>
                  <a:lnTo>
                    <a:pt x="227" y="302"/>
                  </a:lnTo>
                  <a:lnTo>
                    <a:pt x="227" y="297"/>
                  </a:lnTo>
                  <a:lnTo>
                    <a:pt x="225" y="295"/>
                  </a:lnTo>
                  <a:lnTo>
                    <a:pt x="218" y="290"/>
                  </a:lnTo>
                  <a:lnTo>
                    <a:pt x="215" y="288"/>
                  </a:lnTo>
                  <a:lnTo>
                    <a:pt x="213" y="285"/>
                  </a:lnTo>
                  <a:lnTo>
                    <a:pt x="213" y="283"/>
                  </a:lnTo>
                  <a:lnTo>
                    <a:pt x="210" y="278"/>
                  </a:lnTo>
                  <a:lnTo>
                    <a:pt x="208" y="278"/>
                  </a:lnTo>
                  <a:lnTo>
                    <a:pt x="203" y="276"/>
                  </a:lnTo>
                  <a:lnTo>
                    <a:pt x="201" y="276"/>
                  </a:lnTo>
                  <a:lnTo>
                    <a:pt x="199" y="276"/>
                  </a:lnTo>
                  <a:lnTo>
                    <a:pt x="196" y="276"/>
                  </a:lnTo>
                  <a:lnTo>
                    <a:pt x="194" y="274"/>
                  </a:lnTo>
                  <a:lnTo>
                    <a:pt x="196" y="271"/>
                  </a:lnTo>
                  <a:lnTo>
                    <a:pt x="199" y="269"/>
                  </a:lnTo>
                  <a:lnTo>
                    <a:pt x="199" y="264"/>
                  </a:lnTo>
                  <a:lnTo>
                    <a:pt x="201" y="264"/>
                  </a:lnTo>
                  <a:lnTo>
                    <a:pt x="208" y="264"/>
                  </a:lnTo>
                  <a:lnTo>
                    <a:pt x="213" y="264"/>
                  </a:lnTo>
                  <a:lnTo>
                    <a:pt x="215" y="262"/>
                  </a:lnTo>
                  <a:lnTo>
                    <a:pt x="215" y="257"/>
                  </a:lnTo>
                  <a:lnTo>
                    <a:pt x="215" y="243"/>
                  </a:lnTo>
                  <a:lnTo>
                    <a:pt x="215" y="238"/>
                  </a:lnTo>
                  <a:lnTo>
                    <a:pt x="218" y="233"/>
                  </a:lnTo>
                  <a:lnTo>
                    <a:pt x="215" y="231"/>
                  </a:lnTo>
                  <a:lnTo>
                    <a:pt x="215" y="229"/>
                  </a:lnTo>
                  <a:lnTo>
                    <a:pt x="218" y="229"/>
                  </a:lnTo>
                  <a:lnTo>
                    <a:pt x="218" y="226"/>
                  </a:lnTo>
                  <a:lnTo>
                    <a:pt x="220" y="222"/>
                  </a:lnTo>
                  <a:lnTo>
                    <a:pt x="222" y="222"/>
                  </a:lnTo>
                  <a:lnTo>
                    <a:pt x="227" y="222"/>
                  </a:lnTo>
                  <a:lnTo>
                    <a:pt x="227" y="219"/>
                  </a:lnTo>
                  <a:lnTo>
                    <a:pt x="229" y="210"/>
                  </a:lnTo>
                  <a:lnTo>
                    <a:pt x="232" y="207"/>
                  </a:lnTo>
                  <a:lnTo>
                    <a:pt x="241" y="191"/>
                  </a:lnTo>
                  <a:lnTo>
                    <a:pt x="246" y="189"/>
                  </a:lnTo>
                  <a:lnTo>
                    <a:pt x="248" y="186"/>
                  </a:lnTo>
                  <a:lnTo>
                    <a:pt x="251" y="184"/>
                  </a:lnTo>
                  <a:lnTo>
                    <a:pt x="255" y="165"/>
                  </a:lnTo>
                  <a:lnTo>
                    <a:pt x="255" y="160"/>
                  </a:lnTo>
                  <a:lnTo>
                    <a:pt x="255" y="155"/>
                  </a:lnTo>
                  <a:lnTo>
                    <a:pt x="255" y="151"/>
                  </a:lnTo>
                  <a:lnTo>
                    <a:pt x="255" y="144"/>
                  </a:lnTo>
                  <a:lnTo>
                    <a:pt x="258" y="139"/>
                  </a:lnTo>
                  <a:lnTo>
                    <a:pt x="260" y="129"/>
                  </a:lnTo>
                  <a:lnTo>
                    <a:pt x="262" y="122"/>
                  </a:lnTo>
                  <a:lnTo>
                    <a:pt x="262" y="120"/>
                  </a:lnTo>
                  <a:lnTo>
                    <a:pt x="262" y="113"/>
                  </a:lnTo>
                  <a:lnTo>
                    <a:pt x="265" y="111"/>
                  </a:lnTo>
                  <a:lnTo>
                    <a:pt x="270" y="111"/>
                  </a:lnTo>
                  <a:lnTo>
                    <a:pt x="272" y="108"/>
                  </a:lnTo>
                  <a:lnTo>
                    <a:pt x="274" y="106"/>
                  </a:lnTo>
                  <a:lnTo>
                    <a:pt x="279" y="103"/>
                  </a:lnTo>
                  <a:lnTo>
                    <a:pt x="281" y="101"/>
                  </a:lnTo>
                  <a:lnTo>
                    <a:pt x="286" y="101"/>
                  </a:lnTo>
                  <a:lnTo>
                    <a:pt x="288" y="96"/>
                  </a:lnTo>
                  <a:lnTo>
                    <a:pt x="288" y="92"/>
                  </a:lnTo>
                  <a:lnTo>
                    <a:pt x="288" y="89"/>
                  </a:lnTo>
                  <a:lnTo>
                    <a:pt x="286" y="89"/>
                  </a:lnTo>
                  <a:lnTo>
                    <a:pt x="286" y="89"/>
                  </a:lnTo>
                  <a:lnTo>
                    <a:pt x="284" y="89"/>
                  </a:lnTo>
                  <a:lnTo>
                    <a:pt x="284" y="85"/>
                  </a:lnTo>
                  <a:lnTo>
                    <a:pt x="281" y="82"/>
                  </a:lnTo>
                  <a:lnTo>
                    <a:pt x="279" y="82"/>
                  </a:lnTo>
                  <a:lnTo>
                    <a:pt x="274" y="80"/>
                  </a:lnTo>
                  <a:lnTo>
                    <a:pt x="272" y="80"/>
                  </a:lnTo>
                  <a:lnTo>
                    <a:pt x="270" y="77"/>
                  </a:lnTo>
                  <a:lnTo>
                    <a:pt x="267" y="68"/>
                  </a:lnTo>
                  <a:lnTo>
                    <a:pt x="267" y="61"/>
                  </a:lnTo>
                  <a:lnTo>
                    <a:pt x="267" y="49"/>
                  </a:lnTo>
                  <a:lnTo>
                    <a:pt x="267" y="37"/>
                  </a:lnTo>
                  <a:lnTo>
                    <a:pt x="267" y="37"/>
                  </a:lnTo>
                  <a:lnTo>
                    <a:pt x="267" y="35"/>
                  </a:lnTo>
                  <a:lnTo>
                    <a:pt x="262" y="28"/>
                  </a:lnTo>
                  <a:lnTo>
                    <a:pt x="262" y="26"/>
                  </a:lnTo>
                  <a:lnTo>
                    <a:pt x="262" y="21"/>
                  </a:lnTo>
                  <a:lnTo>
                    <a:pt x="258" y="14"/>
                  </a:lnTo>
                  <a:lnTo>
                    <a:pt x="255" y="14"/>
                  </a:lnTo>
                  <a:lnTo>
                    <a:pt x="251" y="9"/>
                  </a:lnTo>
                  <a:lnTo>
                    <a:pt x="248" y="7"/>
                  </a:lnTo>
                  <a:lnTo>
                    <a:pt x="244" y="4"/>
                  </a:lnTo>
                  <a:lnTo>
                    <a:pt x="239" y="0"/>
                  </a:lnTo>
                  <a:lnTo>
                    <a:pt x="232" y="7"/>
                  </a:lnTo>
                  <a:lnTo>
                    <a:pt x="227" y="4"/>
                  </a:lnTo>
                  <a:lnTo>
                    <a:pt x="225" y="14"/>
                  </a:lnTo>
                  <a:lnTo>
                    <a:pt x="215" y="16"/>
                  </a:lnTo>
                  <a:lnTo>
                    <a:pt x="213" y="23"/>
                  </a:lnTo>
                  <a:lnTo>
                    <a:pt x="203" y="26"/>
                  </a:lnTo>
                  <a:lnTo>
                    <a:pt x="199" y="21"/>
                  </a:lnTo>
                  <a:lnTo>
                    <a:pt x="168" y="21"/>
                  </a:lnTo>
                  <a:lnTo>
                    <a:pt x="168" y="16"/>
                  </a:lnTo>
                  <a:lnTo>
                    <a:pt x="168" y="16"/>
                  </a:lnTo>
                  <a:lnTo>
                    <a:pt x="168" y="16"/>
                  </a:lnTo>
                  <a:lnTo>
                    <a:pt x="166" y="16"/>
                  </a:lnTo>
                  <a:lnTo>
                    <a:pt x="163" y="21"/>
                  </a:lnTo>
                  <a:lnTo>
                    <a:pt x="154" y="21"/>
                  </a:lnTo>
                  <a:lnTo>
                    <a:pt x="137" y="21"/>
                  </a:lnTo>
                  <a:lnTo>
                    <a:pt x="121" y="21"/>
                  </a:lnTo>
                  <a:lnTo>
                    <a:pt x="104" y="21"/>
                  </a:lnTo>
                  <a:lnTo>
                    <a:pt x="88" y="21"/>
                  </a:lnTo>
                  <a:lnTo>
                    <a:pt x="71" y="21"/>
                  </a:lnTo>
                  <a:lnTo>
                    <a:pt x="55" y="21"/>
                  </a:lnTo>
                  <a:lnTo>
                    <a:pt x="55" y="21"/>
                  </a:lnTo>
                  <a:lnTo>
                    <a:pt x="55" y="37"/>
                  </a:lnTo>
                  <a:lnTo>
                    <a:pt x="55" y="56"/>
                  </a:lnTo>
                  <a:lnTo>
                    <a:pt x="38" y="56"/>
                  </a:lnTo>
                  <a:lnTo>
                    <a:pt x="38" y="6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2" name="Freeform 653">
              <a:extLst>
                <a:ext uri="{FF2B5EF4-FFF2-40B4-BE49-F238E27FC236}">
                  <a16:creationId xmlns:a16="http://schemas.microsoft.com/office/drawing/2014/main" id="{9FA0889E-6DC5-4BCA-9522-5B47E07D50D1}"/>
                </a:ext>
              </a:extLst>
            </p:cNvPr>
            <p:cNvSpPr>
              <a:spLocks/>
            </p:cNvSpPr>
            <p:nvPr/>
          </p:nvSpPr>
          <p:spPr bwMode="auto">
            <a:xfrm>
              <a:off x="1882027" y="3878228"/>
              <a:ext cx="457199" cy="554037"/>
            </a:xfrm>
            <a:custGeom>
              <a:avLst/>
              <a:gdLst>
                <a:gd name="T0" fmla="*/ 38 w 288"/>
                <a:gd name="T1" fmla="*/ 118 h 349"/>
                <a:gd name="T2" fmla="*/ 24 w 288"/>
                <a:gd name="T3" fmla="*/ 134 h 349"/>
                <a:gd name="T4" fmla="*/ 19 w 288"/>
                <a:gd name="T5" fmla="*/ 141 h 349"/>
                <a:gd name="T6" fmla="*/ 7 w 288"/>
                <a:gd name="T7" fmla="*/ 160 h 349"/>
                <a:gd name="T8" fmla="*/ 5 w 288"/>
                <a:gd name="T9" fmla="*/ 167 h 349"/>
                <a:gd name="T10" fmla="*/ 3 w 288"/>
                <a:gd name="T11" fmla="*/ 179 h 349"/>
                <a:gd name="T12" fmla="*/ 3 w 288"/>
                <a:gd name="T13" fmla="*/ 189 h 349"/>
                <a:gd name="T14" fmla="*/ 10 w 288"/>
                <a:gd name="T15" fmla="*/ 198 h 349"/>
                <a:gd name="T16" fmla="*/ 17 w 288"/>
                <a:gd name="T17" fmla="*/ 212 h 349"/>
                <a:gd name="T18" fmla="*/ 19 w 288"/>
                <a:gd name="T19" fmla="*/ 222 h 349"/>
                <a:gd name="T20" fmla="*/ 29 w 288"/>
                <a:gd name="T21" fmla="*/ 245 h 349"/>
                <a:gd name="T22" fmla="*/ 36 w 288"/>
                <a:gd name="T23" fmla="*/ 259 h 349"/>
                <a:gd name="T24" fmla="*/ 52 w 288"/>
                <a:gd name="T25" fmla="*/ 266 h 349"/>
                <a:gd name="T26" fmla="*/ 57 w 288"/>
                <a:gd name="T27" fmla="*/ 276 h 349"/>
                <a:gd name="T28" fmla="*/ 73 w 288"/>
                <a:gd name="T29" fmla="*/ 290 h 349"/>
                <a:gd name="T30" fmla="*/ 83 w 288"/>
                <a:gd name="T31" fmla="*/ 302 h 349"/>
                <a:gd name="T32" fmla="*/ 97 w 288"/>
                <a:gd name="T33" fmla="*/ 316 h 349"/>
                <a:gd name="T34" fmla="*/ 107 w 288"/>
                <a:gd name="T35" fmla="*/ 328 h 349"/>
                <a:gd name="T36" fmla="*/ 118 w 288"/>
                <a:gd name="T37" fmla="*/ 335 h 349"/>
                <a:gd name="T38" fmla="*/ 137 w 288"/>
                <a:gd name="T39" fmla="*/ 330 h 349"/>
                <a:gd name="T40" fmla="*/ 154 w 288"/>
                <a:gd name="T41" fmla="*/ 347 h 349"/>
                <a:gd name="T42" fmla="*/ 166 w 288"/>
                <a:gd name="T43" fmla="*/ 347 h 349"/>
                <a:gd name="T44" fmla="*/ 177 w 288"/>
                <a:gd name="T45" fmla="*/ 349 h 349"/>
                <a:gd name="T46" fmla="*/ 196 w 288"/>
                <a:gd name="T47" fmla="*/ 344 h 349"/>
                <a:gd name="T48" fmla="*/ 210 w 288"/>
                <a:gd name="T49" fmla="*/ 340 h 349"/>
                <a:gd name="T50" fmla="*/ 234 w 288"/>
                <a:gd name="T51" fmla="*/ 333 h 349"/>
                <a:gd name="T52" fmla="*/ 246 w 288"/>
                <a:gd name="T53" fmla="*/ 321 h 349"/>
                <a:gd name="T54" fmla="*/ 232 w 288"/>
                <a:gd name="T55" fmla="*/ 314 h 349"/>
                <a:gd name="T56" fmla="*/ 225 w 288"/>
                <a:gd name="T57" fmla="*/ 295 h 349"/>
                <a:gd name="T58" fmla="*/ 213 w 288"/>
                <a:gd name="T59" fmla="*/ 283 h 349"/>
                <a:gd name="T60" fmla="*/ 201 w 288"/>
                <a:gd name="T61" fmla="*/ 276 h 349"/>
                <a:gd name="T62" fmla="*/ 196 w 288"/>
                <a:gd name="T63" fmla="*/ 271 h 349"/>
                <a:gd name="T64" fmla="*/ 208 w 288"/>
                <a:gd name="T65" fmla="*/ 264 h 349"/>
                <a:gd name="T66" fmla="*/ 215 w 288"/>
                <a:gd name="T67" fmla="*/ 243 h 349"/>
                <a:gd name="T68" fmla="*/ 215 w 288"/>
                <a:gd name="T69" fmla="*/ 229 h 349"/>
                <a:gd name="T70" fmla="*/ 222 w 288"/>
                <a:gd name="T71" fmla="*/ 222 h 349"/>
                <a:gd name="T72" fmla="*/ 232 w 288"/>
                <a:gd name="T73" fmla="*/ 207 h 349"/>
                <a:gd name="T74" fmla="*/ 251 w 288"/>
                <a:gd name="T75" fmla="*/ 184 h 349"/>
                <a:gd name="T76" fmla="*/ 255 w 288"/>
                <a:gd name="T77" fmla="*/ 151 h 349"/>
                <a:gd name="T78" fmla="*/ 262 w 288"/>
                <a:gd name="T79" fmla="*/ 122 h 349"/>
                <a:gd name="T80" fmla="*/ 270 w 288"/>
                <a:gd name="T81" fmla="*/ 111 h 349"/>
                <a:gd name="T82" fmla="*/ 281 w 288"/>
                <a:gd name="T83" fmla="*/ 101 h 349"/>
                <a:gd name="T84" fmla="*/ 288 w 288"/>
                <a:gd name="T85" fmla="*/ 89 h 349"/>
                <a:gd name="T86" fmla="*/ 284 w 288"/>
                <a:gd name="T87" fmla="*/ 85 h 349"/>
                <a:gd name="T88" fmla="*/ 272 w 288"/>
                <a:gd name="T89" fmla="*/ 80 h 349"/>
                <a:gd name="T90" fmla="*/ 267 w 288"/>
                <a:gd name="T91" fmla="*/ 49 h 349"/>
                <a:gd name="T92" fmla="*/ 262 w 288"/>
                <a:gd name="T93" fmla="*/ 28 h 349"/>
                <a:gd name="T94" fmla="*/ 255 w 288"/>
                <a:gd name="T95" fmla="*/ 14 h 349"/>
                <a:gd name="T96" fmla="*/ 239 w 288"/>
                <a:gd name="T97" fmla="*/ 0 h 349"/>
                <a:gd name="T98" fmla="*/ 215 w 288"/>
                <a:gd name="T99" fmla="*/ 16 h 349"/>
                <a:gd name="T100" fmla="*/ 168 w 288"/>
                <a:gd name="T101" fmla="*/ 21 h 349"/>
                <a:gd name="T102" fmla="*/ 166 w 288"/>
                <a:gd name="T103" fmla="*/ 16 h 349"/>
                <a:gd name="T104" fmla="*/ 121 w 288"/>
                <a:gd name="T105" fmla="*/ 21 h 349"/>
                <a:gd name="T106" fmla="*/ 55 w 288"/>
                <a:gd name="T107" fmla="*/ 21 h 349"/>
                <a:gd name="T108" fmla="*/ 38 w 288"/>
                <a:gd name="T109" fmla="*/ 5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8" h="349">
                  <a:moveTo>
                    <a:pt x="38" y="66"/>
                  </a:moveTo>
                  <a:lnTo>
                    <a:pt x="38" y="85"/>
                  </a:lnTo>
                  <a:lnTo>
                    <a:pt x="38" y="101"/>
                  </a:lnTo>
                  <a:lnTo>
                    <a:pt x="38" y="118"/>
                  </a:lnTo>
                  <a:lnTo>
                    <a:pt x="38" y="134"/>
                  </a:lnTo>
                  <a:lnTo>
                    <a:pt x="36" y="134"/>
                  </a:lnTo>
                  <a:lnTo>
                    <a:pt x="26" y="134"/>
                  </a:lnTo>
                  <a:lnTo>
                    <a:pt x="24" y="134"/>
                  </a:lnTo>
                  <a:lnTo>
                    <a:pt x="19" y="134"/>
                  </a:lnTo>
                  <a:lnTo>
                    <a:pt x="19" y="137"/>
                  </a:lnTo>
                  <a:lnTo>
                    <a:pt x="19" y="139"/>
                  </a:lnTo>
                  <a:lnTo>
                    <a:pt x="19" y="141"/>
                  </a:lnTo>
                  <a:lnTo>
                    <a:pt x="17" y="146"/>
                  </a:lnTo>
                  <a:lnTo>
                    <a:pt x="14" y="151"/>
                  </a:lnTo>
                  <a:lnTo>
                    <a:pt x="7" y="158"/>
                  </a:lnTo>
                  <a:lnTo>
                    <a:pt x="7" y="160"/>
                  </a:lnTo>
                  <a:lnTo>
                    <a:pt x="10" y="163"/>
                  </a:lnTo>
                  <a:lnTo>
                    <a:pt x="7" y="165"/>
                  </a:lnTo>
                  <a:lnTo>
                    <a:pt x="7" y="165"/>
                  </a:lnTo>
                  <a:lnTo>
                    <a:pt x="5" y="167"/>
                  </a:lnTo>
                  <a:lnTo>
                    <a:pt x="5" y="167"/>
                  </a:lnTo>
                  <a:lnTo>
                    <a:pt x="5" y="172"/>
                  </a:lnTo>
                  <a:lnTo>
                    <a:pt x="5" y="177"/>
                  </a:lnTo>
                  <a:lnTo>
                    <a:pt x="3" y="179"/>
                  </a:lnTo>
                  <a:lnTo>
                    <a:pt x="0" y="181"/>
                  </a:lnTo>
                  <a:lnTo>
                    <a:pt x="0" y="184"/>
                  </a:lnTo>
                  <a:lnTo>
                    <a:pt x="0" y="189"/>
                  </a:lnTo>
                  <a:lnTo>
                    <a:pt x="3" y="189"/>
                  </a:lnTo>
                  <a:lnTo>
                    <a:pt x="3" y="189"/>
                  </a:lnTo>
                  <a:lnTo>
                    <a:pt x="10" y="186"/>
                  </a:lnTo>
                  <a:lnTo>
                    <a:pt x="7" y="193"/>
                  </a:lnTo>
                  <a:lnTo>
                    <a:pt x="10" y="198"/>
                  </a:lnTo>
                  <a:lnTo>
                    <a:pt x="14" y="207"/>
                  </a:lnTo>
                  <a:lnTo>
                    <a:pt x="14" y="210"/>
                  </a:lnTo>
                  <a:lnTo>
                    <a:pt x="17" y="210"/>
                  </a:lnTo>
                  <a:lnTo>
                    <a:pt x="17" y="212"/>
                  </a:lnTo>
                  <a:lnTo>
                    <a:pt x="19" y="214"/>
                  </a:lnTo>
                  <a:lnTo>
                    <a:pt x="19" y="217"/>
                  </a:lnTo>
                  <a:lnTo>
                    <a:pt x="14" y="219"/>
                  </a:lnTo>
                  <a:lnTo>
                    <a:pt x="19" y="222"/>
                  </a:lnTo>
                  <a:lnTo>
                    <a:pt x="24" y="229"/>
                  </a:lnTo>
                  <a:lnTo>
                    <a:pt x="29" y="236"/>
                  </a:lnTo>
                  <a:lnTo>
                    <a:pt x="31" y="240"/>
                  </a:lnTo>
                  <a:lnTo>
                    <a:pt x="29" y="245"/>
                  </a:lnTo>
                  <a:lnTo>
                    <a:pt x="29" y="252"/>
                  </a:lnTo>
                  <a:lnTo>
                    <a:pt x="29" y="255"/>
                  </a:lnTo>
                  <a:lnTo>
                    <a:pt x="33" y="259"/>
                  </a:lnTo>
                  <a:lnTo>
                    <a:pt x="36" y="259"/>
                  </a:lnTo>
                  <a:lnTo>
                    <a:pt x="40" y="259"/>
                  </a:lnTo>
                  <a:lnTo>
                    <a:pt x="43" y="264"/>
                  </a:lnTo>
                  <a:lnTo>
                    <a:pt x="45" y="266"/>
                  </a:lnTo>
                  <a:lnTo>
                    <a:pt x="52" y="266"/>
                  </a:lnTo>
                  <a:lnTo>
                    <a:pt x="55" y="269"/>
                  </a:lnTo>
                  <a:lnTo>
                    <a:pt x="57" y="271"/>
                  </a:lnTo>
                  <a:lnTo>
                    <a:pt x="59" y="271"/>
                  </a:lnTo>
                  <a:lnTo>
                    <a:pt x="57" y="276"/>
                  </a:lnTo>
                  <a:lnTo>
                    <a:pt x="59" y="278"/>
                  </a:lnTo>
                  <a:lnTo>
                    <a:pt x="66" y="283"/>
                  </a:lnTo>
                  <a:lnTo>
                    <a:pt x="71" y="288"/>
                  </a:lnTo>
                  <a:lnTo>
                    <a:pt x="73" y="290"/>
                  </a:lnTo>
                  <a:lnTo>
                    <a:pt x="78" y="292"/>
                  </a:lnTo>
                  <a:lnTo>
                    <a:pt x="78" y="295"/>
                  </a:lnTo>
                  <a:lnTo>
                    <a:pt x="81" y="300"/>
                  </a:lnTo>
                  <a:lnTo>
                    <a:pt x="83" y="302"/>
                  </a:lnTo>
                  <a:lnTo>
                    <a:pt x="83" y="304"/>
                  </a:lnTo>
                  <a:lnTo>
                    <a:pt x="85" y="307"/>
                  </a:lnTo>
                  <a:lnTo>
                    <a:pt x="95" y="311"/>
                  </a:lnTo>
                  <a:lnTo>
                    <a:pt x="97" y="316"/>
                  </a:lnTo>
                  <a:lnTo>
                    <a:pt x="97" y="318"/>
                  </a:lnTo>
                  <a:lnTo>
                    <a:pt x="99" y="321"/>
                  </a:lnTo>
                  <a:lnTo>
                    <a:pt x="102" y="323"/>
                  </a:lnTo>
                  <a:lnTo>
                    <a:pt x="107" y="328"/>
                  </a:lnTo>
                  <a:lnTo>
                    <a:pt x="107" y="330"/>
                  </a:lnTo>
                  <a:lnTo>
                    <a:pt x="109" y="333"/>
                  </a:lnTo>
                  <a:lnTo>
                    <a:pt x="116" y="335"/>
                  </a:lnTo>
                  <a:lnTo>
                    <a:pt x="118" y="335"/>
                  </a:lnTo>
                  <a:lnTo>
                    <a:pt x="121" y="333"/>
                  </a:lnTo>
                  <a:lnTo>
                    <a:pt x="128" y="335"/>
                  </a:lnTo>
                  <a:lnTo>
                    <a:pt x="133" y="333"/>
                  </a:lnTo>
                  <a:lnTo>
                    <a:pt x="137" y="330"/>
                  </a:lnTo>
                  <a:lnTo>
                    <a:pt x="140" y="333"/>
                  </a:lnTo>
                  <a:lnTo>
                    <a:pt x="149" y="340"/>
                  </a:lnTo>
                  <a:lnTo>
                    <a:pt x="151" y="344"/>
                  </a:lnTo>
                  <a:lnTo>
                    <a:pt x="154" y="347"/>
                  </a:lnTo>
                  <a:lnTo>
                    <a:pt x="156" y="347"/>
                  </a:lnTo>
                  <a:lnTo>
                    <a:pt x="158" y="347"/>
                  </a:lnTo>
                  <a:lnTo>
                    <a:pt x="161" y="347"/>
                  </a:lnTo>
                  <a:lnTo>
                    <a:pt x="166" y="347"/>
                  </a:lnTo>
                  <a:lnTo>
                    <a:pt x="168" y="347"/>
                  </a:lnTo>
                  <a:lnTo>
                    <a:pt x="173" y="347"/>
                  </a:lnTo>
                  <a:lnTo>
                    <a:pt x="175" y="347"/>
                  </a:lnTo>
                  <a:lnTo>
                    <a:pt x="177" y="349"/>
                  </a:lnTo>
                  <a:lnTo>
                    <a:pt x="182" y="347"/>
                  </a:lnTo>
                  <a:lnTo>
                    <a:pt x="187" y="347"/>
                  </a:lnTo>
                  <a:lnTo>
                    <a:pt x="192" y="344"/>
                  </a:lnTo>
                  <a:lnTo>
                    <a:pt x="196" y="344"/>
                  </a:lnTo>
                  <a:lnTo>
                    <a:pt x="203" y="344"/>
                  </a:lnTo>
                  <a:lnTo>
                    <a:pt x="210" y="340"/>
                  </a:lnTo>
                  <a:lnTo>
                    <a:pt x="210" y="340"/>
                  </a:lnTo>
                  <a:lnTo>
                    <a:pt x="210" y="340"/>
                  </a:lnTo>
                  <a:lnTo>
                    <a:pt x="218" y="333"/>
                  </a:lnTo>
                  <a:lnTo>
                    <a:pt x="220" y="330"/>
                  </a:lnTo>
                  <a:lnTo>
                    <a:pt x="225" y="330"/>
                  </a:lnTo>
                  <a:lnTo>
                    <a:pt x="234" y="333"/>
                  </a:lnTo>
                  <a:lnTo>
                    <a:pt x="239" y="333"/>
                  </a:lnTo>
                  <a:lnTo>
                    <a:pt x="244" y="330"/>
                  </a:lnTo>
                  <a:lnTo>
                    <a:pt x="244" y="323"/>
                  </a:lnTo>
                  <a:lnTo>
                    <a:pt x="246" y="321"/>
                  </a:lnTo>
                  <a:lnTo>
                    <a:pt x="244" y="318"/>
                  </a:lnTo>
                  <a:lnTo>
                    <a:pt x="244" y="316"/>
                  </a:lnTo>
                  <a:lnTo>
                    <a:pt x="234" y="316"/>
                  </a:lnTo>
                  <a:lnTo>
                    <a:pt x="232" y="314"/>
                  </a:lnTo>
                  <a:lnTo>
                    <a:pt x="232" y="311"/>
                  </a:lnTo>
                  <a:lnTo>
                    <a:pt x="227" y="302"/>
                  </a:lnTo>
                  <a:lnTo>
                    <a:pt x="227" y="297"/>
                  </a:lnTo>
                  <a:lnTo>
                    <a:pt x="225" y="295"/>
                  </a:lnTo>
                  <a:lnTo>
                    <a:pt x="218" y="290"/>
                  </a:lnTo>
                  <a:lnTo>
                    <a:pt x="215" y="288"/>
                  </a:lnTo>
                  <a:lnTo>
                    <a:pt x="213" y="285"/>
                  </a:lnTo>
                  <a:lnTo>
                    <a:pt x="213" y="283"/>
                  </a:lnTo>
                  <a:lnTo>
                    <a:pt x="210" y="278"/>
                  </a:lnTo>
                  <a:lnTo>
                    <a:pt x="208" y="278"/>
                  </a:lnTo>
                  <a:lnTo>
                    <a:pt x="203" y="276"/>
                  </a:lnTo>
                  <a:lnTo>
                    <a:pt x="201" y="276"/>
                  </a:lnTo>
                  <a:lnTo>
                    <a:pt x="199" y="276"/>
                  </a:lnTo>
                  <a:lnTo>
                    <a:pt x="196" y="276"/>
                  </a:lnTo>
                  <a:lnTo>
                    <a:pt x="194" y="274"/>
                  </a:lnTo>
                  <a:lnTo>
                    <a:pt x="196" y="271"/>
                  </a:lnTo>
                  <a:lnTo>
                    <a:pt x="199" y="269"/>
                  </a:lnTo>
                  <a:lnTo>
                    <a:pt x="199" y="264"/>
                  </a:lnTo>
                  <a:lnTo>
                    <a:pt x="201" y="264"/>
                  </a:lnTo>
                  <a:lnTo>
                    <a:pt x="208" y="264"/>
                  </a:lnTo>
                  <a:lnTo>
                    <a:pt x="213" y="264"/>
                  </a:lnTo>
                  <a:lnTo>
                    <a:pt x="215" y="262"/>
                  </a:lnTo>
                  <a:lnTo>
                    <a:pt x="215" y="257"/>
                  </a:lnTo>
                  <a:lnTo>
                    <a:pt x="215" y="243"/>
                  </a:lnTo>
                  <a:lnTo>
                    <a:pt x="215" y="238"/>
                  </a:lnTo>
                  <a:lnTo>
                    <a:pt x="218" y="233"/>
                  </a:lnTo>
                  <a:lnTo>
                    <a:pt x="215" y="231"/>
                  </a:lnTo>
                  <a:lnTo>
                    <a:pt x="215" y="229"/>
                  </a:lnTo>
                  <a:lnTo>
                    <a:pt x="218" y="229"/>
                  </a:lnTo>
                  <a:lnTo>
                    <a:pt x="218" y="226"/>
                  </a:lnTo>
                  <a:lnTo>
                    <a:pt x="220" y="222"/>
                  </a:lnTo>
                  <a:lnTo>
                    <a:pt x="222" y="222"/>
                  </a:lnTo>
                  <a:lnTo>
                    <a:pt x="227" y="222"/>
                  </a:lnTo>
                  <a:lnTo>
                    <a:pt x="227" y="219"/>
                  </a:lnTo>
                  <a:lnTo>
                    <a:pt x="229" y="210"/>
                  </a:lnTo>
                  <a:lnTo>
                    <a:pt x="232" y="207"/>
                  </a:lnTo>
                  <a:lnTo>
                    <a:pt x="241" y="191"/>
                  </a:lnTo>
                  <a:lnTo>
                    <a:pt x="246" y="189"/>
                  </a:lnTo>
                  <a:lnTo>
                    <a:pt x="248" y="186"/>
                  </a:lnTo>
                  <a:lnTo>
                    <a:pt x="251" y="184"/>
                  </a:lnTo>
                  <a:lnTo>
                    <a:pt x="255" y="165"/>
                  </a:lnTo>
                  <a:lnTo>
                    <a:pt x="255" y="160"/>
                  </a:lnTo>
                  <a:lnTo>
                    <a:pt x="255" y="155"/>
                  </a:lnTo>
                  <a:lnTo>
                    <a:pt x="255" y="151"/>
                  </a:lnTo>
                  <a:lnTo>
                    <a:pt x="255" y="144"/>
                  </a:lnTo>
                  <a:lnTo>
                    <a:pt x="258" y="139"/>
                  </a:lnTo>
                  <a:lnTo>
                    <a:pt x="260" y="129"/>
                  </a:lnTo>
                  <a:lnTo>
                    <a:pt x="262" y="122"/>
                  </a:lnTo>
                  <a:lnTo>
                    <a:pt x="262" y="120"/>
                  </a:lnTo>
                  <a:lnTo>
                    <a:pt x="262" y="113"/>
                  </a:lnTo>
                  <a:lnTo>
                    <a:pt x="265" y="111"/>
                  </a:lnTo>
                  <a:lnTo>
                    <a:pt x="270" y="111"/>
                  </a:lnTo>
                  <a:lnTo>
                    <a:pt x="272" y="108"/>
                  </a:lnTo>
                  <a:lnTo>
                    <a:pt x="274" y="106"/>
                  </a:lnTo>
                  <a:lnTo>
                    <a:pt x="279" y="103"/>
                  </a:lnTo>
                  <a:lnTo>
                    <a:pt x="281" y="101"/>
                  </a:lnTo>
                  <a:lnTo>
                    <a:pt x="286" y="101"/>
                  </a:lnTo>
                  <a:lnTo>
                    <a:pt x="288" y="96"/>
                  </a:lnTo>
                  <a:lnTo>
                    <a:pt x="288" y="92"/>
                  </a:lnTo>
                  <a:lnTo>
                    <a:pt x="288" y="89"/>
                  </a:lnTo>
                  <a:lnTo>
                    <a:pt x="286" y="89"/>
                  </a:lnTo>
                  <a:lnTo>
                    <a:pt x="286" y="89"/>
                  </a:lnTo>
                  <a:lnTo>
                    <a:pt x="284" y="89"/>
                  </a:lnTo>
                  <a:lnTo>
                    <a:pt x="284" y="85"/>
                  </a:lnTo>
                  <a:lnTo>
                    <a:pt x="281" y="82"/>
                  </a:lnTo>
                  <a:lnTo>
                    <a:pt x="279" y="82"/>
                  </a:lnTo>
                  <a:lnTo>
                    <a:pt x="274" y="80"/>
                  </a:lnTo>
                  <a:lnTo>
                    <a:pt x="272" y="80"/>
                  </a:lnTo>
                  <a:lnTo>
                    <a:pt x="270" y="77"/>
                  </a:lnTo>
                  <a:lnTo>
                    <a:pt x="267" y="68"/>
                  </a:lnTo>
                  <a:lnTo>
                    <a:pt x="267" y="61"/>
                  </a:lnTo>
                  <a:lnTo>
                    <a:pt x="267" y="49"/>
                  </a:lnTo>
                  <a:lnTo>
                    <a:pt x="267" y="37"/>
                  </a:lnTo>
                  <a:lnTo>
                    <a:pt x="267" y="37"/>
                  </a:lnTo>
                  <a:lnTo>
                    <a:pt x="267" y="35"/>
                  </a:lnTo>
                  <a:lnTo>
                    <a:pt x="262" y="28"/>
                  </a:lnTo>
                  <a:lnTo>
                    <a:pt x="262" y="26"/>
                  </a:lnTo>
                  <a:lnTo>
                    <a:pt x="262" y="21"/>
                  </a:lnTo>
                  <a:lnTo>
                    <a:pt x="258" y="14"/>
                  </a:lnTo>
                  <a:lnTo>
                    <a:pt x="255" y="14"/>
                  </a:lnTo>
                  <a:lnTo>
                    <a:pt x="251" y="9"/>
                  </a:lnTo>
                  <a:lnTo>
                    <a:pt x="248" y="7"/>
                  </a:lnTo>
                  <a:lnTo>
                    <a:pt x="244" y="4"/>
                  </a:lnTo>
                  <a:lnTo>
                    <a:pt x="239" y="0"/>
                  </a:lnTo>
                  <a:lnTo>
                    <a:pt x="232" y="7"/>
                  </a:lnTo>
                  <a:lnTo>
                    <a:pt x="227" y="4"/>
                  </a:lnTo>
                  <a:lnTo>
                    <a:pt x="225" y="14"/>
                  </a:lnTo>
                  <a:lnTo>
                    <a:pt x="215" y="16"/>
                  </a:lnTo>
                  <a:lnTo>
                    <a:pt x="213" y="23"/>
                  </a:lnTo>
                  <a:lnTo>
                    <a:pt x="203" y="26"/>
                  </a:lnTo>
                  <a:lnTo>
                    <a:pt x="199" y="21"/>
                  </a:lnTo>
                  <a:lnTo>
                    <a:pt x="168" y="21"/>
                  </a:lnTo>
                  <a:lnTo>
                    <a:pt x="168" y="16"/>
                  </a:lnTo>
                  <a:lnTo>
                    <a:pt x="168" y="16"/>
                  </a:lnTo>
                  <a:lnTo>
                    <a:pt x="168" y="16"/>
                  </a:lnTo>
                  <a:lnTo>
                    <a:pt x="166" y="16"/>
                  </a:lnTo>
                  <a:lnTo>
                    <a:pt x="163" y="21"/>
                  </a:lnTo>
                  <a:lnTo>
                    <a:pt x="154" y="21"/>
                  </a:lnTo>
                  <a:lnTo>
                    <a:pt x="137" y="21"/>
                  </a:lnTo>
                  <a:lnTo>
                    <a:pt x="121" y="21"/>
                  </a:lnTo>
                  <a:lnTo>
                    <a:pt x="104" y="21"/>
                  </a:lnTo>
                  <a:lnTo>
                    <a:pt x="88" y="21"/>
                  </a:lnTo>
                  <a:lnTo>
                    <a:pt x="71" y="21"/>
                  </a:lnTo>
                  <a:lnTo>
                    <a:pt x="55" y="21"/>
                  </a:lnTo>
                  <a:lnTo>
                    <a:pt x="55" y="21"/>
                  </a:lnTo>
                  <a:lnTo>
                    <a:pt x="55" y="37"/>
                  </a:lnTo>
                  <a:lnTo>
                    <a:pt x="55" y="56"/>
                  </a:lnTo>
                  <a:lnTo>
                    <a:pt x="38" y="56"/>
                  </a:lnTo>
                  <a:lnTo>
                    <a:pt x="38" y="66"/>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3" name="Freeform 654">
              <a:extLst>
                <a:ext uri="{FF2B5EF4-FFF2-40B4-BE49-F238E27FC236}">
                  <a16:creationId xmlns:a16="http://schemas.microsoft.com/office/drawing/2014/main" id="{F469BF5A-271A-4F44-8CDB-87C6BE9CA98F}"/>
                </a:ext>
              </a:extLst>
            </p:cNvPr>
            <p:cNvSpPr>
              <a:spLocks/>
            </p:cNvSpPr>
            <p:nvPr/>
          </p:nvSpPr>
          <p:spPr bwMode="auto">
            <a:xfrm>
              <a:off x="1278778" y="3862353"/>
              <a:ext cx="442912" cy="341312"/>
            </a:xfrm>
            <a:custGeom>
              <a:avLst/>
              <a:gdLst>
                <a:gd name="T0" fmla="*/ 71 w 279"/>
                <a:gd name="T1" fmla="*/ 121 h 215"/>
                <a:gd name="T2" fmla="*/ 66 w 279"/>
                <a:gd name="T3" fmla="*/ 142 h 215"/>
                <a:gd name="T4" fmla="*/ 61 w 279"/>
                <a:gd name="T5" fmla="*/ 147 h 215"/>
                <a:gd name="T6" fmla="*/ 59 w 279"/>
                <a:gd name="T7" fmla="*/ 151 h 215"/>
                <a:gd name="T8" fmla="*/ 52 w 279"/>
                <a:gd name="T9" fmla="*/ 151 h 215"/>
                <a:gd name="T10" fmla="*/ 14 w 279"/>
                <a:gd name="T11" fmla="*/ 158 h 215"/>
                <a:gd name="T12" fmla="*/ 2 w 279"/>
                <a:gd name="T13" fmla="*/ 163 h 215"/>
                <a:gd name="T14" fmla="*/ 5 w 279"/>
                <a:gd name="T15" fmla="*/ 170 h 215"/>
                <a:gd name="T16" fmla="*/ 5 w 279"/>
                <a:gd name="T17" fmla="*/ 175 h 215"/>
                <a:gd name="T18" fmla="*/ 16 w 279"/>
                <a:gd name="T19" fmla="*/ 187 h 215"/>
                <a:gd name="T20" fmla="*/ 24 w 279"/>
                <a:gd name="T21" fmla="*/ 199 h 215"/>
                <a:gd name="T22" fmla="*/ 31 w 279"/>
                <a:gd name="T23" fmla="*/ 201 h 215"/>
                <a:gd name="T24" fmla="*/ 35 w 279"/>
                <a:gd name="T25" fmla="*/ 199 h 215"/>
                <a:gd name="T26" fmla="*/ 38 w 279"/>
                <a:gd name="T27" fmla="*/ 203 h 215"/>
                <a:gd name="T28" fmla="*/ 35 w 279"/>
                <a:gd name="T29" fmla="*/ 203 h 215"/>
                <a:gd name="T30" fmla="*/ 38 w 279"/>
                <a:gd name="T31" fmla="*/ 208 h 215"/>
                <a:gd name="T32" fmla="*/ 40 w 279"/>
                <a:gd name="T33" fmla="*/ 208 h 215"/>
                <a:gd name="T34" fmla="*/ 45 w 279"/>
                <a:gd name="T35" fmla="*/ 206 h 215"/>
                <a:gd name="T36" fmla="*/ 52 w 279"/>
                <a:gd name="T37" fmla="*/ 208 h 215"/>
                <a:gd name="T38" fmla="*/ 61 w 279"/>
                <a:gd name="T39" fmla="*/ 215 h 215"/>
                <a:gd name="T40" fmla="*/ 61 w 279"/>
                <a:gd name="T41" fmla="*/ 203 h 215"/>
                <a:gd name="T42" fmla="*/ 66 w 279"/>
                <a:gd name="T43" fmla="*/ 199 h 215"/>
                <a:gd name="T44" fmla="*/ 71 w 279"/>
                <a:gd name="T45" fmla="*/ 187 h 215"/>
                <a:gd name="T46" fmla="*/ 83 w 279"/>
                <a:gd name="T47" fmla="*/ 180 h 215"/>
                <a:gd name="T48" fmla="*/ 92 w 279"/>
                <a:gd name="T49" fmla="*/ 180 h 215"/>
                <a:gd name="T50" fmla="*/ 116 w 279"/>
                <a:gd name="T51" fmla="*/ 191 h 215"/>
                <a:gd name="T52" fmla="*/ 123 w 279"/>
                <a:gd name="T53" fmla="*/ 194 h 215"/>
                <a:gd name="T54" fmla="*/ 132 w 279"/>
                <a:gd name="T55" fmla="*/ 187 h 215"/>
                <a:gd name="T56" fmla="*/ 151 w 279"/>
                <a:gd name="T57" fmla="*/ 196 h 215"/>
                <a:gd name="T58" fmla="*/ 165 w 279"/>
                <a:gd name="T59" fmla="*/ 196 h 215"/>
                <a:gd name="T60" fmla="*/ 177 w 279"/>
                <a:gd name="T61" fmla="*/ 187 h 215"/>
                <a:gd name="T62" fmla="*/ 196 w 279"/>
                <a:gd name="T63" fmla="*/ 187 h 215"/>
                <a:gd name="T64" fmla="*/ 205 w 279"/>
                <a:gd name="T65" fmla="*/ 189 h 215"/>
                <a:gd name="T66" fmla="*/ 215 w 279"/>
                <a:gd name="T67" fmla="*/ 189 h 215"/>
                <a:gd name="T68" fmla="*/ 220 w 279"/>
                <a:gd name="T69" fmla="*/ 184 h 215"/>
                <a:gd name="T70" fmla="*/ 227 w 279"/>
                <a:gd name="T71" fmla="*/ 184 h 215"/>
                <a:gd name="T72" fmla="*/ 229 w 279"/>
                <a:gd name="T73" fmla="*/ 180 h 215"/>
                <a:gd name="T74" fmla="*/ 227 w 279"/>
                <a:gd name="T75" fmla="*/ 175 h 215"/>
                <a:gd name="T76" fmla="*/ 231 w 279"/>
                <a:gd name="T77" fmla="*/ 170 h 215"/>
                <a:gd name="T78" fmla="*/ 234 w 279"/>
                <a:gd name="T79" fmla="*/ 163 h 215"/>
                <a:gd name="T80" fmla="*/ 238 w 279"/>
                <a:gd name="T81" fmla="*/ 158 h 215"/>
                <a:gd name="T82" fmla="*/ 267 w 279"/>
                <a:gd name="T83" fmla="*/ 123 h 215"/>
                <a:gd name="T84" fmla="*/ 279 w 279"/>
                <a:gd name="T85" fmla="*/ 59 h 215"/>
                <a:gd name="T86" fmla="*/ 267 w 279"/>
                <a:gd name="T87" fmla="*/ 52 h 215"/>
                <a:gd name="T88" fmla="*/ 262 w 279"/>
                <a:gd name="T89" fmla="*/ 43 h 215"/>
                <a:gd name="T90" fmla="*/ 260 w 279"/>
                <a:gd name="T91" fmla="*/ 38 h 215"/>
                <a:gd name="T92" fmla="*/ 253 w 279"/>
                <a:gd name="T93" fmla="*/ 10 h 215"/>
                <a:gd name="T94" fmla="*/ 246 w 279"/>
                <a:gd name="T95" fmla="*/ 5 h 215"/>
                <a:gd name="T96" fmla="*/ 229 w 279"/>
                <a:gd name="T97" fmla="*/ 0 h 215"/>
                <a:gd name="T98" fmla="*/ 205 w 279"/>
                <a:gd name="T99" fmla="*/ 0 h 215"/>
                <a:gd name="T100" fmla="*/ 182 w 279"/>
                <a:gd name="T101" fmla="*/ 17 h 215"/>
                <a:gd name="T102" fmla="*/ 139 w 279"/>
                <a:gd name="T103" fmla="*/ 47 h 215"/>
                <a:gd name="T104" fmla="*/ 97 w 279"/>
                <a:gd name="T105" fmla="*/ 76 h 215"/>
                <a:gd name="T106" fmla="*/ 71 w 279"/>
                <a:gd name="T107" fmla="*/ 83 h 215"/>
                <a:gd name="T108" fmla="*/ 71 w 279"/>
                <a:gd name="T109" fmla="*/ 8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9" h="215">
                  <a:moveTo>
                    <a:pt x="71" y="87"/>
                  </a:moveTo>
                  <a:lnTo>
                    <a:pt x="71" y="104"/>
                  </a:lnTo>
                  <a:lnTo>
                    <a:pt x="71" y="121"/>
                  </a:lnTo>
                  <a:lnTo>
                    <a:pt x="71" y="139"/>
                  </a:lnTo>
                  <a:lnTo>
                    <a:pt x="71" y="139"/>
                  </a:lnTo>
                  <a:lnTo>
                    <a:pt x="66" y="142"/>
                  </a:lnTo>
                  <a:lnTo>
                    <a:pt x="66" y="142"/>
                  </a:lnTo>
                  <a:lnTo>
                    <a:pt x="66" y="144"/>
                  </a:lnTo>
                  <a:lnTo>
                    <a:pt x="61" y="147"/>
                  </a:lnTo>
                  <a:lnTo>
                    <a:pt x="61" y="149"/>
                  </a:lnTo>
                  <a:lnTo>
                    <a:pt x="59" y="149"/>
                  </a:lnTo>
                  <a:lnTo>
                    <a:pt x="59" y="151"/>
                  </a:lnTo>
                  <a:lnTo>
                    <a:pt x="54" y="151"/>
                  </a:lnTo>
                  <a:lnTo>
                    <a:pt x="52" y="151"/>
                  </a:lnTo>
                  <a:lnTo>
                    <a:pt x="52" y="151"/>
                  </a:lnTo>
                  <a:lnTo>
                    <a:pt x="50" y="151"/>
                  </a:lnTo>
                  <a:lnTo>
                    <a:pt x="21" y="151"/>
                  </a:lnTo>
                  <a:lnTo>
                    <a:pt x="14" y="158"/>
                  </a:lnTo>
                  <a:lnTo>
                    <a:pt x="2" y="158"/>
                  </a:lnTo>
                  <a:lnTo>
                    <a:pt x="2" y="158"/>
                  </a:lnTo>
                  <a:lnTo>
                    <a:pt x="2" y="163"/>
                  </a:lnTo>
                  <a:lnTo>
                    <a:pt x="0" y="165"/>
                  </a:lnTo>
                  <a:lnTo>
                    <a:pt x="0" y="168"/>
                  </a:lnTo>
                  <a:lnTo>
                    <a:pt x="5" y="170"/>
                  </a:lnTo>
                  <a:lnTo>
                    <a:pt x="5" y="170"/>
                  </a:lnTo>
                  <a:lnTo>
                    <a:pt x="5" y="173"/>
                  </a:lnTo>
                  <a:lnTo>
                    <a:pt x="5" y="175"/>
                  </a:lnTo>
                  <a:lnTo>
                    <a:pt x="9" y="180"/>
                  </a:lnTo>
                  <a:lnTo>
                    <a:pt x="14" y="184"/>
                  </a:lnTo>
                  <a:lnTo>
                    <a:pt x="16" y="187"/>
                  </a:lnTo>
                  <a:lnTo>
                    <a:pt x="19" y="191"/>
                  </a:lnTo>
                  <a:lnTo>
                    <a:pt x="19" y="194"/>
                  </a:lnTo>
                  <a:lnTo>
                    <a:pt x="24" y="199"/>
                  </a:lnTo>
                  <a:lnTo>
                    <a:pt x="26" y="199"/>
                  </a:lnTo>
                  <a:lnTo>
                    <a:pt x="28" y="201"/>
                  </a:lnTo>
                  <a:lnTo>
                    <a:pt x="31" y="201"/>
                  </a:lnTo>
                  <a:lnTo>
                    <a:pt x="31" y="201"/>
                  </a:lnTo>
                  <a:lnTo>
                    <a:pt x="33" y="199"/>
                  </a:lnTo>
                  <a:lnTo>
                    <a:pt x="35" y="199"/>
                  </a:lnTo>
                  <a:lnTo>
                    <a:pt x="35" y="199"/>
                  </a:lnTo>
                  <a:lnTo>
                    <a:pt x="38" y="203"/>
                  </a:lnTo>
                  <a:lnTo>
                    <a:pt x="38" y="203"/>
                  </a:lnTo>
                  <a:lnTo>
                    <a:pt x="38" y="203"/>
                  </a:lnTo>
                  <a:lnTo>
                    <a:pt x="35" y="203"/>
                  </a:lnTo>
                  <a:lnTo>
                    <a:pt x="35" y="203"/>
                  </a:lnTo>
                  <a:lnTo>
                    <a:pt x="35" y="206"/>
                  </a:lnTo>
                  <a:lnTo>
                    <a:pt x="35" y="206"/>
                  </a:lnTo>
                  <a:lnTo>
                    <a:pt x="38" y="208"/>
                  </a:lnTo>
                  <a:lnTo>
                    <a:pt x="40" y="213"/>
                  </a:lnTo>
                  <a:lnTo>
                    <a:pt x="42" y="210"/>
                  </a:lnTo>
                  <a:lnTo>
                    <a:pt x="40" y="208"/>
                  </a:lnTo>
                  <a:lnTo>
                    <a:pt x="40" y="206"/>
                  </a:lnTo>
                  <a:lnTo>
                    <a:pt x="45" y="206"/>
                  </a:lnTo>
                  <a:lnTo>
                    <a:pt x="45" y="206"/>
                  </a:lnTo>
                  <a:lnTo>
                    <a:pt x="50" y="203"/>
                  </a:lnTo>
                  <a:lnTo>
                    <a:pt x="50" y="206"/>
                  </a:lnTo>
                  <a:lnTo>
                    <a:pt x="52" y="208"/>
                  </a:lnTo>
                  <a:lnTo>
                    <a:pt x="57" y="213"/>
                  </a:lnTo>
                  <a:lnTo>
                    <a:pt x="59" y="213"/>
                  </a:lnTo>
                  <a:lnTo>
                    <a:pt x="61" y="215"/>
                  </a:lnTo>
                  <a:lnTo>
                    <a:pt x="61" y="213"/>
                  </a:lnTo>
                  <a:lnTo>
                    <a:pt x="61" y="206"/>
                  </a:lnTo>
                  <a:lnTo>
                    <a:pt x="61" y="203"/>
                  </a:lnTo>
                  <a:lnTo>
                    <a:pt x="61" y="201"/>
                  </a:lnTo>
                  <a:lnTo>
                    <a:pt x="64" y="201"/>
                  </a:lnTo>
                  <a:lnTo>
                    <a:pt x="66" y="199"/>
                  </a:lnTo>
                  <a:lnTo>
                    <a:pt x="68" y="196"/>
                  </a:lnTo>
                  <a:lnTo>
                    <a:pt x="71" y="191"/>
                  </a:lnTo>
                  <a:lnTo>
                    <a:pt x="71" y="187"/>
                  </a:lnTo>
                  <a:lnTo>
                    <a:pt x="71" y="184"/>
                  </a:lnTo>
                  <a:lnTo>
                    <a:pt x="75" y="182"/>
                  </a:lnTo>
                  <a:lnTo>
                    <a:pt x="83" y="180"/>
                  </a:lnTo>
                  <a:lnTo>
                    <a:pt x="87" y="180"/>
                  </a:lnTo>
                  <a:lnTo>
                    <a:pt x="90" y="180"/>
                  </a:lnTo>
                  <a:lnTo>
                    <a:pt x="92" y="180"/>
                  </a:lnTo>
                  <a:lnTo>
                    <a:pt x="97" y="180"/>
                  </a:lnTo>
                  <a:lnTo>
                    <a:pt x="109" y="184"/>
                  </a:lnTo>
                  <a:lnTo>
                    <a:pt x="116" y="191"/>
                  </a:lnTo>
                  <a:lnTo>
                    <a:pt x="118" y="194"/>
                  </a:lnTo>
                  <a:lnTo>
                    <a:pt x="120" y="194"/>
                  </a:lnTo>
                  <a:lnTo>
                    <a:pt x="123" y="194"/>
                  </a:lnTo>
                  <a:lnTo>
                    <a:pt x="125" y="191"/>
                  </a:lnTo>
                  <a:lnTo>
                    <a:pt x="130" y="189"/>
                  </a:lnTo>
                  <a:lnTo>
                    <a:pt x="132" y="187"/>
                  </a:lnTo>
                  <a:lnTo>
                    <a:pt x="137" y="187"/>
                  </a:lnTo>
                  <a:lnTo>
                    <a:pt x="142" y="191"/>
                  </a:lnTo>
                  <a:lnTo>
                    <a:pt x="151" y="196"/>
                  </a:lnTo>
                  <a:lnTo>
                    <a:pt x="153" y="196"/>
                  </a:lnTo>
                  <a:lnTo>
                    <a:pt x="161" y="196"/>
                  </a:lnTo>
                  <a:lnTo>
                    <a:pt x="165" y="196"/>
                  </a:lnTo>
                  <a:lnTo>
                    <a:pt x="170" y="194"/>
                  </a:lnTo>
                  <a:lnTo>
                    <a:pt x="175" y="189"/>
                  </a:lnTo>
                  <a:lnTo>
                    <a:pt x="177" y="187"/>
                  </a:lnTo>
                  <a:lnTo>
                    <a:pt x="187" y="187"/>
                  </a:lnTo>
                  <a:lnTo>
                    <a:pt x="191" y="189"/>
                  </a:lnTo>
                  <a:lnTo>
                    <a:pt x="196" y="187"/>
                  </a:lnTo>
                  <a:lnTo>
                    <a:pt x="201" y="187"/>
                  </a:lnTo>
                  <a:lnTo>
                    <a:pt x="203" y="187"/>
                  </a:lnTo>
                  <a:lnTo>
                    <a:pt x="205" y="189"/>
                  </a:lnTo>
                  <a:lnTo>
                    <a:pt x="208" y="189"/>
                  </a:lnTo>
                  <a:lnTo>
                    <a:pt x="210" y="189"/>
                  </a:lnTo>
                  <a:lnTo>
                    <a:pt x="215" y="189"/>
                  </a:lnTo>
                  <a:lnTo>
                    <a:pt x="217" y="189"/>
                  </a:lnTo>
                  <a:lnTo>
                    <a:pt x="220" y="187"/>
                  </a:lnTo>
                  <a:lnTo>
                    <a:pt x="220" y="184"/>
                  </a:lnTo>
                  <a:lnTo>
                    <a:pt x="222" y="184"/>
                  </a:lnTo>
                  <a:lnTo>
                    <a:pt x="224" y="184"/>
                  </a:lnTo>
                  <a:lnTo>
                    <a:pt x="227" y="184"/>
                  </a:lnTo>
                  <a:lnTo>
                    <a:pt x="227" y="180"/>
                  </a:lnTo>
                  <a:lnTo>
                    <a:pt x="229" y="180"/>
                  </a:lnTo>
                  <a:lnTo>
                    <a:pt x="229" y="180"/>
                  </a:lnTo>
                  <a:lnTo>
                    <a:pt x="227" y="177"/>
                  </a:lnTo>
                  <a:lnTo>
                    <a:pt x="227" y="175"/>
                  </a:lnTo>
                  <a:lnTo>
                    <a:pt x="227" y="175"/>
                  </a:lnTo>
                  <a:lnTo>
                    <a:pt x="227" y="173"/>
                  </a:lnTo>
                  <a:lnTo>
                    <a:pt x="229" y="170"/>
                  </a:lnTo>
                  <a:lnTo>
                    <a:pt x="231" y="170"/>
                  </a:lnTo>
                  <a:lnTo>
                    <a:pt x="231" y="168"/>
                  </a:lnTo>
                  <a:lnTo>
                    <a:pt x="231" y="165"/>
                  </a:lnTo>
                  <a:lnTo>
                    <a:pt x="234" y="163"/>
                  </a:lnTo>
                  <a:lnTo>
                    <a:pt x="236" y="163"/>
                  </a:lnTo>
                  <a:lnTo>
                    <a:pt x="236" y="161"/>
                  </a:lnTo>
                  <a:lnTo>
                    <a:pt x="238" y="158"/>
                  </a:lnTo>
                  <a:lnTo>
                    <a:pt x="238" y="156"/>
                  </a:lnTo>
                  <a:lnTo>
                    <a:pt x="267" y="125"/>
                  </a:lnTo>
                  <a:lnTo>
                    <a:pt x="267" y="123"/>
                  </a:lnTo>
                  <a:lnTo>
                    <a:pt x="269" y="92"/>
                  </a:lnTo>
                  <a:lnTo>
                    <a:pt x="274" y="66"/>
                  </a:lnTo>
                  <a:lnTo>
                    <a:pt x="279" y="59"/>
                  </a:lnTo>
                  <a:lnTo>
                    <a:pt x="272" y="54"/>
                  </a:lnTo>
                  <a:lnTo>
                    <a:pt x="269" y="52"/>
                  </a:lnTo>
                  <a:lnTo>
                    <a:pt x="267" y="52"/>
                  </a:lnTo>
                  <a:lnTo>
                    <a:pt x="264" y="50"/>
                  </a:lnTo>
                  <a:lnTo>
                    <a:pt x="264" y="45"/>
                  </a:lnTo>
                  <a:lnTo>
                    <a:pt x="262" y="43"/>
                  </a:lnTo>
                  <a:lnTo>
                    <a:pt x="262" y="43"/>
                  </a:lnTo>
                  <a:lnTo>
                    <a:pt x="262" y="40"/>
                  </a:lnTo>
                  <a:lnTo>
                    <a:pt x="260" y="38"/>
                  </a:lnTo>
                  <a:lnTo>
                    <a:pt x="260" y="10"/>
                  </a:lnTo>
                  <a:lnTo>
                    <a:pt x="255" y="12"/>
                  </a:lnTo>
                  <a:lnTo>
                    <a:pt x="253" y="10"/>
                  </a:lnTo>
                  <a:lnTo>
                    <a:pt x="253" y="7"/>
                  </a:lnTo>
                  <a:lnTo>
                    <a:pt x="248" y="5"/>
                  </a:lnTo>
                  <a:lnTo>
                    <a:pt x="246" y="5"/>
                  </a:lnTo>
                  <a:lnTo>
                    <a:pt x="246" y="2"/>
                  </a:lnTo>
                  <a:lnTo>
                    <a:pt x="241" y="2"/>
                  </a:lnTo>
                  <a:lnTo>
                    <a:pt x="229" y="0"/>
                  </a:lnTo>
                  <a:lnTo>
                    <a:pt x="215" y="0"/>
                  </a:lnTo>
                  <a:lnTo>
                    <a:pt x="205" y="0"/>
                  </a:lnTo>
                  <a:lnTo>
                    <a:pt x="205" y="0"/>
                  </a:lnTo>
                  <a:lnTo>
                    <a:pt x="203" y="2"/>
                  </a:lnTo>
                  <a:lnTo>
                    <a:pt x="196" y="7"/>
                  </a:lnTo>
                  <a:lnTo>
                    <a:pt x="182" y="17"/>
                  </a:lnTo>
                  <a:lnTo>
                    <a:pt x="168" y="26"/>
                  </a:lnTo>
                  <a:lnTo>
                    <a:pt x="153" y="38"/>
                  </a:lnTo>
                  <a:lnTo>
                    <a:pt x="139" y="47"/>
                  </a:lnTo>
                  <a:lnTo>
                    <a:pt x="125" y="57"/>
                  </a:lnTo>
                  <a:lnTo>
                    <a:pt x="111" y="66"/>
                  </a:lnTo>
                  <a:lnTo>
                    <a:pt x="97" y="76"/>
                  </a:lnTo>
                  <a:lnTo>
                    <a:pt x="94" y="76"/>
                  </a:lnTo>
                  <a:lnTo>
                    <a:pt x="73" y="83"/>
                  </a:lnTo>
                  <a:lnTo>
                    <a:pt x="71" y="83"/>
                  </a:lnTo>
                  <a:lnTo>
                    <a:pt x="71" y="83"/>
                  </a:lnTo>
                  <a:lnTo>
                    <a:pt x="71" y="83"/>
                  </a:lnTo>
                  <a:lnTo>
                    <a:pt x="71" y="8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4" name="Freeform 655">
              <a:extLst>
                <a:ext uri="{FF2B5EF4-FFF2-40B4-BE49-F238E27FC236}">
                  <a16:creationId xmlns:a16="http://schemas.microsoft.com/office/drawing/2014/main" id="{7ED6365A-77C5-4469-AB1C-6E0EFBD0A222}"/>
                </a:ext>
              </a:extLst>
            </p:cNvPr>
            <p:cNvSpPr>
              <a:spLocks/>
            </p:cNvSpPr>
            <p:nvPr/>
          </p:nvSpPr>
          <p:spPr bwMode="auto">
            <a:xfrm>
              <a:off x="1278778" y="3862353"/>
              <a:ext cx="442912" cy="341312"/>
            </a:xfrm>
            <a:custGeom>
              <a:avLst/>
              <a:gdLst>
                <a:gd name="T0" fmla="*/ 71 w 279"/>
                <a:gd name="T1" fmla="*/ 121 h 215"/>
                <a:gd name="T2" fmla="*/ 66 w 279"/>
                <a:gd name="T3" fmla="*/ 142 h 215"/>
                <a:gd name="T4" fmla="*/ 61 w 279"/>
                <a:gd name="T5" fmla="*/ 147 h 215"/>
                <a:gd name="T6" fmla="*/ 59 w 279"/>
                <a:gd name="T7" fmla="*/ 151 h 215"/>
                <a:gd name="T8" fmla="*/ 52 w 279"/>
                <a:gd name="T9" fmla="*/ 151 h 215"/>
                <a:gd name="T10" fmla="*/ 14 w 279"/>
                <a:gd name="T11" fmla="*/ 158 h 215"/>
                <a:gd name="T12" fmla="*/ 2 w 279"/>
                <a:gd name="T13" fmla="*/ 163 h 215"/>
                <a:gd name="T14" fmla="*/ 5 w 279"/>
                <a:gd name="T15" fmla="*/ 170 h 215"/>
                <a:gd name="T16" fmla="*/ 5 w 279"/>
                <a:gd name="T17" fmla="*/ 175 h 215"/>
                <a:gd name="T18" fmla="*/ 16 w 279"/>
                <a:gd name="T19" fmla="*/ 187 h 215"/>
                <a:gd name="T20" fmla="*/ 24 w 279"/>
                <a:gd name="T21" fmla="*/ 199 h 215"/>
                <a:gd name="T22" fmla="*/ 31 w 279"/>
                <a:gd name="T23" fmla="*/ 201 h 215"/>
                <a:gd name="T24" fmla="*/ 35 w 279"/>
                <a:gd name="T25" fmla="*/ 199 h 215"/>
                <a:gd name="T26" fmla="*/ 38 w 279"/>
                <a:gd name="T27" fmla="*/ 203 h 215"/>
                <a:gd name="T28" fmla="*/ 35 w 279"/>
                <a:gd name="T29" fmla="*/ 203 h 215"/>
                <a:gd name="T30" fmla="*/ 38 w 279"/>
                <a:gd name="T31" fmla="*/ 208 h 215"/>
                <a:gd name="T32" fmla="*/ 40 w 279"/>
                <a:gd name="T33" fmla="*/ 208 h 215"/>
                <a:gd name="T34" fmla="*/ 45 w 279"/>
                <a:gd name="T35" fmla="*/ 206 h 215"/>
                <a:gd name="T36" fmla="*/ 52 w 279"/>
                <a:gd name="T37" fmla="*/ 208 h 215"/>
                <a:gd name="T38" fmla="*/ 61 w 279"/>
                <a:gd name="T39" fmla="*/ 215 h 215"/>
                <a:gd name="T40" fmla="*/ 61 w 279"/>
                <a:gd name="T41" fmla="*/ 203 h 215"/>
                <a:gd name="T42" fmla="*/ 66 w 279"/>
                <a:gd name="T43" fmla="*/ 199 h 215"/>
                <a:gd name="T44" fmla="*/ 71 w 279"/>
                <a:gd name="T45" fmla="*/ 187 h 215"/>
                <a:gd name="T46" fmla="*/ 83 w 279"/>
                <a:gd name="T47" fmla="*/ 180 h 215"/>
                <a:gd name="T48" fmla="*/ 92 w 279"/>
                <a:gd name="T49" fmla="*/ 180 h 215"/>
                <a:gd name="T50" fmla="*/ 116 w 279"/>
                <a:gd name="T51" fmla="*/ 191 h 215"/>
                <a:gd name="T52" fmla="*/ 123 w 279"/>
                <a:gd name="T53" fmla="*/ 194 h 215"/>
                <a:gd name="T54" fmla="*/ 132 w 279"/>
                <a:gd name="T55" fmla="*/ 187 h 215"/>
                <a:gd name="T56" fmla="*/ 151 w 279"/>
                <a:gd name="T57" fmla="*/ 196 h 215"/>
                <a:gd name="T58" fmla="*/ 165 w 279"/>
                <a:gd name="T59" fmla="*/ 196 h 215"/>
                <a:gd name="T60" fmla="*/ 177 w 279"/>
                <a:gd name="T61" fmla="*/ 187 h 215"/>
                <a:gd name="T62" fmla="*/ 196 w 279"/>
                <a:gd name="T63" fmla="*/ 187 h 215"/>
                <a:gd name="T64" fmla="*/ 205 w 279"/>
                <a:gd name="T65" fmla="*/ 189 h 215"/>
                <a:gd name="T66" fmla="*/ 215 w 279"/>
                <a:gd name="T67" fmla="*/ 189 h 215"/>
                <a:gd name="T68" fmla="*/ 220 w 279"/>
                <a:gd name="T69" fmla="*/ 184 h 215"/>
                <a:gd name="T70" fmla="*/ 227 w 279"/>
                <a:gd name="T71" fmla="*/ 184 h 215"/>
                <a:gd name="T72" fmla="*/ 229 w 279"/>
                <a:gd name="T73" fmla="*/ 180 h 215"/>
                <a:gd name="T74" fmla="*/ 227 w 279"/>
                <a:gd name="T75" fmla="*/ 175 h 215"/>
                <a:gd name="T76" fmla="*/ 231 w 279"/>
                <a:gd name="T77" fmla="*/ 170 h 215"/>
                <a:gd name="T78" fmla="*/ 234 w 279"/>
                <a:gd name="T79" fmla="*/ 163 h 215"/>
                <a:gd name="T80" fmla="*/ 238 w 279"/>
                <a:gd name="T81" fmla="*/ 158 h 215"/>
                <a:gd name="T82" fmla="*/ 267 w 279"/>
                <a:gd name="T83" fmla="*/ 123 h 215"/>
                <a:gd name="T84" fmla="*/ 279 w 279"/>
                <a:gd name="T85" fmla="*/ 59 h 215"/>
                <a:gd name="T86" fmla="*/ 267 w 279"/>
                <a:gd name="T87" fmla="*/ 52 h 215"/>
                <a:gd name="T88" fmla="*/ 262 w 279"/>
                <a:gd name="T89" fmla="*/ 43 h 215"/>
                <a:gd name="T90" fmla="*/ 260 w 279"/>
                <a:gd name="T91" fmla="*/ 38 h 215"/>
                <a:gd name="T92" fmla="*/ 253 w 279"/>
                <a:gd name="T93" fmla="*/ 10 h 215"/>
                <a:gd name="T94" fmla="*/ 246 w 279"/>
                <a:gd name="T95" fmla="*/ 5 h 215"/>
                <a:gd name="T96" fmla="*/ 229 w 279"/>
                <a:gd name="T97" fmla="*/ 0 h 215"/>
                <a:gd name="T98" fmla="*/ 205 w 279"/>
                <a:gd name="T99" fmla="*/ 0 h 215"/>
                <a:gd name="T100" fmla="*/ 182 w 279"/>
                <a:gd name="T101" fmla="*/ 17 h 215"/>
                <a:gd name="T102" fmla="*/ 139 w 279"/>
                <a:gd name="T103" fmla="*/ 47 h 215"/>
                <a:gd name="T104" fmla="*/ 97 w 279"/>
                <a:gd name="T105" fmla="*/ 76 h 215"/>
                <a:gd name="T106" fmla="*/ 71 w 279"/>
                <a:gd name="T107" fmla="*/ 83 h 215"/>
                <a:gd name="T108" fmla="*/ 71 w 279"/>
                <a:gd name="T109" fmla="*/ 8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9" h="215">
                  <a:moveTo>
                    <a:pt x="71" y="87"/>
                  </a:moveTo>
                  <a:lnTo>
                    <a:pt x="71" y="104"/>
                  </a:lnTo>
                  <a:lnTo>
                    <a:pt x="71" y="121"/>
                  </a:lnTo>
                  <a:lnTo>
                    <a:pt x="71" y="139"/>
                  </a:lnTo>
                  <a:lnTo>
                    <a:pt x="71" y="139"/>
                  </a:lnTo>
                  <a:lnTo>
                    <a:pt x="66" y="142"/>
                  </a:lnTo>
                  <a:lnTo>
                    <a:pt x="66" y="142"/>
                  </a:lnTo>
                  <a:lnTo>
                    <a:pt x="66" y="144"/>
                  </a:lnTo>
                  <a:lnTo>
                    <a:pt x="61" y="147"/>
                  </a:lnTo>
                  <a:lnTo>
                    <a:pt x="61" y="149"/>
                  </a:lnTo>
                  <a:lnTo>
                    <a:pt x="59" y="149"/>
                  </a:lnTo>
                  <a:lnTo>
                    <a:pt x="59" y="151"/>
                  </a:lnTo>
                  <a:lnTo>
                    <a:pt x="54" y="151"/>
                  </a:lnTo>
                  <a:lnTo>
                    <a:pt x="52" y="151"/>
                  </a:lnTo>
                  <a:lnTo>
                    <a:pt x="52" y="151"/>
                  </a:lnTo>
                  <a:lnTo>
                    <a:pt x="50" y="151"/>
                  </a:lnTo>
                  <a:lnTo>
                    <a:pt x="21" y="151"/>
                  </a:lnTo>
                  <a:lnTo>
                    <a:pt x="14" y="158"/>
                  </a:lnTo>
                  <a:lnTo>
                    <a:pt x="2" y="158"/>
                  </a:lnTo>
                  <a:lnTo>
                    <a:pt x="2" y="158"/>
                  </a:lnTo>
                  <a:lnTo>
                    <a:pt x="2" y="163"/>
                  </a:lnTo>
                  <a:lnTo>
                    <a:pt x="0" y="165"/>
                  </a:lnTo>
                  <a:lnTo>
                    <a:pt x="0" y="168"/>
                  </a:lnTo>
                  <a:lnTo>
                    <a:pt x="5" y="170"/>
                  </a:lnTo>
                  <a:lnTo>
                    <a:pt x="5" y="170"/>
                  </a:lnTo>
                  <a:lnTo>
                    <a:pt x="5" y="173"/>
                  </a:lnTo>
                  <a:lnTo>
                    <a:pt x="5" y="175"/>
                  </a:lnTo>
                  <a:lnTo>
                    <a:pt x="9" y="180"/>
                  </a:lnTo>
                  <a:lnTo>
                    <a:pt x="14" y="184"/>
                  </a:lnTo>
                  <a:lnTo>
                    <a:pt x="16" y="187"/>
                  </a:lnTo>
                  <a:lnTo>
                    <a:pt x="19" y="191"/>
                  </a:lnTo>
                  <a:lnTo>
                    <a:pt x="19" y="194"/>
                  </a:lnTo>
                  <a:lnTo>
                    <a:pt x="24" y="199"/>
                  </a:lnTo>
                  <a:lnTo>
                    <a:pt x="26" y="199"/>
                  </a:lnTo>
                  <a:lnTo>
                    <a:pt x="28" y="201"/>
                  </a:lnTo>
                  <a:lnTo>
                    <a:pt x="31" y="201"/>
                  </a:lnTo>
                  <a:lnTo>
                    <a:pt x="31" y="201"/>
                  </a:lnTo>
                  <a:lnTo>
                    <a:pt x="33" y="199"/>
                  </a:lnTo>
                  <a:lnTo>
                    <a:pt x="35" y="199"/>
                  </a:lnTo>
                  <a:lnTo>
                    <a:pt x="35" y="199"/>
                  </a:lnTo>
                  <a:lnTo>
                    <a:pt x="38" y="203"/>
                  </a:lnTo>
                  <a:lnTo>
                    <a:pt x="38" y="203"/>
                  </a:lnTo>
                  <a:lnTo>
                    <a:pt x="38" y="203"/>
                  </a:lnTo>
                  <a:lnTo>
                    <a:pt x="35" y="203"/>
                  </a:lnTo>
                  <a:lnTo>
                    <a:pt x="35" y="203"/>
                  </a:lnTo>
                  <a:lnTo>
                    <a:pt x="35" y="206"/>
                  </a:lnTo>
                  <a:lnTo>
                    <a:pt x="35" y="206"/>
                  </a:lnTo>
                  <a:lnTo>
                    <a:pt x="38" y="208"/>
                  </a:lnTo>
                  <a:lnTo>
                    <a:pt x="40" y="213"/>
                  </a:lnTo>
                  <a:lnTo>
                    <a:pt x="42" y="210"/>
                  </a:lnTo>
                  <a:lnTo>
                    <a:pt x="40" y="208"/>
                  </a:lnTo>
                  <a:lnTo>
                    <a:pt x="40" y="206"/>
                  </a:lnTo>
                  <a:lnTo>
                    <a:pt x="45" y="206"/>
                  </a:lnTo>
                  <a:lnTo>
                    <a:pt x="45" y="206"/>
                  </a:lnTo>
                  <a:lnTo>
                    <a:pt x="50" y="203"/>
                  </a:lnTo>
                  <a:lnTo>
                    <a:pt x="50" y="206"/>
                  </a:lnTo>
                  <a:lnTo>
                    <a:pt x="52" y="208"/>
                  </a:lnTo>
                  <a:lnTo>
                    <a:pt x="57" y="213"/>
                  </a:lnTo>
                  <a:lnTo>
                    <a:pt x="59" y="213"/>
                  </a:lnTo>
                  <a:lnTo>
                    <a:pt x="61" y="215"/>
                  </a:lnTo>
                  <a:lnTo>
                    <a:pt x="61" y="213"/>
                  </a:lnTo>
                  <a:lnTo>
                    <a:pt x="61" y="206"/>
                  </a:lnTo>
                  <a:lnTo>
                    <a:pt x="61" y="203"/>
                  </a:lnTo>
                  <a:lnTo>
                    <a:pt x="61" y="201"/>
                  </a:lnTo>
                  <a:lnTo>
                    <a:pt x="64" y="201"/>
                  </a:lnTo>
                  <a:lnTo>
                    <a:pt x="66" y="199"/>
                  </a:lnTo>
                  <a:lnTo>
                    <a:pt x="68" y="196"/>
                  </a:lnTo>
                  <a:lnTo>
                    <a:pt x="71" y="191"/>
                  </a:lnTo>
                  <a:lnTo>
                    <a:pt x="71" y="187"/>
                  </a:lnTo>
                  <a:lnTo>
                    <a:pt x="71" y="184"/>
                  </a:lnTo>
                  <a:lnTo>
                    <a:pt x="75" y="182"/>
                  </a:lnTo>
                  <a:lnTo>
                    <a:pt x="83" y="180"/>
                  </a:lnTo>
                  <a:lnTo>
                    <a:pt x="87" y="180"/>
                  </a:lnTo>
                  <a:lnTo>
                    <a:pt x="90" y="180"/>
                  </a:lnTo>
                  <a:lnTo>
                    <a:pt x="92" y="180"/>
                  </a:lnTo>
                  <a:lnTo>
                    <a:pt x="97" y="180"/>
                  </a:lnTo>
                  <a:lnTo>
                    <a:pt x="109" y="184"/>
                  </a:lnTo>
                  <a:lnTo>
                    <a:pt x="116" y="191"/>
                  </a:lnTo>
                  <a:lnTo>
                    <a:pt x="118" y="194"/>
                  </a:lnTo>
                  <a:lnTo>
                    <a:pt x="120" y="194"/>
                  </a:lnTo>
                  <a:lnTo>
                    <a:pt x="123" y="194"/>
                  </a:lnTo>
                  <a:lnTo>
                    <a:pt x="125" y="191"/>
                  </a:lnTo>
                  <a:lnTo>
                    <a:pt x="130" y="189"/>
                  </a:lnTo>
                  <a:lnTo>
                    <a:pt x="132" y="187"/>
                  </a:lnTo>
                  <a:lnTo>
                    <a:pt x="137" y="187"/>
                  </a:lnTo>
                  <a:lnTo>
                    <a:pt x="142" y="191"/>
                  </a:lnTo>
                  <a:lnTo>
                    <a:pt x="151" y="196"/>
                  </a:lnTo>
                  <a:lnTo>
                    <a:pt x="153" y="196"/>
                  </a:lnTo>
                  <a:lnTo>
                    <a:pt x="161" y="196"/>
                  </a:lnTo>
                  <a:lnTo>
                    <a:pt x="165" y="196"/>
                  </a:lnTo>
                  <a:lnTo>
                    <a:pt x="170" y="194"/>
                  </a:lnTo>
                  <a:lnTo>
                    <a:pt x="175" y="189"/>
                  </a:lnTo>
                  <a:lnTo>
                    <a:pt x="177" y="187"/>
                  </a:lnTo>
                  <a:lnTo>
                    <a:pt x="187" y="187"/>
                  </a:lnTo>
                  <a:lnTo>
                    <a:pt x="191" y="189"/>
                  </a:lnTo>
                  <a:lnTo>
                    <a:pt x="196" y="187"/>
                  </a:lnTo>
                  <a:lnTo>
                    <a:pt x="201" y="187"/>
                  </a:lnTo>
                  <a:lnTo>
                    <a:pt x="203" y="187"/>
                  </a:lnTo>
                  <a:lnTo>
                    <a:pt x="205" y="189"/>
                  </a:lnTo>
                  <a:lnTo>
                    <a:pt x="208" y="189"/>
                  </a:lnTo>
                  <a:lnTo>
                    <a:pt x="210" y="189"/>
                  </a:lnTo>
                  <a:lnTo>
                    <a:pt x="215" y="189"/>
                  </a:lnTo>
                  <a:lnTo>
                    <a:pt x="217" y="189"/>
                  </a:lnTo>
                  <a:lnTo>
                    <a:pt x="220" y="187"/>
                  </a:lnTo>
                  <a:lnTo>
                    <a:pt x="220" y="184"/>
                  </a:lnTo>
                  <a:lnTo>
                    <a:pt x="222" y="184"/>
                  </a:lnTo>
                  <a:lnTo>
                    <a:pt x="224" y="184"/>
                  </a:lnTo>
                  <a:lnTo>
                    <a:pt x="227" y="184"/>
                  </a:lnTo>
                  <a:lnTo>
                    <a:pt x="227" y="180"/>
                  </a:lnTo>
                  <a:lnTo>
                    <a:pt x="229" y="180"/>
                  </a:lnTo>
                  <a:lnTo>
                    <a:pt x="229" y="180"/>
                  </a:lnTo>
                  <a:lnTo>
                    <a:pt x="227" y="177"/>
                  </a:lnTo>
                  <a:lnTo>
                    <a:pt x="227" y="175"/>
                  </a:lnTo>
                  <a:lnTo>
                    <a:pt x="227" y="175"/>
                  </a:lnTo>
                  <a:lnTo>
                    <a:pt x="227" y="173"/>
                  </a:lnTo>
                  <a:lnTo>
                    <a:pt x="229" y="170"/>
                  </a:lnTo>
                  <a:lnTo>
                    <a:pt x="231" y="170"/>
                  </a:lnTo>
                  <a:lnTo>
                    <a:pt x="231" y="168"/>
                  </a:lnTo>
                  <a:lnTo>
                    <a:pt x="231" y="165"/>
                  </a:lnTo>
                  <a:lnTo>
                    <a:pt x="234" y="163"/>
                  </a:lnTo>
                  <a:lnTo>
                    <a:pt x="236" y="163"/>
                  </a:lnTo>
                  <a:lnTo>
                    <a:pt x="236" y="161"/>
                  </a:lnTo>
                  <a:lnTo>
                    <a:pt x="238" y="158"/>
                  </a:lnTo>
                  <a:lnTo>
                    <a:pt x="238" y="156"/>
                  </a:lnTo>
                  <a:lnTo>
                    <a:pt x="267" y="125"/>
                  </a:lnTo>
                  <a:lnTo>
                    <a:pt x="267" y="123"/>
                  </a:lnTo>
                  <a:lnTo>
                    <a:pt x="269" y="92"/>
                  </a:lnTo>
                  <a:lnTo>
                    <a:pt x="274" y="66"/>
                  </a:lnTo>
                  <a:lnTo>
                    <a:pt x="279" y="59"/>
                  </a:lnTo>
                  <a:lnTo>
                    <a:pt x="272" y="54"/>
                  </a:lnTo>
                  <a:lnTo>
                    <a:pt x="269" y="52"/>
                  </a:lnTo>
                  <a:lnTo>
                    <a:pt x="267" y="52"/>
                  </a:lnTo>
                  <a:lnTo>
                    <a:pt x="264" y="50"/>
                  </a:lnTo>
                  <a:lnTo>
                    <a:pt x="264" y="45"/>
                  </a:lnTo>
                  <a:lnTo>
                    <a:pt x="262" y="43"/>
                  </a:lnTo>
                  <a:lnTo>
                    <a:pt x="262" y="43"/>
                  </a:lnTo>
                  <a:lnTo>
                    <a:pt x="262" y="40"/>
                  </a:lnTo>
                  <a:lnTo>
                    <a:pt x="260" y="38"/>
                  </a:lnTo>
                  <a:lnTo>
                    <a:pt x="260" y="10"/>
                  </a:lnTo>
                  <a:lnTo>
                    <a:pt x="255" y="12"/>
                  </a:lnTo>
                  <a:lnTo>
                    <a:pt x="253" y="10"/>
                  </a:lnTo>
                  <a:lnTo>
                    <a:pt x="253" y="7"/>
                  </a:lnTo>
                  <a:lnTo>
                    <a:pt x="248" y="5"/>
                  </a:lnTo>
                  <a:lnTo>
                    <a:pt x="246" y="5"/>
                  </a:lnTo>
                  <a:lnTo>
                    <a:pt x="246" y="2"/>
                  </a:lnTo>
                  <a:lnTo>
                    <a:pt x="241" y="2"/>
                  </a:lnTo>
                  <a:lnTo>
                    <a:pt x="229" y="0"/>
                  </a:lnTo>
                  <a:lnTo>
                    <a:pt x="215" y="0"/>
                  </a:lnTo>
                  <a:lnTo>
                    <a:pt x="205" y="0"/>
                  </a:lnTo>
                  <a:lnTo>
                    <a:pt x="205" y="0"/>
                  </a:lnTo>
                  <a:lnTo>
                    <a:pt x="203" y="2"/>
                  </a:lnTo>
                  <a:lnTo>
                    <a:pt x="196" y="7"/>
                  </a:lnTo>
                  <a:lnTo>
                    <a:pt x="182" y="17"/>
                  </a:lnTo>
                  <a:lnTo>
                    <a:pt x="168" y="26"/>
                  </a:lnTo>
                  <a:lnTo>
                    <a:pt x="153" y="38"/>
                  </a:lnTo>
                  <a:lnTo>
                    <a:pt x="139" y="47"/>
                  </a:lnTo>
                  <a:lnTo>
                    <a:pt x="125" y="57"/>
                  </a:lnTo>
                  <a:lnTo>
                    <a:pt x="111" y="66"/>
                  </a:lnTo>
                  <a:lnTo>
                    <a:pt x="97" y="76"/>
                  </a:lnTo>
                  <a:lnTo>
                    <a:pt x="94" y="76"/>
                  </a:lnTo>
                  <a:lnTo>
                    <a:pt x="73" y="83"/>
                  </a:lnTo>
                  <a:lnTo>
                    <a:pt x="71" y="83"/>
                  </a:lnTo>
                  <a:lnTo>
                    <a:pt x="71" y="83"/>
                  </a:lnTo>
                  <a:lnTo>
                    <a:pt x="71" y="83"/>
                  </a:lnTo>
                  <a:lnTo>
                    <a:pt x="71" y="87"/>
                  </a:lnTo>
                </a:path>
              </a:pathLst>
            </a:custGeom>
            <a:solidFill>
              <a:srgbClr val="9999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5" name="Freeform 656">
              <a:extLst>
                <a:ext uri="{FF2B5EF4-FFF2-40B4-BE49-F238E27FC236}">
                  <a16:creationId xmlns:a16="http://schemas.microsoft.com/office/drawing/2014/main" id="{ED6B7161-DCF3-4FB4-AC97-2C2B1BD76963}"/>
                </a:ext>
              </a:extLst>
            </p:cNvPr>
            <p:cNvSpPr>
              <a:spLocks/>
            </p:cNvSpPr>
            <p:nvPr/>
          </p:nvSpPr>
          <p:spPr bwMode="auto">
            <a:xfrm>
              <a:off x="1597866" y="5002179"/>
              <a:ext cx="371474" cy="363537"/>
            </a:xfrm>
            <a:custGeom>
              <a:avLst/>
              <a:gdLst>
                <a:gd name="T0" fmla="*/ 80 w 234"/>
                <a:gd name="T1" fmla="*/ 7 h 229"/>
                <a:gd name="T2" fmla="*/ 42 w 234"/>
                <a:gd name="T3" fmla="*/ 7 h 229"/>
                <a:gd name="T4" fmla="*/ 30 w 234"/>
                <a:gd name="T5" fmla="*/ 3 h 229"/>
                <a:gd name="T6" fmla="*/ 19 w 234"/>
                <a:gd name="T7" fmla="*/ 0 h 229"/>
                <a:gd name="T8" fmla="*/ 12 w 234"/>
                <a:gd name="T9" fmla="*/ 5 h 229"/>
                <a:gd name="T10" fmla="*/ 0 w 234"/>
                <a:gd name="T11" fmla="*/ 7 h 229"/>
                <a:gd name="T12" fmla="*/ 2 w 234"/>
                <a:gd name="T13" fmla="*/ 19 h 229"/>
                <a:gd name="T14" fmla="*/ 7 w 234"/>
                <a:gd name="T15" fmla="*/ 31 h 229"/>
                <a:gd name="T16" fmla="*/ 12 w 234"/>
                <a:gd name="T17" fmla="*/ 36 h 229"/>
                <a:gd name="T18" fmla="*/ 16 w 234"/>
                <a:gd name="T19" fmla="*/ 43 h 229"/>
                <a:gd name="T20" fmla="*/ 21 w 234"/>
                <a:gd name="T21" fmla="*/ 52 h 229"/>
                <a:gd name="T22" fmla="*/ 28 w 234"/>
                <a:gd name="T23" fmla="*/ 66 h 229"/>
                <a:gd name="T24" fmla="*/ 30 w 234"/>
                <a:gd name="T25" fmla="*/ 76 h 229"/>
                <a:gd name="T26" fmla="*/ 37 w 234"/>
                <a:gd name="T27" fmla="*/ 88 h 229"/>
                <a:gd name="T28" fmla="*/ 49 w 234"/>
                <a:gd name="T29" fmla="*/ 104 h 229"/>
                <a:gd name="T30" fmla="*/ 49 w 234"/>
                <a:gd name="T31" fmla="*/ 116 h 229"/>
                <a:gd name="T32" fmla="*/ 49 w 234"/>
                <a:gd name="T33" fmla="*/ 137 h 229"/>
                <a:gd name="T34" fmla="*/ 56 w 234"/>
                <a:gd name="T35" fmla="*/ 151 h 229"/>
                <a:gd name="T36" fmla="*/ 56 w 234"/>
                <a:gd name="T37" fmla="*/ 165 h 229"/>
                <a:gd name="T38" fmla="*/ 59 w 234"/>
                <a:gd name="T39" fmla="*/ 175 h 229"/>
                <a:gd name="T40" fmla="*/ 61 w 234"/>
                <a:gd name="T41" fmla="*/ 187 h 229"/>
                <a:gd name="T42" fmla="*/ 68 w 234"/>
                <a:gd name="T43" fmla="*/ 206 h 229"/>
                <a:gd name="T44" fmla="*/ 78 w 234"/>
                <a:gd name="T45" fmla="*/ 217 h 229"/>
                <a:gd name="T46" fmla="*/ 85 w 234"/>
                <a:gd name="T47" fmla="*/ 222 h 229"/>
                <a:gd name="T48" fmla="*/ 89 w 234"/>
                <a:gd name="T49" fmla="*/ 220 h 229"/>
                <a:gd name="T50" fmla="*/ 104 w 234"/>
                <a:gd name="T51" fmla="*/ 220 h 229"/>
                <a:gd name="T52" fmla="*/ 113 w 234"/>
                <a:gd name="T53" fmla="*/ 229 h 229"/>
                <a:gd name="T54" fmla="*/ 125 w 234"/>
                <a:gd name="T55" fmla="*/ 229 h 229"/>
                <a:gd name="T56" fmla="*/ 139 w 234"/>
                <a:gd name="T57" fmla="*/ 220 h 229"/>
                <a:gd name="T58" fmla="*/ 144 w 234"/>
                <a:gd name="T59" fmla="*/ 201 h 229"/>
                <a:gd name="T60" fmla="*/ 144 w 234"/>
                <a:gd name="T61" fmla="*/ 147 h 229"/>
                <a:gd name="T62" fmla="*/ 144 w 234"/>
                <a:gd name="T63" fmla="*/ 92 h 229"/>
                <a:gd name="T64" fmla="*/ 163 w 234"/>
                <a:gd name="T65" fmla="*/ 64 h 229"/>
                <a:gd name="T66" fmla="*/ 163 w 234"/>
                <a:gd name="T67" fmla="*/ 26 h 229"/>
                <a:gd name="T68" fmla="*/ 196 w 234"/>
                <a:gd name="T69" fmla="*/ 21 h 229"/>
                <a:gd name="T70" fmla="*/ 208 w 234"/>
                <a:gd name="T71" fmla="*/ 26 h 229"/>
                <a:gd name="T72" fmla="*/ 212 w 234"/>
                <a:gd name="T73" fmla="*/ 26 h 229"/>
                <a:gd name="T74" fmla="*/ 229 w 234"/>
                <a:gd name="T75" fmla="*/ 17 h 229"/>
                <a:gd name="T76" fmla="*/ 231 w 234"/>
                <a:gd name="T77" fmla="*/ 12 h 229"/>
                <a:gd name="T78" fmla="*/ 219 w 234"/>
                <a:gd name="T79" fmla="*/ 10 h 229"/>
                <a:gd name="T80" fmla="*/ 203 w 234"/>
                <a:gd name="T81" fmla="*/ 12 h 229"/>
                <a:gd name="T82" fmla="*/ 175 w 234"/>
                <a:gd name="T83" fmla="*/ 21 h 229"/>
                <a:gd name="T84" fmla="*/ 167 w 234"/>
                <a:gd name="T85" fmla="*/ 19 h 229"/>
                <a:gd name="T86" fmla="*/ 146 w 234"/>
                <a:gd name="T87" fmla="*/ 17 h 229"/>
                <a:gd name="T88" fmla="*/ 130 w 234"/>
                <a:gd name="T89" fmla="*/ 17 h 229"/>
                <a:gd name="T90" fmla="*/ 118 w 234"/>
                <a:gd name="T91"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29">
                  <a:moveTo>
                    <a:pt x="111" y="7"/>
                  </a:moveTo>
                  <a:lnTo>
                    <a:pt x="97" y="7"/>
                  </a:lnTo>
                  <a:lnTo>
                    <a:pt x="80" y="7"/>
                  </a:lnTo>
                  <a:lnTo>
                    <a:pt x="63" y="7"/>
                  </a:lnTo>
                  <a:lnTo>
                    <a:pt x="47" y="7"/>
                  </a:lnTo>
                  <a:lnTo>
                    <a:pt x="42" y="7"/>
                  </a:lnTo>
                  <a:lnTo>
                    <a:pt x="40" y="7"/>
                  </a:lnTo>
                  <a:lnTo>
                    <a:pt x="35" y="5"/>
                  </a:lnTo>
                  <a:lnTo>
                    <a:pt x="30" y="3"/>
                  </a:lnTo>
                  <a:lnTo>
                    <a:pt x="30" y="0"/>
                  </a:lnTo>
                  <a:lnTo>
                    <a:pt x="26" y="0"/>
                  </a:lnTo>
                  <a:lnTo>
                    <a:pt x="19" y="0"/>
                  </a:lnTo>
                  <a:lnTo>
                    <a:pt x="16" y="0"/>
                  </a:lnTo>
                  <a:lnTo>
                    <a:pt x="14" y="5"/>
                  </a:lnTo>
                  <a:lnTo>
                    <a:pt x="12" y="5"/>
                  </a:lnTo>
                  <a:lnTo>
                    <a:pt x="7" y="3"/>
                  </a:lnTo>
                  <a:lnTo>
                    <a:pt x="4" y="5"/>
                  </a:lnTo>
                  <a:lnTo>
                    <a:pt x="0" y="7"/>
                  </a:lnTo>
                  <a:lnTo>
                    <a:pt x="0" y="14"/>
                  </a:lnTo>
                  <a:lnTo>
                    <a:pt x="0" y="17"/>
                  </a:lnTo>
                  <a:lnTo>
                    <a:pt x="2" y="19"/>
                  </a:lnTo>
                  <a:lnTo>
                    <a:pt x="2" y="24"/>
                  </a:lnTo>
                  <a:lnTo>
                    <a:pt x="4" y="28"/>
                  </a:lnTo>
                  <a:lnTo>
                    <a:pt x="7" y="31"/>
                  </a:lnTo>
                  <a:lnTo>
                    <a:pt x="7" y="31"/>
                  </a:lnTo>
                  <a:lnTo>
                    <a:pt x="9" y="33"/>
                  </a:lnTo>
                  <a:lnTo>
                    <a:pt x="12" y="36"/>
                  </a:lnTo>
                  <a:lnTo>
                    <a:pt x="14" y="40"/>
                  </a:lnTo>
                  <a:lnTo>
                    <a:pt x="14" y="43"/>
                  </a:lnTo>
                  <a:lnTo>
                    <a:pt x="16" y="43"/>
                  </a:lnTo>
                  <a:lnTo>
                    <a:pt x="19" y="47"/>
                  </a:lnTo>
                  <a:lnTo>
                    <a:pt x="19" y="50"/>
                  </a:lnTo>
                  <a:lnTo>
                    <a:pt x="21" y="52"/>
                  </a:lnTo>
                  <a:lnTo>
                    <a:pt x="21" y="54"/>
                  </a:lnTo>
                  <a:lnTo>
                    <a:pt x="26" y="64"/>
                  </a:lnTo>
                  <a:lnTo>
                    <a:pt x="28" y="66"/>
                  </a:lnTo>
                  <a:lnTo>
                    <a:pt x="28" y="69"/>
                  </a:lnTo>
                  <a:lnTo>
                    <a:pt x="28" y="71"/>
                  </a:lnTo>
                  <a:lnTo>
                    <a:pt x="30" y="76"/>
                  </a:lnTo>
                  <a:lnTo>
                    <a:pt x="35" y="83"/>
                  </a:lnTo>
                  <a:lnTo>
                    <a:pt x="37" y="85"/>
                  </a:lnTo>
                  <a:lnTo>
                    <a:pt x="37" y="88"/>
                  </a:lnTo>
                  <a:lnTo>
                    <a:pt x="40" y="90"/>
                  </a:lnTo>
                  <a:lnTo>
                    <a:pt x="45" y="99"/>
                  </a:lnTo>
                  <a:lnTo>
                    <a:pt x="49" y="104"/>
                  </a:lnTo>
                  <a:lnTo>
                    <a:pt x="49" y="106"/>
                  </a:lnTo>
                  <a:lnTo>
                    <a:pt x="49" y="111"/>
                  </a:lnTo>
                  <a:lnTo>
                    <a:pt x="49" y="116"/>
                  </a:lnTo>
                  <a:lnTo>
                    <a:pt x="49" y="128"/>
                  </a:lnTo>
                  <a:lnTo>
                    <a:pt x="49" y="135"/>
                  </a:lnTo>
                  <a:lnTo>
                    <a:pt x="49" y="137"/>
                  </a:lnTo>
                  <a:lnTo>
                    <a:pt x="52" y="140"/>
                  </a:lnTo>
                  <a:lnTo>
                    <a:pt x="52" y="144"/>
                  </a:lnTo>
                  <a:lnTo>
                    <a:pt x="56" y="151"/>
                  </a:lnTo>
                  <a:lnTo>
                    <a:pt x="56" y="154"/>
                  </a:lnTo>
                  <a:lnTo>
                    <a:pt x="54" y="158"/>
                  </a:lnTo>
                  <a:lnTo>
                    <a:pt x="56" y="165"/>
                  </a:lnTo>
                  <a:lnTo>
                    <a:pt x="56" y="168"/>
                  </a:lnTo>
                  <a:lnTo>
                    <a:pt x="59" y="173"/>
                  </a:lnTo>
                  <a:lnTo>
                    <a:pt x="59" y="175"/>
                  </a:lnTo>
                  <a:lnTo>
                    <a:pt x="59" y="177"/>
                  </a:lnTo>
                  <a:lnTo>
                    <a:pt x="59" y="180"/>
                  </a:lnTo>
                  <a:lnTo>
                    <a:pt x="61" y="187"/>
                  </a:lnTo>
                  <a:lnTo>
                    <a:pt x="61" y="189"/>
                  </a:lnTo>
                  <a:lnTo>
                    <a:pt x="63" y="196"/>
                  </a:lnTo>
                  <a:lnTo>
                    <a:pt x="68" y="206"/>
                  </a:lnTo>
                  <a:lnTo>
                    <a:pt x="71" y="210"/>
                  </a:lnTo>
                  <a:lnTo>
                    <a:pt x="75" y="215"/>
                  </a:lnTo>
                  <a:lnTo>
                    <a:pt x="78" y="217"/>
                  </a:lnTo>
                  <a:lnTo>
                    <a:pt x="82" y="222"/>
                  </a:lnTo>
                  <a:lnTo>
                    <a:pt x="85" y="222"/>
                  </a:lnTo>
                  <a:lnTo>
                    <a:pt x="85" y="222"/>
                  </a:lnTo>
                  <a:lnTo>
                    <a:pt x="87" y="222"/>
                  </a:lnTo>
                  <a:lnTo>
                    <a:pt x="87" y="220"/>
                  </a:lnTo>
                  <a:lnTo>
                    <a:pt x="89" y="220"/>
                  </a:lnTo>
                  <a:lnTo>
                    <a:pt x="92" y="215"/>
                  </a:lnTo>
                  <a:lnTo>
                    <a:pt x="94" y="215"/>
                  </a:lnTo>
                  <a:lnTo>
                    <a:pt x="104" y="220"/>
                  </a:lnTo>
                  <a:lnTo>
                    <a:pt x="104" y="225"/>
                  </a:lnTo>
                  <a:lnTo>
                    <a:pt x="106" y="229"/>
                  </a:lnTo>
                  <a:lnTo>
                    <a:pt x="113" y="229"/>
                  </a:lnTo>
                  <a:lnTo>
                    <a:pt x="118" y="227"/>
                  </a:lnTo>
                  <a:lnTo>
                    <a:pt x="123" y="227"/>
                  </a:lnTo>
                  <a:lnTo>
                    <a:pt x="125" y="229"/>
                  </a:lnTo>
                  <a:lnTo>
                    <a:pt x="130" y="229"/>
                  </a:lnTo>
                  <a:lnTo>
                    <a:pt x="134" y="225"/>
                  </a:lnTo>
                  <a:lnTo>
                    <a:pt x="139" y="220"/>
                  </a:lnTo>
                  <a:lnTo>
                    <a:pt x="141" y="220"/>
                  </a:lnTo>
                  <a:lnTo>
                    <a:pt x="144" y="220"/>
                  </a:lnTo>
                  <a:lnTo>
                    <a:pt x="144" y="201"/>
                  </a:lnTo>
                  <a:lnTo>
                    <a:pt x="144" y="182"/>
                  </a:lnTo>
                  <a:lnTo>
                    <a:pt x="144" y="163"/>
                  </a:lnTo>
                  <a:lnTo>
                    <a:pt x="144" y="147"/>
                  </a:lnTo>
                  <a:lnTo>
                    <a:pt x="144" y="128"/>
                  </a:lnTo>
                  <a:lnTo>
                    <a:pt x="144" y="111"/>
                  </a:lnTo>
                  <a:lnTo>
                    <a:pt x="144" y="92"/>
                  </a:lnTo>
                  <a:lnTo>
                    <a:pt x="163" y="92"/>
                  </a:lnTo>
                  <a:lnTo>
                    <a:pt x="163" y="80"/>
                  </a:lnTo>
                  <a:lnTo>
                    <a:pt x="163" y="64"/>
                  </a:lnTo>
                  <a:lnTo>
                    <a:pt x="163" y="45"/>
                  </a:lnTo>
                  <a:lnTo>
                    <a:pt x="163" y="28"/>
                  </a:lnTo>
                  <a:lnTo>
                    <a:pt x="163" y="26"/>
                  </a:lnTo>
                  <a:lnTo>
                    <a:pt x="189" y="21"/>
                  </a:lnTo>
                  <a:lnTo>
                    <a:pt x="193" y="21"/>
                  </a:lnTo>
                  <a:lnTo>
                    <a:pt x="196" y="21"/>
                  </a:lnTo>
                  <a:lnTo>
                    <a:pt x="203" y="21"/>
                  </a:lnTo>
                  <a:lnTo>
                    <a:pt x="205" y="21"/>
                  </a:lnTo>
                  <a:lnTo>
                    <a:pt x="208" y="26"/>
                  </a:lnTo>
                  <a:lnTo>
                    <a:pt x="208" y="31"/>
                  </a:lnTo>
                  <a:lnTo>
                    <a:pt x="210" y="28"/>
                  </a:lnTo>
                  <a:lnTo>
                    <a:pt x="212" y="26"/>
                  </a:lnTo>
                  <a:lnTo>
                    <a:pt x="219" y="21"/>
                  </a:lnTo>
                  <a:lnTo>
                    <a:pt x="226" y="19"/>
                  </a:lnTo>
                  <a:lnTo>
                    <a:pt x="229" y="17"/>
                  </a:lnTo>
                  <a:lnTo>
                    <a:pt x="231" y="17"/>
                  </a:lnTo>
                  <a:lnTo>
                    <a:pt x="234" y="17"/>
                  </a:lnTo>
                  <a:lnTo>
                    <a:pt x="231" y="12"/>
                  </a:lnTo>
                  <a:lnTo>
                    <a:pt x="231" y="10"/>
                  </a:lnTo>
                  <a:lnTo>
                    <a:pt x="226" y="10"/>
                  </a:lnTo>
                  <a:lnTo>
                    <a:pt x="219" y="10"/>
                  </a:lnTo>
                  <a:lnTo>
                    <a:pt x="219" y="10"/>
                  </a:lnTo>
                  <a:lnTo>
                    <a:pt x="205" y="12"/>
                  </a:lnTo>
                  <a:lnTo>
                    <a:pt x="203" y="12"/>
                  </a:lnTo>
                  <a:lnTo>
                    <a:pt x="203" y="12"/>
                  </a:lnTo>
                  <a:lnTo>
                    <a:pt x="198" y="14"/>
                  </a:lnTo>
                  <a:lnTo>
                    <a:pt x="175" y="21"/>
                  </a:lnTo>
                  <a:lnTo>
                    <a:pt x="172" y="21"/>
                  </a:lnTo>
                  <a:lnTo>
                    <a:pt x="170" y="19"/>
                  </a:lnTo>
                  <a:lnTo>
                    <a:pt x="167" y="19"/>
                  </a:lnTo>
                  <a:lnTo>
                    <a:pt x="163" y="19"/>
                  </a:lnTo>
                  <a:lnTo>
                    <a:pt x="158" y="17"/>
                  </a:lnTo>
                  <a:lnTo>
                    <a:pt x="146" y="17"/>
                  </a:lnTo>
                  <a:lnTo>
                    <a:pt x="139" y="14"/>
                  </a:lnTo>
                  <a:lnTo>
                    <a:pt x="132" y="17"/>
                  </a:lnTo>
                  <a:lnTo>
                    <a:pt x="130" y="17"/>
                  </a:lnTo>
                  <a:lnTo>
                    <a:pt x="125" y="14"/>
                  </a:lnTo>
                  <a:lnTo>
                    <a:pt x="123" y="12"/>
                  </a:lnTo>
                  <a:lnTo>
                    <a:pt x="118" y="7"/>
                  </a:lnTo>
                  <a:lnTo>
                    <a:pt x="111"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6" name="Freeform 657">
              <a:extLst>
                <a:ext uri="{FF2B5EF4-FFF2-40B4-BE49-F238E27FC236}">
                  <a16:creationId xmlns:a16="http://schemas.microsoft.com/office/drawing/2014/main" id="{873C34F7-673F-4F7B-8721-48825E4B7C37}"/>
                </a:ext>
              </a:extLst>
            </p:cNvPr>
            <p:cNvSpPr>
              <a:spLocks/>
            </p:cNvSpPr>
            <p:nvPr/>
          </p:nvSpPr>
          <p:spPr bwMode="auto">
            <a:xfrm>
              <a:off x="1597866" y="5002179"/>
              <a:ext cx="371474" cy="363537"/>
            </a:xfrm>
            <a:custGeom>
              <a:avLst/>
              <a:gdLst>
                <a:gd name="T0" fmla="*/ 80 w 234"/>
                <a:gd name="T1" fmla="*/ 7 h 229"/>
                <a:gd name="T2" fmla="*/ 42 w 234"/>
                <a:gd name="T3" fmla="*/ 7 h 229"/>
                <a:gd name="T4" fmla="*/ 30 w 234"/>
                <a:gd name="T5" fmla="*/ 3 h 229"/>
                <a:gd name="T6" fmla="*/ 19 w 234"/>
                <a:gd name="T7" fmla="*/ 0 h 229"/>
                <a:gd name="T8" fmla="*/ 12 w 234"/>
                <a:gd name="T9" fmla="*/ 5 h 229"/>
                <a:gd name="T10" fmla="*/ 0 w 234"/>
                <a:gd name="T11" fmla="*/ 7 h 229"/>
                <a:gd name="T12" fmla="*/ 2 w 234"/>
                <a:gd name="T13" fmla="*/ 19 h 229"/>
                <a:gd name="T14" fmla="*/ 7 w 234"/>
                <a:gd name="T15" fmla="*/ 31 h 229"/>
                <a:gd name="T16" fmla="*/ 12 w 234"/>
                <a:gd name="T17" fmla="*/ 36 h 229"/>
                <a:gd name="T18" fmla="*/ 16 w 234"/>
                <a:gd name="T19" fmla="*/ 43 h 229"/>
                <a:gd name="T20" fmla="*/ 21 w 234"/>
                <a:gd name="T21" fmla="*/ 52 h 229"/>
                <a:gd name="T22" fmla="*/ 28 w 234"/>
                <a:gd name="T23" fmla="*/ 66 h 229"/>
                <a:gd name="T24" fmla="*/ 30 w 234"/>
                <a:gd name="T25" fmla="*/ 76 h 229"/>
                <a:gd name="T26" fmla="*/ 37 w 234"/>
                <a:gd name="T27" fmla="*/ 88 h 229"/>
                <a:gd name="T28" fmla="*/ 49 w 234"/>
                <a:gd name="T29" fmla="*/ 104 h 229"/>
                <a:gd name="T30" fmla="*/ 49 w 234"/>
                <a:gd name="T31" fmla="*/ 116 h 229"/>
                <a:gd name="T32" fmla="*/ 49 w 234"/>
                <a:gd name="T33" fmla="*/ 137 h 229"/>
                <a:gd name="T34" fmla="*/ 56 w 234"/>
                <a:gd name="T35" fmla="*/ 151 h 229"/>
                <a:gd name="T36" fmla="*/ 56 w 234"/>
                <a:gd name="T37" fmla="*/ 165 h 229"/>
                <a:gd name="T38" fmla="*/ 59 w 234"/>
                <a:gd name="T39" fmla="*/ 175 h 229"/>
                <a:gd name="T40" fmla="*/ 61 w 234"/>
                <a:gd name="T41" fmla="*/ 187 h 229"/>
                <a:gd name="T42" fmla="*/ 68 w 234"/>
                <a:gd name="T43" fmla="*/ 206 h 229"/>
                <a:gd name="T44" fmla="*/ 78 w 234"/>
                <a:gd name="T45" fmla="*/ 217 h 229"/>
                <a:gd name="T46" fmla="*/ 85 w 234"/>
                <a:gd name="T47" fmla="*/ 222 h 229"/>
                <a:gd name="T48" fmla="*/ 89 w 234"/>
                <a:gd name="T49" fmla="*/ 220 h 229"/>
                <a:gd name="T50" fmla="*/ 104 w 234"/>
                <a:gd name="T51" fmla="*/ 220 h 229"/>
                <a:gd name="T52" fmla="*/ 113 w 234"/>
                <a:gd name="T53" fmla="*/ 229 h 229"/>
                <a:gd name="T54" fmla="*/ 125 w 234"/>
                <a:gd name="T55" fmla="*/ 229 h 229"/>
                <a:gd name="T56" fmla="*/ 139 w 234"/>
                <a:gd name="T57" fmla="*/ 220 h 229"/>
                <a:gd name="T58" fmla="*/ 144 w 234"/>
                <a:gd name="T59" fmla="*/ 201 h 229"/>
                <a:gd name="T60" fmla="*/ 144 w 234"/>
                <a:gd name="T61" fmla="*/ 147 h 229"/>
                <a:gd name="T62" fmla="*/ 144 w 234"/>
                <a:gd name="T63" fmla="*/ 92 h 229"/>
                <a:gd name="T64" fmla="*/ 163 w 234"/>
                <a:gd name="T65" fmla="*/ 64 h 229"/>
                <a:gd name="T66" fmla="*/ 163 w 234"/>
                <a:gd name="T67" fmla="*/ 26 h 229"/>
                <a:gd name="T68" fmla="*/ 196 w 234"/>
                <a:gd name="T69" fmla="*/ 21 h 229"/>
                <a:gd name="T70" fmla="*/ 208 w 234"/>
                <a:gd name="T71" fmla="*/ 26 h 229"/>
                <a:gd name="T72" fmla="*/ 212 w 234"/>
                <a:gd name="T73" fmla="*/ 26 h 229"/>
                <a:gd name="T74" fmla="*/ 229 w 234"/>
                <a:gd name="T75" fmla="*/ 17 h 229"/>
                <a:gd name="T76" fmla="*/ 231 w 234"/>
                <a:gd name="T77" fmla="*/ 12 h 229"/>
                <a:gd name="T78" fmla="*/ 219 w 234"/>
                <a:gd name="T79" fmla="*/ 10 h 229"/>
                <a:gd name="T80" fmla="*/ 203 w 234"/>
                <a:gd name="T81" fmla="*/ 12 h 229"/>
                <a:gd name="T82" fmla="*/ 175 w 234"/>
                <a:gd name="T83" fmla="*/ 21 h 229"/>
                <a:gd name="T84" fmla="*/ 167 w 234"/>
                <a:gd name="T85" fmla="*/ 19 h 229"/>
                <a:gd name="T86" fmla="*/ 146 w 234"/>
                <a:gd name="T87" fmla="*/ 17 h 229"/>
                <a:gd name="T88" fmla="*/ 130 w 234"/>
                <a:gd name="T89" fmla="*/ 17 h 229"/>
                <a:gd name="T90" fmla="*/ 118 w 234"/>
                <a:gd name="T91"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29">
                  <a:moveTo>
                    <a:pt x="111" y="7"/>
                  </a:moveTo>
                  <a:lnTo>
                    <a:pt x="97" y="7"/>
                  </a:lnTo>
                  <a:lnTo>
                    <a:pt x="80" y="7"/>
                  </a:lnTo>
                  <a:lnTo>
                    <a:pt x="63" y="7"/>
                  </a:lnTo>
                  <a:lnTo>
                    <a:pt x="47" y="7"/>
                  </a:lnTo>
                  <a:lnTo>
                    <a:pt x="42" y="7"/>
                  </a:lnTo>
                  <a:lnTo>
                    <a:pt x="40" y="7"/>
                  </a:lnTo>
                  <a:lnTo>
                    <a:pt x="35" y="5"/>
                  </a:lnTo>
                  <a:lnTo>
                    <a:pt x="30" y="3"/>
                  </a:lnTo>
                  <a:lnTo>
                    <a:pt x="30" y="0"/>
                  </a:lnTo>
                  <a:lnTo>
                    <a:pt x="26" y="0"/>
                  </a:lnTo>
                  <a:lnTo>
                    <a:pt x="19" y="0"/>
                  </a:lnTo>
                  <a:lnTo>
                    <a:pt x="16" y="0"/>
                  </a:lnTo>
                  <a:lnTo>
                    <a:pt x="14" y="5"/>
                  </a:lnTo>
                  <a:lnTo>
                    <a:pt x="12" y="5"/>
                  </a:lnTo>
                  <a:lnTo>
                    <a:pt x="7" y="3"/>
                  </a:lnTo>
                  <a:lnTo>
                    <a:pt x="4" y="5"/>
                  </a:lnTo>
                  <a:lnTo>
                    <a:pt x="0" y="7"/>
                  </a:lnTo>
                  <a:lnTo>
                    <a:pt x="0" y="14"/>
                  </a:lnTo>
                  <a:lnTo>
                    <a:pt x="0" y="17"/>
                  </a:lnTo>
                  <a:lnTo>
                    <a:pt x="2" y="19"/>
                  </a:lnTo>
                  <a:lnTo>
                    <a:pt x="2" y="24"/>
                  </a:lnTo>
                  <a:lnTo>
                    <a:pt x="4" y="28"/>
                  </a:lnTo>
                  <a:lnTo>
                    <a:pt x="7" y="31"/>
                  </a:lnTo>
                  <a:lnTo>
                    <a:pt x="7" y="31"/>
                  </a:lnTo>
                  <a:lnTo>
                    <a:pt x="9" y="33"/>
                  </a:lnTo>
                  <a:lnTo>
                    <a:pt x="12" y="36"/>
                  </a:lnTo>
                  <a:lnTo>
                    <a:pt x="14" y="40"/>
                  </a:lnTo>
                  <a:lnTo>
                    <a:pt x="14" y="43"/>
                  </a:lnTo>
                  <a:lnTo>
                    <a:pt x="16" y="43"/>
                  </a:lnTo>
                  <a:lnTo>
                    <a:pt x="19" y="47"/>
                  </a:lnTo>
                  <a:lnTo>
                    <a:pt x="19" y="50"/>
                  </a:lnTo>
                  <a:lnTo>
                    <a:pt x="21" y="52"/>
                  </a:lnTo>
                  <a:lnTo>
                    <a:pt x="21" y="54"/>
                  </a:lnTo>
                  <a:lnTo>
                    <a:pt x="26" y="64"/>
                  </a:lnTo>
                  <a:lnTo>
                    <a:pt x="28" y="66"/>
                  </a:lnTo>
                  <a:lnTo>
                    <a:pt x="28" y="69"/>
                  </a:lnTo>
                  <a:lnTo>
                    <a:pt x="28" y="71"/>
                  </a:lnTo>
                  <a:lnTo>
                    <a:pt x="30" y="76"/>
                  </a:lnTo>
                  <a:lnTo>
                    <a:pt x="35" y="83"/>
                  </a:lnTo>
                  <a:lnTo>
                    <a:pt x="37" y="85"/>
                  </a:lnTo>
                  <a:lnTo>
                    <a:pt x="37" y="88"/>
                  </a:lnTo>
                  <a:lnTo>
                    <a:pt x="40" y="90"/>
                  </a:lnTo>
                  <a:lnTo>
                    <a:pt x="45" y="99"/>
                  </a:lnTo>
                  <a:lnTo>
                    <a:pt x="49" y="104"/>
                  </a:lnTo>
                  <a:lnTo>
                    <a:pt x="49" y="106"/>
                  </a:lnTo>
                  <a:lnTo>
                    <a:pt x="49" y="111"/>
                  </a:lnTo>
                  <a:lnTo>
                    <a:pt x="49" y="116"/>
                  </a:lnTo>
                  <a:lnTo>
                    <a:pt x="49" y="128"/>
                  </a:lnTo>
                  <a:lnTo>
                    <a:pt x="49" y="135"/>
                  </a:lnTo>
                  <a:lnTo>
                    <a:pt x="49" y="137"/>
                  </a:lnTo>
                  <a:lnTo>
                    <a:pt x="52" y="140"/>
                  </a:lnTo>
                  <a:lnTo>
                    <a:pt x="52" y="144"/>
                  </a:lnTo>
                  <a:lnTo>
                    <a:pt x="56" y="151"/>
                  </a:lnTo>
                  <a:lnTo>
                    <a:pt x="56" y="154"/>
                  </a:lnTo>
                  <a:lnTo>
                    <a:pt x="54" y="158"/>
                  </a:lnTo>
                  <a:lnTo>
                    <a:pt x="56" y="165"/>
                  </a:lnTo>
                  <a:lnTo>
                    <a:pt x="56" y="168"/>
                  </a:lnTo>
                  <a:lnTo>
                    <a:pt x="59" y="173"/>
                  </a:lnTo>
                  <a:lnTo>
                    <a:pt x="59" y="175"/>
                  </a:lnTo>
                  <a:lnTo>
                    <a:pt x="59" y="177"/>
                  </a:lnTo>
                  <a:lnTo>
                    <a:pt x="59" y="180"/>
                  </a:lnTo>
                  <a:lnTo>
                    <a:pt x="61" y="187"/>
                  </a:lnTo>
                  <a:lnTo>
                    <a:pt x="61" y="189"/>
                  </a:lnTo>
                  <a:lnTo>
                    <a:pt x="63" y="196"/>
                  </a:lnTo>
                  <a:lnTo>
                    <a:pt x="68" y="206"/>
                  </a:lnTo>
                  <a:lnTo>
                    <a:pt x="71" y="210"/>
                  </a:lnTo>
                  <a:lnTo>
                    <a:pt x="75" y="215"/>
                  </a:lnTo>
                  <a:lnTo>
                    <a:pt x="78" y="217"/>
                  </a:lnTo>
                  <a:lnTo>
                    <a:pt x="82" y="222"/>
                  </a:lnTo>
                  <a:lnTo>
                    <a:pt x="85" y="222"/>
                  </a:lnTo>
                  <a:lnTo>
                    <a:pt x="85" y="222"/>
                  </a:lnTo>
                  <a:lnTo>
                    <a:pt x="87" y="222"/>
                  </a:lnTo>
                  <a:lnTo>
                    <a:pt x="87" y="220"/>
                  </a:lnTo>
                  <a:lnTo>
                    <a:pt x="89" y="220"/>
                  </a:lnTo>
                  <a:lnTo>
                    <a:pt x="92" y="215"/>
                  </a:lnTo>
                  <a:lnTo>
                    <a:pt x="94" y="215"/>
                  </a:lnTo>
                  <a:lnTo>
                    <a:pt x="104" y="220"/>
                  </a:lnTo>
                  <a:lnTo>
                    <a:pt x="104" y="225"/>
                  </a:lnTo>
                  <a:lnTo>
                    <a:pt x="106" y="229"/>
                  </a:lnTo>
                  <a:lnTo>
                    <a:pt x="113" y="229"/>
                  </a:lnTo>
                  <a:lnTo>
                    <a:pt x="118" y="227"/>
                  </a:lnTo>
                  <a:lnTo>
                    <a:pt x="123" y="227"/>
                  </a:lnTo>
                  <a:lnTo>
                    <a:pt x="125" y="229"/>
                  </a:lnTo>
                  <a:lnTo>
                    <a:pt x="130" y="229"/>
                  </a:lnTo>
                  <a:lnTo>
                    <a:pt x="134" y="225"/>
                  </a:lnTo>
                  <a:lnTo>
                    <a:pt x="139" y="220"/>
                  </a:lnTo>
                  <a:lnTo>
                    <a:pt x="141" y="220"/>
                  </a:lnTo>
                  <a:lnTo>
                    <a:pt x="144" y="220"/>
                  </a:lnTo>
                  <a:lnTo>
                    <a:pt x="144" y="201"/>
                  </a:lnTo>
                  <a:lnTo>
                    <a:pt x="144" y="182"/>
                  </a:lnTo>
                  <a:lnTo>
                    <a:pt x="144" y="163"/>
                  </a:lnTo>
                  <a:lnTo>
                    <a:pt x="144" y="147"/>
                  </a:lnTo>
                  <a:lnTo>
                    <a:pt x="144" y="128"/>
                  </a:lnTo>
                  <a:lnTo>
                    <a:pt x="144" y="111"/>
                  </a:lnTo>
                  <a:lnTo>
                    <a:pt x="144" y="92"/>
                  </a:lnTo>
                  <a:lnTo>
                    <a:pt x="163" y="92"/>
                  </a:lnTo>
                  <a:lnTo>
                    <a:pt x="163" y="80"/>
                  </a:lnTo>
                  <a:lnTo>
                    <a:pt x="163" y="64"/>
                  </a:lnTo>
                  <a:lnTo>
                    <a:pt x="163" y="45"/>
                  </a:lnTo>
                  <a:lnTo>
                    <a:pt x="163" y="28"/>
                  </a:lnTo>
                  <a:lnTo>
                    <a:pt x="163" y="26"/>
                  </a:lnTo>
                  <a:lnTo>
                    <a:pt x="189" y="21"/>
                  </a:lnTo>
                  <a:lnTo>
                    <a:pt x="193" y="21"/>
                  </a:lnTo>
                  <a:lnTo>
                    <a:pt x="196" y="21"/>
                  </a:lnTo>
                  <a:lnTo>
                    <a:pt x="203" y="21"/>
                  </a:lnTo>
                  <a:lnTo>
                    <a:pt x="205" y="21"/>
                  </a:lnTo>
                  <a:lnTo>
                    <a:pt x="208" y="26"/>
                  </a:lnTo>
                  <a:lnTo>
                    <a:pt x="208" y="31"/>
                  </a:lnTo>
                  <a:lnTo>
                    <a:pt x="210" y="28"/>
                  </a:lnTo>
                  <a:lnTo>
                    <a:pt x="212" y="26"/>
                  </a:lnTo>
                  <a:lnTo>
                    <a:pt x="219" y="21"/>
                  </a:lnTo>
                  <a:lnTo>
                    <a:pt x="226" y="19"/>
                  </a:lnTo>
                  <a:lnTo>
                    <a:pt x="229" y="17"/>
                  </a:lnTo>
                  <a:lnTo>
                    <a:pt x="231" y="17"/>
                  </a:lnTo>
                  <a:lnTo>
                    <a:pt x="234" y="17"/>
                  </a:lnTo>
                  <a:lnTo>
                    <a:pt x="231" y="12"/>
                  </a:lnTo>
                  <a:lnTo>
                    <a:pt x="231" y="10"/>
                  </a:lnTo>
                  <a:lnTo>
                    <a:pt x="226" y="10"/>
                  </a:lnTo>
                  <a:lnTo>
                    <a:pt x="219" y="10"/>
                  </a:lnTo>
                  <a:lnTo>
                    <a:pt x="219" y="10"/>
                  </a:lnTo>
                  <a:lnTo>
                    <a:pt x="205" y="12"/>
                  </a:lnTo>
                  <a:lnTo>
                    <a:pt x="203" y="12"/>
                  </a:lnTo>
                  <a:lnTo>
                    <a:pt x="203" y="12"/>
                  </a:lnTo>
                  <a:lnTo>
                    <a:pt x="198" y="14"/>
                  </a:lnTo>
                  <a:lnTo>
                    <a:pt x="175" y="21"/>
                  </a:lnTo>
                  <a:lnTo>
                    <a:pt x="172" y="21"/>
                  </a:lnTo>
                  <a:lnTo>
                    <a:pt x="170" y="19"/>
                  </a:lnTo>
                  <a:lnTo>
                    <a:pt x="167" y="19"/>
                  </a:lnTo>
                  <a:lnTo>
                    <a:pt x="163" y="19"/>
                  </a:lnTo>
                  <a:lnTo>
                    <a:pt x="158" y="17"/>
                  </a:lnTo>
                  <a:lnTo>
                    <a:pt x="146" y="17"/>
                  </a:lnTo>
                  <a:lnTo>
                    <a:pt x="139" y="14"/>
                  </a:lnTo>
                  <a:lnTo>
                    <a:pt x="132" y="17"/>
                  </a:lnTo>
                  <a:lnTo>
                    <a:pt x="130" y="17"/>
                  </a:lnTo>
                  <a:lnTo>
                    <a:pt x="125" y="14"/>
                  </a:lnTo>
                  <a:lnTo>
                    <a:pt x="123" y="12"/>
                  </a:lnTo>
                  <a:lnTo>
                    <a:pt x="118" y="7"/>
                  </a:lnTo>
                  <a:lnTo>
                    <a:pt x="111" y="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7" name="Freeform 658">
              <a:extLst>
                <a:ext uri="{FF2B5EF4-FFF2-40B4-BE49-F238E27FC236}">
                  <a16:creationId xmlns:a16="http://schemas.microsoft.com/office/drawing/2014/main" id="{598EF271-30B4-42D3-80AB-DE9478A75FEC}"/>
                </a:ext>
              </a:extLst>
            </p:cNvPr>
            <p:cNvSpPr>
              <a:spLocks/>
            </p:cNvSpPr>
            <p:nvPr/>
          </p:nvSpPr>
          <p:spPr bwMode="auto">
            <a:xfrm>
              <a:off x="1675653" y="3468653"/>
              <a:ext cx="4763" cy="3175"/>
            </a:xfrm>
            <a:custGeom>
              <a:avLst/>
              <a:gdLst>
                <a:gd name="T0" fmla="*/ 0 w 3"/>
                <a:gd name="T1" fmla="*/ 0 h 2"/>
                <a:gd name="T2" fmla="*/ 0 w 3"/>
                <a:gd name="T3" fmla="*/ 0 h 2"/>
                <a:gd name="T4" fmla="*/ 3 w 3"/>
                <a:gd name="T5" fmla="*/ 0 h 2"/>
                <a:gd name="T6" fmla="*/ 3 w 3"/>
                <a:gd name="T7" fmla="*/ 2 h 2"/>
                <a:gd name="T8" fmla="*/ 3 w 3"/>
                <a:gd name="T9" fmla="*/ 2 h 2"/>
                <a:gd name="T10" fmla="*/ 3 w 3"/>
                <a:gd name="T11" fmla="*/ 2 h 2"/>
                <a:gd name="T12" fmla="*/ 0 w 3"/>
                <a:gd name="T13" fmla="*/ 2 h 2"/>
                <a:gd name="T14" fmla="*/ 0 w 3"/>
                <a:gd name="T15" fmla="*/ 0 h 2"/>
                <a:gd name="T16" fmla="*/ 0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0"/>
                  </a:lnTo>
                  <a:lnTo>
                    <a:pt x="3" y="0"/>
                  </a:lnTo>
                  <a:lnTo>
                    <a:pt x="3" y="2"/>
                  </a:lnTo>
                  <a:lnTo>
                    <a:pt x="3" y="2"/>
                  </a:lnTo>
                  <a:lnTo>
                    <a:pt x="3" y="2"/>
                  </a:lnTo>
                  <a:lnTo>
                    <a:pt x="0" y="2"/>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8" name="Freeform 659">
              <a:extLst>
                <a:ext uri="{FF2B5EF4-FFF2-40B4-BE49-F238E27FC236}">
                  <a16:creationId xmlns:a16="http://schemas.microsoft.com/office/drawing/2014/main" id="{E73C860C-C689-440F-A5F5-08A9715E771B}"/>
                </a:ext>
              </a:extLst>
            </p:cNvPr>
            <p:cNvSpPr>
              <a:spLocks/>
            </p:cNvSpPr>
            <p:nvPr/>
          </p:nvSpPr>
          <p:spPr bwMode="auto">
            <a:xfrm>
              <a:off x="1675653" y="3468653"/>
              <a:ext cx="4763" cy="3175"/>
            </a:xfrm>
            <a:custGeom>
              <a:avLst/>
              <a:gdLst>
                <a:gd name="T0" fmla="*/ 0 w 3"/>
                <a:gd name="T1" fmla="*/ 0 h 2"/>
                <a:gd name="T2" fmla="*/ 0 w 3"/>
                <a:gd name="T3" fmla="*/ 0 h 2"/>
                <a:gd name="T4" fmla="*/ 3 w 3"/>
                <a:gd name="T5" fmla="*/ 0 h 2"/>
                <a:gd name="T6" fmla="*/ 3 w 3"/>
                <a:gd name="T7" fmla="*/ 2 h 2"/>
                <a:gd name="T8" fmla="*/ 3 w 3"/>
                <a:gd name="T9" fmla="*/ 2 h 2"/>
                <a:gd name="T10" fmla="*/ 3 w 3"/>
                <a:gd name="T11" fmla="*/ 2 h 2"/>
                <a:gd name="T12" fmla="*/ 0 w 3"/>
                <a:gd name="T13" fmla="*/ 2 h 2"/>
                <a:gd name="T14" fmla="*/ 0 w 3"/>
                <a:gd name="T15" fmla="*/ 0 h 2"/>
                <a:gd name="T16" fmla="*/ 0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0"/>
                  </a:lnTo>
                  <a:lnTo>
                    <a:pt x="3" y="0"/>
                  </a:lnTo>
                  <a:lnTo>
                    <a:pt x="3" y="2"/>
                  </a:lnTo>
                  <a:lnTo>
                    <a:pt x="3" y="2"/>
                  </a:lnTo>
                  <a:lnTo>
                    <a:pt x="3" y="2"/>
                  </a:lnTo>
                  <a:lnTo>
                    <a:pt x="0" y="2"/>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799" name="Freeform 660">
              <a:extLst>
                <a:ext uri="{FF2B5EF4-FFF2-40B4-BE49-F238E27FC236}">
                  <a16:creationId xmlns:a16="http://schemas.microsoft.com/office/drawing/2014/main" id="{499B4782-3F87-4EA2-A72D-204974238440}"/>
                </a:ext>
              </a:extLst>
            </p:cNvPr>
            <p:cNvSpPr>
              <a:spLocks/>
            </p:cNvSpPr>
            <p:nvPr/>
          </p:nvSpPr>
          <p:spPr bwMode="auto">
            <a:xfrm>
              <a:off x="2674190" y="3779803"/>
              <a:ext cx="3175" cy="11112"/>
            </a:xfrm>
            <a:custGeom>
              <a:avLst/>
              <a:gdLst>
                <a:gd name="T0" fmla="*/ 2 w 2"/>
                <a:gd name="T1" fmla="*/ 2 h 7"/>
                <a:gd name="T2" fmla="*/ 0 w 2"/>
                <a:gd name="T3" fmla="*/ 0 h 7"/>
                <a:gd name="T4" fmla="*/ 0 w 2"/>
                <a:gd name="T5" fmla="*/ 5 h 7"/>
                <a:gd name="T6" fmla="*/ 0 w 2"/>
                <a:gd name="T7" fmla="*/ 7 h 7"/>
                <a:gd name="T8" fmla="*/ 2 w 2"/>
                <a:gd name="T9" fmla="*/ 5 h 7"/>
                <a:gd name="T10" fmla="*/ 2 w 2"/>
                <a:gd name="T11" fmla="*/ 2 h 7"/>
              </a:gdLst>
              <a:ahLst/>
              <a:cxnLst>
                <a:cxn ang="0">
                  <a:pos x="T0" y="T1"/>
                </a:cxn>
                <a:cxn ang="0">
                  <a:pos x="T2" y="T3"/>
                </a:cxn>
                <a:cxn ang="0">
                  <a:pos x="T4" y="T5"/>
                </a:cxn>
                <a:cxn ang="0">
                  <a:pos x="T6" y="T7"/>
                </a:cxn>
                <a:cxn ang="0">
                  <a:pos x="T8" y="T9"/>
                </a:cxn>
                <a:cxn ang="0">
                  <a:pos x="T10" y="T11"/>
                </a:cxn>
              </a:cxnLst>
              <a:rect l="0" t="0" r="r" b="b"/>
              <a:pathLst>
                <a:path w="2" h="7">
                  <a:moveTo>
                    <a:pt x="2" y="2"/>
                  </a:moveTo>
                  <a:lnTo>
                    <a:pt x="0" y="0"/>
                  </a:lnTo>
                  <a:lnTo>
                    <a:pt x="0" y="5"/>
                  </a:lnTo>
                  <a:lnTo>
                    <a:pt x="0" y="7"/>
                  </a:lnTo>
                  <a:lnTo>
                    <a:pt x="2" y="5"/>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0" name="Freeform 661">
              <a:extLst>
                <a:ext uri="{FF2B5EF4-FFF2-40B4-BE49-F238E27FC236}">
                  <a16:creationId xmlns:a16="http://schemas.microsoft.com/office/drawing/2014/main" id="{1A344755-CCA3-4BD1-B482-65716DCE7226}"/>
                </a:ext>
              </a:extLst>
            </p:cNvPr>
            <p:cNvSpPr>
              <a:spLocks/>
            </p:cNvSpPr>
            <p:nvPr/>
          </p:nvSpPr>
          <p:spPr bwMode="auto">
            <a:xfrm>
              <a:off x="2674190" y="3779803"/>
              <a:ext cx="3175" cy="11112"/>
            </a:xfrm>
            <a:custGeom>
              <a:avLst/>
              <a:gdLst>
                <a:gd name="T0" fmla="*/ 2 w 2"/>
                <a:gd name="T1" fmla="*/ 2 h 7"/>
                <a:gd name="T2" fmla="*/ 0 w 2"/>
                <a:gd name="T3" fmla="*/ 0 h 7"/>
                <a:gd name="T4" fmla="*/ 0 w 2"/>
                <a:gd name="T5" fmla="*/ 5 h 7"/>
                <a:gd name="T6" fmla="*/ 0 w 2"/>
                <a:gd name="T7" fmla="*/ 7 h 7"/>
                <a:gd name="T8" fmla="*/ 2 w 2"/>
                <a:gd name="T9" fmla="*/ 5 h 7"/>
                <a:gd name="T10" fmla="*/ 2 w 2"/>
                <a:gd name="T11" fmla="*/ 2 h 7"/>
              </a:gdLst>
              <a:ahLst/>
              <a:cxnLst>
                <a:cxn ang="0">
                  <a:pos x="T0" y="T1"/>
                </a:cxn>
                <a:cxn ang="0">
                  <a:pos x="T2" y="T3"/>
                </a:cxn>
                <a:cxn ang="0">
                  <a:pos x="T4" y="T5"/>
                </a:cxn>
                <a:cxn ang="0">
                  <a:pos x="T6" y="T7"/>
                </a:cxn>
                <a:cxn ang="0">
                  <a:pos x="T8" y="T9"/>
                </a:cxn>
                <a:cxn ang="0">
                  <a:pos x="T10" y="T11"/>
                </a:cxn>
              </a:cxnLst>
              <a:rect l="0" t="0" r="r" b="b"/>
              <a:pathLst>
                <a:path w="2" h="7">
                  <a:moveTo>
                    <a:pt x="2" y="2"/>
                  </a:moveTo>
                  <a:lnTo>
                    <a:pt x="0" y="0"/>
                  </a:lnTo>
                  <a:lnTo>
                    <a:pt x="0" y="5"/>
                  </a:lnTo>
                  <a:lnTo>
                    <a:pt x="0" y="7"/>
                  </a:lnTo>
                  <a:lnTo>
                    <a:pt x="2" y="5"/>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1" name="Freeform 662">
              <a:extLst>
                <a:ext uri="{FF2B5EF4-FFF2-40B4-BE49-F238E27FC236}">
                  <a16:creationId xmlns:a16="http://schemas.microsoft.com/office/drawing/2014/main" id="{935B2F76-AE2E-44EF-A413-B7D0D3FA46F8}"/>
                </a:ext>
              </a:extLst>
            </p:cNvPr>
            <p:cNvSpPr>
              <a:spLocks/>
            </p:cNvSpPr>
            <p:nvPr/>
          </p:nvSpPr>
          <p:spPr bwMode="auto">
            <a:xfrm>
              <a:off x="2801189" y="5118068"/>
              <a:ext cx="19050" cy="15875"/>
            </a:xfrm>
            <a:custGeom>
              <a:avLst/>
              <a:gdLst>
                <a:gd name="T0" fmla="*/ 2 w 12"/>
                <a:gd name="T1" fmla="*/ 3 h 10"/>
                <a:gd name="T2" fmla="*/ 0 w 12"/>
                <a:gd name="T3" fmla="*/ 3 h 10"/>
                <a:gd name="T4" fmla="*/ 7 w 12"/>
                <a:gd name="T5" fmla="*/ 0 h 10"/>
                <a:gd name="T6" fmla="*/ 9 w 12"/>
                <a:gd name="T7" fmla="*/ 3 h 10"/>
                <a:gd name="T8" fmla="*/ 12 w 12"/>
                <a:gd name="T9" fmla="*/ 5 h 10"/>
                <a:gd name="T10" fmla="*/ 12 w 12"/>
                <a:gd name="T11" fmla="*/ 7 h 10"/>
                <a:gd name="T12" fmla="*/ 12 w 12"/>
                <a:gd name="T13" fmla="*/ 10 h 10"/>
                <a:gd name="T14" fmla="*/ 7 w 12"/>
                <a:gd name="T15" fmla="*/ 10 h 10"/>
                <a:gd name="T16" fmla="*/ 5 w 12"/>
                <a:gd name="T17" fmla="*/ 7 h 10"/>
                <a:gd name="T18" fmla="*/ 2 w 12"/>
                <a:gd name="T19" fmla="*/ 5 h 10"/>
                <a:gd name="T20" fmla="*/ 2 w 12"/>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2" y="3"/>
                  </a:moveTo>
                  <a:lnTo>
                    <a:pt x="0" y="3"/>
                  </a:lnTo>
                  <a:lnTo>
                    <a:pt x="7" y="0"/>
                  </a:lnTo>
                  <a:lnTo>
                    <a:pt x="9" y="3"/>
                  </a:lnTo>
                  <a:lnTo>
                    <a:pt x="12" y="5"/>
                  </a:lnTo>
                  <a:lnTo>
                    <a:pt x="12" y="7"/>
                  </a:lnTo>
                  <a:lnTo>
                    <a:pt x="12" y="10"/>
                  </a:lnTo>
                  <a:lnTo>
                    <a:pt x="7" y="10"/>
                  </a:lnTo>
                  <a:lnTo>
                    <a:pt x="5" y="7"/>
                  </a:lnTo>
                  <a:lnTo>
                    <a:pt x="2" y="5"/>
                  </a:lnTo>
                  <a:lnTo>
                    <a:pt x="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2" name="Freeform 663">
              <a:extLst>
                <a:ext uri="{FF2B5EF4-FFF2-40B4-BE49-F238E27FC236}">
                  <a16:creationId xmlns:a16="http://schemas.microsoft.com/office/drawing/2014/main" id="{B8E9FAA5-0C5C-44C5-A742-0D75177266C3}"/>
                </a:ext>
              </a:extLst>
            </p:cNvPr>
            <p:cNvSpPr>
              <a:spLocks/>
            </p:cNvSpPr>
            <p:nvPr/>
          </p:nvSpPr>
          <p:spPr bwMode="auto">
            <a:xfrm>
              <a:off x="2801189" y="5118068"/>
              <a:ext cx="19050" cy="15875"/>
            </a:xfrm>
            <a:custGeom>
              <a:avLst/>
              <a:gdLst>
                <a:gd name="T0" fmla="*/ 2 w 12"/>
                <a:gd name="T1" fmla="*/ 3 h 10"/>
                <a:gd name="T2" fmla="*/ 0 w 12"/>
                <a:gd name="T3" fmla="*/ 3 h 10"/>
                <a:gd name="T4" fmla="*/ 7 w 12"/>
                <a:gd name="T5" fmla="*/ 0 h 10"/>
                <a:gd name="T6" fmla="*/ 9 w 12"/>
                <a:gd name="T7" fmla="*/ 3 h 10"/>
                <a:gd name="T8" fmla="*/ 12 w 12"/>
                <a:gd name="T9" fmla="*/ 5 h 10"/>
                <a:gd name="T10" fmla="*/ 12 w 12"/>
                <a:gd name="T11" fmla="*/ 7 h 10"/>
                <a:gd name="T12" fmla="*/ 12 w 12"/>
                <a:gd name="T13" fmla="*/ 10 h 10"/>
                <a:gd name="T14" fmla="*/ 7 w 12"/>
                <a:gd name="T15" fmla="*/ 10 h 10"/>
                <a:gd name="T16" fmla="*/ 5 w 12"/>
                <a:gd name="T17" fmla="*/ 7 h 10"/>
                <a:gd name="T18" fmla="*/ 2 w 12"/>
                <a:gd name="T19" fmla="*/ 5 h 10"/>
                <a:gd name="T20" fmla="*/ 2 w 12"/>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2" y="3"/>
                  </a:moveTo>
                  <a:lnTo>
                    <a:pt x="0" y="3"/>
                  </a:lnTo>
                  <a:lnTo>
                    <a:pt x="7" y="0"/>
                  </a:lnTo>
                  <a:lnTo>
                    <a:pt x="9" y="3"/>
                  </a:lnTo>
                  <a:lnTo>
                    <a:pt x="12" y="5"/>
                  </a:lnTo>
                  <a:lnTo>
                    <a:pt x="12" y="7"/>
                  </a:lnTo>
                  <a:lnTo>
                    <a:pt x="12" y="10"/>
                  </a:lnTo>
                  <a:lnTo>
                    <a:pt x="7" y="10"/>
                  </a:lnTo>
                  <a:lnTo>
                    <a:pt x="5" y="7"/>
                  </a:lnTo>
                  <a:lnTo>
                    <a:pt x="2" y="5"/>
                  </a:lnTo>
                  <a:lnTo>
                    <a:pt x="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3" name="Freeform 666">
              <a:extLst>
                <a:ext uri="{FF2B5EF4-FFF2-40B4-BE49-F238E27FC236}">
                  <a16:creationId xmlns:a16="http://schemas.microsoft.com/office/drawing/2014/main" id="{22141E47-ED70-4871-ACE2-0BC49C0BAE55}"/>
                </a:ext>
              </a:extLst>
            </p:cNvPr>
            <p:cNvSpPr>
              <a:spLocks/>
            </p:cNvSpPr>
            <p:nvPr/>
          </p:nvSpPr>
          <p:spPr bwMode="auto">
            <a:xfrm>
              <a:off x="1510553" y="4173504"/>
              <a:ext cx="211138" cy="311151"/>
            </a:xfrm>
            <a:custGeom>
              <a:avLst/>
              <a:gdLst>
                <a:gd name="T0" fmla="*/ 69 w 133"/>
                <a:gd name="T1" fmla="*/ 187 h 196"/>
                <a:gd name="T2" fmla="*/ 55 w 133"/>
                <a:gd name="T3" fmla="*/ 184 h 196"/>
                <a:gd name="T4" fmla="*/ 24 w 133"/>
                <a:gd name="T5" fmla="*/ 187 h 196"/>
                <a:gd name="T6" fmla="*/ 24 w 133"/>
                <a:gd name="T7" fmla="*/ 173 h 196"/>
                <a:gd name="T8" fmla="*/ 24 w 133"/>
                <a:gd name="T9" fmla="*/ 165 h 196"/>
                <a:gd name="T10" fmla="*/ 19 w 133"/>
                <a:gd name="T11" fmla="*/ 161 h 196"/>
                <a:gd name="T12" fmla="*/ 22 w 133"/>
                <a:gd name="T13" fmla="*/ 158 h 196"/>
                <a:gd name="T14" fmla="*/ 17 w 133"/>
                <a:gd name="T15" fmla="*/ 156 h 196"/>
                <a:gd name="T16" fmla="*/ 10 w 133"/>
                <a:gd name="T17" fmla="*/ 154 h 196"/>
                <a:gd name="T18" fmla="*/ 3 w 133"/>
                <a:gd name="T19" fmla="*/ 147 h 196"/>
                <a:gd name="T20" fmla="*/ 0 w 133"/>
                <a:gd name="T21" fmla="*/ 144 h 196"/>
                <a:gd name="T22" fmla="*/ 3 w 133"/>
                <a:gd name="T23" fmla="*/ 140 h 196"/>
                <a:gd name="T24" fmla="*/ 5 w 133"/>
                <a:gd name="T25" fmla="*/ 128 h 196"/>
                <a:gd name="T26" fmla="*/ 12 w 133"/>
                <a:gd name="T27" fmla="*/ 116 h 196"/>
                <a:gd name="T28" fmla="*/ 19 w 133"/>
                <a:gd name="T29" fmla="*/ 106 h 196"/>
                <a:gd name="T30" fmla="*/ 31 w 133"/>
                <a:gd name="T31" fmla="*/ 104 h 196"/>
                <a:gd name="T32" fmla="*/ 41 w 133"/>
                <a:gd name="T33" fmla="*/ 109 h 196"/>
                <a:gd name="T34" fmla="*/ 45 w 133"/>
                <a:gd name="T35" fmla="*/ 114 h 196"/>
                <a:gd name="T36" fmla="*/ 52 w 133"/>
                <a:gd name="T37" fmla="*/ 109 h 196"/>
                <a:gd name="T38" fmla="*/ 62 w 133"/>
                <a:gd name="T39" fmla="*/ 90 h 196"/>
                <a:gd name="T40" fmla="*/ 67 w 133"/>
                <a:gd name="T41" fmla="*/ 78 h 196"/>
                <a:gd name="T42" fmla="*/ 76 w 133"/>
                <a:gd name="T43" fmla="*/ 71 h 196"/>
                <a:gd name="T44" fmla="*/ 78 w 133"/>
                <a:gd name="T45" fmla="*/ 54 h 196"/>
                <a:gd name="T46" fmla="*/ 83 w 133"/>
                <a:gd name="T47" fmla="*/ 43 h 196"/>
                <a:gd name="T48" fmla="*/ 88 w 133"/>
                <a:gd name="T49" fmla="*/ 31 h 196"/>
                <a:gd name="T50" fmla="*/ 97 w 133"/>
                <a:gd name="T51" fmla="*/ 26 h 196"/>
                <a:gd name="T52" fmla="*/ 104 w 133"/>
                <a:gd name="T53" fmla="*/ 17 h 196"/>
                <a:gd name="T54" fmla="*/ 102 w 133"/>
                <a:gd name="T55" fmla="*/ 10 h 196"/>
                <a:gd name="T56" fmla="*/ 97 w 133"/>
                <a:gd name="T57" fmla="*/ 5 h 196"/>
                <a:gd name="T58" fmla="*/ 102 w 133"/>
                <a:gd name="T59" fmla="*/ 3 h 196"/>
                <a:gd name="T60" fmla="*/ 107 w 133"/>
                <a:gd name="T61" fmla="*/ 3 h 196"/>
                <a:gd name="T62" fmla="*/ 111 w 133"/>
                <a:gd name="T63" fmla="*/ 14 h 196"/>
                <a:gd name="T64" fmla="*/ 111 w 133"/>
                <a:gd name="T65" fmla="*/ 26 h 196"/>
                <a:gd name="T66" fmla="*/ 114 w 133"/>
                <a:gd name="T67" fmla="*/ 38 h 196"/>
                <a:gd name="T68" fmla="*/ 121 w 133"/>
                <a:gd name="T69" fmla="*/ 50 h 196"/>
                <a:gd name="T70" fmla="*/ 111 w 133"/>
                <a:gd name="T71" fmla="*/ 50 h 196"/>
                <a:gd name="T72" fmla="*/ 102 w 133"/>
                <a:gd name="T73" fmla="*/ 50 h 196"/>
                <a:gd name="T74" fmla="*/ 97 w 133"/>
                <a:gd name="T75" fmla="*/ 59 h 196"/>
                <a:gd name="T76" fmla="*/ 104 w 133"/>
                <a:gd name="T77" fmla="*/ 69 h 196"/>
                <a:gd name="T78" fmla="*/ 111 w 133"/>
                <a:gd name="T79" fmla="*/ 71 h 196"/>
                <a:gd name="T80" fmla="*/ 118 w 133"/>
                <a:gd name="T81" fmla="*/ 88 h 196"/>
                <a:gd name="T82" fmla="*/ 121 w 133"/>
                <a:gd name="T83" fmla="*/ 95 h 196"/>
                <a:gd name="T84" fmla="*/ 111 w 133"/>
                <a:gd name="T85" fmla="*/ 114 h 196"/>
                <a:gd name="T86" fmla="*/ 104 w 133"/>
                <a:gd name="T87" fmla="*/ 125 h 196"/>
                <a:gd name="T88" fmla="*/ 107 w 133"/>
                <a:gd name="T89" fmla="*/ 142 h 196"/>
                <a:gd name="T90" fmla="*/ 121 w 133"/>
                <a:gd name="T91" fmla="*/ 165 h 196"/>
                <a:gd name="T92" fmla="*/ 133 w 133"/>
                <a:gd name="T93" fmla="*/ 175 h 196"/>
                <a:gd name="T94" fmla="*/ 133 w 133"/>
                <a:gd name="T95" fmla="*/ 196 h 196"/>
                <a:gd name="T96" fmla="*/ 121 w 133"/>
                <a:gd name="T97" fmla="*/ 191 h 196"/>
                <a:gd name="T98" fmla="*/ 109 w 133"/>
                <a:gd name="T9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3" h="196">
                  <a:moveTo>
                    <a:pt x="83" y="187"/>
                  </a:moveTo>
                  <a:lnTo>
                    <a:pt x="81" y="187"/>
                  </a:lnTo>
                  <a:lnTo>
                    <a:pt x="69" y="187"/>
                  </a:lnTo>
                  <a:lnTo>
                    <a:pt x="64" y="184"/>
                  </a:lnTo>
                  <a:lnTo>
                    <a:pt x="59" y="187"/>
                  </a:lnTo>
                  <a:lnTo>
                    <a:pt x="55" y="184"/>
                  </a:lnTo>
                  <a:lnTo>
                    <a:pt x="50" y="187"/>
                  </a:lnTo>
                  <a:lnTo>
                    <a:pt x="36" y="187"/>
                  </a:lnTo>
                  <a:lnTo>
                    <a:pt x="24" y="187"/>
                  </a:lnTo>
                  <a:lnTo>
                    <a:pt x="22" y="187"/>
                  </a:lnTo>
                  <a:lnTo>
                    <a:pt x="24" y="177"/>
                  </a:lnTo>
                  <a:lnTo>
                    <a:pt x="24" y="173"/>
                  </a:lnTo>
                  <a:lnTo>
                    <a:pt x="24" y="170"/>
                  </a:lnTo>
                  <a:lnTo>
                    <a:pt x="26" y="168"/>
                  </a:lnTo>
                  <a:lnTo>
                    <a:pt x="24" y="165"/>
                  </a:lnTo>
                  <a:lnTo>
                    <a:pt x="22" y="165"/>
                  </a:lnTo>
                  <a:lnTo>
                    <a:pt x="22" y="163"/>
                  </a:lnTo>
                  <a:lnTo>
                    <a:pt x="19" y="161"/>
                  </a:lnTo>
                  <a:lnTo>
                    <a:pt x="19" y="161"/>
                  </a:lnTo>
                  <a:lnTo>
                    <a:pt x="22" y="158"/>
                  </a:lnTo>
                  <a:lnTo>
                    <a:pt x="22" y="158"/>
                  </a:lnTo>
                  <a:lnTo>
                    <a:pt x="22" y="156"/>
                  </a:lnTo>
                  <a:lnTo>
                    <a:pt x="19" y="154"/>
                  </a:lnTo>
                  <a:lnTo>
                    <a:pt x="17" y="156"/>
                  </a:lnTo>
                  <a:lnTo>
                    <a:pt x="17" y="156"/>
                  </a:lnTo>
                  <a:lnTo>
                    <a:pt x="17" y="156"/>
                  </a:lnTo>
                  <a:lnTo>
                    <a:pt x="10" y="154"/>
                  </a:lnTo>
                  <a:lnTo>
                    <a:pt x="7" y="151"/>
                  </a:lnTo>
                  <a:lnTo>
                    <a:pt x="7" y="147"/>
                  </a:lnTo>
                  <a:lnTo>
                    <a:pt x="3" y="147"/>
                  </a:lnTo>
                  <a:lnTo>
                    <a:pt x="3" y="147"/>
                  </a:lnTo>
                  <a:lnTo>
                    <a:pt x="0" y="147"/>
                  </a:lnTo>
                  <a:lnTo>
                    <a:pt x="0" y="144"/>
                  </a:lnTo>
                  <a:lnTo>
                    <a:pt x="0" y="142"/>
                  </a:lnTo>
                  <a:lnTo>
                    <a:pt x="0" y="140"/>
                  </a:lnTo>
                  <a:lnTo>
                    <a:pt x="3" y="140"/>
                  </a:lnTo>
                  <a:lnTo>
                    <a:pt x="5" y="135"/>
                  </a:lnTo>
                  <a:lnTo>
                    <a:pt x="5" y="132"/>
                  </a:lnTo>
                  <a:lnTo>
                    <a:pt x="5" y="128"/>
                  </a:lnTo>
                  <a:lnTo>
                    <a:pt x="7" y="123"/>
                  </a:lnTo>
                  <a:lnTo>
                    <a:pt x="10" y="118"/>
                  </a:lnTo>
                  <a:lnTo>
                    <a:pt x="12" y="116"/>
                  </a:lnTo>
                  <a:lnTo>
                    <a:pt x="15" y="114"/>
                  </a:lnTo>
                  <a:lnTo>
                    <a:pt x="17" y="111"/>
                  </a:lnTo>
                  <a:lnTo>
                    <a:pt x="19" y="106"/>
                  </a:lnTo>
                  <a:lnTo>
                    <a:pt x="19" y="106"/>
                  </a:lnTo>
                  <a:lnTo>
                    <a:pt x="24" y="106"/>
                  </a:lnTo>
                  <a:lnTo>
                    <a:pt x="31" y="104"/>
                  </a:lnTo>
                  <a:lnTo>
                    <a:pt x="36" y="104"/>
                  </a:lnTo>
                  <a:lnTo>
                    <a:pt x="41" y="106"/>
                  </a:lnTo>
                  <a:lnTo>
                    <a:pt x="41" y="109"/>
                  </a:lnTo>
                  <a:lnTo>
                    <a:pt x="41" y="109"/>
                  </a:lnTo>
                  <a:lnTo>
                    <a:pt x="43" y="111"/>
                  </a:lnTo>
                  <a:lnTo>
                    <a:pt x="45" y="114"/>
                  </a:lnTo>
                  <a:lnTo>
                    <a:pt x="50" y="114"/>
                  </a:lnTo>
                  <a:lnTo>
                    <a:pt x="52" y="111"/>
                  </a:lnTo>
                  <a:lnTo>
                    <a:pt x="52" y="109"/>
                  </a:lnTo>
                  <a:lnTo>
                    <a:pt x="55" y="106"/>
                  </a:lnTo>
                  <a:lnTo>
                    <a:pt x="59" y="97"/>
                  </a:lnTo>
                  <a:lnTo>
                    <a:pt x="62" y="90"/>
                  </a:lnTo>
                  <a:lnTo>
                    <a:pt x="64" y="88"/>
                  </a:lnTo>
                  <a:lnTo>
                    <a:pt x="64" y="83"/>
                  </a:lnTo>
                  <a:lnTo>
                    <a:pt x="67" y="78"/>
                  </a:lnTo>
                  <a:lnTo>
                    <a:pt x="69" y="73"/>
                  </a:lnTo>
                  <a:lnTo>
                    <a:pt x="74" y="71"/>
                  </a:lnTo>
                  <a:lnTo>
                    <a:pt x="76" y="71"/>
                  </a:lnTo>
                  <a:lnTo>
                    <a:pt x="76" y="69"/>
                  </a:lnTo>
                  <a:lnTo>
                    <a:pt x="76" y="64"/>
                  </a:lnTo>
                  <a:lnTo>
                    <a:pt x="78" y="54"/>
                  </a:lnTo>
                  <a:lnTo>
                    <a:pt x="78" y="52"/>
                  </a:lnTo>
                  <a:lnTo>
                    <a:pt x="81" y="47"/>
                  </a:lnTo>
                  <a:lnTo>
                    <a:pt x="83" y="43"/>
                  </a:lnTo>
                  <a:lnTo>
                    <a:pt x="85" y="36"/>
                  </a:lnTo>
                  <a:lnTo>
                    <a:pt x="88" y="33"/>
                  </a:lnTo>
                  <a:lnTo>
                    <a:pt x="88" y="31"/>
                  </a:lnTo>
                  <a:lnTo>
                    <a:pt x="90" y="28"/>
                  </a:lnTo>
                  <a:lnTo>
                    <a:pt x="92" y="28"/>
                  </a:lnTo>
                  <a:lnTo>
                    <a:pt x="97" y="26"/>
                  </a:lnTo>
                  <a:lnTo>
                    <a:pt x="97" y="24"/>
                  </a:lnTo>
                  <a:lnTo>
                    <a:pt x="104" y="21"/>
                  </a:lnTo>
                  <a:lnTo>
                    <a:pt x="104" y="17"/>
                  </a:lnTo>
                  <a:lnTo>
                    <a:pt x="104" y="12"/>
                  </a:lnTo>
                  <a:lnTo>
                    <a:pt x="104" y="10"/>
                  </a:lnTo>
                  <a:lnTo>
                    <a:pt x="102" y="10"/>
                  </a:lnTo>
                  <a:lnTo>
                    <a:pt x="102" y="7"/>
                  </a:lnTo>
                  <a:lnTo>
                    <a:pt x="100" y="7"/>
                  </a:lnTo>
                  <a:lnTo>
                    <a:pt x="97" y="5"/>
                  </a:lnTo>
                  <a:lnTo>
                    <a:pt x="100" y="5"/>
                  </a:lnTo>
                  <a:lnTo>
                    <a:pt x="100" y="5"/>
                  </a:lnTo>
                  <a:lnTo>
                    <a:pt x="102" y="3"/>
                  </a:lnTo>
                  <a:lnTo>
                    <a:pt x="104" y="0"/>
                  </a:lnTo>
                  <a:lnTo>
                    <a:pt x="107" y="0"/>
                  </a:lnTo>
                  <a:lnTo>
                    <a:pt x="107" y="3"/>
                  </a:lnTo>
                  <a:lnTo>
                    <a:pt x="109" y="3"/>
                  </a:lnTo>
                  <a:lnTo>
                    <a:pt x="109" y="12"/>
                  </a:lnTo>
                  <a:lnTo>
                    <a:pt x="111" y="14"/>
                  </a:lnTo>
                  <a:lnTo>
                    <a:pt x="114" y="17"/>
                  </a:lnTo>
                  <a:lnTo>
                    <a:pt x="111" y="24"/>
                  </a:lnTo>
                  <a:lnTo>
                    <a:pt x="111" y="26"/>
                  </a:lnTo>
                  <a:lnTo>
                    <a:pt x="111" y="31"/>
                  </a:lnTo>
                  <a:lnTo>
                    <a:pt x="111" y="33"/>
                  </a:lnTo>
                  <a:lnTo>
                    <a:pt x="114" y="38"/>
                  </a:lnTo>
                  <a:lnTo>
                    <a:pt x="118" y="45"/>
                  </a:lnTo>
                  <a:lnTo>
                    <a:pt x="118" y="47"/>
                  </a:lnTo>
                  <a:lnTo>
                    <a:pt x="121" y="50"/>
                  </a:lnTo>
                  <a:lnTo>
                    <a:pt x="118" y="52"/>
                  </a:lnTo>
                  <a:lnTo>
                    <a:pt x="118" y="52"/>
                  </a:lnTo>
                  <a:lnTo>
                    <a:pt x="111" y="50"/>
                  </a:lnTo>
                  <a:lnTo>
                    <a:pt x="107" y="50"/>
                  </a:lnTo>
                  <a:lnTo>
                    <a:pt x="102" y="50"/>
                  </a:lnTo>
                  <a:lnTo>
                    <a:pt x="102" y="50"/>
                  </a:lnTo>
                  <a:lnTo>
                    <a:pt x="100" y="52"/>
                  </a:lnTo>
                  <a:lnTo>
                    <a:pt x="97" y="54"/>
                  </a:lnTo>
                  <a:lnTo>
                    <a:pt x="97" y="59"/>
                  </a:lnTo>
                  <a:lnTo>
                    <a:pt x="100" y="62"/>
                  </a:lnTo>
                  <a:lnTo>
                    <a:pt x="102" y="66"/>
                  </a:lnTo>
                  <a:lnTo>
                    <a:pt x="104" y="69"/>
                  </a:lnTo>
                  <a:lnTo>
                    <a:pt x="107" y="69"/>
                  </a:lnTo>
                  <a:lnTo>
                    <a:pt x="111" y="71"/>
                  </a:lnTo>
                  <a:lnTo>
                    <a:pt x="111" y="71"/>
                  </a:lnTo>
                  <a:lnTo>
                    <a:pt x="114" y="73"/>
                  </a:lnTo>
                  <a:lnTo>
                    <a:pt x="118" y="83"/>
                  </a:lnTo>
                  <a:lnTo>
                    <a:pt x="118" y="88"/>
                  </a:lnTo>
                  <a:lnTo>
                    <a:pt x="118" y="95"/>
                  </a:lnTo>
                  <a:lnTo>
                    <a:pt x="121" y="95"/>
                  </a:lnTo>
                  <a:lnTo>
                    <a:pt x="121" y="95"/>
                  </a:lnTo>
                  <a:lnTo>
                    <a:pt x="118" y="104"/>
                  </a:lnTo>
                  <a:lnTo>
                    <a:pt x="114" y="109"/>
                  </a:lnTo>
                  <a:lnTo>
                    <a:pt x="111" y="114"/>
                  </a:lnTo>
                  <a:lnTo>
                    <a:pt x="109" y="118"/>
                  </a:lnTo>
                  <a:lnTo>
                    <a:pt x="104" y="123"/>
                  </a:lnTo>
                  <a:lnTo>
                    <a:pt x="104" y="125"/>
                  </a:lnTo>
                  <a:lnTo>
                    <a:pt x="107" y="130"/>
                  </a:lnTo>
                  <a:lnTo>
                    <a:pt x="107" y="135"/>
                  </a:lnTo>
                  <a:lnTo>
                    <a:pt x="107" y="142"/>
                  </a:lnTo>
                  <a:lnTo>
                    <a:pt x="109" y="147"/>
                  </a:lnTo>
                  <a:lnTo>
                    <a:pt x="111" y="151"/>
                  </a:lnTo>
                  <a:lnTo>
                    <a:pt x="121" y="165"/>
                  </a:lnTo>
                  <a:lnTo>
                    <a:pt x="123" y="170"/>
                  </a:lnTo>
                  <a:lnTo>
                    <a:pt x="130" y="175"/>
                  </a:lnTo>
                  <a:lnTo>
                    <a:pt x="133" y="175"/>
                  </a:lnTo>
                  <a:lnTo>
                    <a:pt x="133" y="180"/>
                  </a:lnTo>
                  <a:lnTo>
                    <a:pt x="133" y="194"/>
                  </a:lnTo>
                  <a:lnTo>
                    <a:pt x="133" y="196"/>
                  </a:lnTo>
                  <a:lnTo>
                    <a:pt x="130" y="196"/>
                  </a:lnTo>
                  <a:lnTo>
                    <a:pt x="123" y="191"/>
                  </a:lnTo>
                  <a:lnTo>
                    <a:pt x="121" y="191"/>
                  </a:lnTo>
                  <a:lnTo>
                    <a:pt x="116" y="189"/>
                  </a:lnTo>
                  <a:lnTo>
                    <a:pt x="111" y="189"/>
                  </a:lnTo>
                  <a:lnTo>
                    <a:pt x="109" y="187"/>
                  </a:lnTo>
                  <a:lnTo>
                    <a:pt x="83" y="18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4" name="Freeform 667">
              <a:extLst>
                <a:ext uri="{FF2B5EF4-FFF2-40B4-BE49-F238E27FC236}">
                  <a16:creationId xmlns:a16="http://schemas.microsoft.com/office/drawing/2014/main" id="{E246BD5D-9360-413A-9CD0-87492196602D}"/>
                </a:ext>
              </a:extLst>
            </p:cNvPr>
            <p:cNvSpPr>
              <a:spLocks/>
            </p:cNvSpPr>
            <p:nvPr/>
          </p:nvSpPr>
          <p:spPr bwMode="auto">
            <a:xfrm>
              <a:off x="1510553" y="4173504"/>
              <a:ext cx="211138" cy="311151"/>
            </a:xfrm>
            <a:custGeom>
              <a:avLst/>
              <a:gdLst>
                <a:gd name="T0" fmla="*/ 69 w 133"/>
                <a:gd name="T1" fmla="*/ 187 h 196"/>
                <a:gd name="T2" fmla="*/ 55 w 133"/>
                <a:gd name="T3" fmla="*/ 184 h 196"/>
                <a:gd name="T4" fmla="*/ 24 w 133"/>
                <a:gd name="T5" fmla="*/ 187 h 196"/>
                <a:gd name="T6" fmla="*/ 24 w 133"/>
                <a:gd name="T7" fmla="*/ 173 h 196"/>
                <a:gd name="T8" fmla="*/ 24 w 133"/>
                <a:gd name="T9" fmla="*/ 165 h 196"/>
                <a:gd name="T10" fmla="*/ 19 w 133"/>
                <a:gd name="T11" fmla="*/ 161 h 196"/>
                <a:gd name="T12" fmla="*/ 22 w 133"/>
                <a:gd name="T13" fmla="*/ 158 h 196"/>
                <a:gd name="T14" fmla="*/ 17 w 133"/>
                <a:gd name="T15" fmla="*/ 156 h 196"/>
                <a:gd name="T16" fmla="*/ 10 w 133"/>
                <a:gd name="T17" fmla="*/ 154 h 196"/>
                <a:gd name="T18" fmla="*/ 3 w 133"/>
                <a:gd name="T19" fmla="*/ 147 h 196"/>
                <a:gd name="T20" fmla="*/ 0 w 133"/>
                <a:gd name="T21" fmla="*/ 144 h 196"/>
                <a:gd name="T22" fmla="*/ 3 w 133"/>
                <a:gd name="T23" fmla="*/ 140 h 196"/>
                <a:gd name="T24" fmla="*/ 5 w 133"/>
                <a:gd name="T25" fmla="*/ 128 h 196"/>
                <a:gd name="T26" fmla="*/ 12 w 133"/>
                <a:gd name="T27" fmla="*/ 116 h 196"/>
                <a:gd name="T28" fmla="*/ 19 w 133"/>
                <a:gd name="T29" fmla="*/ 106 h 196"/>
                <a:gd name="T30" fmla="*/ 31 w 133"/>
                <a:gd name="T31" fmla="*/ 104 h 196"/>
                <a:gd name="T32" fmla="*/ 41 w 133"/>
                <a:gd name="T33" fmla="*/ 109 h 196"/>
                <a:gd name="T34" fmla="*/ 45 w 133"/>
                <a:gd name="T35" fmla="*/ 114 h 196"/>
                <a:gd name="T36" fmla="*/ 52 w 133"/>
                <a:gd name="T37" fmla="*/ 109 h 196"/>
                <a:gd name="T38" fmla="*/ 62 w 133"/>
                <a:gd name="T39" fmla="*/ 90 h 196"/>
                <a:gd name="T40" fmla="*/ 67 w 133"/>
                <a:gd name="T41" fmla="*/ 78 h 196"/>
                <a:gd name="T42" fmla="*/ 76 w 133"/>
                <a:gd name="T43" fmla="*/ 71 h 196"/>
                <a:gd name="T44" fmla="*/ 78 w 133"/>
                <a:gd name="T45" fmla="*/ 54 h 196"/>
                <a:gd name="T46" fmla="*/ 83 w 133"/>
                <a:gd name="T47" fmla="*/ 43 h 196"/>
                <a:gd name="T48" fmla="*/ 88 w 133"/>
                <a:gd name="T49" fmla="*/ 31 h 196"/>
                <a:gd name="T50" fmla="*/ 97 w 133"/>
                <a:gd name="T51" fmla="*/ 26 h 196"/>
                <a:gd name="T52" fmla="*/ 104 w 133"/>
                <a:gd name="T53" fmla="*/ 17 h 196"/>
                <a:gd name="T54" fmla="*/ 102 w 133"/>
                <a:gd name="T55" fmla="*/ 10 h 196"/>
                <a:gd name="T56" fmla="*/ 97 w 133"/>
                <a:gd name="T57" fmla="*/ 5 h 196"/>
                <a:gd name="T58" fmla="*/ 102 w 133"/>
                <a:gd name="T59" fmla="*/ 3 h 196"/>
                <a:gd name="T60" fmla="*/ 107 w 133"/>
                <a:gd name="T61" fmla="*/ 3 h 196"/>
                <a:gd name="T62" fmla="*/ 111 w 133"/>
                <a:gd name="T63" fmla="*/ 14 h 196"/>
                <a:gd name="T64" fmla="*/ 111 w 133"/>
                <a:gd name="T65" fmla="*/ 26 h 196"/>
                <a:gd name="T66" fmla="*/ 114 w 133"/>
                <a:gd name="T67" fmla="*/ 38 h 196"/>
                <a:gd name="T68" fmla="*/ 121 w 133"/>
                <a:gd name="T69" fmla="*/ 50 h 196"/>
                <a:gd name="T70" fmla="*/ 111 w 133"/>
                <a:gd name="T71" fmla="*/ 50 h 196"/>
                <a:gd name="T72" fmla="*/ 102 w 133"/>
                <a:gd name="T73" fmla="*/ 50 h 196"/>
                <a:gd name="T74" fmla="*/ 97 w 133"/>
                <a:gd name="T75" fmla="*/ 59 h 196"/>
                <a:gd name="T76" fmla="*/ 104 w 133"/>
                <a:gd name="T77" fmla="*/ 69 h 196"/>
                <a:gd name="T78" fmla="*/ 111 w 133"/>
                <a:gd name="T79" fmla="*/ 71 h 196"/>
                <a:gd name="T80" fmla="*/ 118 w 133"/>
                <a:gd name="T81" fmla="*/ 88 h 196"/>
                <a:gd name="T82" fmla="*/ 121 w 133"/>
                <a:gd name="T83" fmla="*/ 95 h 196"/>
                <a:gd name="T84" fmla="*/ 111 w 133"/>
                <a:gd name="T85" fmla="*/ 114 h 196"/>
                <a:gd name="T86" fmla="*/ 104 w 133"/>
                <a:gd name="T87" fmla="*/ 125 h 196"/>
                <a:gd name="T88" fmla="*/ 107 w 133"/>
                <a:gd name="T89" fmla="*/ 142 h 196"/>
                <a:gd name="T90" fmla="*/ 121 w 133"/>
                <a:gd name="T91" fmla="*/ 165 h 196"/>
                <a:gd name="T92" fmla="*/ 133 w 133"/>
                <a:gd name="T93" fmla="*/ 175 h 196"/>
                <a:gd name="T94" fmla="*/ 133 w 133"/>
                <a:gd name="T95" fmla="*/ 196 h 196"/>
                <a:gd name="T96" fmla="*/ 121 w 133"/>
                <a:gd name="T97" fmla="*/ 191 h 196"/>
                <a:gd name="T98" fmla="*/ 109 w 133"/>
                <a:gd name="T9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3" h="196">
                  <a:moveTo>
                    <a:pt x="83" y="187"/>
                  </a:moveTo>
                  <a:lnTo>
                    <a:pt x="81" y="187"/>
                  </a:lnTo>
                  <a:lnTo>
                    <a:pt x="69" y="187"/>
                  </a:lnTo>
                  <a:lnTo>
                    <a:pt x="64" y="184"/>
                  </a:lnTo>
                  <a:lnTo>
                    <a:pt x="59" y="187"/>
                  </a:lnTo>
                  <a:lnTo>
                    <a:pt x="55" y="184"/>
                  </a:lnTo>
                  <a:lnTo>
                    <a:pt x="50" y="187"/>
                  </a:lnTo>
                  <a:lnTo>
                    <a:pt x="36" y="187"/>
                  </a:lnTo>
                  <a:lnTo>
                    <a:pt x="24" y="187"/>
                  </a:lnTo>
                  <a:lnTo>
                    <a:pt x="22" y="187"/>
                  </a:lnTo>
                  <a:lnTo>
                    <a:pt x="24" y="177"/>
                  </a:lnTo>
                  <a:lnTo>
                    <a:pt x="24" y="173"/>
                  </a:lnTo>
                  <a:lnTo>
                    <a:pt x="24" y="170"/>
                  </a:lnTo>
                  <a:lnTo>
                    <a:pt x="26" y="168"/>
                  </a:lnTo>
                  <a:lnTo>
                    <a:pt x="24" y="165"/>
                  </a:lnTo>
                  <a:lnTo>
                    <a:pt x="22" y="165"/>
                  </a:lnTo>
                  <a:lnTo>
                    <a:pt x="22" y="163"/>
                  </a:lnTo>
                  <a:lnTo>
                    <a:pt x="19" y="161"/>
                  </a:lnTo>
                  <a:lnTo>
                    <a:pt x="19" y="161"/>
                  </a:lnTo>
                  <a:lnTo>
                    <a:pt x="22" y="158"/>
                  </a:lnTo>
                  <a:lnTo>
                    <a:pt x="22" y="158"/>
                  </a:lnTo>
                  <a:lnTo>
                    <a:pt x="22" y="156"/>
                  </a:lnTo>
                  <a:lnTo>
                    <a:pt x="19" y="154"/>
                  </a:lnTo>
                  <a:lnTo>
                    <a:pt x="17" y="156"/>
                  </a:lnTo>
                  <a:lnTo>
                    <a:pt x="17" y="156"/>
                  </a:lnTo>
                  <a:lnTo>
                    <a:pt x="17" y="156"/>
                  </a:lnTo>
                  <a:lnTo>
                    <a:pt x="10" y="154"/>
                  </a:lnTo>
                  <a:lnTo>
                    <a:pt x="7" y="151"/>
                  </a:lnTo>
                  <a:lnTo>
                    <a:pt x="7" y="147"/>
                  </a:lnTo>
                  <a:lnTo>
                    <a:pt x="3" y="147"/>
                  </a:lnTo>
                  <a:lnTo>
                    <a:pt x="3" y="147"/>
                  </a:lnTo>
                  <a:lnTo>
                    <a:pt x="0" y="147"/>
                  </a:lnTo>
                  <a:lnTo>
                    <a:pt x="0" y="144"/>
                  </a:lnTo>
                  <a:lnTo>
                    <a:pt x="0" y="142"/>
                  </a:lnTo>
                  <a:lnTo>
                    <a:pt x="0" y="140"/>
                  </a:lnTo>
                  <a:lnTo>
                    <a:pt x="3" y="140"/>
                  </a:lnTo>
                  <a:lnTo>
                    <a:pt x="5" y="135"/>
                  </a:lnTo>
                  <a:lnTo>
                    <a:pt x="5" y="132"/>
                  </a:lnTo>
                  <a:lnTo>
                    <a:pt x="5" y="128"/>
                  </a:lnTo>
                  <a:lnTo>
                    <a:pt x="7" y="123"/>
                  </a:lnTo>
                  <a:lnTo>
                    <a:pt x="10" y="118"/>
                  </a:lnTo>
                  <a:lnTo>
                    <a:pt x="12" y="116"/>
                  </a:lnTo>
                  <a:lnTo>
                    <a:pt x="15" y="114"/>
                  </a:lnTo>
                  <a:lnTo>
                    <a:pt x="17" y="111"/>
                  </a:lnTo>
                  <a:lnTo>
                    <a:pt x="19" y="106"/>
                  </a:lnTo>
                  <a:lnTo>
                    <a:pt x="19" y="106"/>
                  </a:lnTo>
                  <a:lnTo>
                    <a:pt x="24" y="106"/>
                  </a:lnTo>
                  <a:lnTo>
                    <a:pt x="31" y="104"/>
                  </a:lnTo>
                  <a:lnTo>
                    <a:pt x="36" y="104"/>
                  </a:lnTo>
                  <a:lnTo>
                    <a:pt x="41" y="106"/>
                  </a:lnTo>
                  <a:lnTo>
                    <a:pt x="41" y="109"/>
                  </a:lnTo>
                  <a:lnTo>
                    <a:pt x="41" y="109"/>
                  </a:lnTo>
                  <a:lnTo>
                    <a:pt x="43" y="111"/>
                  </a:lnTo>
                  <a:lnTo>
                    <a:pt x="45" y="114"/>
                  </a:lnTo>
                  <a:lnTo>
                    <a:pt x="50" y="114"/>
                  </a:lnTo>
                  <a:lnTo>
                    <a:pt x="52" y="111"/>
                  </a:lnTo>
                  <a:lnTo>
                    <a:pt x="52" y="109"/>
                  </a:lnTo>
                  <a:lnTo>
                    <a:pt x="55" y="106"/>
                  </a:lnTo>
                  <a:lnTo>
                    <a:pt x="59" y="97"/>
                  </a:lnTo>
                  <a:lnTo>
                    <a:pt x="62" y="90"/>
                  </a:lnTo>
                  <a:lnTo>
                    <a:pt x="64" y="88"/>
                  </a:lnTo>
                  <a:lnTo>
                    <a:pt x="64" y="83"/>
                  </a:lnTo>
                  <a:lnTo>
                    <a:pt x="67" y="78"/>
                  </a:lnTo>
                  <a:lnTo>
                    <a:pt x="69" y="73"/>
                  </a:lnTo>
                  <a:lnTo>
                    <a:pt x="74" y="71"/>
                  </a:lnTo>
                  <a:lnTo>
                    <a:pt x="76" y="71"/>
                  </a:lnTo>
                  <a:lnTo>
                    <a:pt x="76" y="69"/>
                  </a:lnTo>
                  <a:lnTo>
                    <a:pt x="76" y="64"/>
                  </a:lnTo>
                  <a:lnTo>
                    <a:pt x="78" y="54"/>
                  </a:lnTo>
                  <a:lnTo>
                    <a:pt x="78" y="52"/>
                  </a:lnTo>
                  <a:lnTo>
                    <a:pt x="81" y="47"/>
                  </a:lnTo>
                  <a:lnTo>
                    <a:pt x="83" y="43"/>
                  </a:lnTo>
                  <a:lnTo>
                    <a:pt x="85" y="36"/>
                  </a:lnTo>
                  <a:lnTo>
                    <a:pt x="88" y="33"/>
                  </a:lnTo>
                  <a:lnTo>
                    <a:pt x="88" y="31"/>
                  </a:lnTo>
                  <a:lnTo>
                    <a:pt x="90" y="28"/>
                  </a:lnTo>
                  <a:lnTo>
                    <a:pt x="92" y="28"/>
                  </a:lnTo>
                  <a:lnTo>
                    <a:pt x="97" y="26"/>
                  </a:lnTo>
                  <a:lnTo>
                    <a:pt x="97" y="24"/>
                  </a:lnTo>
                  <a:lnTo>
                    <a:pt x="104" y="21"/>
                  </a:lnTo>
                  <a:lnTo>
                    <a:pt x="104" y="17"/>
                  </a:lnTo>
                  <a:lnTo>
                    <a:pt x="104" y="12"/>
                  </a:lnTo>
                  <a:lnTo>
                    <a:pt x="104" y="10"/>
                  </a:lnTo>
                  <a:lnTo>
                    <a:pt x="102" y="10"/>
                  </a:lnTo>
                  <a:lnTo>
                    <a:pt x="102" y="7"/>
                  </a:lnTo>
                  <a:lnTo>
                    <a:pt x="100" y="7"/>
                  </a:lnTo>
                  <a:lnTo>
                    <a:pt x="97" y="5"/>
                  </a:lnTo>
                  <a:lnTo>
                    <a:pt x="100" y="5"/>
                  </a:lnTo>
                  <a:lnTo>
                    <a:pt x="100" y="5"/>
                  </a:lnTo>
                  <a:lnTo>
                    <a:pt x="102" y="3"/>
                  </a:lnTo>
                  <a:lnTo>
                    <a:pt x="104" y="0"/>
                  </a:lnTo>
                  <a:lnTo>
                    <a:pt x="107" y="0"/>
                  </a:lnTo>
                  <a:lnTo>
                    <a:pt x="107" y="3"/>
                  </a:lnTo>
                  <a:lnTo>
                    <a:pt x="109" y="3"/>
                  </a:lnTo>
                  <a:lnTo>
                    <a:pt x="109" y="12"/>
                  </a:lnTo>
                  <a:lnTo>
                    <a:pt x="111" y="14"/>
                  </a:lnTo>
                  <a:lnTo>
                    <a:pt x="114" y="17"/>
                  </a:lnTo>
                  <a:lnTo>
                    <a:pt x="111" y="24"/>
                  </a:lnTo>
                  <a:lnTo>
                    <a:pt x="111" y="26"/>
                  </a:lnTo>
                  <a:lnTo>
                    <a:pt x="111" y="31"/>
                  </a:lnTo>
                  <a:lnTo>
                    <a:pt x="111" y="33"/>
                  </a:lnTo>
                  <a:lnTo>
                    <a:pt x="114" y="38"/>
                  </a:lnTo>
                  <a:lnTo>
                    <a:pt x="118" y="45"/>
                  </a:lnTo>
                  <a:lnTo>
                    <a:pt x="118" y="47"/>
                  </a:lnTo>
                  <a:lnTo>
                    <a:pt x="121" y="50"/>
                  </a:lnTo>
                  <a:lnTo>
                    <a:pt x="118" y="52"/>
                  </a:lnTo>
                  <a:lnTo>
                    <a:pt x="118" y="52"/>
                  </a:lnTo>
                  <a:lnTo>
                    <a:pt x="111" y="50"/>
                  </a:lnTo>
                  <a:lnTo>
                    <a:pt x="107" y="50"/>
                  </a:lnTo>
                  <a:lnTo>
                    <a:pt x="102" y="50"/>
                  </a:lnTo>
                  <a:lnTo>
                    <a:pt x="102" y="50"/>
                  </a:lnTo>
                  <a:lnTo>
                    <a:pt x="100" y="52"/>
                  </a:lnTo>
                  <a:lnTo>
                    <a:pt x="97" y="54"/>
                  </a:lnTo>
                  <a:lnTo>
                    <a:pt x="97" y="59"/>
                  </a:lnTo>
                  <a:lnTo>
                    <a:pt x="100" y="62"/>
                  </a:lnTo>
                  <a:lnTo>
                    <a:pt x="102" y="66"/>
                  </a:lnTo>
                  <a:lnTo>
                    <a:pt x="104" y="69"/>
                  </a:lnTo>
                  <a:lnTo>
                    <a:pt x="107" y="69"/>
                  </a:lnTo>
                  <a:lnTo>
                    <a:pt x="111" y="71"/>
                  </a:lnTo>
                  <a:lnTo>
                    <a:pt x="111" y="71"/>
                  </a:lnTo>
                  <a:lnTo>
                    <a:pt x="114" y="73"/>
                  </a:lnTo>
                  <a:lnTo>
                    <a:pt x="118" y="83"/>
                  </a:lnTo>
                  <a:lnTo>
                    <a:pt x="118" y="88"/>
                  </a:lnTo>
                  <a:lnTo>
                    <a:pt x="118" y="95"/>
                  </a:lnTo>
                  <a:lnTo>
                    <a:pt x="121" y="95"/>
                  </a:lnTo>
                  <a:lnTo>
                    <a:pt x="121" y="95"/>
                  </a:lnTo>
                  <a:lnTo>
                    <a:pt x="118" y="104"/>
                  </a:lnTo>
                  <a:lnTo>
                    <a:pt x="114" y="109"/>
                  </a:lnTo>
                  <a:lnTo>
                    <a:pt x="111" y="114"/>
                  </a:lnTo>
                  <a:lnTo>
                    <a:pt x="109" y="118"/>
                  </a:lnTo>
                  <a:lnTo>
                    <a:pt x="104" y="123"/>
                  </a:lnTo>
                  <a:lnTo>
                    <a:pt x="104" y="125"/>
                  </a:lnTo>
                  <a:lnTo>
                    <a:pt x="107" y="130"/>
                  </a:lnTo>
                  <a:lnTo>
                    <a:pt x="107" y="135"/>
                  </a:lnTo>
                  <a:lnTo>
                    <a:pt x="107" y="142"/>
                  </a:lnTo>
                  <a:lnTo>
                    <a:pt x="109" y="147"/>
                  </a:lnTo>
                  <a:lnTo>
                    <a:pt x="111" y="151"/>
                  </a:lnTo>
                  <a:lnTo>
                    <a:pt x="121" y="165"/>
                  </a:lnTo>
                  <a:lnTo>
                    <a:pt x="123" y="170"/>
                  </a:lnTo>
                  <a:lnTo>
                    <a:pt x="130" y="175"/>
                  </a:lnTo>
                  <a:lnTo>
                    <a:pt x="133" y="175"/>
                  </a:lnTo>
                  <a:lnTo>
                    <a:pt x="133" y="180"/>
                  </a:lnTo>
                  <a:lnTo>
                    <a:pt x="133" y="194"/>
                  </a:lnTo>
                  <a:lnTo>
                    <a:pt x="133" y="196"/>
                  </a:lnTo>
                  <a:lnTo>
                    <a:pt x="130" y="196"/>
                  </a:lnTo>
                  <a:lnTo>
                    <a:pt x="123" y="191"/>
                  </a:lnTo>
                  <a:lnTo>
                    <a:pt x="121" y="191"/>
                  </a:lnTo>
                  <a:lnTo>
                    <a:pt x="116" y="189"/>
                  </a:lnTo>
                  <a:lnTo>
                    <a:pt x="111" y="189"/>
                  </a:lnTo>
                  <a:lnTo>
                    <a:pt x="109" y="187"/>
                  </a:lnTo>
                  <a:lnTo>
                    <a:pt x="83" y="18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5" name="Freeform 668">
              <a:extLst>
                <a:ext uri="{FF2B5EF4-FFF2-40B4-BE49-F238E27FC236}">
                  <a16:creationId xmlns:a16="http://schemas.microsoft.com/office/drawing/2014/main" id="{2249DA8C-13F9-4C9B-84D3-AAE0F9A31330}"/>
                </a:ext>
              </a:extLst>
            </p:cNvPr>
            <p:cNvSpPr>
              <a:spLocks/>
            </p:cNvSpPr>
            <p:nvPr/>
          </p:nvSpPr>
          <p:spPr bwMode="auto">
            <a:xfrm>
              <a:off x="3734637" y="3719478"/>
              <a:ext cx="93662" cy="49212"/>
            </a:xfrm>
            <a:custGeom>
              <a:avLst/>
              <a:gdLst>
                <a:gd name="T0" fmla="*/ 52 w 59"/>
                <a:gd name="T1" fmla="*/ 10 h 31"/>
                <a:gd name="T2" fmla="*/ 52 w 59"/>
                <a:gd name="T3" fmla="*/ 10 h 31"/>
                <a:gd name="T4" fmla="*/ 47 w 59"/>
                <a:gd name="T5" fmla="*/ 7 h 31"/>
                <a:gd name="T6" fmla="*/ 47 w 59"/>
                <a:gd name="T7" fmla="*/ 5 h 31"/>
                <a:gd name="T8" fmla="*/ 45 w 59"/>
                <a:gd name="T9" fmla="*/ 5 h 31"/>
                <a:gd name="T10" fmla="*/ 40 w 59"/>
                <a:gd name="T11" fmla="*/ 7 h 31"/>
                <a:gd name="T12" fmla="*/ 40 w 59"/>
                <a:gd name="T13" fmla="*/ 5 h 31"/>
                <a:gd name="T14" fmla="*/ 36 w 59"/>
                <a:gd name="T15" fmla="*/ 5 h 31"/>
                <a:gd name="T16" fmla="*/ 31 w 59"/>
                <a:gd name="T17" fmla="*/ 5 h 31"/>
                <a:gd name="T18" fmla="*/ 29 w 59"/>
                <a:gd name="T19" fmla="*/ 3 h 31"/>
                <a:gd name="T20" fmla="*/ 29 w 59"/>
                <a:gd name="T21" fmla="*/ 3 h 31"/>
                <a:gd name="T22" fmla="*/ 26 w 59"/>
                <a:gd name="T23" fmla="*/ 0 h 31"/>
                <a:gd name="T24" fmla="*/ 24 w 59"/>
                <a:gd name="T25" fmla="*/ 0 h 31"/>
                <a:gd name="T26" fmla="*/ 19 w 59"/>
                <a:gd name="T27" fmla="*/ 0 h 31"/>
                <a:gd name="T28" fmla="*/ 17 w 59"/>
                <a:gd name="T29" fmla="*/ 3 h 31"/>
                <a:gd name="T30" fmla="*/ 12 w 59"/>
                <a:gd name="T31" fmla="*/ 5 h 31"/>
                <a:gd name="T32" fmla="*/ 10 w 59"/>
                <a:gd name="T33" fmla="*/ 10 h 31"/>
                <a:gd name="T34" fmla="*/ 3 w 59"/>
                <a:gd name="T35" fmla="*/ 17 h 31"/>
                <a:gd name="T36" fmla="*/ 3 w 59"/>
                <a:gd name="T37" fmla="*/ 19 h 31"/>
                <a:gd name="T38" fmla="*/ 3 w 59"/>
                <a:gd name="T39" fmla="*/ 19 h 31"/>
                <a:gd name="T40" fmla="*/ 0 w 59"/>
                <a:gd name="T41" fmla="*/ 22 h 31"/>
                <a:gd name="T42" fmla="*/ 0 w 59"/>
                <a:gd name="T43" fmla="*/ 24 h 31"/>
                <a:gd name="T44" fmla="*/ 0 w 59"/>
                <a:gd name="T45" fmla="*/ 24 h 31"/>
                <a:gd name="T46" fmla="*/ 3 w 59"/>
                <a:gd name="T47" fmla="*/ 24 h 31"/>
                <a:gd name="T48" fmla="*/ 3 w 59"/>
                <a:gd name="T49" fmla="*/ 26 h 31"/>
                <a:gd name="T50" fmla="*/ 3 w 59"/>
                <a:gd name="T51" fmla="*/ 29 h 31"/>
                <a:gd name="T52" fmla="*/ 3 w 59"/>
                <a:gd name="T53" fmla="*/ 29 h 31"/>
                <a:gd name="T54" fmla="*/ 5 w 59"/>
                <a:gd name="T55" fmla="*/ 29 h 31"/>
                <a:gd name="T56" fmla="*/ 7 w 59"/>
                <a:gd name="T57" fmla="*/ 31 h 31"/>
                <a:gd name="T58" fmla="*/ 14 w 59"/>
                <a:gd name="T59" fmla="*/ 31 h 31"/>
                <a:gd name="T60" fmla="*/ 21 w 59"/>
                <a:gd name="T61" fmla="*/ 31 h 31"/>
                <a:gd name="T62" fmla="*/ 29 w 59"/>
                <a:gd name="T63" fmla="*/ 29 h 31"/>
                <a:gd name="T64" fmla="*/ 31 w 59"/>
                <a:gd name="T65" fmla="*/ 29 h 31"/>
                <a:gd name="T66" fmla="*/ 33 w 59"/>
                <a:gd name="T67" fmla="*/ 29 h 31"/>
                <a:gd name="T68" fmla="*/ 36 w 59"/>
                <a:gd name="T69" fmla="*/ 29 h 31"/>
                <a:gd name="T70" fmla="*/ 38 w 59"/>
                <a:gd name="T71" fmla="*/ 29 h 31"/>
                <a:gd name="T72" fmla="*/ 45 w 59"/>
                <a:gd name="T73" fmla="*/ 29 h 31"/>
                <a:gd name="T74" fmla="*/ 50 w 59"/>
                <a:gd name="T75" fmla="*/ 29 h 31"/>
                <a:gd name="T76" fmla="*/ 57 w 59"/>
                <a:gd name="T77" fmla="*/ 26 h 31"/>
                <a:gd name="T78" fmla="*/ 59 w 59"/>
                <a:gd name="T79" fmla="*/ 24 h 31"/>
                <a:gd name="T80" fmla="*/ 59 w 59"/>
                <a:gd name="T81" fmla="*/ 24 h 31"/>
                <a:gd name="T82" fmla="*/ 59 w 59"/>
                <a:gd name="T83" fmla="*/ 24 h 31"/>
                <a:gd name="T84" fmla="*/ 59 w 59"/>
                <a:gd name="T85" fmla="*/ 19 h 31"/>
                <a:gd name="T86" fmla="*/ 57 w 59"/>
                <a:gd name="T87" fmla="*/ 17 h 31"/>
                <a:gd name="T88" fmla="*/ 52 w 59"/>
                <a:gd name="T89" fmla="*/ 15 h 31"/>
                <a:gd name="T90" fmla="*/ 50 w 59"/>
                <a:gd name="T91" fmla="*/ 12 h 31"/>
                <a:gd name="T92" fmla="*/ 50 w 59"/>
                <a:gd name="T93" fmla="*/ 12 h 31"/>
                <a:gd name="T94" fmla="*/ 52 w 59"/>
                <a:gd name="T95" fmla="*/ 10 h 31"/>
                <a:gd name="T96" fmla="*/ 52 w 59"/>
                <a:gd name="T97"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31">
                  <a:moveTo>
                    <a:pt x="52" y="10"/>
                  </a:moveTo>
                  <a:lnTo>
                    <a:pt x="52" y="10"/>
                  </a:lnTo>
                  <a:lnTo>
                    <a:pt x="47" y="7"/>
                  </a:lnTo>
                  <a:lnTo>
                    <a:pt x="47" y="5"/>
                  </a:lnTo>
                  <a:lnTo>
                    <a:pt x="45" y="5"/>
                  </a:lnTo>
                  <a:lnTo>
                    <a:pt x="40" y="7"/>
                  </a:lnTo>
                  <a:lnTo>
                    <a:pt x="40" y="5"/>
                  </a:lnTo>
                  <a:lnTo>
                    <a:pt x="36" y="5"/>
                  </a:lnTo>
                  <a:lnTo>
                    <a:pt x="31" y="5"/>
                  </a:lnTo>
                  <a:lnTo>
                    <a:pt x="29" y="3"/>
                  </a:lnTo>
                  <a:lnTo>
                    <a:pt x="29" y="3"/>
                  </a:lnTo>
                  <a:lnTo>
                    <a:pt x="26" y="0"/>
                  </a:lnTo>
                  <a:lnTo>
                    <a:pt x="24" y="0"/>
                  </a:lnTo>
                  <a:lnTo>
                    <a:pt x="19" y="0"/>
                  </a:lnTo>
                  <a:lnTo>
                    <a:pt x="17" y="3"/>
                  </a:lnTo>
                  <a:lnTo>
                    <a:pt x="12" y="5"/>
                  </a:lnTo>
                  <a:lnTo>
                    <a:pt x="10" y="10"/>
                  </a:lnTo>
                  <a:lnTo>
                    <a:pt x="3" y="17"/>
                  </a:lnTo>
                  <a:lnTo>
                    <a:pt x="3" y="19"/>
                  </a:lnTo>
                  <a:lnTo>
                    <a:pt x="3" y="19"/>
                  </a:lnTo>
                  <a:lnTo>
                    <a:pt x="0" y="22"/>
                  </a:lnTo>
                  <a:lnTo>
                    <a:pt x="0" y="24"/>
                  </a:lnTo>
                  <a:lnTo>
                    <a:pt x="0" y="24"/>
                  </a:lnTo>
                  <a:lnTo>
                    <a:pt x="3" y="24"/>
                  </a:lnTo>
                  <a:lnTo>
                    <a:pt x="3" y="26"/>
                  </a:lnTo>
                  <a:lnTo>
                    <a:pt x="3" y="29"/>
                  </a:lnTo>
                  <a:lnTo>
                    <a:pt x="3" y="29"/>
                  </a:lnTo>
                  <a:lnTo>
                    <a:pt x="5" y="29"/>
                  </a:lnTo>
                  <a:lnTo>
                    <a:pt x="7" y="31"/>
                  </a:lnTo>
                  <a:lnTo>
                    <a:pt x="14" y="31"/>
                  </a:lnTo>
                  <a:lnTo>
                    <a:pt x="21" y="31"/>
                  </a:lnTo>
                  <a:lnTo>
                    <a:pt x="29" y="29"/>
                  </a:lnTo>
                  <a:lnTo>
                    <a:pt x="31" y="29"/>
                  </a:lnTo>
                  <a:lnTo>
                    <a:pt x="33" y="29"/>
                  </a:lnTo>
                  <a:lnTo>
                    <a:pt x="36" y="29"/>
                  </a:lnTo>
                  <a:lnTo>
                    <a:pt x="38" y="29"/>
                  </a:lnTo>
                  <a:lnTo>
                    <a:pt x="45" y="29"/>
                  </a:lnTo>
                  <a:lnTo>
                    <a:pt x="50" y="29"/>
                  </a:lnTo>
                  <a:lnTo>
                    <a:pt x="57" y="26"/>
                  </a:lnTo>
                  <a:lnTo>
                    <a:pt x="59" y="24"/>
                  </a:lnTo>
                  <a:lnTo>
                    <a:pt x="59" y="24"/>
                  </a:lnTo>
                  <a:lnTo>
                    <a:pt x="59" y="24"/>
                  </a:lnTo>
                  <a:lnTo>
                    <a:pt x="59" y="19"/>
                  </a:lnTo>
                  <a:lnTo>
                    <a:pt x="57" y="17"/>
                  </a:lnTo>
                  <a:lnTo>
                    <a:pt x="52" y="15"/>
                  </a:lnTo>
                  <a:lnTo>
                    <a:pt x="50" y="12"/>
                  </a:lnTo>
                  <a:lnTo>
                    <a:pt x="50" y="12"/>
                  </a:lnTo>
                  <a:lnTo>
                    <a:pt x="52" y="10"/>
                  </a:lnTo>
                  <a:lnTo>
                    <a:pt x="52"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6" name="Freeform 669">
              <a:extLst>
                <a:ext uri="{FF2B5EF4-FFF2-40B4-BE49-F238E27FC236}">
                  <a16:creationId xmlns:a16="http://schemas.microsoft.com/office/drawing/2014/main" id="{6CF67AA3-3DA0-48CE-A702-2D4EDF05DBFC}"/>
                </a:ext>
              </a:extLst>
            </p:cNvPr>
            <p:cNvSpPr>
              <a:spLocks/>
            </p:cNvSpPr>
            <p:nvPr/>
          </p:nvSpPr>
          <p:spPr bwMode="auto">
            <a:xfrm>
              <a:off x="3734637" y="3719478"/>
              <a:ext cx="93662" cy="49212"/>
            </a:xfrm>
            <a:custGeom>
              <a:avLst/>
              <a:gdLst>
                <a:gd name="T0" fmla="*/ 52 w 59"/>
                <a:gd name="T1" fmla="*/ 10 h 31"/>
                <a:gd name="T2" fmla="*/ 52 w 59"/>
                <a:gd name="T3" fmla="*/ 10 h 31"/>
                <a:gd name="T4" fmla="*/ 47 w 59"/>
                <a:gd name="T5" fmla="*/ 7 h 31"/>
                <a:gd name="T6" fmla="*/ 47 w 59"/>
                <a:gd name="T7" fmla="*/ 5 h 31"/>
                <a:gd name="T8" fmla="*/ 45 w 59"/>
                <a:gd name="T9" fmla="*/ 5 h 31"/>
                <a:gd name="T10" fmla="*/ 40 w 59"/>
                <a:gd name="T11" fmla="*/ 7 h 31"/>
                <a:gd name="T12" fmla="*/ 40 w 59"/>
                <a:gd name="T13" fmla="*/ 5 h 31"/>
                <a:gd name="T14" fmla="*/ 36 w 59"/>
                <a:gd name="T15" fmla="*/ 5 h 31"/>
                <a:gd name="T16" fmla="*/ 31 w 59"/>
                <a:gd name="T17" fmla="*/ 5 h 31"/>
                <a:gd name="T18" fmla="*/ 29 w 59"/>
                <a:gd name="T19" fmla="*/ 3 h 31"/>
                <a:gd name="T20" fmla="*/ 29 w 59"/>
                <a:gd name="T21" fmla="*/ 3 h 31"/>
                <a:gd name="T22" fmla="*/ 26 w 59"/>
                <a:gd name="T23" fmla="*/ 0 h 31"/>
                <a:gd name="T24" fmla="*/ 24 w 59"/>
                <a:gd name="T25" fmla="*/ 0 h 31"/>
                <a:gd name="T26" fmla="*/ 19 w 59"/>
                <a:gd name="T27" fmla="*/ 0 h 31"/>
                <a:gd name="T28" fmla="*/ 17 w 59"/>
                <a:gd name="T29" fmla="*/ 3 h 31"/>
                <a:gd name="T30" fmla="*/ 12 w 59"/>
                <a:gd name="T31" fmla="*/ 5 h 31"/>
                <a:gd name="T32" fmla="*/ 10 w 59"/>
                <a:gd name="T33" fmla="*/ 10 h 31"/>
                <a:gd name="T34" fmla="*/ 3 w 59"/>
                <a:gd name="T35" fmla="*/ 17 h 31"/>
                <a:gd name="T36" fmla="*/ 3 w 59"/>
                <a:gd name="T37" fmla="*/ 19 h 31"/>
                <a:gd name="T38" fmla="*/ 3 w 59"/>
                <a:gd name="T39" fmla="*/ 19 h 31"/>
                <a:gd name="T40" fmla="*/ 0 w 59"/>
                <a:gd name="T41" fmla="*/ 22 h 31"/>
                <a:gd name="T42" fmla="*/ 0 w 59"/>
                <a:gd name="T43" fmla="*/ 24 h 31"/>
                <a:gd name="T44" fmla="*/ 0 w 59"/>
                <a:gd name="T45" fmla="*/ 24 h 31"/>
                <a:gd name="T46" fmla="*/ 3 w 59"/>
                <a:gd name="T47" fmla="*/ 24 h 31"/>
                <a:gd name="T48" fmla="*/ 3 w 59"/>
                <a:gd name="T49" fmla="*/ 26 h 31"/>
                <a:gd name="T50" fmla="*/ 3 w 59"/>
                <a:gd name="T51" fmla="*/ 29 h 31"/>
                <a:gd name="T52" fmla="*/ 3 w 59"/>
                <a:gd name="T53" fmla="*/ 29 h 31"/>
                <a:gd name="T54" fmla="*/ 5 w 59"/>
                <a:gd name="T55" fmla="*/ 29 h 31"/>
                <a:gd name="T56" fmla="*/ 7 w 59"/>
                <a:gd name="T57" fmla="*/ 31 h 31"/>
                <a:gd name="T58" fmla="*/ 14 w 59"/>
                <a:gd name="T59" fmla="*/ 31 h 31"/>
                <a:gd name="T60" fmla="*/ 21 w 59"/>
                <a:gd name="T61" fmla="*/ 31 h 31"/>
                <a:gd name="T62" fmla="*/ 29 w 59"/>
                <a:gd name="T63" fmla="*/ 29 h 31"/>
                <a:gd name="T64" fmla="*/ 31 w 59"/>
                <a:gd name="T65" fmla="*/ 29 h 31"/>
                <a:gd name="T66" fmla="*/ 33 w 59"/>
                <a:gd name="T67" fmla="*/ 29 h 31"/>
                <a:gd name="T68" fmla="*/ 36 w 59"/>
                <a:gd name="T69" fmla="*/ 29 h 31"/>
                <a:gd name="T70" fmla="*/ 38 w 59"/>
                <a:gd name="T71" fmla="*/ 29 h 31"/>
                <a:gd name="T72" fmla="*/ 45 w 59"/>
                <a:gd name="T73" fmla="*/ 29 h 31"/>
                <a:gd name="T74" fmla="*/ 50 w 59"/>
                <a:gd name="T75" fmla="*/ 29 h 31"/>
                <a:gd name="T76" fmla="*/ 57 w 59"/>
                <a:gd name="T77" fmla="*/ 26 h 31"/>
                <a:gd name="T78" fmla="*/ 59 w 59"/>
                <a:gd name="T79" fmla="*/ 24 h 31"/>
                <a:gd name="T80" fmla="*/ 59 w 59"/>
                <a:gd name="T81" fmla="*/ 24 h 31"/>
                <a:gd name="T82" fmla="*/ 59 w 59"/>
                <a:gd name="T83" fmla="*/ 24 h 31"/>
                <a:gd name="T84" fmla="*/ 59 w 59"/>
                <a:gd name="T85" fmla="*/ 19 h 31"/>
                <a:gd name="T86" fmla="*/ 57 w 59"/>
                <a:gd name="T87" fmla="*/ 17 h 31"/>
                <a:gd name="T88" fmla="*/ 52 w 59"/>
                <a:gd name="T89" fmla="*/ 15 h 31"/>
                <a:gd name="T90" fmla="*/ 50 w 59"/>
                <a:gd name="T91" fmla="*/ 12 h 31"/>
                <a:gd name="T92" fmla="*/ 50 w 59"/>
                <a:gd name="T93" fmla="*/ 12 h 31"/>
                <a:gd name="T94" fmla="*/ 52 w 59"/>
                <a:gd name="T95" fmla="*/ 10 h 31"/>
                <a:gd name="T96" fmla="*/ 52 w 59"/>
                <a:gd name="T97"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31">
                  <a:moveTo>
                    <a:pt x="52" y="10"/>
                  </a:moveTo>
                  <a:lnTo>
                    <a:pt x="52" y="10"/>
                  </a:lnTo>
                  <a:lnTo>
                    <a:pt x="47" y="7"/>
                  </a:lnTo>
                  <a:lnTo>
                    <a:pt x="47" y="5"/>
                  </a:lnTo>
                  <a:lnTo>
                    <a:pt x="45" y="5"/>
                  </a:lnTo>
                  <a:lnTo>
                    <a:pt x="40" y="7"/>
                  </a:lnTo>
                  <a:lnTo>
                    <a:pt x="40" y="5"/>
                  </a:lnTo>
                  <a:lnTo>
                    <a:pt x="36" y="5"/>
                  </a:lnTo>
                  <a:lnTo>
                    <a:pt x="31" y="5"/>
                  </a:lnTo>
                  <a:lnTo>
                    <a:pt x="29" y="3"/>
                  </a:lnTo>
                  <a:lnTo>
                    <a:pt x="29" y="3"/>
                  </a:lnTo>
                  <a:lnTo>
                    <a:pt x="26" y="0"/>
                  </a:lnTo>
                  <a:lnTo>
                    <a:pt x="24" y="0"/>
                  </a:lnTo>
                  <a:lnTo>
                    <a:pt x="19" y="0"/>
                  </a:lnTo>
                  <a:lnTo>
                    <a:pt x="17" y="3"/>
                  </a:lnTo>
                  <a:lnTo>
                    <a:pt x="12" y="5"/>
                  </a:lnTo>
                  <a:lnTo>
                    <a:pt x="10" y="10"/>
                  </a:lnTo>
                  <a:lnTo>
                    <a:pt x="3" y="17"/>
                  </a:lnTo>
                  <a:lnTo>
                    <a:pt x="3" y="19"/>
                  </a:lnTo>
                  <a:lnTo>
                    <a:pt x="3" y="19"/>
                  </a:lnTo>
                  <a:lnTo>
                    <a:pt x="0" y="22"/>
                  </a:lnTo>
                  <a:lnTo>
                    <a:pt x="0" y="24"/>
                  </a:lnTo>
                  <a:lnTo>
                    <a:pt x="0" y="24"/>
                  </a:lnTo>
                  <a:lnTo>
                    <a:pt x="3" y="24"/>
                  </a:lnTo>
                  <a:lnTo>
                    <a:pt x="3" y="26"/>
                  </a:lnTo>
                  <a:lnTo>
                    <a:pt x="3" y="29"/>
                  </a:lnTo>
                  <a:lnTo>
                    <a:pt x="3" y="29"/>
                  </a:lnTo>
                  <a:lnTo>
                    <a:pt x="5" y="29"/>
                  </a:lnTo>
                  <a:lnTo>
                    <a:pt x="7" y="31"/>
                  </a:lnTo>
                  <a:lnTo>
                    <a:pt x="14" y="31"/>
                  </a:lnTo>
                  <a:lnTo>
                    <a:pt x="21" y="31"/>
                  </a:lnTo>
                  <a:lnTo>
                    <a:pt x="29" y="29"/>
                  </a:lnTo>
                  <a:lnTo>
                    <a:pt x="31" y="29"/>
                  </a:lnTo>
                  <a:lnTo>
                    <a:pt x="33" y="29"/>
                  </a:lnTo>
                  <a:lnTo>
                    <a:pt x="36" y="29"/>
                  </a:lnTo>
                  <a:lnTo>
                    <a:pt x="38" y="29"/>
                  </a:lnTo>
                  <a:lnTo>
                    <a:pt x="45" y="29"/>
                  </a:lnTo>
                  <a:lnTo>
                    <a:pt x="50" y="29"/>
                  </a:lnTo>
                  <a:lnTo>
                    <a:pt x="57" y="26"/>
                  </a:lnTo>
                  <a:lnTo>
                    <a:pt x="59" y="24"/>
                  </a:lnTo>
                  <a:lnTo>
                    <a:pt x="59" y="24"/>
                  </a:lnTo>
                  <a:lnTo>
                    <a:pt x="59" y="24"/>
                  </a:lnTo>
                  <a:lnTo>
                    <a:pt x="59" y="19"/>
                  </a:lnTo>
                  <a:lnTo>
                    <a:pt x="57" y="17"/>
                  </a:lnTo>
                  <a:lnTo>
                    <a:pt x="52" y="15"/>
                  </a:lnTo>
                  <a:lnTo>
                    <a:pt x="50" y="12"/>
                  </a:lnTo>
                  <a:lnTo>
                    <a:pt x="50" y="12"/>
                  </a:lnTo>
                  <a:lnTo>
                    <a:pt x="52" y="10"/>
                  </a:lnTo>
                  <a:lnTo>
                    <a:pt x="52"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7" name="Freeform 670">
              <a:extLst>
                <a:ext uri="{FF2B5EF4-FFF2-40B4-BE49-F238E27FC236}">
                  <a16:creationId xmlns:a16="http://schemas.microsoft.com/office/drawing/2014/main" id="{CBEA7DC1-CE09-4A66-B943-71C57AA0E1C1}"/>
                </a:ext>
              </a:extLst>
            </p:cNvPr>
            <p:cNvSpPr>
              <a:spLocks/>
            </p:cNvSpPr>
            <p:nvPr/>
          </p:nvSpPr>
          <p:spPr bwMode="auto">
            <a:xfrm>
              <a:off x="1788366" y="3090828"/>
              <a:ext cx="120650" cy="168275"/>
            </a:xfrm>
            <a:custGeom>
              <a:avLst/>
              <a:gdLst>
                <a:gd name="T0" fmla="*/ 7 w 76"/>
                <a:gd name="T1" fmla="*/ 11 h 106"/>
                <a:gd name="T2" fmla="*/ 7 w 76"/>
                <a:gd name="T3" fmla="*/ 14 h 106"/>
                <a:gd name="T4" fmla="*/ 7 w 76"/>
                <a:gd name="T5" fmla="*/ 16 h 106"/>
                <a:gd name="T6" fmla="*/ 10 w 76"/>
                <a:gd name="T7" fmla="*/ 16 h 106"/>
                <a:gd name="T8" fmla="*/ 10 w 76"/>
                <a:gd name="T9" fmla="*/ 16 h 106"/>
                <a:gd name="T10" fmla="*/ 10 w 76"/>
                <a:gd name="T11" fmla="*/ 18 h 106"/>
                <a:gd name="T12" fmla="*/ 10 w 76"/>
                <a:gd name="T13" fmla="*/ 21 h 106"/>
                <a:gd name="T14" fmla="*/ 12 w 76"/>
                <a:gd name="T15" fmla="*/ 21 h 106"/>
                <a:gd name="T16" fmla="*/ 17 w 76"/>
                <a:gd name="T17" fmla="*/ 23 h 106"/>
                <a:gd name="T18" fmla="*/ 14 w 76"/>
                <a:gd name="T19" fmla="*/ 23 h 106"/>
                <a:gd name="T20" fmla="*/ 12 w 76"/>
                <a:gd name="T21" fmla="*/ 26 h 106"/>
                <a:gd name="T22" fmla="*/ 12 w 76"/>
                <a:gd name="T23" fmla="*/ 30 h 106"/>
                <a:gd name="T24" fmla="*/ 17 w 76"/>
                <a:gd name="T25" fmla="*/ 33 h 106"/>
                <a:gd name="T26" fmla="*/ 14 w 76"/>
                <a:gd name="T27" fmla="*/ 37 h 106"/>
                <a:gd name="T28" fmla="*/ 12 w 76"/>
                <a:gd name="T29" fmla="*/ 42 h 106"/>
                <a:gd name="T30" fmla="*/ 12 w 76"/>
                <a:gd name="T31" fmla="*/ 47 h 106"/>
                <a:gd name="T32" fmla="*/ 14 w 76"/>
                <a:gd name="T33" fmla="*/ 47 h 106"/>
                <a:gd name="T34" fmla="*/ 17 w 76"/>
                <a:gd name="T35" fmla="*/ 49 h 106"/>
                <a:gd name="T36" fmla="*/ 19 w 76"/>
                <a:gd name="T37" fmla="*/ 51 h 106"/>
                <a:gd name="T38" fmla="*/ 21 w 76"/>
                <a:gd name="T39" fmla="*/ 54 h 106"/>
                <a:gd name="T40" fmla="*/ 14 w 76"/>
                <a:gd name="T41" fmla="*/ 54 h 106"/>
                <a:gd name="T42" fmla="*/ 14 w 76"/>
                <a:gd name="T43" fmla="*/ 54 h 106"/>
                <a:gd name="T44" fmla="*/ 19 w 76"/>
                <a:gd name="T45" fmla="*/ 61 h 106"/>
                <a:gd name="T46" fmla="*/ 17 w 76"/>
                <a:gd name="T47" fmla="*/ 63 h 106"/>
                <a:gd name="T48" fmla="*/ 14 w 76"/>
                <a:gd name="T49" fmla="*/ 63 h 106"/>
                <a:gd name="T50" fmla="*/ 12 w 76"/>
                <a:gd name="T51" fmla="*/ 66 h 106"/>
                <a:gd name="T52" fmla="*/ 10 w 76"/>
                <a:gd name="T53" fmla="*/ 63 h 106"/>
                <a:gd name="T54" fmla="*/ 10 w 76"/>
                <a:gd name="T55" fmla="*/ 68 h 106"/>
                <a:gd name="T56" fmla="*/ 12 w 76"/>
                <a:gd name="T57" fmla="*/ 70 h 106"/>
                <a:gd name="T58" fmla="*/ 10 w 76"/>
                <a:gd name="T59" fmla="*/ 70 h 106"/>
                <a:gd name="T60" fmla="*/ 7 w 76"/>
                <a:gd name="T61" fmla="*/ 68 h 106"/>
                <a:gd name="T62" fmla="*/ 3 w 76"/>
                <a:gd name="T63" fmla="*/ 73 h 106"/>
                <a:gd name="T64" fmla="*/ 0 w 76"/>
                <a:gd name="T65" fmla="*/ 77 h 106"/>
                <a:gd name="T66" fmla="*/ 0 w 76"/>
                <a:gd name="T67" fmla="*/ 80 h 106"/>
                <a:gd name="T68" fmla="*/ 3 w 76"/>
                <a:gd name="T69" fmla="*/ 85 h 106"/>
                <a:gd name="T70" fmla="*/ 0 w 76"/>
                <a:gd name="T71" fmla="*/ 92 h 106"/>
                <a:gd name="T72" fmla="*/ 12 w 76"/>
                <a:gd name="T73" fmla="*/ 101 h 106"/>
                <a:gd name="T74" fmla="*/ 17 w 76"/>
                <a:gd name="T75" fmla="*/ 101 h 106"/>
                <a:gd name="T76" fmla="*/ 19 w 76"/>
                <a:gd name="T77" fmla="*/ 92 h 106"/>
                <a:gd name="T78" fmla="*/ 29 w 76"/>
                <a:gd name="T79" fmla="*/ 89 h 106"/>
                <a:gd name="T80" fmla="*/ 38 w 76"/>
                <a:gd name="T81" fmla="*/ 101 h 106"/>
                <a:gd name="T82" fmla="*/ 40 w 76"/>
                <a:gd name="T83" fmla="*/ 101 h 106"/>
                <a:gd name="T84" fmla="*/ 47 w 76"/>
                <a:gd name="T85" fmla="*/ 96 h 106"/>
                <a:gd name="T86" fmla="*/ 50 w 76"/>
                <a:gd name="T87" fmla="*/ 96 h 106"/>
                <a:gd name="T88" fmla="*/ 59 w 76"/>
                <a:gd name="T89" fmla="*/ 94 h 106"/>
                <a:gd name="T90" fmla="*/ 69 w 76"/>
                <a:gd name="T91" fmla="*/ 96 h 106"/>
                <a:gd name="T92" fmla="*/ 76 w 76"/>
                <a:gd name="T93" fmla="*/ 77 h 106"/>
                <a:gd name="T94" fmla="*/ 69 w 76"/>
                <a:gd name="T95" fmla="*/ 61 h 106"/>
                <a:gd name="T96" fmla="*/ 71 w 76"/>
                <a:gd name="T97" fmla="*/ 49 h 106"/>
                <a:gd name="T98" fmla="*/ 69 w 76"/>
                <a:gd name="T99" fmla="*/ 37 h 106"/>
                <a:gd name="T100" fmla="*/ 52 w 76"/>
                <a:gd name="T101" fmla="*/ 33 h 106"/>
                <a:gd name="T102" fmla="*/ 50 w 76"/>
                <a:gd name="T103" fmla="*/ 23 h 106"/>
                <a:gd name="T104" fmla="*/ 40 w 76"/>
                <a:gd name="T105" fmla="*/ 14 h 106"/>
                <a:gd name="T106" fmla="*/ 31 w 76"/>
                <a:gd name="T107" fmla="*/ 4 h 106"/>
                <a:gd name="T108" fmla="*/ 24 w 76"/>
                <a:gd name="T109" fmla="*/ 2 h 106"/>
                <a:gd name="T110" fmla="*/ 10 w 76"/>
                <a:gd name="T111"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 h="106">
                  <a:moveTo>
                    <a:pt x="5" y="7"/>
                  </a:moveTo>
                  <a:lnTo>
                    <a:pt x="7" y="9"/>
                  </a:lnTo>
                  <a:lnTo>
                    <a:pt x="7" y="11"/>
                  </a:lnTo>
                  <a:lnTo>
                    <a:pt x="7" y="11"/>
                  </a:lnTo>
                  <a:lnTo>
                    <a:pt x="7" y="11"/>
                  </a:lnTo>
                  <a:lnTo>
                    <a:pt x="7" y="14"/>
                  </a:lnTo>
                  <a:lnTo>
                    <a:pt x="7" y="14"/>
                  </a:lnTo>
                  <a:lnTo>
                    <a:pt x="7" y="16"/>
                  </a:lnTo>
                  <a:lnTo>
                    <a:pt x="7" y="16"/>
                  </a:lnTo>
                  <a:lnTo>
                    <a:pt x="7" y="16"/>
                  </a:lnTo>
                  <a:lnTo>
                    <a:pt x="10" y="16"/>
                  </a:lnTo>
                  <a:lnTo>
                    <a:pt x="10" y="16"/>
                  </a:lnTo>
                  <a:lnTo>
                    <a:pt x="10" y="16"/>
                  </a:lnTo>
                  <a:lnTo>
                    <a:pt x="10" y="16"/>
                  </a:lnTo>
                  <a:lnTo>
                    <a:pt x="10" y="16"/>
                  </a:lnTo>
                  <a:lnTo>
                    <a:pt x="7" y="18"/>
                  </a:lnTo>
                  <a:lnTo>
                    <a:pt x="10" y="18"/>
                  </a:lnTo>
                  <a:lnTo>
                    <a:pt x="10" y="18"/>
                  </a:lnTo>
                  <a:lnTo>
                    <a:pt x="7" y="21"/>
                  </a:lnTo>
                  <a:lnTo>
                    <a:pt x="10" y="21"/>
                  </a:lnTo>
                  <a:lnTo>
                    <a:pt x="10" y="21"/>
                  </a:lnTo>
                  <a:lnTo>
                    <a:pt x="10" y="21"/>
                  </a:lnTo>
                  <a:lnTo>
                    <a:pt x="12" y="21"/>
                  </a:lnTo>
                  <a:lnTo>
                    <a:pt x="12" y="21"/>
                  </a:lnTo>
                  <a:lnTo>
                    <a:pt x="14" y="23"/>
                  </a:lnTo>
                  <a:lnTo>
                    <a:pt x="14" y="23"/>
                  </a:lnTo>
                  <a:lnTo>
                    <a:pt x="17" y="23"/>
                  </a:lnTo>
                  <a:lnTo>
                    <a:pt x="17" y="23"/>
                  </a:lnTo>
                  <a:lnTo>
                    <a:pt x="14" y="23"/>
                  </a:lnTo>
                  <a:lnTo>
                    <a:pt x="14" y="23"/>
                  </a:lnTo>
                  <a:lnTo>
                    <a:pt x="12" y="23"/>
                  </a:lnTo>
                  <a:lnTo>
                    <a:pt x="12" y="23"/>
                  </a:lnTo>
                  <a:lnTo>
                    <a:pt x="12" y="26"/>
                  </a:lnTo>
                  <a:lnTo>
                    <a:pt x="12" y="26"/>
                  </a:lnTo>
                  <a:lnTo>
                    <a:pt x="12" y="28"/>
                  </a:lnTo>
                  <a:lnTo>
                    <a:pt x="12" y="30"/>
                  </a:lnTo>
                  <a:lnTo>
                    <a:pt x="12" y="30"/>
                  </a:lnTo>
                  <a:lnTo>
                    <a:pt x="14" y="30"/>
                  </a:lnTo>
                  <a:lnTo>
                    <a:pt x="17" y="33"/>
                  </a:lnTo>
                  <a:lnTo>
                    <a:pt x="17" y="33"/>
                  </a:lnTo>
                  <a:lnTo>
                    <a:pt x="17" y="35"/>
                  </a:lnTo>
                  <a:lnTo>
                    <a:pt x="14" y="37"/>
                  </a:lnTo>
                  <a:lnTo>
                    <a:pt x="12" y="40"/>
                  </a:lnTo>
                  <a:lnTo>
                    <a:pt x="12" y="40"/>
                  </a:lnTo>
                  <a:lnTo>
                    <a:pt x="12" y="42"/>
                  </a:lnTo>
                  <a:lnTo>
                    <a:pt x="12" y="42"/>
                  </a:lnTo>
                  <a:lnTo>
                    <a:pt x="12" y="44"/>
                  </a:lnTo>
                  <a:lnTo>
                    <a:pt x="12" y="47"/>
                  </a:lnTo>
                  <a:lnTo>
                    <a:pt x="12" y="47"/>
                  </a:lnTo>
                  <a:lnTo>
                    <a:pt x="14" y="47"/>
                  </a:lnTo>
                  <a:lnTo>
                    <a:pt x="14" y="47"/>
                  </a:lnTo>
                  <a:lnTo>
                    <a:pt x="14" y="47"/>
                  </a:lnTo>
                  <a:lnTo>
                    <a:pt x="17" y="49"/>
                  </a:lnTo>
                  <a:lnTo>
                    <a:pt x="17" y="49"/>
                  </a:lnTo>
                  <a:lnTo>
                    <a:pt x="19" y="49"/>
                  </a:lnTo>
                  <a:lnTo>
                    <a:pt x="19" y="49"/>
                  </a:lnTo>
                  <a:lnTo>
                    <a:pt x="19" y="51"/>
                  </a:lnTo>
                  <a:lnTo>
                    <a:pt x="19" y="51"/>
                  </a:lnTo>
                  <a:lnTo>
                    <a:pt x="21" y="51"/>
                  </a:lnTo>
                  <a:lnTo>
                    <a:pt x="21" y="54"/>
                  </a:lnTo>
                  <a:lnTo>
                    <a:pt x="19" y="54"/>
                  </a:lnTo>
                  <a:lnTo>
                    <a:pt x="17" y="54"/>
                  </a:lnTo>
                  <a:lnTo>
                    <a:pt x="14" y="54"/>
                  </a:lnTo>
                  <a:lnTo>
                    <a:pt x="14" y="54"/>
                  </a:lnTo>
                  <a:lnTo>
                    <a:pt x="14" y="54"/>
                  </a:lnTo>
                  <a:lnTo>
                    <a:pt x="14" y="54"/>
                  </a:lnTo>
                  <a:lnTo>
                    <a:pt x="17" y="56"/>
                  </a:lnTo>
                  <a:lnTo>
                    <a:pt x="19" y="59"/>
                  </a:lnTo>
                  <a:lnTo>
                    <a:pt x="19" y="61"/>
                  </a:lnTo>
                  <a:lnTo>
                    <a:pt x="19" y="63"/>
                  </a:lnTo>
                  <a:lnTo>
                    <a:pt x="19" y="63"/>
                  </a:lnTo>
                  <a:lnTo>
                    <a:pt x="17" y="63"/>
                  </a:lnTo>
                  <a:lnTo>
                    <a:pt x="17" y="63"/>
                  </a:lnTo>
                  <a:lnTo>
                    <a:pt x="17" y="63"/>
                  </a:lnTo>
                  <a:lnTo>
                    <a:pt x="14" y="63"/>
                  </a:lnTo>
                  <a:lnTo>
                    <a:pt x="14" y="66"/>
                  </a:lnTo>
                  <a:lnTo>
                    <a:pt x="12" y="66"/>
                  </a:lnTo>
                  <a:lnTo>
                    <a:pt x="12" y="66"/>
                  </a:lnTo>
                  <a:lnTo>
                    <a:pt x="10" y="66"/>
                  </a:lnTo>
                  <a:lnTo>
                    <a:pt x="10" y="63"/>
                  </a:lnTo>
                  <a:lnTo>
                    <a:pt x="10" y="63"/>
                  </a:lnTo>
                  <a:lnTo>
                    <a:pt x="7" y="66"/>
                  </a:lnTo>
                  <a:lnTo>
                    <a:pt x="10" y="66"/>
                  </a:lnTo>
                  <a:lnTo>
                    <a:pt x="10" y="68"/>
                  </a:lnTo>
                  <a:lnTo>
                    <a:pt x="10" y="68"/>
                  </a:lnTo>
                  <a:lnTo>
                    <a:pt x="12" y="70"/>
                  </a:lnTo>
                  <a:lnTo>
                    <a:pt x="12" y="70"/>
                  </a:lnTo>
                  <a:lnTo>
                    <a:pt x="10" y="73"/>
                  </a:lnTo>
                  <a:lnTo>
                    <a:pt x="10" y="73"/>
                  </a:lnTo>
                  <a:lnTo>
                    <a:pt x="10" y="70"/>
                  </a:lnTo>
                  <a:lnTo>
                    <a:pt x="10" y="70"/>
                  </a:lnTo>
                  <a:lnTo>
                    <a:pt x="7" y="68"/>
                  </a:lnTo>
                  <a:lnTo>
                    <a:pt x="7" y="68"/>
                  </a:lnTo>
                  <a:lnTo>
                    <a:pt x="5" y="70"/>
                  </a:lnTo>
                  <a:lnTo>
                    <a:pt x="3" y="73"/>
                  </a:lnTo>
                  <a:lnTo>
                    <a:pt x="3" y="73"/>
                  </a:lnTo>
                  <a:lnTo>
                    <a:pt x="3" y="75"/>
                  </a:lnTo>
                  <a:lnTo>
                    <a:pt x="3" y="77"/>
                  </a:lnTo>
                  <a:lnTo>
                    <a:pt x="0" y="77"/>
                  </a:lnTo>
                  <a:lnTo>
                    <a:pt x="0" y="77"/>
                  </a:lnTo>
                  <a:lnTo>
                    <a:pt x="0" y="80"/>
                  </a:lnTo>
                  <a:lnTo>
                    <a:pt x="0" y="80"/>
                  </a:lnTo>
                  <a:lnTo>
                    <a:pt x="0" y="82"/>
                  </a:lnTo>
                  <a:lnTo>
                    <a:pt x="0" y="85"/>
                  </a:lnTo>
                  <a:lnTo>
                    <a:pt x="3" y="85"/>
                  </a:lnTo>
                  <a:lnTo>
                    <a:pt x="3" y="87"/>
                  </a:lnTo>
                  <a:lnTo>
                    <a:pt x="0" y="89"/>
                  </a:lnTo>
                  <a:lnTo>
                    <a:pt x="0" y="92"/>
                  </a:lnTo>
                  <a:lnTo>
                    <a:pt x="5" y="94"/>
                  </a:lnTo>
                  <a:lnTo>
                    <a:pt x="10" y="99"/>
                  </a:lnTo>
                  <a:lnTo>
                    <a:pt x="12" y="101"/>
                  </a:lnTo>
                  <a:lnTo>
                    <a:pt x="12" y="103"/>
                  </a:lnTo>
                  <a:lnTo>
                    <a:pt x="14" y="106"/>
                  </a:lnTo>
                  <a:lnTo>
                    <a:pt x="17" y="101"/>
                  </a:lnTo>
                  <a:lnTo>
                    <a:pt x="17" y="96"/>
                  </a:lnTo>
                  <a:lnTo>
                    <a:pt x="17" y="92"/>
                  </a:lnTo>
                  <a:lnTo>
                    <a:pt x="19" y="92"/>
                  </a:lnTo>
                  <a:lnTo>
                    <a:pt x="21" y="87"/>
                  </a:lnTo>
                  <a:lnTo>
                    <a:pt x="24" y="89"/>
                  </a:lnTo>
                  <a:lnTo>
                    <a:pt x="29" y="89"/>
                  </a:lnTo>
                  <a:lnTo>
                    <a:pt x="31" y="94"/>
                  </a:lnTo>
                  <a:lnTo>
                    <a:pt x="33" y="96"/>
                  </a:lnTo>
                  <a:lnTo>
                    <a:pt x="38" y="101"/>
                  </a:lnTo>
                  <a:lnTo>
                    <a:pt x="38" y="101"/>
                  </a:lnTo>
                  <a:lnTo>
                    <a:pt x="40" y="101"/>
                  </a:lnTo>
                  <a:lnTo>
                    <a:pt x="40" y="101"/>
                  </a:lnTo>
                  <a:lnTo>
                    <a:pt x="40" y="96"/>
                  </a:lnTo>
                  <a:lnTo>
                    <a:pt x="47" y="96"/>
                  </a:lnTo>
                  <a:lnTo>
                    <a:pt x="47" y="96"/>
                  </a:lnTo>
                  <a:lnTo>
                    <a:pt x="50" y="99"/>
                  </a:lnTo>
                  <a:lnTo>
                    <a:pt x="50" y="99"/>
                  </a:lnTo>
                  <a:lnTo>
                    <a:pt x="50" y="96"/>
                  </a:lnTo>
                  <a:lnTo>
                    <a:pt x="52" y="94"/>
                  </a:lnTo>
                  <a:lnTo>
                    <a:pt x="57" y="96"/>
                  </a:lnTo>
                  <a:lnTo>
                    <a:pt x="59" y="94"/>
                  </a:lnTo>
                  <a:lnTo>
                    <a:pt x="64" y="96"/>
                  </a:lnTo>
                  <a:lnTo>
                    <a:pt x="66" y="96"/>
                  </a:lnTo>
                  <a:lnTo>
                    <a:pt x="69" y="96"/>
                  </a:lnTo>
                  <a:lnTo>
                    <a:pt x="69" y="89"/>
                  </a:lnTo>
                  <a:lnTo>
                    <a:pt x="73" y="80"/>
                  </a:lnTo>
                  <a:lnTo>
                    <a:pt x="76" y="77"/>
                  </a:lnTo>
                  <a:lnTo>
                    <a:pt x="71" y="70"/>
                  </a:lnTo>
                  <a:lnTo>
                    <a:pt x="69" y="66"/>
                  </a:lnTo>
                  <a:lnTo>
                    <a:pt x="69" y="61"/>
                  </a:lnTo>
                  <a:lnTo>
                    <a:pt x="69" y="54"/>
                  </a:lnTo>
                  <a:lnTo>
                    <a:pt x="73" y="51"/>
                  </a:lnTo>
                  <a:lnTo>
                    <a:pt x="71" y="49"/>
                  </a:lnTo>
                  <a:lnTo>
                    <a:pt x="69" y="44"/>
                  </a:lnTo>
                  <a:lnTo>
                    <a:pt x="71" y="42"/>
                  </a:lnTo>
                  <a:lnTo>
                    <a:pt x="69" y="37"/>
                  </a:lnTo>
                  <a:lnTo>
                    <a:pt x="66" y="40"/>
                  </a:lnTo>
                  <a:lnTo>
                    <a:pt x="57" y="37"/>
                  </a:lnTo>
                  <a:lnTo>
                    <a:pt x="52" y="33"/>
                  </a:lnTo>
                  <a:lnTo>
                    <a:pt x="52" y="28"/>
                  </a:lnTo>
                  <a:lnTo>
                    <a:pt x="52" y="26"/>
                  </a:lnTo>
                  <a:lnTo>
                    <a:pt x="50" y="23"/>
                  </a:lnTo>
                  <a:lnTo>
                    <a:pt x="45" y="23"/>
                  </a:lnTo>
                  <a:lnTo>
                    <a:pt x="43" y="18"/>
                  </a:lnTo>
                  <a:lnTo>
                    <a:pt x="40" y="14"/>
                  </a:lnTo>
                  <a:lnTo>
                    <a:pt x="38" y="9"/>
                  </a:lnTo>
                  <a:lnTo>
                    <a:pt x="36" y="7"/>
                  </a:lnTo>
                  <a:lnTo>
                    <a:pt x="31" y="4"/>
                  </a:lnTo>
                  <a:lnTo>
                    <a:pt x="29" y="2"/>
                  </a:lnTo>
                  <a:lnTo>
                    <a:pt x="29" y="0"/>
                  </a:lnTo>
                  <a:lnTo>
                    <a:pt x="24" y="2"/>
                  </a:lnTo>
                  <a:lnTo>
                    <a:pt x="21" y="2"/>
                  </a:lnTo>
                  <a:lnTo>
                    <a:pt x="14" y="4"/>
                  </a:lnTo>
                  <a:lnTo>
                    <a:pt x="10" y="4"/>
                  </a:lnTo>
                  <a:lnTo>
                    <a:pt x="10" y="7"/>
                  </a:lnTo>
                  <a:lnTo>
                    <a:pt x="5"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8" name="Freeform 671">
              <a:extLst>
                <a:ext uri="{FF2B5EF4-FFF2-40B4-BE49-F238E27FC236}">
                  <a16:creationId xmlns:a16="http://schemas.microsoft.com/office/drawing/2014/main" id="{072C607D-0714-42CA-929E-71F6DB6BBF88}"/>
                </a:ext>
              </a:extLst>
            </p:cNvPr>
            <p:cNvSpPr>
              <a:spLocks/>
            </p:cNvSpPr>
            <p:nvPr/>
          </p:nvSpPr>
          <p:spPr bwMode="auto">
            <a:xfrm>
              <a:off x="1788366" y="3090828"/>
              <a:ext cx="120650" cy="168275"/>
            </a:xfrm>
            <a:custGeom>
              <a:avLst/>
              <a:gdLst>
                <a:gd name="T0" fmla="*/ 7 w 76"/>
                <a:gd name="T1" fmla="*/ 11 h 106"/>
                <a:gd name="T2" fmla="*/ 7 w 76"/>
                <a:gd name="T3" fmla="*/ 14 h 106"/>
                <a:gd name="T4" fmla="*/ 7 w 76"/>
                <a:gd name="T5" fmla="*/ 16 h 106"/>
                <a:gd name="T6" fmla="*/ 10 w 76"/>
                <a:gd name="T7" fmla="*/ 16 h 106"/>
                <a:gd name="T8" fmla="*/ 10 w 76"/>
                <a:gd name="T9" fmla="*/ 16 h 106"/>
                <a:gd name="T10" fmla="*/ 10 w 76"/>
                <a:gd name="T11" fmla="*/ 18 h 106"/>
                <a:gd name="T12" fmla="*/ 10 w 76"/>
                <a:gd name="T13" fmla="*/ 21 h 106"/>
                <a:gd name="T14" fmla="*/ 12 w 76"/>
                <a:gd name="T15" fmla="*/ 21 h 106"/>
                <a:gd name="T16" fmla="*/ 17 w 76"/>
                <a:gd name="T17" fmla="*/ 23 h 106"/>
                <a:gd name="T18" fmla="*/ 14 w 76"/>
                <a:gd name="T19" fmla="*/ 23 h 106"/>
                <a:gd name="T20" fmla="*/ 12 w 76"/>
                <a:gd name="T21" fmla="*/ 26 h 106"/>
                <a:gd name="T22" fmla="*/ 12 w 76"/>
                <a:gd name="T23" fmla="*/ 30 h 106"/>
                <a:gd name="T24" fmla="*/ 17 w 76"/>
                <a:gd name="T25" fmla="*/ 33 h 106"/>
                <a:gd name="T26" fmla="*/ 14 w 76"/>
                <a:gd name="T27" fmla="*/ 37 h 106"/>
                <a:gd name="T28" fmla="*/ 12 w 76"/>
                <a:gd name="T29" fmla="*/ 42 h 106"/>
                <a:gd name="T30" fmla="*/ 12 w 76"/>
                <a:gd name="T31" fmla="*/ 47 h 106"/>
                <a:gd name="T32" fmla="*/ 14 w 76"/>
                <a:gd name="T33" fmla="*/ 47 h 106"/>
                <a:gd name="T34" fmla="*/ 17 w 76"/>
                <a:gd name="T35" fmla="*/ 49 h 106"/>
                <a:gd name="T36" fmla="*/ 19 w 76"/>
                <a:gd name="T37" fmla="*/ 51 h 106"/>
                <a:gd name="T38" fmla="*/ 21 w 76"/>
                <a:gd name="T39" fmla="*/ 54 h 106"/>
                <a:gd name="T40" fmla="*/ 14 w 76"/>
                <a:gd name="T41" fmla="*/ 54 h 106"/>
                <a:gd name="T42" fmla="*/ 14 w 76"/>
                <a:gd name="T43" fmla="*/ 54 h 106"/>
                <a:gd name="T44" fmla="*/ 19 w 76"/>
                <a:gd name="T45" fmla="*/ 61 h 106"/>
                <a:gd name="T46" fmla="*/ 17 w 76"/>
                <a:gd name="T47" fmla="*/ 63 h 106"/>
                <a:gd name="T48" fmla="*/ 14 w 76"/>
                <a:gd name="T49" fmla="*/ 63 h 106"/>
                <a:gd name="T50" fmla="*/ 12 w 76"/>
                <a:gd name="T51" fmla="*/ 66 h 106"/>
                <a:gd name="T52" fmla="*/ 10 w 76"/>
                <a:gd name="T53" fmla="*/ 63 h 106"/>
                <a:gd name="T54" fmla="*/ 10 w 76"/>
                <a:gd name="T55" fmla="*/ 68 h 106"/>
                <a:gd name="T56" fmla="*/ 12 w 76"/>
                <a:gd name="T57" fmla="*/ 70 h 106"/>
                <a:gd name="T58" fmla="*/ 10 w 76"/>
                <a:gd name="T59" fmla="*/ 70 h 106"/>
                <a:gd name="T60" fmla="*/ 7 w 76"/>
                <a:gd name="T61" fmla="*/ 68 h 106"/>
                <a:gd name="T62" fmla="*/ 3 w 76"/>
                <a:gd name="T63" fmla="*/ 73 h 106"/>
                <a:gd name="T64" fmla="*/ 0 w 76"/>
                <a:gd name="T65" fmla="*/ 77 h 106"/>
                <a:gd name="T66" fmla="*/ 0 w 76"/>
                <a:gd name="T67" fmla="*/ 80 h 106"/>
                <a:gd name="T68" fmla="*/ 3 w 76"/>
                <a:gd name="T69" fmla="*/ 85 h 106"/>
                <a:gd name="T70" fmla="*/ 0 w 76"/>
                <a:gd name="T71" fmla="*/ 92 h 106"/>
                <a:gd name="T72" fmla="*/ 12 w 76"/>
                <a:gd name="T73" fmla="*/ 101 h 106"/>
                <a:gd name="T74" fmla="*/ 17 w 76"/>
                <a:gd name="T75" fmla="*/ 101 h 106"/>
                <a:gd name="T76" fmla="*/ 19 w 76"/>
                <a:gd name="T77" fmla="*/ 92 h 106"/>
                <a:gd name="T78" fmla="*/ 29 w 76"/>
                <a:gd name="T79" fmla="*/ 89 h 106"/>
                <a:gd name="T80" fmla="*/ 38 w 76"/>
                <a:gd name="T81" fmla="*/ 101 h 106"/>
                <a:gd name="T82" fmla="*/ 40 w 76"/>
                <a:gd name="T83" fmla="*/ 101 h 106"/>
                <a:gd name="T84" fmla="*/ 47 w 76"/>
                <a:gd name="T85" fmla="*/ 96 h 106"/>
                <a:gd name="T86" fmla="*/ 50 w 76"/>
                <a:gd name="T87" fmla="*/ 96 h 106"/>
                <a:gd name="T88" fmla="*/ 59 w 76"/>
                <a:gd name="T89" fmla="*/ 94 h 106"/>
                <a:gd name="T90" fmla="*/ 69 w 76"/>
                <a:gd name="T91" fmla="*/ 96 h 106"/>
                <a:gd name="T92" fmla="*/ 76 w 76"/>
                <a:gd name="T93" fmla="*/ 77 h 106"/>
                <a:gd name="T94" fmla="*/ 69 w 76"/>
                <a:gd name="T95" fmla="*/ 61 h 106"/>
                <a:gd name="T96" fmla="*/ 71 w 76"/>
                <a:gd name="T97" fmla="*/ 49 h 106"/>
                <a:gd name="T98" fmla="*/ 69 w 76"/>
                <a:gd name="T99" fmla="*/ 37 h 106"/>
                <a:gd name="T100" fmla="*/ 52 w 76"/>
                <a:gd name="T101" fmla="*/ 33 h 106"/>
                <a:gd name="T102" fmla="*/ 50 w 76"/>
                <a:gd name="T103" fmla="*/ 23 h 106"/>
                <a:gd name="T104" fmla="*/ 40 w 76"/>
                <a:gd name="T105" fmla="*/ 14 h 106"/>
                <a:gd name="T106" fmla="*/ 31 w 76"/>
                <a:gd name="T107" fmla="*/ 4 h 106"/>
                <a:gd name="T108" fmla="*/ 24 w 76"/>
                <a:gd name="T109" fmla="*/ 2 h 106"/>
                <a:gd name="T110" fmla="*/ 10 w 76"/>
                <a:gd name="T111"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 h="106">
                  <a:moveTo>
                    <a:pt x="5" y="7"/>
                  </a:moveTo>
                  <a:lnTo>
                    <a:pt x="7" y="9"/>
                  </a:lnTo>
                  <a:lnTo>
                    <a:pt x="7" y="11"/>
                  </a:lnTo>
                  <a:lnTo>
                    <a:pt x="7" y="11"/>
                  </a:lnTo>
                  <a:lnTo>
                    <a:pt x="7" y="11"/>
                  </a:lnTo>
                  <a:lnTo>
                    <a:pt x="7" y="14"/>
                  </a:lnTo>
                  <a:lnTo>
                    <a:pt x="7" y="14"/>
                  </a:lnTo>
                  <a:lnTo>
                    <a:pt x="7" y="16"/>
                  </a:lnTo>
                  <a:lnTo>
                    <a:pt x="7" y="16"/>
                  </a:lnTo>
                  <a:lnTo>
                    <a:pt x="7" y="16"/>
                  </a:lnTo>
                  <a:lnTo>
                    <a:pt x="10" y="16"/>
                  </a:lnTo>
                  <a:lnTo>
                    <a:pt x="10" y="16"/>
                  </a:lnTo>
                  <a:lnTo>
                    <a:pt x="10" y="16"/>
                  </a:lnTo>
                  <a:lnTo>
                    <a:pt x="10" y="16"/>
                  </a:lnTo>
                  <a:lnTo>
                    <a:pt x="10" y="16"/>
                  </a:lnTo>
                  <a:lnTo>
                    <a:pt x="7" y="18"/>
                  </a:lnTo>
                  <a:lnTo>
                    <a:pt x="10" y="18"/>
                  </a:lnTo>
                  <a:lnTo>
                    <a:pt x="10" y="18"/>
                  </a:lnTo>
                  <a:lnTo>
                    <a:pt x="7" y="21"/>
                  </a:lnTo>
                  <a:lnTo>
                    <a:pt x="10" y="21"/>
                  </a:lnTo>
                  <a:lnTo>
                    <a:pt x="10" y="21"/>
                  </a:lnTo>
                  <a:lnTo>
                    <a:pt x="10" y="21"/>
                  </a:lnTo>
                  <a:lnTo>
                    <a:pt x="12" y="21"/>
                  </a:lnTo>
                  <a:lnTo>
                    <a:pt x="12" y="21"/>
                  </a:lnTo>
                  <a:lnTo>
                    <a:pt x="14" y="23"/>
                  </a:lnTo>
                  <a:lnTo>
                    <a:pt x="14" y="23"/>
                  </a:lnTo>
                  <a:lnTo>
                    <a:pt x="17" y="23"/>
                  </a:lnTo>
                  <a:lnTo>
                    <a:pt x="17" y="23"/>
                  </a:lnTo>
                  <a:lnTo>
                    <a:pt x="14" y="23"/>
                  </a:lnTo>
                  <a:lnTo>
                    <a:pt x="14" y="23"/>
                  </a:lnTo>
                  <a:lnTo>
                    <a:pt x="12" y="23"/>
                  </a:lnTo>
                  <a:lnTo>
                    <a:pt x="12" y="23"/>
                  </a:lnTo>
                  <a:lnTo>
                    <a:pt x="12" y="26"/>
                  </a:lnTo>
                  <a:lnTo>
                    <a:pt x="12" y="26"/>
                  </a:lnTo>
                  <a:lnTo>
                    <a:pt x="12" y="28"/>
                  </a:lnTo>
                  <a:lnTo>
                    <a:pt x="12" y="30"/>
                  </a:lnTo>
                  <a:lnTo>
                    <a:pt x="12" y="30"/>
                  </a:lnTo>
                  <a:lnTo>
                    <a:pt x="14" y="30"/>
                  </a:lnTo>
                  <a:lnTo>
                    <a:pt x="17" y="33"/>
                  </a:lnTo>
                  <a:lnTo>
                    <a:pt x="17" y="33"/>
                  </a:lnTo>
                  <a:lnTo>
                    <a:pt x="17" y="35"/>
                  </a:lnTo>
                  <a:lnTo>
                    <a:pt x="14" y="37"/>
                  </a:lnTo>
                  <a:lnTo>
                    <a:pt x="12" y="40"/>
                  </a:lnTo>
                  <a:lnTo>
                    <a:pt x="12" y="40"/>
                  </a:lnTo>
                  <a:lnTo>
                    <a:pt x="12" y="42"/>
                  </a:lnTo>
                  <a:lnTo>
                    <a:pt x="12" y="42"/>
                  </a:lnTo>
                  <a:lnTo>
                    <a:pt x="12" y="44"/>
                  </a:lnTo>
                  <a:lnTo>
                    <a:pt x="12" y="47"/>
                  </a:lnTo>
                  <a:lnTo>
                    <a:pt x="12" y="47"/>
                  </a:lnTo>
                  <a:lnTo>
                    <a:pt x="14" y="47"/>
                  </a:lnTo>
                  <a:lnTo>
                    <a:pt x="14" y="47"/>
                  </a:lnTo>
                  <a:lnTo>
                    <a:pt x="14" y="47"/>
                  </a:lnTo>
                  <a:lnTo>
                    <a:pt x="17" y="49"/>
                  </a:lnTo>
                  <a:lnTo>
                    <a:pt x="17" y="49"/>
                  </a:lnTo>
                  <a:lnTo>
                    <a:pt x="19" y="49"/>
                  </a:lnTo>
                  <a:lnTo>
                    <a:pt x="19" y="49"/>
                  </a:lnTo>
                  <a:lnTo>
                    <a:pt x="19" y="51"/>
                  </a:lnTo>
                  <a:lnTo>
                    <a:pt x="19" y="51"/>
                  </a:lnTo>
                  <a:lnTo>
                    <a:pt x="21" y="51"/>
                  </a:lnTo>
                  <a:lnTo>
                    <a:pt x="21" y="54"/>
                  </a:lnTo>
                  <a:lnTo>
                    <a:pt x="19" y="54"/>
                  </a:lnTo>
                  <a:lnTo>
                    <a:pt x="17" y="54"/>
                  </a:lnTo>
                  <a:lnTo>
                    <a:pt x="14" y="54"/>
                  </a:lnTo>
                  <a:lnTo>
                    <a:pt x="14" y="54"/>
                  </a:lnTo>
                  <a:lnTo>
                    <a:pt x="14" y="54"/>
                  </a:lnTo>
                  <a:lnTo>
                    <a:pt x="14" y="54"/>
                  </a:lnTo>
                  <a:lnTo>
                    <a:pt x="17" y="56"/>
                  </a:lnTo>
                  <a:lnTo>
                    <a:pt x="19" y="59"/>
                  </a:lnTo>
                  <a:lnTo>
                    <a:pt x="19" y="61"/>
                  </a:lnTo>
                  <a:lnTo>
                    <a:pt x="19" y="63"/>
                  </a:lnTo>
                  <a:lnTo>
                    <a:pt x="19" y="63"/>
                  </a:lnTo>
                  <a:lnTo>
                    <a:pt x="17" y="63"/>
                  </a:lnTo>
                  <a:lnTo>
                    <a:pt x="17" y="63"/>
                  </a:lnTo>
                  <a:lnTo>
                    <a:pt x="17" y="63"/>
                  </a:lnTo>
                  <a:lnTo>
                    <a:pt x="14" y="63"/>
                  </a:lnTo>
                  <a:lnTo>
                    <a:pt x="14" y="66"/>
                  </a:lnTo>
                  <a:lnTo>
                    <a:pt x="12" y="66"/>
                  </a:lnTo>
                  <a:lnTo>
                    <a:pt x="12" y="66"/>
                  </a:lnTo>
                  <a:lnTo>
                    <a:pt x="10" y="66"/>
                  </a:lnTo>
                  <a:lnTo>
                    <a:pt x="10" y="63"/>
                  </a:lnTo>
                  <a:lnTo>
                    <a:pt x="10" y="63"/>
                  </a:lnTo>
                  <a:lnTo>
                    <a:pt x="7" y="66"/>
                  </a:lnTo>
                  <a:lnTo>
                    <a:pt x="10" y="66"/>
                  </a:lnTo>
                  <a:lnTo>
                    <a:pt x="10" y="68"/>
                  </a:lnTo>
                  <a:lnTo>
                    <a:pt x="10" y="68"/>
                  </a:lnTo>
                  <a:lnTo>
                    <a:pt x="12" y="70"/>
                  </a:lnTo>
                  <a:lnTo>
                    <a:pt x="12" y="70"/>
                  </a:lnTo>
                  <a:lnTo>
                    <a:pt x="10" y="73"/>
                  </a:lnTo>
                  <a:lnTo>
                    <a:pt x="10" y="73"/>
                  </a:lnTo>
                  <a:lnTo>
                    <a:pt x="10" y="70"/>
                  </a:lnTo>
                  <a:lnTo>
                    <a:pt x="10" y="70"/>
                  </a:lnTo>
                  <a:lnTo>
                    <a:pt x="7" y="68"/>
                  </a:lnTo>
                  <a:lnTo>
                    <a:pt x="7" y="68"/>
                  </a:lnTo>
                  <a:lnTo>
                    <a:pt x="5" y="70"/>
                  </a:lnTo>
                  <a:lnTo>
                    <a:pt x="3" y="73"/>
                  </a:lnTo>
                  <a:lnTo>
                    <a:pt x="3" y="73"/>
                  </a:lnTo>
                  <a:lnTo>
                    <a:pt x="3" y="75"/>
                  </a:lnTo>
                  <a:lnTo>
                    <a:pt x="3" y="77"/>
                  </a:lnTo>
                  <a:lnTo>
                    <a:pt x="0" y="77"/>
                  </a:lnTo>
                  <a:lnTo>
                    <a:pt x="0" y="77"/>
                  </a:lnTo>
                  <a:lnTo>
                    <a:pt x="0" y="80"/>
                  </a:lnTo>
                  <a:lnTo>
                    <a:pt x="0" y="80"/>
                  </a:lnTo>
                  <a:lnTo>
                    <a:pt x="0" y="82"/>
                  </a:lnTo>
                  <a:lnTo>
                    <a:pt x="0" y="85"/>
                  </a:lnTo>
                  <a:lnTo>
                    <a:pt x="3" y="85"/>
                  </a:lnTo>
                  <a:lnTo>
                    <a:pt x="3" y="87"/>
                  </a:lnTo>
                  <a:lnTo>
                    <a:pt x="0" y="89"/>
                  </a:lnTo>
                  <a:lnTo>
                    <a:pt x="0" y="92"/>
                  </a:lnTo>
                  <a:lnTo>
                    <a:pt x="5" y="94"/>
                  </a:lnTo>
                  <a:lnTo>
                    <a:pt x="10" y="99"/>
                  </a:lnTo>
                  <a:lnTo>
                    <a:pt x="12" y="101"/>
                  </a:lnTo>
                  <a:lnTo>
                    <a:pt x="12" y="103"/>
                  </a:lnTo>
                  <a:lnTo>
                    <a:pt x="14" y="106"/>
                  </a:lnTo>
                  <a:lnTo>
                    <a:pt x="17" y="101"/>
                  </a:lnTo>
                  <a:lnTo>
                    <a:pt x="17" y="96"/>
                  </a:lnTo>
                  <a:lnTo>
                    <a:pt x="17" y="92"/>
                  </a:lnTo>
                  <a:lnTo>
                    <a:pt x="19" y="92"/>
                  </a:lnTo>
                  <a:lnTo>
                    <a:pt x="21" y="87"/>
                  </a:lnTo>
                  <a:lnTo>
                    <a:pt x="24" y="89"/>
                  </a:lnTo>
                  <a:lnTo>
                    <a:pt x="29" y="89"/>
                  </a:lnTo>
                  <a:lnTo>
                    <a:pt x="31" y="94"/>
                  </a:lnTo>
                  <a:lnTo>
                    <a:pt x="33" y="96"/>
                  </a:lnTo>
                  <a:lnTo>
                    <a:pt x="38" y="101"/>
                  </a:lnTo>
                  <a:lnTo>
                    <a:pt x="38" y="101"/>
                  </a:lnTo>
                  <a:lnTo>
                    <a:pt x="40" y="101"/>
                  </a:lnTo>
                  <a:lnTo>
                    <a:pt x="40" y="101"/>
                  </a:lnTo>
                  <a:lnTo>
                    <a:pt x="40" y="96"/>
                  </a:lnTo>
                  <a:lnTo>
                    <a:pt x="47" y="96"/>
                  </a:lnTo>
                  <a:lnTo>
                    <a:pt x="47" y="96"/>
                  </a:lnTo>
                  <a:lnTo>
                    <a:pt x="50" y="99"/>
                  </a:lnTo>
                  <a:lnTo>
                    <a:pt x="50" y="99"/>
                  </a:lnTo>
                  <a:lnTo>
                    <a:pt x="50" y="96"/>
                  </a:lnTo>
                  <a:lnTo>
                    <a:pt x="52" y="94"/>
                  </a:lnTo>
                  <a:lnTo>
                    <a:pt x="57" y="96"/>
                  </a:lnTo>
                  <a:lnTo>
                    <a:pt x="59" y="94"/>
                  </a:lnTo>
                  <a:lnTo>
                    <a:pt x="64" y="96"/>
                  </a:lnTo>
                  <a:lnTo>
                    <a:pt x="66" y="96"/>
                  </a:lnTo>
                  <a:lnTo>
                    <a:pt x="69" y="96"/>
                  </a:lnTo>
                  <a:lnTo>
                    <a:pt x="69" y="89"/>
                  </a:lnTo>
                  <a:lnTo>
                    <a:pt x="73" y="80"/>
                  </a:lnTo>
                  <a:lnTo>
                    <a:pt x="76" y="77"/>
                  </a:lnTo>
                  <a:lnTo>
                    <a:pt x="71" y="70"/>
                  </a:lnTo>
                  <a:lnTo>
                    <a:pt x="69" y="66"/>
                  </a:lnTo>
                  <a:lnTo>
                    <a:pt x="69" y="61"/>
                  </a:lnTo>
                  <a:lnTo>
                    <a:pt x="69" y="54"/>
                  </a:lnTo>
                  <a:lnTo>
                    <a:pt x="73" y="51"/>
                  </a:lnTo>
                  <a:lnTo>
                    <a:pt x="71" y="49"/>
                  </a:lnTo>
                  <a:lnTo>
                    <a:pt x="69" y="44"/>
                  </a:lnTo>
                  <a:lnTo>
                    <a:pt x="71" y="42"/>
                  </a:lnTo>
                  <a:lnTo>
                    <a:pt x="69" y="37"/>
                  </a:lnTo>
                  <a:lnTo>
                    <a:pt x="66" y="40"/>
                  </a:lnTo>
                  <a:lnTo>
                    <a:pt x="57" y="37"/>
                  </a:lnTo>
                  <a:lnTo>
                    <a:pt x="52" y="33"/>
                  </a:lnTo>
                  <a:lnTo>
                    <a:pt x="52" y="28"/>
                  </a:lnTo>
                  <a:lnTo>
                    <a:pt x="52" y="26"/>
                  </a:lnTo>
                  <a:lnTo>
                    <a:pt x="50" y="23"/>
                  </a:lnTo>
                  <a:lnTo>
                    <a:pt x="45" y="23"/>
                  </a:lnTo>
                  <a:lnTo>
                    <a:pt x="43" y="18"/>
                  </a:lnTo>
                  <a:lnTo>
                    <a:pt x="40" y="14"/>
                  </a:lnTo>
                  <a:lnTo>
                    <a:pt x="38" y="9"/>
                  </a:lnTo>
                  <a:lnTo>
                    <a:pt x="36" y="7"/>
                  </a:lnTo>
                  <a:lnTo>
                    <a:pt x="31" y="4"/>
                  </a:lnTo>
                  <a:lnTo>
                    <a:pt x="29" y="2"/>
                  </a:lnTo>
                  <a:lnTo>
                    <a:pt x="29" y="0"/>
                  </a:lnTo>
                  <a:lnTo>
                    <a:pt x="24" y="2"/>
                  </a:lnTo>
                  <a:lnTo>
                    <a:pt x="21" y="2"/>
                  </a:lnTo>
                  <a:lnTo>
                    <a:pt x="14" y="4"/>
                  </a:lnTo>
                  <a:lnTo>
                    <a:pt x="10" y="4"/>
                  </a:lnTo>
                  <a:lnTo>
                    <a:pt x="10" y="7"/>
                  </a:lnTo>
                  <a:lnTo>
                    <a:pt x="5" y="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09" name="Freeform 672">
              <a:extLst>
                <a:ext uri="{FF2B5EF4-FFF2-40B4-BE49-F238E27FC236}">
                  <a16:creationId xmlns:a16="http://schemas.microsoft.com/office/drawing/2014/main" id="{795CD82D-22B1-46CE-9613-98FC27D274A4}"/>
                </a:ext>
              </a:extLst>
            </p:cNvPr>
            <p:cNvSpPr>
              <a:spLocks/>
            </p:cNvSpPr>
            <p:nvPr/>
          </p:nvSpPr>
          <p:spPr bwMode="auto">
            <a:xfrm>
              <a:off x="1818527" y="2673315"/>
              <a:ext cx="90488" cy="68262"/>
            </a:xfrm>
            <a:custGeom>
              <a:avLst/>
              <a:gdLst>
                <a:gd name="T0" fmla="*/ 0 w 57"/>
                <a:gd name="T1" fmla="*/ 38 h 43"/>
                <a:gd name="T2" fmla="*/ 0 w 57"/>
                <a:gd name="T3" fmla="*/ 36 h 43"/>
                <a:gd name="T4" fmla="*/ 5 w 57"/>
                <a:gd name="T5" fmla="*/ 33 h 43"/>
                <a:gd name="T6" fmla="*/ 5 w 57"/>
                <a:gd name="T7" fmla="*/ 33 h 43"/>
                <a:gd name="T8" fmla="*/ 7 w 57"/>
                <a:gd name="T9" fmla="*/ 29 h 43"/>
                <a:gd name="T10" fmla="*/ 7 w 57"/>
                <a:gd name="T11" fmla="*/ 24 h 43"/>
                <a:gd name="T12" fmla="*/ 7 w 57"/>
                <a:gd name="T13" fmla="*/ 22 h 43"/>
                <a:gd name="T14" fmla="*/ 14 w 57"/>
                <a:gd name="T15" fmla="*/ 22 h 43"/>
                <a:gd name="T16" fmla="*/ 17 w 57"/>
                <a:gd name="T17" fmla="*/ 19 h 43"/>
                <a:gd name="T18" fmla="*/ 21 w 57"/>
                <a:gd name="T19" fmla="*/ 15 h 43"/>
                <a:gd name="T20" fmla="*/ 24 w 57"/>
                <a:gd name="T21" fmla="*/ 10 h 43"/>
                <a:gd name="T22" fmla="*/ 26 w 57"/>
                <a:gd name="T23" fmla="*/ 5 h 43"/>
                <a:gd name="T24" fmla="*/ 26 w 57"/>
                <a:gd name="T25" fmla="*/ 0 h 43"/>
                <a:gd name="T26" fmla="*/ 26 w 57"/>
                <a:gd name="T27" fmla="*/ 10 h 43"/>
                <a:gd name="T28" fmla="*/ 24 w 57"/>
                <a:gd name="T29" fmla="*/ 15 h 43"/>
                <a:gd name="T30" fmla="*/ 21 w 57"/>
                <a:gd name="T31" fmla="*/ 17 h 43"/>
                <a:gd name="T32" fmla="*/ 19 w 57"/>
                <a:gd name="T33" fmla="*/ 22 h 43"/>
                <a:gd name="T34" fmla="*/ 19 w 57"/>
                <a:gd name="T35" fmla="*/ 24 h 43"/>
                <a:gd name="T36" fmla="*/ 21 w 57"/>
                <a:gd name="T37" fmla="*/ 22 h 43"/>
                <a:gd name="T38" fmla="*/ 24 w 57"/>
                <a:gd name="T39" fmla="*/ 24 h 43"/>
                <a:gd name="T40" fmla="*/ 28 w 57"/>
                <a:gd name="T41" fmla="*/ 24 h 43"/>
                <a:gd name="T42" fmla="*/ 28 w 57"/>
                <a:gd name="T43" fmla="*/ 22 h 43"/>
                <a:gd name="T44" fmla="*/ 28 w 57"/>
                <a:gd name="T45" fmla="*/ 17 h 43"/>
                <a:gd name="T46" fmla="*/ 28 w 57"/>
                <a:gd name="T47" fmla="*/ 15 h 43"/>
                <a:gd name="T48" fmla="*/ 31 w 57"/>
                <a:gd name="T49" fmla="*/ 12 h 43"/>
                <a:gd name="T50" fmla="*/ 33 w 57"/>
                <a:gd name="T51" fmla="*/ 12 h 43"/>
                <a:gd name="T52" fmla="*/ 36 w 57"/>
                <a:gd name="T53" fmla="*/ 15 h 43"/>
                <a:gd name="T54" fmla="*/ 38 w 57"/>
                <a:gd name="T55" fmla="*/ 15 h 43"/>
                <a:gd name="T56" fmla="*/ 40 w 57"/>
                <a:gd name="T57" fmla="*/ 17 h 43"/>
                <a:gd name="T58" fmla="*/ 43 w 57"/>
                <a:gd name="T59" fmla="*/ 17 h 43"/>
                <a:gd name="T60" fmla="*/ 47 w 57"/>
                <a:gd name="T61" fmla="*/ 19 h 43"/>
                <a:gd name="T62" fmla="*/ 52 w 57"/>
                <a:gd name="T63" fmla="*/ 17 h 43"/>
                <a:gd name="T64" fmla="*/ 54 w 57"/>
                <a:gd name="T65" fmla="*/ 19 h 43"/>
                <a:gd name="T66" fmla="*/ 57 w 57"/>
                <a:gd name="T67" fmla="*/ 26 h 43"/>
                <a:gd name="T68" fmla="*/ 54 w 57"/>
                <a:gd name="T69" fmla="*/ 31 h 43"/>
                <a:gd name="T70" fmla="*/ 54 w 57"/>
                <a:gd name="T71" fmla="*/ 36 h 43"/>
                <a:gd name="T72" fmla="*/ 57 w 57"/>
                <a:gd name="T73" fmla="*/ 40 h 43"/>
                <a:gd name="T74" fmla="*/ 50 w 57"/>
                <a:gd name="T75" fmla="*/ 40 h 43"/>
                <a:gd name="T76" fmla="*/ 40 w 57"/>
                <a:gd name="T77" fmla="*/ 43 h 43"/>
                <a:gd name="T78" fmla="*/ 24 w 57"/>
                <a:gd name="T79" fmla="*/ 43 h 43"/>
                <a:gd name="T80" fmla="*/ 5 w 57"/>
                <a:gd name="T81" fmla="*/ 38 h 43"/>
                <a:gd name="T82" fmla="*/ 0 w 57"/>
                <a:gd name="T83"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43">
                  <a:moveTo>
                    <a:pt x="0" y="38"/>
                  </a:moveTo>
                  <a:lnTo>
                    <a:pt x="0" y="36"/>
                  </a:lnTo>
                  <a:lnTo>
                    <a:pt x="5" y="33"/>
                  </a:lnTo>
                  <a:lnTo>
                    <a:pt x="5" y="33"/>
                  </a:lnTo>
                  <a:lnTo>
                    <a:pt x="7" y="29"/>
                  </a:lnTo>
                  <a:lnTo>
                    <a:pt x="7" y="24"/>
                  </a:lnTo>
                  <a:lnTo>
                    <a:pt x="7" y="22"/>
                  </a:lnTo>
                  <a:lnTo>
                    <a:pt x="14" y="22"/>
                  </a:lnTo>
                  <a:lnTo>
                    <a:pt x="17" y="19"/>
                  </a:lnTo>
                  <a:lnTo>
                    <a:pt x="21" y="15"/>
                  </a:lnTo>
                  <a:lnTo>
                    <a:pt x="24" y="10"/>
                  </a:lnTo>
                  <a:lnTo>
                    <a:pt x="26" y="5"/>
                  </a:lnTo>
                  <a:lnTo>
                    <a:pt x="26" y="0"/>
                  </a:lnTo>
                  <a:lnTo>
                    <a:pt x="26" y="10"/>
                  </a:lnTo>
                  <a:lnTo>
                    <a:pt x="24" y="15"/>
                  </a:lnTo>
                  <a:lnTo>
                    <a:pt x="21" y="17"/>
                  </a:lnTo>
                  <a:lnTo>
                    <a:pt x="19" y="22"/>
                  </a:lnTo>
                  <a:lnTo>
                    <a:pt x="19" y="24"/>
                  </a:lnTo>
                  <a:lnTo>
                    <a:pt x="21" y="22"/>
                  </a:lnTo>
                  <a:lnTo>
                    <a:pt x="24" y="24"/>
                  </a:lnTo>
                  <a:lnTo>
                    <a:pt x="28" y="24"/>
                  </a:lnTo>
                  <a:lnTo>
                    <a:pt x="28" y="22"/>
                  </a:lnTo>
                  <a:lnTo>
                    <a:pt x="28" y="17"/>
                  </a:lnTo>
                  <a:lnTo>
                    <a:pt x="28" y="15"/>
                  </a:lnTo>
                  <a:lnTo>
                    <a:pt x="31" y="12"/>
                  </a:lnTo>
                  <a:lnTo>
                    <a:pt x="33" y="12"/>
                  </a:lnTo>
                  <a:lnTo>
                    <a:pt x="36" y="15"/>
                  </a:lnTo>
                  <a:lnTo>
                    <a:pt x="38" y="15"/>
                  </a:lnTo>
                  <a:lnTo>
                    <a:pt x="40" y="17"/>
                  </a:lnTo>
                  <a:lnTo>
                    <a:pt x="43" y="17"/>
                  </a:lnTo>
                  <a:lnTo>
                    <a:pt x="47" y="19"/>
                  </a:lnTo>
                  <a:lnTo>
                    <a:pt x="52" y="17"/>
                  </a:lnTo>
                  <a:lnTo>
                    <a:pt x="54" y="19"/>
                  </a:lnTo>
                  <a:lnTo>
                    <a:pt x="57" y="26"/>
                  </a:lnTo>
                  <a:lnTo>
                    <a:pt x="54" y="31"/>
                  </a:lnTo>
                  <a:lnTo>
                    <a:pt x="54" y="36"/>
                  </a:lnTo>
                  <a:lnTo>
                    <a:pt x="57" y="40"/>
                  </a:lnTo>
                  <a:lnTo>
                    <a:pt x="50" y="40"/>
                  </a:lnTo>
                  <a:lnTo>
                    <a:pt x="40" y="43"/>
                  </a:lnTo>
                  <a:lnTo>
                    <a:pt x="24" y="43"/>
                  </a:lnTo>
                  <a:lnTo>
                    <a:pt x="5" y="38"/>
                  </a:lnTo>
                  <a:lnTo>
                    <a:pt x="0" y="3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0" name="Freeform 673">
              <a:extLst>
                <a:ext uri="{FF2B5EF4-FFF2-40B4-BE49-F238E27FC236}">
                  <a16:creationId xmlns:a16="http://schemas.microsoft.com/office/drawing/2014/main" id="{73106CC9-2AA9-47E8-AD68-F7F2C2854AD6}"/>
                </a:ext>
              </a:extLst>
            </p:cNvPr>
            <p:cNvSpPr>
              <a:spLocks/>
            </p:cNvSpPr>
            <p:nvPr/>
          </p:nvSpPr>
          <p:spPr bwMode="auto">
            <a:xfrm>
              <a:off x="1818527" y="2673315"/>
              <a:ext cx="90488" cy="68262"/>
            </a:xfrm>
            <a:custGeom>
              <a:avLst/>
              <a:gdLst>
                <a:gd name="T0" fmla="*/ 0 w 57"/>
                <a:gd name="T1" fmla="*/ 38 h 43"/>
                <a:gd name="T2" fmla="*/ 0 w 57"/>
                <a:gd name="T3" fmla="*/ 36 h 43"/>
                <a:gd name="T4" fmla="*/ 5 w 57"/>
                <a:gd name="T5" fmla="*/ 33 h 43"/>
                <a:gd name="T6" fmla="*/ 5 w 57"/>
                <a:gd name="T7" fmla="*/ 33 h 43"/>
                <a:gd name="T8" fmla="*/ 7 w 57"/>
                <a:gd name="T9" fmla="*/ 29 h 43"/>
                <a:gd name="T10" fmla="*/ 7 w 57"/>
                <a:gd name="T11" fmla="*/ 24 h 43"/>
                <a:gd name="T12" fmla="*/ 7 w 57"/>
                <a:gd name="T13" fmla="*/ 22 h 43"/>
                <a:gd name="T14" fmla="*/ 14 w 57"/>
                <a:gd name="T15" fmla="*/ 22 h 43"/>
                <a:gd name="T16" fmla="*/ 17 w 57"/>
                <a:gd name="T17" fmla="*/ 19 h 43"/>
                <a:gd name="T18" fmla="*/ 21 w 57"/>
                <a:gd name="T19" fmla="*/ 15 h 43"/>
                <a:gd name="T20" fmla="*/ 24 w 57"/>
                <a:gd name="T21" fmla="*/ 10 h 43"/>
                <a:gd name="T22" fmla="*/ 26 w 57"/>
                <a:gd name="T23" fmla="*/ 5 h 43"/>
                <a:gd name="T24" fmla="*/ 26 w 57"/>
                <a:gd name="T25" fmla="*/ 0 h 43"/>
                <a:gd name="T26" fmla="*/ 26 w 57"/>
                <a:gd name="T27" fmla="*/ 10 h 43"/>
                <a:gd name="T28" fmla="*/ 24 w 57"/>
                <a:gd name="T29" fmla="*/ 15 h 43"/>
                <a:gd name="T30" fmla="*/ 21 w 57"/>
                <a:gd name="T31" fmla="*/ 17 h 43"/>
                <a:gd name="T32" fmla="*/ 19 w 57"/>
                <a:gd name="T33" fmla="*/ 22 h 43"/>
                <a:gd name="T34" fmla="*/ 19 w 57"/>
                <a:gd name="T35" fmla="*/ 24 h 43"/>
                <a:gd name="T36" fmla="*/ 21 w 57"/>
                <a:gd name="T37" fmla="*/ 22 h 43"/>
                <a:gd name="T38" fmla="*/ 24 w 57"/>
                <a:gd name="T39" fmla="*/ 24 h 43"/>
                <a:gd name="T40" fmla="*/ 28 w 57"/>
                <a:gd name="T41" fmla="*/ 24 h 43"/>
                <a:gd name="T42" fmla="*/ 28 w 57"/>
                <a:gd name="T43" fmla="*/ 22 h 43"/>
                <a:gd name="T44" fmla="*/ 28 w 57"/>
                <a:gd name="T45" fmla="*/ 17 h 43"/>
                <a:gd name="T46" fmla="*/ 28 w 57"/>
                <a:gd name="T47" fmla="*/ 15 h 43"/>
                <a:gd name="T48" fmla="*/ 31 w 57"/>
                <a:gd name="T49" fmla="*/ 12 h 43"/>
                <a:gd name="T50" fmla="*/ 33 w 57"/>
                <a:gd name="T51" fmla="*/ 12 h 43"/>
                <a:gd name="T52" fmla="*/ 36 w 57"/>
                <a:gd name="T53" fmla="*/ 15 h 43"/>
                <a:gd name="T54" fmla="*/ 38 w 57"/>
                <a:gd name="T55" fmla="*/ 15 h 43"/>
                <a:gd name="T56" fmla="*/ 40 w 57"/>
                <a:gd name="T57" fmla="*/ 17 h 43"/>
                <a:gd name="T58" fmla="*/ 43 w 57"/>
                <a:gd name="T59" fmla="*/ 17 h 43"/>
                <a:gd name="T60" fmla="*/ 47 w 57"/>
                <a:gd name="T61" fmla="*/ 19 h 43"/>
                <a:gd name="T62" fmla="*/ 52 w 57"/>
                <a:gd name="T63" fmla="*/ 17 h 43"/>
                <a:gd name="T64" fmla="*/ 54 w 57"/>
                <a:gd name="T65" fmla="*/ 19 h 43"/>
                <a:gd name="T66" fmla="*/ 57 w 57"/>
                <a:gd name="T67" fmla="*/ 26 h 43"/>
                <a:gd name="T68" fmla="*/ 54 w 57"/>
                <a:gd name="T69" fmla="*/ 31 h 43"/>
                <a:gd name="T70" fmla="*/ 54 w 57"/>
                <a:gd name="T71" fmla="*/ 36 h 43"/>
                <a:gd name="T72" fmla="*/ 57 w 57"/>
                <a:gd name="T73" fmla="*/ 40 h 43"/>
                <a:gd name="T74" fmla="*/ 50 w 57"/>
                <a:gd name="T75" fmla="*/ 40 h 43"/>
                <a:gd name="T76" fmla="*/ 40 w 57"/>
                <a:gd name="T77" fmla="*/ 43 h 43"/>
                <a:gd name="T78" fmla="*/ 24 w 57"/>
                <a:gd name="T79" fmla="*/ 43 h 43"/>
                <a:gd name="T80" fmla="*/ 5 w 57"/>
                <a:gd name="T81" fmla="*/ 38 h 43"/>
                <a:gd name="T82" fmla="*/ 0 w 57"/>
                <a:gd name="T83"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43">
                  <a:moveTo>
                    <a:pt x="0" y="38"/>
                  </a:moveTo>
                  <a:lnTo>
                    <a:pt x="0" y="36"/>
                  </a:lnTo>
                  <a:lnTo>
                    <a:pt x="5" y="33"/>
                  </a:lnTo>
                  <a:lnTo>
                    <a:pt x="5" y="33"/>
                  </a:lnTo>
                  <a:lnTo>
                    <a:pt x="7" y="29"/>
                  </a:lnTo>
                  <a:lnTo>
                    <a:pt x="7" y="24"/>
                  </a:lnTo>
                  <a:lnTo>
                    <a:pt x="7" y="22"/>
                  </a:lnTo>
                  <a:lnTo>
                    <a:pt x="14" y="22"/>
                  </a:lnTo>
                  <a:lnTo>
                    <a:pt x="17" y="19"/>
                  </a:lnTo>
                  <a:lnTo>
                    <a:pt x="21" y="15"/>
                  </a:lnTo>
                  <a:lnTo>
                    <a:pt x="24" y="10"/>
                  </a:lnTo>
                  <a:lnTo>
                    <a:pt x="26" y="5"/>
                  </a:lnTo>
                  <a:lnTo>
                    <a:pt x="26" y="0"/>
                  </a:lnTo>
                  <a:lnTo>
                    <a:pt x="26" y="10"/>
                  </a:lnTo>
                  <a:lnTo>
                    <a:pt x="24" y="15"/>
                  </a:lnTo>
                  <a:lnTo>
                    <a:pt x="21" y="17"/>
                  </a:lnTo>
                  <a:lnTo>
                    <a:pt x="19" y="22"/>
                  </a:lnTo>
                  <a:lnTo>
                    <a:pt x="19" y="24"/>
                  </a:lnTo>
                  <a:lnTo>
                    <a:pt x="21" y="22"/>
                  </a:lnTo>
                  <a:lnTo>
                    <a:pt x="24" y="24"/>
                  </a:lnTo>
                  <a:lnTo>
                    <a:pt x="28" y="24"/>
                  </a:lnTo>
                  <a:lnTo>
                    <a:pt x="28" y="22"/>
                  </a:lnTo>
                  <a:lnTo>
                    <a:pt x="28" y="17"/>
                  </a:lnTo>
                  <a:lnTo>
                    <a:pt x="28" y="15"/>
                  </a:lnTo>
                  <a:lnTo>
                    <a:pt x="31" y="12"/>
                  </a:lnTo>
                  <a:lnTo>
                    <a:pt x="33" y="12"/>
                  </a:lnTo>
                  <a:lnTo>
                    <a:pt x="36" y="15"/>
                  </a:lnTo>
                  <a:lnTo>
                    <a:pt x="38" y="15"/>
                  </a:lnTo>
                  <a:lnTo>
                    <a:pt x="40" y="17"/>
                  </a:lnTo>
                  <a:lnTo>
                    <a:pt x="43" y="17"/>
                  </a:lnTo>
                  <a:lnTo>
                    <a:pt x="47" y="19"/>
                  </a:lnTo>
                  <a:lnTo>
                    <a:pt x="52" y="17"/>
                  </a:lnTo>
                  <a:lnTo>
                    <a:pt x="54" y="19"/>
                  </a:lnTo>
                  <a:lnTo>
                    <a:pt x="57" y="26"/>
                  </a:lnTo>
                  <a:lnTo>
                    <a:pt x="54" y="31"/>
                  </a:lnTo>
                  <a:lnTo>
                    <a:pt x="54" y="36"/>
                  </a:lnTo>
                  <a:lnTo>
                    <a:pt x="57" y="40"/>
                  </a:lnTo>
                  <a:lnTo>
                    <a:pt x="50" y="40"/>
                  </a:lnTo>
                  <a:lnTo>
                    <a:pt x="40" y="43"/>
                  </a:lnTo>
                  <a:lnTo>
                    <a:pt x="24" y="43"/>
                  </a:lnTo>
                  <a:lnTo>
                    <a:pt x="5" y="38"/>
                  </a:lnTo>
                  <a:lnTo>
                    <a:pt x="0" y="38"/>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1" name="Freeform 682">
              <a:extLst>
                <a:ext uri="{FF2B5EF4-FFF2-40B4-BE49-F238E27FC236}">
                  <a16:creationId xmlns:a16="http://schemas.microsoft.com/office/drawing/2014/main" id="{7F6EDBF5-E988-421D-A21D-199F647D8A13}"/>
                </a:ext>
              </a:extLst>
            </p:cNvPr>
            <p:cNvSpPr>
              <a:spLocks/>
            </p:cNvSpPr>
            <p:nvPr/>
          </p:nvSpPr>
          <p:spPr bwMode="auto">
            <a:xfrm>
              <a:off x="2242390" y="3554378"/>
              <a:ext cx="115887" cy="134937"/>
            </a:xfrm>
            <a:custGeom>
              <a:avLst/>
              <a:gdLst>
                <a:gd name="T0" fmla="*/ 69 w 73"/>
                <a:gd name="T1" fmla="*/ 31 h 85"/>
                <a:gd name="T2" fmla="*/ 73 w 73"/>
                <a:gd name="T3" fmla="*/ 24 h 85"/>
                <a:gd name="T4" fmla="*/ 69 w 73"/>
                <a:gd name="T5" fmla="*/ 0 h 85"/>
                <a:gd name="T6" fmla="*/ 52 w 73"/>
                <a:gd name="T7" fmla="*/ 10 h 85"/>
                <a:gd name="T8" fmla="*/ 45 w 73"/>
                <a:gd name="T9" fmla="*/ 12 h 85"/>
                <a:gd name="T10" fmla="*/ 31 w 73"/>
                <a:gd name="T11" fmla="*/ 22 h 85"/>
                <a:gd name="T12" fmla="*/ 28 w 73"/>
                <a:gd name="T13" fmla="*/ 22 h 85"/>
                <a:gd name="T14" fmla="*/ 24 w 73"/>
                <a:gd name="T15" fmla="*/ 22 h 85"/>
                <a:gd name="T16" fmla="*/ 24 w 73"/>
                <a:gd name="T17" fmla="*/ 22 h 85"/>
                <a:gd name="T18" fmla="*/ 19 w 73"/>
                <a:gd name="T19" fmla="*/ 19 h 85"/>
                <a:gd name="T20" fmla="*/ 17 w 73"/>
                <a:gd name="T21" fmla="*/ 17 h 85"/>
                <a:gd name="T22" fmla="*/ 17 w 73"/>
                <a:gd name="T23" fmla="*/ 15 h 85"/>
                <a:gd name="T24" fmla="*/ 14 w 73"/>
                <a:gd name="T25" fmla="*/ 15 h 85"/>
                <a:gd name="T26" fmla="*/ 12 w 73"/>
                <a:gd name="T27" fmla="*/ 15 h 85"/>
                <a:gd name="T28" fmla="*/ 9 w 73"/>
                <a:gd name="T29" fmla="*/ 22 h 85"/>
                <a:gd name="T30" fmla="*/ 9 w 73"/>
                <a:gd name="T31" fmla="*/ 22 h 85"/>
                <a:gd name="T32" fmla="*/ 9 w 73"/>
                <a:gd name="T33" fmla="*/ 22 h 85"/>
                <a:gd name="T34" fmla="*/ 9 w 73"/>
                <a:gd name="T35" fmla="*/ 24 h 85"/>
                <a:gd name="T36" fmla="*/ 9 w 73"/>
                <a:gd name="T37" fmla="*/ 26 h 85"/>
                <a:gd name="T38" fmla="*/ 9 w 73"/>
                <a:gd name="T39" fmla="*/ 31 h 85"/>
                <a:gd name="T40" fmla="*/ 9 w 73"/>
                <a:gd name="T41" fmla="*/ 33 h 85"/>
                <a:gd name="T42" fmla="*/ 9 w 73"/>
                <a:gd name="T43" fmla="*/ 36 h 85"/>
                <a:gd name="T44" fmla="*/ 9 w 73"/>
                <a:gd name="T45" fmla="*/ 38 h 85"/>
                <a:gd name="T46" fmla="*/ 9 w 73"/>
                <a:gd name="T47" fmla="*/ 38 h 85"/>
                <a:gd name="T48" fmla="*/ 9 w 73"/>
                <a:gd name="T49" fmla="*/ 41 h 85"/>
                <a:gd name="T50" fmla="*/ 7 w 73"/>
                <a:gd name="T51" fmla="*/ 45 h 85"/>
                <a:gd name="T52" fmla="*/ 9 w 73"/>
                <a:gd name="T53" fmla="*/ 48 h 85"/>
                <a:gd name="T54" fmla="*/ 5 w 73"/>
                <a:gd name="T55" fmla="*/ 52 h 85"/>
                <a:gd name="T56" fmla="*/ 5 w 73"/>
                <a:gd name="T57" fmla="*/ 59 h 85"/>
                <a:gd name="T58" fmla="*/ 2 w 73"/>
                <a:gd name="T59" fmla="*/ 76 h 85"/>
                <a:gd name="T60" fmla="*/ 0 w 73"/>
                <a:gd name="T61" fmla="*/ 78 h 85"/>
                <a:gd name="T62" fmla="*/ 0 w 73"/>
                <a:gd name="T63" fmla="*/ 81 h 85"/>
                <a:gd name="T64" fmla="*/ 0 w 73"/>
                <a:gd name="T65" fmla="*/ 81 h 85"/>
                <a:gd name="T66" fmla="*/ 2 w 73"/>
                <a:gd name="T67" fmla="*/ 83 h 85"/>
                <a:gd name="T68" fmla="*/ 21 w 73"/>
                <a:gd name="T69" fmla="*/ 85 h 85"/>
                <a:gd name="T70" fmla="*/ 26 w 73"/>
                <a:gd name="T71" fmla="*/ 81 h 85"/>
                <a:gd name="T72" fmla="*/ 26 w 73"/>
                <a:gd name="T73" fmla="*/ 81 h 85"/>
                <a:gd name="T74" fmla="*/ 31 w 73"/>
                <a:gd name="T75" fmla="*/ 71 h 85"/>
                <a:gd name="T76" fmla="*/ 45 w 73"/>
                <a:gd name="T77" fmla="*/ 69 h 85"/>
                <a:gd name="T78" fmla="*/ 45 w 73"/>
                <a:gd name="T79" fmla="*/ 67 h 85"/>
                <a:gd name="T80" fmla="*/ 47 w 73"/>
                <a:gd name="T81" fmla="*/ 62 h 85"/>
                <a:gd name="T82" fmla="*/ 54 w 73"/>
                <a:gd name="T83" fmla="*/ 57 h 85"/>
                <a:gd name="T84" fmla="*/ 54 w 73"/>
                <a:gd name="T85" fmla="*/ 57 h 85"/>
                <a:gd name="T86" fmla="*/ 38 w 73"/>
                <a:gd name="T87" fmla="*/ 41 h 85"/>
                <a:gd name="T88" fmla="*/ 35 w 73"/>
                <a:gd name="T89" fmla="*/ 38 h 85"/>
                <a:gd name="T90" fmla="*/ 47 w 73"/>
                <a:gd name="T91" fmla="*/ 36 h 85"/>
                <a:gd name="T92" fmla="*/ 69 w 73"/>
                <a:gd name="T93" fmla="*/ 3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3" h="85">
                  <a:moveTo>
                    <a:pt x="69" y="31"/>
                  </a:moveTo>
                  <a:lnTo>
                    <a:pt x="73" y="24"/>
                  </a:lnTo>
                  <a:lnTo>
                    <a:pt x="69" y="0"/>
                  </a:lnTo>
                  <a:lnTo>
                    <a:pt x="52" y="10"/>
                  </a:lnTo>
                  <a:lnTo>
                    <a:pt x="45" y="12"/>
                  </a:lnTo>
                  <a:lnTo>
                    <a:pt x="31" y="22"/>
                  </a:lnTo>
                  <a:lnTo>
                    <a:pt x="28" y="22"/>
                  </a:lnTo>
                  <a:lnTo>
                    <a:pt x="24" y="22"/>
                  </a:lnTo>
                  <a:lnTo>
                    <a:pt x="24" y="22"/>
                  </a:lnTo>
                  <a:lnTo>
                    <a:pt x="19" y="19"/>
                  </a:lnTo>
                  <a:lnTo>
                    <a:pt x="17" y="17"/>
                  </a:lnTo>
                  <a:lnTo>
                    <a:pt x="17" y="15"/>
                  </a:lnTo>
                  <a:lnTo>
                    <a:pt x="14" y="15"/>
                  </a:lnTo>
                  <a:lnTo>
                    <a:pt x="12" y="15"/>
                  </a:lnTo>
                  <a:lnTo>
                    <a:pt x="9" y="22"/>
                  </a:lnTo>
                  <a:lnTo>
                    <a:pt x="9" y="22"/>
                  </a:lnTo>
                  <a:lnTo>
                    <a:pt x="9" y="22"/>
                  </a:lnTo>
                  <a:lnTo>
                    <a:pt x="9" y="24"/>
                  </a:lnTo>
                  <a:lnTo>
                    <a:pt x="9" y="26"/>
                  </a:lnTo>
                  <a:lnTo>
                    <a:pt x="9" y="31"/>
                  </a:lnTo>
                  <a:lnTo>
                    <a:pt x="9" y="33"/>
                  </a:lnTo>
                  <a:lnTo>
                    <a:pt x="9" y="36"/>
                  </a:lnTo>
                  <a:lnTo>
                    <a:pt x="9" y="38"/>
                  </a:lnTo>
                  <a:lnTo>
                    <a:pt x="9" y="38"/>
                  </a:lnTo>
                  <a:lnTo>
                    <a:pt x="9" y="41"/>
                  </a:lnTo>
                  <a:lnTo>
                    <a:pt x="7" y="45"/>
                  </a:lnTo>
                  <a:lnTo>
                    <a:pt x="9" y="48"/>
                  </a:lnTo>
                  <a:lnTo>
                    <a:pt x="5" y="52"/>
                  </a:lnTo>
                  <a:lnTo>
                    <a:pt x="5" y="59"/>
                  </a:lnTo>
                  <a:lnTo>
                    <a:pt x="2" y="76"/>
                  </a:lnTo>
                  <a:lnTo>
                    <a:pt x="0" y="78"/>
                  </a:lnTo>
                  <a:lnTo>
                    <a:pt x="0" y="81"/>
                  </a:lnTo>
                  <a:lnTo>
                    <a:pt x="0" y="81"/>
                  </a:lnTo>
                  <a:lnTo>
                    <a:pt x="2" y="83"/>
                  </a:lnTo>
                  <a:lnTo>
                    <a:pt x="21" y="85"/>
                  </a:lnTo>
                  <a:lnTo>
                    <a:pt x="26" y="81"/>
                  </a:lnTo>
                  <a:lnTo>
                    <a:pt x="26" y="81"/>
                  </a:lnTo>
                  <a:lnTo>
                    <a:pt x="31" y="71"/>
                  </a:lnTo>
                  <a:lnTo>
                    <a:pt x="45" y="69"/>
                  </a:lnTo>
                  <a:lnTo>
                    <a:pt x="45" y="67"/>
                  </a:lnTo>
                  <a:lnTo>
                    <a:pt x="47" y="62"/>
                  </a:lnTo>
                  <a:lnTo>
                    <a:pt x="54" y="57"/>
                  </a:lnTo>
                  <a:lnTo>
                    <a:pt x="54" y="57"/>
                  </a:lnTo>
                  <a:lnTo>
                    <a:pt x="38" y="41"/>
                  </a:lnTo>
                  <a:lnTo>
                    <a:pt x="35" y="38"/>
                  </a:lnTo>
                  <a:lnTo>
                    <a:pt x="47" y="36"/>
                  </a:lnTo>
                  <a:lnTo>
                    <a:pt x="69" y="3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2" name="Freeform 683">
              <a:extLst>
                <a:ext uri="{FF2B5EF4-FFF2-40B4-BE49-F238E27FC236}">
                  <a16:creationId xmlns:a16="http://schemas.microsoft.com/office/drawing/2014/main" id="{1103ECFC-618C-4679-9EDE-F24346E8E138}"/>
                </a:ext>
              </a:extLst>
            </p:cNvPr>
            <p:cNvSpPr>
              <a:spLocks/>
            </p:cNvSpPr>
            <p:nvPr/>
          </p:nvSpPr>
          <p:spPr bwMode="auto">
            <a:xfrm>
              <a:off x="2242390" y="3554378"/>
              <a:ext cx="115887" cy="134937"/>
            </a:xfrm>
            <a:custGeom>
              <a:avLst/>
              <a:gdLst>
                <a:gd name="T0" fmla="*/ 69 w 73"/>
                <a:gd name="T1" fmla="*/ 31 h 85"/>
                <a:gd name="T2" fmla="*/ 73 w 73"/>
                <a:gd name="T3" fmla="*/ 24 h 85"/>
                <a:gd name="T4" fmla="*/ 69 w 73"/>
                <a:gd name="T5" fmla="*/ 0 h 85"/>
                <a:gd name="T6" fmla="*/ 52 w 73"/>
                <a:gd name="T7" fmla="*/ 10 h 85"/>
                <a:gd name="T8" fmla="*/ 45 w 73"/>
                <a:gd name="T9" fmla="*/ 12 h 85"/>
                <a:gd name="T10" fmla="*/ 31 w 73"/>
                <a:gd name="T11" fmla="*/ 22 h 85"/>
                <a:gd name="T12" fmla="*/ 28 w 73"/>
                <a:gd name="T13" fmla="*/ 22 h 85"/>
                <a:gd name="T14" fmla="*/ 24 w 73"/>
                <a:gd name="T15" fmla="*/ 22 h 85"/>
                <a:gd name="T16" fmla="*/ 24 w 73"/>
                <a:gd name="T17" fmla="*/ 22 h 85"/>
                <a:gd name="T18" fmla="*/ 19 w 73"/>
                <a:gd name="T19" fmla="*/ 19 h 85"/>
                <a:gd name="T20" fmla="*/ 17 w 73"/>
                <a:gd name="T21" fmla="*/ 17 h 85"/>
                <a:gd name="T22" fmla="*/ 17 w 73"/>
                <a:gd name="T23" fmla="*/ 15 h 85"/>
                <a:gd name="T24" fmla="*/ 14 w 73"/>
                <a:gd name="T25" fmla="*/ 15 h 85"/>
                <a:gd name="T26" fmla="*/ 12 w 73"/>
                <a:gd name="T27" fmla="*/ 15 h 85"/>
                <a:gd name="T28" fmla="*/ 9 w 73"/>
                <a:gd name="T29" fmla="*/ 22 h 85"/>
                <a:gd name="T30" fmla="*/ 9 w 73"/>
                <a:gd name="T31" fmla="*/ 22 h 85"/>
                <a:gd name="T32" fmla="*/ 9 w 73"/>
                <a:gd name="T33" fmla="*/ 22 h 85"/>
                <a:gd name="T34" fmla="*/ 9 w 73"/>
                <a:gd name="T35" fmla="*/ 24 h 85"/>
                <a:gd name="T36" fmla="*/ 9 w 73"/>
                <a:gd name="T37" fmla="*/ 26 h 85"/>
                <a:gd name="T38" fmla="*/ 9 w 73"/>
                <a:gd name="T39" fmla="*/ 31 h 85"/>
                <a:gd name="T40" fmla="*/ 9 w 73"/>
                <a:gd name="T41" fmla="*/ 33 h 85"/>
                <a:gd name="T42" fmla="*/ 9 w 73"/>
                <a:gd name="T43" fmla="*/ 36 h 85"/>
                <a:gd name="T44" fmla="*/ 9 w 73"/>
                <a:gd name="T45" fmla="*/ 38 h 85"/>
                <a:gd name="T46" fmla="*/ 9 w 73"/>
                <a:gd name="T47" fmla="*/ 38 h 85"/>
                <a:gd name="T48" fmla="*/ 9 w 73"/>
                <a:gd name="T49" fmla="*/ 41 h 85"/>
                <a:gd name="T50" fmla="*/ 7 w 73"/>
                <a:gd name="T51" fmla="*/ 45 h 85"/>
                <a:gd name="T52" fmla="*/ 9 w 73"/>
                <a:gd name="T53" fmla="*/ 48 h 85"/>
                <a:gd name="T54" fmla="*/ 5 w 73"/>
                <a:gd name="T55" fmla="*/ 52 h 85"/>
                <a:gd name="T56" fmla="*/ 5 w 73"/>
                <a:gd name="T57" fmla="*/ 59 h 85"/>
                <a:gd name="T58" fmla="*/ 2 w 73"/>
                <a:gd name="T59" fmla="*/ 76 h 85"/>
                <a:gd name="T60" fmla="*/ 0 w 73"/>
                <a:gd name="T61" fmla="*/ 78 h 85"/>
                <a:gd name="T62" fmla="*/ 0 w 73"/>
                <a:gd name="T63" fmla="*/ 81 h 85"/>
                <a:gd name="T64" fmla="*/ 0 w 73"/>
                <a:gd name="T65" fmla="*/ 81 h 85"/>
                <a:gd name="T66" fmla="*/ 2 w 73"/>
                <a:gd name="T67" fmla="*/ 83 h 85"/>
                <a:gd name="T68" fmla="*/ 21 w 73"/>
                <a:gd name="T69" fmla="*/ 85 h 85"/>
                <a:gd name="T70" fmla="*/ 26 w 73"/>
                <a:gd name="T71" fmla="*/ 81 h 85"/>
                <a:gd name="T72" fmla="*/ 26 w 73"/>
                <a:gd name="T73" fmla="*/ 81 h 85"/>
                <a:gd name="T74" fmla="*/ 31 w 73"/>
                <a:gd name="T75" fmla="*/ 71 h 85"/>
                <a:gd name="T76" fmla="*/ 45 w 73"/>
                <a:gd name="T77" fmla="*/ 69 h 85"/>
                <a:gd name="T78" fmla="*/ 45 w 73"/>
                <a:gd name="T79" fmla="*/ 67 h 85"/>
                <a:gd name="T80" fmla="*/ 47 w 73"/>
                <a:gd name="T81" fmla="*/ 62 h 85"/>
                <a:gd name="T82" fmla="*/ 54 w 73"/>
                <a:gd name="T83" fmla="*/ 57 h 85"/>
                <a:gd name="T84" fmla="*/ 54 w 73"/>
                <a:gd name="T85" fmla="*/ 57 h 85"/>
                <a:gd name="T86" fmla="*/ 38 w 73"/>
                <a:gd name="T87" fmla="*/ 41 h 85"/>
                <a:gd name="T88" fmla="*/ 35 w 73"/>
                <a:gd name="T89" fmla="*/ 38 h 85"/>
                <a:gd name="T90" fmla="*/ 47 w 73"/>
                <a:gd name="T91" fmla="*/ 36 h 85"/>
                <a:gd name="T92" fmla="*/ 69 w 73"/>
                <a:gd name="T93" fmla="*/ 3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3" h="85">
                  <a:moveTo>
                    <a:pt x="69" y="31"/>
                  </a:moveTo>
                  <a:lnTo>
                    <a:pt x="73" y="24"/>
                  </a:lnTo>
                  <a:lnTo>
                    <a:pt x="69" y="0"/>
                  </a:lnTo>
                  <a:lnTo>
                    <a:pt x="52" y="10"/>
                  </a:lnTo>
                  <a:lnTo>
                    <a:pt x="45" y="12"/>
                  </a:lnTo>
                  <a:lnTo>
                    <a:pt x="31" y="22"/>
                  </a:lnTo>
                  <a:lnTo>
                    <a:pt x="28" y="22"/>
                  </a:lnTo>
                  <a:lnTo>
                    <a:pt x="24" y="22"/>
                  </a:lnTo>
                  <a:lnTo>
                    <a:pt x="24" y="22"/>
                  </a:lnTo>
                  <a:lnTo>
                    <a:pt x="19" y="19"/>
                  </a:lnTo>
                  <a:lnTo>
                    <a:pt x="17" y="17"/>
                  </a:lnTo>
                  <a:lnTo>
                    <a:pt x="17" y="15"/>
                  </a:lnTo>
                  <a:lnTo>
                    <a:pt x="14" y="15"/>
                  </a:lnTo>
                  <a:lnTo>
                    <a:pt x="12" y="15"/>
                  </a:lnTo>
                  <a:lnTo>
                    <a:pt x="9" y="22"/>
                  </a:lnTo>
                  <a:lnTo>
                    <a:pt x="9" y="22"/>
                  </a:lnTo>
                  <a:lnTo>
                    <a:pt x="9" y="22"/>
                  </a:lnTo>
                  <a:lnTo>
                    <a:pt x="9" y="24"/>
                  </a:lnTo>
                  <a:lnTo>
                    <a:pt x="9" y="26"/>
                  </a:lnTo>
                  <a:lnTo>
                    <a:pt x="9" y="31"/>
                  </a:lnTo>
                  <a:lnTo>
                    <a:pt x="9" y="33"/>
                  </a:lnTo>
                  <a:lnTo>
                    <a:pt x="9" y="36"/>
                  </a:lnTo>
                  <a:lnTo>
                    <a:pt x="9" y="38"/>
                  </a:lnTo>
                  <a:lnTo>
                    <a:pt x="9" y="38"/>
                  </a:lnTo>
                  <a:lnTo>
                    <a:pt x="9" y="41"/>
                  </a:lnTo>
                  <a:lnTo>
                    <a:pt x="7" y="45"/>
                  </a:lnTo>
                  <a:lnTo>
                    <a:pt x="9" y="48"/>
                  </a:lnTo>
                  <a:lnTo>
                    <a:pt x="5" y="52"/>
                  </a:lnTo>
                  <a:lnTo>
                    <a:pt x="5" y="59"/>
                  </a:lnTo>
                  <a:lnTo>
                    <a:pt x="2" y="76"/>
                  </a:lnTo>
                  <a:lnTo>
                    <a:pt x="0" y="78"/>
                  </a:lnTo>
                  <a:lnTo>
                    <a:pt x="0" y="81"/>
                  </a:lnTo>
                  <a:lnTo>
                    <a:pt x="0" y="81"/>
                  </a:lnTo>
                  <a:lnTo>
                    <a:pt x="2" y="83"/>
                  </a:lnTo>
                  <a:lnTo>
                    <a:pt x="21" y="85"/>
                  </a:lnTo>
                  <a:lnTo>
                    <a:pt x="26" y="81"/>
                  </a:lnTo>
                  <a:lnTo>
                    <a:pt x="26" y="81"/>
                  </a:lnTo>
                  <a:lnTo>
                    <a:pt x="31" y="71"/>
                  </a:lnTo>
                  <a:lnTo>
                    <a:pt x="45" y="69"/>
                  </a:lnTo>
                  <a:lnTo>
                    <a:pt x="45" y="67"/>
                  </a:lnTo>
                  <a:lnTo>
                    <a:pt x="47" y="62"/>
                  </a:lnTo>
                  <a:lnTo>
                    <a:pt x="54" y="57"/>
                  </a:lnTo>
                  <a:lnTo>
                    <a:pt x="54" y="57"/>
                  </a:lnTo>
                  <a:lnTo>
                    <a:pt x="38" y="41"/>
                  </a:lnTo>
                  <a:lnTo>
                    <a:pt x="35" y="38"/>
                  </a:lnTo>
                  <a:lnTo>
                    <a:pt x="47" y="36"/>
                  </a:lnTo>
                  <a:lnTo>
                    <a:pt x="69" y="3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3" name="Rectangle 684">
              <a:extLst>
                <a:ext uri="{FF2B5EF4-FFF2-40B4-BE49-F238E27FC236}">
                  <a16:creationId xmlns:a16="http://schemas.microsoft.com/office/drawing/2014/main" id="{9F5DF581-5B51-4AD1-B532-118F89659E0B}"/>
                </a:ext>
              </a:extLst>
            </p:cNvPr>
            <p:cNvSpPr>
              <a:spLocks noChangeArrowheads="1"/>
            </p:cNvSpPr>
            <p:nvPr/>
          </p:nvSpPr>
          <p:spPr bwMode="auto">
            <a:xfrm>
              <a:off x="2256677" y="3589303"/>
              <a:ext cx="1588" cy="1587"/>
            </a:xfrm>
            <a:prstGeom prst="rect">
              <a:avLst/>
            </a:prstGeom>
            <a:grp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4" name="Freeform 685">
              <a:extLst>
                <a:ext uri="{FF2B5EF4-FFF2-40B4-BE49-F238E27FC236}">
                  <a16:creationId xmlns:a16="http://schemas.microsoft.com/office/drawing/2014/main" id="{636F1210-D115-452F-BC1C-314BE91B6B4E}"/>
                </a:ext>
              </a:extLst>
            </p:cNvPr>
            <p:cNvSpPr>
              <a:spLocks/>
            </p:cNvSpPr>
            <p:nvPr/>
          </p:nvSpPr>
          <p:spPr bwMode="auto">
            <a:xfrm>
              <a:off x="2256677" y="358930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5" name="Freeform 706">
              <a:extLst>
                <a:ext uri="{FF2B5EF4-FFF2-40B4-BE49-F238E27FC236}">
                  <a16:creationId xmlns:a16="http://schemas.microsoft.com/office/drawing/2014/main" id="{BA690612-C0B3-48A2-BA6F-0118995861BD}"/>
                </a:ext>
              </a:extLst>
            </p:cNvPr>
            <p:cNvSpPr>
              <a:spLocks/>
            </p:cNvSpPr>
            <p:nvPr/>
          </p:nvSpPr>
          <p:spPr bwMode="auto">
            <a:xfrm>
              <a:off x="1234329" y="2414552"/>
              <a:ext cx="14288" cy="41275"/>
            </a:xfrm>
            <a:custGeom>
              <a:avLst/>
              <a:gdLst>
                <a:gd name="T0" fmla="*/ 7 w 9"/>
                <a:gd name="T1" fmla="*/ 0 h 26"/>
                <a:gd name="T2" fmla="*/ 4 w 9"/>
                <a:gd name="T3" fmla="*/ 0 h 26"/>
                <a:gd name="T4" fmla="*/ 4 w 9"/>
                <a:gd name="T5" fmla="*/ 3 h 26"/>
                <a:gd name="T6" fmla="*/ 2 w 9"/>
                <a:gd name="T7" fmla="*/ 3 h 26"/>
                <a:gd name="T8" fmla="*/ 2 w 9"/>
                <a:gd name="T9" fmla="*/ 5 h 26"/>
                <a:gd name="T10" fmla="*/ 2 w 9"/>
                <a:gd name="T11" fmla="*/ 7 h 26"/>
                <a:gd name="T12" fmla="*/ 2 w 9"/>
                <a:gd name="T13" fmla="*/ 10 h 26"/>
                <a:gd name="T14" fmla="*/ 4 w 9"/>
                <a:gd name="T15" fmla="*/ 10 h 26"/>
                <a:gd name="T16" fmla="*/ 0 w 9"/>
                <a:gd name="T17" fmla="*/ 15 h 26"/>
                <a:gd name="T18" fmla="*/ 2 w 9"/>
                <a:gd name="T19" fmla="*/ 17 h 26"/>
                <a:gd name="T20" fmla="*/ 2 w 9"/>
                <a:gd name="T21" fmla="*/ 17 h 26"/>
                <a:gd name="T22" fmla="*/ 4 w 9"/>
                <a:gd name="T23" fmla="*/ 15 h 26"/>
                <a:gd name="T24" fmla="*/ 7 w 9"/>
                <a:gd name="T25" fmla="*/ 17 h 26"/>
                <a:gd name="T26" fmla="*/ 7 w 9"/>
                <a:gd name="T27" fmla="*/ 19 h 26"/>
                <a:gd name="T28" fmla="*/ 4 w 9"/>
                <a:gd name="T29" fmla="*/ 26 h 26"/>
                <a:gd name="T30" fmla="*/ 9 w 9"/>
                <a:gd name="T31" fmla="*/ 22 h 26"/>
                <a:gd name="T32" fmla="*/ 9 w 9"/>
                <a:gd name="T33" fmla="*/ 19 h 26"/>
                <a:gd name="T34" fmla="*/ 9 w 9"/>
                <a:gd name="T35" fmla="*/ 17 h 26"/>
                <a:gd name="T36" fmla="*/ 9 w 9"/>
                <a:gd name="T37" fmla="*/ 15 h 26"/>
                <a:gd name="T38" fmla="*/ 9 w 9"/>
                <a:gd name="T39" fmla="*/ 12 h 26"/>
                <a:gd name="T40" fmla="*/ 9 w 9"/>
                <a:gd name="T41" fmla="*/ 10 h 26"/>
                <a:gd name="T42" fmla="*/ 9 w 9"/>
                <a:gd name="T43" fmla="*/ 7 h 26"/>
                <a:gd name="T44" fmla="*/ 7 w 9"/>
                <a:gd name="T45" fmla="*/ 7 h 26"/>
                <a:gd name="T46" fmla="*/ 7 w 9"/>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26">
                  <a:moveTo>
                    <a:pt x="7" y="0"/>
                  </a:moveTo>
                  <a:lnTo>
                    <a:pt x="4" y="0"/>
                  </a:lnTo>
                  <a:lnTo>
                    <a:pt x="4" y="3"/>
                  </a:lnTo>
                  <a:lnTo>
                    <a:pt x="2" y="3"/>
                  </a:lnTo>
                  <a:lnTo>
                    <a:pt x="2" y="5"/>
                  </a:lnTo>
                  <a:lnTo>
                    <a:pt x="2" y="7"/>
                  </a:lnTo>
                  <a:lnTo>
                    <a:pt x="2" y="10"/>
                  </a:lnTo>
                  <a:lnTo>
                    <a:pt x="4" y="10"/>
                  </a:lnTo>
                  <a:lnTo>
                    <a:pt x="0" y="15"/>
                  </a:lnTo>
                  <a:lnTo>
                    <a:pt x="2" y="17"/>
                  </a:lnTo>
                  <a:lnTo>
                    <a:pt x="2" y="17"/>
                  </a:lnTo>
                  <a:lnTo>
                    <a:pt x="4" y="15"/>
                  </a:lnTo>
                  <a:lnTo>
                    <a:pt x="7" y="17"/>
                  </a:lnTo>
                  <a:lnTo>
                    <a:pt x="7" y="19"/>
                  </a:lnTo>
                  <a:lnTo>
                    <a:pt x="4" y="26"/>
                  </a:lnTo>
                  <a:lnTo>
                    <a:pt x="9" y="22"/>
                  </a:lnTo>
                  <a:lnTo>
                    <a:pt x="9" y="19"/>
                  </a:lnTo>
                  <a:lnTo>
                    <a:pt x="9" y="17"/>
                  </a:lnTo>
                  <a:lnTo>
                    <a:pt x="9" y="15"/>
                  </a:lnTo>
                  <a:lnTo>
                    <a:pt x="9" y="12"/>
                  </a:lnTo>
                  <a:lnTo>
                    <a:pt x="9" y="10"/>
                  </a:lnTo>
                  <a:lnTo>
                    <a:pt x="9" y="7"/>
                  </a:lnTo>
                  <a:lnTo>
                    <a:pt x="7" y="7"/>
                  </a:lnTo>
                  <a:lnTo>
                    <a:pt x="7"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6" name="Freeform 707">
              <a:extLst>
                <a:ext uri="{FF2B5EF4-FFF2-40B4-BE49-F238E27FC236}">
                  <a16:creationId xmlns:a16="http://schemas.microsoft.com/office/drawing/2014/main" id="{13AD3382-568D-43A1-82E2-655D5836E57F}"/>
                </a:ext>
              </a:extLst>
            </p:cNvPr>
            <p:cNvSpPr>
              <a:spLocks/>
            </p:cNvSpPr>
            <p:nvPr/>
          </p:nvSpPr>
          <p:spPr bwMode="auto">
            <a:xfrm>
              <a:off x="1234329" y="2414552"/>
              <a:ext cx="14288" cy="41275"/>
            </a:xfrm>
            <a:custGeom>
              <a:avLst/>
              <a:gdLst>
                <a:gd name="T0" fmla="*/ 7 w 9"/>
                <a:gd name="T1" fmla="*/ 0 h 26"/>
                <a:gd name="T2" fmla="*/ 4 w 9"/>
                <a:gd name="T3" fmla="*/ 0 h 26"/>
                <a:gd name="T4" fmla="*/ 4 w 9"/>
                <a:gd name="T5" fmla="*/ 3 h 26"/>
                <a:gd name="T6" fmla="*/ 2 w 9"/>
                <a:gd name="T7" fmla="*/ 3 h 26"/>
                <a:gd name="T8" fmla="*/ 2 w 9"/>
                <a:gd name="T9" fmla="*/ 5 h 26"/>
                <a:gd name="T10" fmla="*/ 2 w 9"/>
                <a:gd name="T11" fmla="*/ 7 h 26"/>
                <a:gd name="T12" fmla="*/ 2 w 9"/>
                <a:gd name="T13" fmla="*/ 10 h 26"/>
                <a:gd name="T14" fmla="*/ 4 w 9"/>
                <a:gd name="T15" fmla="*/ 10 h 26"/>
                <a:gd name="T16" fmla="*/ 0 w 9"/>
                <a:gd name="T17" fmla="*/ 15 h 26"/>
                <a:gd name="T18" fmla="*/ 2 w 9"/>
                <a:gd name="T19" fmla="*/ 17 h 26"/>
                <a:gd name="T20" fmla="*/ 2 w 9"/>
                <a:gd name="T21" fmla="*/ 17 h 26"/>
                <a:gd name="T22" fmla="*/ 4 w 9"/>
                <a:gd name="T23" fmla="*/ 15 h 26"/>
                <a:gd name="T24" fmla="*/ 7 w 9"/>
                <a:gd name="T25" fmla="*/ 17 h 26"/>
                <a:gd name="T26" fmla="*/ 7 w 9"/>
                <a:gd name="T27" fmla="*/ 19 h 26"/>
                <a:gd name="T28" fmla="*/ 4 w 9"/>
                <a:gd name="T29" fmla="*/ 26 h 26"/>
                <a:gd name="T30" fmla="*/ 9 w 9"/>
                <a:gd name="T31" fmla="*/ 22 h 26"/>
                <a:gd name="T32" fmla="*/ 9 w 9"/>
                <a:gd name="T33" fmla="*/ 19 h 26"/>
                <a:gd name="T34" fmla="*/ 9 w 9"/>
                <a:gd name="T35" fmla="*/ 17 h 26"/>
                <a:gd name="T36" fmla="*/ 9 w 9"/>
                <a:gd name="T37" fmla="*/ 15 h 26"/>
                <a:gd name="T38" fmla="*/ 9 w 9"/>
                <a:gd name="T39" fmla="*/ 12 h 26"/>
                <a:gd name="T40" fmla="*/ 9 w 9"/>
                <a:gd name="T41" fmla="*/ 10 h 26"/>
                <a:gd name="T42" fmla="*/ 9 w 9"/>
                <a:gd name="T43" fmla="*/ 7 h 26"/>
                <a:gd name="T44" fmla="*/ 7 w 9"/>
                <a:gd name="T45" fmla="*/ 7 h 26"/>
                <a:gd name="T46" fmla="*/ 7 w 9"/>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26">
                  <a:moveTo>
                    <a:pt x="7" y="0"/>
                  </a:moveTo>
                  <a:lnTo>
                    <a:pt x="4" y="0"/>
                  </a:lnTo>
                  <a:lnTo>
                    <a:pt x="4" y="3"/>
                  </a:lnTo>
                  <a:lnTo>
                    <a:pt x="2" y="3"/>
                  </a:lnTo>
                  <a:lnTo>
                    <a:pt x="2" y="5"/>
                  </a:lnTo>
                  <a:lnTo>
                    <a:pt x="2" y="7"/>
                  </a:lnTo>
                  <a:lnTo>
                    <a:pt x="2" y="10"/>
                  </a:lnTo>
                  <a:lnTo>
                    <a:pt x="4" y="10"/>
                  </a:lnTo>
                  <a:lnTo>
                    <a:pt x="0" y="15"/>
                  </a:lnTo>
                  <a:lnTo>
                    <a:pt x="2" y="17"/>
                  </a:lnTo>
                  <a:lnTo>
                    <a:pt x="2" y="17"/>
                  </a:lnTo>
                  <a:lnTo>
                    <a:pt x="4" y="15"/>
                  </a:lnTo>
                  <a:lnTo>
                    <a:pt x="7" y="17"/>
                  </a:lnTo>
                  <a:lnTo>
                    <a:pt x="7" y="19"/>
                  </a:lnTo>
                  <a:lnTo>
                    <a:pt x="4" y="26"/>
                  </a:lnTo>
                  <a:lnTo>
                    <a:pt x="9" y="22"/>
                  </a:lnTo>
                  <a:lnTo>
                    <a:pt x="9" y="19"/>
                  </a:lnTo>
                  <a:lnTo>
                    <a:pt x="9" y="17"/>
                  </a:lnTo>
                  <a:lnTo>
                    <a:pt x="9" y="15"/>
                  </a:lnTo>
                  <a:lnTo>
                    <a:pt x="9" y="12"/>
                  </a:lnTo>
                  <a:lnTo>
                    <a:pt x="9" y="10"/>
                  </a:lnTo>
                  <a:lnTo>
                    <a:pt x="9" y="7"/>
                  </a:lnTo>
                  <a:lnTo>
                    <a:pt x="7" y="7"/>
                  </a:lnTo>
                  <a:lnTo>
                    <a:pt x="7"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7" name="Freeform 708">
              <a:extLst>
                <a:ext uri="{FF2B5EF4-FFF2-40B4-BE49-F238E27FC236}">
                  <a16:creationId xmlns:a16="http://schemas.microsoft.com/office/drawing/2014/main" id="{AF67FFBE-EC00-4C25-8CA9-8B6A378E174B}"/>
                </a:ext>
              </a:extLst>
            </p:cNvPr>
            <p:cNvSpPr>
              <a:spLocks/>
            </p:cNvSpPr>
            <p:nvPr/>
          </p:nvSpPr>
          <p:spPr bwMode="auto">
            <a:xfrm>
              <a:off x="1083517" y="2535201"/>
              <a:ext cx="26988" cy="38100"/>
            </a:xfrm>
            <a:custGeom>
              <a:avLst/>
              <a:gdLst>
                <a:gd name="T0" fmla="*/ 14 w 17"/>
                <a:gd name="T1" fmla="*/ 0 h 24"/>
                <a:gd name="T2" fmla="*/ 12 w 17"/>
                <a:gd name="T3" fmla="*/ 0 h 24"/>
                <a:gd name="T4" fmla="*/ 10 w 17"/>
                <a:gd name="T5" fmla="*/ 2 h 24"/>
                <a:gd name="T6" fmla="*/ 5 w 17"/>
                <a:gd name="T7" fmla="*/ 7 h 24"/>
                <a:gd name="T8" fmla="*/ 5 w 17"/>
                <a:gd name="T9" fmla="*/ 7 h 24"/>
                <a:gd name="T10" fmla="*/ 5 w 17"/>
                <a:gd name="T11" fmla="*/ 9 h 24"/>
                <a:gd name="T12" fmla="*/ 5 w 17"/>
                <a:gd name="T13" fmla="*/ 9 h 24"/>
                <a:gd name="T14" fmla="*/ 2 w 17"/>
                <a:gd name="T15" fmla="*/ 7 h 24"/>
                <a:gd name="T16" fmla="*/ 0 w 17"/>
                <a:gd name="T17" fmla="*/ 12 h 24"/>
                <a:gd name="T18" fmla="*/ 0 w 17"/>
                <a:gd name="T19" fmla="*/ 14 h 24"/>
                <a:gd name="T20" fmla="*/ 2 w 17"/>
                <a:gd name="T21" fmla="*/ 19 h 24"/>
                <a:gd name="T22" fmla="*/ 0 w 17"/>
                <a:gd name="T23" fmla="*/ 21 h 24"/>
                <a:gd name="T24" fmla="*/ 0 w 17"/>
                <a:gd name="T25" fmla="*/ 21 h 24"/>
                <a:gd name="T26" fmla="*/ 2 w 17"/>
                <a:gd name="T27" fmla="*/ 24 h 24"/>
                <a:gd name="T28" fmla="*/ 5 w 17"/>
                <a:gd name="T29" fmla="*/ 21 h 24"/>
                <a:gd name="T30" fmla="*/ 5 w 17"/>
                <a:gd name="T31" fmla="*/ 19 h 24"/>
                <a:gd name="T32" fmla="*/ 7 w 17"/>
                <a:gd name="T33" fmla="*/ 19 h 24"/>
                <a:gd name="T34" fmla="*/ 7 w 17"/>
                <a:gd name="T35" fmla="*/ 16 h 24"/>
                <a:gd name="T36" fmla="*/ 10 w 17"/>
                <a:gd name="T37" fmla="*/ 16 h 24"/>
                <a:gd name="T38" fmla="*/ 12 w 17"/>
                <a:gd name="T39" fmla="*/ 14 h 24"/>
                <a:gd name="T40" fmla="*/ 12 w 17"/>
                <a:gd name="T41" fmla="*/ 12 h 24"/>
                <a:gd name="T42" fmla="*/ 12 w 17"/>
                <a:gd name="T43" fmla="*/ 12 h 24"/>
                <a:gd name="T44" fmla="*/ 12 w 17"/>
                <a:gd name="T45" fmla="*/ 12 h 24"/>
                <a:gd name="T46" fmla="*/ 12 w 17"/>
                <a:gd name="T47" fmla="*/ 9 h 24"/>
                <a:gd name="T48" fmla="*/ 14 w 17"/>
                <a:gd name="T49" fmla="*/ 9 h 24"/>
                <a:gd name="T50" fmla="*/ 17 w 17"/>
                <a:gd name="T51" fmla="*/ 7 h 24"/>
                <a:gd name="T52" fmla="*/ 14 w 17"/>
                <a:gd name="T53" fmla="*/ 7 h 24"/>
                <a:gd name="T54" fmla="*/ 14 w 17"/>
                <a:gd name="T55" fmla="*/ 7 h 24"/>
                <a:gd name="T56" fmla="*/ 14 w 17"/>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24">
                  <a:moveTo>
                    <a:pt x="14" y="0"/>
                  </a:moveTo>
                  <a:lnTo>
                    <a:pt x="12" y="0"/>
                  </a:lnTo>
                  <a:lnTo>
                    <a:pt x="10" y="2"/>
                  </a:lnTo>
                  <a:lnTo>
                    <a:pt x="5" y="7"/>
                  </a:lnTo>
                  <a:lnTo>
                    <a:pt x="5" y="7"/>
                  </a:lnTo>
                  <a:lnTo>
                    <a:pt x="5" y="9"/>
                  </a:lnTo>
                  <a:lnTo>
                    <a:pt x="5" y="9"/>
                  </a:lnTo>
                  <a:lnTo>
                    <a:pt x="2" y="7"/>
                  </a:lnTo>
                  <a:lnTo>
                    <a:pt x="0" y="12"/>
                  </a:lnTo>
                  <a:lnTo>
                    <a:pt x="0" y="14"/>
                  </a:lnTo>
                  <a:lnTo>
                    <a:pt x="2" y="19"/>
                  </a:lnTo>
                  <a:lnTo>
                    <a:pt x="0" y="21"/>
                  </a:lnTo>
                  <a:lnTo>
                    <a:pt x="0" y="21"/>
                  </a:lnTo>
                  <a:lnTo>
                    <a:pt x="2" y="24"/>
                  </a:lnTo>
                  <a:lnTo>
                    <a:pt x="5" y="21"/>
                  </a:lnTo>
                  <a:lnTo>
                    <a:pt x="5" y="19"/>
                  </a:lnTo>
                  <a:lnTo>
                    <a:pt x="7" y="19"/>
                  </a:lnTo>
                  <a:lnTo>
                    <a:pt x="7" y="16"/>
                  </a:lnTo>
                  <a:lnTo>
                    <a:pt x="10" y="16"/>
                  </a:lnTo>
                  <a:lnTo>
                    <a:pt x="12" y="14"/>
                  </a:lnTo>
                  <a:lnTo>
                    <a:pt x="12" y="12"/>
                  </a:lnTo>
                  <a:lnTo>
                    <a:pt x="12" y="12"/>
                  </a:lnTo>
                  <a:lnTo>
                    <a:pt x="12" y="12"/>
                  </a:lnTo>
                  <a:lnTo>
                    <a:pt x="12" y="9"/>
                  </a:lnTo>
                  <a:lnTo>
                    <a:pt x="14" y="9"/>
                  </a:lnTo>
                  <a:lnTo>
                    <a:pt x="17" y="7"/>
                  </a:lnTo>
                  <a:lnTo>
                    <a:pt x="14" y="7"/>
                  </a:lnTo>
                  <a:lnTo>
                    <a:pt x="14" y="7"/>
                  </a:lnTo>
                  <a:lnTo>
                    <a:pt x="14"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8" name="Freeform 709">
              <a:extLst>
                <a:ext uri="{FF2B5EF4-FFF2-40B4-BE49-F238E27FC236}">
                  <a16:creationId xmlns:a16="http://schemas.microsoft.com/office/drawing/2014/main" id="{63C5A2C2-03D8-4C35-9C91-420EEA79F50A}"/>
                </a:ext>
              </a:extLst>
            </p:cNvPr>
            <p:cNvSpPr>
              <a:spLocks/>
            </p:cNvSpPr>
            <p:nvPr/>
          </p:nvSpPr>
          <p:spPr bwMode="auto">
            <a:xfrm>
              <a:off x="1083517" y="2535201"/>
              <a:ext cx="26988" cy="38100"/>
            </a:xfrm>
            <a:custGeom>
              <a:avLst/>
              <a:gdLst>
                <a:gd name="T0" fmla="*/ 14 w 17"/>
                <a:gd name="T1" fmla="*/ 0 h 24"/>
                <a:gd name="T2" fmla="*/ 12 w 17"/>
                <a:gd name="T3" fmla="*/ 0 h 24"/>
                <a:gd name="T4" fmla="*/ 10 w 17"/>
                <a:gd name="T5" fmla="*/ 2 h 24"/>
                <a:gd name="T6" fmla="*/ 5 w 17"/>
                <a:gd name="T7" fmla="*/ 7 h 24"/>
                <a:gd name="T8" fmla="*/ 5 w 17"/>
                <a:gd name="T9" fmla="*/ 7 h 24"/>
                <a:gd name="T10" fmla="*/ 5 w 17"/>
                <a:gd name="T11" fmla="*/ 9 h 24"/>
                <a:gd name="T12" fmla="*/ 5 w 17"/>
                <a:gd name="T13" fmla="*/ 9 h 24"/>
                <a:gd name="T14" fmla="*/ 2 w 17"/>
                <a:gd name="T15" fmla="*/ 7 h 24"/>
                <a:gd name="T16" fmla="*/ 0 w 17"/>
                <a:gd name="T17" fmla="*/ 12 h 24"/>
                <a:gd name="T18" fmla="*/ 0 w 17"/>
                <a:gd name="T19" fmla="*/ 14 h 24"/>
                <a:gd name="T20" fmla="*/ 2 w 17"/>
                <a:gd name="T21" fmla="*/ 19 h 24"/>
                <a:gd name="T22" fmla="*/ 0 w 17"/>
                <a:gd name="T23" fmla="*/ 21 h 24"/>
                <a:gd name="T24" fmla="*/ 0 w 17"/>
                <a:gd name="T25" fmla="*/ 21 h 24"/>
                <a:gd name="T26" fmla="*/ 2 w 17"/>
                <a:gd name="T27" fmla="*/ 24 h 24"/>
                <a:gd name="T28" fmla="*/ 5 w 17"/>
                <a:gd name="T29" fmla="*/ 21 h 24"/>
                <a:gd name="T30" fmla="*/ 5 w 17"/>
                <a:gd name="T31" fmla="*/ 19 h 24"/>
                <a:gd name="T32" fmla="*/ 7 w 17"/>
                <a:gd name="T33" fmla="*/ 19 h 24"/>
                <a:gd name="T34" fmla="*/ 7 w 17"/>
                <a:gd name="T35" fmla="*/ 16 h 24"/>
                <a:gd name="T36" fmla="*/ 10 w 17"/>
                <a:gd name="T37" fmla="*/ 16 h 24"/>
                <a:gd name="T38" fmla="*/ 12 w 17"/>
                <a:gd name="T39" fmla="*/ 14 h 24"/>
                <a:gd name="T40" fmla="*/ 12 w 17"/>
                <a:gd name="T41" fmla="*/ 12 h 24"/>
                <a:gd name="T42" fmla="*/ 12 w 17"/>
                <a:gd name="T43" fmla="*/ 12 h 24"/>
                <a:gd name="T44" fmla="*/ 12 w 17"/>
                <a:gd name="T45" fmla="*/ 12 h 24"/>
                <a:gd name="T46" fmla="*/ 12 w 17"/>
                <a:gd name="T47" fmla="*/ 9 h 24"/>
                <a:gd name="T48" fmla="*/ 14 w 17"/>
                <a:gd name="T49" fmla="*/ 9 h 24"/>
                <a:gd name="T50" fmla="*/ 17 w 17"/>
                <a:gd name="T51" fmla="*/ 7 h 24"/>
                <a:gd name="T52" fmla="*/ 14 w 17"/>
                <a:gd name="T53" fmla="*/ 7 h 24"/>
                <a:gd name="T54" fmla="*/ 14 w 17"/>
                <a:gd name="T55" fmla="*/ 7 h 24"/>
                <a:gd name="T56" fmla="*/ 14 w 17"/>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24">
                  <a:moveTo>
                    <a:pt x="14" y="0"/>
                  </a:moveTo>
                  <a:lnTo>
                    <a:pt x="12" y="0"/>
                  </a:lnTo>
                  <a:lnTo>
                    <a:pt x="10" y="2"/>
                  </a:lnTo>
                  <a:lnTo>
                    <a:pt x="5" y="7"/>
                  </a:lnTo>
                  <a:lnTo>
                    <a:pt x="5" y="7"/>
                  </a:lnTo>
                  <a:lnTo>
                    <a:pt x="5" y="9"/>
                  </a:lnTo>
                  <a:lnTo>
                    <a:pt x="5" y="9"/>
                  </a:lnTo>
                  <a:lnTo>
                    <a:pt x="2" y="7"/>
                  </a:lnTo>
                  <a:lnTo>
                    <a:pt x="0" y="12"/>
                  </a:lnTo>
                  <a:lnTo>
                    <a:pt x="0" y="14"/>
                  </a:lnTo>
                  <a:lnTo>
                    <a:pt x="2" y="19"/>
                  </a:lnTo>
                  <a:lnTo>
                    <a:pt x="0" y="21"/>
                  </a:lnTo>
                  <a:lnTo>
                    <a:pt x="0" y="21"/>
                  </a:lnTo>
                  <a:lnTo>
                    <a:pt x="2" y="24"/>
                  </a:lnTo>
                  <a:lnTo>
                    <a:pt x="5" y="21"/>
                  </a:lnTo>
                  <a:lnTo>
                    <a:pt x="5" y="19"/>
                  </a:lnTo>
                  <a:lnTo>
                    <a:pt x="7" y="19"/>
                  </a:lnTo>
                  <a:lnTo>
                    <a:pt x="7" y="16"/>
                  </a:lnTo>
                  <a:lnTo>
                    <a:pt x="10" y="16"/>
                  </a:lnTo>
                  <a:lnTo>
                    <a:pt x="12" y="14"/>
                  </a:lnTo>
                  <a:lnTo>
                    <a:pt x="12" y="12"/>
                  </a:lnTo>
                  <a:lnTo>
                    <a:pt x="12" y="12"/>
                  </a:lnTo>
                  <a:lnTo>
                    <a:pt x="12" y="12"/>
                  </a:lnTo>
                  <a:lnTo>
                    <a:pt x="12" y="9"/>
                  </a:lnTo>
                  <a:lnTo>
                    <a:pt x="14" y="9"/>
                  </a:lnTo>
                  <a:lnTo>
                    <a:pt x="17" y="7"/>
                  </a:lnTo>
                  <a:lnTo>
                    <a:pt x="14" y="7"/>
                  </a:lnTo>
                  <a:lnTo>
                    <a:pt x="14" y="7"/>
                  </a:lnTo>
                  <a:lnTo>
                    <a:pt x="14"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19" name="Freeform 710">
              <a:extLst>
                <a:ext uri="{FF2B5EF4-FFF2-40B4-BE49-F238E27FC236}">
                  <a16:creationId xmlns:a16="http://schemas.microsoft.com/office/drawing/2014/main" id="{73C05536-7225-4FCC-8E18-F2974BCB2C9C}"/>
                </a:ext>
              </a:extLst>
            </p:cNvPr>
            <p:cNvSpPr>
              <a:spLocks/>
            </p:cNvSpPr>
            <p:nvPr/>
          </p:nvSpPr>
          <p:spPr bwMode="auto">
            <a:xfrm>
              <a:off x="1072404" y="2576477"/>
              <a:ext cx="11113" cy="7937"/>
            </a:xfrm>
            <a:custGeom>
              <a:avLst/>
              <a:gdLst>
                <a:gd name="T0" fmla="*/ 7 w 7"/>
                <a:gd name="T1" fmla="*/ 2 h 5"/>
                <a:gd name="T2" fmla="*/ 7 w 7"/>
                <a:gd name="T3" fmla="*/ 0 h 5"/>
                <a:gd name="T4" fmla="*/ 5 w 7"/>
                <a:gd name="T5" fmla="*/ 0 h 5"/>
                <a:gd name="T6" fmla="*/ 0 w 7"/>
                <a:gd name="T7" fmla="*/ 0 h 5"/>
                <a:gd name="T8" fmla="*/ 0 w 7"/>
                <a:gd name="T9" fmla="*/ 2 h 5"/>
                <a:gd name="T10" fmla="*/ 2 w 7"/>
                <a:gd name="T11" fmla="*/ 5 h 5"/>
                <a:gd name="T12" fmla="*/ 7 w 7"/>
                <a:gd name="T13" fmla="*/ 5 h 5"/>
                <a:gd name="T14" fmla="*/ 7 w 7"/>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7" y="2"/>
                  </a:moveTo>
                  <a:lnTo>
                    <a:pt x="7" y="0"/>
                  </a:lnTo>
                  <a:lnTo>
                    <a:pt x="5" y="0"/>
                  </a:lnTo>
                  <a:lnTo>
                    <a:pt x="0" y="0"/>
                  </a:lnTo>
                  <a:lnTo>
                    <a:pt x="0" y="2"/>
                  </a:lnTo>
                  <a:lnTo>
                    <a:pt x="2" y="5"/>
                  </a:lnTo>
                  <a:lnTo>
                    <a:pt x="7" y="5"/>
                  </a:lnTo>
                  <a:lnTo>
                    <a:pt x="7" y="2"/>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0" name="Freeform 711">
              <a:extLst>
                <a:ext uri="{FF2B5EF4-FFF2-40B4-BE49-F238E27FC236}">
                  <a16:creationId xmlns:a16="http://schemas.microsoft.com/office/drawing/2014/main" id="{B26BE604-3F54-429F-A87D-DE5B52DAA697}"/>
                </a:ext>
              </a:extLst>
            </p:cNvPr>
            <p:cNvSpPr>
              <a:spLocks/>
            </p:cNvSpPr>
            <p:nvPr/>
          </p:nvSpPr>
          <p:spPr bwMode="auto">
            <a:xfrm>
              <a:off x="1072404" y="2576477"/>
              <a:ext cx="11113" cy="7937"/>
            </a:xfrm>
            <a:custGeom>
              <a:avLst/>
              <a:gdLst>
                <a:gd name="T0" fmla="*/ 7 w 7"/>
                <a:gd name="T1" fmla="*/ 2 h 5"/>
                <a:gd name="T2" fmla="*/ 7 w 7"/>
                <a:gd name="T3" fmla="*/ 0 h 5"/>
                <a:gd name="T4" fmla="*/ 5 w 7"/>
                <a:gd name="T5" fmla="*/ 0 h 5"/>
                <a:gd name="T6" fmla="*/ 0 w 7"/>
                <a:gd name="T7" fmla="*/ 0 h 5"/>
                <a:gd name="T8" fmla="*/ 0 w 7"/>
                <a:gd name="T9" fmla="*/ 2 h 5"/>
                <a:gd name="T10" fmla="*/ 2 w 7"/>
                <a:gd name="T11" fmla="*/ 5 h 5"/>
                <a:gd name="T12" fmla="*/ 7 w 7"/>
                <a:gd name="T13" fmla="*/ 5 h 5"/>
                <a:gd name="T14" fmla="*/ 7 w 7"/>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7" y="2"/>
                  </a:moveTo>
                  <a:lnTo>
                    <a:pt x="7" y="0"/>
                  </a:lnTo>
                  <a:lnTo>
                    <a:pt x="5" y="0"/>
                  </a:lnTo>
                  <a:lnTo>
                    <a:pt x="0" y="0"/>
                  </a:lnTo>
                  <a:lnTo>
                    <a:pt x="0" y="2"/>
                  </a:lnTo>
                  <a:lnTo>
                    <a:pt x="2" y="5"/>
                  </a:lnTo>
                  <a:lnTo>
                    <a:pt x="7" y="5"/>
                  </a:lnTo>
                  <a:lnTo>
                    <a:pt x="7" y="2"/>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1" name="Freeform 712">
              <a:extLst>
                <a:ext uri="{FF2B5EF4-FFF2-40B4-BE49-F238E27FC236}">
                  <a16:creationId xmlns:a16="http://schemas.microsoft.com/office/drawing/2014/main" id="{99172F35-4E9C-486E-802A-081B812C1F95}"/>
                </a:ext>
              </a:extLst>
            </p:cNvPr>
            <p:cNvSpPr>
              <a:spLocks/>
            </p:cNvSpPr>
            <p:nvPr/>
          </p:nvSpPr>
          <p:spPr bwMode="auto">
            <a:xfrm>
              <a:off x="1188291" y="2497102"/>
              <a:ext cx="15875" cy="11112"/>
            </a:xfrm>
            <a:custGeom>
              <a:avLst/>
              <a:gdLst>
                <a:gd name="T0" fmla="*/ 10 w 10"/>
                <a:gd name="T1" fmla="*/ 7 h 7"/>
                <a:gd name="T2" fmla="*/ 10 w 10"/>
                <a:gd name="T3" fmla="*/ 7 h 7"/>
                <a:gd name="T4" fmla="*/ 10 w 10"/>
                <a:gd name="T5" fmla="*/ 5 h 7"/>
                <a:gd name="T6" fmla="*/ 5 w 10"/>
                <a:gd name="T7" fmla="*/ 5 h 7"/>
                <a:gd name="T8" fmla="*/ 3 w 10"/>
                <a:gd name="T9" fmla="*/ 3 h 7"/>
                <a:gd name="T10" fmla="*/ 3 w 10"/>
                <a:gd name="T11" fmla="*/ 0 h 7"/>
                <a:gd name="T12" fmla="*/ 0 w 10"/>
                <a:gd name="T13" fmla="*/ 0 h 7"/>
                <a:gd name="T14" fmla="*/ 0 w 10"/>
                <a:gd name="T15" fmla="*/ 3 h 7"/>
                <a:gd name="T16" fmla="*/ 0 w 10"/>
                <a:gd name="T17" fmla="*/ 5 h 7"/>
                <a:gd name="T18" fmla="*/ 3 w 10"/>
                <a:gd name="T19" fmla="*/ 7 h 7"/>
                <a:gd name="T20" fmla="*/ 5 w 10"/>
                <a:gd name="T21" fmla="*/ 7 h 7"/>
                <a:gd name="T22" fmla="*/ 10 w 10"/>
                <a:gd name="T23" fmla="*/ 7 h 7"/>
                <a:gd name="T24" fmla="*/ 10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10" y="7"/>
                  </a:moveTo>
                  <a:lnTo>
                    <a:pt x="10" y="7"/>
                  </a:lnTo>
                  <a:lnTo>
                    <a:pt x="10" y="5"/>
                  </a:lnTo>
                  <a:lnTo>
                    <a:pt x="5" y="5"/>
                  </a:lnTo>
                  <a:lnTo>
                    <a:pt x="3" y="3"/>
                  </a:lnTo>
                  <a:lnTo>
                    <a:pt x="3" y="0"/>
                  </a:lnTo>
                  <a:lnTo>
                    <a:pt x="0" y="0"/>
                  </a:lnTo>
                  <a:lnTo>
                    <a:pt x="0" y="3"/>
                  </a:lnTo>
                  <a:lnTo>
                    <a:pt x="0" y="5"/>
                  </a:lnTo>
                  <a:lnTo>
                    <a:pt x="3" y="7"/>
                  </a:lnTo>
                  <a:lnTo>
                    <a:pt x="5" y="7"/>
                  </a:lnTo>
                  <a:lnTo>
                    <a:pt x="10" y="7"/>
                  </a:lnTo>
                  <a:lnTo>
                    <a:pt x="10" y="7"/>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2" name="Freeform 713">
              <a:extLst>
                <a:ext uri="{FF2B5EF4-FFF2-40B4-BE49-F238E27FC236}">
                  <a16:creationId xmlns:a16="http://schemas.microsoft.com/office/drawing/2014/main" id="{6FACD43C-074A-4625-B410-098B531BFB08}"/>
                </a:ext>
              </a:extLst>
            </p:cNvPr>
            <p:cNvSpPr>
              <a:spLocks/>
            </p:cNvSpPr>
            <p:nvPr/>
          </p:nvSpPr>
          <p:spPr bwMode="auto">
            <a:xfrm>
              <a:off x="1188291" y="2497102"/>
              <a:ext cx="15875" cy="11112"/>
            </a:xfrm>
            <a:custGeom>
              <a:avLst/>
              <a:gdLst>
                <a:gd name="T0" fmla="*/ 10 w 10"/>
                <a:gd name="T1" fmla="*/ 7 h 7"/>
                <a:gd name="T2" fmla="*/ 10 w 10"/>
                <a:gd name="T3" fmla="*/ 7 h 7"/>
                <a:gd name="T4" fmla="*/ 10 w 10"/>
                <a:gd name="T5" fmla="*/ 5 h 7"/>
                <a:gd name="T6" fmla="*/ 5 w 10"/>
                <a:gd name="T7" fmla="*/ 5 h 7"/>
                <a:gd name="T8" fmla="*/ 3 w 10"/>
                <a:gd name="T9" fmla="*/ 3 h 7"/>
                <a:gd name="T10" fmla="*/ 3 w 10"/>
                <a:gd name="T11" fmla="*/ 0 h 7"/>
                <a:gd name="T12" fmla="*/ 0 w 10"/>
                <a:gd name="T13" fmla="*/ 0 h 7"/>
                <a:gd name="T14" fmla="*/ 0 w 10"/>
                <a:gd name="T15" fmla="*/ 3 h 7"/>
                <a:gd name="T16" fmla="*/ 0 w 10"/>
                <a:gd name="T17" fmla="*/ 5 h 7"/>
                <a:gd name="T18" fmla="*/ 3 w 10"/>
                <a:gd name="T19" fmla="*/ 7 h 7"/>
                <a:gd name="T20" fmla="*/ 5 w 10"/>
                <a:gd name="T21" fmla="*/ 7 h 7"/>
                <a:gd name="T22" fmla="*/ 10 w 10"/>
                <a:gd name="T23" fmla="*/ 7 h 7"/>
                <a:gd name="T24" fmla="*/ 10 w 10"/>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7">
                  <a:moveTo>
                    <a:pt x="10" y="7"/>
                  </a:moveTo>
                  <a:lnTo>
                    <a:pt x="10" y="7"/>
                  </a:lnTo>
                  <a:lnTo>
                    <a:pt x="10" y="5"/>
                  </a:lnTo>
                  <a:lnTo>
                    <a:pt x="5" y="5"/>
                  </a:lnTo>
                  <a:lnTo>
                    <a:pt x="3" y="3"/>
                  </a:lnTo>
                  <a:lnTo>
                    <a:pt x="3" y="0"/>
                  </a:lnTo>
                  <a:lnTo>
                    <a:pt x="0" y="0"/>
                  </a:lnTo>
                  <a:lnTo>
                    <a:pt x="0" y="3"/>
                  </a:lnTo>
                  <a:lnTo>
                    <a:pt x="0" y="5"/>
                  </a:lnTo>
                  <a:lnTo>
                    <a:pt x="3" y="7"/>
                  </a:lnTo>
                  <a:lnTo>
                    <a:pt x="5" y="7"/>
                  </a:lnTo>
                  <a:lnTo>
                    <a:pt x="10" y="7"/>
                  </a:lnTo>
                  <a:lnTo>
                    <a:pt x="10" y="7"/>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3" name="Freeform 714">
              <a:extLst>
                <a:ext uri="{FF2B5EF4-FFF2-40B4-BE49-F238E27FC236}">
                  <a16:creationId xmlns:a16="http://schemas.microsoft.com/office/drawing/2014/main" id="{E5FA2540-60B3-4A3E-812E-B22439F8D1C0}"/>
                </a:ext>
              </a:extLst>
            </p:cNvPr>
            <p:cNvSpPr>
              <a:spLocks/>
            </p:cNvSpPr>
            <p:nvPr/>
          </p:nvSpPr>
          <p:spPr bwMode="auto">
            <a:xfrm>
              <a:off x="1185117" y="2508215"/>
              <a:ext cx="7938" cy="7937"/>
            </a:xfrm>
            <a:custGeom>
              <a:avLst/>
              <a:gdLst>
                <a:gd name="T0" fmla="*/ 5 w 5"/>
                <a:gd name="T1" fmla="*/ 5 h 5"/>
                <a:gd name="T2" fmla="*/ 5 w 5"/>
                <a:gd name="T3" fmla="*/ 3 h 5"/>
                <a:gd name="T4" fmla="*/ 2 w 5"/>
                <a:gd name="T5" fmla="*/ 3 h 5"/>
                <a:gd name="T6" fmla="*/ 2 w 5"/>
                <a:gd name="T7" fmla="*/ 0 h 5"/>
                <a:gd name="T8" fmla="*/ 0 w 5"/>
                <a:gd name="T9" fmla="*/ 0 h 5"/>
                <a:gd name="T10" fmla="*/ 0 w 5"/>
                <a:gd name="T11" fmla="*/ 3 h 5"/>
                <a:gd name="T12" fmla="*/ 2 w 5"/>
                <a:gd name="T13" fmla="*/ 5 h 5"/>
                <a:gd name="T14" fmla="*/ 5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5"/>
                  </a:moveTo>
                  <a:lnTo>
                    <a:pt x="5" y="3"/>
                  </a:lnTo>
                  <a:lnTo>
                    <a:pt x="2" y="3"/>
                  </a:lnTo>
                  <a:lnTo>
                    <a:pt x="2" y="0"/>
                  </a:lnTo>
                  <a:lnTo>
                    <a:pt x="0" y="0"/>
                  </a:lnTo>
                  <a:lnTo>
                    <a:pt x="0" y="3"/>
                  </a:lnTo>
                  <a:lnTo>
                    <a:pt x="2" y="5"/>
                  </a:lnTo>
                  <a:lnTo>
                    <a:pt x="5" y="5"/>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4" name="Freeform 715">
              <a:extLst>
                <a:ext uri="{FF2B5EF4-FFF2-40B4-BE49-F238E27FC236}">
                  <a16:creationId xmlns:a16="http://schemas.microsoft.com/office/drawing/2014/main" id="{69CA55F7-0B6C-4B91-8A61-C0339F4E42C2}"/>
                </a:ext>
              </a:extLst>
            </p:cNvPr>
            <p:cNvSpPr>
              <a:spLocks/>
            </p:cNvSpPr>
            <p:nvPr/>
          </p:nvSpPr>
          <p:spPr bwMode="auto">
            <a:xfrm>
              <a:off x="1185117" y="2508215"/>
              <a:ext cx="7938" cy="7937"/>
            </a:xfrm>
            <a:custGeom>
              <a:avLst/>
              <a:gdLst>
                <a:gd name="T0" fmla="*/ 5 w 5"/>
                <a:gd name="T1" fmla="*/ 5 h 5"/>
                <a:gd name="T2" fmla="*/ 5 w 5"/>
                <a:gd name="T3" fmla="*/ 3 h 5"/>
                <a:gd name="T4" fmla="*/ 2 w 5"/>
                <a:gd name="T5" fmla="*/ 3 h 5"/>
                <a:gd name="T6" fmla="*/ 2 w 5"/>
                <a:gd name="T7" fmla="*/ 0 h 5"/>
                <a:gd name="T8" fmla="*/ 0 w 5"/>
                <a:gd name="T9" fmla="*/ 0 h 5"/>
                <a:gd name="T10" fmla="*/ 0 w 5"/>
                <a:gd name="T11" fmla="*/ 3 h 5"/>
                <a:gd name="T12" fmla="*/ 2 w 5"/>
                <a:gd name="T13" fmla="*/ 5 h 5"/>
                <a:gd name="T14" fmla="*/ 5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5"/>
                  </a:moveTo>
                  <a:lnTo>
                    <a:pt x="5" y="3"/>
                  </a:lnTo>
                  <a:lnTo>
                    <a:pt x="2" y="3"/>
                  </a:lnTo>
                  <a:lnTo>
                    <a:pt x="2" y="0"/>
                  </a:lnTo>
                  <a:lnTo>
                    <a:pt x="0" y="0"/>
                  </a:lnTo>
                  <a:lnTo>
                    <a:pt x="0" y="3"/>
                  </a:lnTo>
                  <a:lnTo>
                    <a:pt x="2" y="5"/>
                  </a:lnTo>
                  <a:lnTo>
                    <a:pt x="5" y="5"/>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5" name="Freeform 716">
              <a:extLst>
                <a:ext uri="{FF2B5EF4-FFF2-40B4-BE49-F238E27FC236}">
                  <a16:creationId xmlns:a16="http://schemas.microsoft.com/office/drawing/2014/main" id="{56FACD80-B05E-4D84-A284-DED45DF6D5DA}"/>
                </a:ext>
              </a:extLst>
            </p:cNvPr>
            <p:cNvSpPr>
              <a:spLocks/>
            </p:cNvSpPr>
            <p:nvPr/>
          </p:nvSpPr>
          <p:spPr bwMode="auto">
            <a:xfrm>
              <a:off x="1110504" y="2524089"/>
              <a:ext cx="217487" cy="412751"/>
            </a:xfrm>
            <a:custGeom>
              <a:avLst/>
              <a:gdLst>
                <a:gd name="T0" fmla="*/ 73 w 137"/>
                <a:gd name="T1" fmla="*/ 243 h 260"/>
                <a:gd name="T2" fmla="*/ 82 w 137"/>
                <a:gd name="T3" fmla="*/ 236 h 260"/>
                <a:gd name="T4" fmla="*/ 104 w 137"/>
                <a:gd name="T5" fmla="*/ 238 h 260"/>
                <a:gd name="T6" fmla="*/ 132 w 137"/>
                <a:gd name="T7" fmla="*/ 222 h 260"/>
                <a:gd name="T8" fmla="*/ 120 w 137"/>
                <a:gd name="T9" fmla="*/ 215 h 260"/>
                <a:gd name="T10" fmla="*/ 125 w 137"/>
                <a:gd name="T11" fmla="*/ 210 h 260"/>
                <a:gd name="T12" fmla="*/ 134 w 137"/>
                <a:gd name="T13" fmla="*/ 201 h 260"/>
                <a:gd name="T14" fmla="*/ 127 w 137"/>
                <a:gd name="T15" fmla="*/ 177 h 260"/>
                <a:gd name="T16" fmla="*/ 108 w 137"/>
                <a:gd name="T17" fmla="*/ 182 h 260"/>
                <a:gd name="T18" fmla="*/ 108 w 137"/>
                <a:gd name="T19" fmla="*/ 163 h 260"/>
                <a:gd name="T20" fmla="*/ 111 w 137"/>
                <a:gd name="T21" fmla="*/ 158 h 260"/>
                <a:gd name="T22" fmla="*/ 101 w 137"/>
                <a:gd name="T23" fmla="*/ 139 h 260"/>
                <a:gd name="T24" fmla="*/ 85 w 137"/>
                <a:gd name="T25" fmla="*/ 123 h 260"/>
                <a:gd name="T26" fmla="*/ 73 w 137"/>
                <a:gd name="T27" fmla="*/ 94 h 260"/>
                <a:gd name="T28" fmla="*/ 49 w 137"/>
                <a:gd name="T29" fmla="*/ 85 h 260"/>
                <a:gd name="T30" fmla="*/ 59 w 137"/>
                <a:gd name="T31" fmla="*/ 73 h 260"/>
                <a:gd name="T32" fmla="*/ 63 w 137"/>
                <a:gd name="T33" fmla="*/ 66 h 260"/>
                <a:gd name="T34" fmla="*/ 75 w 137"/>
                <a:gd name="T35" fmla="*/ 35 h 260"/>
                <a:gd name="T36" fmla="*/ 49 w 137"/>
                <a:gd name="T37" fmla="*/ 31 h 260"/>
                <a:gd name="T38" fmla="*/ 33 w 137"/>
                <a:gd name="T39" fmla="*/ 35 h 260"/>
                <a:gd name="T40" fmla="*/ 35 w 137"/>
                <a:gd name="T41" fmla="*/ 26 h 260"/>
                <a:gd name="T42" fmla="*/ 49 w 137"/>
                <a:gd name="T43" fmla="*/ 0 h 260"/>
                <a:gd name="T44" fmla="*/ 23 w 137"/>
                <a:gd name="T45" fmla="*/ 2 h 260"/>
                <a:gd name="T46" fmla="*/ 11 w 137"/>
                <a:gd name="T47" fmla="*/ 21 h 260"/>
                <a:gd name="T48" fmla="*/ 9 w 137"/>
                <a:gd name="T49" fmla="*/ 38 h 260"/>
                <a:gd name="T50" fmla="*/ 11 w 137"/>
                <a:gd name="T51" fmla="*/ 42 h 260"/>
                <a:gd name="T52" fmla="*/ 9 w 137"/>
                <a:gd name="T53" fmla="*/ 52 h 260"/>
                <a:gd name="T54" fmla="*/ 2 w 137"/>
                <a:gd name="T55" fmla="*/ 64 h 260"/>
                <a:gd name="T56" fmla="*/ 11 w 137"/>
                <a:gd name="T57" fmla="*/ 68 h 260"/>
                <a:gd name="T58" fmla="*/ 9 w 137"/>
                <a:gd name="T59" fmla="*/ 83 h 260"/>
                <a:gd name="T60" fmla="*/ 11 w 137"/>
                <a:gd name="T61" fmla="*/ 92 h 260"/>
                <a:gd name="T62" fmla="*/ 9 w 137"/>
                <a:gd name="T63" fmla="*/ 106 h 260"/>
                <a:gd name="T64" fmla="*/ 19 w 137"/>
                <a:gd name="T65" fmla="*/ 80 h 260"/>
                <a:gd name="T66" fmla="*/ 16 w 137"/>
                <a:gd name="T67" fmla="*/ 87 h 260"/>
                <a:gd name="T68" fmla="*/ 26 w 137"/>
                <a:gd name="T69" fmla="*/ 87 h 260"/>
                <a:gd name="T70" fmla="*/ 26 w 137"/>
                <a:gd name="T71" fmla="*/ 99 h 260"/>
                <a:gd name="T72" fmla="*/ 19 w 137"/>
                <a:gd name="T73" fmla="*/ 120 h 260"/>
                <a:gd name="T74" fmla="*/ 21 w 137"/>
                <a:gd name="T75" fmla="*/ 123 h 260"/>
                <a:gd name="T76" fmla="*/ 30 w 137"/>
                <a:gd name="T77" fmla="*/ 123 h 260"/>
                <a:gd name="T78" fmla="*/ 52 w 137"/>
                <a:gd name="T79" fmla="*/ 120 h 260"/>
                <a:gd name="T80" fmla="*/ 47 w 137"/>
                <a:gd name="T81" fmla="*/ 137 h 260"/>
                <a:gd name="T82" fmla="*/ 59 w 137"/>
                <a:gd name="T83" fmla="*/ 139 h 260"/>
                <a:gd name="T84" fmla="*/ 56 w 137"/>
                <a:gd name="T85" fmla="*/ 153 h 260"/>
                <a:gd name="T86" fmla="*/ 54 w 137"/>
                <a:gd name="T87" fmla="*/ 168 h 260"/>
                <a:gd name="T88" fmla="*/ 30 w 137"/>
                <a:gd name="T89" fmla="*/ 179 h 260"/>
                <a:gd name="T90" fmla="*/ 35 w 137"/>
                <a:gd name="T91" fmla="*/ 196 h 260"/>
                <a:gd name="T92" fmla="*/ 19 w 137"/>
                <a:gd name="T93" fmla="*/ 215 h 260"/>
                <a:gd name="T94" fmla="*/ 30 w 137"/>
                <a:gd name="T95" fmla="*/ 215 h 260"/>
                <a:gd name="T96" fmla="*/ 44 w 137"/>
                <a:gd name="T97" fmla="*/ 222 h 260"/>
                <a:gd name="T98" fmla="*/ 61 w 137"/>
                <a:gd name="T99" fmla="*/ 212 h 260"/>
                <a:gd name="T100" fmla="*/ 49 w 137"/>
                <a:gd name="T101" fmla="*/ 227 h 260"/>
                <a:gd name="T102" fmla="*/ 16 w 137"/>
                <a:gd name="T103" fmla="*/ 253 h 260"/>
                <a:gd name="T104" fmla="*/ 14 w 137"/>
                <a:gd name="T105" fmla="*/ 260 h 260"/>
                <a:gd name="T106" fmla="*/ 26 w 137"/>
                <a:gd name="T107" fmla="*/ 250 h 260"/>
                <a:gd name="T108" fmla="*/ 47 w 137"/>
                <a:gd name="T109" fmla="*/ 24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 h="260">
                  <a:moveTo>
                    <a:pt x="63" y="246"/>
                  </a:moveTo>
                  <a:lnTo>
                    <a:pt x="63" y="246"/>
                  </a:lnTo>
                  <a:lnTo>
                    <a:pt x="66" y="243"/>
                  </a:lnTo>
                  <a:lnTo>
                    <a:pt x="68" y="243"/>
                  </a:lnTo>
                  <a:lnTo>
                    <a:pt x="70" y="243"/>
                  </a:lnTo>
                  <a:lnTo>
                    <a:pt x="73" y="243"/>
                  </a:lnTo>
                  <a:lnTo>
                    <a:pt x="70" y="241"/>
                  </a:lnTo>
                  <a:lnTo>
                    <a:pt x="80" y="241"/>
                  </a:lnTo>
                  <a:lnTo>
                    <a:pt x="80" y="238"/>
                  </a:lnTo>
                  <a:lnTo>
                    <a:pt x="82" y="238"/>
                  </a:lnTo>
                  <a:lnTo>
                    <a:pt x="82" y="236"/>
                  </a:lnTo>
                  <a:lnTo>
                    <a:pt x="82" y="236"/>
                  </a:lnTo>
                  <a:lnTo>
                    <a:pt x="85" y="236"/>
                  </a:lnTo>
                  <a:lnTo>
                    <a:pt x="87" y="238"/>
                  </a:lnTo>
                  <a:lnTo>
                    <a:pt x="89" y="236"/>
                  </a:lnTo>
                  <a:lnTo>
                    <a:pt x="92" y="238"/>
                  </a:lnTo>
                  <a:lnTo>
                    <a:pt x="92" y="238"/>
                  </a:lnTo>
                  <a:lnTo>
                    <a:pt x="104" y="238"/>
                  </a:lnTo>
                  <a:lnTo>
                    <a:pt x="108" y="238"/>
                  </a:lnTo>
                  <a:lnTo>
                    <a:pt x="122" y="234"/>
                  </a:lnTo>
                  <a:lnTo>
                    <a:pt x="125" y="234"/>
                  </a:lnTo>
                  <a:lnTo>
                    <a:pt x="132" y="229"/>
                  </a:lnTo>
                  <a:lnTo>
                    <a:pt x="132" y="224"/>
                  </a:lnTo>
                  <a:lnTo>
                    <a:pt x="132" y="222"/>
                  </a:lnTo>
                  <a:lnTo>
                    <a:pt x="122" y="224"/>
                  </a:lnTo>
                  <a:lnTo>
                    <a:pt x="120" y="222"/>
                  </a:lnTo>
                  <a:lnTo>
                    <a:pt x="118" y="220"/>
                  </a:lnTo>
                  <a:lnTo>
                    <a:pt x="118" y="217"/>
                  </a:lnTo>
                  <a:lnTo>
                    <a:pt x="120" y="217"/>
                  </a:lnTo>
                  <a:lnTo>
                    <a:pt x="120" y="215"/>
                  </a:lnTo>
                  <a:lnTo>
                    <a:pt x="122" y="212"/>
                  </a:lnTo>
                  <a:lnTo>
                    <a:pt x="122" y="212"/>
                  </a:lnTo>
                  <a:lnTo>
                    <a:pt x="120" y="212"/>
                  </a:lnTo>
                  <a:lnTo>
                    <a:pt x="122" y="210"/>
                  </a:lnTo>
                  <a:lnTo>
                    <a:pt x="125" y="210"/>
                  </a:lnTo>
                  <a:lnTo>
                    <a:pt x="125" y="210"/>
                  </a:lnTo>
                  <a:lnTo>
                    <a:pt x="127" y="210"/>
                  </a:lnTo>
                  <a:lnTo>
                    <a:pt x="130" y="208"/>
                  </a:lnTo>
                  <a:lnTo>
                    <a:pt x="127" y="205"/>
                  </a:lnTo>
                  <a:lnTo>
                    <a:pt x="130" y="205"/>
                  </a:lnTo>
                  <a:lnTo>
                    <a:pt x="132" y="203"/>
                  </a:lnTo>
                  <a:lnTo>
                    <a:pt x="134" y="201"/>
                  </a:lnTo>
                  <a:lnTo>
                    <a:pt x="137" y="194"/>
                  </a:lnTo>
                  <a:lnTo>
                    <a:pt x="137" y="189"/>
                  </a:lnTo>
                  <a:lnTo>
                    <a:pt x="137" y="184"/>
                  </a:lnTo>
                  <a:lnTo>
                    <a:pt x="132" y="179"/>
                  </a:lnTo>
                  <a:lnTo>
                    <a:pt x="130" y="177"/>
                  </a:lnTo>
                  <a:lnTo>
                    <a:pt x="127" y="177"/>
                  </a:lnTo>
                  <a:lnTo>
                    <a:pt x="122" y="177"/>
                  </a:lnTo>
                  <a:lnTo>
                    <a:pt x="115" y="179"/>
                  </a:lnTo>
                  <a:lnTo>
                    <a:pt x="113" y="182"/>
                  </a:lnTo>
                  <a:lnTo>
                    <a:pt x="111" y="182"/>
                  </a:lnTo>
                  <a:lnTo>
                    <a:pt x="108" y="182"/>
                  </a:lnTo>
                  <a:lnTo>
                    <a:pt x="108" y="182"/>
                  </a:lnTo>
                  <a:lnTo>
                    <a:pt x="108" y="177"/>
                  </a:lnTo>
                  <a:lnTo>
                    <a:pt x="113" y="172"/>
                  </a:lnTo>
                  <a:lnTo>
                    <a:pt x="113" y="170"/>
                  </a:lnTo>
                  <a:lnTo>
                    <a:pt x="113" y="168"/>
                  </a:lnTo>
                  <a:lnTo>
                    <a:pt x="111" y="163"/>
                  </a:lnTo>
                  <a:lnTo>
                    <a:pt x="108" y="163"/>
                  </a:lnTo>
                  <a:lnTo>
                    <a:pt x="106" y="160"/>
                  </a:lnTo>
                  <a:lnTo>
                    <a:pt x="106" y="160"/>
                  </a:lnTo>
                  <a:lnTo>
                    <a:pt x="101" y="156"/>
                  </a:lnTo>
                  <a:lnTo>
                    <a:pt x="101" y="153"/>
                  </a:lnTo>
                  <a:lnTo>
                    <a:pt x="106" y="158"/>
                  </a:lnTo>
                  <a:lnTo>
                    <a:pt x="111" y="158"/>
                  </a:lnTo>
                  <a:lnTo>
                    <a:pt x="111" y="158"/>
                  </a:lnTo>
                  <a:lnTo>
                    <a:pt x="108" y="153"/>
                  </a:lnTo>
                  <a:lnTo>
                    <a:pt x="106" y="151"/>
                  </a:lnTo>
                  <a:lnTo>
                    <a:pt x="104" y="146"/>
                  </a:lnTo>
                  <a:lnTo>
                    <a:pt x="104" y="142"/>
                  </a:lnTo>
                  <a:lnTo>
                    <a:pt x="101" y="139"/>
                  </a:lnTo>
                  <a:lnTo>
                    <a:pt x="99" y="134"/>
                  </a:lnTo>
                  <a:lnTo>
                    <a:pt x="96" y="132"/>
                  </a:lnTo>
                  <a:lnTo>
                    <a:pt x="92" y="130"/>
                  </a:lnTo>
                  <a:lnTo>
                    <a:pt x="87" y="130"/>
                  </a:lnTo>
                  <a:lnTo>
                    <a:pt x="87" y="127"/>
                  </a:lnTo>
                  <a:lnTo>
                    <a:pt x="85" y="123"/>
                  </a:lnTo>
                  <a:lnTo>
                    <a:pt x="82" y="120"/>
                  </a:lnTo>
                  <a:lnTo>
                    <a:pt x="82" y="116"/>
                  </a:lnTo>
                  <a:lnTo>
                    <a:pt x="80" y="113"/>
                  </a:lnTo>
                  <a:lnTo>
                    <a:pt x="80" y="99"/>
                  </a:lnTo>
                  <a:lnTo>
                    <a:pt x="75" y="99"/>
                  </a:lnTo>
                  <a:lnTo>
                    <a:pt x="73" y="94"/>
                  </a:lnTo>
                  <a:lnTo>
                    <a:pt x="70" y="90"/>
                  </a:lnTo>
                  <a:lnTo>
                    <a:pt x="61" y="85"/>
                  </a:lnTo>
                  <a:lnTo>
                    <a:pt x="61" y="85"/>
                  </a:lnTo>
                  <a:lnTo>
                    <a:pt x="54" y="87"/>
                  </a:lnTo>
                  <a:lnTo>
                    <a:pt x="49" y="85"/>
                  </a:lnTo>
                  <a:lnTo>
                    <a:pt x="49" y="85"/>
                  </a:lnTo>
                  <a:lnTo>
                    <a:pt x="49" y="83"/>
                  </a:lnTo>
                  <a:lnTo>
                    <a:pt x="52" y="80"/>
                  </a:lnTo>
                  <a:lnTo>
                    <a:pt x="54" y="80"/>
                  </a:lnTo>
                  <a:lnTo>
                    <a:pt x="59" y="80"/>
                  </a:lnTo>
                  <a:lnTo>
                    <a:pt x="61" y="78"/>
                  </a:lnTo>
                  <a:lnTo>
                    <a:pt x="59" y="73"/>
                  </a:lnTo>
                  <a:lnTo>
                    <a:pt x="56" y="73"/>
                  </a:lnTo>
                  <a:lnTo>
                    <a:pt x="56" y="71"/>
                  </a:lnTo>
                  <a:lnTo>
                    <a:pt x="59" y="71"/>
                  </a:lnTo>
                  <a:lnTo>
                    <a:pt x="61" y="71"/>
                  </a:lnTo>
                  <a:lnTo>
                    <a:pt x="63" y="68"/>
                  </a:lnTo>
                  <a:lnTo>
                    <a:pt x="63" y="66"/>
                  </a:lnTo>
                  <a:lnTo>
                    <a:pt x="68" y="59"/>
                  </a:lnTo>
                  <a:lnTo>
                    <a:pt x="68" y="57"/>
                  </a:lnTo>
                  <a:lnTo>
                    <a:pt x="68" y="52"/>
                  </a:lnTo>
                  <a:lnTo>
                    <a:pt x="70" y="47"/>
                  </a:lnTo>
                  <a:lnTo>
                    <a:pt x="75" y="42"/>
                  </a:lnTo>
                  <a:lnTo>
                    <a:pt x="75" y="35"/>
                  </a:lnTo>
                  <a:lnTo>
                    <a:pt x="73" y="33"/>
                  </a:lnTo>
                  <a:lnTo>
                    <a:pt x="68" y="33"/>
                  </a:lnTo>
                  <a:lnTo>
                    <a:pt x="63" y="33"/>
                  </a:lnTo>
                  <a:lnTo>
                    <a:pt x="56" y="33"/>
                  </a:lnTo>
                  <a:lnTo>
                    <a:pt x="54" y="33"/>
                  </a:lnTo>
                  <a:lnTo>
                    <a:pt x="49" y="31"/>
                  </a:lnTo>
                  <a:lnTo>
                    <a:pt x="37" y="35"/>
                  </a:lnTo>
                  <a:lnTo>
                    <a:pt x="35" y="38"/>
                  </a:lnTo>
                  <a:lnTo>
                    <a:pt x="35" y="38"/>
                  </a:lnTo>
                  <a:lnTo>
                    <a:pt x="35" y="35"/>
                  </a:lnTo>
                  <a:lnTo>
                    <a:pt x="35" y="33"/>
                  </a:lnTo>
                  <a:lnTo>
                    <a:pt x="33" y="35"/>
                  </a:lnTo>
                  <a:lnTo>
                    <a:pt x="33" y="33"/>
                  </a:lnTo>
                  <a:lnTo>
                    <a:pt x="37" y="31"/>
                  </a:lnTo>
                  <a:lnTo>
                    <a:pt x="40" y="28"/>
                  </a:lnTo>
                  <a:lnTo>
                    <a:pt x="35" y="28"/>
                  </a:lnTo>
                  <a:lnTo>
                    <a:pt x="35" y="26"/>
                  </a:lnTo>
                  <a:lnTo>
                    <a:pt x="35" y="26"/>
                  </a:lnTo>
                  <a:lnTo>
                    <a:pt x="37" y="21"/>
                  </a:lnTo>
                  <a:lnTo>
                    <a:pt x="44" y="19"/>
                  </a:lnTo>
                  <a:lnTo>
                    <a:pt x="47" y="14"/>
                  </a:lnTo>
                  <a:lnTo>
                    <a:pt x="52" y="12"/>
                  </a:lnTo>
                  <a:lnTo>
                    <a:pt x="52" y="2"/>
                  </a:lnTo>
                  <a:lnTo>
                    <a:pt x="49" y="0"/>
                  </a:lnTo>
                  <a:lnTo>
                    <a:pt x="44" y="2"/>
                  </a:lnTo>
                  <a:lnTo>
                    <a:pt x="40" y="5"/>
                  </a:lnTo>
                  <a:lnTo>
                    <a:pt x="35" y="5"/>
                  </a:lnTo>
                  <a:lnTo>
                    <a:pt x="30" y="5"/>
                  </a:lnTo>
                  <a:lnTo>
                    <a:pt x="30" y="5"/>
                  </a:lnTo>
                  <a:lnTo>
                    <a:pt x="23" y="2"/>
                  </a:lnTo>
                  <a:lnTo>
                    <a:pt x="21" y="5"/>
                  </a:lnTo>
                  <a:lnTo>
                    <a:pt x="19" y="9"/>
                  </a:lnTo>
                  <a:lnTo>
                    <a:pt x="16" y="14"/>
                  </a:lnTo>
                  <a:lnTo>
                    <a:pt x="14" y="14"/>
                  </a:lnTo>
                  <a:lnTo>
                    <a:pt x="14" y="19"/>
                  </a:lnTo>
                  <a:lnTo>
                    <a:pt x="11" y="21"/>
                  </a:lnTo>
                  <a:lnTo>
                    <a:pt x="11" y="21"/>
                  </a:lnTo>
                  <a:lnTo>
                    <a:pt x="16" y="23"/>
                  </a:lnTo>
                  <a:lnTo>
                    <a:pt x="7" y="28"/>
                  </a:lnTo>
                  <a:lnTo>
                    <a:pt x="7" y="35"/>
                  </a:lnTo>
                  <a:lnTo>
                    <a:pt x="9" y="38"/>
                  </a:lnTo>
                  <a:lnTo>
                    <a:pt x="9" y="38"/>
                  </a:lnTo>
                  <a:lnTo>
                    <a:pt x="7" y="38"/>
                  </a:lnTo>
                  <a:lnTo>
                    <a:pt x="4" y="38"/>
                  </a:lnTo>
                  <a:lnTo>
                    <a:pt x="4" y="42"/>
                  </a:lnTo>
                  <a:lnTo>
                    <a:pt x="7" y="42"/>
                  </a:lnTo>
                  <a:lnTo>
                    <a:pt x="11" y="42"/>
                  </a:lnTo>
                  <a:lnTo>
                    <a:pt x="11" y="42"/>
                  </a:lnTo>
                  <a:lnTo>
                    <a:pt x="9" y="45"/>
                  </a:lnTo>
                  <a:lnTo>
                    <a:pt x="11" y="45"/>
                  </a:lnTo>
                  <a:lnTo>
                    <a:pt x="9" y="47"/>
                  </a:lnTo>
                  <a:lnTo>
                    <a:pt x="9" y="49"/>
                  </a:lnTo>
                  <a:lnTo>
                    <a:pt x="9" y="52"/>
                  </a:lnTo>
                  <a:lnTo>
                    <a:pt x="9" y="52"/>
                  </a:lnTo>
                  <a:lnTo>
                    <a:pt x="7" y="52"/>
                  </a:lnTo>
                  <a:lnTo>
                    <a:pt x="7" y="54"/>
                  </a:lnTo>
                  <a:lnTo>
                    <a:pt x="7" y="54"/>
                  </a:lnTo>
                  <a:lnTo>
                    <a:pt x="4" y="57"/>
                  </a:lnTo>
                  <a:lnTo>
                    <a:pt x="4" y="61"/>
                  </a:lnTo>
                  <a:lnTo>
                    <a:pt x="2" y="64"/>
                  </a:lnTo>
                  <a:lnTo>
                    <a:pt x="0" y="64"/>
                  </a:lnTo>
                  <a:lnTo>
                    <a:pt x="0" y="66"/>
                  </a:lnTo>
                  <a:lnTo>
                    <a:pt x="4" y="66"/>
                  </a:lnTo>
                  <a:lnTo>
                    <a:pt x="4" y="68"/>
                  </a:lnTo>
                  <a:lnTo>
                    <a:pt x="7" y="71"/>
                  </a:lnTo>
                  <a:lnTo>
                    <a:pt x="11" y="68"/>
                  </a:lnTo>
                  <a:lnTo>
                    <a:pt x="14" y="66"/>
                  </a:lnTo>
                  <a:lnTo>
                    <a:pt x="14" y="66"/>
                  </a:lnTo>
                  <a:lnTo>
                    <a:pt x="14" y="66"/>
                  </a:lnTo>
                  <a:lnTo>
                    <a:pt x="14" y="68"/>
                  </a:lnTo>
                  <a:lnTo>
                    <a:pt x="11" y="78"/>
                  </a:lnTo>
                  <a:lnTo>
                    <a:pt x="9" y="83"/>
                  </a:lnTo>
                  <a:lnTo>
                    <a:pt x="9" y="83"/>
                  </a:lnTo>
                  <a:lnTo>
                    <a:pt x="9" y="85"/>
                  </a:lnTo>
                  <a:lnTo>
                    <a:pt x="9" y="90"/>
                  </a:lnTo>
                  <a:lnTo>
                    <a:pt x="9" y="92"/>
                  </a:lnTo>
                  <a:lnTo>
                    <a:pt x="11" y="90"/>
                  </a:lnTo>
                  <a:lnTo>
                    <a:pt x="11" y="92"/>
                  </a:lnTo>
                  <a:lnTo>
                    <a:pt x="11" y="94"/>
                  </a:lnTo>
                  <a:lnTo>
                    <a:pt x="9" y="99"/>
                  </a:lnTo>
                  <a:lnTo>
                    <a:pt x="7" y="106"/>
                  </a:lnTo>
                  <a:lnTo>
                    <a:pt x="7" y="106"/>
                  </a:lnTo>
                  <a:lnTo>
                    <a:pt x="9" y="106"/>
                  </a:lnTo>
                  <a:lnTo>
                    <a:pt x="9" y="106"/>
                  </a:lnTo>
                  <a:lnTo>
                    <a:pt x="11" y="101"/>
                  </a:lnTo>
                  <a:lnTo>
                    <a:pt x="14" y="94"/>
                  </a:lnTo>
                  <a:lnTo>
                    <a:pt x="14" y="90"/>
                  </a:lnTo>
                  <a:lnTo>
                    <a:pt x="11" y="87"/>
                  </a:lnTo>
                  <a:lnTo>
                    <a:pt x="11" y="85"/>
                  </a:lnTo>
                  <a:lnTo>
                    <a:pt x="19" y="80"/>
                  </a:lnTo>
                  <a:lnTo>
                    <a:pt x="16" y="83"/>
                  </a:lnTo>
                  <a:lnTo>
                    <a:pt x="14" y="87"/>
                  </a:lnTo>
                  <a:lnTo>
                    <a:pt x="14" y="90"/>
                  </a:lnTo>
                  <a:lnTo>
                    <a:pt x="16" y="90"/>
                  </a:lnTo>
                  <a:lnTo>
                    <a:pt x="16" y="90"/>
                  </a:lnTo>
                  <a:lnTo>
                    <a:pt x="16" y="87"/>
                  </a:lnTo>
                  <a:lnTo>
                    <a:pt x="19" y="87"/>
                  </a:lnTo>
                  <a:lnTo>
                    <a:pt x="21" y="90"/>
                  </a:lnTo>
                  <a:lnTo>
                    <a:pt x="21" y="87"/>
                  </a:lnTo>
                  <a:lnTo>
                    <a:pt x="21" y="85"/>
                  </a:lnTo>
                  <a:lnTo>
                    <a:pt x="23" y="85"/>
                  </a:lnTo>
                  <a:lnTo>
                    <a:pt x="26" y="87"/>
                  </a:lnTo>
                  <a:lnTo>
                    <a:pt x="23" y="87"/>
                  </a:lnTo>
                  <a:lnTo>
                    <a:pt x="23" y="90"/>
                  </a:lnTo>
                  <a:lnTo>
                    <a:pt x="23" y="92"/>
                  </a:lnTo>
                  <a:lnTo>
                    <a:pt x="21" y="97"/>
                  </a:lnTo>
                  <a:lnTo>
                    <a:pt x="23" y="97"/>
                  </a:lnTo>
                  <a:lnTo>
                    <a:pt x="26" y="99"/>
                  </a:lnTo>
                  <a:lnTo>
                    <a:pt x="26" y="101"/>
                  </a:lnTo>
                  <a:lnTo>
                    <a:pt x="23" y="106"/>
                  </a:lnTo>
                  <a:lnTo>
                    <a:pt x="21" y="109"/>
                  </a:lnTo>
                  <a:lnTo>
                    <a:pt x="21" y="113"/>
                  </a:lnTo>
                  <a:lnTo>
                    <a:pt x="19" y="116"/>
                  </a:lnTo>
                  <a:lnTo>
                    <a:pt x="19" y="120"/>
                  </a:lnTo>
                  <a:lnTo>
                    <a:pt x="16" y="118"/>
                  </a:lnTo>
                  <a:lnTo>
                    <a:pt x="16" y="120"/>
                  </a:lnTo>
                  <a:lnTo>
                    <a:pt x="19" y="127"/>
                  </a:lnTo>
                  <a:lnTo>
                    <a:pt x="21" y="127"/>
                  </a:lnTo>
                  <a:lnTo>
                    <a:pt x="21" y="127"/>
                  </a:lnTo>
                  <a:lnTo>
                    <a:pt x="21" y="123"/>
                  </a:lnTo>
                  <a:lnTo>
                    <a:pt x="21" y="123"/>
                  </a:lnTo>
                  <a:lnTo>
                    <a:pt x="23" y="120"/>
                  </a:lnTo>
                  <a:lnTo>
                    <a:pt x="28" y="125"/>
                  </a:lnTo>
                  <a:lnTo>
                    <a:pt x="30" y="127"/>
                  </a:lnTo>
                  <a:lnTo>
                    <a:pt x="30" y="125"/>
                  </a:lnTo>
                  <a:lnTo>
                    <a:pt x="30" y="123"/>
                  </a:lnTo>
                  <a:lnTo>
                    <a:pt x="37" y="123"/>
                  </a:lnTo>
                  <a:lnTo>
                    <a:pt x="42" y="120"/>
                  </a:lnTo>
                  <a:lnTo>
                    <a:pt x="44" y="120"/>
                  </a:lnTo>
                  <a:lnTo>
                    <a:pt x="47" y="118"/>
                  </a:lnTo>
                  <a:lnTo>
                    <a:pt x="52" y="118"/>
                  </a:lnTo>
                  <a:lnTo>
                    <a:pt x="52" y="120"/>
                  </a:lnTo>
                  <a:lnTo>
                    <a:pt x="49" y="120"/>
                  </a:lnTo>
                  <a:lnTo>
                    <a:pt x="47" y="123"/>
                  </a:lnTo>
                  <a:lnTo>
                    <a:pt x="44" y="130"/>
                  </a:lnTo>
                  <a:lnTo>
                    <a:pt x="44" y="132"/>
                  </a:lnTo>
                  <a:lnTo>
                    <a:pt x="44" y="134"/>
                  </a:lnTo>
                  <a:lnTo>
                    <a:pt x="47" y="137"/>
                  </a:lnTo>
                  <a:lnTo>
                    <a:pt x="47" y="139"/>
                  </a:lnTo>
                  <a:lnTo>
                    <a:pt x="47" y="142"/>
                  </a:lnTo>
                  <a:lnTo>
                    <a:pt x="49" y="139"/>
                  </a:lnTo>
                  <a:lnTo>
                    <a:pt x="49" y="144"/>
                  </a:lnTo>
                  <a:lnTo>
                    <a:pt x="54" y="142"/>
                  </a:lnTo>
                  <a:lnTo>
                    <a:pt x="59" y="139"/>
                  </a:lnTo>
                  <a:lnTo>
                    <a:pt x="59" y="139"/>
                  </a:lnTo>
                  <a:lnTo>
                    <a:pt x="59" y="142"/>
                  </a:lnTo>
                  <a:lnTo>
                    <a:pt x="56" y="149"/>
                  </a:lnTo>
                  <a:lnTo>
                    <a:pt x="56" y="149"/>
                  </a:lnTo>
                  <a:lnTo>
                    <a:pt x="54" y="153"/>
                  </a:lnTo>
                  <a:lnTo>
                    <a:pt x="56" y="153"/>
                  </a:lnTo>
                  <a:lnTo>
                    <a:pt x="56" y="156"/>
                  </a:lnTo>
                  <a:lnTo>
                    <a:pt x="54" y="163"/>
                  </a:lnTo>
                  <a:lnTo>
                    <a:pt x="54" y="163"/>
                  </a:lnTo>
                  <a:lnTo>
                    <a:pt x="56" y="163"/>
                  </a:lnTo>
                  <a:lnTo>
                    <a:pt x="56" y="165"/>
                  </a:lnTo>
                  <a:lnTo>
                    <a:pt x="54" y="168"/>
                  </a:lnTo>
                  <a:lnTo>
                    <a:pt x="42" y="168"/>
                  </a:lnTo>
                  <a:lnTo>
                    <a:pt x="37" y="170"/>
                  </a:lnTo>
                  <a:lnTo>
                    <a:pt x="33" y="172"/>
                  </a:lnTo>
                  <a:lnTo>
                    <a:pt x="26" y="182"/>
                  </a:lnTo>
                  <a:lnTo>
                    <a:pt x="28" y="182"/>
                  </a:lnTo>
                  <a:lnTo>
                    <a:pt x="30" y="179"/>
                  </a:lnTo>
                  <a:lnTo>
                    <a:pt x="35" y="177"/>
                  </a:lnTo>
                  <a:lnTo>
                    <a:pt x="35" y="182"/>
                  </a:lnTo>
                  <a:lnTo>
                    <a:pt x="35" y="186"/>
                  </a:lnTo>
                  <a:lnTo>
                    <a:pt x="35" y="189"/>
                  </a:lnTo>
                  <a:lnTo>
                    <a:pt x="37" y="189"/>
                  </a:lnTo>
                  <a:lnTo>
                    <a:pt x="35" y="196"/>
                  </a:lnTo>
                  <a:lnTo>
                    <a:pt x="26" y="203"/>
                  </a:lnTo>
                  <a:lnTo>
                    <a:pt x="16" y="208"/>
                  </a:lnTo>
                  <a:lnTo>
                    <a:pt x="16" y="210"/>
                  </a:lnTo>
                  <a:lnTo>
                    <a:pt x="16" y="210"/>
                  </a:lnTo>
                  <a:lnTo>
                    <a:pt x="19" y="215"/>
                  </a:lnTo>
                  <a:lnTo>
                    <a:pt x="19" y="215"/>
                  </a:lnTo>
                  <a:lnTo>
                    <a:pt x="21" y="215"/>
                  </a:lnTo>
                  <a:lnTo>
                    <a:pt x="23" y="215"/>
                  </a:lnTo>
                  <a:lnTo>
                    <a:pt x="26" y="212"/>
                  </a:lnTo>
                  <a:lnTo>
                    <a:pt x="28" y="210"/>
                  </a:lnTo>
                  <a:lnTo>
                    <a:pt x="30" y="210"/>
                  </a:lnTo>
                  <a:lnTo>
                    <a:pt x="30" y="215"/>
                  </a:lnTo>
                  <a:lnTo>
                    <a:pt x="33" y="217"/>
                  </a:lnTo>
                  <a:lnTo>
                    <a:pt x="35" y="217"/>
                  </a:lnTo>
                  <a:lnTo>
                    <a:pt x="37" y="215"/>
                  </a:lnTo>
                  <a:lnTo>
                    <a:pt x="40" y="215"/>
                  </a:lnTo>
                  <a:lnTo>
                    <a:pt x="40" y="215"/>
                  </a:lnTo>
                  <a:lnTo>
                    <a:pt x="44" y="222"/>
                  </a:lnTo>
                  <a:lnTo>
                    <a:pt x="47" y="222"/>
                  </a:lnTo>
                  <a:lnTo>
                    <a:pt x="49" y="222"/>
                  </a:lnTo>
                  <a:lnTo>
                    <a:pt x="52" y="220"/>
                  </a:lnTo>
                  <a:lnTo>
                    <a:pt x="54" y="217"/>
                  </a:lnTo>
                  <a:lnTo>
                    <a:pt x="56" y="215"/>
                  </a:lnTo>
                  <a:lnTo>
                    <a:pt x="61" y="212"/>
                  </a:lnTo>
                  <a:lnTo>
                    <a:pt x="61" y="215"/>
                  </a:lnTo>
                  <a:lnTo>
                    <a:pt x="61" y="217"/>
                  </a:lnTo>
                  <a:lnTo>
                    <a:pt x="56" y="222"/>
                  </a:lnTo>
                  <a:lnTo>
                    <a:pt x="54" y="224"/>
                  </a:lnTo>
                  <a:lnTo>
                    <a:pt x="54" y="227"/>
                  </a:lnTo>
                  <a:lnTo>
                    <a:pt x="49" y="227"/>
                  </a:lnTo>
                  <a:lnTo>
                    <a:pt x="40" y="227"/>
                  </a:lnTo>
                  <a:lnTo>
                    <a:pt x="35" y="229"/>
                  </a:lnTo>
                  <a:lnTo>
                    <a:pt x="33" y="231"/>
                  </a:lnTo>
                  <a:lnTo>
                    <a:pt x="30" y="234"/>
                  </a:lnTo>
                  <a:lnTo>
                    <a:pt x="28" y="238"/>
                  </a:lnTo>
                  <a:lnTo>
                    <a:pt x="16" y="253"/>
                  </a:lnTo>
                  <a:lnTo>
                    <a:pt x="9" y="255"/>
                  </a:lnTo>
                  <a:lnTo>
                    <a:pt x="9" y="257"/>
                  </a:lnTo>
                  <a:lnTo>
                    <a:pt x="9" y="260"/>
                  </a:lnTo>
                  <a:lnTo>
                    <a:pt x="9" y="257"/>
                  </a:lnTo>
                  <a:lnTo>
                    <a:pt x="11" y="257"/>
                  </a:lnTo>
                  <a:lnTo>
                    <a:pt x="14" y="260"/>
                  </a:lnTo>
                  <a:lnTo>
                    <a:pt x="16" y="257"/>
                  </a:lnTo>
                  <a:lnTo>
                    <a:pt x="16" y="260"/>
                  </a:lnTo>
                  <a:lnTo>
                    <a:pt x="19" y="257"/>
                  </a:lnTo>
                  <a:lnTo>
                    <a:pt x="19" y="255"/>
                  </a:lnTo>
                  <a:lnTo>
                    <a:pt x="23" y="253"/>
                  </a:lnTo>
                  <a:lnTo>
                    <a:pt x="26" y="250"/>
                  </a:lnTo>
                  <a:lnTo>
                    <a:pt x="35" y="250"/>
                  </a:lnTo>
                  <a:lnTo>
                    <a:pt x="40" y="253"/>
                  </a:lnTo>
                  <a:lnTo>
                    <a:pt x="42" y="253"/>
                  </a:lnTo>
                  <a:lnTo>
                    <a:pt x="44" y="250"/>
                  </a:lnTo>
                  <a:lnTo>
                    <a:pt x="47" y="243"/>
                  </a:lnTo>
                  <a:lnTo>
                    <a:pt x="47" y="243"/>
                  </a:lnTo>
                  <a:lnTo>
                    <a:pt x="49" y="243"/>
                  </a:lnTo>
                  <a:lnTo>
                    <a:pt x="54" y="241"/>
                  </a:lnTo>
                  <a:lnTo>
                    <a:pt x="59" y="238"/>
                  </a:lnTo>
                  <a:lnTo>
                    <a:pt x="63" y="246"/>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6" name="Freeform 717">
              <a:extLst>
                <a:ext uri="{FF2B5EF4-FFF2-40B4-BE49-F238E27FC236}">
                  <a16:creationId xmlns:a16="http://schemas.microsoft.com/office/drawing/2014/main" id="{04A85EEF-D640-4AFC-A544-F1BAB3F2B476}"/>
                </a:ext>
              </a:extLst>
            </p:cNvPr>
            <p:cNvSpPr>
              <a:spLocks/>
            </p:cNvSpPr>
            <p:nvPr/>
          </p:nvSpPr>
          <p:spPr bwMode="auto">
            <a:xfrm>
              <a:off x="1110504" y="2524089"/>
              <a:ext cx="217487" cy="412751"/>
            </a:xfrm>
            <a:custGeom>
              <a:avLst/>
              <a:gdLst>
                <a:gd name="T0" fmla="*/ 73 w 137"/>
                <a:gd name="T1" fmla="*/ 243 h 260"/>
                <a:gd name="T2" fmla="*/ 82 w 137"/>
                <a:gd name="T3" fmla="*/ 236 h 260"/>
                <a:gd name="T4" fmla="*/ 104 w 137"/>
                <a:gd name="T5" fmla="*/ 238 h 260"/>
                <a:gd name="T6" fmla="*/ 132 w 137"/>
                <a:gd name="T7" fmla="*/ 222 h 260"/>
                <a:gd name="T8" fmla="*/ 120 w 137"/>
                <a:gd name="T9" fmla="*/ 215 h 260"/>
                <a:gd name="T10" fmla="*/ 125 w 137"/>
                <a:gd name="T11" fmla="*/ 210 h 260"/>
                <a:gd name="T12" fmla="*/ 134 w 137"/>
                <a:gd name="T13" fmla="*/ 201 h 260"/>
                <a:gd name="T14" fmla="*/ 127 w 137"/>
                <a:gd name="T15" fmla="*/ 177 h 260"/>
                <a:gd name="T16" fmla="*/ 108 w 137"/>
                <a:gd name="T17" fmla="*/ 182 h 260"/>
                <a:gd name="T18" fmla="*/ 108 w 137"/>
                <a:gd name="T19" fmla="*/ 163 h 260"/>
                <a:gd name="T20" fmla="*/ 111 w 137"/>
                <a:gd name="T21" fmla="*/ 158 h 260"/>
                <a:gd name="T22" fmla="*/ 101 w 137"/>
                <a:gd name="T23" fmla="*/ 139 h 260"/>
                <a:gd name="T24" fmla="*/ 85 w 137"/>
                <a:gd name="T25" fmla="*/ 123 h 260"/>
                <a:gd name="T26" fmla="*/ 73 w 137"/>
                <a:gd name="T27" fmla="*/ 94 h 260"/>
                <a:gd name="T28" fmla="*/ 49 w 137"/>
                <a:gd name="T29" fmla="*/ 85 h 260"/>
                <a:gd name="T30" fmla="*/ 59 w 137"/>
                <a:gd name="T31" fmla="*/ 73 h 260"/>
                <a:gd name="T32" fmla="*/ 63 w 137"/>
                <a:gd name="T33" fmla="*/ 66 h 260"/>
                <a:gd name="T34" fmla="*/ 75 w 137"/>
                <a:gd name="T35" fmla="*/ 35 h 260"/>
                <a:gd name="T36" fmla="*/ 49 w 137"/>
                <a:gd name="T37" fmla="*/ 31 h 260"/>
                <a:gd name="T38" fmla="*/ 33 w 137"/>
                <a:gd name="T39" fmla="*/ 35 h 260"/>
                <a:gd name="T40" fmla="*/ 35 w 137"/>
                <a:gd name="T41" fmla="*/ 26 h 260"/>
                <a:gd name="T42" fmla="*/ 49 w 137"/>
                <a:gd name="T43" fmla="*/ 0 h 260"/>
                <a:gd name="T44" fmla="*/ 23 w 137"/>
                <a:gd name="T45" fmla="*/ 2 h 260"/>
                <a:gd name="T46" fmla="*/ 11 w 137"/>
                <a:gd name="T47" fmla="*/ 21 h 260"/>
                <a:gd name="T48" fmla="*/ 9 w 137"/>
                <a:gd name="T49" fmla="*/ 38 h 260"/>
                <a:gd name="T50" fmla="*/ 11 w 137"/>
                <a:gd name="T51" fmla="*/ 42 h 260"/>
                <a:gd name="T52" fmla="*/ 9 w 137"/>
                <a:gd name="T53" fmla="*/ 52 h 260"/>
                <a:gd name="T54" fmla="*/ 2 w 137"/>
                <a:gd name="T55" fmla="*/ 64 h 260"/>
                <a:gd name="T56" fmla="*/ 11 w 137"/>
                <a:gd name="T57" fmla="*/ 68 h 260"/>
                <a:gd name="T58" fmla="*/ 9 w 137"/>
                <a:gd name="T59" fmla="*/ 83 h 260"/>
                <a:gd name="T60" fmla="*/ 11 w 137"/>
                <a:gd name="T61" fmla="*/ 92 h 260"/>
                <a:gd name="T62" fmla="*/ 9 w 137"/>
                <a:gd name="T63" fmla="*/ 106 h 260"/>
                <a:gd name="T64" fmla="*/ 19 w 137"/>
                <a:gd name="T65" fmla="*/ 80 h 260"/>
                <a:gd name="T66" fmla="*/ 16 w 137"/>
                <a:gd name="T67" fmla="*/ 87 h 260"/>
                <a:gd name="T68" fmla="*/ 26 w 137"/>
                <a:gd name="T69" fmla="*/ 87 h 260"/>
                <a:gd name="T70" fmla="*/ 26 w 137"/>
                <a:gd name="T71" fmla="*/ 99 h 260"/>
                <a:gd name="T72" fmla="*/ 19 w 137"/>
                <a:gd name="T73" fmla="*/ 120 h 260"/>
                <a:gd name="T74" fmla="*/ 21 w 137"/>
                <a:gd name="T75" fmla="*/ 123 h 260"/>
                <a:gd name="T76" fmla="*/ 30 w 137"/>
                <a:gd name="T77" fmla="*/ 123 h 260"/>
                <a:gd name="T78" fmla="*/ 52 w 137"/>
                <a:gd name="T79" fmla="*/ 120 h 260"/>
                <a:gd name="T80" fmla="*/ 47 w 137"/>
                <a:gd name="T81" fmla="*/ 137 h 260"/>
                <a:gd name="T82" fmla="*/ 59 w 137"/>
                <a:gd name="T83" fmla="*/ 139 h 260"/>
                <a:gd name="T84" fmla="*/ 56 w 137"/>
                <a:gd name="T85" fmla="*/ 153 h 260"/>
                <a:gd name="T86" fmla="*/ 54 w 137"/>
                <a:gd name="T87" fmla="*/ 168 h 260"/>
                <a:gd name="T88" fmla="*/ 30 w 137"/>
                <a:gd name="T89" fmla="*/ 179 h 260"/>
                <a:gd name="T90" fmla="*/ 35 w 137"/>
                <a:gd name="T91" fmla="*/ 196 h 260"/>
                <a:gd name="T92" fmla="*/ 19 w 137"/>
                <a:gd name="T93" fmla="*/ 215 h 260"/>
                <a:gd name="T94" fmla="*/ 30 w 137"/>
                <a:gd name="T95" fmla="*/ 215 h 260"/>
                <a:gd name="T96" fmla="*/ 44 w 137"/>
                <a:gd name="T97" fmla="*/ 222 h 260"/>
                <a:gd name="T98" fmla="*/ 61 w 137"/>
                <a:gd name="T99" fmla="*/ 212 h 260"/>
                <a:gd name="T100" fmla="*/ 49 w 137"/>
                <a:gd name="T101" fmla="*/ 227 h 260"/>
                <a:gd name="T102" fmla="*/ 16 w 137"/>
                <a:gd name="T103" fmla="*/ 253 h 260"/>
                <a:gd name="T104" fmla="*/ 14 w 137"/>
                <a:gd name="T105" fmla="*/ 260 h 260"/>
                <a:gd name="T106" fmla="*/ 26 w 137"/>
                <a:gd name="T107" fmla="*/ 250 h 260"/>
                <a:gd name="T108" fmla="*/ 47 w 137"/>
                <a:gd name="T109" fmla="*/ 24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 h="260">
                  <a:moveTo>
                    <a:pt x="63" y="246"/>
                  </a:moveTo>
                  <a:lnTo>
                    <a:pt x="63" y="246"/>
                  </a:lnTo>
                  <a:lnTo>
                    <a:pt x="66" y="243"/>
                  </a:lnTo>
                  <a:lnTo>
                    <a:pt x="68" y="243"/>
                  </a:lnTo>
                  <a:lnTo>
                    <a:pt x="70" y="243"/>
                  </a:lnTo>
                  <a:lnTo>
                    <a:pt x="73" y="243"/>
                  </a:lnTo>
                  <a:lnTo>
                    <a:pt x="70" y="241"/>
                  </a:lnTo>
                  <a:lnTo>
                    <a:pt x="80" y="241"/>
                  </a:lnTo>
                  <a:lnTo>
                    <a:pt x="80" y="238"/>
                  </a:lnTo>
                  <a:lnTo>
                    <a:pt x="82" y="238"/>
                  </a:lnTo>
                  <a:lnTo>
                    <a:pt x="82" y="236"/>
                  </a:lnTo>
                  <a:lnTo>
                    <a:pt x="82" y="236"/>
                  </a:lnTo>
                  <a:lnTo>
                    <a:pt x="85" y="236"/>
                  </a:lnTo>
                  <a:lnTo>
                    <a:pt x="87" y="238"/>
                  </a:lnTo>
                  <a:lnTo>
                    <a:pt x="89" y="236"/>
                  </a:lnTo>
                  <a:lnTo>
                    <a:pt x="92" y="238"/>
                  </a:lnTo>
                  <a:lnTo>
                    <a:pt x="92" y="238"/>
                  </a:lnTo>
                  <a:lnTo>
                    <a:pt x="104" y="238"/>
                  </a:lnTo>
                  <a:lnTo>
                    <a:pt x="108" y="238"/>
                  </a:lnTo>
                  <a:lnTo>
                    <a:pt x="122" y="234"/>
                  </a:lnTo>
                  <a:lnTo>
                    <a:pt x="125" y="234"/>
                  </a:lnTo>
                  <a:lnTo>
                    <a:pt x="132" y="229"/>
                  </a:lnTo>
                  <a:lnTo>
                    <a:pt x="132" y="224"/>
                  </a:lnTo>
                  <a:lnTo>
                    <a:pt x="132" y="222"/>
                  </a:lnTo>
                  <a:lnTo>
                    <a:pt x="122" y="224"/>
                  </a:lnTo>
                  <a:lnTo>
                    <a:pt x="120" y="222"/>
                  </a:lnTo>
                  <a:lnTo>
                    <a:pt x="118" y="220"/>
                  </a:lnTo>
                  <a:lnTo>
                    <a:pt x="118" y="217"/>
                  </a:lnTo>
                  <a:lnTo>
                    <a:pt x="120" y="217"/>
                  </a:lnTo>
                  <a:lnTo>
                    <a:pt x="120" y="215"/>
                  </a:lnTo>
                  <a:lnTo>
                    <a:pt x="122" y="212"/>
                  </a:lnTo>
                  <a:lnTo>
                    <a:pt x="122" y="212"/>
                  </a:lnTo>
                  <a:lnTo>
                    <a:pt x="120" y="212"/>
                  </a:lnTo>
                  <a:lnTo>
                    <a:pt x="122" y="210"/>
                  </a:lnTo>
                  <a:lnTo>
                    <a:pt x="125" y="210"/>
                  </a:lnTo>
                  <a:lnTo>
                    <a:pt x="125" y="210"/>
                  </a:lnTo>
                  <a:lnTo>
                    <a:pt x="127" y="210"/>
                  </a:lnTo>
                  <a:lnTo>
                    <a:pt x="130" y="208"/>
                  </a:lnTo>
                  <a:lnTo>
                    <a:pt x="127" y="205"/>
                  </a:lnTo>
                  <a:lnTo>
                    <a:pt x="130" y="205"/>
                  </a:lnTo>
                  <a:lnTo>
                    <a:pt x="132" y="203"/>
                  </a:lnTo>
                  <a:lnTo>
                    <a:pt x="134" y="201"/>
                  </a:lnTo>
                  <a:lnTo>
                    <a:pt x="137" y="194"/>
                  </a:lnTo>
                  <a:lnTo>
                    <a:pt x="137" y="189"/>
                  </a:lnTo>
                  <a:lnTo>
                    <a:pt x="137" y="184"/>
                  </a:lnTo>
                  <a:lnTo>
                    <a:pt x="132" y="179"/>
                  </a:lnTo>
                  <a:lnTo>
                    <a:pt x="130" y="177"/>
                  </a:lnTo>
                  <a:lnTo>
                    <a:pt x="127" y="177"/>
                  </a:lnTo>
                  <a:lnTo>
                    <a:pt x="122" y="177"/>
                  </a:lnTo>
                  <a:lnTo>
                    <a:pt x="115" y="179"/>
                  </a:lnTo>
                  <a:lnTo>
                    <a:pt x="113" y="182"/>
                  </a:lnTo>
                  <a:lnTo>
                    <a:pt x="111" y="182"/>
                  </a:lnTo>
                  <a:lnTo>
                    <a:pt x="108" y="182"/>
                  </a:lnTo>
                  <a:lnTo>
                    <a:pt x="108" y="182"/>
                  </a:lnTo>
                  <a:lnTo>
                    <a:pt x="108" y="177"/>
                  </a:lnTo>
                  <a:lnTo>
                    <a:pt x="113" y="172"/>
                  </a:lnTo>
                  <a:lnTo>
                    <a:pt x="113" y="170"/>
                  </a:lnTo>
                  <a:lnTo>
                    <a:pt x="113" y="168"/>
                  </a:lnTo>
                  <a:lnTo>
                    <a:pt x="111" y="163"/>
                  </a:lnTo>
                  <a:lnTo>
                    <a:pt x="108" y="163"/>
                  </a:lnTo>
                  <a:lnTo>
                    <a:pt x="106" y="160"/>
                  </a:lnTo>
                  <a:lnTo>
                    <a:pt x="106" y="160"/>
                  </a:lnTo>
                  <a:lnTo>
                    <a:pt x="101" y="156"/>
                  </a:lnTo>
                  <a:lnTo>
                    <a:pt x="101" y="153"/>
                  </a:lnTo>
                  <a:lnTo>
                    <a:pt x="106" y="158"/>
                  </a:lnTo>
                  <a:lnTo>
                    <a:pt x="111" y="158"/>
                  </a:lnTo>
                  <a:lnTo>
                    <a:pt x="111" y="158"/>
                  </a:lnTo>
                  <a:lnTo>
                    <a:pt x="108" y="153"/>
                  </a:lnTo>
                  <a:lnTo>
                    <a:pt x="106" y="151"/>
                  </a:lnTo>
                  <a:lnTo>
                    <a:pt x="104" y="146"/>
                  </a:lnTo>
                  <a:lnTo>
                    <a:pt x="104" y="142"/>
                  </a:lnTo>
                  <a:lnTo>
                    <a:pt x="101" y="139"/>
                  </a:lnTo>
                  <a:lnTo>
                    <a:pt x="99" y="134"/>
                  </a:lnTo>
                  <a:lnTo>
                    <a:pt x="96" y="132"/>
                  </a:lnTo>
                  <a:lnTo>
                    <a:pt x="92" y="130"/>
                  </a:lnTo>
                  <a:lnTo>
                    <a:pt x="87" y="130"/>
                  </a:lnTo>
                  <a:lnTo>
                    <a:pt x="87" y="127"/>
                  </a:lnTo>
                  <a:lnTo>
                    <a:pt x="85" y="123"/>
                  </a:lnTo>
                  <a:lnTo>
                    <a:pt x="82" y="120"/>
                  </a:lnTo>
                  <a:lnTo>
                    <a:pt x="82" y="116"/>
                  </a:lnTo>
                  <a:lnTo>
                    <a:pt x="80" y="113"/>
                  </a:lnTo>
                  <a:lnTo>
                    <a:pt x="80" y="99"/>
                  </a:lnTo>
                  <a:lnTo>
                    <a:pt x="75" y="99"/>
                  </a:lnTo>
                  <a:lnTo>
                    <a:pt x="73" y="94"/>
                  </a:lnTo>
                  <a:lnTo>
                    <a:pt x="70" y="90"/>
                  </a:lnTo>
                  <a:lnTo>
                    <a:pt x="61" y="85"/>
                  </a:lnTo>
                  <a:lnTo>
                    <a:pt x="61" y="85"/>
                  </a:lnTo>
                  <a:lnTo>
                    <a:pt x="54" y="87"/>
                  </a:lnTo>
                  <a:lnTo>
                    <a:pt x="49" y="85"/>
                  </a:lnTo>
                  <a:lnTo>
                    <a:pt x="49" y="85"/>
                  </a:lnTo>
                  <a:lnTo>
                    <a:pt x="49" y="83"/>
                  </a:lnTo>
                  <a:lnTo>
                    <a:pt x="52" y="80"/>
                  </a:lnTo>
                  <a:lnTo>
                    <a:pt x="54" y="80"/>
                  </a:lnTo>
                  <a:lnTo>
                    <a:pt x="59" y="80"/>
                  </a:lnTo>
                  <a:lnTo>
                    <a:pt x="61" y="78"/>
                  </a:lnTo>
                  <a:lnTo>
                    <a:pt x="59" y="73"/>
                  </a:lnTo>
                  <a:lnTo>
                    <a:pt x="56" y="73"/>
                  </a:lnTo>
                  <a:lnTo>
                    <a:pt x="56" y="71"/>
                  </a:lnTo>
                  <a:lnTo>
                    <a:pt x="59" y="71"/>
                  </a:lnTo>
                  <a:lnTo>
                    <a:pt x="61" y="71"/>
                  </a:lnTo>
                  <a:lnTo>
                    <a:pt x="63" y="68"/>
                  </a:lnTo>
                  <a:lnTo>
                    <a:pt x="63" y="66"/>
                  </a:lnTo>
                  <a:lnTo>
                    <a:pt x="68" y="59"/>
                  </a:lnTo>
                  <a:lnTo>
                    <a:pt x="68" y="57"/>
                  </a:lnTo>
                  <a:lnTo>
                    <a:pt x="68" y="52"/>
                  </a:lnTo>
                  <a:lnTo>
                    <a:pt x="70" y="47"/>
                  </a:lnTo>
                  <a:lnTo>
                    <a:pt x="75" y="42"/>
                  </a:lnTo>
                  <a:lnTo>
                    <a:pt x="75" y="35"/>
                  </a:lnTo>
                  <a:lnTo>
                    <a:pt x="73" y="33"/>
                  </a:lnTo>
                  <a:lnTo>
                    <a:pt x="68" y="33"/>
                  </a:lnTo>
                  <a:lnTo>
                    <a:pt x="63" y="33"/>
                  </a:lnTo>
                  <a:lnTo>
                    <a:pt x="56" y="33"/>
                  </a:lnTo>
                  <a:lnTo>
                    <a:pt x="54" y="33"/>
                  </a:lnTo>
                  <a:lnTo>
                    <a:pt x="49" y="31"/>
                  </a:lnTo>
                  <a:lnTo>
                    <a:pt x="37" y="35"/>
                  </a:lnTo>
                  <a:lnTo>
                    <a:pt x="35" y="38"/>
                  </a:lnTo>
                  <a:lnTo>
                    <a:pt x="35" y="38"/>
                  </a:lnTo>
                  <a:lnTo>
                    <a:pt x="35" y="35"/>
                  </a:lnTo>
                  <a:lnTo>
                    <a:pt x="35" y="33"/>
                  </a:lnTo>
                  <a:lnTo>
                    <a:pt x="33" y="35"/>
                  </a:lnTo>
                  <a:lnTo>
                    <a:pt x="33" y="33"/>
                  </a:lnTo>
                  <a:lnTo>
                    <a:pt x="37" y="31"/>
                  </a:lnTo>
                  <a:lnTo>
                    <a:pt x="40" y="28"/>
                  </a:lnTo>
                  <a:lnTo>
                    <a:pt x="35" y="28"/>
                  </a:lnTo>
                  <a:lnTo>
                    <a:pt x="35" y="26"/>
                  </a:lnTo>
                  <a:lnTo>
                    <a:pt x="35" y="26"/>
                  </a:lnTo>
                  <a:lnTo>
                    <a:pt x="37" y="21"/>
                  </a:lnTo>
                  <a:lnTo>
                    <a:pt x="44" y="19"/>
                  </a:lnTo>
                  <a:lnTo>
                    <a:pt x="47" y="14"/>
                  </a:lnTo>
                  <a:lnTo>
                    <a:pt x="52" y="12"/>
                  </a:lnTo>
                  <a:lnTo>
                    <a:pt x="52" y="2"/>
                  </a:lnTo>
                  <a:lnTo>
                    <a:pt x="49" y="0"/>
                  </a:lnTo>
                  <a:lnTo>
                    <a:pt x="44" y="2"/>
                  </a:lnTo>
                  <a:lnTo>
                    <a:pt x="40" y="5"/>
                  </a:lnTo>
                  <a:lnTo>
                    <a:pt x="35" y="5"/>
                  </a:lnTo>
                  <a:lnTo>
                    <a:pt x="30" y="5"/>
                  </a:lnTo>
                  <a:lnTo>
                    <a:pt x="30" y="5"/>
                  </a:lnTo>
                  <a:lnTo>
                    <a:pt x="23" y="2"/>
                  </a:lnTo>
                  <a:lnTo>
                    <a:pt x="21" y="5"/>
                  </a:lnTo>
                  <a:lnTo>
                    <a:pt x="19" y="9"/>
                  </a:lnTo>
                  <a:lnTo>
                    <a:pt x="16" y="14"/>
                  </a:lnTo>
                  <a:lnTo>
                    <a:pt x="14" y="14"/>
                  </a:lnTo>
                  <a:lnTo>
                    <a:pt x="14" y="19"/>
                  </a:lnTo>
                  <a:lnTo>
                    <a:pt x="11" y="21"/>
                  </a:lnTo>
                  <a:lnTo>
                    <a:pt x="11" y="21"/>
                  </a:lnTo>
                  <a:lnTo>
                    <a:pt x="16" y="23"/>
                  </a:lnTo>
                  <a:lnTo>
                    <a:pt x="7" y="28"/>
                  </a:lnTo>
                  <a:lnTo>
                    <a:pt x="7" y="35"/>
                  </a:lnTo>
                  <a:lnTo>
                    <a:pt x="9" y="38"/>
                  </a:lnTo>
                  <a:lnTo>
                    <a:pt x="9" y="38"/>
                  </a:lnTo>
                  <a:lnTo>
                    <a:pt x="7" y="38"/>
                  </a:lnTo>
                  <a:lnTo>
                    <a:pt x="4" y="38"/>
                  </a:lnTo>
                  <a:lnTo>
                    <a:pt x="4" y="42"/>
                  </a:lnTo>
                  <a:lnTo>
                    <a:pt x="7" y="42"/>
                  </a:lnTo>
                  <a:lnTo>
                    <a:pt x="11" y="42"/>
                  </a:lnTo>
                  <a:lnTo>
                    <a:pt x="11" y="42"/>
                  </a:lnTo>
                  <a:lnTo>
                    <a:pt x="9" y="45"/>
                  </a:lnTo>
                  <a:lnTo>
                    <a:pt x="11" y="45"/>
                  </a:lnTo>
                  <a:lnTo>
                    <a:pt x="9" y="47"/>
                  </a:lnTo>
                  <a:lnTo>
                    <a:pt x="9" y="49"/>
                  </a:lnTo>
                  <a:lnTo>
                    <a:pt x="9" y="52"/>
                  </a:lnTo>
                  <a:lnTo>
                    <a:pt x="9" y="52"/>
                  </a:lnTo>
                  <a:lnTo>
                    <a:pt x="7" y="52"/>
                  </a:lnTo>
                  <a:lnTo>
                    <a:pt x="7" y="54"/>
                  </a:lnTo>
                  <a:lnTo>
                    <a:pt x="7" y="54"/>
                  </a:lnTo>
                  <a:lnTo>
                    <a:pt x="4" y="57"/>
                  </a:lnTo>
                  <a:lnTo>
                    <a:pt x="4" y="61"/>
                  </a:lnTo>
                  <a:lnTo>
                    <a:pt x="2" y="64"/>
                  </a:lnTo>
                  <a:lnTo>
                    <a:pt x="0" y="64"/>
                  </a:lnTo>
                  <a:lnTo>
                    <a:pt x="0" y="66"/>
                  </a:lnTo>
                  <a:lnTo>
                    <a:pt x="4" y="66"/>
                  </a:lnTo>
                  <a:lnTo>
                    <a:pt x="4" y="68"/>
                  </a:lnTo>
                  <a:lnTo>
                    <a:pt x="7" y="71"/>
                  </a:lnTo>
                  <a:lnTo>
                    <a:pt x="11" y="68"/>
                  </a:lnTo>
                  <a:lnTo>
                    <a:pt x="14" y="66"/>
                  </a:lnTo>
                  <a:lnTo>
                    <a:pt x="14" y="66"/>
                  </a:lnTo>
                  <a:lnTo>
                    <a:pt x="14" y="66"/>
                  </a:lnTo>
                  <a:lnTo>
                    <a:pt x="14" y="68"/>
                  </a:lnTo>
                  <a:lnTo>
                    <a:pt x="11" y="78"/>
                  </a:lnTo>
                  <a:lnTo>
                    <a:pt x="9" y="83"/>
                  </a:lnTo>
                  <a:lnTo>
                    <a:pt x="9" y="83"/>
                  </a:lnTo>
                  <a:lnTo>
                    <a:pt x="9" y="85"/>
                  </a:lnTo>
                  <a:lnTo>
                    <a:pt x="9" y="90"/>
                  </a:lnTo>
                  <a:lnTo>
                    <a:pt x="9" y="92"/>
                  </a:lnTo>
                  <a:lnTo>
                    <a:pt x="11" y="90"/>
                  </a:lnTo>
                  <a:lnTo>
                    <a:pt x="11" y="92"/>
                  </a:lnTo>
                  <a:lnTo>
                    <a:pt x="11" y="94"/>
                  </a:lnTo>
                  <a:lnTo>
                    <a:pt x="9" y="99"/>
                  </a:lnTo>
                  <a:lnTo>
                    <a:pt x="7" y="106"/>
                  </a:lnTo>
                  <a:lnTo>
                    <a:pt x="7" y="106"/>
                  </a:lnTo>
                  <a:lnTo>
                    <a:pt x="9" y="106"/>
                  </a:lnTo>
                  <a:lnTo>
                    <a:pt x="9" y="106"/>
                  </a:lnTo>
                  <a:lnTo>
                    <a:pt x="11" y="101"/>
                  </a:lnTo>
                  <a:lnTo>
                    <a:pt x="14" y="94"/>
                  </a:lnTo>
                  <a:lnTo>
                    <a:pt x="14" y="90"/>
                  </a:lnTo>
                  <a:lnTo>
                    <a:pt x="11" y="87"/>
                  </a:lnTo>
                  <a:lnTo>
                    <a:pt x="11" y="85"/>
                  </a:lnTo>
                  <a:lnTo>
                    <a:pt x="19" y="80"/>
                  </a:lnTo>
                  <a:lnTo>
                    <a:pt x="16" y="83"/>
                  </a:lnTo>
                  <a:lnTo>
                    <a:pt x="14" y="87"/>
                  </a:lnTo>
                  <a:lnTo>
                    <a:pt x="14" y="90"/>
                  </a:lnTo>
                  <a:lnTo>
                    <a:pt x="16" y="90"/>
                  </a:lnTo>
                  <a:lnTo>
                    <a:pt x="16" y="90"/>
                  </a:lnTo>
                  <a:lnTo>
                    <a:pt x="16" y="87"/>
                  </a:lnTo>
                  <a:lnTo>
                    <a:pt x="19" y="87"/>
                  </a:lnTo>
                  <a:lnTo>
                    <a:pt x="21" y="90"/>
                  </a:lnTo>
                  <a:lnTo>
                    <a:pt x="21" y="87"/>
                  </a:lnTo>
                  <a:lnTo>
                    <a:pt x="21" y="85"/>
                  </a:lnTo>
                  <a:lnTo>
                    <a:pt x="23" y="85"/>
                  </a:lnTo>
                  <a:lnTo>
                    <a:pt x="26" y="87"/>
                  </a:lnTo>
                  <a:lnTo>
                    <a:pt x="23" y="87"/>
                  </a:lnTo>
                  <a:lnTo>
                    <a:pt x="23" y="90"/>
                  </a:lnTo>
                  <a:lnTo>
                    <a:pt x="23" y="92"/>
                  </a:lnTo>
                  <a:lnTo>
                    <a:pt x="21" y="97"/>
                  </a:lnTo>
                  <a:lnTo>
                    <a:pt x="23" y="97"/>
                  </a:lnTo>
                  <a:lnTo>
                    <a:pt x="26" y="99"/>
                  </a:lnTo>
                  <a:lnTo>
                    <a:pt x="26" y="101"/>
                  </a:lnTo>
                  <a:lnTo>
                    <a:pt x="23" y="106"/>
                  </a:lnTo>
                  <a:lnTo>
                    <a:pt x="21" y="109"/>
                  </a:lnTo>
                  <a:lnTo>
                    <a:pt x="21" y="113"/>
                  </a:lnTo>
                  <a:lnTo>
                    <a:pt x="19" y="116"/>
                  </a:lnTo>
                  <a:lnTo>
                    <a:pt x="19" y="120"/>
                  </a:lnTo>
                  <a:lnTo>
                    <a:pt x="16" y="118"/>
                  </a:lnTo>
                  <a:lnTo>
                    <a:pt x="16" y="120"/>
                  </a:lnTo>
                  <a:lnTo>
                    <a:pt x="19" y="127"/>
                  </a:lnTo>
                  <a:lnTo>
                    <a:pt x="21" y="127"/>
                  </a:lnTo>
                  <a:lnTo>
                    <a:pt x="21" y="127"/>
                  </a:lnTo>
                  <a:lnTo>
                    <a:pt x="21" y="123"/>
                  </a:lnTo>
                  <a:lnTo>
                    <a:pt x="21" y="123"/>
                  </a:lnTo>
                  <a:lnTo>
                    <a:pt x="23" y="120"/>
                  </a:lnTo>
                  <a:lnTo>
                    <a:pt x="28" y="125"/>
                  </a:lnTo>
                  <a:lnTo>
                    <a:pt x="30" y="127"/>
                  </a:lnTo>
                  <a:lnTo>
                    <a:pt x="30" y="125"/>
                  </a:lnTo>
                  <a:lnTo>
                    <a:pt x="30" y="123"/>
                  </a:lnTo>
                  <a:lnTo>
                    <a:pt x="37" y="123"/>
                  </a:lnTo>
                  <a:lnTo>
                    <a:pt x="42" y="120"/>
                  </a:lnTo>
                  <a:lnTo>
                    <a:pt x="44" y="120"/>
                  </a:lnTo>
                  <a:lnTo>
                    <a:pt x="47" y="118"/>
                  </a:lnTo>
                  <a:lnTo>
                    <a:pt x="52" y="118"/>
                  </a:lnTo>
                  <a:lnTo>
                    <a:pt x="52" y="120"/>
                  </a:lnTo>
                  <a:lnTo>
                    <a:pt x="49" y="120"/>
                  </a:lnTo>
                  <a:lnTo>
                    <a:pt x="47" y="123"/>
                  </a:lnTo>
                  <a:lnTo>
                    <a:pt x="44" y="130"/>
                  </a:lnTo>
                  <a:lnTo>
                    <a:pt x="44" y="132"/>
                  </a:lnTo>
                  <a:lnTo>
                    <a:pt x="44" y="134"/>
                  </a:lnTo>
                  <a:lnTo>
                    <a:pt x="47" y="137"/>
                  </a:lnTo>
                  <a:lnTo>
                    <a:pt x="47" y="139"/>
                  </a:lnTo>
                  <a:lnTo>
                    <a:pt x="47" y="142"/>
                  </a:lnTo>
                  <a:lnTo>
                    <a:pt x="49" y="139"/>
                  </a:lnTo>
                  <a:lnTo>
                    <a:pt x="49" y="144"/>
                  </a:lnTo>
                  <a:lnTo>
                    <a:pt x="54" y="142"/>
                  </a:lnTo>
                  <a:lnTo>
                    <a:pt x="59" y="139"/>
                  </a:lnTo>
                  <a:lnTo>
                    <a:pt x="59" y="139"/>
                  </a:lnTo>
                  <a:lnTo>
                    <a:pt x="59" y="142"/>
                  </a:lnTo>
                  <a:lnTo>
                    <a:pt x="56" y="149"/>
                  </a:lnTo>
                  <a:lnTo>
                    <a:pt x="56" y="149"/>
                  </a:lnTo>
                  <a:lnTo>
                    <a:pt x="54" y="153"/>
                  </a:lnTo>
                  <a:lnTo>
                    <a:pt x="56" y="153"/>
                  </a:lnTo>
                  <a:lnTo>
                    <a:pt x="56" y="156"/>
                  </a:lnTo>
                  <a:lnTo>
                    <a:pt x="54" y="163"/>
                  </a:lnTo>
                  <a:lnTo>
                    <a:pt x="54" y="163"/>
                  </a:lnTo>
                  <a:lnTo>
                    <a:pt x="56" y="163"/>
                  </a:lnTo>
                  <a:lnTo>
                    <a:pt x="56" y="165"/>
                  </a:lnTo>
                  <a:lnTo>
                    <a:pt x="54" y="168"/>
                  </a:lnTo>
                  <a:lnTo>
                    <a:pt x="42" y="168"/>
                  </a:lnTo>
                  <a:lnTo>
                    <a:pt x="37" y="170"/>
                  </a:lnTo>
                  <a:lnTo>
                    <a:pt x="33" y="172"/>
                  </a:lnTo>
                  <a:lnTo>
                    <a:pt x="26" y="182"/>
                  </a:lnTo>
                  <a:lnTo>
                    <a:pt x="28" y="182"/>
                  </a:lnTo>
                  <a:lnTo>
                    <a:pt x="30" y="179"/>
                  </a:lnTo>
                  <a:lnTo>
                    <a:pt x="35" y="177"/>
                  </a:lnTo>
                  <a:lnTo>
                    <a:pt x="35" y="182"/>
                  </a:lnTo>
                  <a:lnTo>
                    <a:pt x="35" y="186"/>
                  </a:lnTo>
                  <a:lnTo>
                    <a:pt x="35" y="189"/>
                  </a:lnTo>
                  <a:lnTo>
                    <a:pt x="37" y="189"/>
                  </a:lnTo>
                  <a:lnTo>
                    <a:pt x="35" y="196"/>
                  </a:lnTo>
                  <a:lnTo>
                    <a:pt x="26" y="203"/>
                  </a:lnTo>
                  <a:lnTo>
                    <a:pt x="16" y="208"/>
                  </a:lnTo>
                  <a:lnTo>
                    <a:pt x="16" y="210"/>
                  </a:lnTo>
                  <a:lnTo>
                    <a:pt x="16" y="210"/>
                  </a:lnTo>
                  <a:lnTo>
                    <a:pt x="19" y="215"/>
                  </a:lnTo>
                  <a:lnTo>
                    <a:pt x="19" y="215"/>
                  </a:lnTo>
                  <a:lnTo>
                    <a:pt x="21" y="215"/>
                  </a:lnTo>
                  <a:lnTo>
                    <a:pt x="23" y="215"/>
                  </a:lnTo>
                  <a:lnTo>
                    <a:pt x="26" y="212"/>
                  </a:lnTo>
                  <a:lnTo>
                    <a:pt x="28" y="210"/>
                  </a:lnTo>
                  <a:lnTo>
                    <a:pt x="30" y="210"/>
                  </a:lnTo>
                  <a:lnTo>
                    <a:pt x="30" y="215"/>
                  </a:lnTo>
                  <a:lnTo>
                    <a:pt x="33" y="217"/>
                  </a:lnTo>
                  <a:lnTo>
                    <a:pt x="35" y="217"/>
                  </a:lnTo>
                  <a:lnTo>
                    <a:pt x="37" y="215"/>
                  </a:lnTo>
                  <a:lnTo>
                    <a:pt x="40" y="215"/>
                  </a:lnTo>
                  <a:lnTo>
                    <a:pt x="40" y="215"/>
                  </a:lnTo>
                  <a:lnTo>
                    <a:pt x="44" y="222"/>
                  </a:lnTo>
                  <a:lnTo>
                    <a:pt x="47" y="222"/>
                  </a:lnTo>
                  <a:lnTo>
                    <a:pt x="49" y="222"/>
                  </a:lnTo>
                  <a:lnTo>
                    <a:pt x="52" y="220"/>
                  </a:lnTo>
                  <a:lnTo>
                    <a:pt x="54" y="217"/>
                  </a:lnTo>
                  <a:lnTo>
                    <a:pt x="56" y="215"/>
                  </a:lnTo>
                  <a:lnTo>
                    <a:pt x="61" y="212"/>
                  </a:lnTo>
                  <a:lnTo>
                    <a:pt x="61" y="215"/>
                  </a:lnTo>
                  <a:lnTo>
                    <a:pt x="61" y="217"/>
                  </a:lnTo>
                  <a:lnTo>
                    <a:pt x="56" y="222"/>
                  </a:lnTo>
                  <a:lnTo>
                    <a:pt x="54" y="224"/>
                  </a:lnTo>
                  <a:lnTo>
                    <a:pt x="54" y="227"/>
                  </a:lnTo>
                  <a:lnTo>
                    <a:pt x="49" y="227"/>
                  </a:lnTo>
                  <a:lnTo>
                    <a:pt x="40" y="227"/>
                  </a:lnTo>
                  <a:lnTo>
                    <a:pt x="35" y="229"/>
                  </a:lnTo>
                  <a:lnTo>
                    <a:pt x="33" y="231"/>
                  </a:lnTo>
                  <a:lnTo>
                    <a:pt x="30" y="234"/>
                  </a:lnTo>
                  <a:lnTo>
                    <a:pt x="28" y="238"/>
                  </a:lnTo>
                  <a:lnTo>
                    <a:pt x="16" y="253"/>
                  </a:lnTo>
                  <a:lnTo>
                    <a:pt x="9" y="255"/>
                  </a:lnTo>
                  <a:lnTo>
                    <a:pt x="9" y="257"/>
                  </a:lnTo>
                  <a:lnTo>
                    <a:pt x="9" y="260"/>
                  </a:lnTo>
                  <a:lnTo>
                    <a:pt x="9" y="257"/>
                  </a:lnTo>
                  <a:lnTo>
                    <a:pt x="11" y="257"/>
                  </a:lnTo>
                  <a:lnTo>
                    <a:pt x="14" y="260"/>
                  </a:lnTo>
                  <a:lnTo>
                    <a:pt x="16" y="257"/>
                  </a:lnTo>
                  <a:lnTo>
                    <a:pt x="16" y="260"/>
                  </a:lnTo>
                  <a:lnTo>
                    <a:pt x="19" y="257"/>
                  </a:lnTo>
                  <a:lnTo>
                    <a:pt x="19" y="255"/>
                  </a:lnTo>
                  <a:lnTo>
                    <a:pt x="23" y="253"/>
                  </a:lnTo>
                  <a:lnTo>
                    <a:pt x="26" y="250"/>
                  </a:lnTo>
                  <a:lnTo>
                    <a:pt x="35" y="250"/>
                  </a:lnTo>
                  <a:lnTo>
                    <a:pt x="40" y="253"/>
                  </a:lnTo>
                  <a:lnTo>
                    <a:pt x="42" y="253"/>
                  </a:lnTo>
                  <a:lnTo>
                    <a:pt x="44" y="250"/>
                  </a:lnTo>
                  <a:lnTo>
                    <a:pt x="47" y="243"/>
                  </a:lnTo>
                  <a:lnTo>
                    <a:pt x="47" y="243"/>
                  </a:lnTo>
                  <a:lnTo>
                    <a:pt x="49" y="243"/>
                  </a:lnTo>
                  <a:lnTo>
                    <a:pt x="54" y="241"/>
                  </a:lnTo>
                  <a:lnTo>
                    <a:pt x="59" y="238"/>
                  </a:lnTo>
                  <a:lnTo>
                    <a:pt x="63" y="246"/>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7" name="Freeform 718">
              <a:extLst>
                <a:ext uri="{FF2B5EF4-FFF2-40B4-BE49-F238E27FC236}">
                  <a16:creationId xmlns:a16="http://schemas.microsoft.com/office/drawing/2014/main" id="{B3F046B9-5BA1-45FA-A957-FAC0BD467FA5}"/>
                </a:ext>
              </a:extLst>
            </p:cNvPr>
            <p:cNvSpPr>
              <a:spLocks/>
            </p:cNvSpPr>
            <p:nvPr/>
          </p:nvSpPr>
          <p:spPr bwMode="auto">
            <a:xfrm>
              <a:off x="1240679" y="2901915"/>
              <a:ext cx="7938" cy="7937"/>
            </a:xfrm>
            <a:custGeom>
              <a:avLst/>
              <a:gdLst>
                <a:gd name="T0" fmla="*/ 5 w 5"/>
                <a:gd name="T1" fmla="*/ 3 h 5"/>
                <a:gd name="T2" fmla="*/ 3 w 5"/>
                <a:gd name="T3" fmla="*/ 0 h 5"/>
                <a:gd name="T4" fmla="*/ 0 w 5"/>
                <a:gd name="T5" fmla="*/ 3 h 5"/>
                <a:gd name="T6" fmla="*/ 0 w 5"/>
                <a:gd name="T7" fmla="*/ 3 h 5"/>
                <a:gd name="T8" fmla="*/ 0 w 5"/>
                <a:gd name="T9" fmla="*/ 5 h 5"/>
                <a:gd name="T10" fmla="*/ 0 w 5"/>
                <a:gd name="T11" fmla="*/ 5 h 5"/>
                <a:gd name="T12" fmla="*/ 3 w 5"/>
                <a:gd name="T13" fmla="*/ 5 h 5"/>
                <a:gd name="T14" fmla="*/ 5 w 5"/>
                <a:gd name="T15" fmla="*/ 5 h 5"/>
                <a:gd name="T16" fmla="*/ 5 w 5"/>
                <a:gd name="T17" fmla="*/ 3 h 5"/>
                <a:gd name="T18" fmla="*/ 5 w 5"/>
                <a:gd name="T19" fmla="*/ 3 h 5"/>
                <a:gd name="T20" fmla="*/ 5 w 5"/>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5" y="3"/>
                  </a:moveTo>
                  <a:lnTo>
                    <a:pt x="3" y="0"/>
                  </a:lnTo>
                  <a:lnTo>
                    <a:pt x="0" y="3"/>
                  </a:lnTo>
                  <a:lnTo>
                    <a:pt x="0" y="3"/>
                  </a:lnTo>
                  <a:lnTo>
                    <a:pt x="0" y="5"/>
                  </a:lnTo>
                  <a:lnTo>
                    <a:pt x="0" y="5"/>
                  </a:lnTo>
                  <a:lnTo>
                    <a:pt x="3" y="5"/>
                  </a:lnTo>
                  <a:lnTo>
                    <a:pt x="5" y="5"/>
                  </a:lnTo>
                  <a:lnTo>
                    <a:pt x="5" y="3"/>
                  </a:lnTo>
                  <a:lnTo>
                    <a:pt x="5" y="3"/>
                  </a:lnTo>
                  <a:lnTo>
                    <a:pt x="5" y="3"/>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8" name="Freeform 719">
              <a:extLst>
                <a:ext uri="{FF2B5EF4-FFF2-40B4-BE49-F238E27FC236}">
                  <a16:creationId xmlns:a16="http://schemas.microsoft.com/office/drawing/2014/main" id="{1B207501-7118-4268-B9A5-0BFF2F31C2AF}"/>
                </a:ext>
              </a:extLst>
            </p:cNvPr>
            <p:cNvSpPr>
              <a:spLocks/>
            </p:cNvSpPr>
            <p:nvPr/>
          </p:nvSpPr>
          <p:spPr bwMode="auto">
            <a:xfrm>
              <a:off x="1240679" y="2901915"/>
              <a:ext cx="7938" cy="7937"/>
            </a:xfrm>
            <a:custGeom>
              <a:avLst/>
              <a:gdLst>
                <a:gd name="T0" fmla="*/ 5 w 5"/>
                <a:gd name="T1" fmla="*/ 3 h 5"/>
                <a:gd name="T2" fmla="*/ 3 w 5"/>
                <a:gd name="T3" fmla="*/ 0 h 5"/>
                <a:gd name="T4" fmla="*/ 0 w 5"/>
                <a:gd name="T5" fmla="*/ 3 h 5"/>
                <a:gd name="T6" fmla="*/ 0 w 5"/>
                <a:gd name="T7" fmla="*/ 3 h 5"/>
                <a:gd name="T8" fmla="*/ 0 w 5"/>
                <a:gd name="T9" fmla="*/ 5 h 5"/>
                <a:gd name="T10" fmla="*/ 0 w 5"/>
                <a:gd name="T11" fmla="*/ 5 h 5"/>
                <a:gd name="T12" fmla="*/ 3 w 5"/>
                <a:gd name="T13" fmla="*/ 5 h 5"/>
                <a:gd name="T14" fmla="*/ 5 w 5"/>
                <a:gd name="T15" fmla="*/ 5 h 5"/>
                <a:gd name="T16" fmla="*/ 5 w 5"/>
                <a:gd name="T17" fmla="*/ 3 h 5"/>
                <a:gd name="T18" fmla="*/ 5 w 5"/>
                <a:gd name="T19" fmla="*/ 3 h 5"/>
                <a:gd name="T20" fmla="*/ 5 w 5"/>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5" y="3"/>
                  </a:moveTo>
                  <a:lnTo>
                    <a:pt x="3" y="0"/>
                  </a:lnTo>
                  <a:lnTo>
                    <a:pt x="0" y="3"/>
                  </a:lnTo>
                  <a:lnTo>
                    <a:pt x="0" y="3"/>
                  </a:lnTo>
                  <a:lnTo>
                    <a:pt x="0" y="5"/>
                  </a:lnTo>
                  <a:lnTo>
                    <a:pt x="0" y="5"/>
                  </a:lnTo>
                  <a:lnTo>
                    <a:pt x="3" y="5"/>
                  </a:lnTo>
                  <a:lnTo>
                    <a:pt x="5" y="5"/>
                  </a:lnTo>
                  <a:lnTo>
                    <a:pt x="5" y="3"/>
                  </a:lnTo>
                  <a:lnTo>
                    <a:pt x="5" y="3"/>
                  </a:lnTo>
                  <a:lnTo>
                    <a:pt x="5" y="3"/>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29" name="Freeform 720">
              <a:extLst>
                <a:ext uri="{FF2B5EF4-FFF2-40B4-BE49-F238E27FC236}">
                  <a16:creationId xmlns:a16="http://schemas.microsoft.com/office/drawing/2014/main" id="{BC84D84A-C3AA-4EA2-883B-13FBE4853B79}"/>
                </a:ext>
              </a:extLst>
            </p:cNvPr>
            <p:cNvSpPr>
              <a:spLocks/>
            </p:cNvSpPr>
            <p:nvPr/>
          </p:nvSpPr>
          <p:spPr bwMode="auto">
            <a:xfrm>
              <a:off x="1158129" y="2786027"/>
              <a:ext cx="7938" cy="7937"/>
            </a:xfrm>
            <a:custGeom>
              <a:avLst/>
              <a:gdLst>
                <a:gd name="T0" fmla="*/ 3 w 5"/>
                <a:gd name="T1" fmla="*/ 5 h 5"/>
                <a:gd name="T2" fmla="*/ 5 w 5"/>
                <a:gd name="T3" fmla="*/ 3 h 5"/>
                <a:gd name="T4" fmla="*/ 3 w 5"/>
                <a:gd name="T5" fmla="*/ 0 h 5"/>
                <a:gd name="T6" fmla="*/ 0 w 5"/>
                <a:gd name="T7" fmla="*/ 0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3"/>
                  </a:lnTo>
                  <a:lnTo>
                    <a:pt x="3" y="0"/>
                  </a:lnTo>
                  <a:lnTo>
                    <a:pt x="0" y="0"/>
                  </a:lnTo>
                  <a:lnTo>
                    <a:pt x="3" y="5"/>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0" name="Freeform 721">
              <a:extLst>
                <a:ext uri="{FF2B5EF4-FFF2-40B4-BE49-F238E27FC236}">
                  <a16:creationId xmlns:a16="http://schemas.microsoft.com/office/drawing/2014/main" id="{4BDAB488-48F0-41EF-AE42-0E3784881A79}"/>
                </a:ext>
              </a:extLst>
            </p:cNvPr>
            <p:cNvSpPr>
              <a:spLocks/>
            </p:cNvSpPr>
            <p:nvPr/>
          </p:nvSpPr>
          <p:spPr bwMode="auto">
            <a:xfrm>
              <a:off x="1158129" y="2786027"/>
              <a:ext cx="7938" cy="7937"/>
            </a:xfrm>
            <a:custGeom>
              <a:avLst/>
              <a:gdLst>
                <a:gd name="T0" fmla="*/ 3 w 5"/>
                <a:gd name="T1" fmla="*/ 5 h 5"/>
                <a:gd name="T2" fmla="*/ 5 w 5"/>
                <a:gd name="T3" fmla="*/ 3 h 5"/>
                <a:gd name="T4" fmla="*/ 3 w 5"/>
                <a:gd name="T5" fmla="*/ 0 h 5"/>
                <a:gd name="T6" fmla="*/ 0 w 5"/>
                <a:gd name="T7" fmla="*/ 0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3"/>
                  </a:lnTo>
                  <a:lnTo>
                    <a:pt x="3" y="0"/>
                  </a:lnTo>
                  <a:lnTo>
                    <a:pt x="0" y="0"/>
                  </a:lnTo>
                  <a:lnTo>
                    <a:pt x="3" y="5"/>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1" name="Freeform 722">
              <a:extLst>
                <a:ext uri="{FF2B5EF4-FFF2-40B4-BE49-F238E27FC236}">
                  <a16:creationId xmlns:a16="http://schemas.microsoft.com/office/drawing/2014/main" id="{677A6A0C-076F-48B3-B354-F4302398BC36}"/>
                </a:ext>
              </a:extLst>
            </p:cNvPr>
            <p:cNvSpPr>
              <a:spLocks/>
            </p:cNvSpPr>
            <p:nvPr/>
          </p:nvSpPr>
          <p:spPr bwMode="auto">
            <a:xfrm>
              <a:off x="1147017" y="2736815"/>
              <a:ext cx="11113" cy="15875"/>
            </a:xfrm>
            <a:custGeom>
              <a:avLst/>
              <a:gdLst>
                <a:gd name="T0" fmla="*/ 7 w 7"/>
                <a:gd name="T1" fmla="*/ 0 h 10"/>
                <a:gd name="T2" fmla="*/ 3 w 7"/>
                <a:gd name="T3" fmla="*/ 5 h 10"/>
                <a:gd name="T4" fmla="*/ 0 w 7"/>
                <a:gd name="T5" fmla="*/ 10 h 10"/>
                <a:gd name="T6" fmla="*/ 3 w 7"/>
                <a:gd name="T7" fmla="*/ 10 h 10"/>
                <a:gd name="T8" fmla="*/ 7 w 7"/>
                <a:gd name="T9" fmla="*/ 8 h 10"/>
                <a:gd name="T10" fmla="*/ 7 w 7"/>
                <a:gd name="T11" fmla="*/ 5 h 10"/>
                <a:gd name="T12" fmla="*/ 7 w 7"/>
                <a:gd name="T13" fmla="*/ 3 h 10"/>
                <a:gd name="T14" fmla="*/ 7 w 7"/>
                <a:gd name="T15" fmla="*/ 3 h 10"/>
                <a:gd name="T16" fmla="*/ 7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7" y="0"/>
                  </a:moveTo>
                  <a:lnTo>
                    <a:pt x="3" y="5"/>
                  </a:lnTo>
                  <a:lnTo>
                    <a:pt x="0" y="10"/>
                  </a:lnTo>
                  <a:lnTo>
                    <a:pt x="3" y="10"/>
                  </a:lnTo>
                  <a:lnTo>
                    <a:pt x="7" y="8"/>
                  </a:lnTo>
                  <a:lnTo>
                    <a:pt x="7" y="5"/>
                  </a:lnTo>
                  <a:lnTo>
                    <a:pt x="7" y="3"/>
                  </a:lnTo>
                  <a:lnTo>
                    <a:pt x="7" y="3"/>
                  </a:lnTo>
                  <a:lnTo>
                    <a:pt x="7"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2" name="Freeform 723">
              <a:extLst>
                <a:ext uri="{FF2B5EF4-FFF2-40B4-BE49-F238E27FC236}">
                  <a16:creationId xmlns:a16="http://schemas.microsoft.com/office/drawing/2014/main" id="{A97A6540-47F2-4494-802B-3768D4F782D4}"/>
                </a:ext>
              </a:extLst>
            </p:cNvPr>
            <p:cNvSpPr>
              <a:spLocks/>
            </p:cNvSpPr>
            <p:nvPr/>
          </p:nvSpPr>
          <p:spPr bwMode="auto">
            <a:xfrm>
              <a:off x="1147017" y="2736815"/>
              <a:ext cx="11113" cy="15875"/>
            </a:xfrm>
            <a:custGeom>
              <a:avLst/>
              <a:gdLst>
                <a:gd name="T0" fmla="*/ 7 w 7"/>
                <a:gd name="T1" fmla="*/ 0 h 10"/>
                <a:gd name="T2" fmla="*/ 3 w 7"/>
                <a:gd name="T3" fmla="*/ 5 h 10"/>
                <a:gd name="T4" fmla="*/ 0 w 7"/>
                <a:gd name="T5" fmla="*/ 10 h 10"/>
                <a:gd name="T6" fmla="*/ 3 w 7"/>
                <a:gd name="T7" fmla="*/ 10 h 10"/>
                <a:gd name="T8" fmla="*/ 7 w 7"/>
                <a:gd name="T9" fmla="*/ 8 h 10"/>
                <a:gd name="T10" fmla="*/ 7 w 7"/>
                <a:gd name="T11" fmla="*/ 5 h 10"/>
                <a:gd name="T12" fmla="*/ 7 w 7"/>
                <a:gd name="T13" fmla="*/ 3 h 10"/>
                <a:gd name="T14" fmla="*/ 7 w 7"/>
                <a:gd name="T15" fmla="*/ 3 h 10"/>
                <a:gd name="T16" fmla="*/ 7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7" y="0"/>
                  </a:moveTo>
                  <a:lnTo>
                    <a:pt x="3" y="5"/>
                  </a:lnTo>
                  <a:lnTo>
                    <a:pt x="0" y="10"/>
                  </a:lnTo>
                  <a:lnTo>
                    <a:pt x="3" y="10"/>
                  </a:lnTo>
                  <a:lnTo>
                    <a:pt x="7" y="8"/>
                  </a:lnTo>
                  <a:lnTo>
                    <a:pt x="7" y="5"/>
                  </a:lnTo>
                  <a:lnTo>
                    <a:pt x="7" y="3"/>
                  </a:lnTo>
                  <a:lnTo>
                    <a:pt x="7" y="3"/>
                  </a:lnTo>
                  <a:lnTo>
                    <a:pt x="7"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3" name="Freeform 724">
              <a:extLst>
                <a:ext uri="{FF2B5EF4-FFF2-40B4-BE49-F238E27FC236}">
                  <a16:creationId xmlns:a16="http://schemas.microsoft.com/office/drawing/2014/main" id="{16F42A88-69FE-445A-A275-42D6C4B9E7B8}"/>
                </a:ext>
              </a:extLst>
            </p:cNvPr>
            <p:cNvSpPr>
              <a:spLocks/>
            </p:cNvSpPr>
            <p:nvPr/>
          </p:nvSpPr>
          <p:spPr bwMode="auto">
            <a:xfrm>
              <a:off x="1132729" y="2678077"/>
              <a:ext cx="7938" cy="11112"/>
            </a:xfrm>
            <a:custGeom>
              <a:avLst/>
              <a:gdLst>
                <a:gd name="T0" fmla="*/ 0 w 5"/>
                <a:gd name="T1" fmla="*/ 0 h 7"/>
                <a:gd name="T2" fmla="*/ 0 w 5"/>
                <a:gd name="T3" fmla="*/ 0 h 7"/>
                <a:gd name="T4" fmla="*/ 0 w 5"/>
                <a:gd name="T5" fmla="*/ 2 h 7"/>
                <a:gd name="T6" fmla="*/ 0 w 5"/>
                <a:gd name="T7" fmla="*/ 4 h 7"/>
                <a:gd name="T8" fmla="*/ 2 w 5"/>
                <a:gd name="T9" fmla="*/ 7 h 7"/>
                <a:gd name="T10" fmla="*/ 2 w 5"/>
                <a:gd name="T11" fmla="*/ 7 h 7"/>
                <a:gd name="T12" fmla="*/ 5 w 5"/>
                <a:gd name="T13" fmla="*/ 2 h 7"/>
                <a:gd name="T14" fmla="*/ 2 w 5"/>
                <a:gd name="T15" fmla="*/ 0 h 7"/>
                <a:gd name="T16" fmla="*/ 0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0"/>
                  </a:moveTo>
                  <a:lnTo>
                    <a:pt x="0" y="0"/>
                  </a:lnTo>
                  <a:lnTo>
                    <a:pt x="0" y="2"/>
                  </a:lnTo>
                  <a:lnTo>
                    <a:pt x="0" y="4"/>
                  </a:lnTo>
                  <a:lnTo>
                    <a:pt x="2" y="7"/>
                  </a:lnTo>
                  <a:lnTo>
                    <a:pt x="2" y="7"/>
                  </a:lnTo>
                  <a:lnTo>
                    <a:pt x="5" y="2"/>
                  </a:lnTo>
                  <a:lnTo>
                    <a:pt x="2" y="0"/>
                  </a:lnTo>
                  <a:lnTo>
                    <a:pt x="0"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4" name="Freeform 725">
              <a:extLst>
                <a:ext uri="{FF2B5EF4-FFF2-40B4-BE49-F238E27FC236}">
                  <a16:creationId xmlns:a16="http://schemas.microsoft.com/office/drawing/2014/main" id="{21FA8398-7B1F-40F5-AD67-0B69B67C3B5A}"/>
                </a:ext>
              </a:extLst>
            </p:cNvPr>
            <p:cNvSpPr>
              <a:spLocks/>
            </p:cNvSpPr>
            <p:nvPr/>
          </p:nvSpPr>
          <p:spPr bwMode="auto">
            <a:xfrm>
              <a:off x="1132729" y="2678077"/>
              <a:ext cx="7938" cy="11112"/>
            </a:xfrm>
            <a:custGeom>
              <a:avLst/>
              <a:gdLst>
                <a:gd name="T0" fmla="*/ 0 w 5"/>
                <a:gd name="T1" fmla="*/ 0 h 7"/>
                <a:gd name="T2" fmla="*/ 0 w 5"/>
                <a:gd name="T3" fmla="*/ 0 h 7"/>
                <a:gd name="T4" fmla="*/ 0 w 5"/>
                <a:gd name="T5" fmla="*/ 2 h 7"/>
                <a:gd name="T6" fmla="*/ 0 w 5"/>
                <a:gd name="T7" fmla="*/ 4 h 7"/>
                <a:gd name="T8" fmla="*/ 2 w 5"/>
                <a:gd name="T9" fmla="*/ 7 h 7"/>
                <a:gd name="T10" fmla="*/ 2 w 5"/>
                <a:gd name="T11" fmla="*/ 7 h 7"/>
                <a:gd name="T12" fmla="*/ 5 w 5"/>
                <a:gd name="T13" fmla="*/ 2 h 7"/>
                <a:gd name="T14" fmla="*/ 2 w 5"/>
                <a:gd name="T15" fmla="*/ 0 h 7"/>
                <a:gd name="T16" fmla="*/ 0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0"/>
                  </a:moveTo>
                  <a:lnTo>
                    <a:pt x="0" y="0"/>
                  </a:lnTo>
                  <a:lnTo>
                    <a:pt x="0" y="2"/>
                  </a:lnTo>
                  <a:lnTo>
                    <a:pt x="0" y="4"/>
                  </a:lnTo>
                  <a:lnTo>
                    <a:pt x="2" y="7"/>
                  </a:lnTo>
                  <a:lnTo>
                    <a:pt x="2" y="7"/>
                  </a:lnTo>
                  <a:lnTo>
                    <a:pt x="5" y="2"/>
                  </a:lnTo>
                  <a:lnTo>
                    <a:pt x="2" y="0"/>
                  </a:lnTo>
                  <a:lnTo>
                    <a:pt x="0"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5" name="Freeform 726">
              <a:extLst>
                <a:ext uri="{FF2B5EF4-FFF2-40B4-BE49-F238E27FC236}">
                  <a16:creationId xmlns:a16="http://schemas.microsoft.com/office/drawing/2014/main" id="{1B14EE60-CEC9-4A92-8E40-C57DEC939CA5}"/>
                </a:ext>
              </a:extLst>
            </p:cNvPr>
            <p:cNvSpPr>
              <a:spLocks/>
            </p:cNvSpPr>
            <p:nvPr/>
          </p:nvSpPr>
          <p:spPr bwMode="auto">
            <a:xfrm>
              <a:off x="1099392" y="2666965"/>
              <a:ext cx="11113" cy="14287"/>
            </a:xfrm>
            <a:custGeom>
              <a:avLst/>
              <a:gdLst>
                <a:gd name="T0" fmla="*/ 7 w 7"/>
                <a:gd name="T1" fmla="*/ 0 h 9"/>
                <a:gd name="T2" fmla="*/ 7 w 7"/>
                <a:gd name="T3" fmla="*/ 0 h 9"/>
                <a:gd name="T4" fmla="*/ 4 w 7"/>
                <a:gd name="T5" fmla="*/ 0 h 9"/>
                <a:gd name="T6" fmla="*/ 2 w 7"/>
                <a:gd name="T7" fmla="*/ 2 h 9"/>
                <a:gd name="T8" fmla="*/ 0 w 7"/>
                <a:gd name="T9" fmla="*/ 4 h 9"/>
                <a:gd name="T10" fmla="*/ 0 w 7"/>
                <a:gd name="T11" fmla="*/ 7 h 9"/>
                <a:gd name="T12" fmla="*/ 2 w 7"/>
                <a:gd name="T13" fmla="*/ 4 h 9"/>
                <a:gd name="T14" fmla="*/ 4 w 7"/>
                <a:gd name="T15" fmla="*/ 9 h 9"/>
                <a:gd name="T16" fmla="*/ 7 w 7"/>
                <a:gd name="T17" fmla="*/ 7 h 9"/>
                <a:gd name="T18" fmla="*/ 7 w 7"/>
                <a:gd name="T19" fmla="*/ 4 h 9"/>
                <a:gd name="T20" fmla="*/ 7 w 7"/>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7" y="0"/>
                  </a:moveTo>
                  <a:lnTo>
                    <a:pt x="7" y="0"/>
                  </a:lnTo>
                  <a:lnTo>
                    <a:pt x="4" y="0"/>
                  </a:lnTo>
                  <a:lnTo>
                    <a:pt x="2" y="2"/>
                  </a:lnTo>
                  <a:lnTo>
                    <a:pt x="0" y="4"/>
                  </a:lnTo>
                  <a:lnTo>
                    <a:pt x="0" y="7"/>
                  </a:lnTo>
                  <a:lnTo>
                    <a:pt x="2" y="4"/>
                  </a:lnTo>
                  <a:lnTo>
                    <a:pt x="4" y="9"/>
                  </a:lnTo>
                  <a:lnTo>
                    <a:pt x="7" y="7"/>
                  </a:lnTo>
                  <a:lnTo>
                    <a:pt x="7" y="4"/>
                  </a:lnTo>
                  <a:lnTo>
                    <a:pt x="7"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6" name="Freeform 727">
              <a:extLst>
                <a:ext uri="{FF2B5EF4-FFF2-40B4-BE49-F238E27FC236}">
                  <a16:creationId xmlns:a16="http://schemas.microsoft.com/office/drawing/2014/main" id="{C741117B-008E-471B-9FCA-A780F97CBF38}"/>
                </a:ext>
              </a:extLst>
            </p:cNvPr>
            <p:cNvSpPr>
              <a:spLocks/>
            </p:cNvSpPr>
            <p:nvPr/>
          </p:nvSpPr>
          <p:spPr bwMode="auto">
            <a:xfrm>
              <a:off x="1099392" y="2666965"/>
              <a:ext cx="11113" cy="14287"/>
            </a:xfrm>
            <a:custGeom>
              <a:avLst/>
              <a:gdLst>
                <a:gd name="T0" fmla="*/ 7 w 7"/>
                <a:gd name="T1" fmla="*/ 0 h 9"/>
                <a:gd name="T2" fmla="*/ 7 w 7"/>
                <a:gd name="T3" fmla="*/ 0 h 9"/>
                <a:gd name="T4" fmla="*/ 4 w 7"/>
                <a:gd name="T5" fmla="*/ 0 h 9"/>
                <a:gd name="T6" fmla="*/ 2 w 7"/>
                <a:gd name="T7" fmla="*/ 2 h 9"/>
                <a:gd name="T8" fmla="*/ 0 w 7"/>
                <a:gd name="T9" fmla="*/ 4 h 9"/>
                <a:gd name="T10" fmla="*/ 0 w 7"/>
                <a:gd name="T11" fmla="*/ 7 h 9"/>
                <a:gd name="T12" fmla="*/ 2 w 7"/>
                <a:gd name="T13" fmla="*/ 4 h 9"/>
                <a:gd name="T14" fmla="*/ 4 w 7"/>
                <a:gd name="T15" fmla="*/ 9 h 9"/>
                <a:gd name="T16" fmla="*/ 7 w 7"/>
                <a:gd name="T17" fmla="*/ 7 h 9"/>
                <a:gd name="T18" fmla="*/ 7 w 7"/>
                <a:gd name="T19" fmla="*/ 4 h 9"/>
                <a:gd name="T20" fmla="*/ 7 w 7"/>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7" y="0"/>
                  </a:moveTo>
                  <a:lnTo>
                    <a:pt x="7" y="0"/>
                  </a:lnTo>
                  <a:lnTo>
                    <a:pt x="4" y="0"/>
                  </a:lnTo>
                  <a:lnTo>
                    <a:pt x="2" y="2"/>
                  </a:lnTo>
                  <a:lnTo>
                    <a:pt x="0" y="4"/>
                  </a:lnTo>
                  <a:lnTo>
                    <a:pt x="0" y="7"/>
                  </a:lnTo>
                  <a:lnTo>
                    <a:pt x="2" y="4"/>
                  </a:lnTo>
                  <a:lnTo>
                    <a:pt x="4" y="9"/>
                  </a:lnTo>
                  <a:lnTo>
                    <a:pt x="7" y="7"/>
                  </a:lnTo>
                  <a:lnTo>
                    <a:pt x="7" y="4"/>
                  </a:lnTo>
                  <a:lnTo>
                    <a:pt x="7"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7" name="Freeform 728">
              <a:extLst>
                <a:ext uri="{FF2B5EF4-FFF2-40B4-BE49-F238E27FC236}">
                  <a16:creationId xmlns:a16="http://schemas.microsoft.com/office/drawing/2014/main" id="{1B9470FE-EC2E-4BC6-9E9D-08038303751C}"/>
                </a:ext>
              </a:extLst>
            </p:cNvPr>
            <p:cNvSpPr>
              <a:spLocks/>
            </p:cNvSpPr>
            <p:nvPr/>
          </p:nvSpPr>
          <p:spPr bwMode="auto">
            <a:xfrm>
              <a:off x="1113679" y="2655852"/>
              <a:ext cx="7938" cy="14287"/>
            </a:xfrm>
            <a:custGeom>
              <a:avLst/>
              <a:gdLst>
                <a:gd name="T0" fmla="*/ 5 w 5"/>
                <a:gd name="T1" fmla="*/ 0 h 9"/>
                <a:gd name="T2" fmla="*/ 2 w 5"/>
                <a:gd name="T3" fmla="*/ 2 h 9"/>
                <a:gd name="T4" fmla="*/ 2 w 5"/>
                <a:gd name="T5" fmla="*/ 4 h 9"/>
                <a:gd name="T6" fmla="*/ 0 w 5"/>
                <a:gd name="T7" fmla="*/ 7 h 9"/>
                <a:gd name="T8" fmla="*/ 0 w 5"/>
                <a:gd name="T9" fmla="*/ 7 h 9"/>
                <a:gd name="T10" fmla="*/ 0 w 5"/>
                <a:gd name="T11" fmla="*/ 9 h 9"/>
                <a:gd name="T12" fmla="*/ 0 w 5"/>
                <a:gd name="T13" fmla="*/ 9 h 9"/>
                <a:gd name="T14" fmla="*/ 2 w 5"/>
                <a:gd name="T15" fmla="*/ 7 h 9"/>
                <a:gd name="T16" fmla="*/ 5 w 5"/>
                <a:gd name="T17" fmla="*/ 4 h 9"/>
                <a:gd name="T18" fmla="*/ 5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0"/>
                  </a:moveTo>
                  <a:lnTo>
                    <a:pt x="2" y="2"/>
                  </a:lnTo>
                  <a:lnTo>
                    <a:pt x="2" y="4"/>
                  </a:lnTo>
                  <a:lnTo>
                    <a:pt x="0" y="7"/>
                  </a:lnTo>
                  <a:lnTo>
                    <a:pt x="0" y="7"/>
                  </a:lnTo>
                  <a:lnTo>
                    <a:pt x="0" y="9"/>
                  </a:lnTo>
                  <a:lnTo>
                    <a:pt x="0" y="9"/>
                  </a:lnTo>
                  <a:lnTo>
                    <a:pt x="2" y="7"/>
                  </a:lnTo>
                  <a:lnTo>
                    <a:pt x="5" y="4"/>
                  </a:lnTo>
                  <a:lnTo>
                    <a:pt x="5"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8" name="Freeform 729">
              <a:extLst>
                <a:ext uri="{FF2B5EF4-FFF2-40B4-BE49-F238E27FC236}">
                  <a16:creationId xmlns:a16="http://schemas.microsoft.com/office/drawing/2014/main" id="{A8D64D7E-02FE-4B8F-93B6-FBA30F480E90}"/>
                </a:ext>
              </a:extLst>
            </p:cNvPr>
            <p:cNvSpPr>
              <a:spLocks/>
            </p:cNvSpPr>
            <p:nvPr/>
          </p:nvSpPr>
          <p:spPr bwMode="auto">
            <a:xfrm>
              <a:off x="1113679" y="2655852"/>
              <a:ext cx="7938" cy="14287"/>
            </a:xfrm>
            <a:custGeom>
              <a:avLst/>
              <a:gdLst>
                <a:gd name="T0" fmla="*/ 5 w 5"/>
                <a:gd name="T1" fmla="*/ 0 h 9"/>
                <a:gd name="T2" fmla="*/ 2 w 5"/>
                <a:gd name="T3" fmla="*/ 2 h 9"/>
                <a:gd name="T4" fmla="*/ 2 w 5"/>
                <a:gd name="T5" fmla="*/ 4 h 9"/>
                <a:gd name="T6" fmla="*/ 0 w 5"/>
                <a:gd name="T7" fmla="*/ 7 h 9"/>
                <a:gd name="T8" fmla="*/ 0 w 5"/>
                <a:gd name="T9" fmla="*/ 7 h 9"/>
                <a:gd name="T10" fmla="*/ 0 w 5"/>
                <a:gd name="T11" fmla="*/ 9 h 9"/>
                <a:gd name="T12" fmla="*/ 0 w 5"/>
                <a:gd name="T13" fmla="*/ 9 h 9"/>
                <a:gd name="T14" fmla="*/ 2 w 5"/>
                <a:gd name="T15" fmla="*/ 7 h 9"/>
                <a:gd name="T16" fmla="*/ 5 w 5"/>
                <a:gd name="T17" fmla="*/ 4 h 9"/>
                <a:gd name="T18" fmla="*/ 5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0"/>
                  </a:moveTo>
                  <a:lnTo>
                    <a:pt x="2" y="2"/>
                  </a:lnTo>
                  <a:lnTo>
                    <a:pt x="2" y="4"/>
                  </a:lnTo>
                  <a:lnTo>
                    <a:pt x="0" y="7"/>
                  </a:lnTo>
                  <a:lnTo>
                    <a:pt x="0" y="7"/>
                  </a:lnTo>
                  <a:lnTo>
                    <a:pt x="0" y="9"/>
                  </a:lnTo>
                  <a:lnTo>
                    <a:pt x="0" y="9"/>
                  </a:lnTo>
                  <a:lnTo>
                    <a:pt x="2" y="7"/>
                  </a:lnTo>
                  <a:lnTo>
                    <a:pt x="5" y="4"/>
                  </a:lnTo>
                  <a:lnTo>
                    <a:pt x="5"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39" name="Freeform 730">
              <a:extLst>
                <a:ext uri="{FF2B5EF4-FFF2-40B4-BE49-F238E27FC236}">
                  <a16:creationId xmlns:a16="http://schemas.microsoft.com/office/drawing/2014/main" id="{C106284A-90DF-4885-A71A-043FA1999301}"/>
                </a:ext>
              </a:extLst>
            </p:cNvPr>
            <p:cNvSpPr>
              <a:spLocks/>
            </p:cNvSpPr>
            <p:nvPr/>
          </p:nvSpPr>
          <p:spPr bwMode="auto">
            <a:xfrm>
              <a:off x="1102567" y="2628865"/>
              <a:ext cx="19050" cy="19050"/>
            </a:xfrm>
            <a:custGeom>
              <a:avLst/>
              <a:gdLst>
                <a:gd name="T0" fmla="*/ 2 w 12"/>
                <a:gd name="T1" fmla="*/ 9 h 12"/>
                <a:gd name="T2" fmla="*/ 0 w 12"/>
                <a:gd name="T3" fmla="*/ 9 h 12"/>
                <a:gd name="T4" fmla="*/ 0 w 12"/>
                <a:gd name="T5" fmla="*/ 12 h 12"/>
                <a:gd name="T6" fmla="*/ 2 w 12"/>
                <a:gd name="T7" fmla="*/ 12 h 12"/>
                <a:gd name="T8" fmla="*/ 7 w 12"/>
                <a:gd name="T9" fmla="*/ 12 h 12"/>
                <a:gd name="T10" fmla="*/ 9 w 12"/>
                <a:gd name="T11" fmla="*/ 9 h 12"/>
                <a:gd name="T12" fmla="*/ 12 w 12"/>
                <a:gd name="T13" fmla="*/ 9 h 12"/>
                <a:gd name="T14" fmla="*/ 12 w 12"/>
                <a:gd name="T15" fmla="*/ 7 h 12"/>
                <a:gd name="T16" fmla="*/ 7 w 12"/>
                <a:gd name="T17" fmla="*/ 2 h 12"/>
                <a:gd name="T18" fmla="*/ 5 w 12"/>
                <a:gd name="T19" fmla="*/ 0 h 12"/>
                <a:gd name="T20" fmla="*/ 5 w 12"/>
                <a:gd name="T21" fmla="*/ 2 h 12"/>
                <a:gd name="T22" fmla="*/ 2 w 12"/>
                <a:gd name="T23" fmla="*/ 2 h 12"/>
                <a:gd name="T24" fmla="*/ 2 w 12"/>
                <a:gd name="T25" fmla="*/ 5 h 12"/>
                <a:gd name="T26" fmla="*/ 5 w 12"/>
                <a:gd name="T27" fmla="*/ 5 h 12"/>
                <a:gd name="T28" fmla="*/ 5 w 12"/>
                <a:gd name="T29" fmla="*/ 9 h 12"/>
                <a:gd name="T30" fmla="*/ 5 w 12"/>
                <a:gd name="T31" fmla="*/ 9 h 12"/>
                <a:gd name="T32" fmla="*/ 5 w 12"/>
                <a:gd name="T33" fmla="*/ 9 h 12"/>
                <a:gd name="T34" fmla="*/ 2 w 12"/>
                <a:gd name="T35" fmla="*/ 9 h 12"/>
                <a:gd name="T36" fmla="*/ 2 w 12"/>
                <a:gd name="T3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9"/>
                  </a:moveTo>
                  <a:lnTo>
                    <a:pt x="0" y="9"/>
                  </a:lnTo>
                  <a:lnTo>
                    <a:pt x="0" y="12"/>
                  </a:lnTo>
                  <a:lnTo>
                    <a:pt x="2" y="12"/>
                  </a:lnTo>
                  <a:lnTo>
                    <a:pt x="7" y="12"/>
                  </a:lnTo>
                  <a:lnTo>
                    <a:pt x="9" y="9"/>
                  </a:lnTo>
                  <a:lnTo>
                    <a:pt x="12" y="9"/>
                  </a:lnTo>
                  <a:lnTo>
                    <a:pt x="12" y="7"/>
                  </a:lnTo>
                  <a:lnTo>
                    <a:pt x="7" y="2"/>
                  </a:lnTo>
                  <a:lnTo>
                    <a:pt x="5" y="0"/>
                  </a:lnTo>
                  <a:lnTo>
                    <a:pt x="5" y="2"/>
                  </a:lnTo>
                  <a:lnTo>
                    <a:pt x="2" y="2"/>
                  </a:lnTo>
                  <a:lnTo>
                    <a:pt x="2" y="5"/>
                  </a:lnTo>
                  <a:lnTo>
                    <a:pt x="5" y="5"/>
                  </a:lnTo>
                  <a:lnTo>
                    <a:pt x="5" y="9"/>
                  </a:lnTo>
                  <a:lnTo>
                    <a:pt x="5" y="9"/>
                  </a:lnTo>
                  <a:lnTo>
                    <a:pt x="5" y="9"/>
                  </a:lnTo>
                  <a:lnTo>
                    <a:pt x="2" y="9"/>
                  </a:lnTo>
                  <a:lnTo>
                    <a:pt x="2" y="9"/>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0" name="Freeform 731">
              <a:extLst>
                <a:ext uri="{FF2B5EF4-FFF2-40B4-BE49-F238E27FC236}">
                  <a16:creationId xmlns:a16="http://schemas.microsoft.com/office/drawing/2014/main" id="{679A988F-C487-4EF1-9369-D37611810D77}"/>
                </a:ext>
              </a:extLst>
            </p:cNvPr>
            <p:cNvSpPr>
              <a:spLocks/>
            </p:cNvSpPr>
            <p:nvPr/>
          </p:nvSpPr>
          <p:spPr bwMode="auto">
            <a:xfrm>
              <a:off x="1102567" y="2628865"/>
              <a:ext cx="19050" cy="19050"/>
            </a:xfrm>
            <a:custGeom>
              <a:avLst/>
              <a:gdLst>
                <a:gd name="T0" fmla="*/ 2 w 12"/>
                <a:gd name="T1" fmla="*/ 9 h 12"/>
                <a:gd name="T2" fmla="*/ 0 w 12"/>
                <a:gd name="T3" fmla="*/ 9 h 12"/>
                <a:gd name="T4" fmla="*/ 0 w 12"/>
                <a:gd name="T5" fmla="*/ 12 h 12"/>
                <a:gd name="T6" fmla="*/ 2 w 12"/>
                <a:gd name="T7" fmla="*/ 12 h 12"/>
                <a:gd name="T8" fmla="*/ 7 w 12"/>
                <a:gd name="T9" fmla="*/ 12 h 12"/>
                <a:gd name="T10" fmla="*/ 9 w 12"/>
                <a:gd name="T11" fmla="*/ 9 h 12"/>
                <a:gd name="T12" fmla="*/ 12 w 12"/>
                <a:gd name="T13" fmla="*/ 9 h 12"/>
                <a:gd name="T14" fmla="*/ 12 w 12"/>
                <a:gd name="T15" fmla="*/ 7 h 12"/>
                <a:gd name="T16" fmla="*/ 7 w 12"/>
                <a:gd name="T17" fmla="*/ 2 h 12"/>
                <a:gd name="T18" fmla="*/ 5 w 12"/>
                <a:gd name="T19" fmla="*/ 0 h 12"/>
                <a:gd name="T20" fmla="*/ 5 w 12"/>
                <a:gd name="T21" fmla="*/ 2 h 12"/>
                <a:gd name="T22" fmla="*/ 2 w 12"/>
                <a:gd name="T23" fmla="*/ 2 h 12"/>
                <a:gd name="T24" fmla="*/ 2 w 12"/>
                <a:gd name="T25" fmla="*/ 5 h 12"/>
                <a:gd name="T26" fmla="*/ 5 w 12"/>
                <a:gd name="T27" fmla="*/ 5 h 12"/>
                <a:gd name="T28" fmla="*/ 5 w 12"/>
                <a:gd name="T29" fmla="*/ 9 h 12"/>
                <a:gd name="T30" fmla="*/ 5 w 12"/>
                <a:gd name="T31" fmla="*/ 9 h 12"/>
                <a:gd name="T32" fmla="*/ 5 w 12"/>
                <a:gd name="T33" fmla="*/ 9 h 12"/>
                <a:gd name="T34" fmla="*/ 2 w 12"/>
                <a:gd name="T35" fmla="*/ 9 h 12"/>
                <a:gd name="T36" fmla="*/ 2 w 12"/>
                <a:gd name="T3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2" y="9"/>
                  </a:moveTo>
                  <a:lnTo>
                    <a:pt x="0" y="9"/>
                  </a:lnTo>
                  <a:lnTo>
                    <a:pt x="0" y="12"/>
                  </a:lnTo>
                  <a:lnTo>
                    <a:pt x="2" y="12"/>
                  </a:lnTo>
                  <a:lnTo>
                    <a:pt x="7" y="12"/>
                  </a:lnTo>
                  <a:lnTo>
                    <a:pt x="9" y="9"/>
                  </a:lnTo>
                  <a:lnTo>
                    <a:pt x="12" y="9"/>
                  </a:lnTo>
                  <a:lnTo>
                    <a:pt x="12" y="7"/>
                  </a:lnTo>
                  <a:lnTo>
                    <a:pt x="7" y="2"/>
                  </a:lnTo>
                  <a:lnTo>
                    <a:pt x="5" y="0"/>
                  </a:lnTo>
                  <a:lnTo>
                    <a:pt x="5" y="2"/>
                  </a:lnTo>
                  <a:lnTo>
                    <a:pt x="2" y="2"/>
                  </a:lnTo>
                  <a:lnTo>
                    <a:pt x="2" y="5"/>
                  </a:lnTo>
                  <a:lnTo>
                    <a:pt x="5" y="5"/>
                  </a:lnTo>
                  <a:lnTo>
                    <a:pt x="5" y="9"/>
                  </a:lnTo>
                  <a:lnTo>
                    <a:pt x="5" y="9"/>
                  </a:lnTo>
                  <a:lnTo>
                    <a:pt x="5" y="9"/>
                  </a:lnTo>
                  <a:lnTo>
                    <a:pt x="2" y="9"/>
                  </a:lnTo>
                  <a:lnTo>
                    <a:pt x="2" y="9"/>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1" name="Freeform 732">
              <a:extLst>
                <a:ext uri="{FF2B5EF4-FFF2-40B4-BE49-F238E27FC236}">
                  <a16:creationId xmlns:a16="http://schemas.microsoft.com/office/drawing/2014/main" id="{411A91B1-D9F8-4F7E-8B5F-AF9A1E165B77}"/>
                </a:ext>
              </a:extLst>
            </p:cNvPr>
            <p:cNvSpPr>
              <a:spLocks/>
            </p:cNvSpPr>
            <p:nvPr/>
          </p:nvSpPr>
          <p:spPr bwMode="auto">
            <a:xfrm>
              <a:off x="1094629" y="2576477"/>
              <a:ext cx="26988" cy="30162"/>
            </a:xfrm>
            <a:custGeom>
              <a:avLst/>
              <a:gdLst>
                <a:gd name="T0" fmla="*/ 7 w 17"/>
                <a:gd name="T1" fmla="*/ 0 h 19"/>
                <a:gd name="T2" fmla="*/ 5 w 17"/>
                <a:gd name="T3" fmla="*/ 0 h 19"/>
                <a:gd name="T4" fmla="*/ 5 w 17"/>
                <a:gd name="T5" fmla="*/ 7 h 19"/>
                <a:gd name="T6" fmla="*/ 3 w 17"/>
                <a:gd name="T7" fmla="*/ 2 h 19"/>
                <a:gd name="T8" fmla="*/ 0 w 17"/>
                <a:gd name="T9" fmla="*/ 7 h 19"/>
                <a:gd name="T10" fmla="*/ 0 w 17"/>
                <a:gd name="T11" fmla="*/ 9 h 19"/>
                <a:gd name="T12" fmla="*/ 0 w 17"/>
                <a:gd name="T13" fmla="*/ 9 h 19"/>
                <a:gd name="T14" fmla="*/ 3 w 17"/>
                <a:gd name="T15" fmla="*/ 9 h 19"/>
                <a:gd name="T16" fmla="*/ 5 w 17"/>
                <a:gd name="T17" fmla="*/ 14 h 19"/>
                <a:gd name="T18" fmla="*/ 7 w 17"/>
                <a:gd name="T19" fmla="*/ 14 h 19"/>
                <a:gd name="T20" fmla="*/ 7 w 17"/>
                <a:gd name="T21" fmla="*/ 16 h 19"/>
                <a:gd name="T22" fmla="*/ 12 w 17"/>
                <a:gd name="T23" fmla="*/ 16 h 19"/>
                <a:gd name="T24" fmla="*/ 12 w 17"/>
                <a:gd name="T25" fmla="*/ 19 h 19"/>
                <a:gd name="T26" fmla="*/ 14 w 17"/>
                <a:gd name="T27" fmla="*/ 19 h 19"/>
                <a:gd name="T28" fmla="*/ 17 w 17"/>
                <a:gd name="T29" fmla="*/ 14 h 19"/>
                <a:gd name="T30" fmla="*/ 12 w 17"/>
                <a:gd name="T31" fmla="*/ 14 h 19"/>
                <a:gd name="T32" fmla="*/ 12 w 17"/>
                <a:gd name="T33" fmla="*/ 12 h 19"/>
                <a:gd name="T34" fmla="*/ 12 w 17"/>
                <a:gd name="T35" fmla="*/ 9 h 19"/>
                <a:gd name="T36" fmla="*/ 10 w 17"/>
                <a:gd name="T37" fmla="*/ 7 h 19"/>
                <a:gd name="T38" fmla="*/ 10 w 17"/>
                <a:gd name="T39" fmla="*/ 5 h 19"/>
                <a:gd name="T40" fmla="*/ 7 w 17"/>
                <a:gd name="T41" fmla="*/ 2 h 19"/>
                <a:gd name="T42" fmla="*/ 7 w 17"/>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7" y="0"/>
                  </a:moveTo>
                  <a:lnTo>
                    <a:pt x="5" y="0"/>
                  </a:lnTo>
                  <a:lnTo>
                    <a:pt x="5" y="7"/>
                  </a:lnTo>
                  <a:lnTo>
                    <a:pt x="3" y="2"/>
                  </a:lnTo>
                  <a:lnTo>
                    <a:pt x="0" y="7"/>
                  </a:lnTo>
                  <a:lnTo>
                    <a:pt x="0" y="9"/>
                  </a:lnTo>
                  <a:lnTo>
                    <a:pt x="0" y="9"/>
                  </a:lnTo>
                  <a:lnTo>
                    <a:pt x="3" y="9"/>
                  </a:lnTo>
                  <a:lnTo>
                    <a:pt x="5" y="14"/>
                  </a:lnTo>
                  <a:lnTo>
                    <a:pt x="7" y="14"/>
                  </a:lnTo>
                  <a:lnTo>
                    <a:pt x="7" y="16"/>
                  </a:lnTo>
                  <a:lnTo>
                    <a:pt x="12" y="16"/>
                  </a:lnTo>
                  <a:lnTo>
                    <a:pt x="12" y="19"/>
                  </a:lnTo>
                  <a:lnTo>
                    <a:pt x="14" y="19"/>
                  </a:lnTo>
                  <a:lnTo>
                    <a:pt x="17" y="14"/>
                  </a:lnTo>
                  <a:lnTo>
                    <a:pt x="12" y="14"/>
                  </a:lnTo>
                  <a:lnTo>
                    <a:pt x="12" y="12"/>
                  </a:lnTo>
                  <a:lnTo>
                    <a:pt x="12" y="9"/>
                  </a:lnTo>
                  <a:lnTo>
                    <a:pt x="10" y="7"/>
                  </a:lnTo>
                  <a:lnTo>
                    <a:pt x="10" y="5"/>
                  </a:lnTo>
                  <a:lnTo>
                    <a:pt x="7" y="2"/>
                  </a:lnTo>
                  <a:lnTo>
                    <a:pt x="7"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2" name="Freeform 733">
              <a:extLst>
                <a:ext uri="{FF2B5EF4-FFF2-40B4-BE49-F238E27FC236}">
                  <a16:creationId xmlns:a16="http://schemas.microsoft.com/office/drawing/2014/main" id="{A178DD29-1185-4A02-821C-3EB1C2C6C27F}"/>
                </a:ext>
              </a:extLst>
            </p:cNvPr>
            <p:cNvSpPr>
              <a:spLocks/>
            </p:cNvSpPr>
            <p:nvPr/>
          </p:nvSpPr>
          <p:spPr bwMode="auto">
            <a:xfrm>
              <a:off x="1094629" y="2576477"/>
              <a:ext cx="26988" cy="30162"/>
            </a:xfrm>
            <a:custGeom>
              <a:avLst/>
              <a:gdLst>
                <a:gd name="T0" fmla="*/ 7 w 17"/>
                <a:gd name="T1" fmla="*/ 0 h 19"/>
                <a:gd name="T2" fmla="*/ 5 w 17"/>
                <a:gd name="T3" fmla="*/ 0 h 19"/>
                <a:gd name="T4" fmla="*/ 5 w 17"/>
                <a:gd name="T5" fmla="*/ 7 h 19"/>
                <a:gd name="T6" fmla="*/ 3 w 17"/>
                <a:gd name="T7" fmla="*/ 2 h 19"/>
                <a:gd name="T8" fmla="*/ 0 w 17"/>
                <a:gd name="T9" fmla="*/ 7 h 19"/>
                <a:gd name="T10" fmla="*/ 0 w 17"/>
                <a:gd name="T11" fmla="*/ 9 h 19"/>
                <a:gd name="T12" fmla="*/ 0 w 17"/>
                <a:gd name="T13" fmla="*/ 9 h 19"/>
                <a:gd name="T14" fmla="*/ 3 w 17"/>
                <a:gd name="T15" fmla="*/ 9 h 19"/>
                <a:gd name="T16" fmla="*/ 5 w 17"/>
                <a:gd name="T17" fmla="*/ 14 h 19"/>
                <a:gd name="T18" fmla="*/ 7 w 17"/>
                <a:gd name="T19" fmla="*/ 14 h 19"/>
                <a:gd name="T20" fmla="*/ 7 w 17"/>
                <a:gd name="T21" fmla="*/ 16 h 19"/>
                <a:gd name="T22" fmla="*/ 12 w 17"/>
                <a:gd name="T23" fmla="*/ 16 h 19"/>
                <a:gd name="T24" fmla="*/ 12 w 17"/>
                <a:gd name="T25" fmla="*/ 19 h 19"/>
                <a:gd name="T26" fmla="*/ 14 w 17"/>
                <a:gd name="T27" fmla="*/ 19 h 19"/>
                <a:gd name="T28" fmla="*/ 17 w 17"/>
                <a:gd name="T29" fmla="*/ 14 h 19"/>
                <a:gd name="T30" fmla="*/ 12 w 17"/>
                <a:gd name="T31" fmla="*/ 14 h 19"/>
                <a:gd name="T32" fmla="*/ 12 w 17"/>
                <a:gd name="T33" fmla="*/ 12 h 19"/>
                <a:gd name="T34" fmla="*/ 12 w 17"/>
                <a:gd name="T35" fmla="*/ 9 h 19"/>
                <a:gd name="T36" fmla="*/ 10 w 17"/>
                <a:gd name="T37" fmla="*/ 7 h 19"/>
                <a:gd name="T38" fmla="*/ 10 w 17"/>
                <a:gd name="T39" fmla="*/ 5 h 19"/>
                <a:gd name="T40" fmla="*/ 7 w 17"/>
                <a:gd name="T41" fmla="*/ 2 h 19"/>
                <a:gd name="T42" fmla="*/ 7 w 17"/>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7" y="0"/>
                  </a:moveTo>
                  <a:lnTo>
                    <a:pt x="5" y="0"/>
                  </a:lnTo>
                  <a:lnTo>
                    <a:pt x="5" y="7"/>
                  </a:lnTo>
                  <a:lnTo>
                    <a:pt x="3" y="2"/>
                  </a:lnTo>
                  <a:lnTo>
                    <a:pt x="0" y="7"/>
                  </a:lnTo>
                  <a:lnTo>
                    <a:pt x="0" y="9"/>
                  </a:lnTo>
                  <a:lnTo>
                    <a:pt x="0" y="9"/>
                  </a:lnTo>
                  <a:lnTo>
                    <a:pt x="3" y="9"/>
                  </a:lnTo>
                  <a:lnTo>
                    <a:pt x="5" y="14"/>
                  </a:lnTo>
                  <a:lnTo>
                    <a:pt x="7" y="14"/>
                  </a:lnTo>
                  <a:lnTo>
                    <a:pt x="7" y="16"/>
                  </a:lnTo>
                  <a:lnTo>
                    <a:pt x="12" y="16"/>
                  </a:lnTo>
                  <a:lnTo>
                    <a:pt x="12" y="19"/>
                  </a:lnTo>
                  <a:lnTo>
                    <a:pt x="14" y="19"/>
                  </a:lnTo>
                  <a:lnTo>
                    <a:pt x="17" y="14"/>
                  </a:lnTo>
                  <a:lnTo>
                    <a:pt x="12" y="14"/>
                  </a:lnTo>
                  <a:lnTo>
                    <a:pt x="12" y="12"/>
                  </a:lnTo>
                  <a:lnTo>
                    <a:pt x="12" y="9"/>
                  </a:lnTo>
                  <a:lnTo>
                    <a:pt x="10" y="7"/>
                  </a:lnTo>
                  <a:lnTo>
                    <a:pt x="10" y="5"/>
                  </a:lnTo>
                  <a:lnTo>
                    <a:pt x="7" y="2"/>
                  </a:lnTo>
                  <a:lnTo>
                    <a:pt x="7"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3" name="Freeform 734">
              <a:extLst>
                <a:ext uri="{FF2B5EF4-FFF2-40B4-BE49-F238E27FC236}">
                  <a16:creationId xmlns:a16="http://schemas.microsoft.com/office/drawing/2014/main" id="{91051697-2711-4BDD-B25E-DA77FCCFB4FC}"/>
                </a:ext>
              </a:extLst>
            </p:cNvPr>
            <p:cNvSpPr>
              <a:spLocks/>
            </p:cNvSpPr>
            <p:nvPr/>
          </p:nvSpPr>
          <p:spPr bwMode="auto">
            <a:xfrm>
              <a:off x="1672478" y="1871627"/>
              <a:ext cx="63500" cy="60325"/>
            </a:xfrm>
            <a:custGeom>
              <a:avLst/>
              <a:gdLst>
                <a:gd name="T0" fmla="*/ 24 w 40"/>
                <a:gd name="T1" fmla="*/ 0 h 38"/>
                <a:gd name="T2" fmla="*/ 26 w 40"/>
                <a:gd name="T3" fmla="*/ 0 h 38"/>
                <a:gd name="T4" fmla="*/ 28 w 40"/>
                <a:gd name="T5" fmla="*/ 2 h 38"/>
                <a:gd name="T6" fmla="*/ 28 w 40"/>
                <a:gd name="T7" fmla="*/ 5 h 38"/>
                <a:gd name="T8" fmla="*/ 26 w 40"/>
                <a:gd name="T9" fmla="*/ 7 h 38"/>
                <a:gd name="T10" fmla="*/ 28 w 40"/>
                <a:gd name="T11" fmla="*/ 7 h 38"/>
                <a:gd name="T12" fmla="*/ 28 w 40"/>
                <a:gd name="T13" fmla="*/ 9 h 38"/>
                <a:gd name="T14" fmla="*/ 28 w 40"/>
                <a:gd name="T15" fmla="*/ 14 h 38"/>
                <a:gd name="T16" fmla="*/ 26 w 40"/>
                <a:gd name="T17" fmla="*/ 16 h 38"/>
                <a:gd name="T18" fmla="*/ 26 w 40"/>
                <a:gd name="T19" fmla="*/ 16 h 38"/>
                <a:gd name="T20" fmla="*/ 28 w 40"/>
                <a:gd name="T21" fmla="*/ 14 h 38"/>
                <a:gd name="T22" fmla="*/ 31 w 40"/>
                <a:gd name="T23" fmla="*/ 9 h 38"/>
                <a:gd name="T24" fmla="*/ 33 w 40"/>
                <a:gd name="T25" fmla="*/ 9 h 38"/>
                <a:gd name="T26" fmla="*/ 33 w 40"/>
                <a:gd name="T27" fmla="*/ 7 h 38"/>
                <a:gd name="T28" fmla="*/ 33 w 40"/>
                <a:gd name="T29" fmla="*/ 5 h 38"/>
                <a:gd name="T30" fmla="*/ 38 w 40"/>
                <a:gd name="T31" fmla="*/ 5 h 38"/>
                <a:gd name="T32" fmla="*/ 40 w 40"/>
                <a:gd name="T33" fmla="*/ 9 h 38"/>
                <a:gd name="T34" fmla="*/ 40 w 40"/>
                <a:gd name="T35" fmla="*/ 12 h 38"/>
                <a:gd name="T36" fmla="*/ 38 w 40"/>
                <a:gd name="T37" fmla="*/ 16 h 38"/>
                <a:gd name="T38" fmla="*/ 38 w 40"/>
                <a:gd name="T39" fmla="*/ 19 h 38"/>
                <a:gd name="T40" fmla="*/ 33 w 40"/>
                <a:gd name="T41" fmla="*/ 19 h 38"/>
                <a:gd name="T42" fmla="*/ 31 w 40"/>
                <a:gd name="T43" fmla="*/ 21 h 38"/>
                <a:gd name="T44" fmla="*/ 31 w 40"/>
                <a:gd name="T45" fmla="*/ 26 h 38"/>
                <a:gd name="T46" fmla="*/ 28 w 40"/>
                <a:gd name="T47" fmla="*/ 21 h 38"/>
                <a:gd name="T48" fmla="*/ 24 w 40"/>
                <a:gd name="T49" fmla="*/ 26 h 38"/>
                <a:gd name="T50" fmla="*/ 24 w 40"/>
                <a:gd name="T51" fmla="*/ 28 h 38"/>
                <a:gd name="T52" fmla="*/ 24 w 40"/>
                <a:gd name="T53" fmla="*/ 31 h 38"/>
                <a:gd name="T54" fmla="*/ 21 w 40"/>
                <a:gd name="T55" fmla="*/ 28 h 38"/>
                <a:gd name="T56" fmla="*/ 21 w 40"/>
                <a:gd name="T57" fmla="*/ 26 h 38"/>
                <a:gd name="T58" fmla="*/ 21 w 40"/>
                <a:gd name="T59" fmla="*/ 23 h 38"/>
                <a:gd name="T60" fmla="*/ 19 w 40"/>
                <a:gd name="T61" fmla="*/ 28 h 38"/>
                <a:gd name="T62" fmla="*/ 16 w 40"/>
                <a:gd name="T63" fmla="*/ 31 h 38"/>
                <a:gd name="T64" fmla="*/ 9 w 40"/>
                <a:gd name="T65" fmla="*/ 35 h 38"/>
                <a:gd name="T66" fmla="*/ 9 w 40"/>
                <a:gd name="T67" fmla="*/ 33 h 38"/>
                <a:gd name="T68" fmla="*/ 7 w 40"/>
                <a:gd name="T69" fmla="*/ 33 h 38"/>
                <a:gd name="T70" fmla="*/ 5 w 40"/>
                <a:gd name="T71" fmla="*/ 35 h 38"/>
                <a:gd name="T72" fmla="*/ 0 w 40"/>
                <a:gd name="T73" fmla="*/ 38 h 38"/>
                <a:gd name="T74" fmla="*/ 0 w 40"/>
                <a:gd name="T75" fmla="*/ 35 h 38"/>
                <a:gd name="T76" fmla="*/ 0 w 40"/>
                <a:gd name="T77" fmla="*/ 31 h 38"/>
                <a:gd name="T78" fmla="*/ 2 w 40"/>
                <a:gd name="T79" fmla="*/ 31 h 38"/>
                <a:gd name="T80" fmla="*/ 2 w 40"/>
                <a:gd name="T81" fmla="*/ 28 h 38"/>
                <a:gd name="T82" fmla="*/ 5 w 40"/>
                <a:gd name="T83" fmla="*/ 28 h 38"/>
                <a:gd name="T84" fmla="*/ 7 w 40"/>
                <a:gd name="T85" fmla="*/ 26 h 38"/>
                <a:gd name="T86" fmla="*/ 9 w 40"/>
                <a:gd name="T87" fmla="*/ 26 h 38"/>
                <a:gd name="T88" fmla="*/ 12 w 40"/>
                <a:gd name="T89" fmla="*/ 23 h 38"/>
                <a:gd name="T90" fmla="*/ 16 w 40"/>
                <a:gd name="T91" fmla="*/ 21 h 38"/>
                <a:gd name="T92" fmla="*/ 16 w 40"/>
                <a:gd name="T93" fmla="*/ 19 h 38"/>
                <a:gd name="T94" fmla="*/ 21 w 40"/>
                <a:gd name="T95" fmla="*/ 16 h 38"/>
                <a:gd name="T96" fmla="*/ 21 w 40"/>
                <a:gd name="T97" fmla="*/ 12 h 38"/>
                <a:gd name="T98" fmla="*/ 21 w 40"/>
                <a:gd name="T99" fmla="*/ 12 h 38"/>
                <a:gd name="T100" fmla="*/ 21 w 40"/>
                <a:gd name="T101" fmla="*/ 7 h 38"/>
                <a:gd name="T102" fmla="*/ 21 w 40"/>
                <a:gd name="T103" fmla="*/ 5 h 38"/>
                <a:gd name="T104" fmla="*/ 24 w 40"/>
                <a:gd name="T10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 h="38">
                  <a:moveTo>
                    <a:pt x="24" y="0"/>
                  </a:moveTo>
                  <a:lnTo>
                    <a:pt x="26" y="0"/>
                  </a:lnTo>
                  <a:lnTo>
                    <a:pt x="28" y="2"/>
                  </a:lnTo>
                  <a:lnTo>
                    <a:pt x="28" y="5"/>
                  </a:lnTo>
                  <a:lnTo>
                    <a:pt x="26" y="7"/>
                  </a:lnTo>
                  <a:lnTo>
                    <a:pt x="28" y="7"/>
                  </a:lnTo>
                  <a:lnTo>
                    <a:pt x="28" y="9"/>
                  </a:lnTo>
                  <a:lnTo>
                    <a:pt x="28" y="14"/>
                  </a:lnTo>
                  <a:lnTo>
                    <a:pt x="26" y="16"/>
                  </a:lnTo>
                  <a:lnTo>
                    <a:pt x="26" y="16"/>
                  </a:lnTo>
                  <a:lnTo>
                    <a:pt x="28" y="14"/>
                  </a:lnTo>
                  <a:lnTo>
                    <a:pt x="31" y="9"/>
                  </a:lnTo>
                  <a:lnTo>
                    <a:pt x="33" y="9"/>
                  </a:lnTo>
                  <a:lnTo>
                    <a:pt x="33" y="7"/>
                  </a:lnTo>
                  <a:lnTo>
                    <a:pt x="33" y="5"/>
                  </a:lnTo>
                  <a:lnTo>
                    <a:pt x="38" y="5"/>
                  </a:lnTo>
                  <a:lnTo>
                    <a:pt x="40" y="9"/>
                  </a:lnTo>
                  <a:lnTo>
                    <a:pt x="40" y="12"/>
                  </a:lnTo>
                  <a:lnTo>
                    <a:pt x="38" y="16"/>
                  </a:lnTo>
                  <a:lnTo>
                    <a:pt x="38" y="19"/>
                  </a:lnTo>
                  <a:lnTo>
                    <a:pt x="33" y="19"/>
                  </a:lnTo>
                  <a:lnTo>
                    <a:pt x="31" y="21"/>
                  </a:lnTo>
                  <a:lnTo>
                    <a:pt x="31" y="26"/>
                  </a:lnTo>
                  <a:lnTo>
                    <a:pt x="28" y="21"/>
                  </a:lnTo>
                  <a:lnTo>
                    <a:pt x="24" y="26"/>
                  </a:lnTo>
                  <a:lnTo>
                    <a:pt x="24" y="28"/>
                  </a:lnTo>
                  <a:lnTo>
                    <a:pt x="24" y="31"/>
                  </a:lnTo>
                  <a:lnTo>
                    <a:pt x="21" y="28"/>
                  </a:lnTo>
                  <a:lnTo>
                    <a:pt x="21" y="26"/>
                  </a:lnTo>
                  <a:lnTo>
                    <a:pt x="21" y="23"/>
                  </a:lnTo>
                  <a:lnTo>
                    <a:pt x="19" y="28"/>
                  </a:lnTo>
                  <a:lnTo>
                    <a:pt x="16" y="31"/>
                  </a:lnTo>
                  <a:lnTo>
                    <a:pt x="9" y="35"/>
                  </a:lnTo>
                  <a:lnTo>
                    <a:pt x="9" y="33"/>
                  </a:lnTo>
                  <a:lnTo>
                    <a:pt x="7" y="33"/>
                  </a:lnTo>
                  <a:lnTo>
                    <a:pt x="5" y="35"/>
                  </a:lnTo>
                  <a:lnTo>
                    <a:pt x="0" y="38"/>
                  </a:lnTo>
                  <a:lnTo>
                    <a:pt x="0" y="35"/>
                  </a:lnTo>
                  <a:lnTo>
                    <a:pt x="0" y="31"/>
                  </a:lnTo>
                  <a:lnTo>
                    <a:pt x="2" y="31"/>
                  </a:lnTo>
                  <a:lnTo>
                    <a:pt x="2" y="28"/>
                  </a:lnTo>
                  <a:lnTo>
                    <a:pt x="5" y="28"/>
                  </a:lnTo>
                  <a:lnTo>
                    <a:pt x="7" y="26"/>
                  </a:lnTo>
                  <a:lnTo>
                    <a:pt x="9" y="26"/>
                  </a:lnTo>
                  <a:lnTo>
                    <a:pt x="12" y="23"/>
                  </a:lnTo>
                  <a:lnTo>
                    <a:pt x="16" y="21"/>
                  </a:lnTo>
                  <a:lnTo>
                    <a:pt x="16" y="19"/>
                  </a:lnTo>
                  <a:lnTo>
                    <a:pt x="21" y="16"/>
                  </a:lnTo>
                  <a:lnTo>
                    <a:pt x="21" y="12"/>
                  </a:lnTo>
                  <a:lnTo>
                    <a:pt x="21" y="12"/>
                  </a:lnTo>
                  <a:lnTo>
                    <a:pt x="21" y="7"/>
                  </a:lnTo>
                  <a:lnTo>
                    <a:pt x="21" y="5"/>
                  </a:lnTo>
                  <a:lnTo>
                    <a:pt x="2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4" name="Freeform 735">
              <a:extLst>
                <a:ext uri="{FF2B5EF4-FFF2-40B4-BE49-F238E27FC236}">
                  <a16:creationId xmlns:a16="http://schemas.microsoft.com/office/drawing/2014/main" id="{1626F499-F457-4F82-9C70-3C1C098EC32F}"/>
                </a:ext>
              </a:extLst>
            </p:cNvPr>
            <p:cNvSpPr>
              <a:spLocks/>
            </p:cNvSpPr>
            <p:nvPr/>
          </p:nvSpPr>
          <p:spPr bwMode="auto">
            <a:xfrm>
              <a:off x="1672478" y="1871627"/>
              <a:ext cx="63500" cy="60325"/>
            </a:xfrm>
            <a:custGeom>
              <a:avLst/>
              <a:gdLst>
                <a:gd name="T0" fmla="*/ 24 w 40"/>
                <a:gd name="T1" fmla="*/ 0 h 38"/>
                <a:gd name="T2" fmla="*/ 26 w 40"/>
                <a:gd name="T3" fmla="*/ 0 h 38"/>
                <a:gd name="T4" fmla="*/ 28 w 40"/>
                <a:gd name="T5" fmla="*/ 2 h 38"/>
                <a:gd name="T6" fmla="*/ 28 w 40"/>
                <a:gd name="T7" fmla="*/ 5 h 38"/>
                <a:gd name="T8" fmla="*/ 26 w 40"/>
                <a:gd name="T9" fmla="*/ 7 h 38"/>
                <a:gd name="T10" fmla="*/ 28 w 40"/>
                <a:gd name="T11" fmla="*/ 7 h 38"/>
                <a:gd name="T12" fmla="*/ 28 w 40"/>
                <a:gd name="T13" fmla="*/ 9 h 38"/>
                <a:gd name="T14" fmla="*/ 28 w 40"/>
                <a:gd name="T15" fmla="*/ 14 h 38"/>
                <a:gd name="T16" fmla="*/ 26 w 40"/>
                <a:gd name="T17" fmla="*/ 16 h 38"/>
                <a:gd name="T18" fmla="*/ 26 w 40"/>
                <a:gd name="T19" fmla="*/ 16 h 38"/>
                <a:gd name="T20" fmla="*/ 28 w 40"/>
                <a:gd name="T21" fmla="*/ 14 h 38"/>
                <a:gd name="T22" fmla="*/ 31 w 40"/>
                <a:gd name="T23" fmla="*/ 9 h 38"/>
                <a:gd name="T24" fmla="*/ 33 w 40"/>
                <a:gd name="T25" fmla="*/ 9 h 38"/>
                <a:gd name="T26" fmla="*/ 33 w 40"/>
                <a:gd name="T27" fmla="*/ 7 h 38"/>
                <a:gd name="T28" fmla="*/ 33 w 40"/>
                <a:gd name="T29" fmla="*/ 5 h 38"/>
                <a:gd name="T30" fmla="*/ 38 w 40"/>
                <a:gd name="T31" fmla="*/ 5 h 38"/>
                <a:gd name="T32" fmla="*/ 40 w 40"/>
                <a:gd name="T33" fmla="*/ 9 h 38"/>
                <a:gd name="T34" fmla="*/ 40 w 40"/>
                <a:gd name="T35" fmla="*/ 12 h 38"/>
                <a:gd name="T36" fmla="*/ 38 w 40"/>
                <a:gd name="T37" fmla="*/ 16 h 38"/>
                <a:gd name="T38" fmla="*/ 38 w 40"/>
                <a:gd name="T39" fmla="*/ 19 h 38"/>
                <a:gd name="T40" fmla="*/ 33 w 40"/>
                <a:gd name="T41" fmla="*/ 19 h 38"/>
                <a:gd name="T42" fmla="*/ 31 w 40"/>
                <a:gd name="T43" fmla="*/ 21 h 38"/>
                <a:gd name="T44" fmla="*/ 31 w 40"/>
                <a:gd name="T45" fmla="*/ 26 h 38"/>
                <a:gd name="T46" fmla="*/ 28 w 40"/>
                <a:gd name="T47" fmla="*/ 21 h 38"/>
                <a:gd name="T48" fmla="*/ 24 w 40"/>
                <a:gd name="T49" fmla="*/ 26 h 38"/>
                <a:gd name="T50" fmla="*/ 24 w 40"/>
                <a:gd name="T51" fmla="*/ 28 h 38"/>
                <a:gd name="T52" fmla="*/ 24 w 40"/>
                <a:gd name="T53" fmla="*/ 31 h 38"/>
                <a:gd name="T54" fmla="*/ 21 w 40"/>
                <a:gd name="T55" fmla="*/ 28 h 38"/>
                <a:gd name="T56" fmla="*/ 21 w 40"/>
                <a:gd name="T57" fmla="*/ 26 h 38"/>
                <a:gd name="T58" fmla="*/ 21 w 40"/>
                <a:gd name="T59" fmla="*/ 23 h 38"/>
                <a:gd name="T60" fmla="*/ 19 w 40"/>
                <a:gd name="T61" fmla="*/ 28 h 38"/>
                <a:gd name="T62" fmla="*/ 16 w 40"/>
                <a:gd name="T63" fmla="*/ 31 h 38"/>
                <a:gd name="T64" fmla="*/ 9 w 40"/>
                <a:gd name="T65" fmla="*/ 35 h 38"/>
                <a:gd name="T66" fmla="*/ 9 w 40"/>
                <a:gd name="T67" fmla="*/ 33 h 38"/>
                <a:gd name="T68" fmla="*/ 7 w 40"/>
                <a:gd name="T69" fmla="*/ 33 h 38"/>
                <a:gd name="T70" fmla="*/ 5 w 40"/>
                <a:gd name="T71" fmla="*/ 35 h 38"/>
                <a:gd name="T72" fmla="*/ 0 w 40"/>
                <a:gd name="T73" fmla="*/ 38 h 38"/>
                <a:gd name="T74" fmla="*/ 0 w 40"/>
                <a:gd name="T75" fmla="*/ 35 h 38"/>
                <a:gd name="T76" fmla="*/ 0 w 40"/>
                <a:gd name="T77" fmla="*/ 31 h 38"/>
                <a:gd name="T78" fmla="*/ 2 w 40"/>
                <a:gd name="T79" fmla="*/ 31 h 38"/>
                <a:gd name="T80" fmla="*/ 2 w 40"/>
                <a:gd name="T81" fmla="*/ 28 h 38"/>
                <a:gd name="T82" fmla="*/ 5 w 40"/>
                <a:gd name="T83" fmla="*/ 28 h 38"/>
                <a:gd name="T84" fmla="*/ 7 w 40"/>
                <a:gd name="T85" fmla="*/ 26 h 38"/>
                <a:gd name="T86" fmla="*/ 9 w 40"/>
                <a:gd name="T87" fmla="*/ 26 h 38"/>
                <a:gd name="T88" fmla="*/ 12 w 40"/>
                <a:gd name="T89" fmla="*/ 23 h 38"/>
                <a:gd name="T90" fmla="*/ 16 w 40"/>
                <a:gd name="T91" fmla="*/ 21 h 38"/>
                <a:gd name="T92" fmla="*/ 16 w 40"/>
                <a:gd name="T93" fmla="*/ 19 h 38"/>
                <a:gd name="T94" fmla="*/ 21 w 40"/>
                <a:gd name="T95" fmla="*/ 16 h 38"/>
                <a:gd name="T96" fmla="*/ 21 w 40"/>
                <a:gd name="T97" fmla="*/ 12 h 38"/>
                <a:gd name="T98" fmla="*/ 21 w 40"/>
                <a:gd name="T99" fmla="*/ 12 h 38"/>
                <a:gd name="T100" fmla="*/ 21 w 40"/>
                <a:gd name="T101" fmla="*/ 7 h 38"/>
                <a:gd name="T102" fmla="*/ 21 w 40"/>
                <a:gd name="T103" fmla="*/ 5 h 38"/>
                <a:gd name="T104" fmla="*/ 24 w 40"/>
                <a:gd name="T10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 h="38">
                  <a:moveTo>
                    <a:pt x="24" y="0"/>
                  </a:moveTo>
                  <a:lnTo>
                    <a:pt x="26" y="0"/>
                  </a:lnTo>
                  <a:lnTo>
                    <a:pt x="28" y="2"/>
                  </a:lnTo>
                  <a:lnTo>
                    <a:pt x="28" y="5"/>
                  </a:lnTo>
                  <a:lnTo>
                    <a:pt x="26" y="7"/>
                  </a:lnTo>
                  <a:lnTo>
                    <a:pt x="28" y="7"/>
                  </a:lnTo>
                  <a:lnTo>
                    <a:pt x="28" y="9"/>
                  </a:lnTo>
                  <a:lnTo>
                    <a:pt x="28" y="14"/>
                  </a:lnTo>
                  <a:lnTo>
                    <a:pt x="26" y="16"/>
                  </a:lnTo>
                  <a:lnTo>
                    <a:pt x="26" y="16"/>
                  </a:lnTo>
                  <a:lnTo>
                    <a:pt x="28" y="14"/>
                  </a:lnTo>
                  <a:lnTo>
                    <a:pt x="31" y="9"/>
                  </a:lnTo>
                  <a:lnTo>
                    <a:pt x="33" y="9"/>
                  </a:lnTo>
                  <a:lnTo>
                    <a:pt x="33" y="7"/>
                  </a:lnTo>
                  <a:lnTo>
                    <a:pt x="33" y="5"/>
                  </a:lnTo>
                  <a:lnTo>
                    <a:pt x="38" y="5"/>
                  </a:lnTo>
                  <a:lnTo>
                    <a:pt x="40" y="9"/>
                  </a:lnTo>
                  <a:lnTo>
                    <a:pt x="40" y="12"/>
                  </a:lnTo>
                  <a:lnTo>
                    <a:pt x="38" y="16"/>
                  </a:lnTo>
                  <a:lnTo>
                    <a:pt x="38" y="19"/>
                  </a:lnTo>
                  <a:lnTo>
                    <a:pt x="33" y="19"/>
                  </a:lnTo>
                  <a:lnTo>
                    <a:pt x="31" y="21"/>
                  </a:lnTo>
                  <a:lnTo>
                    <a:pt x="31" y="26"/>
                  </a:lnTo>
                  <a:lnTo>
                    <a:pt x="28" y="21"/>
                  </a:lnTo>
                  <a:lnTo>
                    <a:pt x="24" y="26"/>
                  </a:lnTo>
                  <a:lnTo>
                    <a:pt x="24" y="28"/>
                  </a:lnTo>
                  <a:lnTo>
                    <a:pt x="24" y="31"/>
                  </a:lnTo>
                  <a:lnTo>
                    <a:pt x="21" y="28"/>
                  </a:lnTo>
                  <a:lnTo>
                    <a:pt x="21" y="26"/>
                  </a:lnTo>
                  <a:lnTo>
                    <a:pt x="21" y="23"/>
                  </a:lnTo>
                  <a:lnTo>
                    <a:pt x="19" y="28"/>
                  </a:lnTo>
                  <a:lnTo>
                    <a:pt x="16" y="31"/>
                  </a:lnTo>
                  <a:lnTo>
                    <a:pt x="9" y="35"/>
                  </a:lnTo>
                  <a:lnTo>
                    <a:pt x="9" y="33"/>
                  </a:lnTo>
                  <a:lnTo>
                    <a:pt x="7" y="33"/>
                  </a:lnTo>
                  <a:lnTo>
                    <a:pt x="5" y="35"/>
                  </a:lnTo>
                  <a:lnTo>
                    <a:pt x="0" y="38"/>
                  </a:lnTo>
                  <a:lnTo>
                    <a:pt x="0" y="35"/>
                  </a:lnTo>
                  <a:lnTo>
                    <a:pt x="0" y="31"/>
                  </a:lnTo>
                  <a:lnTo>
                    <a:pt x="2" y="31"/>
                  </a:lnTo>
                  <a:lnTo>
                    <a:pt x="2" y="28"/>
                  </a:lnTo>
                  <a:lnTo>
                    <a:pt x="5" y="28"/>
                  </a:lnTo>
                  <a:lnTo>
                    <a:pt x="7" y="26"/>
                  </a:lnTo>
                  <a:lnTo>
                    <a:pt x="9" y="26"/>
                  </a:lnTo>
                  <a:lnTo>
                    <a:pt x="12" y="23"/>
                  </a:lnTo>
                  <a:lnTo>
                    <a:pt x="16" y="21"/>
                  </a:lnTo>
                  <a:lnTo>
                    <a:pt x="16" y="19"/>
                  </a:lnTo>
                  <a:lnTo>
                    <a:pt x="21" y="16"/>
                  </a:lnTo>
                  <a:lnTo>
                    <a:pt x="21" y="12"/>
                  </a:lnTo>
                  <a:lnTo>
                    <a:pt x="21" y="12"/>
                  </a:lnTo>
                  <a:lnTo>
                    <a:pt x="21" y="7"/>
                  </a:lnTo>
                  <a:lnTo>
                    <a:pt x="21" y="5"/>
                  </a:lnTo>
                  <a:lnTo>
                    <a:pt x="2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5" name="Freeform 736">
              <a:extLst>
                <a:ext uri="{FF2B5EF4-FFF2-40B4-BE49-F238E27FC236}">
                  <a16:creationId xmlns:a16="http://schemas.microsoft.com/office/drawing/2014/main" id="{E25B3D08-914B-40AB-B015-6E6E46C2398F}"/>
                </a:ext>
              </a:extLst>
            </p:cNvPr>
            <p:cNvSpPr>
              <a:spLocks/>
            </p:cNvSpPr>
            <p:nvPr/>
          </p:nvSpPr>
          <p:spPr bwMode="auto">
            <a:xfrm>
              <a:off x="1675653" y="1871627"/>
              <a:ext cx="26988" cy="30162"/>
            </a:xfrm>
            <a:custGeom>
              <a:avLst/>
              <a:gdLst>
                <a:gd name="T0" fmla="*/ 0 w 17"/>
                <a:gd name="T1" fmla="*/ 12 h 19"/>
                <a:gd name="T2" fmla="*/ 3 w 17"/>
                <a:gd name="T3" fmla="*/ 12 h 19"/>
                <a:gd name="T4" fmla="*/ 3 w 17"/>
                <a:gd name="T5" fmla="*/ 9 h 19"/>
                <a:gd name="T6" fmla="*/ 3 w 17"/>
                <a:gd name="T7" fmla="*/ 9 h 19"/>
                <a:gd name="T8" fmla="*/ 3 w 17"/>
                <a:gd name="T9" fmla="*/ 9 h 19"/>
                <a:gd name="T10" fmla="*/ 5 w 17"/>
                <a:gd name="T11" fmla="*/ 7 h 19"/>
                <a:gd name="T12" fmla="*/ 5 w 17"/>
                <a:gd name="T13" fmla="*/ 9 h 19"/>
                <a:gd name="T14" fmla="*/ 7 w 17"/>
                <a:gd name="T15" fmla="*/ 7 h 19"/>
                <a:gd name="T16" fmla="*/ 7 w 17"/>
                <a:gd name="T17" fmla="*/ 2 h 19"/>
                <a:gd name="T18" fmla="*/ 10 w 17"/>
                <a:gd name="T19" fmla="*/ 7 h 19"/>
                <a:gd name="T20" fmla="*/ 12 w 17"/>
                <a:gd name="T21" fmla="*/ 7 h 19"/>
                <a:gd name="T22" fmla="*/ 12 w 17"/>
                <a:gd name="T23" fmla="*/ 0 h 19"/>
                <a:gd name="T24" fmla="*/ 14 w 17"/>
                <a:gd name="T25" fmla="*/ 7 h 19"/>
                <a:gd name="T26" fmla="*/ 14 w 17"/>
                <a:gd name="T27" fmla="*/ 9 h 19"/>
                <a:gd name="T28" fmla="*/ 17 w 17"/>
                <a:gd name="T29" fmla="*/ 14 h 19"/>
                <a:gd name="T30" fmla="*/ 14 w 17"/>
                <a:gd name="T31" fmla="*/ 14 h 19"/>
                <a:gd name="T32" fmla="*/ 12 w 17"/>
                <a:gd name="T33" fmla="*/ 16 h 19"/>
                <a:gd name="T34" fmla="*/ 10 w 17"/>
                <a:gd name="T35" fmla="*/ 19 h 19"/>
                <a:gd name="T36" fmla="*/ 7 w 17"/>
                <a:gd name="T37" fmla="*/ 14 h 19"/>
                <a:gd name="T38" fmla="*/ 10 w 17"/>
                <a:gd name="T39" fmla="*/ 14 h 19"/>
                <a:gd name="T40" fmla="*/ 12 w 17"/>
                <a:gd name="T41" fmla="*/ 9 h 19"/>
                <a:gd name="T42" fmla="*/ 10 w 17"/>
                <a:gd name="T43" fmla="*/ 14 h 19"/>
                <a:gd name="T44" fmla="*/ 7 w 17"/>
                <a:gd name="T45" fmla="*/ 14 h 19"/>
                <a:gd name="T46" fmla="*/ 3 w 17"/>
                <a:gd name="T47" fmla="*/ 16 h 19"/>
                <a:gd name="T48" fmla="*/ 0 w 17"/>
                <a:gd name="T49" fmla="*/ 16 h 19"/>
                <a:gd name="T50" fmla="*/ 0 w 17"/>
                <a:gd name="T51"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19">
                  <a:moveTo>
                    <a:pt x="0" y="12"/>
                  </a:moveTo>
                  <a:lnTo>
                    <a:pt x="3" y="12"/>
                  </a:lnTo>
                  <a:lnTo>
                    <a:pt x="3" y="9"/>
                  </a:lnTo>
                  <a:lnTo>
                    <a:pt x="3" y="9"/>
                  </a:lnTo>
                  <a:lnTo>
                    <a:pt x="3" y="9"/>
                  </a:lnTo>
                  <a:lnTo>
                    <a:pt x="5" y="7"/>
                  </a:lnTo>
                  <a:lnTo>
                    <a:pt x="5" y="9"/>
                  </a:lnTo>
                  <a:lnTo>
                    <a:pt x="7" y="7"/>
                  </a:lnTo>
                  <a:lnTo>
                    <a:pt x="7" y="2"/>
                  </a:lnTo>
                  <a:lnTo>
                    <a:pt x="10" y="7"/>
                  </a:lnTo>
                  <a:lnTo>
                    <a:pt x="12" y="7"/>
                  </a:lnTo>
                  <a:lnTo>
                    <a:pt x="12" y="0"/>
                  </a:lnTo>
                  <a:lnTo>
                    <a:pt x="14" y="7"/>
                  </a:lnTo>
                  <a:lnTo>
                    <a:pt x="14" y="9"/>
                  </a:lnTo>
                  <a:lnTo>
                    <a:pt x="17" y="14"/>
                  </a:lnTo>
                  <a:lnTo>
                    <a:pt x="14" y="14"/>
                  </a:lnTo>
                  <a:lnTo>
                    <a:pt x="12" y="16"/>
                  </a:lnTo>
                  <a:lnTo>
                    <a:pt x="10" y="19"/>
                  </a:lnTo>
                  <a:lnTo>
                    <a:pt x="7" y="14"/>
                  </a:lnTo>
                  <a:lnTo>
                    <a:pt x="10" y="14"/>
                  </a:lnTo>
                  <a:lnTo>
                    <a:pt x="12" y="9"/>
                  </a:lnTo>
                  <a:lnTo>
                    <a:pt x="10" y="14"/>
                  </a:lnTo>
                  <a:lnTo>
                    <a:pt x="7" y="14"/>
                  </a:lnTo>
                  <a:lnTo>
                    <a:pt x="3" y="16"/>
                  </a:lnTo>
                  <a:lnTo>
                    <a:pt x="0" y="16"/>
                  </a:lnTo>
                  <a:lnTo>
                    <a:pt x="0"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6" name="Freeform 737">
              <a:extLst>
                <a:ext uri="{FF2B5EF4-FFF2-40B4-BE49-F238E27FC236}">
                  <a16:creationId xmlns:a16="http://schemas.microsoft.com/office/drawing/2014/main" id="{D85CC150-0401-4130-B23A-2C64ADA6CBB1}"/>
                </a:ext>
              </a:extLst>
            </p:cNvPr>
            <p:cNvSpPr>
              <a:spLocks/>
            </p:cNvSpPr>
            <p:nvPr/>
          </p:nvSpPr>
          <p:spPr bwMode="auto">
            <a:xfrm>
              <a:off x="1675653" y="1871627"/>
              <a:ext cx="26988" cy="30162"/>
            </a:xfrm>
            <a:custGeom>
              <a:avLst/>
              <a:gdLst>
                <a:gd name="T0" fmla="*/ 0 w 17"/>
                <a:gd name="T1" fmla="*/ 12 h 19"/>
                <a:gd name="T2" fmla="*/ 3 w 17"/>
                <a:gd name="T3" fmla="*/ 12 h 19"/>
                <a:gd name="T4" fmla="*/ 3 w 17"/>
                <a:gd name="T5" fmla="*/ 9 h 19"/>
                <a:gd name="T6" fmla="*/ 3 w 17"/>
                <a:gd name="T7" fmla="*/ 9 h 19"/>
                <a:gd name="T8" fmla="*/ 3 w 17"/>
                <a:gd name="T9" fmla="*/ 9 h 19"/>
                <a:gd name="T10" fmla="*/ 5 w 17"/>
                <a:gd name="T11" fmla="*/ 7 h 19"/>
                <a:gd name="T12" fmla="*/ 5 w 17"/>
                <a:gd name="T13" fmla="*/ 9 h 19"/>
                <a:gd name="T14" fmla="*/ 7 w 17"/>
                <a:gd name="T15" fmla="*/ 7 h 19"/>
                <a:gd name="T16" fmla="*/ 7 w 17"/>
                <a:gd name="T17" fmla="*/ 2 h 19"/>
                <a:gd name="T18" fmla="*/ 10 w 17"/>
                <a:gd name="T19" fmla="*/ 7 h 19"/>
                <a:gd name="T20" fmla="*/ 12 w 17"/>
                <a:gd name="T21" fmla="*/ 7 h 19"/>
                <a:gd name="T22" fmla="*/ 12 w 17"/>
                <a:gd name="T23" fmla="*/ 0 h 19"/>
                <a:gd name="T24" fmla="*/ 14 w 17"/>
                <a:gd name="T25" fmla="*/ 7 h 19"/>
                <a:gd name="T26" fmla="*/ 14 w 17"/>
                <a:gd name="T27" fmla="*/ 9 h 19"/>
                <a:gd name="T28" fmla="*/ 17 w 17"/>
                <a:gd name="T29" fmla="*/ 14 h 19"/>
                <a:gd name="T30" fmla="*/ 14 w 17"/>
                <a:gd name="T31" fmla="*/ 14 h 19"/>
                <a:gd name="T32" fmla="*/ 12 w 17"/>
                <a:gd name="T33" fmla="*/ 16 h 19"/>
                <a:gd name="T34" fmla="*/ 10 w 17"/>
                <a:gd name="T35" fmla="*/ 19 h 19"/>
                <a:gd name="T36" fmla="*/ 7 w 17"/>
                <a:gd name="T37" fmla="*/ 14 h 19"/>
                <a:gd name="T38" fmla="*/ 10 w 17"/>
                <a:gd name="T39" fmla="*/ 14 h 19"/>
                <a:gd name="T40" fmla="*/ 12 w 17"/>
                <a:gd name="T41" fmla="*/ 9 h 19"/>
                <a:gd name="T42" fmla="*/ 10 w 17"/>
                <a:gd name="T43" fmla="*/ 14 h 19"/>
                <a:gd name="T44" fmla="*/ 7 w 17"/>
                <a:gd name="T45" fmla="*/ 14 h 19"/>
                <a:gd name="T46" fmla="*/ 3 w 17"/>
                <a:gd name="T47" fmla="*/ 16 h 19"/>
                <a:gd name="T48" fmla="*/ 0 w 17"/>
                <a:gd name="T49" fmla="*/ 16 h 19"/>
                <a:gd name="T50" fmla="*/ 0 w 17"/>
                <a:gd name="T51"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19">
                  <a:moveTo>
                    <a:pt x="0" y="12"/>
                  </a:moveTo>
                  <a:lnTo>
                    <a:pt x="3" y="12"/>
                  </a:lnTo>
                  <a:lnTo>
                    <a:pt x="3" y="9"/>
                  </a:lnTo>
                  <a:lnTo>
                    <a:pt x="3" y="9"/>
                  </a:lnTo>
                  <a:lnTo>
                    <a:pt x="3" y="9"/>
                  </a:lnTo>
                  <a:lnTo>
                    <a:pt x="5" y="7"/>
                  </a:lnTo>
                  <a:lnTo>
                    <a:pt x="5" y="9"/>
                  </a:lnTo>
                  <a:lnTo>
                    <a:pt x="7" y="7"/>
                  </a:lnTo>
                  <a:lnTo>
                    <a:pt x="7" y="2"/>
                  </a:lnTo>
                  <a:lnTo>
                    <a:pt x="10" y="7"/>
                  </a:lnTo>
                  <a:lnTo>
                    <a:pt x="12" y="7"/>
                  </a:lnTo>
                  <a:lnTo>
                    <a:pt x="12" y="0"/>
                  </a:lnTo>
                  <a:lnTo>
                    <a:pt x="14" y="7"/>
                  </a:lnTo>
                  <a:lnTo>
                    <a:pt x="14" y="9"/>
                  </a:lnTo>
                  <a:lnTo>
                    <a:pt x="17" y="14"/>
                  </a:lnTo>
                  <a:lnTo>
                    <a:pt x="14" y="14"/>
                  </a:lnTo>
                  <a:lnTo>
                    <a:pt x="12" y="16"/>
                  </a:lnTo>
                  <a:lnTo>
                    <a:pt x="10" y="19"/>
                  </a:lnTo>
                  <a:lnTo>
                    <a:pt x="7" y="14"/>
                  </a:lnTo>
                  <a:lnTo>
                    <a:pt x="10" y="14"/>
                  </a:lnTo>
                  <a:lnTo>
                    <a:pt x="12" y="9"/>
                  </a:lnTo>
                  <a:lnTo>
                    <a:pt x="10" y="14"/>
                  </a:lnTo>
                  <a:lnTo>
                    <a:pt x="7" y="14"/>
                  </a:lnTo>
                  <a:lnTo>
                    <a:pt x="3" y="16"/>
                  </a:lnTo>
                  <a:lnTo>
                    <a:pt x="0" y="16"/>
                  </a:lnTo>
                  <a:lnTo>
                    <a:pt x="0" y="1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7" name="Freeform 738">
              <a:extLst>
                <a:ext uri="{FF2B5EF4-FFF2-40B4-BE49-F238E27FC236}">
                  <a16:creationId xmlns:a16="http://schemas.microsoft.com/office/drawing/2014/main" id="{325568DB-94E2-4D42-BE45-CAFA1793607C}"/>
                </a:ext>
              </a:extLst>
            </p:cNvPr>
            <p:cNvSpPr>
              <a:spLocks/>
            </p:cNvSpPr>
            <p:nvPr/>
          </p:nvSpPr>
          <p:spPr bwMode="auto">
            <a:xfrm>
              <a:off x="1705816" y="1844639"/>
              <a:ext cx="19050" cy="23812"/>
            </a:xfrm>
            <a:custGeom>
              <a:avLst/>
              <a:gdLst>
                <a:gd name="T0" fmla="*/ 5 w 12"/>
                <a:gd name="T1" fmla="*/ 5 h 15"/>
                <a:gd name="T2" fmla="*/ 7 w 12"/>
                <a:gd name="T3" fmla="*/ 5 h 15"/>
                <a:gd name="T4" fmla="*/ 7 w 12"/>
                <a:gd name="T5" fmla="*/ 0 h 15"/>
                <a:gd name="T6" fmla="*/ 10 w 12"/>
                <a:gd name="T7" fmla="*/ 0 h 15"/>
                <a:gd name="T8" fmla="*/ 12 w 12"/>
                <a:gd name="T9" fmla="*/ 0 h 15"/>
                <a:gd name="T10" fmla="*/ 12 w 12"/>
                <a:gd name="T11" fmla="*/ 3 h 15"/>
                <a:gd name="T12" fmla="*/ 10 w 12"/>
                <a:gd name="T13" fmla="*/ 7 h 15"/>
                <a:gd name="T14" fmla="*/ 10 w 12"/>
                <a:gd name="T15" fmla="*/ 12 h 15"/>
                <a:gd name="T16" fmla="*/ 5 w 12"/>
                <a:gd name="T17" fmla="*/ 15 h 15"/>
                <a:gd name="T18" fmla="*/ 3 w 12"/>
                <a:gd name="T19" fmla="*/ 15 h 15"/>
                <a:gd name="T20" fmla="*/ 3 w 12"/>
                <a:gd name="T21" fmla="*/ 15 h 15"/>
                <a:gd name="T22" fmla="*/ 0 w 12"/>
                <a:gd name="T23" fmla="*/ 12 h 15"/>
                <a:gd name="T24" fmla="*/ 0 w 12"/>
                <a:gd name="T25" fmla="*/ 10 h 15"/>
                <a:gd name="T26" fmla="*/ 5 w 12"/>
                <a:gd name="T27" fmla="*/ 7 h 15"/>
                <a:gd name="T28" fmla="*/ 5 w 12"/>
                <a:gd name="T29"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5">
                  <a:moveTo>
                    <a:pt x="5" y="5"/>
                  </a:moveTo>
                  <a:lnTo>
                    <a:pt x="7" y="5"/>
                  </a:lnTo>
                  <a:lnTo>
                    <a:pt x="7" y="0"/>
                  </a:lnTo>
                  <a:lnTo>
                    <a:pt x="10" y="0"/>
                  </a:lnTo>
                  <a:lnTo>
                    <a:pt x="12" y="0"/>
                  </a:lnTo>
                  <a:lnTo>
                    <a:pt x="12" y="3"/>
                  </a:lnTo>
                  <a:lnTo>
                    <a:pt x="10" y="7"/>
                  </a:lnTo>
                  <a:lnTo>
                    <a:pt x="10" y="12"/>
                  </a:lnTo>
                  <a:lnTo>
                    <a:pt x="5" y="15"/>
                  </a:lnTo>
                  <a:lnTo>
                    <a:pt x="3" y="15"/>
                  </a:lnTo>
                  <a:lnTo>
                    <a:pt x="3" y="15"/>
                  </a:lnTo>
                  <a:lnTo>
                    <a:pt x="0" y="12"/>
                  </a:lnTo>
                  <a:lnTo>
                    <a:pt x="0" y="10"/>
                  </a:lnTo>
                  <a:lnTo>
                    <a:pt x="5" y="7"/>
                  </a:lnTo>
                  <a:lnTo>
                    <a:pt x="5"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8" name="Freeform 739">
              <a:extLst>
                <a:ext uri="{FF2B5EF4-FFF2-40B4-BE49-F238E27FC236}">
                  <a16:creationId xmlns:a16="http://schemas.microsoft.com/office/drawing/2014/main" id="{DC2D1719-4CA4-42D6-9A0F-D460466A0A24}"/>
                </a:ext>
              </a:extLst>
            </p:cNvPr>
            <p:cNvSpPr>
              <a:spLocks/>
            </p:cNvSpPr>
            <p:nvPr/>
          </p:nvSpPr>
          <p:spPr bwMode="auto">
            <a:xfrm>
              <a:off x="1705816" y="1844639"/>
              <a:ext cx="19050" cy="23812"/>
            </a:xfrm>
            <a:custGeom>
              <a:avLst/>
              <a:gdLst>
                <a:gd name="T0" fmla="*/ 5 w 12"/>
                <a:gd name="T1" fmla="*/ 5 h 15"/>
                <a:gd name="T2" fmla="*/ 7 w 12"/>
                <a:gd name="T3" fmla="*/ 5 h 15"/>
                <a:gd name="T4" fmla="*/ 7 w 12"/>
                <a:gd name="T5" fmla="*/ 0 h 15"/>
                <a:gd name="T6" fmla="*/ 10 w 12"/>
                <a:gd name="T7" fmla="*/ 0 h 15"/>
                <a:gd name="T8" fmla="*/ 12 w 12"/>
                <a:gd name="T9" fmla="*/ 0 h 15"/>
                <a:gd name="T10" fmla="*/ 12 w 12"/>
                <a:gd name="T11" fmla="*/ 3 h 15"/>
                <a:gd name="T12" fmla="*/ 10 w 12"/>
                <a:gd name="T13" fmla="*/ 7 h 15"/>
                <a:gd name="T14" fmla="*/ 10 w 12"/>
                <a:gd name="T15" fmla="*/ 12 h 15"/>
                <a:gd name="T16" fmla="*/ 5 w 12"/>
                <a:gd name="T17" fmla="*/ 15 h 15"/>
                <a:gd name="T18" fmla="*/ 3 w 12"/>
                <a:gd name="T19" fmla="*/ 15 h 15"/>
                <a:gd name="T20" fmla="*/ 3 w 12"/>
                <a:gd name="T21" fmla="*/ 15 h 15"/>
                <a:gd name="T22" fmla="*/ 0 w 12"/>
                <a:gd name="T23" fmla="*/ 12 h 15"/>
                <a:gd name="T24" fmla="*/ 0 w 12"/>
                <a:gd name="T25" fmla="*/ 10 h 15"/>
                <a:gd name="T26" fmla="*/ 5 w 12"/>
                <a:gd name="T27" fmla="*/ 7 h 15"/>
                <a:gd name="T28" fmla="*/ 5 w 12"/>
                <a:gd name="T29"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5">
                  <a:moveTo>
                    <a:pt x="5" y="5"/>
                  </a:moveTo>
                  <a:lnTo>
                    <a:pt x="7" y="5"/>
                  </a:lnTo>
                  <a:lnTo>
                    <a:pt x="7" y="0"/>
                  </a:lnTo>
                  <a:lnTo>
                    <a:pt x="10" y="0"/>
                  </a:lnTo>
                  <a:lnTo>
                    <a:pt x="12" y="0"/>
                  </a:lnTo>
                  <a:lnTo>
                    <a:pt x="12" y="3"/>
                  </a:lnTo>
                  <a:lnTo>
                    <a:pt x="10" y="7"/>
                  </a:lnTo>
                  <a:lnTo>
                    <a:pt x="10" y="12"/>
                  </a:lnTo>
                  <a:lnTo>
                    <a:pt x="5" y="15"/>
                  </a:lnTo>
                  <a:lnTo>
                    <a:pt x="3" y="15"/>
                  </a:lnTo>
                  <a:lnTo>
                    <a:pt x="3" y="15"/>
                  </a:lnTo>
                  <a:lnTo>
                    <a:pt x="0" y="12"/>
                  </a:lnTo>
                  <a:lnTo>
                    <a:pt x="0" y="10"/>
                  </a:lnTo>
                  <a:lnTo>
                    <a:pt x="5" y="7"/>
                  </a:lnTo>
                  <a:lnTo>
                    <a:pt x="5"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49" name="Freeform 740">
              <a:extLst>
                <a:ext uri="{FF2B5EF4-FFF2-40B4-BE49-F238E27FC236}">
                  <a16:creationId xmlns:a16="http://schemas.microsoft.com/office/drawing/2014/main" id="{864A9AA9-529E-440F-A1C9-180BF8C1F120}"/>
                </a:ext>
              </a:extLst>
            </p:cNvPr>
            <p:cNvSpPr>
              <a:spLocks/>
            </p:cNvSpPr>
            <p:nvPr/>
          </p:nvSpPr>
          <p:spPr bwMode="auto">
            <a:xfrm>
              <a:off x="1683590" y="1949414"/>
              <a:ext cx="19050" cy="15875"/>
            </a:xfrm>
            <a:custGeom>
              <a:avLst/>
              <a:gdLst>
                <a:gd name="T0" fmla="*/ 5 w 12"/>
                <a:gd name="T1" fmla="*/ 5 h 10"/>
                <a:gd name="T2" fmla="*/ 5 w 12"/>
                <a:gd name="T3" fmla="*/ 5 h 10"/>
                <a:gd name="T4" fmla="*/ 2 w 12"/>
                <a:gd name="T5" fmla="*/ 3 h 10"/>
                <a:gd name="T6" fmla="*/ 5 w 12"/>
                <a:gd name="T7" fmla="*/ 3 h 10"/>
                <a:gd name="T8" fmla="*/ 7 w 12"/>
                <a:gd name="T9" fmla="*/ 3 h 10"/>
                <a:gd name="T10" fmla="*/ 9 w 12"/>
                <a:gd name="T11" fmla="*/ 0 h 10"/>
                <a:gd name="T12" fmla="*/ 12 w 12"/>
                <a:gd name="T13" fmla="*/ 3 h 10"/>
                <a:gd name="T14" fmla="*/ 12 w 12"/>
                <a:gd name="T15" fmla="*/ 5 h 10"/>
                <a:gd name="T16" fmla="*/ 9 w 12"/>
                <a:gd name="T17" fmla="*/ 5 h 10"/>
                <a:gd name="T18" fmla="*/ 7 w 12"/>
                <a:gd name="T19" fmla="*/ 8 h 10"/>
                <a:gd name="T20" fmla="*/ 5 w 12"/>
                <a:gd name="T21" fmla="*/ 10 h 10"/>
                <a:gd name="T22" fmla="*/ 2 w 12"/>
                <a:gd name="T23" fmla="*/ 10 h 10"/>
                <a:gd name="T24" fmla="*/ 0 w 12"/>
                <a:gd name="T25" fmla="*/ 10 h 10"/>
                <a:gd name="T26" fmla="*/ 2 w 12"/>
                <a:gd name="T27" fmla="*/ 8 h 10"/>
                <a:gd name="T28" fmla="*/ 5 w 12"/>
                <a:gd name="T29" fmla="*/ 8 h 10"/>
                <a:gd name="T30" fmla="*/ 5 w 12"/>
                <a:gd name="T3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5" y="5"/>
                  </a:moveTo>
                  <a:lnTo>
                    <a:pt x="5" y="5"/>
                  </a:lnTo>
                  <a:lnTo>
                    <a:pt x="2" y="3"/>
                  </a:lnTo>
                  <a:lnTo>
                    <a:pt x="5" y="3"/>
                  </a:lnTo>
                  <a:lnTo>
                    <a:pt x="7" y="3"/>
                  </a:lnTo>
                  <a:lnTo>
                    <a:pt x="9" y="0"/>
                  </a:lnTo>
                  <a:lnTo>
                    <a:pt x="12" y="3"/>
                  </a:lnTo>
                  <a:lnTo>
                    <a:pt x="12" y="5"/>
                  </a:lnTo>
                  <a:lnTo>
                    <a:pt x="9" y="5"/>
                  </a:lnTo>
                  <a:lnTo>
                    <a:pt x="7" y="8"/>
                  </a:lnTo>
                  <a:lnTo>
                    <a:pt x="5" y="10"/>
                  </a:lnTo>
                  <a:lnTo>
                    <a:pt x="2" y="10"/>
                  </a:lnTo>
                  <a:lnTo>
                    <a:pt x="0" y="10"/>
                  </a:lnTo>
                  <a:lnTo>
                    <a:pt x="2" y="8"/>
                  </a:lnTo>
                  <a:lnTo>
                    <a:pt x="5" y="8"/>
                  </a:lnTo>
                  <a:lnTo>
                    <a:pt x="5"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0" name="Freeform 741">
              <a:extLst>
                <a:ext uri="{FF2B5EF4-FFF2-40B4-BE49-F238E27FC236}">
                  <a16:creationId xmlns:a16="http://schemas.microsoft.com/office/drawing/2014/main" id="{B7D567EF-B533-4B0C-A68F-10134D1B2391}"/>
                </a:ext>
              </a:extLst>
            </p:cNvPr>
            <p:cNvSpPr>
              <a:spLocks/>
            </p:cNvSpPr>
            <p:nvPr/>
          </p:nvSpPr>
          <p:spPr bwMode="auto">
            <a:xfrm>
              <a:off x="1683590" y="1949414"/>
              <a:ext cx="19050" cy="15875"/>
            </a:xfrm>
            <a:custGeom>
              <a:avLst/>
              <a:gdLst>
                <a:gd name="T0" fmla="*/ 5 w 12"/>
                <a:gd name="T1" fmla="*/ 5 h 10"/>
                <a:gd name="T2" fmla="*/ 5 w 12"/>
                <a:gd name="T3" fmla="*/ 5 h 10"/>
                <a:gd name="T4" fmla="*/ 2 w 12"/>
                <a:gd name="T5" fmla="*/ 3 h 10"/>
                <a:gd name="T6" fmla="*/ 5 w 12"/>
                <a:gd name="T7" fmla="*/ 3 h 10"/>
                <a:gd name="T8" fmla="*/ 7 w 12"/>
                <a:gd name="T9" fmla="*/ 3 h 10"/>
                <a:gd name="T10" fmla="*/ 9 w 12"/>
                <a:gd name="T11" fmla="*/ 0 h 10"/>
                <a:gd name="T12" fmla="*/ 12 w 12"/>
                <a:gd name="T13" fmla="*/ 3 h 10"/>
                <a:gd name="T14" fmla="*/ 12 w 12"/>
                <a:gd name="T15" fmla="*/ 5 h 10"/>
                <a:gd name="T16" fmla="*/ 9 w 12"/>
                <a:gd name="T17" fmla="*/ 5 h 10"/>
                <a:gd name="T18" fmla="*/ 7 w 12"/>
                <a:gd name="T19" fmla="*/ 8 h 10"/>
                <a:gd name="T20" fmla="*/ 5 w 12"/>
                <a:gd name="T21" fmla="*/ 10 h 10"/>
                <a:gd name="T22" fmla="*/ 2 w 12"/>
                <a:gd name="T23" fmla="*/ 10 h 10"/>
                <a:gd name="T24" fmla="*/ 0 w 12"/>
                <a:gd name="T25" fmla="*/ 10 h 10"/>
                <a:gd name="T26" fmla="*/ 2 w 12"/>
                <a:gd name="T27" fmla="*/ 8 h 10"/>
                <a:gd name="T28" fmla="*/ 5 w 12"/>
                <a:gd name="T29" fmla="*/ 8 h 10"/>
                <a:gd name="T30" fmla="*/ 5 w 12"/>
                <a:gd name="T3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5" y="5"/>
                  </a:moveTo>
                  <a:lnTo>
                    <a:pt x="5" y="5"/>
                  </a:lnTo>
                  <a:lnTo>
                    <a:pt x="2" y="3"/>
                  </a:lnTo>
                  <a:lnTo>
                    <a:pt x="5" y="3"/>
                  </a:lnTo>
                  <a:lnTo>
                    <a:pt x="7" y="3"/>
                  </a:lnTo>
                  <a:lnTo>
                    <a:pt x="9" y="0"/>
                  </a:lnTo>
                  <a:lnTo>
                    <a:pt x="12" y="3"/>
                  </a:lnTo>
                  <a:lnTo>
                    <a:pt x="12" y="5"/>
                  </a:lnTo>
                  <a:lnTo>
                    <a:pt x="9" y="5"/>
                  </a:lnTo>
                  <a:lnTo>
                    <a:pt x="7" y="8"/>
                  </a:lnTo>
                  <a:lnTo>
                    <a:pt x="5" y="10"/>
                  </a:lnTo>
                  <a:lnTo>
                    <a:pt x="2" y="10"/>
                  </a:lnTo>
                  <a:lnTo>
                    <a:pt x="0" y="10"/>
                  </a:lnTo>
                  <a:lnTo>
                    <a:pt x="2" y="8"/>
                  </a:lnTo>
                  <a:lnTo>
                    <a:pt x="5" y="8"/>
                  </a:lnTo>
                  <a:lnTo>
                    <a:pt x="5"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1" name="Freeform 742">
              <a:extLst>
                <a:ext uri="{FF2B5EF4-FFF2-40B4-BE49-F238E27FC236}">
                  <a16:creationId xmlns:a16="http://schemas.microsoft.com/office/drawing/2014/main" id="{85BF0C67-8494-4BCE-BF03-F8CAAC97F8F7}"/>
                </a:ext>
              </a:extLst>
            </p:cNvPr>
            <p:cNvSpPr>
              <a:spLocks/>
            </p:cNvSpPr>
            <p:nvPr/>
          </p:nvSpPr>
          <p:spPr bwMode="auto">
            <a:xfrm>
              <a:off x="1743916" y="1822414"/>
              <a:ext cx="30163" cy="41275"/>
            </a:xfrm>
            <a:custGeom>
              <a:avLst/>
              <a:gdLst>
                <a:gd name="T0" fmla="*/ 2 w 19"/>
                <a:gd name="T1" fmla="*/ 19 h 26"/>
                <a:gd name="T2" fmla="*/ 0 w 19"/>
                <a:gd name="T3" fmla="*/ 17 h 26"/>
                <a:gd name="T4" fmla="*/ 2 w 19"/>
                <a:gd name="T5" fmla="*/ 17 h 26"/>
                <a:gd name="T6" fmla="*/ 2 w 19"/>
                <a:gd name="T7" fmla="*/ 17 h 26"/>
                <a:gd name="T8" fmla="*/ 2 w 19"/>
                <a:gd name="T9" fmla="*/ 14 h 26"/>
                <a:gd name="T10" fmla="*/ 0 w 19"/>
                <a:gd name="T11" fmla="*/ 14 h 26"/>
                <a:gd name="T12" fmla="*/ 2 w 19"/>
                <a:gd name="T13" fmla="*/ 12 h 26"/>
                <a:gd name="T14" fmla="*/ 2 w 19"/>
                <a:gd name="T15" fmla="*/ 12 h 26"/>
                <a:gd name="T16" fmla="*/ 5 w 19"/>
                <a:gd name="T17" fmla="*/ 10 h 26"/>
                <a:gd name="T18" fmla="*/ 7 w 19"/>
                <a:gd name="T19" fmla="*/ 10 h 26"/>
                <a:gd name="T20" fmla="*/ 7 w 19"/>
                <a:gd name="T21" fmla="*/ 7 h 26"/>
                <a:gd name="T22" fmla="*/ 7 w 19"/>
                <a:gd name="T23" fmla="*/ 5 h 26"/>
                <a:gd name="T24" fmla="*/ 7 w 19"/>
                <a:gd name="T25" fmla="*/ 5 h 26"/>
                <a:gd name="T26" fmla="*/ 12 w 19"/>
                <a:gd name="T27" fmla="*/ 5 h 26"/>
                <a:gd name="T28" fmla="*/ 12 w 19"/>
                <a:gd name="T29" fmla="*/ 5 h 26"/>
                <a:gd name="T30" fmla="*/ 9 w 19"/>
                <a:gd name="T31" fmla="*/ 0 h 26"/>
                <a:gd name="T32" fmla="*/ 12 w 19"/>
                <a:gd name="T33" fmla="*/ 3 h 26"/>
                <a:gd name="T34" fmla="*/ 14 w 19"/>
                <a:gd name="T35" fmla="*/ 0 h 26"/>
                <a:gd name="T36" fmla="*/ 16 w 19"/>
                <a:gd name="T37" fmla="*/ 0 h 26"/>
                <a:gd name="T38" fmla="*/ 16 w 19"/>
                <a:gd name="T39" fmla="*/ 5 h 26"/>
                <a:gd name="T40" fmla="*/ 19 w 19"/>
                <a:gd name="T41" fmla="*/ 7 h 26"/>
                <a:gd name="T42" fmla="*/ 19 w 19"/>
                <a:gd name="T43" fmla="*/ 10 h 26"/>
                <a:gd name="T44" fmla="*/ 19 w 19"/>
                <a:gd name="T45" fmla="*/ 14 h 26"/>
                <a:gd name="T46" fmla="*/ 19 w 19"/>
                <a:gd name="T47" fmla="*/ 21 h 26"/>
                <a:gd name="T48" fmla="*/ 12 w 19"/>
                <a:gd name="T49" fmla="*/ 21 h 26"/>
                <a:gd name="T50" fmla="*/ 12 w 19"/>
                <a:gd name="T51" fmla="*/ 19 h 26"/>
                <a:gd name="T52" fmla="*/ 9 w 19"/>
                <a:gd name="T53" fmla="*/ 19 h 26"/>
                <a:gd name="T54" fmla="*/ 7 w 19"/>
                <a:gd name="T55" fmla="*/ 24 h 26"/>
                <a:gd name="T56" fmla="*/ 2 w 19"/>
                <a:gd name="T57" fmla="*/ 24 h 26"/>
                <a:gd name="T58" fmla="*/ 0 w 19"/>
                <a:gd name="T59" fmla="*/ 26 h 26"/>
                <a:gd name="T60" fmla="*/ 0 w 19"/>
                <a:gd name="T61" fmla="*/ 24 h 26"/>
                <a:gd name="T62" fmla="*/ 2 w 19"/>
                <a:gd name="T63" fmla="*/ 21 h 26"/>
                <a:gd name="T64" fmla="*/ 2 w 19"/>
                <a:gd name="T65" fmla="*/ 19 h 26"/>
                <a:gd name="T66" fmla="*/ 2 w 19"/>
                <a:gd name="T67"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2" y="19"/>
                  </a:moveTo>
                  <a:lnTo>
                    <a:pt x="0" y="17"/>
                  </a:lnTo>
                  <a:lnTo>
                    <a:pt x="2" y="17"/>
                  </a:lnTo>
                  <a:lnTo>
                    <a:pt x="2" y="17"/>
                  </a:lnTo>
                  <a:lnTo>
                    <a:pt x="2" y="14"/>
                  </a:lnTo>
                  <a:lnTo>
                    <a:pt x="0" y="14"/>
                  </a:lnTo>
                  <a:lnTo>
                    <a:pt x="2" y="12"/>
                  </a:lnTo>
                  <a:lnTo>
                    <a:pt x="2" y="12"/>
                  </a:lnTo>
                  <a:lnTo>
                    <a:pt x="5" y="10"/>
                  </a:lnTo>
                  <a:lnTo>
                    <a:pt x="7" y="10"/>
                  </a:lnTo>
                  <a:lnTo>
                    <a:pt x="7" y="7"/>
                  </a:lnTo>
                  <a:lnTo>
                    <a:pt x="7" y="5"/>
                  </a:lnTo>
                  <a:lnTo>
                    <a:pt x="7" y="5"/>
                  </a:lnTo>
                  <a:lnTo>
                    <a:pt x="12" y="5"/>
                  </a:lnTo>
                  <a:lnTo>
                    <a:pt x="12" y="5"/>
                  </a:lnTo>
                  <a:lnTo>
                    <a:pt x="9" y="0"/>
                  </a:lnTo>
                  <a:lnTo>
                    <a:pt x="12" y="3"/>
                  </a:lnTo>
                  <a:lnTo>
                    <a:pt x="14" y="0"/>
                  </a:lnTo>
                  <a:lnTo>
                    <a:pt x="16" y="0"/>
                  </a:lnTo>
                  <a:lnTo>
                    <a:pt x="16" y="5"/>
                  </a:lnTo>
                  <a:lnTo>
                    <a:pt x="19" y="7"/>
                  </a:lnTo>
                  <a:lnTo>
                    <a:pt x="19" y="10"/>
                  </a:lnTo>
                  <a:lnTo>
                    <a:pt x="19" y="14"/>
                  </a:lnTo>
                  <a:lnTo>
                    <a:pt x="19" y="21"/>
                  </a:lnTo>
                  <a:lnTo>
                    <a:pt x="12" y="21"/>
                  </a:lnTo>
                  <a:lnTo>
                    <a:pt x="12" y="19"/>
                  </a:lnTo>
                  <a:lnTo>
                    <a:pt x="9" y="19"/>
                  </a:lnTo>
                  <a:lnTo>
                    <a:pt x="7" y="24"/>
                  </a:lnTo>
                  <a:lnTo>
                    <a:pt x="2" y="24"/>
                  </a:lnTo>
                  <a:lnTo>
                    <a:pt x="0" y="26"/>
                  </a:lnTo>
                  <a:lnTo>
                    <a:pt x="0" y="24"/>
                  </a:lnTo>
                  <a:lnTo>
                    <a:pt x="2" y="21"/>
                  </a:lnTo>
                  <a:lnTo>
                    <a:pt x="2" y="19"/>
                  </a:lnTo>
                  <a:lnTo>
                    <a:pt x="2" y="1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2" name="Freeform 743">
              <a:extLst>
                <a:ext uri="{FF2B5EF4-FFF2-40B4-BE49-F238E27FC236}">
                  <a16:creationId xmlns:a16="http://schemas.microsoft.com/office/drawing/2014/main" id="{D6EECE1D-56D2-48E8-A30E-CF3DCBFCE9F5}"/>
                </a:ext>
              </a:extLst>
            </p:cNvPr>
            <p:cNvSpPr>
              <a:spLocks/>
            </p:cNvSpPr>
            <p:nvPr/>
          </p:nvSpPr>
          <p:spPr bwMode="auto">
            <a:xfrm>
              <a:off x="1743916" y="1822414"/>
              <a:ext cx="30163" cy="41275"/>
            </a:xfrm>
            <a:custGeom>
              <a:avLst/>
              <a:gdLst>
                <a:gd name="T0" fmla="*/ 2 w 19"/>
                <a:gd name="T1" fmla="*/ 19 h 26"/>
                <a:gd name="T2" fmla="*/ 0 w 19"/>
                <a:gd name="T3" fmla="*/ 17 h 26"/>
                <a:gd name="T4" fmla="*/ 2 w 19"/>
                <a:gd name="T5" fmla="*/ 17 h 26"/>
                <a:gd name="T6" fmla="*/ 2 w 19"/>
                <a:gd name="T7" fmla="*/ 17 h 26"/>
                <a:gd name="T8" fmla="*/ 2 w 19"/>
                <a:gd name="T9" fmla="*/ 14 h 26"/>
                <a:gd name="T10" fmla="*/ 0 w 19"/>
                <a:gd name="T11" fmla="*/ 14 h 26"/>
                <a:gd name="T12" fmla="*/ 2 w 19"/>
                <a:gd name="T13" fmla="*/ 12 h 26"/>
                <a:gd name="T14" fmla="*/ 2 w 19"/>
                <a:gd name="T15" fmla="*/ 12 h 26"/>
                <a:gd name="T16" fmla="*/ 5 w 19"/>
                <a:gd name="T17" fmla="*/ 10 h 26"/>
                <a:gd name="T18" fmla="*/ 7 w 19"/>
                <a:gd name="T19" fmla="*/ 10 h 26"/>
                <a:gd name="T20" fmla="*/ 7 w 19"/>
                <a:gd name="T21" fmla="*/ 7 h 26"/>
                <a:gd name="T22" fmla="*/ 7 w 19"/>
                <a:gd name="T23" fmla="*/ 5 h 26"/>
                <a:gd name="T24" fmla="*/ 7 w 19"/>
                <a:gd name="T25" fmla="*/ 5 h 26"/>
                <a:gd name="T26" fmla="*/ 12 w 19"/>
                <a:gd name="T27" fmla="*/ 5 h 26"/>
                <a:gd name="T28" fmla="*/ 12 w 19"/>
                <a:gd name="T29" fmla="*/ 5 h 26"/>
                <a:gd name="T30" fmla="*/ 9 w 19"/>
                <a:gd name="T31" fmla="*/ 0 h 26"/>
                <a:gd name="T32" fmla="*/ 12 w 19"/>
                <a:gd name="T33" fmla="*/ 3 h 26"/>
                <a:gd name="T34" fmla="*/ 14 w 19"/>
                <a:gd name="T35" fmla="*/ 0 h 26"/>
                <a:gd name="T36" fmla="*/ 16 w 19"/>
                <a:gd name="T37" fmla="*/ 0 h 26"/>
                <a:gd name="T38" fmla="*/ 16 w 19"/>
                <a:gd name="T39" fmla="*/ 5 h 26"/>
                <a:gd name="T40" fmla="*/ 19 w 19"/>
                <a:gd name="T41" fmla="*/ 7 h 26"/>
                <a:gd name="T42" fmla="*/ 19 w 19"/>
                <a:gd name="T43" fmla="*/ 10 h 26"/>
                <a:gd name="T44" fmla="*/ 19 w 19"/>
                <a:gd name="T45" fmla="*/ 14 h 26"/>
                <a:gd name="T46" fmla="*/ 19 w 19"/>
                <a:gd name="T47" fmla="*/ 21 h 26"/>
                <a:gd name="T48" fmla="*/ 12 w 19"/>
                <a:gd name="T49" fmla="*/ 21 h 26"/>
                <a:gd name="T50" fmla="*/ 12 w 19"/>
                <a:gd name="T51" fmla="*/ 19 h 26"/>
                <a:gd name="T52" fmla="*/ 9 w 19"/>
                <a:gd name="T53" fmla="*/ 19 h 26"/>
                <a:gd name="T54" fmla="*/ 7 w 19"/>
                <a:gd name="T55" fmla="*/ 24 h 26"/>
                <a:gd name="T56" fmla="*/ 2 w 19"/>
                <a:gd name="T57" fmla="*/ 24 h 26"/>
                <a:gd name="T58" fmla="*/ 0 w 19"/>
                <a:gd name="T59" fmla="*/ 26 h 26"/>
                <a:gd name="T60" fmla="*/ 0 w 19"/>
                <a:gd name="T61" fmla="*/ 24 h 26"/>
                <a:gd name="T62" fmla="*/ 2 w 19"/>
                <a:gd name="T63" fmla="*/ 21 h 26"/>
                <a:gd name="T64" fmla="*/ 2 w 19"/>
                <a:gd name="T65" fmla="*/ 19 h 26"/>
                <a:gd name="T66" fmla="*/ 2 w 19"/>
                <a:gd name="T67"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2" y="19"/>
                  </a:moveTo>
                  <a:lnTo>
                    <a:pt x="0" y="17"/>
                  </a:lnTo>
                  <a:lnTo>
                    <a:pt x="2" y="17"/>
                  </a:lnTo>
                  <a:lnTo>
                    <a:pt x="2" y="17"/>
                  </a:lnTo>
                  <a:lnTo>
                    <a:pt x="2" y="14"/>
                  </a:lnTo>
                  <a:lnTo>
                    <a:pt x="0" y="14"/>
                  </a:lnTo>
                  <a:lnTo>
                    <a:pt x="2" y="12"/>
                  </a:lnTo>
                  <a:lnTo>
                    <a:pt x="2" y="12"/>
                  </a:lnTo>
                  <a:lnTo>
                    <a:pt x="5" y="10"/>
                  </a:lnTo>
                  <a:lnTo>
                    <a:pt x="7" y="10"/>
                  </a:lnTo>
                  <a:lnTo>
                    <a:pt x="7" y="7"/>
                  </a:lnTo>
                  <a:lnTo>
                    <a:pt x="7" y="5"/>
                  </a:lnTo>
                  <a:lnTo>
                    <a:pt x="7" y="5"/>
                  </a:lnTo>
                  <a:lnTo>
                    <a:pt x="12" y="5"/>
                  </a:lnTo>
                  <a:lnTo>
                    <a:pt x="12" y="5"/>
                  </a:lnTo>
                  <a:lnTo>
                    <a:pt x="9" y="0"/>
                  </a:lnTo>
                  <a:lnTo>
                    <a:pt x="12" y="3"/>
                  </a:lnTo>
                  <a:lnTo>
                    <a:pt x="14" y="0"/>
                  </a:lnTo>
                  <a:lnTo>
                    <a:pt x="16" y="0"/>
                  </a:lnTo>
                  <a:lnTo>
                    <a:pt x="16" y="5"/>
                  </a:lnTo>
                  <a:lnTo>
                    <a:pt x="19" y="7"/>
                  </a:lnTo>
                  <a:lnTo>
                    <a:pt x="19" y="10"/>
                  </a:lnTo>
                  <a:lnTo>
                    <a:pt x="19" y="14"/>
                  </a:lnTo>
                  <a:lnTo>
                    <a:pt x="19" y="21"/>
                  </a:lnTo>
                  <a:lnTo>
                    <a:pt x="12" y="21"/>
                  </a:lnTo>
                  <a:lnTo>
                    <a:pt x="12" y="19"/>
                  </a:lnTo>
                  <a:lnTo>
                    <a:pt x="9" y="19"/>
                  </a:lnTo>
                  <a:lnTo>
                    <a:pt x="7" y="24"/>
                  </a:lnTo>
                  <a:lnTo>
                    <a:pt x="2" y="24"/>
                  </a:lnTo>
                  <a:lnTo>
                    <a:pt x="0" y="26"/>
                  </a:lnTo>
                  <a:lnTo>
                    <a:pt x="0" y="24"/>
                  </a:lnTo>
                  <a:lnTo>
                    <a:pt x="2" y="21"/>
                  </a:lnTo>
                  <a:lnTo>
                    <a:pt x="2" y="19"/>
                  </a:lnTo>
                  <a:lnTo>
                    <a:pt x="2" y="1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3" name="Freeform 744">
              <a:extLst>
                <a:ext uri="{FF2B5EF4-FFF2-40B4-BE49-F238E27FC236}">
                  <a16:creationId xmlns:a16="http://schemas.microsoft.com/office/drawing/2014/main" id="{8A882F51-6B50-46E7-948E-DE8FD400E8A0}"/>
                </a:ext>
              </a:extLst>
            </p:cNvPr>
            <p:cNvSpPr>
              <a:spLocks/>
            </p:cNvSpPr>
            <p:nvPr/>
          </p:nvSpPr>
          <p:spPr bwMode="auto">
            <a:xfrm>
              <a:off x="1777253" y="1800189"/>
              <a:ext cx="26988" cy="26987"/>
            </a:xfrm>
            <a:custGeom>
              <a:avLst/>
              <a:gdLst>
                <a:gd name="T0" fmla="*/ 2 w 17"/>
                <a:gd name="T1" fmla="*/ 7 h 17"/>
                <a:gd name="T2" fmla="*/ 7 w 17"/>
                <a:gd name="T3" fmla="*/ 7 h 17"/>
                <a:gd name="T4" fmla="*/ 7 w 17"/>
                <a:gd name="T5" fmla="*/ 7 h 17"/>
                <a:gd name="T6" fmla="*/ 10 w 17"/>
                <a:gd name="T7" fmla="*/ 2 h 17"/>
                <a:gd name="T8" fmla="*/ 10 w 17"/>
                <a:gd name="T9" fmla="*/ 7 h 17"/>
                <a:gd name="T10" fmla="*/ 12 w 17"/>
                <a:gd name="T11" fmla="*/ 7 h 17"/>
                <a:gd name="T12" fmla="*/ 12 w 17"/>
                <a:gd name="T13" fmla="*/ 2 h 17"/>
                <a:gd name="T14" fmla="*/ 12 w 17"/>
                <a:gd name="T15" fmla="*/ 0 h 17"/>
                <a:gd name="T16" fmla="*/ 14 w 17"/>
                <a:gd name="T17" fmla="*/ 2 h 17"/>
                <a:gd name="T18" fmla="*/ 17 w 17"/>
                <a:gd name="T19" fmla="*/ 5 h 17"/>
                <a:gd name="T20" fmla="*/ 14 w 17"/>
                <a:gd name="T21" fmla="*/ 9 h 17"/>
                <a:gd name="T22" fmla="*/ 14 w 17"/>
                <a:gd name="T23" fmla="*/ 12 h 17"/>
                <a:gd name="T24" fmla="*/ 5 w 17"/>
                <a:gd name="T25" fmla="*/ 17 h 17"/>
                <a:gd name="T26" fmla="*/ 0 w 17"/>
                <a:gd name="T27" fmla="*/ 14 h 17"/>
                <a:gd name="T28" fmla="*/ 0 w 17"/>
                <a:gd name="T29" fmla="*/ 12 h 17"/>
                <a:gd name="T30" fmla="*/ 2 w 17"/>
                <a:gd name="T31" fmla="*/ 12 h 17"/>
                <a:gd name="T32" fmla="*/ 2 w 17"/>
                <a:gd name="T33" fmla="*/ 12 h 17"/>
                <a:gd name="T34" fmla="*/ 2 w 17"/>
                <a:gd name="T3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7">
                  <a:moveTo>
                    <a:pt x="2" y="7"/>
                  </a:moveTo>
                  <a:lnTo>
                    <a:pt x="7" y="7"/>
                  </a:lnTo>
                  <a:lnTo>
                    <a:pt x="7" y="7"/>
                  </a:lnTo>
                  <a:lnTo>
                    <a:pt x="10" y="2"/>
                  </a:lnTo>
                  <a:lnTo>
                    <a:pt x="10" y="7"/>
                  </a:lnTo>
                  <a:lnTo>
                    <a:pt x="12" y="7"/>
                  </a:lnTo>
                  <a:lnTo>
                    <a:pt x="12" y="2"/>
                  </a:lnTo>
                  <a:lnTo>
                    <a:pt x="12" y="0"/>
                  </a:lnTo>
                  <a:lnTo>
                    <a:pt x="14" y="2"/>
                  </a:lnTo>
                  <a:lnTo>
                    <a:pt x="17" y="5"/>
                  </a:lnTo>
                  <a:lnTo>
                    <a:pt x="14" y="9"/>
                  </a:lnTo>
                  <a:lnTo>
                    <a:pt x="14" y="12"/>
                  </a:lnTo>
                  <a:lnTo>
                    <a:pt x="5" y="17"/>
                  </a:lnTo>
                  <a:lnTo>
                    <a:pt x="0" y="14"/>
                  </a:lnTo>
                  <a:lnTo>
                    <a:pt x="0" y="12"/>
                  </a:lnTo>
                  <a:lnTo>
                    <a:pt x="2" y="12"/>
                  </a:lnTo>
                  <a:lnTo>
                    <a:pt x="2" y="12"/>
                  </a:lnTo>
                  <a:lnTo>
                    <a:pt x="2"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4" name="Freeform 745">
              <a:extLst>
                <a:ext uri="{FF2B5EF4-FFF2-40B4-BE49-F238E27FC236}">
                  <a16:creationId xmlns:a16="http://schemas.microsoft.com/office/drawing/2014/main" id="{00938469-7CC0-478C-AAB7-7CDC91ABF618}"/>
                </a:ext>
              </a:extLst>
            </p:cNvPr>
            <p:cNvSpPr>
              <a:spLocks/>
            </p:cNvSpPr>
            <p:nvPr/>
          </p:nvSpPr>
          <p:spPr bwMode="auto">
            <a:xfrm>
              <a:off x="1777253" y="1800189"/>
              <a:ext cx="26988" cy="26987"/>
            </a:xfrm>
            <a:custGeom>
              <a:avLst/>
              <a:gdLst>
                <a:gd name="T0" fmla="*/ 2 w 17"/>
                <a:gd name="T1" fmla="*/ 7 h 17"/>
                <a:gd name="T2" fmla="*/ 7 w 17"/>
                <a:gd name="T3" fmla="*/ 7 h 17"/>
                <a:gd name="T4" fmla="*/ 7 w 17"/>
                <a:gd name="T5" fmla="*/ 7 h 17"/>
                <a:gd name="T6" fmla="*/ 10 w 17"/>
                <a:gd name="T7" fmla="*/ 2 h 17"/>
                <a:gd name="T8" fmla="*/ 10 w 17"/>
                <a:gd name="T9" fmla="*/ 7 h 17"/>
                <a:gd name="T10" fmla="*/ 12 w 17"/>
                <a:gd name="T11" fmla="*/ 7 h 17"/>
                <a:gd name="T12" fmla="*/ 12 w 17"/>
                <a:gd name="T13" fmla="*/ 2 h 17"/>
                <a:gd name="T14" fmla="*/ 12 w 17"/>
                <a:gd name="T15" fmla="*/ 0 h 17"/>
                <a:gd name="T16" fmla="*/ 14 w 17"/>
                <a:gd name="T17" fmla="*/ 2 h 17"/>
                <a:gd name="T18" fmla="*/ 17 w 17"/>
                <a:gd name="T19" fmla="*/ 5 h 17"/>
                <a:gd name="T20" fmla="*/ 14 w 17"/>
                <a:gd name="T21" fmla="*/ 9 h 17"/>
                <a:gd name="T22" fmla="*/ 14 w 17"/>
                <a:gd name="T23" fmla="*/ 12 h 17"/>
                <a:gd name="T24" fmla="*/ 5 w 17"/>
                <a:gd name="T25" fmla="*/ 17 h 17"/>
                <a:gd name="T26" fmla="*/ 0 w 17"/>
                <a:gd name="T27" fmla="*/ 14 h 17"/>
                <a:gd name="T28" fmla="*/ 0 w 17"/>
                <a:gd name="T29" fmla="*/ 12 h 17"/>
                <a:gd name="T30" fmla="*/ 2 w 17"/>
                <a:gd name="T31" fmla="*/ 12 h 17"/>
                <a:gd name="T32" fmla="*/ 2 w 17"/>
                <a:gd name="T33" fmla="*/ 12 h 17"/>
                <a:gd name="T34" fmla="*/ 2 w 17"/>
                <a:gd name="T3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7">
                  <a:moveTo>
                    <a:pt x="2" y="7"/>
                  </a:moveTo>
                  <a:lnTo>
                    <a:pt x="7" y="7"/>
                  </a:lnTo>
                  <a:lnTo>
                    <a:pt x="7" y="7"/>
                  </a:lnTo>
                  <a:lnTo>
                    <a:pt x="10" y="2"/>
                  </a:lnTo>
                  <a:lnTo>
                    <a:pt x="10" y="7"/>
                  </a:lnTo>
                  <a:lnTo>
                    <a:pt x="12" y="7"/>
                  </a:lnTo>
                  <a:lnTo>
                    <a:pt x="12" y="2"/>
                  </a:lnTo>
                  <a:lnTo>
                    <a:pt x="12" y="0"/>
                  </a:lnTo>
                  <a:lnTo>
                    <a:pt x="14" y="2"/>
                  </a:lnTo>
                  <a:lnTo>
                    <a:pt x="17" y="5"/>
                  </a:lnTo>
                  <a:lnTo>
                    <a:pt x="14" y="9"/>
                  </a:lnTo>
                  <a:lnTo>
                    <a:pt x="14" y="12"/>
                  </a:lnTo>
                  <a:lnTo>
                    <a:pt x="5" y="17"/>
                  </a:lnTo>
                  <a:lnTo>
                    <a:pt x="0" y="14"/>
                  </a:lnTo>
                  <a:lnTo>
                    <a:pt x="0" y="12"/>
                  </a:lnTo>
                  <a:lnTo>
                    <a:pt x="2" y="12"/>
                  </a:lnTo>
                  <a:lnTo>
                    <a:pt x="2" y="12"/>
                  </a:lnTo>
                  <a:lnTo>
                    <a:pt x="2"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5" name="Freeform 746">
              <a:extLst>
                <a:ext uri="{FF2B5EF4-FFF2-40B4-BE49-F238E27FC236}">
                  <a16:creationId xmlns:a16="http://schemas.microsoft.com/office/drawing/2014/main" id="{C448C125-8841-4FFC-9CFE-3406631C5F54}"/>
                </a:ext>
              </a:extLst>
            </p:cNvPr>
            <p:cNvSpPr>
              <a:spLocks/>
            </p:cNvSpPr>
            <p:nvPr/>
          </p:nvSpPr>
          <p:spPr bwMode="auto">
            <a:xfrm>
              <a:off x="1796302" y="1781139"/>
              <a:ext cx="22225" cy="22225"/>
            </a:xfrm>
            <a:custGeom>
              <a:avLst/>
              <a:gdLst>
                <a:gd name="T0" fmla="*/ 2 w 14"/>
                <a:gd name="T1" fmla="*/ 3 h 14"/>
                <a:gd name="T2" fmla="*/ 0 w 14"/>
                <a:gd name="T3" fmla="*/ 5 h 14"/>
                <a:gd name="T4" fmla="*/ 0 w 14"/>
                <a:gd name="T5" fmla="*/ 5 h 14"/>
                <a:gd name="T6" fmla="*/ 0 w 14"/>
                <a:gd name="T7" fmla="*/ 3 h 14"/>
                <a:gd name="T8" fmla="*/ 0 w 14"/>
                <a:gd name="T9" fmla="*/ 0 h 14"/>
                <a:gd name="T10" fmla="*/ 2 w 14"/>
                <a:gd name="T11" fmla="*/ 0 h 14"/>
                <a:gd name="T12" fmla="*/ 5 w 14"/>
                <a:gd name="T13" fmla="*/ 0 h 14"/>
                <a:gd name="T14" fmla="*/ 7 w 14"/>
                <a:gd name="T15" fmla="*/ 3 h 14"/>
                <a:gd name="T16" fmla="*/ 7 w 14"/>
                <a:gd name="T17" fmla="*/ 3 h 14"/>
                <a:gd name="T18" fmla="*/ 7 w 14"/>
                <a:gd name="T19" fmla="*/ 7 h 14"/>
                <a:gd name="T20" fmla="*/ 7 w 14"/>
                <a:gd name="T21" fmla="*/ 7 h 14"/>
                <a:gd name="T22" fmla="*/ 7 w 14"/>
                <a:gd name="T23" fmla="*/ 5 h 14"/>
                <a:gd name="T24" fmla="*/ 9 w 14"/>
                <a:gd name="T25" fmla="*/ 5 h 14"/>
                <a:gd name="T26" fmla="*/ 14 w 14"/>
                <a:gd name="T27" fmla="*/ 5 h 14"/>
                <a:gd name="T28" fmla="*/ 9 w 14"/>
                <a:gd name="T29" fmla="*/ 12 h 14"/>
                <a:gd name="T30" fmla="*/ 7 w 14"/>
                <a:gd name="T31" fmla="*/ 14 h 14"/>
                <a:gd name="T32" fmla="*/ 2 w 14"/>
                <a:gd name="T33" fmla="*/ 10 h 14"/>
                <a:gd name="T34" fmla="*/ 0 w 14"/>
                <a:gd name="T35" fmla="*/ 7 h 14"/>
                <a:gd name="T36" fmla="*/ 2 w 14"/>
                <a:gd name="T37" fmla="*/ 7 h 14"/>
                <a:gd name="T38" fmla="*/ 2 w 14"/>
                <a:gd name="T39" fmla="*/ 3 h 14"/>
                <a:gd name="T40" fmla="*/ 2 w 14"/>
                <a:gd name="T4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14">
                  <a:moveTo>
                    <a:pt x="2" y="3"/>
                  </a:moveTo>
                  <a:lnTo>
                    <a:pt x="0" y="5"/>
                  </a:lnTo>
                  <a:lnTo>
                    <a:pt x="0" y="5"/>
                  </a:lnTo>
                  <a:lnTo>
                    <a:pt x="0" y="3"/>
                  </a:lnTo>
                  <a:lnTo>
                    <a:pt x="0" y="0"/>
                  </a:lnTo>
                  <a:lnTo>
                    <a:pt x="2" y="0"/>
                  </a:lnTo>
                  <a:lnTo>
                    <a:pt x="5" y="0"/>
                  </a:lnTo>
                  <a:lnTo>
                    <a:pt x="7" y="3"/>
                  </a:lnTo>
                  <a:lnTo>
                    <a:pt x="7" y="3"/>
                  </a:lnTo>
                  <a:lnTo>
                    <a:pt x="7" y="7"/>
                  </a:lnTo>
                  <a:lnTo>
                    <a:pt x="7" y="7"/>
                  </a:lnTo>
                  <a:lnTo>
                    <a:pt x="7" y="5"/>
                  </a:lnTo>
                  <a:lnTo>
                    <a:pt x="9" y="5"/>
                  </a:lnTo>
                  <a:lnTo>
                    <a:pt x="14" y="5"/>
                  </a:lnTo>
                  <a:lnTo>
                    <a:pt x="9" y="12"/>
                  </a:lnTo>
                  <a:lnTo>
                    <a:pt x="7" y="14"/>
                  </a:lnTo>
                  <a:lnTo>
                    <a:pt x="2" y="10"/>
                  </a:lnTo>
                  <a:lnTo>
                    <a:pt x="0" y="7"/>
                  </a:lnTo>
                  <a:lnTo>
                    <a:pt x="2" y="7"/>
                  </a:lnTo>
                  <a:lnTo>
                    <a:pt x="2" y="3"/>
                  </a:lnTo>
                  <a:lnTo>
                    <a:pt x="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6" name="Freeform 747">
              <a:extLst>
                <a:ext uri="{FF2B5EF4-FFF2-40B4-BE49-F238E27FC236}">
                  <a16:creationId xmlns:a16="http://schemas.microsoft.com/office/drawing/2014/main" id="{B722104D-32BB-4384-BA9E-DC62E56DA635}"/>
                </a:ext>
              </a:extLst>
            </p:cNvPr>
            <p:cNvSpPr>
              <a:spLocks/>
            </p:cNvSpPr>
            <p:nvPr/>
          </p:nvSpPr>
          <p:spPr bwMode="auto">
            <a:xfrm>
              <a:off x="1796302" y="1781139"/>
              <a:ext cx="22225" cy="22225"/>
            </a:xfrm>
            <a:custGeom>
              <a:avLst/>
              <a:gdLst>
                <a:gd name="T0" fmla="*/ 2 w 14"/>
                <a:gd name="T1" fmla="*/ 3 h 14"/>
                <a:gd name="T2" fmla="*/ 0 w 14"/>
                <a:gd name="T3" fmla="*/ 5 h 14"/>
                <a:gd name="T4" fmla="*/ 0 w 14"/>
                <a:gd name="T5" fmla="*/ 5 h 14"/>
                <a:gd name="T6" fmla="*/ 0 w 14"/>
                <a:gd name="T7" fmla="*/ 3 h 14"/>
                <a:gd name="T8" fmla="*/ 0 w 14"/>
                <a:gd name="T9" fmla="*/ 0 h 14"/>
                <a:gd name="T10" fmla="*/ 2 w 14"/>
                <a:gd name="T11" fmla="*/ 0 h 14"/>
                <a:gd name="T12" fmla="*/ 5 w 14"/>
                <a:gd name="T13" fmla="*/ 0 h 14"/>
                <a:gd name="T14" fmla="*/ 7 w 14"/>
                <a:gd name="T15" fmla="*/ 3 h 14"/>
                <a:gd name="T16" fmla="*/ 7 w 14"/>
                <a:gd name="T17" fmla="*/ 3 h 14"/>
                <a:gd name="T18" fmla="*/ 7 w 14"/>
                <a:gd name="T19" fmla="*/ 7 h 14"/>
                <a:gd name="T20" fmla="*/ 7 w 14"/>
                <a:gd name="T21" fmla="*/ 7 h 14"/>
                <a:gd name="T22" fmla="*/ 7 w 14"/>
                <a:gd name="T23" fmla="*/ 5 h 14"/>
                <a:gd name="T24" fmla="*/ 9 w 14"/>
                <a:gd name="T25" fmla="*/ 5 h 14"/>
                <a:gd name="T26" fmla="*/ 14 w 14"/>
                <a:gd name="T27" fmla="*/ 5 h 14"/>
                <a:gd name="T28" fmla="*/ 9 w 14"/>
                <a:gd name="T29" fmla="*/ 12 h 14"/>
                <a:gd name="T30" fmla="*/ 7 w 14"/>
                <a:gd name="T31" fmla="*/ 14 h 14"/>
                <a:gd name="T32" fmla="*/ 2 w 14"/>
                <a:gd name="T33" fmla="*/ 10 h 14"/>
                <a:gd name="T34" fmla="*/ 0 w 14"/>
                <a:gd name="T35" fmla="*/ 7 h 14"/>
                <a:gd name="T36" fmla="*/ 2 w 14"/>
                <a:gd name="T37" fmla="*/ 7 h 14"/>
                <a:gd name="T38" fmla="*/ 2 w 14"/>
                <a:gd name="T39" fmla="*/ 3 h 14"/>
                <a:gd name="T40" fmla="*/ 2 w 14"/>
                <a:gd name="T4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14">
                  <a:moveTo>
                    <a:pt x="2" y="3"/>
                  </a:moveTo>
                  <a:lnTo>
                    <a:pt x="0" y="5"/>
                  </a:lnTo>
                  <a:lnTo>
                    <a:pt x="0" y="5"/>
                  </a:lnTo>
                  <a:lnTo>
                    <a:pt x="0" y="3"/>
                  </a:lnTo>
                  <a:lnTo>
                    <a:pt x="0" y="0"/>
                  </a:lnTo>
                  <a:lnTo>
                    <a:pt x="2" y="0"/>
                  </a:lnTo>
                  <a:lnTo>
                    <a:pt x="5" y="0"/>
                  </a:lnTo>
                  <a:lnTo>
                    <a:pt x="7" y="3"/>
                  </a:lnTo>
                  <a:lnTo>
                    <a:pt x="7" y="3"/>
                  </a:lnTo>
                  <a:lnTo>
                    <a:pt x="7" y="7"/>
                  </a:lnTo>
                  <a:lnTo>
                    <a:pt x="7" y="7"/>
                  </a:lnTo>
                  <a:lnTo>
                    <a:pt x="7" y="5"/>
                  </a:lnTo>
                  <a:lnTo>
                    <a:pt x="9" y="5"/>
                  </a:lnTo>
                  <a:lnTo>
                    <a:pt x="14" y="5"/>
                  </a:lnTo>
                  <a:lnTo>
                    <a:pt x="9" y="12"/>
                  </a:lnTo>
                  <a:lnTo>
                    <a:pt x="7" y="14"/>
                  </a:lnTo>
                  <a:lnTo>
                    <a:pt x="2" y="10"/>
                  </a:lnTo>
                  <a:lnTo>
                    <a:pt x="0" y="7"/>
                  </a:lnTo>
                  <a:lnTo>
                    <a:pt x="2" y="7"/>
                  </a:lnTo>
                  <a:lnTo>
                    <a:pt x="2" y="3"/>
                  </a:lnTo>
                  <a:lnTo>
                    <a:pt x="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7" name="Freeform 748">
              <a:extLst>
                <a:ext uri="{FF2B5EF4-FFF2-40B4-BE49-F238E27FC236}">
                  <a16:creationId xmlns:a16="http://schemas.microsoft.com/office/drawing/2014/main" id="{D059B60C-04A0-4C29-9122-7B544079BF51}"/>
                </a:ext>
              </a:extLst>
            </p:cNvPr>
            <p:cNvSpPr>
              <a:spLocks/>
            </p:cNvSpPr>
            <p:nvPr/>
          </p:nvSpPr>
          <p:spPr bwMode="auto">
            <a:xfrm>
              <a:off x="1818527" y="1770026"/>
              <a:ext cx="15875" cy="15875"/>
            </a:xfrm>
            <a:custGeom>
              <a:avLst/>
              <a:gdLst>
                <a:gd name="T0" fmla="*/ 5 w 10"/>
                <a:gd name="T1" fmla="*/ 2 h 10"/>
                <a:gd name="T2" fmla="*/ 5 w 10"/>
                <a:gd name="T3" fmla="*/ 2 h 10"/>
                <a:gd name="T4" fmla="*/ 5 w 10"/>
                <a:gd name="T5" fmla="*/ 5 h 10"/>
                <a:gd name="T6" fmla="*/ 7 w 10"/>
                <a:gd name="T7" fmla="*/ 5 h 10"/>
                <a:gd name="T8" fmla="*/ 10 w 10"/>
                <a:gd name="T9" fmla="*/ 7 h 10"/>
                <a:gd name="T10" fmla="*/ 7 w 10"/>
                <a:gd name="T11" fmla="*/ 10 h 10"/>
                <a:gd name="T12" fmla="*/ 2 w 10"/>
                <a:gd name="T13" fmla="*/ 7 h 10"/>
                <a:gd name="T14" fmla="*/ 0 w 10"/>
                <a:gd name="T15" fmla="*/ 2 h 10"/>
                <a:gd name="T16" fmla="*/ 0 w 10"/>
                <a:gd name="T17" fmla="*/ 0 h 10"/>
                <a:gd name="T18" fmla="*/ 0 w 10"/>
                <a:gd name="T19" fmla="*/ 0 h 10"/>
                <a:gd name="T20" fmla="*/ 2 w 10"/>
                <a:gd name="T21" fmla="*/ 0 h 10"/>
                <a:gd name="T22" fmla="*/ 2 w 10"/>
                <a:gd name="T23" fmla="*/ 5 h 10"/>
                <a:gd name="T24" fmla="*/ 5 w 10"/>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5" y="2"/>
                  </a:moveTo>
                  <a:lnTo>
                    <a:pt x="5" y="2"/>
                  </a:lnTo>
                  <a:lnTo>
                    <a:pt x="5" y="5"/>
                  </a:lnTo>
                  <a:lnTo>
                    <a:pt x="7" y="5"/>
                  </a:lnTo>
                  <a:lnTo>
                    <a:pt x="10" y="7"/>
                  </a:lnTo>
                  <a:lnTo>
                    <a:pt x="7" y="10"/>
                  </a:lnTo>
                  <a:lnTo>
                    <a:pt x="2" y="7"/>
                  </a:lnTo>
                  <a:lnTo>
                    <a:pt x="0" y="2"/>
                  </a:lnTo>
                  <a:lnTo>
                    <a:pt x="0" y="0"/>
                  </a:lnTo>
                  <a:lnTo>
                    <a:pt x="0" y="0"/>
                  </a:lnTo>
                  <a:lnTo>
                    <a:pt x="2" y="0"/>
                  </a:lnTo>
                  <a:lnTo>
                    <a:pt x="2" y="5"/>
                  </a:lnTo>
                  <a:lnTo>
                    <a:pt x="5"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8" name="Freeform 749">
              <a:extLst>
                <a:ext uri="{FF2B5EF4-FFF2-40B4-BE49-F238E27FC236}">
                  <a16:creationId xmlns:a16="http://schemas.microsoft.com/office/drawing/2014/main" id="{57DFF426-A7F3-430D-BF47-4297C590C46D}"/>
                </a:ext>
              </a:extLst>
            </p:cNvPr>
            <p:cNvSpPr>
              <a:spLocks/>
            </p:cNvSpPr>
            <p:nvPr/>
          </p:nvSpPr>
          <p:spPr bwMode="auto">
            <a:xfrm>
              <a:off x="1818527" y="1770026"/>
              <a:ext cx="15875" cy="15875"/>
            </a:xfrm>
            <a:custGeom>
              <a:avLst/>
              <a:gdLst>
                <a:gd name="T0" fmla="*/ 5 w 10"/>
                <a:gd name="T1" fmla="*/ 2 h 10"/>
                <a:gd name="T2" fmla="*/ 5 w 10"/>
                <a:gd name="T3" fmla="*/ 2 h 10"/>
                <a:gd name="T4" fmla="*/ 5 w 10"/>
                <a:gd name="T5" fmla="*/ 5 h 10"/>
                <a:gd name="T6" fmla="*/ 7 w 10"/>
                <a:gd name="T7" fmla="*/ 5 h 10"/>
                <a:gd name="T8" fmla="*/ 10 w 10"/>
                <a:gd name="T9" fmla="*/ 7 h 10"/>
                <a:gd name="T10" fmla="*/ 7 w 10"/>
                <a:gd name="T11" fmla="*/ 10 h 10"/>
                <a:gd name="T12" fmla="*/ 2 w 10"/>
                <a:gd name="T13" fmla="*/ 7 h 10"/>
                <a:gd name="T14" fmla="*/ 0 w 10"/>
                <a:gd name="T15" fmla="*/ 2 h 10"/>
                <a:gd name="T16" fmla="*/ 0 w 10"/>
                <a:gd name="T17" fmla="*/ 0 h 10"/>
                <a:gd name="T18" fmla="*/ 0 w 10"/>
                <a:gd name="T19" fmla="*/ 0 h 10"/>
                <a:gd name="T20" fmla="*/ 2 w 10"/>
                <a:gd name="T21" fmla="*/ 0 h 10"/>
                <a:gd name="T22" fmla="*/ 2 w 10"/>
                <a:gd name="T23" fmla="*/ 5 h 10"/>
                <a:gd name="T24" fmla="*/ 5 w 10"/>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5" y="2"/>
                  </a:moveTo>
                  <a:lnTo>
                    <a:pt x="5" y="2"/>
                  </a:lnTo>
                  <a:lnTo>
                    <a:pt x="5" y="5"/>
                  </a:lnTo>
                  <a:lnTo>
                    <a:pt x="7" y="5"/>
                  </a:lnTo>
                  <a:lnTo>
                    <a:pt x="10" y="7"/>
                  </a:lnTo>
                  <a:lnTo>
                    <a:pt x="7" y="10"/>
                  </a:lnTo>
                  <a:lnTo>
                    <a:pt x="2" y="7"/>
                  </a:lnTo>
                  <a:lnTo>
                    <a:pt x="0" y="2"/>
                  </a:lnTo>
                  <a:lnTo>
                    <a:pt x="0" y="0"/>
                  </a:lnTo>
                  <a:lnTo>
                    <a:pt x="0" y="0"/>
                  </a:lnTo>
                  <a:lnTo>
                    <a:pt x="2" y="0"/>
                  </a:lnTo>
                  <a:lnTo>
                    <a:pt x="2" y="5"/>
                  </a:lnTo>
                  <a:lnTo>
                    <a:pt x="5"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59" name="Freeform 750">
              <a:extLst>
                <a:ext uri="{FF2B5EF4-FFF2-40B4-BE49-F238E27FC236}">
                  <a16:creationId xmlns:a16="http://schemas.microsoft.com/office/drawing/2014/main" id="{11E751AA-FEE3-469A-8838-DE64D6AD5E1F}"/>
                </a:ext>
              </a:extLst>
            </p:cNvPr>
            <p:cNvSpPr>
              <a:spLocks/>
            </p:cNvSpPr>
            <p:nvPr/>
          </p:nvSpPr>
          <p:spPr bwMode="auto">
            <a:xfrm>
              <a:off x="1845516" y="1770026"/>
              <a:ext cx="6350" cy="15875"/>
            </a:xfrm>
            <a:custGeom>
              <a:avLst/>
              <a:gdLst>
                <a:gd name="T0" fmla="*/ 2 w 4"/>
                <a:gd name="T1" fmla="*/ 0 h 10"/>
                <a:gd name="T2" fmla="*/ 4 w 4"/>
                <a:gd name="T3" fmla="*/ 0 h 10"/>
                <a:gd name="T4" fmla="*/ 4 w 4"/>
                <a:gd name="T5" fmla="*/ 2 h 10"/>
                <a:gd name="T6" fmla="*/ 4 w 4"/>
                <a:gd name="T7" fmla="*/ 5 h 10"/>
                <a:gd name="T8" fmla="*/ 4 w 4"/>
                <a:gd name="T9" fmla="*/ 10 h 10"/>
                <a:gd name="T10" fmla="*/ 2 w 4"/>
                <a:gd name="T11" fmla="*/ 10 h 10"/>
                <a:gd name="T12" fmla="*/ 2 w 4"/>
                <a:gd name="T13" fmla="*/ 10 h 10"/>
                <a:gd name="T14" fmla="*/ 2 w 4"/>
                <a:gd name="T15" fmla="*/ 7 h 10"/>
                <a:gd name="T16" fmla="*/ 0 w 4"/>
                <a:gd name="T17" fmla="*/ 7 h 10"/>
                <a:gd name="T18" fmla="*/ 0 w 4"/>
                <a:gd name="T19" fmla="*/ 7 h 10"/>
                <a:gd name="T20" fmla="*/ 0 w 4"/>
                <a:gd name="T21" fmla="*/ 5 h 10"/>
                <a:gd name="T22" fmla="*/ 0 w 4"/>
                <a:gd name="T23" fmla="*/ 2 h 10"/>
                <a:gd name="T24" fmla="*/ 2 w 4"/>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0">
                  <a:moveTo>
                    <a:pt x="2" y="0"/>
                  </a:moveTo>
                  <a:lnTo>
                    <a:pt x="4" y="0"/>
                  </a:lnTo>
                  <a:lnTo>
                    <a:pt x="4" y="2"/>
                  </a:lnTo>
                  <a:lnTo>
                    <a:pt x="4" y="5"/>
                  </a:lnTo>
                  <a:lnTo>
                    <a:pt x="4" y="10"/>
                  </a:lnTo>
                  <a:lnTo>
                    <a:pt x="2" y="10"/>
                  </a:lnTo>
                  <a:lnTo>
                    <a:pt x="2" y="10"/>
                  </a:lnTo>
                  <a:lnTo>
                    <a:pt x="2" y="7"/>
                  </a:lnTo>
                  <a:lnTo>
                    <a:pt x="0" y="7"/>
                  </a:lnTo>
                  <a:lnTo>
                    <a:pt x="0" y="7"/>
                  </a:lnTo>
                  <a:lnTo>
                    <a:pt x="0" y="5"/>
                  </a:lnTo>
                  <a:lnTo>
                    <a:pt x="0"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0" name="Freeform 751">
              <a:extLst>
                <a:ext uri="{FF2B5EF4-FFF2-40B4-BE49-F238E27FC236}">
                  <a16:creationId xmlns:a16="http://schemas.microsoft.com/office/drawing/2014/main" id="{FBF43A65-AB9D-408F-A254-28BBE22D060E}"/>
                </a:ext>
              </a:extLst>
            </p:cNvPr>
            <p:cNvSpPr>
              <a:spLocks/>
            </p:cNvSpPr>
            <p:nvPr/>
          </p:nvSpPr>
          <p:spPr bwMode="auto">
            <a:xfrm>
              <a:off x="1845516" y="1770026"/>
              <a:ext cx="6350" cy="15875"/>
            </a:xfrm>
            <a:custGeom>
              <a:avLst/>
              <a:gdLst>
                <a:gd name="T0" fmla="*/ 2 w 4"/>
                <a:gd name="T1" fmla="*/ 0 h 10"/>
                <a:gd name="T2" fmla="*/ 4 w 4"/>
                <a:gd name="T3" fmla="*/ 0 h 10"/>
                <a:gd name="T4" fmla="*/ 4 w 4"/>
                <a:gd name="T5" fmla="*/ 2 h 10"/>
                <a:gd name="T6" fmla="*/ 4 w 4"/>
                <a:gd name="T7" fmla="*/ 5 h 10"/>
                <a:gd name="T8" fmla="*/ 4 w 4"/>
                <a:gd name="T9" fmla="*/ 10 h 10"/>
                <a:gd name="T10" fmla="*/ 2 w 4"/>
                <a:gd name="T11" fmla="*/ 10 h 10"/>
                <a:gd name="T12" fmla="*/ 2 w 4"/>
                <a:gd name="T13" fmla="*/ 10 h 10"/>
                <a:gd name="T14" fmla="*/ 2 w 4"/>
                <a:gd name="T15" fmla="*/ 7 h 10"/>
                <a:gd name="T16" fmla="*/ 0 w 4"/>
                <a:gd name="T17" fmla="*/ 7 h 10"/>
                <a:gd name="T18" fmla="*/ 0 w 4"/>
                <a:gd name="T19" fmla="*/ 7 h 10"/>
                <a:gd name="T20" fmla="*/ 0 w 4"/>
                <a:gd name="T21" fmla="*/ 5 h 10"/>
                <a:gd name="T22" fmla="*/ 0 w 4"/>
                <a:gd name="T23" fmla="*/ 2 h 10"/>
                <a:gd name="T24" fmla="*/ 2 w 4"/>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0">
                  <a:moveTo>
                    <a:pt x="2" y="0"/>
                  </a:moveTo>
                  <a:lnTo>
                    <a:pt x="4" y="0"/>
                  </a:lnTo>
                  <a:lnTo>
                    <a:pt x="4" y="2"/>
                  </a:lnTo>
                  <a:lnTo>
                    <a:pt x="4" y="5"/>
                  </a:lnTo>
                  <a:lnTo>
                    <a:pt x="4" y="10"/>
                  </a:lnTo>
                  <a:lnTo>
                    <a:pt x="2" y="10"/>
                  </a:lnTo>
                  <a:lnTo>
                    <a:pt x="2" y="10"/>
                  </a:lnTo>
                  <a:lnTo>
                    <a:pt x="2" y="7"/>
                  </a:lnTo>
                  <a:lnTo>
                    <a:pt x="0" y="7"/>
                  </a:lnTo>
                  <a:lnTo>
                    <a:pt x="0" y="7"/>
                  </a:lnTo>
                  <a:lnTo>
                    <a:pt x="0" y="5"/>
                  </a:lnTo>
                  <a:lnTo>
                    <a:pt x="0" y="2"/>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1" name="Freeform 752">
              <a:extLst>
                <a:ext uri="{FF2B5EF4-FFF2-40B4-BE49-F238E27FC236}">
                  <a16:creationId xmlns:a16="http://schemas.microsoft.com/office/drawing/2014/main" id="{98C8E238-6639-44FB-B5AF-A7643F072D71}"/>
                </a:ext>
              </a:extLst>
            </p:cNvPr>
            <p:cNvSpPr>
              <a:spLocks/>
            </p:cNvSpPr>
            <p:nvPr/>
          </p:nvSpPr>
          <p:spPr bwMode="auto">
            <a:xfrm>
              <a:off x="1897902" y="1758914"/>
              <a:ext cx="14288" cy="11112"/>
            </a:xfrm>
            <a:custGeom>
              <a:avLst/>
              <a:gdLst>
                <a:gd name="T0" fmla="*/ 4 w 9"/>
                <a:gd name="T1" fmla="*/ 7 h 7"/>
                <a:gd name="T2" fmla="*/ 0 w 9"/>
                <a:gd name="T3" fmla="*/ 5 h 7"/>
                <a:gd name="T4" fmla="*/ 0 w 9"/>
                <a:gd name="T5" fmla="*/ 2 h 7"/>
                <a:gd name="T6" fmla="*/ 2 w 9"/>
                <a:gd name="T7" fmla="*/ 0 h 7"/>
                <a:gd name="T8" fmla="*/ 7 w 9"/>
                <a:gd name="T9" fmla="*/ 2 h 7"/>
                <a:gd name="T10" fmla="*/ 9 w 9"/>
                <a:gd name="T11" fmla="*/ 5 h 7"/>
                <a:gd name="T12" fmla="*/ 9 w 9"/>
                <a:gd name="T13" fmla="*/ 7 h 7"/>
                <a:gd name="T14" fmla="*/ 4 w 9"/>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4" y="7"/>
                  </a:moveTo>
                  <a:lnTo>
                    <a:pt x="0" y="5"/>
                  </a:lnTo>
                  <a:lnTo>
                    <a:pt x="0" y="2"/>
                  </a:lnTo>
                  <a:lnTo>
                    <a:pt x="2" y="0"/>
                  </a:lnTo>
                  <a:lnTo>
                    <a:pt x="7" y="2"/>
                  </a:lnTo>
                  <a:lnTo>
                    <a:pt x="9" y="5"/>
                  </a:lnTo>
                  <a:lnTo>
                    <a:pt x="9" y="7"/>
                  </a:lnTo>
                  <a:lnTo>
                    <a:pt x="4"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2" name="Freeform 753">
              <a:extLst>
                <a:ext uri="{FF2B5EF4-FFF2-40B4-BE49-F238E27FC236}">
                  <a16:creationId xmlns:a16="http://schemas.microsoft.com/office/drawing/2014/main" id="{978998E7-F9A9-4820-BB19-F1E60C97902B}"/>
                </a:ext>
              </a:extLst>
            </p:cNvPr>
            <p:cNvSpPr>
              <a:spLocks/>
            </p:cNvSpPr>
            <p:nvPr/>
          </p:nvSpPr>
          <p:spPr bwMode="auto">
            <a:xfrm>
              <a:off x="1897902" y="1758914"/>
              <a:ext cx="14288" cy="11112"/>
            </a:xfrm>
            <a:custGeom>
              <a:avLst/>
              <a:gdLst>
                <a:gd name="T0" fmla="*/ 4 w 9"/>
                <a:gd name="T1" fmla="*/ 7 h 7"/>
                <a:gd name="T2" fmla="*/ 0 w 9"/>
                <a:gd name="T3" fmla="*/ 5 h 7"/>
                <a:gd name="T4" fmla="*/ 0 w 9"/>
                <a:gd name="T5" fmla="*/ 2 h 7"/>
                <a:gd name="T6" fmla="*/ 2 w 9"/>
                <a:gd name="T7" fmla="*/ 0 h 7"/>
                <a:gd name="T8" fmla="*/ 7 w 9"/>
                <a:gd name="T9" fmla="*/ 2 h 7"/>
                <a:gd name="T10" fmla="*/ 9 w 9"/>
                <a:gd name="T11" fmla="*/ 5 h 7"/>
                <a:gd name="T12" fmla="*/ 9 w 9"/>
                <a:gd name="T13" fmla="*/ 7 h 7"/>
                <a:gd name="T14" fmla="*/ 4 w 9"/>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4" y="7"/>
                  </a:moveTo>
                  <a:lnTo>
                    <a:pt x="0" y="5"/>
                  </a:lnTo>
                  <a:lnTo>
                    <a:pt x="0" y="2"/>
                  </a:lnTo>
                  <a:lnTo>
                    <a:pt x="2" y="0"/>
                  </a:lnTo>
                  <a:lnTo>
                    <a:pt x="7" y="2"/>
                  </a:lnTo>
                  <a:lnTo>
                    <a:pt x="9" y="5"/>
                  </a:lnTo>
                  <a:lnTo>
                    <a:pt x="9" y="7"/>
                  </a:lnTo>
                  <a:lnTo>
                    <a:pt x="4"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3" name="Freeform 754">
              <a:extLst>
                <a:ext uri="{FF2B5EF4-FFF2-40B4-BE49-F238E27FC236}">
                  <a16:creationId xmlns:a16="http://schemas.microsoft.com/office/drawing/2014/main" id="{46A5D32D-63F3-4877-8C82-0A8A3A641217}"/>
                </a:ext>
              </a:extLst>
            </p:cNvPr>
            <p:cNvSpPr>
              <a:spLocks/>
            </p:cNvSpPr>
            <p:nvPr/>
          </p:nvSpPr>
          <p:spPr bwMode="auto">
            <a:xfrm>
              <a:off x="1886790" y="1728751"/>
              <a:ext cx="28575" cy="22225"/>
            </a:xfrm>
            <a:custGeom>
              <a:avLst/>
              <a:gdLst>
                <a:gd name="T0" fmla="*/ 7 w 18"/>
                <a:gd name="T1" fmla="*/ 5 h 14"/>
                <a:gd name="T2" fmla="*/ 7 w 18"/>
                <a:gd name="T3" fmla="*/ 2 h 14"/>
                <a:gd name="T4" fmla="*/ 7 w 18"/>
                <a:gd name="T5" fmla="*/ 2 h 14"/>
                <a:gd name="T6" fmla="*/ 9 w 18"/>
                <a:gd name="T7" fmla="*/ 2 h 14"/>
                <a:gd name="T8" fmla="*/ 9 w 18"/>
                <a:gd name="T9" fmla="*/ 0 h 14"/>
                <a:gd name="T10" fmla="*/ 9 w 18"/>
                <a:gd name="T11" fmla="*/ 2 h 14"/>
                <a:gd name="T12" fmla="*/ 9 w 18"/>
                <a:gd name="T13" fmla="*/ 5 h 14"/>
                <a:gd name="T14" fmla="*/ 14 w 18"/>
                <a:gd name="T15" fmla="*/ 5 h 14"/>
                <a:gd name="T16" fmla="*/ 14 w 18"/>
                <a:gd name="T17" fmla="*/ 0 h 14"/>
                <a:gd name="T18" fmla="*/ 16 w 18"/>
                <a:gd name="T19" fmla="*/ 0 h 14"/>
                <a:gd name="T20" fmla="*/ 16 w 18"/>
                <a:gd name="T21" fmla="*/ 2 h 14"/>
                <a:gd name="T22" fmla="*/ 18 w 18"/>
                <a:gd name="T23" fmla="*/ 2 h 14"/>
                <a:gd name="T24" fmla="*/ 18 w 18"/>
                <a:gd name="T25" fmla="*/ 5 h 14"/>
                <a:gd name="T26" fmla="*/ 18 w 18"/>
                <a:gd name="T27" fmla="*/ 7 h 14"/>
                <a:gd name="T28" fmla="*/ 16 w 18"/>
                <a:gd name="T29" fmla="*/ 7 h 14"/>
                <a:gd name="T30" fmla="*/ 16 w 18"/>
                <a:gd name="T31" fmla="*/ 10 h 14"/>
                <a:gd name="T32" fmla="*/ 16 w 18"/>
                <a:gd name="T33" fmla="*/ 12 h 14"/>
                <a:gd name="T34" fmla="*/ 14 w 18"/>
                <a:gd name="T35" fmla="*/ 10 h 14"/>
                <a:gd name="T36" fmla="*/ 11 w 18"/>
                <a:gd name="T37" fmla="*/ 12 h 14"/>
                <a:gd name="T38" fmla="*/ 9 w 18"/>
                <a:gd name="T39" fmla="*/ 12 h 14"/>
                <a:gd name="T40" fmla="*/ 9 w 18"/>
                <a:gd name="T41" fmla="*/ 12 h 14"/>
                <a:gd name="T42" fmla="*/ 7 w 18"/>
                <a:gd name="T43" fmla="*/ 12 h 14"/>
                <a:gd name="T44" fmla="*/ 4 w 18"/>
                <a:gd name="T45" fmla="*/ 10 h 14"/>
                <a:gd name="T46" fmla="*/ 4 w 18"/>
                <a:gd name="T47" fmla="*/ 14 h 14"/>
                <a:gd name="T48" fmla="*/ 2 w 18"/>
                <a:gd name="T49" fmla="*/ 7 h 14"/>
                <a:gd name="T50" fmla="*/ 0 w 18"/>
                <a:gd name="T51" fmla="*/ 7 h 14"/>
                <a:gd name="T52" fmla="*/ 2 w 18"/>
                <a:gd name="T53" fmla="*/ 5 h 14"/>
                <a:gd name="T54" fmla="*/ 4 w 18"/>
                <a:gd name="T55" fmla="*/ 5 h 14"/>
                <a:gd name="T56" fmla="*/ 7 w 18"/>
                <a:gd name="T57"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4">
                  <a:moveTo>
                    <a:pt x="7" y="5"/>
                  </a:moveTo>
                  <a:lnTo>
                    <a:pt x="7" y="2"/>
                  </a:lnTo>
                  <a:lnTo>
                    <a:pt x="7" y="2"/>
                  </a:lnTo>
                  <a:lnTo>
                    <a:pt x="9" y="2"/>
                  </a:lnTo>
                  <a:lnTo>
                    <a:pt x="9" y="0"/>
                  </a:lnTo>
                  <a:lnTo>
                    <a:pt x="9" y="2"/>
                  </a:lnTo>
                  <a:lnTo>
                    <a:pt x="9" y="5"/>
                  </a:lnTo>
                  <a:lnTo>
                    <a:pt x="14" y="5"/>
                  </a:lnTo>
                  <a:lnTo>
                    <a:pt x="14" y="0"/>
                  </a:lnTo>
                  <a:lnTo>
                    <a:pt x="16" y="0"/>
                  </a:lnTo>
                  <a:lnTo>
                    <a:pt x="16" y="2"/>
                  </a:lnTo>
                  <a:lnTo>
                    <a:pt x="18" y="2"/>
                  </a:lnTo>
                  <a:lnTo>
                    <a:pt x="18" y="5"/>
                  </a:lnTo>
                  <a:lnTo>
                    <a:pt x="18" y="7"/>
                  </a:lnTo>
                  <a:lnTo>
                    <a:pt x="16" y="7"/>
                  </a:lnTo>
                  <a:lnTo>
                    <a:pt x="16" y="10"/>
                  </a:lnTo>
                  <a:lnTo>
                    <a:pt x="16" y="12"/>
                  </a:lnTo>
                  <a:lnTo>
                    <a:pt x="14" y="10"/>
                  </a:lnTo>
                  <a:lnTo>
                    <a:pt x="11" y="12"/>
                  </a:lnTo>
                  <a:lnTo>
                    <a:pt x="9" y="12"/>
                  </a:lnTo>
                  <a:lnTo>
                    <a:pt x="9" y="12"/>
                  </a:lnTo>
                  <a:lnTo>
                    <a:pt x="7" y="12"/>
                  </a:lnTo>
                  <a:lnTo>
                    <a:pt x="4" y="10"/>
                  </a:lnTo>
                  <a:lnTo>
                    <a:pt x="4" y="14"/>
                  </a:lnTo>
                  <a:lnTo>
                    <a:pt x="2" y="7"/>
                  </a:lnTo>
                  <a:lnTo>
                    <a:pt x="0" y="7"/>
                  </a:lnTo>
                  <a:lnTo>
                    <a:pt x="2" y="5"/>
                  </a:lnTo>
                  <a:lnTo>
                    <a:pt x="4" y="5"/>
                  </a:lnTo>
                  <a:lnTo>
                    <a:pt x="7"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4" name="Freeform 755">
              <a:extLst>
                <a:ext uri="{FF2B5EF4-FFF2-40B4-BE49-F238E27FC236}">
                  <a16:creationId xmlns:a16="http://schemas.microsoft.com/office/drawing/2014/main" id="{68A6A4E3-3CBF-4494-BFD9-A90E24A169C6}"/>
                </a:ext>
              </a:extLst>
            </p:cNvPr>
            <p:cNvSpPr>
              <a:spLocks/>
            </p:cNvSpPr>
            <p:nvPr/>
          </p:nvSpPr>
          <p:spPr bwMode="auto">
            <a:xfrm>
              <a:off x="1886790" y="1728751"/>
              <a:ext cx="28575" cy="22225"/>
            </a:xfrm>
            <a:custGeom>
              <a:avLst/>
              <a:gdLst>
                <a:gd name="T0" fmla="*/ 7 w 18"/>
                <a:gd name="T1" fmla="*/ 5 h 14"/>
                <a:gd name="T2" fmla="*/ 7 w 18"/>
                <a:gd name="T3" fmla="*/ 2 h 14"/>
                <a:gd name="T4" fmla="*/ 7 w 18"/>
                <a:gd name="T5" fmla="*/ 2 h 14"/>
                <a:gd name="T6" fmla="*/ 9 w 18"/>
                <a:gd name="T7" fmla="*/ 2 h 14"/>
                <a:gd name="T8" fmla="*/ 9 w 18"/>
                <a:gd name="T9" fmla="*/ 0 h 14"/>
                <a:gd name="T10" fmla="*/ 9 w 18"/>
                <a:gd name="T11" fmla="*/ 2 h 14"/>
                <a:gd name="T12" fmla="*/ 9 w 18"/>
                <a:gd name="T13" fmla="*/ 5 h 14"/>
                <a:gd name="T14" fmla="*/ 14 w 18"/>
                <a:gd name="T15" fmla="*/ 5 h 14"/>
                <a:gd name="T16" fmla="*/ 14 w 18"/>
                <a:gd name="T17" fmla="*/ 0 h 14"/>
                <a:gd name="T18" fmla="*/ 16 w 18"/>
                <a:gd name="T19" fmla="*/ 0 h 14"/>
                <a:gd name="T20" fmla="*/ 16 w 18"/>
                <a:gd name="T21" fmla="*/ 2 h 14"/>
                <a:gd name="T22" fmla="*/ 18 w 18"/>
                <a:gd name="T23" fmla="*/ 2 h 14"/>
                <a:gd name="T24" fmla="*/ 18 w 18"/>
                <a:gd name="T25" fmla="*/ 5 h 14"/>
                <a:gd name="T26" fmla="*/ 18 w 18"/>
                <a:gd name="T27" fmla="*/ 7 h 14"/>
                <a:gd name="T28" fmla="*/ 16 w 18"/>
                <a:gd name="T29" fmla="*/ 7 h 14"/>
                <a:gd name="T30" fmla="*/ 16 w 18"/>
                <a:gd name="T31" fmla="*/ 10 h 14"/>
                <a:gd name="T32" fmla="*/ 16 w 18"/>
                <a:gd name="T33" fmla="*/ 12 h 14"/>
                <a:gd name="T34" fmla="*/ 14 w 18"/>
                <a:gd name="T35" fmla="*/ 10 h 14"/>
                <a:gd name="T36" fmla="*/ 11 w 18"/>
                <a:gd name="T37" fmla="*/ 12 h 14"/>
                <a:gd name="T38" fmla="*/ 9 w 18"/>
                <a:gd name="T39" fmla="*/ 12 h 14"/>
                <a:gd name="T40" fmla="*/ 9 w 18"/>
                <a:gd name="T41" fmla="*/ 12 h 14"/>
                <a:gd name="T42" fmla="*/ 7 w 18"/>
                <a:gd name="T43" fmla="*/ 12 h 14"/>
                <a:gd name="T44" fmla="*/ 4 w 18"/>
                <a:gd name="T45" fmla="*/ 10 h 14"/>
                <a:gd name="T46" fmla="*/ 4 w 18"/>
                <a:gd name="T47" fmla="*/ 14 h 14"/>
                <a:gd name="T48" fmla="*/ 2 w 18"/>
                <a:gd name="T49" fmla="*/ 7 h 14"/>
                <a:gd name="T50" fmla="*/ 0 w 18"/>
                <a:gd name="T51" fmla="*/ 7 h 14"/>
                <a:gd name="T52" fmla="*/ 2 w 18"/>
                <a:gd name="T53" fmla="*/ 5 h 14"/>
                <a:gd name="T54" fmla="*/ 4 w 18"/>
                <a:gd name="T55" fmla="*/ 5 h 14"/>
                <a:gd name="T56" fmla="*/ 7 w 18"/>
                <a:gd name="T57"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4">
                  <a:moveTo>
                    <a:pt x="7" y="5"/>
                  </a:moveTo>
                  <a:lnTo>
                    <a:pt x="7" y="2"/>
                  </a:lnTo>
                  <a:lnTo>
                    <a:pt x="7" y="2"/>
                  </a:lnTo>
                  <a:lnTo>
                    <a:pt x="9" y="2"/>
                  </a:lnTo>
                  <a:lnTo>
                    <a:pt x="9" y="0"/>
                  </a:lnTo>
                  <a:lnTo>
                    <a:pt x="9" y="2"/>
                  </a:lnTo>
                  <a:lnTo>
                    <a:pt x="9" y="5"/>
                  </a:lnTo>
                  <a:lnTo>
                    <a:pt x="14" y="5"/>
                  </a:lnTo>
                  <a:lnTo>
                    <a:pt x="14" y="0"/>
                  </a:lnTo>
                  <a:lnTo>
                    <a:pt x="16" y="0"/>
                  </a:lnTo>
                  <a:lnTo>
                    <a:pt x="16" y="2"/>
                  </a:lnTo>
                  <a:lnTo>
                    <a:pt x="18" y="2"/>
                  </a:lnTo>
                  <a:lnTo>
                    <a:pt x="18" y="5"/>
                  </a:lnTo>
                  <a:lnTo>
                    <a:pt x="18" y="7"/>
                  </a:lnTo>
                  <a:lnTo>
                    <a:pt x="16" y="7"/>
                  </a:lnTo>
                  <a:lnTo>
                    <a:pt x="16" y="10"/>
                  </a:lnTo>
                  <a:lnTo>
                    <a:pt x="16" y="12"/>
                  </a:lnTo>
                  <a:lnTo>
                    <a:pt x="14" y="10"/>
                  </a:lnTo>
                  <a:lnTo>
                    <a:pt x="11" y="12"/>
                  </a:lnTo>
                  <a:lnTo>
                    <a:pt x="9" y="12"/>
                  </a:lnTo>
                  <a:lnTo>
                    <a:pt x="9" y="12"/>
                  </a:lnTo>
                  <a:lnTo>
                    <a:pt x="7" y="12"/>
                  </a:lnTo>
                  <a:lnTo>
                    <a:pt x="4" y="10"/>
                  </a:lnTo>
                  <a:lnTo>
                    <a:pt x="4" y="14"/>
                  </a:lnTo>
                  <a:lnTo>
                    <a:pt x="2" y="7"/>
                  </a:lnTo>
                  <a:lnTo>
                    <a:pt x="0" y="7"/>
                  </a:lnTo>
                  <a:lnTo>
                    <a:pt x="2" y="5"/>
                  </a:lnTo>
                  <a:lnTo>
                    <a:pt x="4" y="5"/>
                  </a:lnTo>
                  <a:lnTo>
                    <a:pt x="7"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5" name="Freeform 756">
              <a:extLst>
                <a:ext uri="{FF2B5EF4-FFF2-40B4-BE49-F238E27FC236}">
                  <a16:creationId xmlns:a16="http://schemas.microsoft.com/office/drawing/2014/main" id="{37C7F6BF-2A23-4576-9CC4-3212C33DE520}"/>
                </a:ext>
              </a:extLst>
            </p:cNvPr>
            <p:cNvSpPr>
              <a:spLocks/>
            </p:cNvSpPr>
            <p:nvPr/>
          </p:nvSpPr>
          <p:spPr bwMode="auto">
            <a:xfrm>
              <a:off x="1912191" y="1744626"/>
              <a:ext cx="19050" cy="22225"/>
            </a:xfrm>
            <a:custGeom>
              <a:avLst/>
              <a:gdLst>
                <a:gd name="T0" fmla="*/ 7 w 12"/>
                <a:gd name="T1" fmla="*/ 11 h 14"/>
                <a:gd name="T2" fmla="*/ 7 w 12"/>
                <a:gd name="T3" fmla="*/ 9 h 14"/>
                <a:gd name="T4" fmla="*/ 7 w 12"/>
                <a:gd name="T5" fmla="*/ 11 h 14"/>
                <a:gd name="T6" fmla="*/ 5 w 12"/>
                <a:gd name="T7" fmla="*/ 14 h 14"/>
                <a:gd name="T8" fmla="*/ 2 w 12"/>
                <a:gd name="T9" fmla="*/ 11 h 14"/>
                <a:gd name="T10" fmla="*/ 0 w 12"/>
                <a:gd name="T11" fmla="*/ 11 h 14"/>
                <a:gd name="T12" fmla="*/ 0 w 12"/>
                <a:gd name="T13" fmla="*/ 9 h 14"/>
                <a:gd name="T14" fmla="*/ 0 w 12"/>
                <a:gd name="T15" fmla="*/ 7 h 14"/>
                <a:gd name="T16" fmla="*/ 0 w 12"/>
                <a:gd name="T17" fmla="*/ 4 h 14"/>
                <a:gd name="T18" fmla="*/ 2 w 12"/>
                <a:gd name="T19" fmla="*/ 2 h 14"/>
                <a:gd name="T20" fmla="*/ 2 w 12"/>
                <a:gd name="T21" fmla="*/ 4 h 14"/>
                <a:gd name="T22" fmla="*/ 5 w 12"/>
                <a:gd name="T23" fmla="*/ 0 h 14"/>
                <a:gd name="T24" fmla="*/ 7 w 12"/>
                <a:gd name="T25" fmla="*/ 2 h 14"/>
                <a:gd name="T26" fmla="*/ 10 w 12"/>
                <a:gd name="T27" fmla="*/ 0 h 14"/>
                <a:gd name="T28" fmla="*/ 12 w 12"/>
                <a:gd name="T29" fmla="*/ 2 h 14"/>
                <a:gd name="T30" fmla="*/ 12 w 12"/>
                <a:gd name="T31" fmla="*/ 4 h 14"/>
                <a:gd name="T32" fmla="*/ 10 w 12"/>
                <a:gd name="T33" fmla="*/ 7 h 14"/>
                <a:gd name="T34" fmla="*/ 7 w 12"/>
                <a:gd name="T3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4">
                  <a:moveTo>
                    <a:pt x="7" y="11"/>
                  </a:moveTo>
                  <a:lnTo>
                    <a:pt x="7" y="9"/>
                  </a:lnTo>
                  <a:lnTo>
                    <a:pt x="7" y="11"/>
                  </a:lnTo>
                  <a:lnTo>
                    <a:pt x="5" y="14"/>
                  </a:lnTo>
                  <a:lnTo>
                    <a:pt x="2" y="11"/>
                  </a:lnTo>
                  <a:lnTo>
                    <a:pt x="0" y="11"/>
                  </a:lnTo>
                  <a:lnTo>
                    <a:pt x="0" y="9"/>
                  </a:lnTo>
                  <a:lnTo>
                    <a:pt x="0" y="7"/>
                  </a:lnTo>
                  <a:lnTo>
                    <a:pt x="0" y="4"/>
                  </a:lnTo>
                  <a:lnTo>
                    <a:pt x="2" y="2"/>
                  </a:lnTo>
                  <a:lnTo>
                    <a:pt x="2" y="4"/>
                  </a:lnTo>
                  <a:lnTo>
                    <a:pt x="5" y="0"/>
                  </a:lnTo>
                  <a:lnTo>
                    <a:pt x="7" y="2"/>
                  </a:lnTo>
                  <a:lnTo>
                    <a:pt x="10" y="0"/>
                  </a:lnTo>
                  <a:lnTo>
                    <a:pt x="12" y="2"/>
                  </a:lnTo>
                  <a:lnTo>
                    <a:pt x="12" y="4"/>
                  </a:lnTo>
                  <a:lnTo>
                    <a:pt x="10" y="7"/>
                  </a:lnTo>
                  <a:lnTo>
                    <a:pt x="7" y="1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6" name="Freeform 757">
              <a:extLst>
                <a:ext uri="{FF2B5EF4-FFF2-40B4-BE49-F238E27FC236}">
                  <a16:creationId xmlns:a16="http://schemas.microsoft.com/office/drawing/2014/main" id="{EE725E5F-FFC1-4189-8BB3-27F88C8015A4}"/>
                </a:ext>
              </a:extLst>
            </p:cNvPr>
            <p:cNvSpPr>
              <a:spLocks/>
            </p:cNvSpPr>
            <p:nvPr/>
          </p:nvSpPr>
          <p:spPr bwMode="auto">
            <a:xfrm>
              <a:off x="1912191" y="1744626"/>
              <a:ext cx="19050" cy="22225"/>
            </a:xfrm>
            <a:custGeom>
              <a:avLst/>
              <a:gdLst>
                <a:gd name="T0" fmla="*/ 7 w 12"/>
                <a:gd name="T1" fmla="*/ 11 h 14"/>
                <a:gd name="T2" fmla="*/ 7 w 12"/>
                <a:gd name="T3" fmla="*/ 9 h 14"/>
                <a:gd name="T4" fmla="*/ 7 w 12"/>
                <a:gd name="T5" fmla="*/ 11 h 14"/>
                <a:gd name="T6" fmla="*/ 5 w 12"/>
                <a:gd name="T7" fmla="*/ 14 h 14"/>
                <a:gd name="T8" fmla="*/ 2 w 12"/>
                <a:gd name="T9" fmla="*/ 11 h 14"/>
                <a:gd name="T10" fmla="*/ 0 w 12"/>
                <a:gd name="T11" fmla="*/ 11 h 14"/>
                <a:gd name="T12" fmla="*/ 0 w 12"/>
                <a:gd name="T13" fmla="*/ 9 h 14"/>
                <a:gd name="T14" fmla="*/ 0 w 12"/>
                <a:gd name="T15" fmla="*/ 7 h 14"/>
                <a:gd name="T16" fmla="*/ 0 w 12"/>
                <a:gd name="T17" fmla="*/ 4 h 14"/>
                <a:gd name="T18" fmla="*/ 2 w 12"/>
                <a:gd name="T19" fmla="*/ 2 h 14"/>
                <a:gd name="T20" fmla="*/ 2 w 12"/>
                <a:gd name="T21" fmla="*/ 4 h 14"/>
                <a:gd name="T22" fmla="*/ 5 w 12"/>
                <a:gd name="T23" fmla="*/ 0 h 14"/>
                <a:gd name="T24" fmla="*/ 7 w 12"/>
                <a:gd name="T25" fmla="*/ 2 h 14"/>
                <a:gd name="T26" fmla="*/ 10 w 12"/>
                <a:gd name="T27" fmla="*/ 0 h 14"/>
                <a:gd name="T28" fmla="*/ 12 w 12"/>
                <a:gd name="T29" fmla="*/ 2 h 14"/>
                <a:gd name="T30" fmla="*/ 12 w 12"/>
                <a:gd name="T31" fmla="*/ 4 h 14"/>
                <a:gd name="T32" fmla="*/ 10 w 12"/>
                <a:gd name="T33" fmla="*/ 7 h 14"/>
                <a:gd name="T34" fmla="*/ 7 w 12"/>
                <a:gd name="T3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4">
                  <a:moveTo>
                    <a:pt x="7" y="11"/>
                  </a:moveTo>
                  <a:lnTo>
                    <a:pt x="7" y="9"/>
                  </a:lnTo>
                  <a:lnTo>
                    <a:pt x="7" y="11"/>
                  </a:lnTo>
                  <a:lnTo>
                    <a:pt x="5" y="14"/>
                  </a:lnTo>
                  <a:lnTo>
                    <a:pt x="2" y="11"/>
                  </a:lnTo>
                  <a:lnTo>
                    <a:pt x="0" y="11"/>
                  </a:lnTo>
                  <a:lnTo>
                    <a:pt x="0" y="9"/>
                  </a:lnTo>
                  <a:lnTo>
                    <a:pt x="0" y="7"/>
                  </a:lnTo>
                  <a:lnTo>
                    <a:pt x="0" y="4"/>
                  </a:lnTo>
                  <a:lnTo>
                    <a:pt x="2" y="2"/>
                  </a:lnTo>
                  <a:lnTo>
                    <a:pt x="2" y="4"/>
                  </a:lnTo>
                  <a:lnTo>
                    <a:pt x="5" y="0"/>
                  </a:lnTo>
                  <a:lnTo>
                    <a:pt x="7" y="2"/>
                  </a:lnTo>
                  <a:lnTo>
                    <a:pt x="10" y="0"/>
                  </a:lnTo>
                  <a:lnTo>
                    <a:pt x="12" y="2"/>
                  </a:lnTo>
                  <a:lnTo>
                    <a:pt x="12" y="4"/>
                  </a:lnTo>
                  <a:lnTo>
                    <a:pt x="10" y="7"/>
                  </a:lnTo>
                  <a:lnTo>
                    <a:pt x="7" y="1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7" name="Freeform 758">
              <a:extLst>
                <a:ext uri="{FF2B5EF4-FFF2-40B4-BE49-F238E27FC236}">
                  <a16:creationId xmlns:a16="http://schemas.microsoft.com/office/drawing/2014/main" id="{D0A85325-62C2-4358-A411-55CA1808A519}"/>
                </a:ext>
              </a:extLst>
            </p:cNvPr>
            <p:cNvSpPr>
              <a:spLocks/>
            </p:cNvSpPr>
            <p:nvPr/>
          </p:nvSpPr>
          <p:spPr bwMode="auto">
            <a:xfrm>
              <a:off x="1934416" y="1728751"/>
              <a:ext cx="7938" cy="19050"/>
            </a:xfrm>
            <a:custGeom>
              <a:avLst/>
              <a:gdLst>
                <a:gd name="T0" fmla="*/ 3 w 5"/>
                <a:gd name="T1" fmla="*/ 10 h 12"/>
                <a:gd name="T2" fmla="*/ 3 w 5"/>
                <a:gd name="T3" fmla="*/ 12 h 12"/>
                <a:gd name="T4" fmla="*/ 0 w 5"/>
                <a:gd name="T5" fmla="*/ 7 h 12"/>
                <a:gd name="T6" fmla="*/ 0 w 5"/>
                <a:gd name="T7" fmla="*/ 2 h 12"/>
                <a:gd name="T8" fmla="*/ 0 w 5"/>
                <a:gd name="T9" fmla="*/ 0 h 12"/>
                <a:gd name="T10" fmla="*/ 0 w 5"/>
                <a:gd name="T11" fmla="*/ 2 h 12"/>
                <a:gd name="T12" fmla="*/ 3 w 5"/>
                <a:gd name="T13" fmla="*/ 2 h 12"/>
                <a:gd name="T14" fmla="*/ 5 w 5"/>
                <a:gd name="T15" fmla="*/ 2 h 12"/>
                <a:gd name="T16" fmla="*/ 5 w 5"/>
                <a:gd name="T17" fmla="*/ 7 h 12"/>
                <a:gd name="T18" fmla="*/ 5 w 5"/>
                <a:gd name="T19" fmla="*/ 10 h 12"/>
                <a:gd name="T20" fmla="*/ 3 w 5"/>
                <a:gd name="T2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2">
                  <a:moveTo>
                    <a:pt x="3" y="10"/>
                  </a:moveTo>
                  <a:lnTo>
                    <a:pt x="3" y="12"/>
                  </a:lnTo>
                  <a:lnTo>
                    <a:pt x="0" y="7"/>
                  </a:lnTo>
                  <a:lnTo>
                    <a:pt x="0" y="2"/>
                  </a:lnTo>
                  <a:lnTo>
                    <a:pt x="0" y="0"/>
                  </a:lnTo>
                  <a:lnTo>
                    <a:pt x="0" y="2"/>
                  </a:lnTo>
                  <a:lnTo>
                    <a:pt x="3" y="2"/>
                  </a:lnTo>
                  <a:lnTo>
                    <a:pt x="5" y="2"/>
                  </a:lnTo>
                  <a:lnTo>
                    <a:pt x="5" y="7"/>
                  </a:lnTo>
                  <a:lnTo>
                    <a:pt x="5" y="10"/>
                  </a:lnTo>
                  <a:lnTo>
                    <a:pt x="3"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8" name="Freeform 759">
              <a:extLst>
                <a:ext uri="{FF2B5EF4-FFF2-40B4-BE49-F238E27FC236}">
                  <a16:creationId xmlns:a16="http://schemas.microsoft.com/office/drawing/2014/main" id="{45E41F62-0E87-41BB-B315-DDA2D575382F}"/>
                </a:ext>
              </a:extLst>
            </p:cNvPr>
            <p:cNvSpPr>
              <a:spLocks/>
            </p:cNvSpPr>
            <p:nvPr/>
          </p:nvSpPr>
          <p:spPr bwMode="auto">
            <a:xfrm>
              <a:off x="1934416" y="1728751"/>
              <a:ext cx="7938" cy="19050"/>
            </a:xfrm>
            <a:custGeom>
              <a:avLst/>
              <a:gdLst>
                <a:gd name="T0" fmla="*/ 3 w 5"/>
                <a:gd name="T1" fmla="*/ 10 h 12"/>
                <a:gd name="T2" fmla="*/ 3 w 5"/>
                <a:gd name="T3" fmla="*/ 12 h 12"/>
                <a:gd name="T4" fmla="*/ 0 w 5"/>
                <a:gd name="T5" fmla="*/ 7 h 12"/>
                <a:gd name="T6" fmla="*/ 0 w 5"/>
                <a:gd name="T7" fmla="*/ 2 h 12"/>
                <a:gd name="T8" fmla="*/ 0 w 5"/>
                <a:gd name="T9" fmla="*/ 0 h 12"/>
                <a:gd name="T10" fmla="*/ 0 w 5"/>
                <a:gd name="T11" fmla="*/ 2 h 12"/>
                <a:gd name="T12" fmla="*/ 3 w 5"/>
                <a:gd name="T13" fmla="*/ 2 h 12"/>
                <a:gd name="T14" fmla="*/ 5 w 5"/>
                <a:gd name="T15" fmla="*/ 2 h 12"/>
                <a:gd name="T16" fmla="*/ 5 w 5"/>
                <a:gd name="T17" fmla="*/ 7 h 12"/>
                <a:gd name="T18" fmla="*/ 5 w 5"/>
                <a:gd name="T19" fmla="*/ 10 h 12"/>
                <a:gd name="T20" fmla="*/ 3 w 5"/>
                <a:gd name="T2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2">
                  <a:moveTo>
                    <a:pt x="3" y="10"/>
                  </a:moveTo>
                  <a:lnTo>
                    <a:pt x="3" y="12"/>
                  </a:lnTo>
                  <a:lnTo>
                    <a:pt x="0" y="7"/>
                  </a:lnTo>
                  <a:lnTo>
                    <a:pt x="0" y="2"/>
                  </a:lnTo>
                  <a:lnTo>
                    <a:pt x="0" y="0"/>
                  </a:lnTo>
                  <a:lnTo>
                    <a:pt x="0" y="2"/>
                  </a:lnTo>
                  <a:lnTo>
                    <a:pt x="3" y="2"/>
                  </a:lnTo>
                  <a:lnTo>
                    <a:pt x="5" y="2"/>
                  </a:lnTo>
                  <a:lnTo>
                    <a:pt x="5" y="7"/>
                  </a:lnTo>
                  <a:lnTo>
                    <a:pt x="5" y="10"/>
                  </a:lnTo>
                  <a:lnTo>
                    <a:pt x="3"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69" name="Freeform 760">
              <a:extLst>
                <a:ext uri="{FF2B5EF4-FFF2-40B4-BE49-F238E27FC236}">
                  <a16:creationId xmlns:a16="http://schemas.microsoft.com/office/drawing/2014/main" id="{CC6D6994-C08B-4912-92B3-CEBB0AF2B93E}"/>
                </a:ext>
              </a:extLst>
            </p:cNvPr>
            <p:cNvSpPr>
              <a:spLocks/>
            </p:cNvSpPr>
            <p:nvPr/>
          </p:nvSpPr>
          <p:spPr bwMode="auto">
            <a:xfrm>
              <a:off x="1975691" y="1695414"/>
              <a:ext cx="22225" cy="19050"/>
            </a:xfrm>
            <a:custGeom>
              <a:avLst/>
              <a:gdLst>
                <a:gd name="T0" fmla="*/ 10 w 14"/>
                <a:gd name="T1" fmla="*/ 2 h 12"/>
                <a:gd name="T2" fmla="*/ 12 w 14"/>
                <a:gd name="T3" fmla="*/ 7 h 12"/>
                <a:gd name="T4" fmla="*/ 14 w 14"/>
                <a:gd name="T5" fmla="*/ 9 h 12"/>
                <a:gd name="T6" fmla="*/ 10 w 14"/>
                <a:gd name="T7" fmla="*/ 9 h 12"/>
                <a:gd name="T8" fmla="*/ 10 w 14"/>
                <a:gd name="T9" fmla="*/ 12 h 12"/>
                <a:gd name="T10" fmla="*/ 7 w 14"/>
                <a:gd name="T11" fmla="*/ 9 h 12"/>
                <a:gd name="T12" fmla="*/ 3 w 14"/>
                <a:gd name="T13" fmla="*/ 9 h 12"/>
                <a:gd name="T14" fmla="*/ 3 w 14"/>
                <a:gd name="T15" fmla="*/ 9 h 12"/>
                <a:gd name="T16" fmla="*/ 5 w 14"/>
                <a:gd name="T17" fmla="*/ 7 h 12"/>
                <a:gd name="T18" fmla="*/ 5 w 14"/>
                <a:gd name="T19" fmla="*/ 5 h 12"/>
                <a:gd name="T20" fmla="*/ 0 w 14"/>
                <a:gd name="T21" fmla="*/ 7 h 12"/>
                <a:gd name="T22" fmla="*/ 0 w 14"/>
                <a:gd name="T23" fmla="*/ 5 h 12"/>
                <a:gd name="T24" fmla="*/ 5 w 14"/>
                <a:gd name="T25" fmla="*/ 5 h 12"/>
                <a:gd name="T26" fmla="*/ 7 w 14"/>
                <a:gd name="T27" fmla="*/ 5 h 12"/>
                <a:gd name="T28" fmla="*/ 7 w 14"/>
                <a:gd name="T29" fmla="*/ 2 h 12"/>
                <a:gd name="T30" fmla="*/ 7 w 14"/>
                <a:gd name="T31" fmla="*/ 0 h 12"/>
                <a:gd name="T32" fmla="*/ 10 w 14"/>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0" y="2"/>
                  </a:moveTo>
                  <a:lnTo>
                    <a:pt x="12" y="7"/>
                  </a:lnTo>
                  <a:lnTo>
                    <a:pt x="14" y="9"/>
                  </a:lnTo>
                  <a:lnTo>
                    <a:pt x="10" y="9"/>
                  </a:lnTo>
                  <a:lnTo>
                    <a:pt x="10" y="12"/>
                  </a:lnTo>
                  <a:lnTo>
                    <a:pt x="7" y="9"/>
                  </a:lnTo>
                  <a:lnTo>
                    <a:pt x="3" y="9"/>
                  </a:lnTo>
                  <a:lnTo>
                    <a:pt x="3" y="9"/>
                  </a:lnTo>
                  <a:lnTo>
                    <a:pt x="5" y="7"/>
                  </a:lnTo>
                  <a:lnTo>
                    <a:pt x="5" y="5"/>
                  </a:lnTo>
                  <a:lnTo>
                    <a:pt x="0" y="7"/>
                  </a:lnTo>
                  <a:lnTo>
                    <a:pt x="0" y="5"/>
                  </a:lnTo>
                  <a:lnTo>
                    <a:pt x="5" y="5"/>
                  </a:lnTo>
                  <a:lnTo>
                    <a:pt x="7" y="5"/>
                  </a:lnTo>
                  <a:lnTo>
                    <a:pt x="7" y="2"/>
                  </a:lnTo>
                  <a:lnTo>
                    <a:pt x="7" y="0"/>
                  </a:lnTo>
                  <a:lnTo>
                    <a:pt x="1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0" name="Freeform 761">
              <a:extLst>
                <a:ext uri="{FF2B5EF4-FFF2-40B4-BE49-F238E27FC236}">
                  <a16:creationId xmlns:a16="http://schemas.microsoft.com/office/drawing/2014/main" id="{94E34566-8A1A-4DA1-814E-374122DF988D}"/>
                </a:ext>
              </a:extLst>
            </p:cNvPr>
            <p:cNvSpPr>
              <a:spLocks/>
            </p:cNvSpPr>
            <p:nvPr/>
          </p:nvSpPr>
          <p:spPr bwMode="auto">
            <a:xfrm>
              <a:off x="1975691" y="1695413"/>
              <a:ext cx="22225" cy="19050"/>
            </a:xfrm>
            <a:custGeom>
              <a:avLst/>
              <a:gdLst>
                <a:gd name="T0" fmla="*/ 10 w 14"/>
                <a:gd name="T1" fmla="*/ 2 h 12"/>
                <a:gd name="T2" fmla="*/ 12 w 14"/>
                <a:gd name="T3" fmla="*/ 7 h 12"/>
                <a:gd name="T4" fmla="*/ 14 w 14"/>
                <a:gd name="T5" fmla="*/ 9 h 12"/>
                <a:gd name="T6" fmla="*/ 10 w 14"/>
                <a:gd name="T7" fmla="*/ 9 h 12"/>
                <a:gd name="T8" fmla="*/ 10 w 14"/>
                <a:gd name="T9" fmla="*/ 12 h 12"/>
                <a:gd name="T10" fmla="*/ 7 w 14"/>
                <a:gd name="T11" fmla="*/ 9 h 12"/>
                <a:gd name="T12" fmla="*/ 3 w 14"/>
                <a:gd name="T13" fmla="*/ 9 h 12"/>
                <a:gd name="T14" fmla="*/ 3 w 14"/>
                <a:gd name="T15" fmla="*/ 9 h 12"/>
                <a:gd name="T16" fmla="*/ 5 w 14"/>
                <a:gd name="T17" fmla="*/ 7 h 12"/>
                <a:gd name="T18" fmla="*/ 5 w 14"/>
                <a:gd name="T19" fmla="*/ 5 h 12"/>
                <a:gd name="T20" fmla="*/ 0 w 14"/>
                <a:gd name="T21" fmla="*/ 7 h 12"/>
                <a:gd name="T22" fmla="*/ 0 w 14"/>
                <a:gd name="T23" fmla="*/ 5 h 12"/>
                <a:gd name="T24" fmla="*/ 5 w 14"/>
                <a:gd name="T25" fmla="*/ 5 h 12"/>
                <a:gd name="T26" fmla="*/ 7 w 14"/>
                <a:gd name="T27" fmla="*/ 5 h 12"/>
                <a:gd name="T28" fmla="*/ 7 w 14"/>
                <a:gd name="T29" fmla="*/ 2 h 12"/>
                <a:gd name="T30" fmla="*/ 7 w 14"/>
                <a:gd name="T31" fmla="*/ 0 h 12"/>
                <a:gd name="T32" fmla="*/ 10 w 14"/>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0" y="2"/>
                  </a:moveTo>
                  <a:lnTo>
                    <a:pt x="12" y="7"/>
                  </a:lnTo>
                  <a:lnTo>
                    <a:pt x="14" y="9"/>
                  </a:lnTo>
                  <a:lnTo>
                    <a:pt x="10" y="9"/>
                  </a:lnTo>
                  <a:lnTo>
                    <a:pt x="10" y="12"/>
                  </a:lnTo>
                  <a:lnTo>
                    <a:pt x="7" y="9"/>
                  </a:lnTo>
                  <a:lnTo>
                    <a:pt x="3" y="9"/>
                  </a:lnTo>
                  <a:lnTo>
                    <a:pt x="3" y="9"/>
                  </a:lnTo>
                  <a:lnTo>
                    <a:pt x="5" y="7"/>
                  </a:lnTo>
                  <a:lnTo>
                    <a:pt x="5" y="5"/>
                  </a:lnTo>
                  <a:lnTo>
                    <a:pt x="0" y="7"/>
                  </a:lnTo>
                  <a:lnTo>
                    <a:pt x="0" y="5"/>
                  </a:lnTo>
                  <a:lnTo>
                    <a:pt x="5" y="5"/>
                  </a:lnTo>
                  <a:lnTo>
                    <a:pt x="7" y="5"/>
                  </a:lnTo>
                  <a:lnTo>
                    <a:pt x="7" y="2"/>
                  </a:lnTo>
                  <a:lnTo>
                    <a:pt x="7" y="0"/>
                  </a:lnTo>
                  <a:lnTo>
                    <a:pt x="1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1" name="Freeform 762">
              <a:extLst>
                <a:ext uri="{FF2B5EF4-FFF2-40B4-BE49-F238E27FC236}">
                  <a16:creationId xmlns:a16="http://schemas.microsoft.com/office/drawing/2014/main" id="{E6506422-9325-49EA-95D4-C760C02F91B8}"/>
                </a:ext>
              </a:extLst>
            </p:cNvPr>
            <p:cNvSpPr>
              <a:spLocks/>
            </p:cNvSpPr>
            <p:nvPr/>
          </p:nvSpPr>
          <p:spPr bwMode="auto">
            <a:xfrm>
              <a:off x="1510553" y="2235164"/>
              <a:ext cx="23813" cy="11112"/>
            </a:xfrm>
            <a:custGeom>
              <a:avLst/>
              <a:gdLst>
                <a:gd name="T0" fmla="*/ 0 w 15"/>
                <a:gd name="T1" fmla="*/ 5 h 7"/>
                <a:gd name="T2" fmla="*/ 3 w 15"/>
                <a:gd name="T3" fmla="*/ 5 h 7"/>
                <a:gd name="T4" fmla="*/ 3 w 15"/>
                <a:gd name="T5" fmla="*/ 2 h 7"/>
                <a:gd name="T6" fmla="*/ 5 w 15"/>
                <a:gd name="T7" fmla="*/ 2 h 7"/>
                <a:gd name="T8" fmla="*/ 5 w 15"/>
                <a:gd name="T9" fmla="*/ 2 h 7"/>
                <a:gd name="T10" fmla="*/ 5 w 15"/>
                <a:gd name="T11" fmla="*/ 0 h 7"/>
                <a:gd name="T12" fmla="*/ 10 w 15"/>
                <a:gd name="T13" fmla="*/ 0 h 7"/>
                <a:gd name="T14" fmla="*/ 12 w 15"/>
                <a:gd name="T15" fmla="*/ 0 h 7"/>
                <a:gd name="T16" fmla="*/ 12 w 15"/>
                <a:gd name="T17" fmla="*/ 0 h 7"/>
                <a:gd name="T18" fmla="*/ 12 w 15"/>
                <a:gd name="T19" fmla="*/ 2 h 7"/>
                <a:gd name="T20" fmla="*/ 15 w 15"/>
                <a:gd name="T21" fmla="*/ 5 h 7"/>
                <a:gd name="T22" fmla="*/ 7 w 15"/>
                <a:gd name="T23" fmla="*/ 7 h 7"/>
                <a:gd name="T24" fmla="*/ 3 w 15"/>
                <a:gd name="T25" fmla="*/ 7 h 7"/>
                <a:gd name="T26" fmla="*/ 0 w 15"/>
                <a:gd name="T27" fmla="*/ 7 h 7"/>
                <a:gd name="T28" fmla="*/ 0 w 15"/>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7">
                  <a:moveTo>
                    <a:pt x="0" y="5"/>
                  </a:moveTo>
                  <a:lnTo>
                    <a:pt x="3" y="5"/>
                  </a:lnTo>
                  <a:lnTo>
                    <a:pt x="3" y="2"/>
                  </a:lnTo>
                  <a:lnTo>
                    <a:pt x="5" y="2"/>
                  </a:lnTo>
                  <a:lnTo>
                    <a:pt x="5" y="2"/>
                  </a:lnTo>
                  <a:lnTo>
                    <a:pt x="5" y="0"/>
                  </a:lnTo>
                  <a:lnTo>
                    <a:pt x="10" y="0"/>
                  </a:lnTo>
                  <a:lnTo>
                    <a:pt x="12" y="0"/>
                  </a:lnTo>
                  <a:lnTo>
                    <a:pt x="12" y="0"/>
                  </a:lnTo>
                  <a:lnTo>
                    <a:pt x="12" y="2"/>
                  </a:lnTo>
                  <a:lnTo>
                    <a:pt x="15" y="5"/>
                  </a:lnTo>
                  <a:lnTo>
                    <a:pt x="7" y="7"/>
                  </a:lnTo>
                  <a:lnTo>
                    <a:pt x="3" y="7"/>
                  </a:lnTo>
                  <a:lnTo>
                    <a:pt x="0" y="7"/>
                  </a:lnTo>
                  <a:lnTo>
                    <a:pt x="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2" name="Freeform 763">
              <a:extLst>
                <a:ext uri="{FF2B5EF4-FFF2-40B4-BE49-F238E27FC236}">
                  <a16:creationId xmlns:a16="http://schemas.microsoft.com/office/drawing/2014/main" id="{FBDEC828-358C-41D0-B8FC-1ED754EC09EA}"/>
                </a:ext>
              </a:extLst>
            </p:cNvPr>
            <p:cNvSpPr>
              <a:spLocks/>
            </p:cNvSpPr>
            <p:nvPr/>
          </p:nvSpPr>
          <p:spPr bwMode="auto">
            <a:xfrm>
              <a:off x="1510553" y="2235164"/>
              <a:ext cx="23813" cy="11112"/>
            </a:xfrm>
            <a:custGeom>
              <a:avLst/>
              <a:gdLst>
                <a:gd name="T0" fmla="*/ 0 w 15"/>
                <a:gd name="T1" fmla="*/ 5 h 7"/>
                <a:gd name="T2" fmla="*/ 3 w 15"/>
                <a:gd name="T3" fmla="*/ 5 h 7"/>
                <a:gd name="T4" fmla="*/ 3 w 15"/>
                <a:gd name="T5" fmla="*/ 2 h 7"/>
                <a:gd name="T6" fmla="*/ 5 w 15"/>
                <a:gd name="T7" fmla="*/ 2 h 7"/>
                <a:gd name="T8" fmla="*/ 5 w 15"/>
                <a:gd name="T9" fmla="*/ 2 h 7"/>
                <a:gd name="T10" fmla="*/ 5 w 15"/>
                <a:gd name="T11" fmla="*/ 0 h 7"/>
                <a:gd name="T12" fmla="*/ 10 w 15"/>
                <a:gd name="T13" fmla="*/ 0 h 7"/>
                <a:gd name="T14" fmla="*/ 12 w 15"/>
                <a:gd name="T15" fmla="*/ 0 h 7"/>
                <a:gd name="T16" fmla="*/ 12 w 15"/>
                <a:gd name="T17" fmla="*/ 0 h 7"/>
                <a:gd name="T18" fmla="*/ 12 w 15"/>
                <a:gd name="T19" fmla="*/ 2 h 7"/>
                <a:gd name="T20" fmla="*/ 15 w 15"/>
                <a:gd name="T21" fmla="*/ 5 h 7"/>
                <a:gd name="T22" fmla="*/ 7 w 15"/>
                <a:gd name="T23" fmla="*/ 7 h 7"/>
                <a:gd name="T24" fmla="*/ 3 w 15"/>
                <a:gd name="T25" fmla="*/ 7 h 7"/>
                <a:gd name="T26" fmla="*/ 0 w 15"/>
                <a:gd name="T27" fmla="*/ 7 h 7"/>
                <a:gd name="T28" fmla="*/ 0 w 15"/>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7">
                  <a:moveTo>
                    <a:pt x="0" y="5"/>
                  </a:moveTo>
                  <a:lnTo>
                    <a:pt x="3" y="5"/>
                  </a:lnTo>
                  <a:lnTo>
                    <a:pt x="3" y="2"/>
                  </a:lnTo>
                  <a:lnTo>
                    <a:pt x="5" y="2"/>
                  </a:lnTo>
                  <a:lnTo>
                    <a:pt x="5" y="2"/>
                  </a:lnTo>
                  <a:lnTo>
                    <a:pt x="5" y="0"/>
                  </a:lnTo>
                  <a:lnTo>
                    <a:pt x="10" y="0"/>
                  </a:lnTo>
                  <a:lnTo>
                    <a:pt x="12" y="0"/>
                  </a:lnTo>
                  <a:lnTo>
                    <a:pt x="12" y="0"/>
                  </a:lnTo>
                  <a:lnTo>
                    <a:pt x="12" y="2"/>
                  </a:lnTo>
                  <a:lnTo>
                    <a:pt x="15" y="5"/>
                  </a:lnTo>
                  <a:lnTo>
                    <a:pt x="7" y="7"/>
                  </a:lnTo>
                  <a:lnTo>
                    <a:pt x="3" y="7"/>
                  </a:lnTo>
                  <a:lnTo>
                    <a:pt x="0" y="7"/>
                  </a:lnTo>
                  <a:lnTo>
                    <a:pt x="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3" name="Freeform 764">
              <a:extLst>
                <a:ext uri="{FF2B5EF4-FFF2-40B4-BE49-F238E27FC236}">
                  <a16:creationId xmlns:a16="http://schemas.microsoft.com/office/drawing/2014/main" id="{6FDEEDD0-F869-4D47-AC33-E5B978997338}"/>
                </a:ext>
              </a:extLst>
            </p:cNvPr>
            <p:cNvSpPr>
              <a:spLocks/>
            </p:cNvSpPr>
            <p:nvPr/>
          </p:nvSpPr>
          <p:spPr bwMode="auto">
            <a:xfrm>
              <a:off x="1410541" y="2384389"/>
              <a:ext cx="3175" cy="12700"/>
            </a:xfrm>
            <a:custGeom>
              <a:avLst/>
              <a:gdLst>
                <a:gd name="T0" fmla="*/ 2 w 2"/>
                <a:gd name="T1" fmla="*/ 3 h 8"/>
                <a:gd name="T2" fmla="*/ 2 w 2"/>
                <a:gd name="T3" fmla="*/ 0 h 8"/>
                <a:gd name="T4" fmla="*/ 0 w 2"/>
                <a:gd name="T5" fmla="*/ 5 h 8"/>
                <a:gd name="T6" fmla="*/ 0 w 2"/>
                <a:gd name="T7" fmla="*/ 8 h 8"/>
                <a:gd name="T8" fmla="*/ 0 w 2"/>
                <a:gd name="T9" fmla="*/ 8 h 8"/>
                <a:gd name="T10" fmla="*/ 2 w 2"/>
                <a:gd name="T11" fmla="*/ 8 h 8"/>
                <a:gd name="T12" fmla="*/ 2 w 2"/>
                <a:gd name="T13" fmla="*/ 3 h 8"/>
                <a:gd name="T14" fmla="*/ 2 w 2"/>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2" y="3"/>
                  </a:moveTo>
                  <a:lnTo>
                    <a:pt x="2" y="0"/>
                  </a:lnTo>
                  <a:lnTo>
                    <a:pt x="0" y="5"/>
                  </a:lnTo>
                  <a:lnTo>
                    <a:pt x="0" y="8"/>
                  </a:lnTo>
                  <a:lnTo>
                    <a:pt x="0" y="8"/>
                  </a:lnTo>
                  <a:lnTo>
                    <a:pt x="2" y="8"/>
                  </a:lnTo>
                  <a:lnTo>
                    <a:pt x="2" y="3"/>
                  </a:lnTo>
                  <a:lnTo>
                    <a:pt x="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4" name="Freeform 765">
              <a:extLst>
                <a:ext uri="{FF2B5EF4-FFF2-40B4-BE49-F238E27FC236}">
                  <a16:creationId xmlns:a16="http://schemas.microsoft.com/office/drawing/2014/main" id="{0F804776-969C-4D4C-88FD-2C57BE3AB585}"/>
                </a:ext>
              </a:extLst>
            </p:cNvPr>
            <p:cNvSpPr>
              <a:spLocks/>
            </p:cNvSpPr>
            <p:nvPr/>
          </p:nvSpPr>
          <p:spPr bwMode="auto">
            <a:xfrm>
              <a:off x="1410541" y="2384389"/>
              <a:ext cx="3175" cy="12700"/>
            </a:xfrm>
            <a:custGeom>
              <a:avLst/>
              <a:gdLst>
                <a:gd name="T0" fmla="*/ 2 w 2"/>
                <a:gd name="T1" fmla="*/ 3 h 8"/>
                <a:gd name="T2" fmla="*/ 2 w 2"/>
                <a:gd name="T3" fmla="*/ 0 h 8"/>
                <a:gd name="T4" fmla="*/ 0 w 2"/>
                <a:gd name="T5" fmla="*/ 5 h 8"/>
                <a:gd name="T6" fmla="*/ 0 w 2"/>
                <a:gd name="T7" fmla="*/ 8 h 8"/>
                <a:gd name="T8" fmla="*/ 0 w 2"/>
                <a:gd name="T9" fmla="*/ 8 h 8"/>
                <a:gd name="T10" fmla="*/ 2 w 2"/>
                <a:gd name="T11" fmla="*/ 8 h 8"/>
                <a:gd name="T12" fmla="*/ 2 w 2"/>
                <a:gd name="T13" fmla="*/ 3 h 8"/>
                <a:gd name="T14" fmla="*/ 2 w 2"/>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2" y="3"/>
                  </a:moveTo>
                  <a:lnTo>
                    <a:pt x="2" y="0"/>
                  </a:lnTo>
                  <a:lnTo>
                    <a:pt x="0" y="5"/>
                  </a:lnTo>
                  <a:lnTo>
                    <a:pt x="0" y="8"/>
                  </a:lnTo>
                  <a:lnTo>
                    <a:pt x="0" y="8"/>
                  </a:lnTo>
                  <a:lnTo>
                    <a:pt x="2" y="8"/>
                  </a:lnTo>
                  <a:lnTo>
                    <a:pt x="2" y="3"/>
                  </a:lnTo>
                  <a:lnTo>
                    <a:pt x="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5" name="Freeform 766">
              <a:extLst>
                <a:ext uri="{FF2B5EF4-FFF2-40B4-BE49-F238E27FC236}">
                  <a16:creationId xmlns:a16="http://schemas.microsoft.com/office/drawing/2014/main" id="{DA563118-B47D-4928-B139-DA26BB38CE77}"/>
                </a:ext>
              </a:extLst>
            </p:cNvPr>
            <p:cNvSpPr>
              <a:spLocks/>
            </p:cNvSpPr>
            <p:nvPr/>
          </p:nvSpPr>
          <p:spPr bwMode="auto">
            <a:xfrm>
              <a:off x="1439117" y="2314539"/>
              <a:ext cx="4763" cy="6350"/>
            </a:xfrm>
            <a:custGeom>
              <a:avLst/>
              <a:gdLst>
                <a:gd name="T0" fmla="*/ 0 w 3"/>
                <a:gd name="T1" fmla="*/ 4 h 4"/>
                <a:gd name="T2" fmla="*/ 3 w 3"/>
                <a:gd name="T3" fmla="*/ 2 h 4"/>
                <a:gd name="T4" fmla="*/ 3 w 3"/>
                <a:gd name="T5" fmla="*/ 0 h 4"/>
                <a:gd name="T6" fmla="*/ 0 w 3"/>
                <a:gd name="T7" fmla="*/ 0 h 4"/>
                <a:gd name="T8" fmla="*/ 0 w 3"/>
                <a:gd name="T9" fmla="*/ 0 h 4"/>
                <a:gd name="T10" fmla="*/ 0 w 3"/>
                <a:gd name="T11" fmla="*/ 4 h 4"/>
                <a:gd name="T12" fmla="*/ 0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4"/>
                  </a:moveTo>
                  <a:lnTo>
                    <a:pt x="3" y="2"/>
                  </a:lnTo>
                  <a:lnTo>
                    <a:pt x="3" y="0"/>
                  </a:lnTo>
                  <a:lnTo>
                    <a:pt x="0" y="0"/>
                  </a:lnTo>
                  <a:lnTo>
                    <a:pt x="0" y="0"/>
                  </a:lnTo>
                  <a:lnTo>
                    <a:pt x="0" y="4"/>
                  </a:lnTo>
                  <a:lnTo>
                    <a:pt x="0" y="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6" name="Freeform 767">
              <a:extLst>
                <a:ext uri="{FF2B5EF4-FFF2-40B4-BE49-F238E27FC236}">
                  <a16:creationId xmlns:a16="http://schemas.microsoft.com/office/drawing/2014/main" id="{9E1579C2-0010-4919-8E3B-1544134A2CDA}"/>
                </a:ext>
              </a:extLst>
            </p:cNvPr>
            <p:cNvSpPr>
              <a:spLocks/>
            </p:cNvSpPr>
            <p:nvPr/>
          </p:nvSpPr>
          <p:spPr bwMode="auto">
            <a:xfrm>
              <a:off x="1439117" y="2314539"/>
              <a:ext cx="4763" cy="6350"/>
            </a:xfrm>
            <a:custGeom>
              <a:avLst/>
              <a:gdLst>
                <a:gd name="T0" fmla="*/ 0 w 3"/>
                <a:gd name="T1" fmla="*/ 4 h 4"/>
                <a:gd name="T2" fmla="*/ 3 w 3"/>
                <a:gd name="T3" fmla="*/ 2 h 4"/>
                <a:gd name="T4" fmla="*/ 3 w 3"/>
                <a:gd name="T5" fmla="*/ 0 h 4"/>
                <a:gd name="T6" fmla="*/ 0 w 3"/>
                <a:gd name="T7" fmla="*/ 0 h 4"/>
                <a:gd name="T8" fmla="*/ 0 w 3"/>
                <a:gd name="T9" fmla="*/ 0 h 4"/>
                <a:gd name="T10" fmla="*/ 0 w 3"/>
                <a:gd name="T11" fmla="*/ 4 h 4"/>
                <a:gd name="T12" fmla="*/ 0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4"/>
                  </a:moveTo>
                  <a:lnTo>
                    <a:pt x="3" y="2"/>
                  </a:lnTo>
                  <a:lnTo>
                    <a:pt x="3" y="0"/>
                  </a:lnTo>
                  <a:lnTo>
                    <a:pt x="0" y="0"/>
                  </a:lnTo>
                  <a:lnTo>
                    <a:pt x="0" y="0"/>
                  </a:lnTo>
                  <a:lnTo>
                    <a:pt x="0" y="4"/>
                  </a:lnTo>
                  <a:lnTo>
                    <a:pt x="0" y="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7" name="Freeform 768">
              <a:extLst>
                <a:ext uri="{FF2B5EF4-FFF2-40B4-BE49-F238E27FC236}">
                  <a16:creationId xmlns:a16="http://schemas.microsoft.com/office/drawing/2014/main" id="{F2DC82E7-BB62-48FC-8404-B10CED3229E8}"/>
                </a:ext>
              </a:extLst>
            </p:cNvPr>
            <p:cNvSpPr>
              <a:spLocks/>
            </p:cNvSpPr>
            <p:nvPr/>
          </p:nvSpPr>
          <p:spPr bwMode="auto">
            <a:xfrm>
              <a:off x="1416892" y="2343114"/>
              <a:ext cx="4763" cy="7937"/>
            </a:xfrm>
            <a:custGeom>
              <a:avLst/>
              <a:gdLst>
                <a:gd name="T0" fmla="*/ 0 w 3"/>
                <a:gd name="T1" fmla="*/ 5 h 5"/>
                <a:gd name="T2" fmla="*/ 0 w 3"/>
                <a:gd name="T3" fmla="*/ 3 h 5"/>
                <a:gd name="T4" fmla="*/ 3 w 3"/>
                <a:gd name="T5" fmla="*/ 3 h 5"/>
                <a:gd name="T6" fmla="*/ 3 w 3"/>
                <a:gd name="T7" fmla="*/ 3 h 5"/>
                <a:gd name="T8" fmla="*/ 0 w 3"/>
                <a:gd name="T9" fmla="*/ 0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3"/>
                  </a:lnTo>
                  <a:lnTo>
                    <a:pt x="3" y="3"/>
                  </a:lnTo>
                  <a:lnTo>
                    <a:pt x="3" y="3"/>
                  </a:lnTo>
                  <a:lnTo>
                    <a:pt x="0" y="0"/>
                  </a:lnTo>
                  <a:lnTo>
                    <a:pt x="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8" name="Freeform 769">
              <a:extLst>
                <a:ext uri="{FF2B5EF4-FFF2-40B4-BE49-F238E27FC236}">
                  <a16:creationId xmlns:a16="http://schemas.microsoft.com/office/drawing/2014/main" id="{9DB15EA1-B22A-4830-A116-C868C6ABA5F0}"/>
                </a:ext>
              </a:extLst>
            </p:cNvPr>
            <p:cNvSpPr>
              <a:spLocks/>
            </p:cNvSpPr>
            <p:nvPr/>
          </p:nvSpPr>
          <p:spPr bwMode="auto">
            <a:xfrm>
              <a:off x="1416892" y="2343114"/>
              <a:ext cx="4763" cy="7937"/>
            </a:xfrm>
            <a:custGeom>
              <a:avLst/>
              <a:gdLst>
                <a:gd name="T0" fmla="*/ 0 w 3"/>
                <a:gd name="T1" fmla="*/ 5 h 5"/>
                <a:gd name="T2" fmla="*/ 0 w 3"/>
                <a:gd name="T3" fmla="*/ 3 h 5"/>
                <a:gd name="T4" fmla="*/ 3 w 3"/>
                <a:gd name="T5" fmla="*/ 3 h 5"/>
                <a:gd name="T6" fmla="*/ 3 w 3"/>
                <a:gd name="T7" fmla="*/ 3 h 5"/>
                <a:gd name="T8" fmla="*/ 0 w 3"/>
                <a:gd name="T9" fmla="*/ 0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3"/>
                  </a:lnTo>
                  <a:lnTo>
                    <a:pt x="3" y="3"/>
                  </a:lnTo>
                  <a:lnTo>
                    <a:pt x="3" y="3"/>
                  </a:lnTo>
                  <a:lnTo>
                    <a:pt x="0" y="0"/>
                  </a:lnTo>
                  <a:lnTo>
                    <a:pt x="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79" name="Freeform 770">
              <a:extLst>
                <a:ext uri="{FF2B5EF4-FFF2-40B4-BE49-F238E27FC236}">
                  <a16:creationId xmlns:a16="http://schemas.microsoft.com/office/drawing/2014/main" id="{F4DDA632-4BFC-4301-BCCC-E9BAA039AB56}"/>
                </a:ext>
              </a:extLst>
            </p:cNvPr>
            <p:cNvSpPr>
              <a:spLocks/>
            </p:cNvSpPr>
            <p:nvPr/>
          </p:nvSpPr>
          <p:spPr bwMode="auto">
            <a:xfrm>
              <a:off x="1424828" y="2452651"/>
              <a:ext cx="3175" cy="11112"/>
            </a:xfrm>
            <a:custGeom>
              <a:avLst/>
              <a:gdLst>
                <a:gd name="T0" fmla="*/ 2 w 2"/>
                <a:gd name="T1" fmla="*/ 7 h 7"/>
                <a:gd name="T2" fmla="*/ 2 w 2"/>
                <a:gd name="T3" fmla="*/ 2 h 7"/>
                <a:gd name="T4" fmla="*/ 0 w 2"/>
                <a:gd name="T5" fmla="*/ 0 h 7"/>
                <a:gd name="T6" fmla="*/ 0 w 2"/>
                <a:gd name="T7" fmla="*/ 0 h 7"/>
                <a:gd name="T8" fmla="*/ 0 w 2"/>
                <a:gd name="T9" fmla="*/ 5 h 7"/>
                <a:gd name="T10" fmla="*/ 0 w 2"/>
                <a:gd name="T11" fmla="*/ 7 h 7"/>
                <a:gd name="T12" fmla="*/ 2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7"/>
                  </a:moveTo>
                  <a:lnTo>
                    <a:pt x="2" y="2"/>
                  </a:lnTo>
                  <a:lnTo>
                    <a:pt x="0" y="0"/>
                  </a:lnTo>
                  <a:lnTo>
                    <a:pt x="0" y="0"/>
                  </a:lnTo>
                  <a:lnTo>
                    <a:pt x="0" y="5"/>
                  </a:lnTo>
                  <a:lnTo>
                    <a:pt x="0" y="7"/>
                  </a:lnTo>
                  <a:lnTo>
                    <a:pt x="2"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0" name="Freeform 771">
              <a:extLst>
                <a:ext uri="{FF2B5EF4-FFF2-40B4-BE49-F238E27FC236}">
                  <a16:creationId xmlns:a16="http://schemas.microsoft.com/office/drawing/2014/main" id="{DE1609FB-1267-46D2-ABF5-8E2DB936AB52}"/>
                </a:ext>
              </a:extLst>
            </p:cNvPr>
            <p:cNvSpPr>
              <a:spLocks/>
            </p:cNvSpPr>
            <p:nvPr/>
          </p:nvSpPr>
          <p:spPr bwMode="auto">
            <a:xfrm>
              <a:off x="1424828" y="2452651"/>
              <a:ext cx="3175" cy="11112"/>
            </a:xfrm>
            <a:custGeom>
              <a:avLst/>
              <a:gdLst>
                <a:gd name="T0" fmla="*/ 2 w 2"/>
                <a:gd name="T1" fmla="*/ 7 h 7"/>
                <a:gd name="T2" fmla="*/ 2 w 2"/>
                <a:gd name="T3" fmla="*/ 2 h 7"/>
                <a:gd name="T4" fmla="*/ 0 w 2"/>
                <a:gd name="T5" fmla="*/ 0 h 7"/>
                <a:gd name="T6" fmla="*/ 0 w 2"/>
                <a:gd name="T7" fmla="*/ 0 h 7"/>
                <a:gd name="T8" fmla="*/ 0 w 2"/>
                <a:gd name="T9" fmla="*/ 5 h 7"/>
                <a:gd name="T10" fmla="*/ 0 w 2"/>
                <a:gd name="T11" fmla="*/ 7 h 7"/>
                <a:gd name="T12" fmla="*/ 2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7"/>
                  </a:moveTo>
                  <a:lnTo>
                    <a:pt x="2" y="2"/>
                  </a:lnTo>
                  <a:lnTo>
                    <a:pt x="0" y="0"/>
                  </a:lnTo>
                  <a:lnTo>
                    <a:pt x="0" y="0"/>
                  </a:lnTo>
                  <a:lnTo>
                    <a:pt x="0" y="5"/>
                  </a:lnTo>
                  <a:lnTo>
                    <a:pt x="0" y="7"/>
                  </a:lnTo>
                  <a:lnTo>
                    <a:pt x="2"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1" name="Freeform 772">
              <a:extLst>
                <a:ext uri="{FF2B5EF4-FFF2-40B4-BE49-F238E27FC236}">
                  <a16:creationId xmlns:a16="http://schemas.microsoft.com/office/drawing/2014/main" id="{09D10210-7082-4A09-8C8C-7421AB7209DC}"/>
                </a:ext>
              </a:extLst>
            </p:cNvPr>
            <p:cNvSpPr>
              <a:spLocks/>
            </p:cNvSpPr>
            <p:nvPr/>
          </p:nvSpPr>
          <p:spPr bwMode="auto">
            <a:xfrm>
              <a:off x="1421653" y="2485989"/>
              <a:ext cx="3175" cy="11112"/>
            </a:xfrm>
            <a:custGeom>
              <a:avLst/>
              <a:gdLst>
                <a:gd name="T0" fmla="*/ 2 w 2"/>
                <a:gd name="T1" fmla="*/ 7 h 7"/>
                <a:gd name="T2" fmla="*/ 0 w 2"/>
                <a:gd name="T3" fmla="*/ 0 h 7"/>
                <a:gd name="T4" fmla="*/ 0 w 2"/>
                <a:gd name="T5" fmla="*/ 0 h 7"/>
                <a:gd name="T6" fmla="*/ 0 w 2"/>
                <a:gd name="T7" fmla="*/ 0 h 7"/>
                <a:gd name="T8" fmla="*/ 0 w 2"/>
                <a:gd name="T9" fmla="*/ 7 h 7"/>
                <a:gd name="T10" fmla="*/ 2 w 2"/>
                <a:gd name="T11" fmla="*/ 7 h 7"/>
              </a:gdLst>
              <a:ahLst/>
              <a:cxnLst>
                <a:cxn ang="0">
                  <a:pos x="T0" y="T1"/>
                </a:cxn>
                <a:cxn ang="0">
                  <a:pos x="T2" y="T3"/>
                </a:cxn>
                <a:cxn ang="0">
                  <a:pos x="T4" y="T5"/>
                </a:cxn>
                <a:cxn ang="0">
                  <a:pos x="T6" y="T7"/>
                </a:cxn>
                <a:cxn ang="0">
                  <a:pos x="T8" y="T9"/>
                </a:cxn>
                <a:cxn ang="0">
                  <a:pos x="T10" y="T11"/>
                </a:cxn>
              </a:cxnLst>
              <a:rect l="0" t="0" r="r" b="b"/>
              <a:pathLst>
                <a:path w="2" h="7">
                  <a:moveTo>
                    <a:pt x="2" y="7"/>
                  </a:moveTo>
                  <a:lnTo>
                    <a:pt x="0" y="0"/>
                  </a:lnTo>
                  <a:lnTo>
                    <a:pt x="0" y="0"/>
                  </a:lnTo>
                  <a:lnTo>
                    <a:pt x="0" y="0"/>
                  </a:lnTo>
                  <a:lnTo>
                    <a:pt x="0" y="7"/>
                  </a:lnTo>
                  <a:lnTo>
                    <a:pt x="2"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2" name="Freeform 773">
              <a:extLst>
                <a:ext uri="{FF2B5EF4-FFF2-40B4-BE49-F238E27FC236}">
                  <a16:creationId xmlns:a16="http://schemas.microsoft.com/office/drawing/2014/main" id="{19CB09E9-3D14-4C18-8A9B-9908FC2C7A8B}"/>
                </a:ext>
              </a:extLst>
            </p:cNvPr>
            <p:cNvSpPr>
              <a:spLocks/>
            </p:cNvSpPr>
            <p:nvPr/>
          </p:nvSpPr>
          <p:spPr bwMode="auto">
            <a:xfrm>
              <a:off x="1421653" y="2485989"/>
              <a:ext cx="3175" cy="11112"/>
            </a:xfrm>
            <a:custGeom>
              <a:avLst/>
              <a:gdLst>
                <a:gd name="T0" fmla="*/ 2 w 2"/>
                <a:gd name="T1" fmla="*/ 7 h 7"/>
                <a:gd name="T2" fmla="*/ 0 w 2"/>
                <a:gd name="T3" fmla="*/ 0 h 7"/>
                <a:gd name="T4" fmla="*/ 0 w 2"/>
                <a:gd name="T5" fmla="*/ 0 h 7"/>
                <a:gd name="T6" fmla="*/ 0 w 2"/>
                <a:gd name="T7" fmla="*/ 0 h 7"/>
                <a:gd name="T8" fmla="*/ 0 w 2"/>
                <a:gd name="T9" fmla="*/ 7 h 7"/>
                <a:gd name="T10" fmla="*/ 2 w 2"/>
                <a:gd name="T11" fmla="*/ 7 h 7"/>
              </a:gdLst>
              <a:ahLst/>
              <a:cxnLst>
                <a:cxn ang="0">
                  <a:pos x="T0" y="T1"/>
                </a:cxn>
                <a:cxn ang="0">
                  <a:pos x="T2" y="T3"/>
                </a:cxn>
                <a:cxn ang="0">
                  <a:pos x="T4" y="T5"/>
                </a:cxn>
                <a:cxn ang="0">
                  <a:pos x="T6" y="T7"/>
                </a:cxn>
                <a:cxn ang="0">
                  <a:pos x="T8" y="T9"/>
                </a:cxn>
                <a:cxn ang="0">
                  <a:pos x="T10" y="T11"/>
                </a:cxn>
              </a:cxnLst>
              <a:rect l="0" t="0" r="r" b="b"/>
              <a:pathLst>
                <a:path w="2" h="7">
                  <a:moveTo>
                    <a:pt x="2" y="7"/>
                  </a:moveTo>
                  <a:lnTo>
                    <a:pt x="0" y="0"/>
                  </a:lnTo>
                  <a:lnTo>
                    <a:pt x="0" y="0"/>
                  </a:lnTo>
                  <a:lnTo>
                    <a:pt x="0" y="0"/>
                  </a:lnTo>
                  <a:lnTo>
                    <a:pt x="0" y="7"/>
                  </a:lnTo>
                  <a:lnTo>
                    <a:pt x="2"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3" name="Freeform 774">
              <a:extLst>
                <a:ext uri="{FF2B5EF4-FFF2-40B4-BE49-F238E27FC236}">
                  <a16:creationId xmlns:a16="http://schemas.microsoft.com/office/drawing/2014/main" id="{ADDFF194-5B04-4B12-A4F7-C4E41BD003F3}"/>
                </a:ext>
              </a:extLst>
            </p:cNvPr>
            <p:cNvSpPr>
              <a:spLocks/>
            </p:cNvSpPr>
            <p:nvPr/>
          </p:nvSpPr>
          <p:spPr bwMode="auto">
            <a:xfrm>
              <a:off x="1316879" y="3360702"/>
              <a:ext cx="6350" cy="6350"/>
            </a:xfrm>
            <a:custGeom>
              <a:avLst/>
              <a:gdLst>
                <a:gd name="T0" fmla="*/ 2 w 4"/>
                <a:gd name="T1" fmla="*/ 0 h 4"/>
                <a:gd name="T2" fmla="*/ 4 w 4"/>
                <a:gd name="T3" fmla="*/ 0 h 4"/>
                <a:gd name="T4" fmla="*/ 4 w 4"/>
                <a:gd name="T5" fmla="*/ 0 h 4"/>
                <a:gd name="T6" fmla="*/ 4 w 4"/>
                <a:gd name="T7" fmla="*/ 2 h 4"/>
                <a:gd name="T8" fmla="*/ 2 w 4"/>
                <a:gd name="T9" fmla="*/ 4 h 4"/>
                <a:gd name="T10" fmla="*/ 2 w 4"/>
                <a:gd name="T11" fmla="*/ 4 h 4"/>
                <a:gd name="T12" fmla="*/ 0 w 4"/>
                <a:gd name="T13" fmla="*/ 4 h 4"/>
                <a:gd name="T14" fmla="*/ 0 w 4"/>
                <a:gd name="T15" fmla="*/ 2 h 4"/>
                <a:gd name="T16" fmla="*/ 2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0"/>
                  </a:moveTo>
                  <a:lnTo>
                    <a:pt x="4" y="0"/>
                  </a:lnTo>
                  <a:lnTo>
                    <a:pt x="4" y="0"/>
                  </a:lnTo>
                  <a:lnTo>
                    <a:pt x="4" y="2"/>
                  </a:lnTo>
                  <a:lnTo>
                    <a:pt x="2" y="4"/>
                  </a:lnTo>
                  <a:lnTo>
                    <a:pt x="2" y="4"/>
                  </a:lnTo>
                  <a:lnTo>
                    <a:pt x="0" y="4"/>
                  </a:lnTo>
                  <a:lnTo>
                    <a:pt x="0" y="2"/>
                  </a:lnTo>
                  <a:lnTo>
                    <a:pt x="2"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4" name="Freeform 775">
              <a:extLst>
                <a:ext uri="{FF2B5EF4-FFF2-40B4-BE49-F238E27FC236}">
                  <a16:creationId xmlns:a16="http://schemas.microsoft.com/office/drawing/2014/main" id="{15C95C2D-4657-4A64-817D-8D9BB6AFADD9}"/>
                </a:ext>
              </a:extLst>
            </p:cNvPr>
            <p:cNvSpPr>
              <a:spLocks/>
            </p:cNvSpPr>
            <p:nvPr/>
          </p:nvSpPr>
          <p:spPr bwMode="auto">
            <a:xfrm>
              <a:off x="1316879" y="3360702"/>
              <a:ext cx="6350" cy="6350"/>
            </a:xfrm>
            <a:custGeom>
              <a:avLst/>
              <a:gdLst>
                <a:gd name="T0" fmla="*/ 2 w 4"/>
                <a:gd name="T1" fmla="*/ 0 h 4"/>
                <a:gd name="T2" fmla="*/ 4 w 4"/>
                <a:gd name="T3" fmla="*/ 0 h 4"/>
                <a:gd name="T4" fmla="*/ 4 w 4"/>
                <a:gd name="T5" fmla="*/ 0 h 4"/>
                <a:gd name="T6" fmla="*/ 4 w 4"/>
                <a:gd name="T7" fmla="*/ 2 h 4"/>
                <a:gd name="T8" fmla="*/ 2 w 4"/>
                <a:gd name="T9" fmla="*/ 4 h 4"/>
                <a:gd name="T10" fmla="*/ 2 w 4"/>
                <a:gd name="T11" fmla="*/ 4 h 4"/>
                <a:gd name="T12" fmla="*/ 0 w 4"/>
                <a:gd name="T13" fmla="*/ 4 h 4"/>
                <a:gd name="T14" fmla="*/ 0 w 4"/>
                <a:gd name="T15" fmla="*/ 2 h 4"/>
                <a:gd name="T16" fmla="*/ 2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0"/>
                  </a:moveTo>
                  <a:lnTo>
                    <a:pt x="4" y="0"/>
                  </a:lnTo>
                  <a:lnTo>
                    <a:pt x="4" y="0"/>
                  </a:lnTo>
                  <a:lnTo>
                    <a:pt x="4" y="2"/>
                  </a:lnTo>
                  <a:lnTo>
                    <a:pt x="2" y="4"/>
                  </a:lnTo>
                  <a:lnTo>
                    <a:pt x="2" y="4"/>
                  </a:lnTo>
                  <a:lnTo>
                    <a:pt x="0" y="4"/>
                  </a:lnTo>
                  <a:lnTo>
                    <a:pt x="0" y="2"/>
                  </a:lnTo>
                  <a:lnTo>
                    <a:pt x="2"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5" name="Freeform 776">
              <a:extLst>
                <a:ext uri="{FF2B5EF4-FFF2-40B4-BE49-F238E27FC236}">
                  <a16:creationId xmlns:a16="http://schemas.microsoft.com/office/drawing/2014/main" id="{29DF99AE-E11D-4747-B2CB-F491FC58AF23}"/>
                </a:ext>
              </a:extLst>
            </p:cNvPr>
            <p:cNvSpPr>
              <a:spLocks/>
            </p:cNvSpPr>
            <p:nvPr/>
          </p:nvSpPr>
          <p:spPr bwMode="auto">
            <a:xfrm>
              <a:off x="1345454" y="3325777"/>
              <a:ext cx="30163" cy="26987"/>
            </a:xfrm>
            <a:custGeom>
              <a:avLst/>
              <a:gdLst>
                <a:gd name="T0" fmla="*/ 15 w 19"/>
                <a:gd name="T1" fmla="*/ 3 h 17"/>
                <a:gd name="T2" fmla="*/ 15 w 19"/>
                <a:gd name="T3" fmla="*/ 5 h 17"/>
                <a:gd name="T4" fmla="*/ 15 w 19"/>
                <a:gd name="T5" fmla="*/ 5 h 17"/>
                <a:gd name="T6" fmla="*/ 17 w 19"/>
                <a:gd name="T7" fmla="*/ 5 h 17"/>
                <a:gd name="T8" fmla="*/ 19 w 19"/>
                <a:gd name="T9" fmla="*/ 10 h 17"/>
                <a:gd name="T10" fmla="*/ 17 w 19"/>
                <a:gd name="T11" fmla="*/ 15 h 17"/>
                <a:gd name="T12" fmla="*/ 12 w 19"/>
                <a:gd name="T13" fmla="*/ 17 h 17"/>
                <a:gd name="T14" fmla="*/ 8 w 19"/>
                <a:gd name="T15" fmla="*/ 15 h 17"/>
                <a:gd name="T16" fmla="*/ 8 w 19"/>
                <a:gd name="T17" fmla="*/ 12 h 17"/>
                <a:gd name="T18" fmla="*/ 5 w 19"/>
                <a:gd name="T19" fmla="*/ 12 h 17"/>
                <a:gd name="T20" fmla="*/ 3 w 19"/>
                <a:gd name="T21" fmla="*/ 12 h 17"/>
                <a:gd name="T22" fmla="*/ 0 w 19"/>
                <a:gd name="T23" fmla="*/ 10 h 17"/>
                <a:gd name="T24" fmla="*/ 3 w 19"/>
                <a:gd name="T25" fmla="*/ 7 h 17"/>
                <a:gd name="T26" fmla="*/ 15 w 19"/>
                <a:gd name="T27" fmla="*/ 0 h 17"/>
                <a:gd name="T28" fmla="*/ 15 w 19"/>
                <a:gd name="T29" fmla="*/ 0 h 17"/>
                <a:gd name="T30" fmla="*/ 15 w 19"/>
                <a:gd name="T3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7">
                  <a:moveTo>
                    <a:pt x="15" y="3"/>
                  </a:moveTo>
                  <a:lnTo>
                    <a:pt x="15" y="5"/>
                  </a:lnTo>
                  <a:lnTo>
                    <a:pt x="15" y="5"/>
                  </a:lnTo>
                  <a:lnTo>
                    <a:pt x="17" y="5"/>
                  </a:lnTo>
                  <a:lnTo>
                    <a:pt x="19" y="10"/>
                  </a:lnTo>
                  <a:lnTo>
                    <a:pt x="17" y="15"/>
                  </a:lnTo>
                  <a:lnTo>
                    <a:pt x="12" y="17"/>
                  </a:lnTo>
                  <a:lnTo>
                    <a:pt x="8" y="15"/>
                  </a:lnTo>
                  <a:lnTo>
                    <a:pt x="8" y="12"/>
                  </a:lnTo>
                  <a:lnTo>
                    <a:pt x="5" y="12"/>
                  </a:lnTo>
                  <a:lnTo>
                    <a:pt x="3" y="12"/>
                  </a:lnTo>
                  <a:lnTo>
                    <a:pt x="0" y="10"/>
                  </a:lnTo>
                  <a:lnTo>
                    <a:pt x="3" y="7"/>
                  </a:lnTo>
                  <a:lnTo>
                    <a:pt x="15" y="0"/>
                  </a:lnTo>
                  <a:lnTo>
                    <a:pt x="15" y="0"/>
                  </a:lnTo>
                  <a:lnTo>
                    <a:pt x="15" y="3"/>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6" name="Freeform 777">
              <a:extLst>
                <a:ext uri="{FF2B5EF4-FFF2-40B4-BE49-F238E27FC236}">
                  <a16:creationId xmlns:a16="http://schemas.microsoft.com/office/drawing/2014/main" id="{94286449-2947-44DD-B997-634016784798}"/>
                </a:ext>
              </a:extLst>
            </p:cNvPr>
            <p:cNvSpPr>
              <a:spLocks/>
            </p:cNvSpPr>
            <p:nvPr/>
          </p:nvSpPr>
          <p:spPr bwMode="auto">
            <a:xfrm>
              <a:off x="1345454" y="3325777"/>
              <a:ext cx="30163" cy="26987"/>
            </a:xfrm>
            <a:custGeom>
              <a:avLst/>
              <a:gdLst>
                <a:gd name="T0" fmla="*/ 15 w 19"/>
                <a:gd name="T1" fmla="*/ 3 h 17"/>
                <a:gd name="T2" fmla="*/ 15 w 19"/>
                <a:gd name="T3" fmla="*/ 5 h 17"/>
                <a:gd name="T4" fmla="*/ 15 w 19"/>
                <a:gd name="T5" fmla="*/ 5 h 17"/>
                <a:gd name="T6" fmla="*/ 17 w 19"/>
                <a:gd name="T7" fmla="*/ 5 h 17"/>
                <a:gd name="T8" fmla="*/ 19 w 19"/>
                <a:gd name="T9" fmla="*/ 10 h 17"/>
                <a:gd name="T10" fmla="*/ 17 w 19"/>
                <a:gd name="T11" fmla="*/ 15 h 17"/>
                <a:gd name="T12" fmla="*/ 12 w 19"/>
                <a:gd name="T13" fmla="*/ 17 h 17"/>
                <a:gd name="T14" fmla="*/ 8 w 19"/>
                <a:gd name="T15" fmla="*/ 15 h 17"/>
                <a:gd name="T16" fmla="*/ 8 w 19"/>
                <a:gd name="T17" fmla="*/ 12 h 17"/>
                <a:gd name="T18" fmla="*/ 5 w 19"/>
                <a:gd name="T19" fmla="*/ 12 h 17"/>
                <a:gd name="T20" fmla="*/ 3 w 19"/>
                <a:gd name="T21" fmla="*/ 12 h 17"/>
                <a:gd name="T22" fmla="*/ 0 w 19"/>
                <a:gd name="T23" fmla="*/ 10 h 17"/>
                <a:gd name="T24" fmla="*/ 3 w 19"/>
                <a:gd name="T25" fmla="*/ 7 h 17"/>
                <a:gd name="T26" fmla="*/ 15 w 19"/>
                <a:gd name="T27" fmla="*/ 0 h 17"/>
                <a:gd name="T28" fmla="*/ 15 w 19"/>
                <a:gd name="T29" fmla="*/ 0 h 17"/>
                <a:gd name="T30" fmla="*/ 15 w 19"/>
                <a:gd name="T3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7">
                  <a:moveTo>
                    <a:pt x="15" y="3"/>
                  </a:moveTo>
                  <a:lnTo>
                    <a:pt x="15" y="5"/>
                  </a:lnTo>
                  <a:lnTo>
                    <a:pt x="15" y="5"/>
                  </a:lnTo>
                  <a:lnTo>
                    <a:pt x="17" y="5"/>
                  </a:lnTo>
                  <a:lnTo>
                    <a:pt x="19" y="10"/>
                  </a:lnTo>
                  <a:lnTo>
                    <a:pt x="17" y="15"/>
                  </a:lnTo>
                  <a:lnTo>
                    <a:pt x="12" y="17"/>
                  </a:lnTo>
                  <a:lnTo>
                    <a:pt x="8" y="15"/>
                  </a:lnTo>
                  <a:lnTo>
                    <a:pt x="8" y="12"/>
                  </a:lnTo>
                  <a:lnTo>
                    <a:pt x="5" y="12"/>
                  </a:lnTo>
                  <a:lnTo>
                    <a:pt x="3" y="12"/>
                  </a:lnTo>
                  <a:lnTo>
                    <a:pt x="0" y="10"/>
                  </a:lnTo>
                  <a:lnTo>
                    <a:pt x="3" y="7"/>
                  </a:lnTo>
                  <a:lnTo>
                    <a:pt x="15" y="0"/>
                  </a:lnTo>
                  <a:lnTo>
                    <a:pt x="15" y="0"/>
                  </a:lnTo>
                  <a:lnTo>
                    <a:pt x="15" y="3"/>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7" name="Freeform 778">
              <a:extLst>
                <a:ext uri="{FF2B5EF4-FFF2-40B4-BE49-F238E27FC236}">
                  <a16:creationId xmlns:a16="http://schemas.microsoft.com/office/drawing/2014/main" id="{91F57D5C-74ED-45B2-9E70-3C40544451FD}"/>
                </a:ext>
              </a:extLst>
            </p:cNvPr>
            <p:cNvSpPr>
              <a:spLocks/>
            </p:cNvSpPr>
            <p:nvPr/>
          </p:nvSpPr>
          <p:spPr bwMode="auto">
            <a:xfrm>
              <a:off x="1386728" y="3325777"/>
              <a:ext cx="11113" cy="7937"/>
            </a:xfrm>
            <a:custGeom>
              <a:avLst/>
              <a:gdLst>
                <a:gd name="T0" fmla="*/ 5 w 7"/>
                <a:gd name="T1" fmla="*/ 0 h 5"/>
                <a:gd name="T2" fmla="*/ 7 w 7"/>
                <a:gd name="T3" fmla="*/ 0 h 5"/>
                <a:gd name="T4" fmla="*/ 7 w 7"/>
                <a:gd name="T5" fmla="*/ 0 h 5"/>
                <a:gd name="T6" fmla="*/ 7 w 7"/>
                <a:gd name="T7" fmla="*/ 5 h 5"/>
                <a:gd name="T8" fmla="*/ 5 w 7"/>
                <a:gd name="T9" fmla="*/ 5 h 5"/>
                <a:gd name="T10" fmla="*/ 3 w 7"/>
                <a:gd name="T11" fmla="*/ 3 h 5"/>
                <a:gd name="T12" fmla="*/ 0 w 7"/>
                <a:gd name="T13" fmla="*/ 0 h 5"/>
                <a:gd name="T14" fmla="*/ 0 w 7"/>
                <a:gd name="T15" fmla="*/ 0 h 5"/>
                <a:gd name="T16" fmla="*/ 5 w 7"/>
                <a:gd name="T17" fmla="*/ 0 h 5"/>
                <a:gd name="T18" fmla="*/ 5 w 7"/>
                <a:gd name="T19" fmla="*/ 0 h 5"/>
                <a:gd name="T20" fmla="*/ 5 w 7"/>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5" y="0"/>
                  </a:moveTo>
                  <a:lnTo>
                    <a:pt x="7" y="0"/>
                  </a:lnTo>
                  <a:lnTo>
                    <a:pt x="7" y="0"/>
                  </a:lnTo>
                  <a:lnTo>
                    <a:pt x="7" y="5"/>
                  </a:lnTo>
                  <a:lnTo>
                    <a:pt x="5" y="5"/>
                  </a:lnTo>
                  <a:lnTo>
                    <a:pt x="3" y="3"/>
                  </a:lnTo>
                  <a:lnTo>
                    <a:pt x="0" y="0"/>
                  </a:lnTo>
                  <a:lnTo>
                    <a:pt x="0" y="0"/>
                  </a:lnTo>
                  <a:lnTo>
                    <a:pt x="5" y="0"/>
                  </a:lnTo>
                  <a:lnTo>
                    <a:pt x="5" y="0"/>
                  </a:lnTo>
                  <a:lnTo>
                    <a:pt x="5" y="0"/>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8" name="Freeform 779">
              <a:extLst>
                <a:ext uri="{FF2B5EF4-FFF2-40B4-BE49-F238E27FC236}">
                  <a16:creationId xmlns:a16="http://schemas.microsoft.com/office/drawing/2014/main" id="{E4EA21EC-84E5-4A9A-858E-569BBC6CD832}"/>
                </a:ext>
              </a:extLst>
            </p:cNvPr>
            <p:cNvSpPr>
              <a:spLocks/>
            </p:cNvSpPr>
            <p:nvPr/>
          </p:nvSpPr>
          <p:spPr bwMode="auto">
            <a:xfrm>
              <a:off x="1386728" y="3325777"/>
              <a:ext cx="11113" cy="7937"/>
            </a:xfrm>
            <a:custGeom>
              <a:avLst/>
              <a:gdLst>
                <a:gd name="T0" fmla="*/ 5 w 7"/>
                <a:gd name="T1" fmla="*/ 0 h 5"/>
                <a:gd name="T2" fmla="*/ 7 w 7"/>
                <a:gd name="T3" fmla="*/ 0 h 5"/>
                <a:gd name="T4" fmla="*/ 7 w 7"/>
                <a:gd name="T5" fmla="*/ 0 h 5"/>
                <a:gd name="T6" fmla="*/ 7 w 7"/>
                <a:gd name="T7" fmla="*/ 5 h 5"/>
                <a:gd name="T8" fmla="*/ 5 w 7"/>
                <a:gd name="T9" fmla="*/ 5 h 5"/>
                <a:gd name="T10" fmla="*/ 3 w 7"/>
                <a:gd name="T11" fmla="*/ 3 h 5"/>
                <a:gd name="T12" fmla="*/ 0 w 7"/>
                <a:gd name="T13" fmla="*/ 0 h 5"/>
                <a:gd name="T14" fmla="*/ 0 w 7"/>
                <a:gd name="T15" fmla="*/ 0 h 5"/>
                <a:gd name="T16" fmla="*/ 5 w 7"/>
                <a:gd name="T17" fmla="*/ 0 h 5"/>
                <a:gd name="T18" fmla="*/ 5 w 7"/>
                <a:gd name="T19" fmla="*/ 0 h 5"/>
                <a:gd name="T20" fmla="*/ 5 w 7"/>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5" y="0"/>
                  </a:moveTo>
                  <a:lnTo>
                    <a:pt x="7" y="0"/>
                  </a:lnTo>
                  <a:lnTo>
                    <a:pt x="7" y="0"/>
                  </a:lnTo>
                  <a:lnTo>
                    <a:pt x="7" y="5"/>
                  </a:lnTo>
                  <a:lnTo>
                    <a:pt x="5" y="5"/>
                  </a:lnTo>
                  <a:lnTo>
                    <a:pt x="3" y="3"/>
                  </a:lnTo>
                  <a:lnTo>
                    <a:pt x="0" y="0"/>
                  </a:lnTo>
                  <a:lnTo>
                    <a:pt x="0" y="0"/>
                  </a:lnTo>
                  <a:lnTo>
                    <a:pt x="5" y="0"/>
                  </a:lnTo>
                  <a:lnTo>
                    <a:pt x="5" y="0"/>
                  </a:lnTo>
                  <a:lnTo>
                    <a:pt x="5" y="0"/>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89" name="Freeform 806">
              <a:extLst>
                <a:ext uri="{FF2B5EF4-FFF2-40B4-BE49-F238E27FC236}">
                  <a16:creationId xmlns:a16="http://schemas.microsoft.com/office/drawing/2014/main" id="{A5115771-6154-4B23-B942-0354BD2DD868}"/>
                </a:ext>
              </a:extLst>
            </p:cNvPr>
            <p:cNvSpPr>
              <a:spLocks/>
            </p:cNvSpPr>
            <p:nvPr/>
          </p:nvSpPr>
          <p:spPr bwMode="auto">
            <a:xfrm>
              <a:off x="2470990" y="4867241"/>
              <a:ext cx="198438" cy="393700"/>
            </a:xfrm>
            <a:custGeom>
              <a:avLst/>
              <a:gdLst>
                <a:gd name="T0" fmla="*/ 24 w 125"/>
                <a:gd name="T1" fmla="*/ 73 h 248"/>
                <a:gd name="T2" fmla="*/ 33 w 125"/>
                <a:gd name="T3" fmla="*/ 69 h 248"/>
                <a:gd name="T4" fmla="*/ 38 w 125"/>
                <a:gd name="T5" fmla="*/ 69 h 248"/>
                <a:gd name="T6" fmla="*/ 43 w 125"/>
                <a:gd name="T7" fmla="*/ 66 h 248"/>
                <a:gd name="T8" fmla="*/ 50 w 125"/>
                <a:gd name="T9" fmla="*/ 64 h 248"/>
                <a:gd name="T10" fmla="*/ 54 w 125"/>
                <a:gd name="T11" fmla="*/ 71 h 248"/>
                <a:gd name="T12" fmla="*/ 59 w 125"/>
                <a:gd name="T13" fmla="*/ 66 h 248"/>
                <a:gd name="T14" fmla="*/ 59 w 125"/>
                <a:gd name="T15" fmla="*/ 57 h 248"/>
                <a:gd name="T16" fmla="*/ 64 w 125"/>
                <a:gd name="T17" fmla="*/ 62 h 248"/>
                <a:gd name="T18" fmla="*/ 66 w 125"/>
                <a:gd name="T19" fmla="*/ 54 h 248"/>
                <a:gd name="T20" fmla="*/ 71 w 125"/>
                <a:gd name="T21" fmla="*/ 47 h 248"/>
                <a:gd name="T22" fmla="*/ 73 w 125"/>
                <a:gd name="T23" fmla="*/ 52 h 248"/>
                <a:gd name="T24" fmla="*/ 83 w 125"/>
                <a:gd name="T25" fmla="*/ 45 h 248"/>
                <a:gd name="T26" fmla="*/ 78 w 125"/>
                <a:gd name="T27" fmla="*/ 40 h 248"/>
                <a:gd name="T28" fmla="*/ 83 w 125"/>
                <a:gd name="T29" fmla="*/ 36 h 248"/>
                <a:gd name="T30" fmla="*/ 80 w 125"/>
                <a:gd name="T31" fmla="*/ 26 h 248"/>
                <a:gd name="T32" fmla="*/ 85 w 125"/>
                <a:gd name="T33" fmla="*/ 31 h 248"/>
                <a:gd name="T34" fmla="*/ 92 w 125"/>
                <a:gd name="T35" fmla="*/ 21 h 248"/>
                <a:gd name="T36" fmla="*/ 97 w 125"/>
                <a:gd name="T37" fmla="*/ 7 h 248"/>
                <a:gd name="T38" fmla="*/ 102 w 125"/>
                <a:gd name="T39" fmla="*/ 2 h 248"/>
                <a:gd name="T40" fmla="*/ 109 w 125"/>
                <a:gd name="T41" fmla="*/ 7 h 248"/>
                <a:gd name="T42" fmla="*/ 116 w 125"/>
                <a:gd name="T43" fmla="*/ 19 h 248"/>
                <a:gd name="T44" fmla="*/ 118 w 125"/>
                <a:gd name="T45" fmla="*/ 33 h 248"/>
                <a:gd name="T46" fmla="*/ 121 w 125"/>
                <a:gd name="T47" fmla="*/ 50 h 248"/>
                <a:gd name="T48" fmla="*/ 123 w 125"/>
                <a:gd name="T49" fmla="*/ 64 h 248"/>
                <a:gd name="T50" fmla="*/ 118 w 125"/>
                <a:gd name="T51" fmla="*/ 64 h 248"/>
                <a:gd name="T52" fmla="*/ 113 w 125"/>
                <a:gd name="T53" fmla="*/ 66 h 248"/>
                <a:gd name="T54" fmla="*/ 113 w 125"/>
                <a:gd name="T55" fmla="*/ 80 h 248"/>
                <a:gd name="T56" fmla="*/ 109 w 125"/>
                <a:gd name="T57" fmla="*/ 90 h 248"/>
                <a:gd name="T58" fmla="*/ 104 w 125"/>
                <a:gd name="T59" fmla="*/ 116 h 248"/>
                <a:gd name="T60" fmla="*/ 102 w 125"/>
                <a:gd name="T61" fmla="*/ 130 h 248"/>
                <a:gd name="T62" fmla="*/ 90 w 125"/>
                <a:gd name="T63" fmla="*/ 163 h 248"/>
                <a:gd name="T64" fmla="*/ 80 w 125"/>
                <a:gd name="T65" fmla="*/ 194 h 248"/>
                <a:gd name="T66" fmla="*/ 76 w 125"/>
                <a:gd name="T67" fmla="*/ 217 h 248"/>
                <a:gd name="T68" fmla="*/ 66 w 125"/>
                <a:gd name="T69" fmla="*/ 234 h 248"/>
                <a:gd name="T70" fmla="*/ 59 w 125"/>
                <a:gd name="T71" fmla="*/ 239 h 248"/>
                <a:gd name="T72" fmla="*/ 33 w 125"/>
                <a:gd name="T73" fmla="*/ 248 h 248"/>
                <a:gd name="T74" fmla="*/ 19 w 125"/>
                <a:gd name="T75" fmla="*/ 236 h 248"/>
                <a:gd name="T76" fmla="*/ 10 w 125"/>
                <a:gd name="T77" fmla="*/ 222 h 248"/>
                <a:gd name="T78" fmla="*/ 10 w 125"/>
                <a:gd name="T79" fmla="*/ 208 h 248"/>
                <a:gd name="T80" fmla="*/ 2 w 125"/>
                <a:gd name="T81" fmla="*/ 196 h 248"/>
                <a:gd name="T82" fmla="*/ 0 w 125"/>
                <a:gd name="T83" fmla="*/ 182 h 248"/>
                <a:gd name="T84" fmla="*/ 5 w 125"/>
                <a:gd name="T85" fmla="*/ 168 h 248"/>
                <a:gd name="T86" fmla="*/ 12 w 125"/>
                <a:gd name="T87" fmla="*/ 156 h 248"/>
                <a:gd name="T88" fmla="*/ 21 w 125"/>
                <a:gd name="T89" fmla="*/ 139 h 248"/>
                <a:gd name="T90" fmla="*/ 21 w 125"/>
                <a:gd name="T91" fmla="*/ 130 h 248"/>
                <a:gd name="T92" fmla="*/ 17 w 125"/>
                <a:gd name="T93" fmla="*/ 111 h 248"/>
                <a:gd name="T94" fmla="*/ 17 w 125"/>
                <a:gd name="T95" fmla="*/ 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248">
                  <a:moveTo>
                    <a:pt x="21" y="73"/>
                  </a:moveTo>
                  <a:lnTo>
                    <a:pt x="21" y="71"/>
                  </a:lnTo>
                  <a:lnTo>
                    <a:pt x="24" y="73"/>
                  </a:lnTo>
                  <a:lnTo>
                    <a:pt x="28" y="71"/>
                  </a:lnTo>
                  <a:lnTo>
                    <a:pt x="31" y="71"/>
                  </a:lnTo>
                  <a:lnTo>
                    <a:pt x="33" y="69"/>
                  </a:lnTo>
                  <a:lnTo>
                    <a:pt x="36" y="71"/>
                  </a:lnTo>
                  <a:lnTo>
                    <a:pt x="36" y="71"/>
                  </a:lnTo>
                  <a:lnTo>
                    <a:pt x="38" y="69"/>
                  </a:lnTo>
                  <a:lnTo>
                    <a:pt x="40" y="69"/>
                  </a:lnTo>
                  <a:lnTo>
                    <a:pt x="40" y="69"/>
                  </a:lnTo>
                  <a:lnTo>
                    <a:pt x="43" y="66"/>
                  </a:lnTo>
                  <a:lnTo>
                    <a:pt x="45" y="64"/>
                  </a:lnTo>
                  <a:lnTo>
                    <a:pt x="47" y="66"/>
                  </a:lnTo>
                  <a:lnTo>
                    <a:pt x="50" y="64"/>
                  </a:lnTo>
                  <a:lnTo>
                    <a:pt x="50" y="64"/>
                  </a:lnTo>
                  <a:lnTo>
                    <a:pt x="52" y="69"/>
                  </a:lnTo>
                  <a:lnTo>
                    <a:pt x="54" y="71"/>
                  </a:lnTo>
                  <a:lnTo>
                    <a:pt x="57" y="71"/>
                  </a:lnTo>
                  <a:lnTo>
                    <a:pt x="59" y="71"/>
                  </a:lnTo>
                  <a:lnTo>
                    <a:pt x="59" y="66"/>
                  </a:lnTo>
                  <a:lnTo>
                    <a:pt x="54" y="64"/>
                  </a:lnTo>
                  <a:lnTo>
                    <a:pt x="54" y="62"/>
                  </a:lnTo>
                  <a:lnTo>
                    <a:pt x="59" y="57"/>
                  </a:lnTo>
                  <a:lnTo>
                    <a:pt x="62" y="54"/>
                  </a:lnTo>
                  <a:lnTo>
                    <a:pt x="64" y="57"/>
                  </a:lnTo>
                  <a:lnTo>
                    <a:pt x="64" y="62"/>
                  </a:lnTo>
                  <a:lnTo>
                    <a:pt x="69" y="62"/>
                  </a:lnTo>
                  <a:lnTo>
                    <a:pt x="69" y="59"/>
                  </a:lnTo>
                  <a:lnTo>
                    <a:pt x="66" y="54"/>
                  </a:lnTo>
                  <a:lnTo>
                    <a:pt x="69" y="52"/>
                  </a:lnTo>
                  <a:lnTo>
                    <a:pt x="71" y="47"/>
                  </a:lnTo>
                  <a:lnTo>
                    <a:pt x="71" y="47"/>
                  </a:lnTo>
                  <a:lnTo>
                    <a:pt x="73" y="45"/>
                  </a:lnTo>
                  <a:lnTo>
                    <a:pt x="73" y="47"/>
                  </a:lnTo>
                  <a:lnTo>
                    <a:pt x="73" y="52"/>
                  </a:lnTo>
                  <a:lnTo>
                    <a:pt x="78" y="45"/>
                  </a:lnTo>
                  <a:lnTo>
                    <a:pt x="80" y="45"/>
                  </a:lnTo>
                  <a:lnTo>
                    <a:pt x="83" y="45"/>
                  </a:lnTo>
                  <a:lnTo>
                    <a:pt x="80" y="43"/>
                  </a:lnTo>
                  <a:lnTo>
                    <a:pt x="78" y="43"/>
                  </a:lnTo>
                  <a:lnTo>
                    <a:pt x="78" y="40"/>
                  </a:lnTo>
                  <a:lnTo>
                    <a:pt x="78" y="38"/>
                  </a:lnTo>
                  <a:lnTo>
                    <a:pt x="80" y="36"/>
                  </a:lnTo>
                  <a:lnTo>
                    <a:pt x="83" y="36"/>
                  </a:lnTo>
                  <a:lnTo>
                    <a:pt x="83" y="33"/>
                  </a:lnTo>
                  <a:lnTo>
                    <a:pt x="80" y="31"/>
                  </a:lnTo>
                  <a:lnTo>
                    <a:pt x="80" y="26"/>
                  </a:lnTo>
                  <a:lnTo>
                    <a:pt x="80" y="26"/>
                  </a:lnTo>
                  <a:lnTo>
                    <a:pt x="85" y="26"/>
                  </a:lnTo>
                  <a:lnTo>
                    <a:pt x="85" y="31"/>
                  </a:lnTo>
                  <a:lnTo>
                    <a:pt x="90" y="24"/>
                  </a:lnTo>
                  <a:lnTo>
                    <a:pt x="90" y="21"/>
                  </a:lnTo>
                  <a:lnTo>
                    <a:pt x="92" y="21"/>
                  </a:lnTo>
                  <a:lnTo>
                    <a:pt x="97" y="19"/>
                  </a:lnTo>
                  <a:lnTo>
                    <a:pt x="97" y="14"/>
                  </a:lnTo>
                  <a:lnTo>
                    <a:pt x="97" y="7"/>
                  </a:lnTo>
                  <a:lnTo>
                    <a:pt x="97" y="5"/>
                  </a:lnTo>
                  <a:lnTo>
                    <a:pt x="97" y="5"/>
                  </a:lnTo>
                  <a:lnTo>
                    <a:pt x="102" y="2"/>
                  </a:lnTo>
                  <a:lnTo>
                    <a:pt x="104" y="0"/>
                  </a:lnTo>
                  <a:lnTo>
                    <a:pt x="106" y="5"/>
                  </a:lnTo>
                  <a:lnTo>
                    <a:pt x="109" y="7"/>
                  </a:lnTo>
                  <a:lnTo>
                    <a:pt x="113" y="12"/>
                  </a:lnTo>
                  <a:lnTo>
                    <a:pt x="116" y="14"/>
                  </a:lnTo>
                  <a:lnTo>
                    <a:pt x="116" y="19"/>
                  </a:lnTo>
                  <a:lnTo>
                    <a:pt x="116" y="24"/>
                  </a:lnTo>
                  <a:lnTo>
                    <a:pt x="118" y="28"/>
                  </a:lnTo>
                  <a:lnTo>
                    <a:pt x="118" y="33"/>
                  </a:lnTo>
                  <a:lnTo>
                    <a:pt x="121" y="38"/>
                  </a:lnTo>
                  <a:lnTo>
                    <a:pt x="121" y="43"/>
                  </a:lnTo>
                  <a:lnTo>
                    <a:pt x="121" y="50"/>
                  </a:lnTo>
                  <a:lnTo>
                    <a:pt x="123" y="54"/>
                  </a:lnTo>
                  <a:lnTo>
                    <a:pt x="125" y="59"/>
                  </a:lnTo>
                  <a:lnTo>
                    <a:pt x="123" y="64"/>
                  </a:lnTo>
                  <a:lnTo>
                    <a:pt x="123" y="66"/>
                  </a:lnTo>
                  <a:lnTo>
                    <a:pt x="121" y="69"/>
                  </a:lnTo>
                  <a:lnTo>
                    <a:pt x="118" y="64"/>
                  </a:lnTo>
                  <a:lnTo>
                    <a:pt x="116" y="59"/>
                  </a:lnTo>
                  <a:lnTo>
                    <a:pt x="113" y="59"/>
                  </a:lnTo>
                  <a:lnTo>
                    <a:pt x="113" y="66"/>
                  </a:lnTo>
                  <a:lnTo>
                    <a:pt x="113" y="71"/>
                  </a:lnTo>
                  <a:lnTo>
                    <a:pt x="113" y="76"/>
                  </a:lnTo>
                  <a:lnTo>
                    <a:pt x="113" y="80"/>
                  </a:lnTo>
                  <a:lnTo>
                    <a:pt x="113" y="83"/>
                  </a:lnTo>
                  <a:lnTo>
                    <a:pt x="111" y="85"/>
                  </a:lnTo>
                  <a:lnTo>
                    <a:pt x="109" y="90"/>
                  </a:lnTo>
                  <a:lnTo>
                    <a:pt x="109" y="97"/>
                  </a:lnTo>
                  <a:lnTo>
                    <a:pt x="109" y="99"/>
                  </a:lnTo>
                  <a:lnTo>
                    <a:pt x="104" y="116"/>
                  </a:lnTo>
                  <a:lnTo>
                    <a:pt x="102" y="125"/>
                  </a:lnTo>
                  <a:lnTo>
                    <a:pt x="102" y="128"/>
                  </a:lnTo>
                  <a:lnTo>
                    <a:pt x="102" y="130"/>
                  </a:lnTo>
                  <a:lnTo>
                    <a:pt x="95" y="147"/>
                  </a:lnTo>
                  <a:lnTo>
                    <a:pt x="92" y="156"/>
                  </a:lnTo>
                  <a:lnTo>
                    <a:pt x="90" y="163"/>
                  </a:lnTo>
                  <a:lnTo>
                    <a:pt x="88" y="175"/>
                  </a:lnTo>
                  <a:lnTo>
                    <a:pt x="85" y="180"/>
                  </a:lnTo>
                  <a:lnTo>
                    <a:pt x="80" y="194"/>
                  </a:lnTo>
                  <a:lnTo>
                    <a:pt x="78" y="203"/>
                  </a:lnTo>
                  <a:lnTo>
                    <a:pt x="78" y="208"/>
                  </a:lnTo>
                  <a:lnTo>
                    <a:pt x="76" y="217"/>
                  </a:lnTo>
                  <a:lnTo>
                    <a:pt x="73" y="222"/>
                  </a:lnTo>
                  <a:lnTo>
                    <a:pt x="71" y="227"/>
                  </a:lnTo>
                  <a:lnTo>
                    <a:pt x="66" y="234"/>
                  </a:lnTo>
                  <a:lnTo>
                    <a:pt x="64" y="236"/>
                  </a:lnTo>
                  <a:lnTo>
                    <a:pt x="62" y="239"/>
                  </a:lnTo>
                  <a:lnTo>
                    <a:pt x="59" y="239"/>
                  </a:lnTo>
                  <a:lnTo>
                    <a:pt x="47" y="241"/>
                  </a:lnTo>
                  <a:lnTo>
                    <a:pt x="38" y="246"/>
                  </a:lnTo>
                  <a:lnTo>
                    <a:pt x="33" y="248"/>
                  </a:lnTo>
                  <a:lnTo>
                    <a:pt x="28" y="243"/>
                  </a:lnTo>
                  <a:lnTo>
                    <a:pt x="24" y="239"/>
                  </a:lnTo>
                  <a:lnTo>
                    <a:pt x="19" y="236"/>
                  </a:lnTo>
                  <a:lnTo>
                    <a:pt x="14" y="234"/>
                  </a:lnTo>
                  <a:lnTo>
                    <a:pt x="10" y="227"/>
                  </a:lnTo>
                  <a:lnTo>
                    <a:pt x="10" y="222"/>
                  </a:lnTo>
                  <a:lnTo>
                    <a:pt x="7" y="215"/>
                  </a:lnTo>
                  <a:lnTo>
                    <a:pt x="7" y="210"/>
                  </a:lnTo>
                  <a:lnTo>
                    <a:pt x="10" y="208"/>
                  </a:lnTo>
                  <a:lnTo>
                    <a:pt x="7" y="203"/>
                  </a:lnTo>
                  <a:lnTo>
                    <a:pt x="5" y="199"/>
                  </a:lnTo>
                  <a:lnTo>
                    <a:pt x="2" y="196"/>
                  </a:lnTo>
                  <a:lnTo>
                    <a:pt x="0" y="191"/>
                  </a:lnTo>
                  <a:lnTo>
                    <a:pt x="0" y="187"/>
                  </a:lnTo>
                  <a:lnTo>
                    <a:pt x="0" y="182"/>
                  </a:lnTo>
                  <a:lnTo>
                    <a:pt x="0" y="177"/>
                  </a:lnTo>
                  <a:lnTo>
                    <a:pt x="2" y="173"/>
                  </a:lnTo>
                  <a:lnTo>
                    <a:pt x="5" y="168"/>
                  </a:lnTo>
                  <a:lnTo>
                    <a:pt x="7" y="165"/>
                  </a:lnTo>
                  <a:lnTo>
                    <a:pt x="10" y="165"/>
                  </a:lnTo>
                  <a:lnTo>
                    <a:pt x="12" y="156"/>
                  </a:lnTo>
                  <a:lnTo>
                    <a:pt x="19" y="147"/>
                  </a:lnTo>
                  <a:lnTo>
                    <a:pt x="21" y="142"/>
                  </a:lnTo>
                  <a:lnTo>
                    <a:pt x="21" y="139"/>
                  </a:lnTo>
                  <a:lnTo>
                    <a:pt x="21" y="135"/>
                  </a:lnTo>
                  <a:lnTo>
                    <a:pt x="24" y="135"/>
                  </a:lnTo>
                  <a:lnTo>
                    <a:pt x="21" y="130"/>
                  </a:lnTo>
                  <a:lnTo>
                    <a:pt x="19" y="125"/>
                  </a:lnTo>
                  <a:lnTo>
                    <a:pt x="17" y="121"/>
                  </a:lnTo>
                  <a:lnTo>
                    <a:pt x="17" y="111"/>
                  </a:lnTo>
                  <a:lnTo>
                    <a:pt x="14" y="102"/>
                  </a:lnTo>
                  <a:lnTo>
                    <a:pt x="12" y="97"/>
                  </a:lnTo>
                  <a:lnTo>
                    <a:pt x="17" y="90"/>
                  </a:lnTo>
                  <a:lnTo>
                    <a:pt x="21" y="78"/>
                  </a:lnTo>
                  <a:lnTo>
                    <a:pt x="21" y="7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0" name="Freeform 807">
              <a:extLst>
                <a:ext uri="{FF2B5EF4-FFF2-40B4-BE49-F238E27FC236}">
                  <a16:creationId xmlns:a16="http://schemas.microsoft.com/office/drawing/2014/main" id="{B9FCD772-C10E-459F-8645-FE302E47F088}"/>
                </a:ext>
              </a:extLst>
            </p:cNvPr>
            <p:cNvSpPr>
              <a:spLocks/>
            </p:cNvSpPr>
            <p:nvPr/>
          </p:nvSpPr>
          <p:spPr bwMode="auto">
            <a:xfrm>
              <a:off x="2470990" y="4867241"/>
              <a:ext cx="198438" cy="393700"/>
            </a:xfrm>
            <a:custGeom>
              <a:avLst/>
              <a:gdLst>
                <a:gd name="T0" fmla="*/ 24 w 125"/>
                <a:gd name="T1" fmla="*/ 73 h 248"/>
                <a:gd name="T2" fmla="*/ 33 w 125"/>
                <a:gd name="T3" fmla="*/ 69 h 248"/>
                <a:gd name="T4" fmla="*/ 38 w 125"/>
                <a:gd name="T5" fmla="*/ 69 h 248"/>
                <a:gd name="T6" fmla="*/ 43 w 125"/>
                <a:gd name="T7" fmla="*/ 66 h 248"/>
                <a:gd name="T8" fmla="*/ 50 w 125"/>
                <a:gd name="T9" fmla="*/ 64 h 248"/>
                <a:gd name="T10" fmla="*/ 54 w 125"/>
                <a:gd name="T11" fmla="*/ 71 h 248"/>
                <a:gd name="T12" fmla="*/ 59 w 125"/>
                <a:gd name="T13" fmla="*/ 66 h 248"/>
                <a:gd name="T14" fmla="*/ 59 w 125"/>
                <a:gd name="T15" fmla="*/ 57 h 248"/>
                <a:gd name="T16" fmla="*/ 64 w 125"/>
                <a:gd name="T17" fmla="*/ 62 h 248"/>
                <a:gd name="T18" fmla="*/ 66 w 125"/>
                <a:gd name="T19" fmla="*/ 54 h 248"/>
                <a:gd name="T20" fmla="*/ 71 w 125"/>
                <a:gd name="T21" fmla="*/ 47 h 248"/>
                <a:gd name="T22" fmla="*/ 73 w 125"/>
                <a:gd name="T23" fmla="*/ 52 h 248"/>
                <a:gd name="T24" fmla="*/ 83 w 125"/>
                <a:gd name="T25" fmla="*/ 45 h 248"/>
                <a:gd name="T26" fmla="*/ 78 w 125"/>
                <a:gd name="T27" fmla="*/ 40 h 248"/>
                <a:gd name="T28" fmla="*/ 83 w 125"/>
                <a:gd name="T29" fmla="*/ 36 h 248"/>
                <a:gd name="T30" fmla="*/ 80 w 125"/>
                <a:gd name="T31" fmla="*/ 26 h 248"/>
                <a:gd name="T32" fmla="*/ 85 w 125"/>
                <a:gd name="T33" fmla="*/ 31 h 248"/>
                <a:gd name="T34" fmla="*/ 92 w 125"/>
                <a:gd name="T35" fmla="*/ 21 h 248"/>
                <a:gd name="T36" fmla="*/ 97 w 125"/>
                <a:gd name="T37" fmla="*/ 7 h 248"/>
                <a:gd name="T38" fmla="*/ 102 w 125"/>
                <a:gd name="T39" fmla="*/ 2 h 248"/>
                <a:gd name="T40" fmla="*/ 109 w 125"/>
                <a:gd name="T41" fmla="*/ 7 h 248"/>
                <a:gd name="T42" fmla="*/ 116 w 125"/>
                <a:gd name="T43" fmla="*/ 19 h 248"/>
                <a:gd name="T44" fmla="*/ 118 w 125"/>
                <a:gd name="T45" fmla="*/ 33 h 248"/>
                <a:gd name="T46" fmla="*/ 121 w 125"/>
                <a:gd name="T47" fmla="*/ 50 h 248"/>
                <a:gd name="T48" fmla="*/ 123 w 125"/>
                <a:gd name="T49" fmla="*/ 64 h 248"/>
                <a:gd name="T50" fmla="*/ 118 w 125"/>
                <a:gd name="T51" fmla="*/ 64 h 248"/>
                <a:gd name="T52" fmla="*/ 113 w 125"/>
                <a:gd name="T53" fmla="*/ 66 h 248"/>
                <a:gd name="T54" fmla="*/ 113 w 125"/>
                <a:gd name="T55" fmla="*/ 80 h 248"/>
                <a:gd name="T56" fmla="*/ 109 w 125"/>
                <a:gd name="T57" fmla="*/ 90 h 248"/>
                <a:gd name="T58" fmla="*/ 104 w 125"/>
                <a:gd name="T59" fmla="*/ 116 h 248"/>
                <a:gd name="T60" fmla="*/ 102 w 125"/>
                <a:gd name="T61" fmla="*/ 130 h 248"/>
                <a:gd name="T62" fmla="*/ 90 w 125"/>
                <a:gd name="T63" fmla="*/ 163 h 248"/>
                <a:gd name="T64" fmla="*/ 80 w 125"/>
                <a:gd name="T65" fmla="*/ 194 h 248"/>
                <a:gd name="T66" fmla="*/ 76 w 125"/>
                <a:gd name="T67" fmla="*/ 217 h 248"/>
                <a:gd name="T68" fmla="*/ 66 w 125"/>
                <a:gd name="T69" fmla="*/ 234 h 248"/>
                <a:gd name="T70" fmla="*/ 59 w 125"/>
                <a:gd name="T71" fmla="*/ 239 h 248"/>
                <a:gd name="T72" fmla="*/ 33 w 125"/>
                <a:gd name="T73" fmla="*/ 248 h 248"/>
                <a:gd name="T74" fmla="*/ 19 w 125"/>
                <a:gd name="T75" fmla="*/ 236 h 248"/>
                <a:gd name="T76" fmla="*/ 10 w 125"/>
                <a:gd name="T77" fmla="*/ 222 h 248"/>
                <a:gd name="T78" fmla="*/ 10 w 125"/>
                <a:gd name="T79" fmla="*/ 208 h 248"/>
                <a:gd name="T80" fmla="*/ 2 w 125"/>
                <a:gd name="T81" fmla="*/ 196 h 248"/>
                <a:gd name="T82" fmla="*/ 0 w 125"/>
                <a:gd name="T83" fmla="*/ 182 h 248"/>
                <a:gd name="T84" fmla="*/ 5 w 125"/>
                <a:gd name="T85" fmla="*/ 168 h 248"/>
                <a:gd name="T86" fmla="*/ 12 w 125"/>
                <a:gd name="T87" fmla="*/ 156 h 248"/>
                <a:gd name="T88" fmla="*/ 21 w 125"/>
                <a:gd name="T89" fmla="*/ 139 h 248"/>
                <a:gd name="T90" fmla="*/ 21 w 125"/>
                <a:gd name="T91" fmla="*/ 130 h 248"/>
                <a:gd name="T92" fmla="*/ 17 w 125"/>
                <a:gd name="T93" fmla="*/ 111 h 248"/>
                <a:gd name="T94" fmla="*/ 17 w 125"/>
                <a:gd name="T95" fmla="*/ 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248">
                  <a:moveTo>
                    <a:pt x="21" y="73"/>
                  </a:moveTo>
                  <a:lnTo>
                    <a:pt x="21" y="71"/>
                  </a:lnTo>
                  <a:lnTo>
                    <a:pt x="24" y="73"/>
                  </a:lnTo>
                  <a:lnTo>
                    <a:pt x="28" y="71"/>
                  </a:lnTo>
                  <a:lnTo>
                    <a:pt x="31" y="71"/>
                  </a:lnTo>
                  <a:lnTo>
                    <a:pt x="33" y="69"/>
                  </a:lnTo>
                  <a:lnTo>
                    <a:pt x="36" y="71"/>
                  </a:lnTo>
                  <a:lnTo>
                    <a:pt x="36" y="71"/>
                  </a:lnTo>
                  <a:lnTo>
                    <a:pt x="38" y="69"/>
                  </a:lnTo>
                  <a:lnTo>
                    <a:pt x="40" y="69"/>
                  </a:lnTo>
                  <a:lnTo>
                    <a:pt x="40" y="69"/>
                  </a:lnTo>
                  <a:lnTo>
                    <a:pt x="43" y="66"/>
                  </a:lnTo>
                  <a:lnTo>
                    <a:pt x="45" y="64"/>
                  </a:lnTo>
                  <a:lnTo>
                    <a:pt x="47" y="66"/>
                  </a:lnTo>
                  <a:lnTo>
                    <a:pt x="50" y="64"/>
                  </a:lnTo>
                  <a:lnTo>
                    <a:pt x="50" y="64"/>
                  </a:lnTo>
                  <a:lnTo>
                    <a:pt x="52" y="69"/>
                  </a:lnTo>
                  <a:lnTo>
                    <a:pt x="54" y="71"/>
                  </a:lnTo>
                  <a:lnTo>
                    <a:pt x="57" y="71"/>
                  </a:lnTo>
                  <a:lnTo>
                    <a:pt x="59" y="71"/>
                  </a:lnTo>
                  <a:lnTo>
                    <a:pt x="59" y="66"/>
                  </a:lnTo>
                  <a:lnTo>
                    <a:pt x="54" y="64"/>
                  </a:lnTo>
                  <a:lnTo>
                    <a:pt x="54" y="62"/>
                  </a:lnTo>
                  <a:lnTo>
                    <a:pt x="59" y="57"/>
                  </a:lnTo>
                  <a:lnTo>
                    <a:pt x="62" y="54"/>
                  </a:lnTo>
                  <a:lnTo>
                    <a:pt x="64" y="57"/>
                  </a:lnTo>
                  <a:lnTo>
                    <a:pt x="64" y="62"/>
                  </a:lnTo>
                  <a:lnTo>
                    <a:pt x="69" y="62"/>
                  </a:lnTo>
                  <a:lnTo>
                    <a:pt x="69" y="59"/>
                  </a:lnTo>
                  <a:lnTo>
                    <a:pt x="66" y="54"/>
                  </a:lnTo>
                  <a:lnTo>
                    <a:pt x="69" y="52"/>
                  </a:lnTo>
                  <a:lnTo>
                    <a:pt x="71" y="47"/>
                  </a:lnTo>
                  <a:lnTo>
                    <a:pt x="71" y="47"/>
                  </a:lnTo>
                  <a:lnTo>
                    <a:pt x="73" y="45"/>
                  </a:lnTo>
                  <a:lnTo>
                    <a:pt x="73" y="47"/>
                  </a:lnTo>
                  <a:lnTo>
                    <a:pt x="73" y="52"/>
                  </a:lnTo>
                  <a:lnTo>
                    <a:pt x="78" y="45"/>
                  </a:lnTo>
                  <a:lnTo>
                    <a:pt x="80" y="45"/>
                  </a:lnTo>
                  <a:lnTo>
                    <a:pt x="83" y="45"/>
                  </a:lnTo>
                  <a:lnTo>
                    <a:pt x="80" y="43"/>
                  </a:lnTo>
                  <a:lnTo>
                    <a:pt x="78" y="43"/>
                  </a:lnTo>
                  <a:lnTo>
                    <a:pt x="78" y="40"/>
                  </a:lnTo>
                  <a:lnTo>
                    <a:pt x="78" y="38"/>
                  </a:lnTo>
                  <a:lnTo>
                    <a:pt x="80" y="36"/>
                  </a:lnTo>
                  <a:lnTo>
                    <a:pt x="83" y="36"/>
                  </a:lnTo>
                  <a:lnTo>
                    <a:pt x="83" y="33"/>
                  </a:lnTo>
                  <a:lnTo>
                    <a:pt x="80" y="31"/>
                  </a:lnTo>
                  <a:lnTo>
                    <a:pt x="80" y="26"/>
                  </a:lnTo>
                  <a:lnTo>
                    <a:pt x="80" y="26"/>
                  </a:lnTo>
                  <a:lnTo>
                    <a:pt x="85" y="26"/>
                  </a:lnTo>
                  <a:lnTo>
                    <a:pt x="85" y="31"/>
                  </a:lnTo>
                  <a:lnTo>
                    <a:pt x="90" y="24"/>
                  </a:lnTo>
                  <a:lnTo>
                    <a:pt x="90" y="21"/>
                  </a:lnTo>
                  <a:lnTo>
                    <a:pt x="92" y="21"/>
                  </a:lnTo>
                  <a:lnTo>
                    <a:pt x="97" y="19"/>
                  </a:lnTo>
                  <a:lnTo>
                    <a:pt x="97" y="14"/>
                  </a:lnTo>
                  <a:lnTo>
                    <a:pt x="97" y="7"/>
                  </a:lnTo>
                  <a:lnTo>
                    <a:pt x="97" y="5"/>
                  </a:lnTo>
                  <a:lnTo>
                    <a:pt x="97" y="5"/>
                  </a:lnTo>
                  <a:lnTo>
                    <a:pt x="102" y="2"/>
                  </a:lnTo>
                  <a:lnTo>
                    <a:pt x="104" y="0"/>
                  </a:lnTo>
                  <a:lnTo>
                    <a:pt x="106" y="5"/>
                  </a:lnTo>
                  <a:lnTo>
                    <a:pt x="109" y="7"/>
                  </a:lnTo>
                  <a:lnTo>
                    <a:pt x="113" y="12"/>
                  </a:lnTo>
                  <a:lnTo>
                    <a:pt x="116" y="14"/>
                  </a:lnTo>
                  <a:lnTo>
                    <a:pt x="116" y="19"/>
                  </a:lnTo>
                  <a:lnTo>
                    <a:pt x="116" y="24"/>
                  </a:lnTo>
                  <a:lnTo>
                    <a:pt x="118" y="28"/>
                  </a:lnTo>
                  <a:lnTo>
                    <a:pt x="118" y="33"/>
                  </a:lnTo>
                  <a:lnTo>
                    <a:pt x="121" y="38"/>
                  </a:lnTo>
                  <a:lnTo>
                    <a:pt x="121" y="43"/>
                  </a:lnTo>
                  <a:lnTo>
                    <a:pt x="121" y="50"/>
                  </a:lnTo>
                  <a:lnTo>
                    <a:pt x="123" y="54"/>
                  </a:lnTo>
                  <a:lnTo>
                    <a:pt x="125" y="59"/>
                  </a:lnTo>
                  <a:lnTo>
                    <a:pt x="123" y="64"/>
                  </a:lnTo>
                  <a:lnTo>
                    <a:pt x="123" y="66"/>
                  </a:lnTo>
                  <a:lnTo>
                    <a:pt x="121" y="69"/>
                  </a:lnTo>
                  <a:lnTo>
                    <a:pt x="118" y="64"/>
                  </a:lnTo>
                  <a:lnTo>
                    <a:pt x="116" y="59"/>
                  </a:lnTo>
                  <a:lnTo>
                    <a:pt x="113" y="59"/>
                  </a:lnTo>
                  <a:lnTo>
                    <a:pt x="113" y="66"/>
                  </a:lnTo>
                  <a:lnTo>
                    <a:pt x="113" y="71"/>
                  </a:lnTo>
                  <a:lnTo>
                    <a:pt x="113" y="76"/>
                  </a:lnTo>
                  <a:lnTo>
                    <a:pt x="113" y="80"/>
                  </a:lnTo>
                  <a:lnTo>
                    <a:pt x="113" y="83"/>
                  </a:lnTo>
                  <a:lnTo>
                    <a:pt x="111" y="85"/>
                  </a:lnTo>
                  <a:lnTo>
                    <a:pt x="109" y="90"/>
                  </a:lnTo>
                  <a:lnTo>
                    <a:pt x="109" y="97"/>
                  </a:lnTo>
                  <a:lnTo>
                    <a:pt x="109" y="99"/>
                  </a:lnTo>
                  <a:lnTo>
                    <a:pt x="104" y="116"/>
                  </a:lnTo>
                  <a:lnTo>
                    <a:pt x="102" y="125"/>
                  </a:lnTo>
                  <a:lnTo>
                    <a:pt x="102" y="128"/>
                  </a:lnTo>
                  <a:lnTo>
                    <a:pt x="102" y="130"/>
                  </a:lnTo>
                  <a:lnTo>
                    <a:pt x="95" y="147"/>
                  </a:lnTo>
                  <a:lnTo>
                    <a:pt x="92" y="156"/>
                  </a:lnTo>
                  <a:lnTo>
                    <a:pt x="90" y="163"/>
                  </a:lnTo>
                  <a:lnTo>
                    <a:pt x="88" y="175"/>
                  </a:lnTo>
                  <a:lnTo>
                    <a:pt x="85" y="180"/>
                  </a:lnTo>
                  <a:lnTo>
                    <a:pt x="80" y="194"/>
                  </a:lnTo>
                  <a:lnTo>
                    <a:pt x="78" y="203"/>
                  </a:lnTo>
                  <a:lnTo>
                    <a:pt x="78" y="208"/>
                  </a:lnTo>
                  <a:lnTo>
                    <a:pt x="76" y="217"/>
                  </a:lnTo>
                  <a:lnTo>
                    <a:pt x="73" y="222"/>
                  </a:lnTo>
                  <a:lnTo>
                    <a:pt x="71" y="227"/>
                  </a:lnTo>
                  <a:lnTo>
                    <a:pt x="66" y="234"/>
                  </a:lnTo>
                  <a:lnTo>
                    <a:pt x="64" y="236"/>
                  </a:lnTo>
                  <a:lnTo>
                    <a:pt x="62" y="239"/>
                  </a:lnTo>
                  <a:lnTo>
                    <a:pt x="59" y="239"/>
                  </a:lnTo>
                  <a:lnTo>
                    <a:pt x="47" y="241"/>
                  </a:lnTo>
                  <a:lnTo>
                    <a:pt x="38" y="246"/>
                  </a:lnTo>
                  <a:lnTo>
                    <a:pt x="33" y="248"/>
                  </a:lnTo>
                  <a:lnTo>
                    <a:pt x="28" y="243"/>
                  </a:lnTo>
                  <a:lnTo>
                    <a:pt x="24" y="239"/>
                  </a:lnTo>
                  <a:lnTo>
                    <a:pt x="19" y="236"/>
                  </a:lnTo>
                  <a:lnTo>
                    <a:pt x="14" y="234"/>
                  </a:lnTo>
                  <a:lnTo>
                    <a:pt x="10" y="227"/>
                  </a:lnTo>
                  <a:lnTo>
                    <a:pt x="10" y="222"/>
                  </a:lnTo>
                  <a:lnTo>
                    <a:pt x="7" y="215"/>
                  </a:lnTo>
                  <a:lnTo>
                    <a:pt x="7" y="210"/>
                  </a:lnTo>
                  <a:lnTo>
                    <a:pt x="10" y="208"/>
                  </a:lnTo>
                  <a:lnTo>
                    <a:pt x="7" y="203"/>
                  </a:lnTo>
                  <a:lnTo>
                    <a:pt x="5" y="199"/>
                  </a:lnTo>
                  <a:lnTo>
                    <a:pt x="2" y="196"/>
                  </a:lnTo>
                  <a:lnTo>
                    <a:pt x="0" y="191"/>
                  </a:lnTo>
                  <a:lnTo>
                    <a:pt x="0" y="187"/>
                  </a:lnTo>
                  <a:lnTo>
                    <a:pt x="0" y="182"/>
                  </a:lnTo>
                  <a:lnTo>
                    <a:pt x="0" y="177"/>
                  </a:lnTo>
                  <a:lnTo>
                    <a:pt x="2" y="173"/>
                  </a:lnTo>
                  <a:lnTo>
                    <a:pt x="5" y="168"/>
                  </a:lnTo>
                  <a:lnTo>
                    <a:pt x="7" y="165"/>
                  </a:lnTo>
                  <a:lnTo>
                    <a:pt x="10" y="165"/>
                  </a:lnTo>
                  <a:lnTo>
                    <a:pt x="12" y="156"/>
                  </a:lnTo>
                  <a:lnTo>
                    <a:pt x="19" y="147"/>
                  </a:lnTo>
                  <a:lnTo>
                    <a:pt x="21" y="142"/>
                  </a:lnTo>
                  <a:lnTo>
                    <a:pt x="21" y="139"/>
                  </a:lnTo>
                  <a:lnTo>
                    <a:pt x="21" y="135"/>
                  </a:lnTo>
                  <a:lnTo>
                    <a:pt x="24" y="135"/>
                  </a:lnTo>
                  <a:lnTo>
                    <a:pt x="21" y="130"/>
                  </a:lnTo>
                  <a:lnTo>
                    <a:pt x="19" y="125"/>
                  </a:lnTo>
                  <a:lnTo>
                    <a:pt x="17" y="121"/>
                  </a:lnTo>
                  <a:lnTo>
                    <a:pt x="17" y="111"/>
                  </a:lnTo>
                  <a:lnTo>
                    <a:pt x="14" y="102"/>
                  </a:lnTo>
                  <a:lnTo>
                    <a:pt x="12" y="97"/>
                  </a:lnTo>
                  <a:lnTo>
                    <a:pt x="17" y="90"/>
                  </a:lnTo>
                  <a:lnTo>
                    <a:pt x="21" y="78"/>
                  </a:lnTo>
                  <a:lnTo>
                    <a:pt x="21" y="73"/>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1" name="Freeform 808">
              <a:extLst>
                <a:ext uri="{FF2B5EF4-FFF2-40B4-BE49-F238E27FC236}">
                  <a16:creationId xmlns:a16="http://schemas.microsoft.com/office/drawing/2014/main" id="{1D25E45B-375D-4E46-AA34-5D6D34AAECA2}"/>
                </a:ext>
              </a:extLst>
            </p:cNvPr>
            <p:cNvSpPr>
              <a:spLocks/>
            </p:cNvSpPr>
            <p:nvPr/>
          </p:nvSpPr>
          <p:spPr bwMode="auto">
            <a:xfrm>
              <a:off x="1570878" y="3536915"/>
              <a:ext cx="7938" cy="6350"/>
            </a:xfrm>
            <a:custGeom>
              <a:avLst/>
              <a:gdLst>
                <a:gd name="T0" fmla="*/ 3 w 5"/>
                <a:gd name="T1" fmla="*/ 2 h 4"/>
                <a:gd name="T2" fmla="*/ 3 w 5"/>
                <a:gd name="T3" fmla="*/ 0 h 4"/>
                <a:gd name="T4" fmla="*/ 5 w 5"/>
                <a:gd name="T5" fmla="*/ 2 h 4"/>
                <a:gd name="T6" fmla="*/ 5 w 5"/>
                <a:gd name="T7" fmla="*/ 4 h 4"/>
                <a:gd name="T8" fmla="*/ 0 w 5"/>
                <a:gd name="T9" fmla="*/ 4 h 4"/>
                <a:gd name="T10" fmla="*/ 0 w 5"/>
                <a:gd name="T11" fmla="*/ 2 h 4"/>
                <a:gd name="T12" fmla="*/ 3 w 5"/>
                <a:gd name="T13" fmla="*/ 0 h 4"/>
                <a:gd name="T14" fmla="*/ 3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3" y="2"/>
                  </a:moveTo>
                  <a:lnTo>
                    <a:pt x="3" y="0"/>
                  </a:lnTo>
                  <a:lnTo>
                    <a:pt x="5" y="2"/>
                  </a:lnTo>
                  <a:lnTo>
                    <a:pt x="5" y="4"/>
                  </a:lnTo>
                  <a:lnTo>
                    <a:pt x="0" y="4"/>
                  </a:lnTo>
                  <a:lnTo>
                    <a:pt x="0" y="2"/>
                  </a:lnTo>
                  <a:lnTo>
                    <a:pt x="3" y="0"/>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2" name="Freeform 809">
              <a:extLst>
                <a:ext uri="{FF2B5EF4-FFF2-40B4-BE49-F238E27FC236}">
                  <a16:creationId xmlns:a16="http://schemas.microsoft.com/office/drawing/2014/main" id="{A39136DA-39F6-4689-BD0C-CBC7376C4E92}"/>
                </a:ext>
              </a:extLst>
            </p:cNvPr>
            <p:cNvSpPr>
              <a:spLocks/>
            </p:cNvSpPr>
            <p:nvPr/>
          </p:nvSpPr>
          <p:spPr bwMode="auto">
            <a:xfrm>
              <a:off x="1570878" y="3536915"/>
              <a:ext cx="7938" cy="6350"/>
            </a:xfrm>
            <a:custGeom>
              <a:avLst/>
              <a:gdLst>
                <a:gd name="T0" fmla="*/ 3 w 5"/>
                <a:gd name="T1" fmla="*/ 2 h 4"/>
                <a:gd name="T2" fmla="*/ 3 w 5"/>
                <a:gd name="T3" fmla="*/ 0 h 4"/>
                <a:gd name="T4" fmla="*/ 5 w 5"/>
                <a:gd name="T5" fmla="*/ 2 h 4"/>
                <a:gd name="T6" fmla="*/ 5 w 5"/>
                <a:gd name="T7" fmla="*/ 4 h 4"/>
                <a:gd name="T8" fmla="*/ 0 w 5"/>
                <a:gd name="T9" fmla="*/ 4 h 4"/>
                <a:gd name="T10" fmla="*/ 0 w 5"/>
                <a:gd name="T11" fmla="*/ 2 h 4"/>
                <a:gd name="T12" fmla="*/ 3 w 5"/>
                <a:gd name="T13" fmla="*/ 0 h 4"/>
                <a:gd name="T14" fmla="*/ 3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3" y="2"/>
                  </a:moveTo>
                  <a:lnTo>
                    <a:pt x="3" y="0"/>
                  </a:lnTo>
                  <a:lnTo>
                    <a:pt x="5" y="2"/>
                  </a:lnTo>
                  <a:lnTo>
                    <a:pt x="5" y="4"/>
                  </a:lnTo>
                  <a:lnTo>
                    <a:pt x="0" y="4"/>
                  </a:lnTo>
                  <a:lnTo>
                    <a:pt x="0" y="2"/>
                  </a:lnTo>
                  <a:lnTo>
                    <a:pt x="3" y="0"/>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3" name="Freeform 825">
              <a:extLst>
                <a:ext uri="{FF2B5EF4-FFF2-40B4-BE49-F238E27FC236}">
                  <a16:creationId xmlns:a16="http://schemas.microsoft.com/office/drawing/2014/main" id="{49CF2430-4928-4314-BC14-60278691AEE2}"/>
                </a:ext>
              </a:extLst>
            </p:cNvPr>
            <p:cNvSpPr>
              <a:spLocks/>
            </p:cNvSpPr>
            <p:nvPr/>
          </p:nvSpPr>
          <p:spPr bwMode="auto">
            <a:xfrm>
              <a:off x="1058118" y="2692365"/>
              <a:ext cx="69850" cy="63500"/>
            </a:xfrm>
            <a:custGeom>
              <a:avLst/>
              <a:gdLst>
                <a:gd name="T0" fmla="*/ 9 w 44"/>
                <a:gd name="T1" fmla="*/ 12 h 40"/>
                <a:gd name="T2" fmla="*/ 7 w 44"/>
                <a:gd name="T3" fmla="*/ 17 h 40"/>
                <a:gd name="T4" fmla="*/ 7 w 44"/>
                <a:gd name="T5" fmla="*/ 19 h 40"/>
                <a:gd name="T6" fmla="*/ 2 w 44"/>
                <a:gd name="T7" fmla="*/ 19 h 40"/>
                <a:gd name="T8" fmla="*/ 2 w 44"/>
                <a:gd name="T9" fmla="*/ 24 h 40"/>
                <a:gd name="T10" fmla="*/ 0 w 44"/>
                <a:gd name="T11" fmla="*/ 26 h 40"/>
                <a:gd name="T12" fmla="*/ 4 w 44"/>
                <a:gd name="T13" fmla="*/ 31 h 40"/>
                <a:gd name="T14" fmla="*/ 7 w 44"/>
                <a:gd name="T15" fmla="*/ 36 h 40"/>
                <a:gd name="T16" fmla="*/ 11 w 44"/>
                <a:gd name="T17" fmla="*/ 38 h 40"/>
                <a:gd name="T18" fmla="*/ 14 w 44"/>
                <a:gd name="T19" fmla="*/ 33 h 40"/>
                <a:gd name="T20" fmla="*/ 16 w 44"/>
                <a:gd name="T21" fmla="*/ 31 h 40"/>
                <a:gd name="T22" fmla="*/ 26 w 44"/>
                <a:gd name="T23" fmla="*/ 28 h 40"/>
                <a:gd name="T24" fmla="*/ 30 w 44"/>
                <a:gd name="T25" fmla="*/ 33 h 40"/>
                <a:gd name="T26" fmla="*/ 30 w 44"/>
                <a:gd name="T27" fmla="*/ 33 h 40"/>
                <a:gd name="T28" fmla="*/ 30 w 44"/>
                <a:gd name="T29" fmla="*/ 40 h 40"/>
                <a:gd name="T30" fmla="*/ 30 w 44"/>
                <a:gd name="T31" fmla="*/ 40 h 40"/>
                <a:gd name="T32" fmla="*/ 33 w 44"/>
                <a:gd name="T33" fmla="*/ 40 h 40"/>
                <a:gd name="T34" fmla="*/ 37 w 44"/>
                <a:gd name="T35" fmla="*/ 38 h 40"/>
                <a:gd name="T36" fmla="*/ 37 w 44"/>
                <a:gd name="T37" fmla="*/ 36 h 40"/>
                <a:gd name="T38" fmla="*/ 42 w 44"/>
                <a:gd name="T39" fmla="*/ 33 h 40"/>
                <a:gd name="T40" fmla="*/ 42 w 44"/>
                <a:gd name="T41" fmla="*/ 31 h 40"/>
                <a:gd name="T42" fmla="*/ 42 w 44"/>
                <a:gd name="T43" fmla="*/ 28 h 40"/>
                <a:gd name="T44" fmla="*/ 40 w 44"/>
                <a:gd name="T45" fmla="*/ 26 h 40"/>
                <a:gd name="T46" fmla="*/ 42 w 44"/>
                <a:gd name="T47" fmla="*/ 28 h 40"/>
                <a:gd name="T48" fmla="*/ 44 w 44"/>
                <a:gd name="T49" fmla="*/ 26 h 40"/>
                <a:gd name="T50" fmla="*/ 42 w 44"/>
                <a:gd name="T51" fmla="*/ 21 h 40"/>
                <a:gd name="T52" fmla="*/ 40 w 44"/>
                <a:gd name="T53" fmla="*/ 21 h 40"/>
                <a:gd name="T54" fmla="*/ 35 w 44"/>
                <a:gd name="T55" fmla="*/ 21 h 40"/>
                <a:gd name="T56" fmla="*/ 37 w 44"/>
                <a:gd name="T57" fmla="*/ 19 h 40"/>
                <a:gd name="T58" fmla="*/ 37 w 44"/>
                <a:gd name="T59" fmla="*/ 12 h 40"/>
                <a:gd name="T60" fmla="*/ 35 w 44"/>
                <a:gd name="T61" fmla="*/ 10 h 40"/>
                <a:gd name="T62" fmla="*/ 33 w 44"/>
                <a:gd name="T63" fmla="*/ 5 h 40"/>
                <a:gd name="T64" fmla="*/ 28 w 44"/>
                <a:gd name="T65" fmla="*/ 5 h 40"/>
                <a:gd name="T66" fmla="*/ 21 w 44"/>
                <a:gd name="T67" fmla="*/ 7 h 40"/>
                <a:gd name="T68" fmla="*/ 18 w 44"/>
                <a:gd name="T69" fmla="*/ 7 h 40"/>
                <a:gd name="T70" fmla="*/ 16 w 44"/>
                <a:gd name="T71" fmla="*/ 10 h 40"/>
                <a:gd name="T72" fmla="*/ 14 w 44"/>
                <a:gd name="T73" fmla="*/ 7 h 40"/>
                <a:gd name="T74" fmla="*/ 18 w 44"/>
                <a:gd name="T75" fmla="*/ 5 h 40"/>
                <a:gd name="T76" fmla="*/ 16 w 44"/>
                <a:gd name="T77" fmla="*/ 3 h 40"/>
                <a:gd name="T78" fmla="*/ 14 w 44"/>
                <a:gd name="T79" fmla="*/ 0 h 40"/>
                <a:gd name="T80" fmla="*/ 11 w 44"/>
                <a:gd name="T81" fmla="*/ 0 h 40"/>
                <a:gd name="T82" fmla="*/ 11 w 44"/>
                <a:gd name="T83" fmla="*/ 3 h 40"/>
                <a:gd name="T84" fmla="*/ 11 w 44"/>
                <a:gd name="T85" fmla="*/ 3 h 40"/>
                <a:gd name="T86" fmla="*/ 9 w 44"/>
                <a:gd name="T87" fmla="*/ 5 h 40"/>
                <a:gd name="T88" fmla="*/ 11 w 44"/>
                <a:gd name="T89" fmla="*/ 7 h 40"/>
                <a:gd name="T90" fmla="*/ 11 w 44"/>
                <a:gd name="T91" fmla="*/ 10 h 40"/>
                <a:gd name="T92" fmla="*/ 9 w 44"/>
                <a:gd name="T93" fmla="*/ 12 h 40"/>
                <a:gd name="T94" fmla="*/ 9 w 44"/>
                <a:gd name="T95"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40">
                  <a:moveTo>
                    <a:pt x="9" y="12"/>
                  </a:moveTo>
                  <a:lnTo>
                    <a:pt x="7" y="17"/>
                  </a:lnTo>
                  <a:lnTo>
                    <a:pt x="7" y="19"/>
                  </a:lnTo>
                  <a:lnTo>
                    <a:pt x="2" y="19"/>
                  </a:lnTo>
                  <a:lnTo>
                    <a:pt x="2" y="24"/>
                  </a:lnTo>
                  <a:lnTo>
                    <a:pt x="0" y="26"/>
                  </a:lnTo>
                  <a:lnTo>
                    <a:pt x="4" y="31"/>
                  </a:lnTo>
                  <a:lnTo>
                    <a:pt x="7" y="36"/>
                  </a:lnTo>
                  <a:lnTo>
                    <a:pt x="11" y="38"/>
                  </a:lnTo>
                  <a:lnTo>
                    <a:pt x="14" y="33"/>
                  </a:lnTo>
                  <a:lnTo>
                    <a:pt x="16" y="31"/>
                  </a:lnTo>
                  <a:lnTo>
                    <a:pt x="26" y="28"/>
                  </a:lnTo>
                  <a:lnTo>
                    <a:pt x="30" y="33"/>
                  </a:lnTo>
                  <a:lnTo>
                    <a:pt x="30" y="33"/>
                  </a:lnTo>
                  <a:lnTo>
                    <a:pt x="30" y="40"/>
                  </a:lnTo>
                  <a:lnTo>
                    <a:pt x="30" y="40"/>
                  </a:lnTo>
                  <a:lnTo>
                    <a:pt x="33" y="40"/>
                  </a:lnTo>
                  <a:lnTo>
                    <a:pt x="37" y="38"/>
                  </a:lnTo>
                  <a:lnTo>
                    <a:pt x="37" y="36"/>
                  </a:lnTo>
                  <a:lnTo>
                    <a:pt x="42" y="33"/>
                  </a:lnTo>
                  <a:lnTo>
                    <a:pt x="42" y="31"/>
                  </a:lnTo>
                  <a:lnTo>
                    <a:pt x="42" y="28"/>
                  </a:lnTo>
                  <a:lnTo>
                    <a:pt x="40" y="26"/>
                  </a:lnTo>
                  <a:lnTo>
                    <a:pt x="42" y="28"/>
                  </a:lnTo>
                  <a:lnTo>
                    <a:pt x="44" y="26"/>
                  </a:lnTo>
                  <a:lnTo>
                    <a:pt x="42" y="21"/>
                  </a:lnTo>
                  <a:lnTo>
                    <a:pt x="40" y="21"/>
                  </a:lnTo>
                  <a:lnTo>
                    <a:pt x="35" y="21"/>
                  </a:lnTo>
                  <a:lnTo>
                    <a:pt x="37" y="19"/>
                  </a:lnTo>
                  <a:lnTo>
                    <a:pt x="37" y="12"/>
                  </a:lnTo>
                  <a:lnTo>
                    <a:pt x="35" y="10"/>
                  </a:lnTo>
                  <a:lnTo>
                    <a:pt x="33" y="5"/>
                  </a:lnTo>
                  <a:lnTo>
                    <a:pt x="28" y="5"/>
                  </a:lnTo>
                  <a:lnTo>
                    <a:pt x="21" y="7"/>
                  </a:lnTo>
                  <a:lnTo>
                    <a:pt x="18" y="7"/>
                  </a:lnTo>
                  <a:lnTo>
                    <a:pt x="16" y="10"/>
                  </a:lnTo>
                  <a:lnTo>
                    <a:pt x="14" y="7"/>
                  </a:lnTo>
                  <a:lnTo>
                    <a:pt x="18" y="5"/>
                  </a:lnTo>
                  <a:lnTo>
                    <a:pt x="16" y="3"/>
                  </a:lnTo>
                  <a:lnTo>
                    <a:pt x="14" y="0"/>
                  </a:lnTo>
                  <a:lnTo>
                    <a:pt x="11" y="0"/>
                  </a:lnTo>
                  <a:lnTo>
                    <a:pt x="11" y="3"/>
                  </a:lnTo>
                  <a:lnTo>
                    <a:pt x="11" y="3"/>
                  </a:lnTo>
                  <a:lnTo>
                    <a:pt x="9" y="5"/>
                  </a:lnTo>
                  <a:lnTo>
                    <a:pt x="11" y="7"/>
                  </a:lnTo>
                  <a:lnTo>
                    <a:pt x="11" y="10"/>
                  </a:lnTo>
                  <a:lnTo>
                    <a:pt x="9" y="12"/>
                  </a:lnTo>
                  <a:lnTo>
                    <a:pt x="9" y="12"/>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4" name="Freeform 826">
              <a:extLst>
                <a:ext uri="{FF2B5EF4-FFF2-40B4-BE49-F238E27FC236}">
                  <a16:creationId xmlns:a16="http://schemas.microsoft.com/office/drawing/2014/main" id="{395DF68B-593D-4A2B-9080-B99B16C73E40}"/>
                </a:ext>
              </a:extLst>
            </p:cNvPr>
            <p:cNvSpPr>
              <a:spLocks/>
            </p:cNvSpPr>
            <p:nvPr/>
          </p:nvSpPr>
          <p:spPr bwMode="auto">
            <a:xfrm>
              <a:off x="1058118" y="2692365"/>
              <a:ext cx="69850" cy="63500"/>
            </a:xfrm>
            <a:custGeom>
              <a:avLst/>
              <a:gdLst>
                <a:gd name="T0" fmla="*/ 9 w 44"/>
                <a:gd name="T1" fmla="*/ 12 h 40"/>
                <a:gd name="T2" fmla="*/ 7 w 44"/>
                <a:gd name="T3" fmla="*/ 17 h 40"/>
                <a:gd name="T4" fmla="*/ 7 w 44"/>
                <a:gd name="T5" fmla="*/ 19 h 40"/>
                <a:gd name="T6" fmla="*/ 2 w 44"/>
                <a:gd name="T7" fmla="*/ 19 h 40"/>
                <a:gd name="T8" fmla="*/ 2 w 44"/>
                <a:gd name="T9" fmla="*/ 24 h 40"/>
                <a:gd name="T10" fmla="*/ 0 w 44"/>
                <a:gd name="T11" fmla="*/ 26 h 40"/>
                <a:gd name="T12" fmla="*/ 4 w 44"/>
                <a:gd name="T13" fmla="*/ 31 h 40"/>
                <a:gd name="T14" fmla="*/ 7 w 44"/>
                <a:gd name="T15" fmla="*/ 36 h 40"/>
                <a:gd name="T16" fmla="*/ 11 w 44"/>
                <a:gd name="T17" fmla="*/ 38 h 40"/>
                <a:gd name="T18" fmla="*/ 14 w 44"/>
                <a:gd name="T19" fmla="*/ 33 h 40"/>
                <a:gd name="T20" fmla="*/ 16 w 44"/>
                <a:gd name="T21" fmla="*/ 31 h 40"/>
                <a:gd name="T22" fmla="*/ 26 w 44"/>
                <a:gd name="T23" fmla="*/ 28 h 40"/>
                <a:gd name="T24" fmla="*/ 30 w 44"/>
                <a:gd name="T25" fmla="*/ 33 h 40"/>
                <a:gd name="T26" fmla="*/ 30 w 44"/>
                <a:gd name="T27" fmla="*/ 33 h 40"/>
                <a:gd name="T28" fmla="*/ 30 w 44"/>
                <a:gd name="T29" fmla="*/ 40 h 40"/>
                <a:gd name="T30" fmla="*/ 30 w 44"/>
                <a:gd name="T31" fmla="*/ 40 h 40"/>
                <a:gd name="T32" fmla="*/ 33 w 44"/>
                <a:gd name="T33" fmla="*/ 40 h 40"/>
                <a:gd name="T34" fmla="*/ 37 w 44"/>
                <a:gd name="T35" fmla="*/ 38 h 40"/>
                <a:gd name="T36" fmla="*/ 37 w 44"/>
                <a:gd name="T37" fmla="*/ 36 h 40"/>
                <a:gd name="T38" fmla="*/ 42 w 44"/>
                <a:gd name="T39" fmla="*/ 33 h 40"/>
                <a:gd name="T40" fmla="*/ 42 w 44"/>
                <a:gd name="T41" fmla="*/ 31 h 40"/>
                <a:gd name="T42" fmla="*/ 42 w 44"/>
                <a:gd name="T43" fmla="*/ 28 h 40"/>
                <a:gd name="T44" fmla="*/ 40 w 44"/>
                <a:gd name="T45" fmla="*/ 26 h 40"/>
                <a:gd name="T46" fmla="*/ 42 w 44"/>
                <a:gd name="T47" fmla="*/ 28 h 40"/>
                <a:gd name="T48" fmla="*/ 44 w 44"/>
                <a:gd name="T49" fmla="*/ 26 h 40"/>
                <a:gd name="T50" fmla="*/ 42 w 44"/>
                <a:gd name="T51" fmla="*/ 21 h 40"/>
                <a:gd name="T52" fmla="*/ 40 w 44"/>
                <a:gd name="T53" fmla="*/ 21 h 40"/>
                <a:gd name="T54" fmla="*/ 35 w 44"/>
                <a:gd name="T55" fmla="*/ 21 h 40"/>
                <a:gd name="T56" fmla="*/ 37 w 44"/>
                <a:gd name="T57" fmla="*/ 19 h 40"/>
                <a:gd name="T58" fmla="*/ 37 w 44"/>
                <a:gd name="T59" fmla="*/ 12 h 40"/>
                <a:gd name="T60" fmla="*/ 35 w 44"/>
                <a:gd name="T61" fmla="*/ 10 h 40"/>
                <a:gd name="T62" fmla="*/ 33 w 44"/>
                <a:gd name="T63" fmla="*/ 5 h 40"/>
                <a:gd name="T64" fmla="*/ 28 w 44"/>
                <a:gd name="T65" fmla="*/ 5 h 40"/>
                <a:gd name="T66" fmla="*/ 21 w 44"/>
                <a:gd name="T67" fmla="*/ 7 h 40"/>
                <a:gd name="T68" fmla="*/ 18 w 44"/>
                <a:gd name="T69" fmla="*/ 7 h 40"/>
                <a:gd name="T70" fmla="*/ 16 w 44"/>
                <a:gd name="T71" fmla="*/ 10 h 40"/>
                <a:gd name="T72" fmla="*/ 14 w 44"/>
                <a:gd name="T73" fmla="*/ 7 h 40"/>
                <a:gd name="T74" fmla="*/ 18 w 44"/>
                <a:gd name="T75" fmla="*/ 5 h 40"/>
                <a:gd name="T76" fmla="*/ 16 w 44"/>
                <a:gd name="T77" fmla="*/ 3 h 40"/>
                <a:gd name="T78" fmla="*/ 14 w 44"/>
                <a:gd name="T79" fmla="*/ 0 h 40"/>
                <a:gd name="T80" fmla="*/ 11 w 44"/>
                <a:gd name="T81" fmla="*/ 0 h 40"/>
                <a:gd name="T82" fmla="*/ 11 w 44"/>
                <a:gd name="T83" fmla="*/ 3 h 40"/>
                <a:gd name="T84" fmla="*/ 11 w 44"/>
                <a:gd name="T85" fmla="*/ 3 h 40"/>
                <a:gd name="T86" fmla="*/ 9 w 44"/>
                <a:gd name="T87" fmla="*/ 5 h 40"/>
                <a:gd name="T88" fmla="*/ 11 w 44"/>
                <a:gd name="T89" fmla="*/ 7 h 40"/>
                <a:gd name="T90" fmla="*/ 11 w 44"/>
                <a:gd name="T91" fmla="*/ 10 h 40"/>
                <a:gd name="T92" fmla="*/ 9 w 44"/>
                <a:gd name="T93" fmla="*/ 12 h 40"/>
                <a:gd name="T94" fmla="*/ 9 w 44"/>
                <a:gd name="T95"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40">
                  <a:moveTo>
                    <a:pt x="9" y="12"/>
                  </a:moveTo>
                  <a:lnTo>
                    <a:pt x="7" y="17"/>
                  </a:lnTo>
                  <a:lnTo>
                    <a:pt x="7" y="19"/>
                  </a:lnTo>
                  <a:lnTo>
                    <a:pt x="2" y="19"/>
                  </a:lnTo>
                  <a:lnTo>
                    <a:pt x="2" y="24"/>
                  </a:lnTo>
                  <a:lnTo>
                    <a:pt x="0" y="26"/>
                  </a:lnTo>
                  <a:lnTo>
                    <a:pt x="4" y="31"/>
                  </a:lnTo>
                  <a:lnTo>
                    <a:pt x="7" y="36"/>
                  </a:lnTo>
                  <a:lnTo>
                    <a:pt x="11" y="38"/>
                  </a:lnTo>
                  <a:lnTo>
                    <a:pt x="14" y="33"/>
                  </a:lnTo>
                  <a:lnTo>
                    <a:pt x="16" y="31"/>
                  </a:lnTo>
                  <a:lnTo>
                    <a:pt x="26" y="28"/>
                  </a:lnTo>
                  <a:lnTo>
                    <a:pt x="30" y="33"/>
                  </a:lnTo>
                  <a:lnTo>
                    <a:pt x="30" y="33"/>
                  </a:lnTo>
                  <a:lnTo>
                    <a:pt x="30" y="40"/>
                  </a:lnTo>
                  <a:lnTo>
                    <a:pt x="30" y="40"/>
                  </a:lnTo>
                  <a:lnTo>
                    <a:pt x="33" y="40"/>
                  </a:lnTo>
                  <a:lnTo>
                    <a:pt x="37" y="38"/>
                  </a:lnTo>
                  <a:lnTo>
                    <a:pt x="37" y="36"/>
                  </a:lnTo>
                  <a:lnTo>
                    <a:pt x="42" y="33"/>
                  </a:lnTo>
                  <a:lnTo>
                    <a:pt x="42" y="31"/>
                  </a:lnTo>
                  <a:lnTo>
                    <a:pt x="42" y="28"/>
                  </a:lnTo>
                  <a:lnTo>
                    <a:pt x="40" y="26"/>
                  </a:lnTo>
                  <a:lnTo>
                    <a:pt x="42" y="28"/>
                  </a:lnTo>
                  <a:lnTo>
                    <a:pt x="44" y="26"/>
                  </a:lnTo>
                  <a:lnTo>
                    <a:pt x="42" y="21"/>
                  </a:lnTo>
                  <a:lnTo>
                    <a:pt x="40" y="21"/>
                  </a:lnTo>
                  <a:lnTo>
                    <a:pt x="35" y="21"/>
                  </a:lnTo>
                  <a:lnTo>
                    <a:pt x="37" y="19"/>
                  </a:lnTo>
                  <a:lnTo>
                    <a:pt x="37" y="12"/>
                  </a:lnTo>
                  <a:lnTo>
                    <a:pt x="35" y="10"/>
                  </a:lnTo>
                  <a:lnTo>
                    <a:pt x="33" y="5"/>
                  </a:lnTo>
                  <a:lnTo>
                    <a:pt x="28" y="5"/>
                  </a:lnTo>
                  <a:lnTo>
                    <a:pt x="21" y="7"/>
                  </a:lnTo>
                  <a:lnTo>
                    <a:pt x="18" y="7"/>
                  </a:lnTo>
                  <a:lnTo>
                    <a:pt x="16" y="10"/>
                  </a:lnTo>
                  <a:lnTo>
                    <a:pt x="14" y="7"/>
                  </a:lnTo>
                  <a:lnTo>
                    <a:pt x="18" y="5"/>
                  </a:lnTo>
                  <a:lnTo>
                    <a:pt x="16" y="3"/>
                  </a:lnTo>
                  <a:lnTo>
                    <a:pt x="14" y="0"/>
                  </a:lnTo>
                  <a:lnTo>
                    <a:pt x="11" y="0"/>
                  </a:lnTo>
                  <a:lnTo>
                    <a:pt x="11" y="3"/>
                  </a:lnTo>
                  <a:lnTo>
                    <a:pt x="11" y="3"/>
                  </a:lnTo>
                  <a:lnTo>
                    <a:pt x="9" y="5"/>
                  </a:lnTo>
                  <a:lnTo>
                    <a:pt x="11" y="7"/>
                  </a:lnTo>
                  <a:lnTo>
                    <a:pt x="11" y="10"/>
                  </a:lnTo>
                  <a:lnTo>
                    <a:pt x="9" y="12"/>
                  </a:lnTo>
                  <a:lnTo>
                    <a:pt x="9" y="12"/>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5" name="Freeform 827">
              <a:extLst>
                <a:ext uri="{FF2B5EF4-FFF2-40B4-BE49-F238E27FC236}">
                  <a16:creationId xmlns:a16="http://schemas.microsoft.com/office/drawing/2014/main" id="{9DD39A49-6D90-4541-897A-B10CCF509876}"/>
                </a:ext>
              </a:extLst>
            </p:cNvPr>
            <p:cNvSpPr>
              <a:spLocks/>
            </p:cNvSpPr>
            <p:nvPr/>
          </p:nvSpPr>
          <p:spPr bwMode="auto">
            <a:xfrm>
              <a:off x="1416892" y="1698588"/>
              <a:ext cx="720724" cy="858838"/>
            </a:xfrm>
            <a:custGeom>
              <a:avLst/>
              <a:gdLst>
                <a:gd name="T0" fmla="*/ 430 w 454"/>
                <a:gd name="T1" fmla="*/ 69 h 541"/>
                <a:gd name="T2" fmla="*/ 418 w 454"/>
                <a:gd name="T3" fmla="*/ 50 h 541"/>
                <a:gd name="T4" fmla="*/ 430 w 454"/>
                <a:gd name="T5" fmla="*/ 24 h 541"/>
                <a:gd name="T6" fmla="*/ 409 w 454"/>
                <a:gd name="T7" fmla="*/ 21 h 541"/>
                <a:gd name="T8" fmla="*/ 400 w 454"/>
                <a:gd name="T9" fmla="*/ 14 h 541"/>
                <a:gd name="T10" fmla="*/ 385 w 454"/>
                <a:gd name="T11" fmla="*/ 21 h 541"/>
                <a:gd name="T12" fmla="*/ 374 w 454"/>
                <a:gd name="T13" fmla="*/ 10 h 541"/>
                <a:gd name="T14" fmla="*/ 350 w 454"/>
                <a:gd name="T15" fmla="*/ 36 h 541"/>
                <a:gd name="T16" fmla="*/ 340 w 454"/>
                <a:gd name="T17" fmla="*/ 7 h 541"/>
                <a:gd name="T18" fmla="*/ 319 w 454"/>
                <a:gd name="T19" fmla="*/ 50 h 541"/>
                <a:gd name="T20" fmla="*/ 300 w 454"/>
                <a:gd name="T21" fmla="*/ 47 h 541"/>
                <a:gd name="T22" fmla="*/ 296 w 454"/>
                <a:gd name="T23" fmla="*/ 57 h 541"/>
                <a:gd name="T24" fmla="*/ 277 w 454"/>
                <a:gd name="T25" fmla="*/ 64 h 541"/>
                <a:gd name="T26" fmla="*/ 267 w 454"/>
                <a:gd name="T27" fmla="*/ 66 h 541"/>
                <a:gd name="T28" fmla="*/ 253 w 454"/>
                <a:gd name="T29" fmla="*/ 92 h 541"/>
                <a:gd name="T30" fmla="*/ 229 w 454"/>
                <a:gd name="T31" fmla="*/ 90 h 541"/>
                <a:gd name="T32" fmla="*/ 222 w 454"/>
                <a:gd name="T33" fmla="*/ 114 h 541"/>
                <a:gd name="T34" fmla="*/ 201 w 454"/>
                <a:gd name="T35" fmla="*/ 130 h 541"/>
                <a:gd name="T36" fmla="*/ 201 w 454"/>
                <a:gd name="T37" fmla="*/ 135 h 541"/>
                <a:gd name="T38" fmla="*/ 185 w 454"/>
                <a:gd name="T39" fmla="*/ 149 h 541"/>
                <a:gd name="T40" fmla="*/ 177 w 454"/>
                <a:gd name="T41" fmla="*/ 173 h 541"/>
                <a:gd name="T42" fmla="*/ 163 w 454"/>
                <a:gd name="T43" fmla="*/ 187 h 541"/>
                <a:gd name="T44" fmla="*/ 144 w 454"/>
                <a:gd name="T45" fmla="*/ 215 h 541"/>
                <a:gd name="T46" fmla="*/ 137 w 454"/>
                <a:gd name="T47" fmla="*/ 234 h 541"/>
                <a:gd name="T48" fmla="*/ 133 w 454"/>
                <a:gd name="T49" fmla="*/ 253 h 541"/>
                <a:gd name="T50" fmla="*/ 123 w 454"/>
                <a:gd name="T51" fmla="*/ 272 h 541"/>
                <a:gd name="T52" fmla="*/ 114 w 454"/>
                <a:gd name="T53" fmla="*/ 286 h 541"/>
                <a:gd name="T54" fmla="*/ 97 w 454"/>
                <a:gd name="T55" fmla="*/ 307 h 541"/>
                <a:gd name="T56" fmla="*/ 102 w 454"/>
                <a:gd name="T57" fmla="*/ 336 h 541"/>
                <a:gd name="T58" fmla="*/ 90 w 454"/>
                <a:gd name="T59" fmla="*/ 347 h 541"/>
                <a:gd name="T60" fmla="*/ 71 w 454"/>
                <a:gd name="T61" fmla="*/ 350 h 541"/>
                <a:gd name="T62" fmla="*/ 52 w 454"/>
                <a:gd name="T63" fmla="*/ 357 h 541"/>
                <a:gd name="T64" fmla="*/ 43 w 454"/>
                <a:gd name="T65" fmla="*/ 376 h 541"/>
                <a:gd name="T66" fmla="*/ 24 w 454"/>
                <a:gd name="T67" fmla="*/ 385 h 541"/>
                <a:gd name="T68" fmla="*/ 17 w 454"/>
                <a:gd name="T69" fmla="*/ 399 h 541"/>
                <a:gd name="T70" fmla="*/ 17 w 454"/>
                <a:gd name="T71" fmla="*/ 406 h 541"/>
                <a:gd name="T72" fmla="*/ 5 w 454"/>
                <a:gd name="T73" fmla="*/ 416 h 541"/>
                <a:gd name="T74" fmla="*/ 24 w 454"/>
                <a:gd name="T75" fmla="*/ 430 h 541"/>
                <a:gd name="T76" fmla="*/ 40 w 454"/>
                <a:gd name="T77" fmla="*/ 430 h 541"/>
                <a:gd name="T78" fmla="*/ 17 w 454"/>
                <a:gd name="T79" fmla="*/ 435 h 541"/>
                <a:gd name="T80" fmla="*/ 0 w 454"/>
                <a:gd name="T81" fmla="*/ 447 h 541"/>
                <a:gd name="T82" fmla="*/ 10 w 454"/>
                <a:gd name="T83" fmla="*/ 466 h 541"/>
                <a:gd name="T84" fmla="*/ 26 w 454"/>
                <a:gd name="T85" fmla="*/ 454 h 541"/>
                <a:gd name="T86" fmla="*/ 12 w 454"/>
                <a:gd name="T87" fmla="*/ 480 h 541"/>
                <a:gd name="T88" fmla="*/ 5 w 454"/>
                <a:gd name="T89" fmla="*/ 496 h 541"/>
                <a:gd name="T90" fmla="*/ 19 w 454"/>
                <a:gd name="T91" fmla="*/ 499 h 541"/>
                <a:gd name="T92" fmla="*/ 26 w 454"/>
                <a:gd name="T93" fmla="*/ 534 h 541"/>
                <a:gd name="T94" fmla="*/ 59 w 454"/>
                <a:gd name="T95" fmla="*/ 532 h 541"/>
                <a:gd name="T96" fmla="*/ 92 w 454"/>
                <a:gd name="T97" fmla="*/ 494 h 541"/>
                <a:gd name="T98" fmla="*/ 95 w 454"/>
                <a:gd name="T99" fmla="*/ 480 h 541"/>
                <a:gd name="T100" fmla="*/ 107 w 454"/>
                <a:gd name="T101" fmla="*/ 513 h 541"/>
                <a:gd name="T102" fmla="*/ 126 w 454"/>
                <a:gd name="T103" fmla="*/ 444 h 541"/>
                <a:gd name="T104" fmla="*/ 123 w 454"/>
                <a:gd name="T105" fmla="*/ 378 h 541"/>
                <a:gd name="T106" fmla="*/ 154 w 454"/>
                <a:gd name="T107" fmla="*/ 324 h 541"/>
                <a:gd name="T108" fmla="*/ 173 w 454"/>
                <a:gd name="T109" fmla="*/ 239 h 541"/>
                <a:gd name="T110" fmla="*/ 201 w 454"/>
                <a:gd name="T111" fmla="*/ 170 h 541"/>
                <a:gd name="T112" fmla="*/ 232 w 454"/>
                <a:gd name="T113" fmla="*/ 128 h 541"/>
                <a:gd name="T114" fmla="*/ 263 w 454"/>
                <a:gd name="T115" fmla="*/ 104 h 541"/>
                <a:gd name="T116" fmla="*/ 303 w 454"/>
                <a:gd name="T117" fmla="*/ 118 h 541"/>
                <a:gd name="T118" fmla="*/ 362 w 454"/>
                <a:gd name="T119" fmla="*/ 102 h 541"/>
                <a:gd name="T120" fmla="*/ 421 w 454"/>
                <a:gd name="T121" fmla="*/ 71 h 541"/>
                <a:gd name="T122" fmla="*/ 440 w 454"/>
                <a:gd name="T123" fmla="*/ 76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4" h="541">
                  <a:moveTo>
                    <a:pt x="451" y="69"/>
                  </a:moveTo>
                  <a:lnTo>
                    <a:pt x="444" y="66"/>
                  </a:lnTo>
                  <a:lnTo>
                    <a:pt x="442" y="73"/>
                  </a:lnTo>
                  <a:lnTo>
                    <a:pt x="442" y="73"/>
                  </a:lnTo>
                  <a:lnTo>
                    <a:pt x="442" y="73"/>
                  </a:lnTo>
                  <a:lnTo>
                    <a:pt x="437" y="71"/>
                  </a:lnTo>
                  <a:lnTo>
                    <a:pt x="437" y="69"/>
                  </a:lnTo>
                  <a:lnTo>
                    <a:pt x="437" y="73"/>
                  </a:lnTo>
                  <a:lnTo>
                    <a:pt x="437" y="73"/>
                  </a:lnTo>
                  <a:lnTo>
                    <a:pt x="435" y="71"/>
                  </a:lnTo>
                  <a:lnTo>
                    <a:pt x="430" y="71"/>
                  </a:lnTo>
                  <a:lnTo>
                    <a:pt x="428" y="73"/>
                  </a:lnTo>
                  <a:lnTo>
                    <a:pt x="428" y="71"/>
                  </a:lnTo>
                  <a:lnTo>
                    <a:pt x="430" y="69"/>
                  </a:lnTo>
                  <a:lnTo>
                    <a:pt x="433" y="69"/>
                  </a:lnTo>
                  <a:lnTo>
                    <a:pt x="435" y="66"/>
                  </a:lnTo>
                  <a:lnTo>
                    <a:pt x="433" y="64"/>
                  </a:lnTo>
                  <a:lnTo>
                    <a:pt x="433" y="62"/>
                  </a:lnTo>
                  <a:lnTo>
                    <a:pt x="426" y="62"/>
                  </a:lnTo>
                  <a:lnTo>
                    <a:pt x="428" y="62"/>
                  </a:lnTo>
                  <a:lnTo>
                    <a:pt x="426" y="59"/>
                  </a:lnTo>
                  <a:lnTo>
                    <a:pt x="421" y="57"/>
                  </a:lnTo>
                  <a:lnTo>
                    <a:pt x="418" y="52"/>
                  </a:lnTo>
                  <a:lnTo>
                    <a:pt x="414" y="52"/>
                  </a:lnTo>
                  <a:lnTo>
                    <a:pt x="411" y="50"/>
                  </a:lnTo>
                  <a:lnTo>
                    <a:pt x="411" y="50"/>
                  </a:lnTo>
                  <a:lnTo>
                    <a:pt x="411" y="47"/>
                  </a:lnTo>
                  <a:lnTo>
                    <a:pt x="418" y="50"/>
                  </a:lnTo>
                  <a:lnTo>
                    <a:pt x="435" y="52"/>
                  </a:lnTo>
                  <a:lnTo>
                    <a:pt x="447" y="43"/>
                  </a:lnTo>
                  <a:lnTo>
                    <a:pt x="451" y="43"/>
                  </a:lnTo>
                  <a:lnTo>
                    <a:pt x="454" y="40"/>
                  </a:lnTo>
                  <a:lnTo>
                    <a:pt x="451" y="36"/>
                  </a:lnTo>
                  <a:lnTo>
                    <a:pt x="449" y="33"/>
                  </a:lnTo>
                  <a:lnTo>
                    <a:pt x="447" y="29"/>
                  </a:lnTo>
                  <a:lnTo>
                    <a:pt x="440" y="29"/>
                  </a:lnTo>
                  <a:lnTo>
                    <a:pt x="437" y="29"/>
                  </a:lnTo>
                  <a:lnTo>
                    <a:pt x="442" y="26"/>
                  </a:lnTo>
                  <a:lnTo>
                    <a:pt x="435" y="24"/>
                  </a:lnTo>
                  <a:lnTo>
                    <a:pt x="435" y="19"/>
                  </a:lnTo>
                  <a:lnTo>
                    <a:pt x="433" y="24"/>
                  </a:lnTo>
                  <a:lnTo>
                    <a:pt x="430" y="24"/>
                  </a:lnTo>
                  <a:lnTo>
                    <a:pt x="430" y="21"/>
                  </a:lnTo>
                  <a:lnTo>
                    <a:pt x="430" y="19"/>
                  </a:lnTo>
                  <a:lnTo>
                    <a:pt x="423" y="21"/>
                  </a:lnTo>
                  <a:lnTo>
                    <a:pt x="423" y="21"/>
                  </a:lnTo>
                  <a:lnTo>
                    <a:pt x="423" y="21"/>
                  </a:lnTo>
                  <a:lnTo>
                    <a:pt x="423" y="19"/>
                  </a:lnTo>
                  <a:lnTo>
                    <a:pt x="423" y="17"/>
                  </a:lnTo>
                  <a:lnTo>
                    <a:pt x="421" y="14"/>
                  </a:lnTo>
                  <a:lnTo>
                    <a:pt x="421" y="12"/>
                  </a:lnTo>
                  <a:lnTo>
                    <a:pt x="418" y="14"/>
                  </a:lnTo>
                  <a:lnTo>
                    <a:pt x="416" y="12"/>
                  </a:lnTo>
                  <a:lnTo>
                    <a:pt x="414" y="12"/>
                  </a:lnTo>
                  <a:lnTo>
                    <a:pt x="411" y="19"/>
                  </a:lnTo>
                  <a:lnTo>
                    <a:pt x="409" y="21"/>
                  </a:lnTo>
                  <a:lnTo>
                    <a:pt x="409" y="29"/>
                  </a:lnTo>
                  <a:lnTo>
                    <a:pt x="411" y="33"/>
                  </a:lnTo>
                  <a:lnTo>
                    <a:pt x="407" y="36"/>
                  </a:lnTo>
                  <a:lnTo>
                    <a:pt x="404" y="33"/>
                  </a:lnTo>
                  <a:lnTo>
                    <a:pt x="400" y="33"/>
                  </a:lnTo>
                  <a:lnTo>
                    <a:pt x="400" y="31"/>
                  </a:lnTo>
                  <a:lnTo>
                    <a:pt x="402" y="29"/>
                  </a:lnTo>
                  <a:lnTo>
                    <a:pt x="404" y="24"/>
                  </a:lnTo>
                  <a:lnTo>
                    <a:pt x="404" y="21"/>
                  </a:lnTo>
                  <a:lnTo>
                    <a:pt x="400" y="24"/>
                  </a:lnTo>
                  <a:lnTo>
                    <a:pt x="395" y="24"/>
                  </a:lnTo>
                  <a:lnTo>
                    <a:pt x="400" y="21"/>
                  </a:lnTo>
                  <a:lnTo>
                    <a:pt x="397" y="17"/>
                  </a:lnTo>
                  <a:lnTo>
                    <a:pt x="400" y="14"/>
                  </a:lnTo>
                  <a:lnTo>
                    <a:pt x="404" y="17"/>
                  </a:lnTo>
                  <a:lnTo>
                    <a:pt x="407" y="12"/>
                  </a:lnTo>
                  <a:lnTo>
                    <a:pt x="409" y="7"/>
                  </a:lnTo>
                  <a:lnTo>
                    <a:pt x="404" y="7"/>
                  </a:lnTo>
                  <a:lnTo>
                    <a:pt x="404" y="3"/>
                  </a:lnTo>
                  <a:lnTo>
                    <a:pt x="402" y="0"/>
                  </a:lnTo>
                  <a:lnTo>
                    <a:pt x="400" y="0"/>
                  </a:lnTo>
                  <a:lnTo>
                    <a:pt x="397" y="5"/>
                  </a:lnTo>
                  <a:lnTo>
                    <a:pt x="392" y="0"/>
                  </a:lnTo>
                  <a:lnTo>
                    <a:pt x="392" y="5"/>
                  </a:lnTo>
                  <a:lnTo>
                    <a:pt x="390" y="12"/>
                  </a:lnTo>
                  <a:lnTo>
                    <a:pt x="390" y="17"/>
                  </a:lnTo>
                  <a:lnTo>
                    <a:pt x="388" y="19"/>
                  </a:lnTo>
                  <a:lnTo>
                    <a:pt x="385" y="21"/>
                  </a:lnTo>
                  <a:lnTo>
                    <a:pt x="388" y="24"/>
                  </a:lnTo>
                  <a:lnTo>
                    <a:pt x="385" y="26"/>
                  </a:lnTo>
                  <a:lnTo>
                    <a:pt x="383" y="29"/>
                  </a:lnTo>
                  <a:lnTo>
                    <a:pt x="383" y="33"/>
                  </a:lnTo>
                  <a:lnTo>
                    <a:pt x="381" y="33"/>
                  </a:lnTo>
                  <a:lnTo>
                    <a:pt x="376" y="38"/>
                  </a:lnTo>
                  <a:lnTo>
                    <a:pt x="376" y="33"/>
                  </a:lnTo>
                  <a:lnTo>
                    <a:pt x="378" y="26"/>
                  </a:lnTo>
                  <a:lnTo>
                    <a:pt x="374" y="21"/>
                  </a:lnTo>
                  <a:lnTo>
                    <a:pt x="376" y="19"/>
                  </a:lnTo>
                  <a:lnTo>
                    <a:pt x="378" y="12"/>
                  </a:lnTo>
                  <a:lnTo>
                    <a:pt x="376" y="10"/>
                  </a:lnTo>
                  <a:lnTo>
                    <a:pt x="376" y="10"/>
                  </a:lnTo>
                  <a:lnTo>
                    <a:pt x="374" y="10"/>
                  </a:lnTo>
                  <a:lnTo>
                    <a:pt x="362" y="29"/>
                  </a:lnTo>
                  <a:lnTo>
                    <a:pt x="359" y="31"/>
                  </a:lnTo>
                  <a:lnTo>
                    <a:pt x="359" y="36"/>
                  </a:lnTo>
                  <a:lnTo>
                    <a:pt x="355" y="38"/>
                  </a:lnTo>
                  <a:lnTo>
                    <a:pt x="355" y="45"/>
                  </a:lnTo>
                  <a:lnTo>
                    <a:pt x="357" y="43"/>
                  </a:lnTo>
                  <a:lnTo>
                    <a:pt x="350" y="55"/>
                  </a:lnTo>
                  <a:lnTo>
                    <a:pt x="348" y="55"/>
                  </a:lnTo>
                  <a:lnTo>
                    <a:pt x="348" y="50"/>
                  </a:lnTo>
                  <a:lnTo>
                    <a:pt x="348" y="47"/>
                  </a:lnTo>
                  <a:lnTo>
                    <a:pt x="348" y="45"/>
                  </a:lnTo>
                  <a:lnTo>
                    <a:pt x="350" y="43"/>
                  </a:lnTo>
                  <a:lnTo>
                    <a:pt x="350" y="40"/>
                  </a:lnTo>
                  <a:lnTo>
                    <a:pt x="350" y="36"/>
                  </a:lnTo>
                  <a:lnTo>
                    <a:pt x="350" y="33"/>
                  </a:lnTo>
                  <a:lnTo>
                    <a:pt x="352" y="29"/>
                  </a:lnTo>
                  <a:lnTo>
                    <a:pt x="359" y="19"/>
                  </a:lnTo>
                  <a:lnTo>
                    <a:pt x="362" y="14"/>
                  </a:lnTo>
                  <a:lnTo>
                    <a:pt x="359" y="12"/>
                  </a:lnTo>
                  <a:lnTo>
                    <a:pt x="355" y="14"/>
                  </a:lnTo>
                  <a:lnTo>
                    <a:pt x="352" y="17"/>
                  </a:lnTo>
                  <a:lnTo>
                    <a:pt x="350" y="12"/>
                  </a:lnTo>
                  <a:lnTo>
                    <a:pt x="350" y="10"/>
                  </a:lnTo>
                  <a:lnTo>
                    <a:pt x="348" y="10"/>
                  </a:lnTo>
                  <a:lnTo>
                    <a:pt x="348" y="7"/>
                  </a:lnTo>
                  <a:lnTo>
                    <a:pt x="345" y="10"/>
                  </a:lnTo>
                  <a:lnTo>
                    <a:pt x="343" y="7"/>
                  </a:lnTo>
                  <a:lnTo>
                    <a:pt x="340" y="7"/>
                  </a:lnTo>
                  <a:lnTo>
                    <a:pt x="340" y="17"/>
                  </a:lnTo>
                  <a:lnTo>
                    <a:pt x="336" y="14"/>
                  </a:lnTo>
                  <a:lnTo>
                    <a:pt x="338" y="19"/>
                  </a:lnTo>
                  <a:lnTo>
                    <a:pt x="340" y="21"/>
                  </a:lnTo>
                  <a:lnTo>
                    <a:pt x="340" y="24"/>
                  </a:lnTo>
                  <a:lnTo>
                    <a:pt x="336" y="26"/>
                  </a:lnTo>
                  <a:lnTo>
                    <a:pt x="333" y="29"/>
                  </a:lnTo>
                  <a:lnTo>
                    <a:pt x="336" y="33"/>
                  </a:lnTo>
                  <a:lnTo>
                    <a:pt x="329" y="33"/>
                  </a:lnTo>
                  <a:lnTo>
                    <a:pt x="324" y="38"/>
                  </a:lnTo>
                  <a:lnTo>
                    <a:pt x="322" y="40"/>
                  </a:lnTo>
                  <a:lnTo>
                    <a:pt x="317" y="45"/>
                  </a:lnTo>
                  <a:lnTo>
                    <a:pt x="317" y="47"/>
                  </a:lnTo>
                  <a:lnTo>
                    <a:pt x="319" y="50"/>
                  </a:lnTo>
                  <a:lnTo>
                    <a:pt x="317" y="55"/>
                  </a:lnTo>
                  <a:lnTo>
                    <a:pt x="317" y="59"/>
                  </a:lnTo>
                  <a:lnTo>
                    <a:pt x="314" y="59"/>
                  </a:lnTo>
                  <a:lnTo>
                    <a:pt x="312" y="57"/>
                  </a:lnTo>
                  <a:lnTo>
                    <a:pt x="312" y="55"/>
                  </a:lnTo>
                  <a:lnTo>
                    <a:pt x="314" y="52"/>
                  </a:lnTo>
                  <a:lnTo>
                    <a:pt x="310" y="52"/>
                  </a:lnTo>
                  <a:lnTo>
                    <a:pt x="312" y="47"/>
                  </a:lnTo>
                  <a:lnTo>
                    <a:pt x="312" y="47"/>
                  </a:lnTo>
                  <a:lnTo>
                    <a:pt x="303" y="47"/>
                  </a:lnTo>
                  <a:lnTo>
                    <a:pt x="303" y="50"/>
                  </a:lnTo>
                  <a:lnTo>
                    <a:pt x="303" y="50"/>
                  </a:lnTo>
                  <a:lnTo>
                    <a:pt x="300" y="50"/>
                  </a:lnTo>
                  <a:lnTo>
                    <a:pt x="300" y="47"/>
                  </a:lnTo>
                  <a:lnTo>
                    <a:pt x="298" y="45"/>
                  </a:lnTo>
                  <a:lnTo>
                    <a:pt x="298" y="45"/>
                  </a:lnTo>
                  <a:lnTo>
                    <a:pt x="296" y="43"/>
                  </a:lnTo>
                  <a:lnTo>
                    <a:pt x="296" y="45"/>
                  </a:lnTo>
                  <a:lnTo>
                    <a:pt x="293" y="43"/>
                  </a:lnTo>
                  <a:lnTo>
                    <a:pt x="293" y="45"/>
                  </a:lnTo>
                  <a:lnTo>
                    <a:pt x="293" y="50"/>
                  </a:lnTo>
                  <a:lnTo>
                    <a:pt x="291" y="47"/>
                  </a:lnTo>
                  <a:lnTo>
                    <a:pt x="289" y="43"/>
                  </a:lnTo>
                  <a:lnTo>
                    <a:pt x="289" y="43"/>
                  </a:lnTo>
                  <a:lnTo>
                    <a:pt x="289" y="50"/>
                  </a:lnTo>
                  <a:lnTo>
                    <a:pt x="293" y="52"/>
                  </a:lnTo>
                  <a:lnTo>
                    <a:pt x="296" y="52"/>
                  </a:lnTo>
                  <a:lnTo>
                    <a:pt x="296" y="57"/>
                  </a:lnTo>
                  <a:lnTo>
                    <a:pt x="296" y="59"/>
                  </a:lnTo>
                  <a:lnTo>
                    <a:pt x="296" y="64"/>
                  </a:lnTo>
                  <a:lnTo>
                    <a:pt x="296" y="66"/>
                  </a:lnTo>
                  <a:lnTo>
                    <a:pt x="296" y="71"/>
                  </a:lnTo>
                  <a:lnTo>
                    <a:pt x="293" y="69"/>
                  </a:lnTo>
                  <a:lnTo>
                    <a:pt x="289" y="62"/>
                  </a:lnTo>
                  <a:lnTo>
                    <a:pt x="284" y="57"/>
                  </a:lnTo>
                  <a:lnTo>
                    <a:pt x="284" y="62"/>
                  </a:lnTo>
                  <a:lnTo>
                    <a:pt x="281" y="62"/>
                  </a:lnTo>
                  <a:lnTo>
                    <a:pt x="281" y="66"/>
                  </a:lnTo>
                  <a:lnTo>
                    <a:pt x="279" y="64"/>
                  </a:lnTo>
                  <a:lnTo>
                    <a:pt x="279" y="66"/>
                  </a:lnTo>
                  <a:lnTo>
                    <a:pt x="277" y="66"/>
                  </a:lnTo>
                  <a:lnTo>
                    <a:pt x="277" y="64"/>
                  </a:lnTo>
                  <a:lnTo>
                    <a:pt x="279" y="62"/>
                  </a:lnTo>
                  <a:lnTo>
                    <a:pt x="277" y="62"/>
                  </a:lnTo>
                  <a:lnTo>
                    <a:pt x="274" y="64"/>
                  </a:lnTo>
                  <a:lnTo>
                    <a:pt x="272" y="69"/>
                  </a:lnTo>
                  <a:lnTo>
                    <a:pt x="270" y="71"/>
                  </a:lnTo>
                  <a:lnTo>
                    <a:pt x="272" y="76"/>
                  </a:lnTo>
                  <a:lnTo>
                    <a:pt x="272" y="76"/>
                  </a:lnTo>
                  <a:lnTo>
                    <a:pt x="267" y="81"/>
                  </a:lnTo>
                  <a:lnTo>
                    <a:pt x="265" y="88"/>
                  </a:lnTo>
                  <a:lnTo>
                    <a:pt x="263" y="90"/>
                  </a:lnTo>
                  <a:lnTo>
                    <a:pt x="265" y="85"/>
                  </a:lnTo>
                  <a:lnTo>
                    <a:pt x="265" y="81"/>
                  </a:lnTo>
                  <a:lnTo>
                    <a:pt x="267" y="73"/>
                  </a:lnTo>
                  <a:lnTo>
                    <a:pt x="267" y="66"/>
                  </a:lnTo>
                  <a:lnTo>
                    <a:pt x="265" y="62"/>
                  </a:lnTo>
                  <a:lnTo>
                    <a:pt x="263" y="62"/>
                  </a:lnTo>
                  <a:lnTo>
                    <a:pt x="260" y="66"/>
                  </a:lnTo>
                  <a:lnTo>
                    <a:pt x="258" y="71"/>
                  </a:lnTo>
                  <a:lnTo>
                    <a:pt x="255" y="78"/>
                  </a:lnTo>
                  <a:lnTo>
                    <a:pt x="255" y="85"/>
                  </a:lnTo>
                  <a:lnTo>
                    <a:pt x="255" y="69"/>
                  </a:lnTo>
                  <a:lnTo>
                    <a:pt x="246" y="69"/>
                  </a:lnTo>
                  <a:lnTo>
                    <a:pt x="244" y="76"/>
                  </a:lnTo>
                  <a:lnTo>
                    <a:pt x="244" y="76"/>
                  </a:lnTo>
                  <a:lnTo>
                    <a:pt x="244" y="83"/>
                  </a:lnTo>
                  <a:lnTo>
                    <a:pt x="246" y="88"/>
                  </a:lnTo>
                  <a:lnTo>
                    <a:pt x="251" y="88"/>
                  </a:lnTo>
                  <a:lnTo>
                    <a:pt x="253" y="92"/>
                  </a:lnTo>
                  <a:lnTo>
                    <a:pt x="251" y="97"/>
                  </a:lnTo>
                  <a:lnTo>
                    <a:pt x="248" y="95"/>
                  </a:lnTo>
                  <a:lnTo>
                    <a:pt x="246" y="90"/>
                  </a:lnTo>
                  <a:lnTo>
                    <a:pt x="244" y="88"/>
                  </a:lnTo>
                  <a:lnTo>
                    <a:pt x="241" y="83"/>
                  </a:lnTo>
                  <a:lnTo>
                    <a:pt x="239" y="81"/>
                  </a:lnTo>
                  <a:lnTo>
                    <a:pt x="234" y="81"/>
                  </a:lnTo>
                  <a:lnTo>
                    <a:pt x="237" y="85"/>
                  </a:lnTo>
                  <a:lnTo>
                    <a:pt x="241" y="90"/>
                  </a:lnTo>
                  <a:lnTo>
                    <a:pt x="237" y="92"/>
                  </a:lnTo>
                  <a:lnTo>
                    <a:pt x="234" y="92"/>
                  </a:lnTo>
                  <a:lnTo>
                    <a:pt x="234" y="92"/>
                  </a:lnTo>
                  <a:lnTo>
                    <a:pt x="232" y="90"/>
                  </a:lnTo>
                  <a:lnTo>
                    <a:pt x="229" y="90"/>
                  </a:lnTo>
                  <a:lnTo>
                    <a:pt x="229" y="90"/>
                  </a:lnTo>
                  <a:lnTo>
                    <a:pt x="232" y="85"/>
                  </a:lnTo>
                  <a:lnTo>
                    <a:pt x="229" y="83"/>
                  </a:lnTo>
                  <a:lnTo>
                    <a:pt x="229" y="85"/>
                  </a:lnTo>
                  <a:lnTo>
                    <a:pt x="227" y="92"/>
                  </a:lnTo>
                  <a:lnTo>
                    <a:pt x="227" y="95"/>
                  </a:lnTo>
                  <a:lnTo>
                    <a:pt x="229" y="97"/>
                  </a:lnTo>
                  <a:lnTo>
                    <a:pt x="220" y="102"/>
                  </a:lnTo>
                  <a:lnTo>
                    <a:pt x="220" y="104"/>
                  </a:lnTo>
                  <a:lnTo>
                    <a:pt x="218" y="107"/>
                  </a:lnTo>
                  <a:lnTo>
                    <a:pt x="218" y="109"/>
                  </a:lnTo>
                  <a:lnTo>
                    <a:pt x="218" y="111"/>
                  </a:lnTo>
                  <a:lnTo>
                    <a:pt x="222" y="111"/>
                  </a:lnTo>
                  <a:lnTo>
                    <a:pt x="222" y="114"/>
                  </a:lnTo>
                  <a:lnTo>
                    <a:pt x="220" y="114"/>
                  </a:lnTo>
                  <a:lnTo>
                    <a:pt x="220" y="116"/>
                  </a:lnTo>
                  <a:lnTo>
                    <a:pt x="220" y="118"/>
                  </a:lnTo>
                  <a:lnTo>
                    <a:pt x="218" y="116"/>
                  </a:lnTo>
                  <a:lnTo>
                    <a:pt x="215" y="118"/>
                  </a:lnTo>
                  <a:lnTo>
                    <a:pt x="218" y="121"/>
                  </a:lnTo>
                  <a:lnTo>
                    <a:pt x="215" y="123"/>
                  </a:lnTo>
                  <a:lnTo>
                    <a:pt x="213" y="121"/>
                  </a:lnTo>
                  <a:lnTo>
                    <a:pt x="211" y="123"/>
                  </a:lnTo>
                  <a:lnTo>
                    <a:pt x="208" y="123"/>
                  </a:lnTo>
                  <a:lnTo>
                    <a:pt x="203" y="123"/>
                  </a:lnTo>
                  <a:lnTo>
                    <a:pt x="203" y="128"/>
                  </a:lnTo>
                  <a:lnTo>
                    <a:pt x="201" y="128"/>
                  </a:lnTo>
                  <a:lnTo>
                    <a:pt x="201" y="130"/>
                  </a:lnTo>
                  <a:lnTo>
                    <a:pt x="203" y="132"/>
                  </a:lnTo>
                  <a:lnTo>
                    <a:pt x="206" y="130"/>
                  </a:lnTo>
                  <a:lnTo>
                    <a:pt x="208" y="128"/>
                  </a:lnTo>
                  <a:lnTo>
                    <a:pt x="213" y="132"/>
                  </a:lnTo>
                  <a:lnTo>
                    <a:pt x="218" y="130"/>
                  </a:lnTo>
                  <a:lnTo>
                    <a:pt x="218" y="130"/>
                  </a:lnTo>
                  <a:lnTo>
                    <a:pt x="220" y="132"/>
                  </a:lnTo>
                  <a:lnTo>
                    <a:pt x="215" y="132"/>
                  </a:lnTo>
                  <a:lnTo>
                    <a:pt x="213" y="135"/>
                  </a:lnTo>
                  <a:lnTo>
                    <a:pt x="213" y="140"/>
                  </a:lnTo>
                  <a:lnTo>
                    <a:pt x="208" y="137"/>
                  </a:lnTo>
                  <a:lnTo>
                    <a:pt x="206" y="137"/>
                  </a:lnTo>
                  <a:lnTo>
                    <a:pt x="203" y="135"/>
                  </a:lnTo>
                  <a:lnTo>
                    <a:pt x="201" y="135"/>
                  </a:lnTo>
                  <a:lnTo>
                    <a:pt x="196" y="137"/>
                  </a:lnTo>
                  <a:lnTo>
                    <a:pt x="194" y="140"/>
                  </a:lnTo>
                  <a:lnTo>
                    <a:pt x="199" y="144"/>
                  </a:lnTo>
                  <a:lnTo>
                    <a:pt x="199" y="147"/>
                  </a:lnTo>
                  <a:lnTo>
                    <a:pt x="196" y="147"/>
                  </a:lnTo>
                  <a:lnTo>
                    <a:pt x="199" y="151"/>
                  </a:lnTo>
                  <a:lnTo>
                    <a:pt x="199" y="154"/>
                  </a:lnTo>
                  <a:lnTo>
                    <a:pt x="196" y="154"/>
                  </a:lnTo>
                  <a:lnTo>
                    <a:pt x="196" y="156"/>
                  </a:lnTo>
                  <a:lnTo>
                    <a:pt x="194" y="158"/>
                  </a:lnTo>
                  <a:lnTo>
                    <a:pt x="192" y="147"/>
                  </a:lnTo>
                  <a:lnTo>
                    <a:pt x="189" y="147"/>
                  </a:lnTo>
                  <a:lnTo>
                    <a:pt x="187" y="151"/>
                  </a:lnTo>
                  <a:lnTo>
                    <a:pt x="185" y="149"/>
                  </a:lnTo>
                  <a:lnTo>
                    <a:pt x="185" y="151"/>
                  </a:lnTo>
                  <a:lnTo>
                    <a:pt x="187" y="151"/>
                  </a:lnTo>
                  <a:lnTo>
                    <a:pt x="187" y="154"/>
                  </a:lnTo>
                  <a:lnTo>
                    <a:pt x="185" y="154"/>
                  </a:lnTo>
                  <a:lnTo>
                    <a:pt x="182" y="156"/>
                  </a:lnTo>
                  <a:lnTo>
                    <a:pt x="182" y="158"/>
                  </a:lnTo>
                  <a:lnTo>
                    <a:pt x="182" y="163"/>
                  </a:lnTo>
                  <a:lnTo>
                    <a:pt x="185" y="163"/>
                  </a:lnTo>
                  <a:lnTo>
                    <a:pt x="182" y="166"/>
                  </a:lnTo>
                  <a:lnTo>
                    <a:pt x="185" y="168"/>
                  </a:lnTo>
                  <a:lnTo>
                    <a:pt x="182" y="168"/>
                  </a:lnTo>
                  <a:lnTo>
                    <a:pt x="180" y="173"/>
                  </a:lnTo>
                  <a:lnTo>
                    <a:pt x="180" y="173"/>
                  </a:lnTo>
                  <a:lnTo>
                    <a:pt x="177" y="173"/>
                  </a:lnTo>
                  <a:lnTo>
                    <a:pt x="177" y="173"/>
                  </a:lnTo>
                  <a:lnTo>
                    <a:pt x="180" y="175"/>
                  </a:lnTo>
                  <a:lnTo>
                    <a:pt x="187" y="173"/>
                  </a:lnTo>
                  <a:lnTo>
                    <a:pt x="182" y="177"/>
                  </a:lnTo>
                  <a:lnTo>
                    <a:pt x="180" y="180"/>
                  </a:lnTo>
                  <a:lnTo>
                    <a:pt x="175" y="177"/>
                  </a:lnTo>
                  <a:lnTo>
                    <a:pt x="173" y="175"/>
                  </a:lnTo>
                  <a:lnTo>
                    <a:pt x="173" y="173"/>
                  </a:lnTo>
                  <a:lnTo>
                    <a:pt x="170" y="175"/>
                  </a:lnTo>
                  <a:lnTo>
                    <a:pt x="168" y="177"/>
                  </a:lnTo>
                  <a:lnTo>
                    <a:pt x="166" y="182"/>
                  </a:lnTo>
                  <a:lnTo>
                    <a:pt x="163" y="184"/>
                  </a:lnTo>
                  <a:lnTo>
                    <a:pt x="163" y="187"/>
                  </a:lnTo>
                  <a:lnTo>
                    <a:pt x="163" y="187"/>
                  </a:lnTo>
                  <a:lnTo>
                    <a:pt x="163" y="192"/>
                  </a:lnTo>
                  <a:lnTo>
                    <a:pt x="163" y="192"/>
                  </a:lnTo>
                  <a:lnTo>
                    <a:pt x="161" y="194"/>
                  </a:lnTo>
                  <a:lnTo>
                    <a:pt x="159" y="199"/>
                  </a:lnTo>
                  <a:lnTo>
                    <a:pt x="156" y="199"/>
                  </a:lnTo>
                  <a:lnTo>
                    <a:pt x="156" y="199"/>
                  </a:lnTo>
                  <a:lnTo>
                    <a:pt x="154" y="201"/>
                  </a:lnTo>
                  <a:lnTo>
                    <a:pt x="151" y="203"/>
                  </a:lnTo>
                  <a:lnTo>
                    <a:pt x="151" y="206"/>
                  </a:lnTo>
                  <a:lnTo>
                    <a:pt x="151" y="208"/>
                  </a:lnTo>
                  <a:lnTo>
                    <a:pt x="147" y="208"/>
                  </a:lnTo>
                  <a:lnTo>
                    <a:pt x="147" y="213"/>
                  </a:lnTo>
                  <a:lnTo>
                    <a:pt x="144" y="213"/>
                  </a:lnTo>
                  <a:lnTo>
                    <a:pt x="144" y="215"/>
                  </a:lnTo>
                  <a:lnTo>
                    <a:pt x="144" y="215"/>
                  </a:lnTo>
                  <a:lnTo>
                    <a:pt x="142" y="218"/>
                  </a:lnTo>
                  <a:lnTo>
                    <a:pt x="147" y="220"/>
                  </a:lnTo>
                  <a:lnTo>
                    <a:pt x="147" y="220"/>
                  </a:lnTo>
                  <a:lnTo>
                    <a:pt x="144" y="222"/>
                  </a:lnTo>
                  <a:lnTo>
                    <a:pt x="142" y="220"/>
                  </a:lnTo>
                  <a:lnTo>
                    <a:pt x="142" y="222"/>
                  </a:lnTo>
                  <a:lnTo>
                    <a:pt x="142" y="227"/>
                  </a:lnTo>
                  <a:lnTo>
                    <a:pt x="144" y="229"/>
                  </a:lnTo>
                  <a:lnTo>
                    <a:pt x="144" y="227"/>
                  </a:lnTo>
                  <a:lnTo>
                    <a:pt x="147" y="227"/>
                  </a:lnTo>
                  <a:lnTo>
                    <a:pt x="147" y="232"/>
                  </a:lnTo>
                  <a:lnTo>
                    <a:pt x="140" y="232"/>
                  </a:lnTo>
                  <a:lnTo>
                    <a:pt x="137" y="234"/>
                  </a:lnTo>
                  <a:lnTo>
                    <a:pt x="137" y="239"/>
                  </a:lnTo>
                  <a:lnTo>
                    <a:pt x="135" y="241"/>
                  </a:lnTo>
                  <a:lnTo>
                    <a:pt x="133" y="241"/>
                  </a:lnTo>
                  <a:lnTo>
                    <a:pt x="130" y="246"/>
                  </a:lnTo>
                  <a:lnTo>
                    <a:pt x="133" y="246"/>
                  </a:lnTo>
                  <a:lnTo>
                    <a:pt x="135" y="241"/>
                  </a:lnTo>
                  <a:lnTo>
                    <a:pt x="140" y="241"/>
                  </a:lnTo>
                  <a:lnTo>
                    <a:pt x="140" y="244"/>
                  </a:lnTo>
                  <a:lnTo>
                    <a:pt x="142" y="248"/>
                  </a:lnTo>
                  <a:lnTo>
                    <a:pt x="135" y="246"/>
                  </a:lnTo>
                  <a:lnTo>
                    <a:pt x="135" y="248"/>
                  </a:lnTo>
                  <a:lnTo>
                    <a:pt x="135" y="251"/>
                  </a:lnTo>
                  <a:lnTo>
                    <a:pt x="133" y="251"/>
                  </a:lnTo>
                  <a:lnTo>
                    <a:pt x="133" y="253"/>
                  </a:lnTo>
                  <a:lnTo>
                    <a:pt x="133" y="255"/>
                  </a:lnTo>
                  <a:lnTo>
                    <a:pt x="133" y="258"/>
                  </a:lnTo>
                  <a:lnTo>
                    <a:pt x="130" y="255"/>
                  </a:lnTo>
                  <a:lnTo>
                    <a:pt x="130" y="258"/>
                  </a:lnTo>
                  <a:lnTo>
                    <a:pt x="130" y="260"/>
                  </a:lnTo>
                  <a:lnTo>
                    <a:pt x="133" y="262"/>
                  </a:lnTo>
                  <a:lnTo>
                    <a:pt x="133" y="269"/>
                  </a:lnTo>
                  <a:lnTo>
                    <a:pt x="130" y="267"/>
                  </a:lnTo>
                  <a:lnTo>
                    <a:pt x="128" y="265"/>
                  </a:lnTo>
                  <a:lnTo>
                    <a:pt x="126" y="262"/>
                  </a:lnTo>
                  <a:lnTo>
                    <a:pt x="128" y="267"/>
                  </a:lnTo>
                  <a:lnTo>
                    <a:pt x="126" y="269"/>
                  </a:lnTo>
                  <a:lnTo>
                    <a:pt x="123" y="269"/>
                  </a:lnTo>
                  <a:lnTo>
                    <a:pt x="123" y="272"/>
                  </a:lnTo>
                  <a:lnTo>
                    <a:pt x="123" y="274"/>
                  </a:lnTo>
                  <a:lnTo>
                    <a:pt x="126" y="272"/>
                  </a:lnTo>
                  <a:lnTo>
                    <a:pt x="128" y="269"/>
                  </a:lnTo>
                  <a:lnTo>
                    <a:pt x="128" y="272"/>
                  </a:lnTo>
                  <a:lnTo>
                    <a:pt x="128" y="272"/>
                  </a:lnTo>
                  <a:lnTo>
                    <a:pt x="128" y="274"/>
                  </a:lnTo>
                  <a:lnTo>
                    <a:pt x="128" y="277"/>
                  </a:lnTo>
                  <a:lnTo>
                    <a:pt x="126" y="279"/>
                  </a:lnTo>
                  <a:lnTo>
                    <a:pt x="123" y="277"/>
                  </a:lnTo>
                  <a:lnTo>
                    <a:pt x="121" y="279"/>
                  </a:lnTo>
                  <a:lnTo>
                    <a:pt x="118" y="279"/>
                  </a:lnTo>
                  <a:lnTo>
                    <a:pt x="116" y="281"/>
                  </a:lnTo>
                  <a:lnTo>
                    <a:pt x="116" y="284"/>
                  </a:lnTo>
                  <a:lnTo>
                    <a:pt x="114" y="286"/>
                  </a:lnTo>
                  <a:lnTo>
                    <a:pt x="111" y="288"/>
                  </a:lnTo>
                  <a:lnTo>
                    <a:pt x="109" y="293"/>
                  </a:lnTo>
                  <a:lnTo>
                    <a:pt x="114" y="293"/>
                  </a:lnTo>
                  <a:lnTo>
                    <a:pt x="116" y="291"/>
                  </a:lnTo>
                  <a:lnTo>
                    <a:pt x="116" y="293"/>
                  </a:lnTo>
                  <a:lnTo>
                    <a:pt x="111" y="295"/>
                  </a:lnTo>
                  <a:lnTo>
                    <a:pt x="111" y="298"/>
                  </a:lnTo>
                  <a:lnTo>
                    <a:pt x="111" y="303"/>
                  </a:lnTo>
                  <a:lnTo>
                    <a:pt x="111" y="305"/>
                  </a:lnTo>
                  <a:lnTo>
                    <a:pt x="107" y="305"/>
                  </a:lnTo>
                  <a:lnTo>
                    <a:pt x="104" y="300"/>
                  </a:lnTo>
                  <a:lnTo>
                    <a:pt x="102" y="300"/>
                  </a:lnTo>
                  <a:lnTo>
                    <a:pt x="100" y="305"/>
                  </a:lnTo>
                  <a:lnTo>
                    <a:pt x="97" y="307"/>
                  </a:lnTo>
                  <a:lnTo>
                    <a:pt x="95" y="310"/>
                  </a:lnTo>
                  <a:lnTo>
                    <a:pt x="95" y="312"/>
                  </a:lnTo>
                  <a:lnTo>
                    <a:pt x="88" y="319"/>
                  </a:lnTo>
                  <a:lnTo>
                    <a:pt x="88" y="321"/>
                  </a:lnTo>
                  <a:lnTo>
                    <a:pt x="88" y="326"/>
                  </a:lnTo>
                  <a:lnTo>
                    <a:pt x="88" y="326"/>
                  </a:lnTo>
                  <a:lnTo>
                    <a:pt x="81" y="331"/>
                  </a:lnTo>
                  <a:lnTo>
                    <a:pt x="81" y="333"/>
                  </a:lnTo>
                  <a:lnTo>
                    <a:pt x="83" y="336"/>
                  </a:lnTo>
                  <a:lnTo>
                    <a:pt x="88" y="333"/>
                  </a:lnTo>
                  <a:lnTo>
                    <a:pt x="85" y="338"/>
                  </a:lnTo>
                  <a:lnTo>
                    <a:pt x="88" y="343"/>
                  </a:lnTo>
                  <a:lnTo>
                    <a:pt x="90" y="343"/>
                  </a:lnTo>
                  <a:lnTo>
                    <a:pt x="102" y="336"/>
                  </a:lnTo>
                  <a:lnTo>
                    <a:pt x="109" y="331"/>
                  </a:lnTo>
                  <a:lnTo>
                    <a:pt x="109" y="329"/>
                  </a:lnTo>
                  <a:lnTo>
                    <a:pt x="111" y="331"/>
                  </a:lnTo>
                  <a:lnTo>
                    <a:pt x="109" y="333"/>
                  </a:lnTo>
                  <a:lnTo>
                    <a:pt x="107" y="336"/>
                  </a:lnTo>
                  <a:lnTo>
                    <a:pt x="104" y="336"/>
                  </a:lnTo>
                  <a:lnTo>
                    <a:pt x="100" y="338"/>
                  </a:lnTo>
                  <a:lnTo>
                    <a:pt x="97" y="340"/>
                  </a:lnTo>
                  <a:lnTo>
                    <a:pt x="100" y="343"/>
                  </a:lnTo>
                  <a:lnTo>
                    <a:pt x="100" y="343"/>
                  </a:lnTo>
                  <a:lnTo>
                    <a:pt x="92" y="345"/>
                  </a:lnTo>
                  <a:lnTo>
                    <a:pt x="90" y="345"/>
                  </a:lnTo>
                  <a:lnTo>
                    <a:pt x="88" y="347"/>
                  </a:lnTo>
                  <a:lnTo>
                    <a:pt x="90" y="347"/>
                  </a:lnTo>
                  <a:lnTo>
                    <a:pt x="88" y="350"/>
                  </a:lnTo>
                  <a:lnTo>
                    <a:pt x="85" y="347"/>
                  </a:lnTo>
                  <a:lnTo>
                    <a:pt x="85" y="345"/>
                  </a:lnTo>
                  <a:lnTo>
                    <a:pt x="83" y="340"/>
                  </a:lnTo>
                  <a:lnTo>
                    <a:pt x="81" y="340"/>
                  </a:lnTo>
                  <a:lnTo>
                    <a:pt x="81" y="340"/>
                  </a:lnTo>
                  <a:lnTo>
                    <a:pt x="78" y="340"/>
                  </a:lnTo>
                  <a:lnTo>
                    <a:pt x="76" y="340"/>
                  </a:lnTo>
                  <a:lnTo>
                    <a:pt x="74" y="343"/>
                  </a:lnTo>
                  <a:lnTo>
                    <a:pt x="74" y="345"/>
                  </a:lnTo>
                  <a:lnTo>
                    <a:pt x="76" y="347"/>
                  </a:lnTo>
                  <a:lnTo>
                    <a:pt x="76" y="350"/>
                  </a:lnTo>
                  <a:lnTo>
                    <a:pt x="74" y="350"/>
                  </a:lnTo>
                  <a:lnTo>
                    <a:pt x="71" y="350"/>
                  </a:lnTo>
                  <a:lnTo>
                    <a:pt x="71" y="345"/>
                  </a:lnTo>
                  <a:lnTo>
                    <a:pt x="71" y="345"/>
                  </a:lnTo>
                  <a:lnTo>
                    <a:pt x="62" y="347"/>
                  </a:lnTo>
                  <a:lnTo>
                    <a:pt x="62" y="350"/>
                  </a:lnTo>
                  <a:lnTo>
                    <a:pt x="59" y="352"/>
                  </a:lnTo>
                  <a:lnTo>
                    <a:pt x="57" y="352"/>
                  </a:lnTo>
                  <a:lnTo>
                    <a:pt x="57" y="355"/>
                  </a:lnTo>
                  <a:lnTo>
                    <a:pt x="57" y="357"/>
                  </a:lnTo>
                  <a:lnTo>
                    <a:pt x="55" y="357"/>
                  </a:lnTo>
                  <a:lnTo>
                    <a:pt x="55" y="355"/>
                  </a:lnTo>
                  <a:lnTo>
                    <a:pt x="55" y="355"/>
                  </a:lnTo>
                  <a:lnTo>
                    <a:pt x="52" y="355"/>
                  </a:lnTo>
                  <a:lnTo>
                    <a:pt x="52" y="355"/>
                  </a:lnTo>
                  <a:lnTo>
                    <a:pt x="52" y="357"/>
                  </a:lnTo>
                  <a:lnTo>
                    <a:pt x="52" y="357"/>
                  </a:lnTo>
                  <a:lnTo>
                    <a:pt x="50" y="357"/>
                  </a:lnTo>
                  <a:lnTo>
                    <a:pt x="45" y="359"/>
                  </a:lnTo>
                  <a:lnTo>
                    <a:pt x="43" y="364"/>
                  </a:lnTo>
                  <a:lnTo>
                    <a:pt x="43" y="369"/>
                  </a:lnTo>
                  <a:lnTo>
                    <a:pt x="40" y="366"/>
                  </a:lnTo>
                  <a:lnTo>
                    <a:pt x="36" y="366"/>
                  </a:lnTo>
                  <a:lnTo>
                    <a:pt x="33" y="369"/>
                  </a:lnTo>
                  <a:lnTo>
                    <a:pt x="33" y="371"/>
                  </a:lnTo>
                  <a:lnTo>
                    <a:pt x="36" y="373"/>
                  </a:lnTo>
                  <a:lnTo>
                    <a:pt x="36" y="373"/>
                  </a:lnTo>
                  <a:lnTo>
                    <a:pt x="38" y="376"/>
                  </a:lnTo>
                  <a:lnTo>
                    <a:pt x="40" y="373"/>
                  </a:lnTo>
                  <a:lnTo>
                    <a:pt x="43" y="376"/>
                  </a:lnTo>
                  <a:lnTo>
                    <a:pt x="45" y="376"/>
                  </a:lnTo>
                  <a:lnTo>
                    <a:pt x="43" y="381"/>
                  </a:lnTo>
                  <a:lnTo>
                    <a:pt x="43" y="381"/>
                  </a:lnTo>
                  <a:lnTo>
                    <a:pt x="40" y="381"/>
                  </a:lnTo>
                  <a:lnTo>
                    <a:pt x="38" y="381"/>
                  </a:lnTo>
                  <a:lnTo>
                    <a:pt x="31" y="378"/>
                  </a:lnTo>
                  <a:lnTo>
                    <a:pt x="29" y="381"/>
                  </a:lnTo>
                  <a:lnTo>
                    <a:pt x="26" y="381"/>
                  </a:lnTo>
                  <a:lnTo>
                    <a:pt x="24" y="381"/>
                  </a:lnTo>
                  <a:lnTo>
                    <a:pt x="24" y="383"/>
                  </a:lnTo>
                  <a:lnTo>
                    <a:pt x="24" y="383"/>
                  </a:lnTo>
                  <a:lnTo>
                    <a:pt x="24" y="383"/>
                  </a:lnTo>
                  <a:lnTo>
                    <a:pt x="24" y="385"/>
                  </a:lnTo>
                  <a:lnTo>
                    <a:pt x="24" y="385"/>
                  </a:lnTo>
                  <a:lnTo>
                    <a:pt x="26" y="385"/>
                  </a:lnTo>
                  <a:lnTo>
                    <a:pt x="26" y="385"/>
                  </a:lnTo>
                  <a:lnTo>
                    <a:pt x="24" y="388"/>
                  </a:lnTo>
                  <a:lnTo>
                    <a:pt x="26" y="390"/>
                  </a:lnTo>
                  <a:lnTo>
                    <a:pt x="26" y="395"/>
                  </a:lnTo>
                  <a:lnTo>
                    <a:pt x="26" y="395"/>
                  </a:lnTo>
                  <a:lnTo>
                    <a:pt x="24" y="392"/>
                  </a:lnTo>
                  <a:lnTo>
                    <a:pt x="22" y="390"/>
                  </a:lnTo>
                  <a:lnTo>
                    <a:pt x="19" y="392"/>
                  </a:lnTo>
                  <a:lnTo>
                    <a:pt x="17" y="395"/>
                  </a:lnTo>
                  <a:lnTo>
                    <a:pt x="17" y="397"/>
                  </a:lnTo>
                  <a:lnTo>
                    <a:pt x="19" y="399"/>
                  </a:lnTo>
                  <a:lnTo>
                    <a:pt x="19" y="402"/>
                  </a:lnTo>
                  <a:lnTo>
                    <a:pt x="17" y="399"/>
                  </a:lnTo>
                  <a:lnTo>
                    <a:pt x="14" y="397"/>
                  </a:lnTo>
                  <a:lnTo>
                    <a:pt x="12" y="397"/>
                  </a:lnTo>
                  <a:lnTo>
                    <a:pt x="7" y="397"/>
                  </a:lnTo>
                  <a:lnTo>
                    <a:pt x="7" y="399"/>
                  </a:lnTo>
                  <a:lnTo>
                    <a:pt x="7" y="402"/>
                  </a:lnTo>
                  <a:lnTo>
                    <a:pt x="3" y="397"/>
                  </a:lnTo>
                  <a:lnTo>
                    <a:pt x="3" y="397"/>
                  </a:lnTo>
                  <a:lnTo>
                    <a:pt x="5" y="402"/>
                  </a:lnTo>
                  <a:lnTo>
                    <a:pt x="3" y="404"/>
                  </a:lnTo>
                  <a:lnTo>
                    <a:pt x="3" y="404"/>
                  </a:lnTo>
                  <a:lnTo>
                    <a:pt x="12" y="404"/>
                  </a:lnTo>
                  <a:lnTo>
                    <a:pt x="19" y="404"/>
                  </a:lnTo>
                  <a:lnTo>
                    <a:pt x="14" y="406"/>
                  </a:lnTo>
                  <a:lnTo>
                    <a:pt x="17" y="406"/>
                  </a:lnTo>
                  <a:lnTo>
                    <a:pt x="19" y="406"/>
                  </a:lnTo>
                  <a:lnTo>
                    <a:pt x="24" y="406"/>
                  </a:lnTo>
                  <a:lnTo>
                    <a:pt x="24" y="406"/>
                  </a:lnTo>
                  <a:lnTo>
                    <a:pt x="22" y="409"/>
                  </a:lnTo>
                  <a:lnTo>
                    <a:pt x="14" y="409"/>
                  </a:lnTo>
                  <a:lnTo>
                    <a:pt x="10" y="409"/>
                  </a:lnTo>
                  <a:lnTo>
                    <a:pt x="10" y="406"/>
                  </a:lnTo>
                  <a:lnTo>
                    <a:pt x="7" y="406"/>
                  </a:lnTo>
                  <a:lnTo>
                    <a:pt x="3" y="411"/>
                  </a:lnTo>
                  <a:lnTo>
                    <a:pt x="3" y="411"/>
                  </a:lnTo>
                  <a:lnTo>
                    <a:pt x="0" y="411"/>
                  </a:lnTo>
                  <a:lnTo>
                    <a:pt x="0" y="414"/>
                  </a:lnTo>
                  <a:lnTo>
                    <a:pt x="0" y="416"/>
                  </a:lnTo>
                  <a:lnTo>
                    <a:pt x="5" y="416"/>
                  </a:lnTo>
                  <a:lnTo>
                    <a:pt x="5" y="418"/>
                  </a:lnTo>
                  <a:lnTo>
                    <a:pt x="5" y="421"/>
                  </a:lnTo>
                  <a:lnTo>
                    <a:pt x="3" y="423"/>
                  </a:lnTo>
                  <a:lnTo>
                    <a:pt x="0" y="425"/>
                  </a:lnTo>
                  <a:lnTo>
                    <a:pt x="0" y="428"/>
                  </a:lnTo>
                  <a:lnTo>
                    <a:pt x="0" y="428"/>
                  </a:lnTo>
                  <a:lnTo>
                    <a:pt x="0" y="430"/>
                  </a:lnTo>
                  <a:lnTo>
                    <a:pt x="0" y="432"/>
                  </a:lnTo>
                  <a:lnTo>
                    <a:pt x="0" y="435"/>
                  </a:lnTo>
                  <a:lnTo>
                    <a:pt x="7" y="435"/>
                  </a:lnTo>
                  <a:lnTo>
                    <a:pt x="17" y="430"/>
                  </a:lnTo>
                  <a:lnTo>
                    <a:pt x="19" y="432"/>
                  </a:lnTo>
                  <a:lnTo>
                    <a:pt x="22" y="432"/>
                  </a:lnTo>
                  <a:lnTo>
                    <a:pt x="24" y="430"/>
                  </a:lnTo>
                  <a:lnTo>
                    <a:pt x="26" y="423"/>
                  </a:lnTo>
                  <a:lnTo>
                    <a:pt x="26" y="428"/>
                  </a:lnTo>
                  <a:lnTo>
                    <a:pt x="26" y="432"/>
                  </a:lnTo>
                  <a:lnTo>
                    <a:pt x="26" y="432"/>
                  </a:lnTo>
                  <a:lnTo>
                    <a:pt x="31" y="432"/>
                  </a:lnTo>
                  <a:lnTo>
                    <a:pt x="33" y="432"/>
                  </a:lnTo>
                  <a:lnTo>
                    <a:pt x="33" y="432"/>
                  </a:lnTo>
                  <a:lnTo>
                    <a:pt x="38" y="428"/>
                  </a:lnTo>
                  <a:lnTo>
                    <a:pt x="38" y="421"/>
                  </a:lnTo>
                  <a:lnTo>
                    <a:pt x="43" y="418"/>
                  </a:lnTo>
                  <a:lnTo>
                    <a:pt x="43" y="421"/>
                  </a:lnTo>
                  <a:lnTo>
                    <a:pt x="40" y="425"/>
                  </a:lnTo>
                  <a:lnTo>
                    <a:pt x="40" y="430"/>
                  </a:lnTo>
                  <a:lnTo>
                    <a:pt x="40" y="430"/>
                  </a:lnTo>
                  <a:lnTo>
                    <a:pt x="40" y="430"/>
                  </a:lnTo>
                  <a:lnTo>
                    <a:pt x="43" y="430"/>
                  </a:lnTo>
                  <a:lnTo>
                    <a:pt x="45" y="430"/>
                  </a:lnTo>
                  <a:lnTo>
                    <a:pt x="40" y="432"/>
                  </a:lnTo>
                  <a:lnTo>
                    <a:pt x="36" y="435"/>
                  </a:lnTo>
                  <a:lnTo>
                    <a:pt x="36" y="437"/>
                  </a:lnTo>
                  <a:lnTo>
                    <a:pt x="36" y="440"/>
                  </a:lnTo>
                  <a:lnTo>
                    <a:pt x="33" y="444"/>
                  </a:lnTo>
                  <a:lnTo>
                    <a:pt x="33" y="440"/>
                  </a:lnTo>
                  <a:lnTo>
                    <a:pt x="31" y="437"/>
                  </a:lnTo>
                  <a:lnTo>
                    <a:pt x="29" y="435"/>
                  </a:lnTo>
                  <a:lnTo>
                    <a:pt x="24" y="435"/>
                  </a:lnTo>
                  <a:lnTo>
                    <a:pt x="22" y="437"/>
                  </a:lnTo>
                  <a:lnTo>
                    <a:pt x="17" y="435"/>
                  </a:lnTo>
                  <a:lnTo>
                    <a:pt x="14" y="437"/>
                  </a:lnTo>
                  <a:lnTo>
                    <a:pt x="12" y="435"/>
                  </a:lnTo>
                  <a:lnTo>
                    <a:pt x="7" y="437"/>
                  </a:lnTo>
                  <a:lnTo>
                    <a:pt x="3" y="437"/>
                  </a:lnTo>
                  <a:lnTo>
                    <a:pt x="0" y="442"/>
                  </a:lnTo>
                  <a:lnTo>
                    <a:pt x="0" y="444"/>
                  </a:lnTo>
                  <a:lnTo>
                    <a:pt x="3" y="444"/>
                  </a:lnTo>
                  <a:lnTo>
                    <a:pt x="5" y="444"/>
                  </a:lnTo>
                  <a:lnTo>
                    <a:pt x="5" y="449"/>
                  </a:lnTo>
                  <a:lnTo>
                    <a:pt x="3" y="447"/>
                  </a:lnTo>
                  <a:lnTo>
                    <a:pt x="0" y="447"/>
                  </a:lnTo>
                  <a:lnTo>
                    <a:pt x="0" y="447"/>
                  </a:lnTo>
                  <a:lnTo>
                    <a:pt x="0" y="447"/>
                  </a:lnTo>
                  <a:lnTo>
                    <a:pt x="0" y="447"/>
                  </a:lnTo>
                  <a:lnTo>
                    <a:pt x="3" y="454"/>
                  </a:lnTo>
                  <a:lnTo>
                    <a:pt x="5" y="454"/>
                  </a:lnTo>
                  <a:lnTo>
                    <a:pt x="10" y="451"/>
                  </a:lnTo>
                  <a:lnTo>
                    <a:pt x="12" y="451"/>
                  </a:lnTo>
                  <a:lnTo>
                    <a:pt x="7" y="454"/>
                  </a:lnTo>
                  <a:lnTo>
                    <a:pt x="5" y="456"/>
                  </a:lnTo>
                  <a:lnTo>
                    <a:pt x="7" y="458"/>
                  </a:lnTo>
                  <a:lnTo>
                    <a:pt x="3" y="461"/>
                  </a:lnTo>
                  <a:lnTo>
                    <a:pt x="3" y="461"/>
                  </a:lnTo>
                  <a:lnTo>
                    <a:pt x="3" y="466"/>
                  </a:lnTo>
                  <a:lnTo>
                    <a:pt x="5" y="466"/>
                  </a:lnTo>
                  <a:lnTo>
                    <a:pt x="5" y="468"/>
                  </a:lnTo>
                  <a:lnTo>
                    <a:pt x="7" y="466"/>
                  </a:lnTo>
                  <a:lnTo>
                    <a:pt x="10" y="466"/>
                  </a:lnTo>
                  <a:lnTo>
                    <a:pt x="10" y="468"/>
                  </a:lnTo>
                  <a:lnTo>
                    <a:pt x="12" y="473"/>
                  </a:lnTo>
                  <a:lnTo>
                    <a:pt x="10" y="473"/>
                  </a:lnTo>
                  <a:lnTo>
                    <a:pt x="7" y="475"/>
                  </a:lnTo>
                  <a:lnTo>
                    <a:pt x="7" y="475"/>
                  </a:lnTo>
                  <a:lnTo>
                    <a:pt x="7" y="477"/>
                  </a:lnTo>
                  <a:lnTo>
                    <a:pt x="12" y="475"/>
                  </a:lnTo>
                  <a:lnTo>
                    <a:pt x="12" y="470"/>
                  </a:lnTo>
                  <a:lnTo>
                    <a:pt x="14" y="468"/>
                  </a:lnTo>
                  <a:lnTo>
                    <a:pt x="17" y="466"/>
                  </a:lnTo>
                  <a:lnTo>
                    <a:pt x="19" y="461"/>
                  </a:lnTo>
                  <a:lnTo>
                    <a:pt x="22" y="456"/>
                  </a:lnTo>
                  <a:lnTo>
                    <a:pt x="26" y="451"/>
                  </a:lnTo>
                  <a:lnTo>
                    <a:pt x="26" y="454"/>
                  </a:lnTo>
                  <a:lnTo>
                    <a:pt x="26" y="456"/>
                  </a:lnTo>
                  <a:lnTo>
                    <a:pt x="31" y="454"/>
                  </a:lnTo>
                  <a:lnTo>
                    <a:pt x="33" y="454"/>
                  </a:lnTo>
                  <a:lnTo>
                    <a:pt x="29" y="458"/>
                  </a:lnTo>
                  <a:lnTo>
                    <a:pt x="29" y="461"/>
                  </a:lnTo>
                  <a:lnTo>
                    <a:pt x="29" y="463"/>
                  </a:lnTo>
                  <a:lnTo>
                    <a:pt x="26" y="458"/>
                  </a:lnTo>
                  <a:lnTo>
                    <a:pt x="26" y="458"/>
                  </a:lnTo>
                  <a:lnTo>
                    <a:pt x="22" y="463"/>
                  </a:lnTo>
                  <a:lnTo>
                    <a:pt x="19" y="466"/>
                  </a:lnTo>
                  <a:lnTo>
                    <a:pt x="22" y="468"/>
                  </a:lnTo>
                  <a:lnTo>
                    <a:pt x="22" y="470"/>
                  </a:lnTo>
                  <a:lnTo>
                    <a:pt x="19" y="470"/>
                  </a:lnTo>
                  <a:lnTo>
                    <a:pt x="12" y="480"/>
                  </a:lnTo>
                  <a:lnTo>
                    <a:pt x="14" y="480"/>
                  </a:lnTo>
                  <a:lnTo>
                    <a:pt x="19" y="480"/>
                  </a:lnTo>
                  <a:lnTo>
                    <a:pt x="22" y="480"/>
                  </a:lnTo>
                  <a:lnTo>
                    <a:pt x="22" y="480"/>
                  </a:lnTo>
                  <a:lnTo>
                    <a:pt x="17" y="482"/>
                  </a:lnTo>
                  <a:lnTo>
                    <a:pt x="14" y="484"/>
                  </a:lnTo>
                  <a:lnTo>
                    <a:pt x="14" y="487"/>
                  </a:lnTo>
                  <a:lnTo>
                    <a:pt x="12" y="487"/>
                  </a:lnTo>
                  <a:lnTo>
                    <a:pt x="10" y="487"/>
                  </a:lnTo>
                  <a:lnTo>
                    <a:pt x="7" y="487"/>
                  </a:lnTo>
                  <a:lnTo>
                    <a:pt x="5" y="489"/>
                  </a:lnTo>
                  <a:lnTo>
                    <a:pt x="3" y="492"/>
                  </a:lnTo>
                  <a:lnTo>
                    <a:pt x="3" y="496"/>
                  </a:lnTo>
                  <a:lnTo>
                    <a:pt x="5" y="496"/>
                  </a:lnTo>
                  <a:lnTo>
                    <a:pt x="5" y="499"/>
                  </a:lnTo>
                  <a:lnTo>
                    <a:pt x="7" y="496"/>
                  </a:lnTo>
                  <a:lnTo>
                    <a:pt x="10" y="494"/>
                  </a:lnTo>
                  <a:lnTo>
                    <a:pt x="10" y="496"/>
                  </a:lnTo>
                  <a:lnTo>
                    <a:pt x="12" y="496"/>
                  </a:lnTo>
                  <a:lnTo>
                    <a:pt x="12" y="496"/>
                  </a:lnTo>
                  <a:lnTo>
                    <a:pt x="12" y="494"/>
                  </a:lnTo>
                  <a:lnTo>
                    <a:pt x="14" y="494"/>
                  </a:lnTo>
                  <a:lnTo>
                    <a:pt x="19" y="492"/>
                  </a:lnTo>
                  <a:lnTo>
                    <a:pt x="22" y="489"/>
                  </a:lnTo>
                  <a:lnTo>
                    <a:pt x="22" y="492"/>
                  </a:lnTo>
                  <a:lnTo>
                    <a:pt x="17" y="496"/>
                  </a:lnTo>
                  <a:lnTo>
                    <a:pt x="19" y="496"/>
                  </a:lnTo>
                  <a:lnTo>
                    <a:pt x="19" y="499"/>
                  </a:lnTo>
                  <a:lnTo>
                    <a:pt x="17" y="503"/>
                  </a:lnTo>
                  <a:lnTo>
                    <a:pt x="17" y="506"/>
                  </a:lnTo>
                  <a:lnTo>
                    <a:pt x="14" y="506"/>
                  </a:lnTo>
                  <a:lnTo>
                    <a:pt x="14" y="508"/>
                  </a:lnTo>
                  <a:lnTo>
                    <a:pt x="14" y="510"/>
                  </a:lnTo>
                  <a:lnTo>
                    <a:pt x="14" y="510"/>
                  </a:lnTo>
                  <a:lnTo>
                    <a:pt x="12" y="510"/>
                  </a:lnTo>
                  <a:lnTo>
                    <a:pt x="10" y="508"/>
                  </a:lnTo>
                  <a:lnTo>
                    <a:pt x="10" y="508"/>
                  </a:lnTo>
                  <a:lnTo>
                    <a:pt x="7" y="518"/>
                  </a:lnTo>
                  <a:lnTo>
                    <a:pt x="12" y="525"/>
                  </a:lnTo>
                  <a:lnTo>
                    <a:pt x="19" y="529"/>
                  </a:lnTo>
                  <a:lnTo>
                    <a:pt x="22" y="532"/>
                  </a:lnTo>
                  <a:lnTo>
                    <a:pt x="26" y="534"/>
                  </a:lnTo>
                  <a:lnTo>
                    <a:pt x="29" y="529"/>
                  </a:lnTo>
                  <a:lnTo>
                    <a:pt x="29" y="534"/>
                  </a:lnTo>
                  <a:lnTo>
                    <a:pt x="29" y="539"/>
                  </a:lnTo>
                  <a:lnTo>
                    <a:pt x="31" y="536"/>
                  </a:lnTo>
                  <a:lnTo>
                    <a:pt x="33" y="539"/>
                  </a:lnTo>
                  <a:lnTo>
                    <a:pt x="33" y="536"/>
                  </a:lnTo>
                  <a:lnTo>
                    <a:pt x="38" y="536"/>
                  </a:lnTo>
                  <a:lnTo>
                    <a:pt x="36" y="539"/>
                  </a:lnTo>
                  <a:lnTo>
                    <a:pt x="43" y="541"/>
                  </a:lnTo>
                  <a:lnTo>
                    <a:pt x="45" y="539"/>
                  </a:lnTo>
                  <a:lnTo>
                    <a:pt x="50" y="536"/>
                  </a:lnTo>
                  <a:lnTo>
                    <a:pt x="50" y="532"/>
                  </a:lnTo>
                  <a:lnTo>
                    <a:pt x="52" y="536"/>
                  </a:lnTo>
                  <a:lnTo>
                    <a:pt x="59" y="532"/>
                  </a:lnTo>
                  <a:lnTo>
                    <a:pt x="66" y="522"/>
                  </a:lnTo>
                  <a:lnTo>
                    <a:pt x="69" y="520"/>
                  </a:lnTo>
                  <a:lnTo>
                    <a:pt x="71" y="518"/>
                  </a:lnTo>
                  <a:lnTo>
                    <a:pt x="74" y="515"/>
                  </a:lnTo>
                  <a:lnTo>
                    <a:pt x="74" y="513"/>
                  </a:lnTo>
                  <a:lnTo>
                    <a:pt x="78" y="508"/>
                  </a:lnTo>
                  <a:lnTo>
                    <a:pt x="78" y="506"/>
                  </a:lnTo>
                  <a:lnTo>
                    <a:pt x="83" y="508"/>
                  </a:lnTo>
                  <a:lnTo>
                    <a:pt x="88" y="508"/>
                  </a:lnTo>
                  <a:lnTo>
                    <a:pt x="88" y="506"/>
                  </a:lnTo>
                  <a:lnTo>
                    <a:pt x="90" y="503"/>
                  </a:lnTo>
                  <a:lnTo>
                    <a:pt x="90" y="501"/>
                  </a:lnTo>
                  <a:lnTo>
                    <a:pt x="92" y="499"/>
                  </a:lnTo>
                  <a:lnTo>
                    <a:pt x="92" y="494"/>
                  </a:lnTo>
                  <a:lnTo>
                    <a:pt x="90" y="492"/>
                  </a:lnTo>
                  <a:lnTo>
                    <a:pt x="90" y="489"/>
                  </a:lnTo>
                  <a:lnTo>
                    <a:pt x="90" y="489"/>
                  </a:lnTo>
                  <a:lnTo>
                    <a:pt x="90" y="487"/>
                  </a:lnTo>
                  <a:lnTo>
                    <a:pt x="90" y="484"/>
                  </a:lnTo>
                  <a:lnTo>
                    <a:pt x="90" y="484"/>
                  </a:lnTo>
                  <a:lnTo>
                    <a:pt x="92" y="487"/>
                  </a:lnTo>
                  <a:lnTo>
                    <a:pt x="92" y="489"/>
                  </a:lnTo>
                  <a:lnTo>
                    <a:pt x="95" y="489"/>
                  </a:lnTo>
                  <a:lnTo>
                    <a:pt x="95" y="487"/>
                  </a:lnTo>
                  <a:lnTo>
                    <a:pt x="92" y="484"/>
                  </a:lnTo>
                  <a:lnTo>
                    <a:pt x="92" y="480"/>
                  </a:lnTo>
                  <a:lnTo>
                    <a:pt x="92" y="480"/>
                  </a:lnTo>
                  <a:lnTo>
                    <a:pt x="95" y="480"/>
                  </a:lnTo>
                  <a:lnTo>
                    <a:pt x="97" y="477"/>
                  </a:lnTo>
                  <a:lnTo>
                    <a:pt x="97" y="480"/>
                  </a:lnTo>
                  <a:lnTo>
                    <a:pt x="97" y="482"/>
                  </a:lnTo>
                  <a:lnTo>
                    <a:pt x="95" y="482"/>
                  </a:lnTo>
                  <a:lnTo>
                    <a:pt x="95" y="484"/>
                  </a:lnTo>
                  <a:lnTo>
                    <a:pt x="97" y="487"/>
                  </a:lnTo>
                  <a:lnTo>
                    <a:pt x="97" y="496"/>
                  </a:lnTo>
                  <a:lnTo>
                    <a:pt x="97" y="501"/>
                  </a:lnTo>
                  <a:lnTo>
                    <a:pt x="100" y="501"/>
                  </a:lnTo>
                  <a:lnTo>
                    <a:pt x="104" y="503"/>
                  </a:lnTo>
                  <a:lnTo>
                    <a:pt x="104" y="503"/>
                  </a:lnTo>
                  <a:lnTo>
                    <a:pt x="107" y="506"/>
                  </a:lnTo>
                  <a:lnTo>
                    <a:pt x="107" y="506"/>
                  </a:lnTo>
                  <a:lnTo>
                    <a:pt x="107" y="513"/>
                  </a:lnTo>
                  <a:lnTo>
                    <a:pt x="109" y="508"/>
                  </a:lnTo>
                  <a:lnTo>
                    <a:pt x="109" y="513"/>
                  </a:lnTo>
                  <a:lnTo>
                    <a:pt x="111" y="510"/>
                  </a:lnTo>
                  <a:lnTo>
                    <a:pt x="114" y="499"/>
                  </a:lnTo>
                  <a:lnTo>
                    <a:pt x="114" y="494"/>
                  </a:lnTo>
                  <a:lnTo>
                    <a:pt x="114" y="489"/>
                  </a:lnTo>
                  <a:lnTo>
                    <a:pt x="116" y="482"/>
                  </a:lnTo>
                  <a:lnTo>
                    <a:pt x="116" y="477"/>
                  </a:lnTo>
                  <a:lnTo>
                    <a:pt x="126" y="475"/>
                  </a:lnTo>
                  <a:lnTo>
                    <a:pt x="128" y="470"/>
                  </a:lnTo>
                  <a:lnTo>
                    <a:pt x="128" y="466"/>
                  </a:lnTo>
                  <a:lnTo>
                    <a:pt x="126" y="463"/>
                  </a:lnTo>
                  <a:lnTo>
                    <a:pt x="128" y="454"/>
                  </a:lnTo>
                  <a:lnTo>
                    <a:pt x="126" y="444"/>
                  </a:lnTo>
                  <a:lnTo>
                    <a:pt x="123" y="440"/>
                  </a:lnTo>
                  <a:lnTo>
                    <a:pt x="123" y="437"/>
                  </a:lnTo>
                  <a:lnTo>
                    <a:pt x="128" y="435"/>
                  </a:lnTo>
                  <a:lnTo>
                    <a:pt x="133" y="432"/>
                  </a:lnTo>
                  <a:lnTo>
                    <a:pt x="135" y="425"/>
                  </a:lnTo>
                  <a:lnTo>
                    <a:pt x="133" y="418"/>
                  </a:lnTo>
                  <a:lnTo>
                    <a:pt x="126" y="414"/>
                  </a:lnTo>
                  <a:lnTo>
                    <a:pt x="123" y="409"/>
                  </a:lnTo>
                  <a:lnTo>
                    <a:pt x="123" y="404"/>
                  </a:lnTo>
                  <a:lnTo>
                    <a:pt x="123" y="390"/>
                  </a:lnTo>
                  <a:lnTo>
                    <a:pt x="123" y="385"/>
                  </a:lnTo>
                  <a:lnTo>
                    <a:pt x="121" y="383"/>
                  </a:lnTo>
                  <a:lnTo>
                    <a:pt x="121" y="381"/>
                  </a:lnTo>
                  <a:lnTo>
                    <a:pt x="123" y="378"/>
                  </a:lnTo>
                  <a:lnTo>
                    <a:pt x="123" y="371"/>
                  </a:lnTo>
                  <a:lnTo>
                    <a:pt x="123" y="369"/>
                  </a:lnTo>
                  <a:lnTo>
                    <a:pt x="123" y="364"/>
                  </a:lnTo>
                  <a:lnTo>
                    <a:pt x="126" y="362"/>
                  </a:lnTo>
                  <a:lnTo>
                    <a:pt x="123" y="359"/>
                  </a:lnTo>
                  <a:lnTo>
                    <a:pt x="123" y="355"/>
                  </a:lnTo>
                  <a:lnTo>
                    <a:pt x="121" y="350"/>
                  </a:lnTo>
                  <a:lnTo>
                    <a:pt x="123" y="343"/>
                  </a:lnTo>
                  <a:lnTo>
                    <a:pt x="123" y="338"/>
                  </a:lnTo>
                  <a:lnTo>
                    <a:pt x="133" y="329"/>
                  </a:lnTo>
                  <a:lnTo>
                    <a:pt x="137" y="324"/>
                  </a:lnTo>
                  <a:lnTo>
                    <a:pt x="144" y="324"/>
                  </a:lnTo>
                  <a:lnTo>
                    <a:pt x="149" y="324"/>
                  </a:lnTo>
                  <a:lnTo>
                    <a:pt x="154" y="324"/>
                  </a:lnTo>
                  <a:lnTo>
                    <a:pt x="159" y="321"/>
                  </a:lnTo>
                  <a:lnTo>
                    <a:pt x="159" y="317"/>
                  </a:lnTo>
                  <a:lnTo>
                    <a:pt x="159" y="310"/>
                  </a:lnTo>
                  <a:lnTo>
                    <a:pt x="156" y="307"/>
                  </a:lnTo>
                  <a:lnTo>
                    <a:pt x="151" y="303"/>
                  </a:lnTo>
                  <a:lnTo>
                    <a:pt x="151" y="298"/>
                  </a:lnTo>
                  <a:lnTo>
                    <a:pt x="159" y="288"/>
                  </a:lnTo>
                  <a:lnTo>
                    <a:pt x="163" y="277"/>
                  </a:lnTo>
                  <a:lnTo>
                    <a:pt x="166" y="260"/>
                  </a:lnTo>
                  <a:lnTo>
                    <a:pt x="166" y="251"/>
                  </a:lnTo>
                  <a:lnTo>
                    <a:pt x="166" y="244"/>
                  </a:lnTo>
                  <a:lnTo>
                    <a:pt x="166" y="241"/>
                  </a:lnTo>
                  <a:lnTo>
                    <a:pt x="168" y="239"/>
                  </a:lnTo>
                  <a:lnTo>
                    <a:pt x="173" y="239"/>
                  </a:lnTo>
                  <a:lnTo>
                    <a:pt x="177" y="234"/>
                  </a:lnTo>
                  <a:lnTo>
                    <a:pt x="180" y="229"/>
                  </a:lnTo>
                  <a:lnTo>
                    <a:pt x="180" y="225"/>
                  </a:lnTo>
                  <a:lnTo>
                    <a:pt x="182" y="220"/>
                  </a:lnTo>
                  <a:lnTo>
                    <a:pt x="189" y="208"/>
                  </a:lnTo>
                  <a:lnTo>
                    <a:pt x="192" y="206"/>
                  </a:lnTo>
                  <a:lnTo>
                    <a:pt x="194" y="201"/>
                  </a:lnTo>
                  <a:lnTo>
                    <a:pt x="196" y="196"/>
                  </a:lnTo>
                  <a:lnTo>
                    <a:pt x="199" y="194"/>
                  </a:lnTo>
                  <a:lnTo>
                    <a:pt x="196" y="189"/>
                  </a:lnTo>
                  <a:lnTo>
                    <a:pt x="194" y="182"/>
                  </a:lnTo>
                  <a:lnTo>
                    <a:pt x="194" y="177"/>
                  </a:lnTo>
                  <a:lnTo>
                    <a:pt x="199" y="173"/>
                  </a:lnTo>
                  <a:lnTo>
                    <a:pt x="201" y="170"/>
                  </a:lnTo>
                  <a:lnTo>
                    <a:pt x="201" y="166"/>
                  </a:lnTo>
                  <a:lnTo>
                    <a:pt x="203" y="161"/>
                  </a:lnTo>
                  <a:lnTo>
                    <a:pt x="206" y="156"/>
                  </a:lnTo>
                  <a:lnTo>
                    <a:pt x="211" y="149"/>
                  </a:lnTo>
                  <a:lnTo>
                    <a:pt x="215" y="149"/>
                  </a:lnTo>
                  <a:lnTo>
                    <a:pt x="220" y="151"/>
                  </a:lnTo>
                  <a:lnTo>
                    <a:pt x="222" y="156"/>
                  </a:lnTo>
                  <a:lnTo>
                    <a:pt x="222" y="156"/>
                  </a:lnTo>
                  <a:lnTo>
                    <a:pt x="227" y="151"/>
                  </a:lnTo>
                  <a:lnTo>
                    <a:pt x="227" y="144"/>
                  </a:lnTo>
                  <a:lnTo>
                    <a:pt x="229" y="142"/>
                  </a:lnTo>
                  <a:lnTo>
                    <a:pt x="227" y="132"/>
                  </a:lnTo>
                  <a:lnTo>
                    <a:pt x="229" y="130"/>
                  </a:lnTo>
                  <a:lnTo>
                    <a:pt x="232" y="128"/>
                  </a:lnTo>
                  <a:lnTo>
                    <a:pt x="234" y="128"/>
                  </a:lnTo>
                  <a:lnTo>
                    <a:pt x="244" y="130"/>
                  </a:lnTo>
                  <a:lnTo>
                    <a:pt x="258" y="135"/>
                  </a:lnTo>
                  <a:lnTo>
                    <a:pt x="260" y="135"/>
                  </a:lnTo>
                  <a:lnTo>
                    <a:pt x="263" y="130"/>
                  </a:lnTo>
                  <a:lnTo>
                    <a:pt x="260" y="128"/>
                  </a:lnTo>
                  <a:lnTo>
                    <a:pt x="260" y="125"/>
                  </a:lnTo>
                  <a:lnTo>
                    <a:pt x="260" y="121"/>
                  </a:lnTo>
                  <a:lnTo>
                    <a:pt x="263" y="116"/>
                  </a:lnTo>
                  <a:lnTo>
                    <a:pt x="263" y="116"/>
                  </a:lnTo>
                  <a:lnTo>
                    <a:pt x="265" y="111"/>
                  </a:lnTo>
                  <a:lnTo>
                    <a:pt x="265" y="109"/>
                  </a:lnTo>
                  <a:lnTo>
                    <a:pt x="263" y="107"/>
                  </a:lnTo>
                  <a:lnTo>
                    <a:pt x="263" y="104"/>
                  </a:lnTo>
                  <a:lnTo>
                    <a:pt x="263" y="102"/>
                  </a:lnTo>
                  <a:lnTo>
                    <a:pt x="272" y="104"/>
                  </a:lnTo>
                  <a:lnTo>
                    <a:pt x="272" y="102"/>
                  </a:lnTo>
                  <a:lnTo>
                    <a:pt x="274" y="99"/>
                  </a:lnTo>
                  <a:lnTo>
                    <a:pt x="277" y="102"/>
                  </a:lnTo>
                  <a:lnTo>
                    <a:pt x="279" y="99"/>
                  </a:lnTo>
                  <a:lnTo>
                    <a:pt x="279" y="97"/>
                  </a:lnTo>
                  <a:lnTo>
                    <a:pt x="279" y="92"/>
                  </a:lnTo>
                  <a:lnTo>
                    <a:pt x="284" y="90"/>
                  </a:lnTo>
                  <a:lnTo>
                    <a:pt x="286" y="92"/>
                  </a:lnTo>
                  <a:lnTo>
                    <a:pt x="291" y="95"/>
                  </a:lnTo>
                  <a:lnTo>
                    <a:pt x="300" y="109"/>
                  </a:lnTo>
                  <a:lnTo>
                    <a:pt x="303" y="116"/>
                  </a:lnTo>
                  <a:lnTo>
                    <a:pt x="303" y="118"/>
                  </a:lnTo>
                  <a:lnTo>
                    <a:pt x="312" y="118"/>
                  </a:lnTo>
                  <a:lnTo>
                    <a:pt x="317" y="123"/>
                  </a:lnTo>
                  <a:lnTo>
                    <a:pt x="322" y="121"/>
                  </a:lnTo>
                  <a:lnTo>
                    <a:pt x="324" y="118"/>
                  </a:lnTo>
                  <a:lnTo>
                    <a:pt x="331" y="114"/>
                  </a:lnTo>
                  <a:lnTo>
                    <a:pt x="333" y="114"/>
                  </a:lnTo>
                  <a:lnTo>
                    <a:pt x="336" y="118"/>
                  </a:lnTo>
                  <a:lnTo>
                    <a:pt x="338" y="121"/>
                  </a:lnTo>
                  <a:lnTo>
                    <a:pt x="340" y="123"/>
                  </a:lnTo>
                  <a:lnTo>
                    <a:pt x="345" y="121"/>
                  </a:lnTo>
                  <a:lnTo>
                    <a:pt x="350" y="116"/>
                  </a:lnTo>
                  <a:lnTo>
                    <a:pt x="352" y="114"/>
                  </a:lnTo>
                  <a:lnTo>
                    <a:pt x="362" y="107"/>
                  </a:lnTo>
                  <a:lnTo>
                    <a:pt x="362" y="102"/>
                  </a:lnTo>
                  <a:lnTo>
                    <a:pt x="362" y="95"/>
                  </a:lnTo>
                  <a:lnTo>
                    <a:pt x="362" y="90"/>
                  </a:lnTo>
                  <a:lnTo>
                    <a:pt x="362" y="78"/>
                  </a:lnTo>
                  <a:lnTo>
                    <a:pt x="366" y="69"/>
                  </a:lnTo>
                  <a:lnTo>
                    <a:pt x="369" y="64"/>
                  </a:lnTo>
                  <a:lnTo>
                    <a:pt x="374" y="62"/>
                  </a:lnTo>
                  <a:lnTo>
                    <a:pt x="381" y="62"/>
                  </a:lnTo>
                  <a:lnTo>
                    <a:pt x="392" y="55"/>
                  </a:lnTo>
                  <a:lnTo>
                    <a:pt x="402" y="55"/>
                  </a:lnTo>
                  <a:lnTo>
                    <a:pt x="402" y="55"/>
                  </a:lnTo>
                  <a:lnTo>
                    <a:pt x="407" y="62"/>
                  </a:lnTo>
                  <a:lnTo>
                    <a:pt x="409" y="64"/>
                  </a:lnTo>
                  <a:lnTo>
                    <a:pt x="414" y="66"/>
                  </a:lnTo>
                  <a:lnTo>
                    <a:pt x="421" y="71"/>
                  </a:lnTo>
                  <a:lnTo>
                    <a:pt x="423" y="81"/>
                  </a:lnTo>
                  <a:lnTo>
                    <a:pt x="423" y="85"/>
                  </a:lnTo>
                  <a:lnTo>
                    <a:pt x="416" y="92"/>
                  </a:lnTo>
                  <a:lnTo>
                    <a:pt x="416" y="97"/>
                  </a:lnTo>
                  <a:lnTo>
                    <a:pt x="416" y="102"/>
                  </a:lnTo>
                  <a:lnTo>
                    <a:pt x="418" y="104"/>
                  </a:lnTo>
                  <a:lnTo>
                    <a:pt x="421" y="102"/>
                  </a:lnTo>
                  <a:lnTo>
                    <a:pt x="423" y="99"/>
                  </a:lnTo>
                  <a:lnTo>
                    <a:pt x="423" y="99"/>
                  </a:lnTo>
                  <a:lnTo>
                    <a:pt x="423" y="95"/>
                  </a:lnTo>
                  <a:lnTo>
                    <a:pt x="423" y="95"/>
                  </a:lnTo>
                  <a:lnTo>
                    <a:pt x="435" y="88"/>
                  </a:lnTo>
                  <a:lnTo>
                    <a:pt x="437" y="85"/>
                  </a:lnTo>
                  <a:lnTo>
                    <a:pt x="440" y="76"/>
                  </a:lnTo>
                  <a:lnTo>
                    <a:pt x="444" y="81"/>
                  </a:lnTo>
                  <a:lnTo>
                    <a:pt x="449" y="78"/>
                  </a:lnTo>
                  <a:lnTo>
                    <a:pt x="449" y="78"/>
                  </a:lnTo>
                  <a:lnTo>
                    <a:pt x="451" y="73"/>
                  </a:lnTo>
                  <a:lnTo>
                    <a:pt x="451" y="71"/>
                  </a:lnTo>
                  <a:lnTo>
                    <a:pt x="451" y="6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6" name="Freeform 828">
              <a:extLst>
                <a:ext uri="{FF2B5EF4-FFF2-40B4-BE49-F238E27FC236}">
                  <a16:creationId xmlns:a16="http://schemas.microsoft.com/office/drawing/2014/main" id="{5FB258CA-89F7-4E36-8E42-CC5629FE7A09}"/>
                </a:ext>
              </a:extLst>
            </p:cNvPr>
            <p:cNvSpPr>
              <a:spLocks/>
            </p:cNvSpPr>
            <p:nvPr/>
          </p:nvSpPr>
          <p:spPr bwMode="auto">
            <a:xfrm>
              <a:off x="1416892" y="1698588"/>
              <a:ext cx="720724" cy="858838"/>
            </a:xfrm>
            <a:custGeom>
              <a:avLst/>
              <a:gdLst>
                <a:gd name="T0" fmla="*/ 430 w 454"/>
                <a:gd name="T1" fmla="*/ 69 h 541"/>
                <a:gd name="T2" fmla="*/ 418 w 454"/>
                <a:gd name="T3" fmla="*/ 50 h 541"/>
                <a:gd name="T4" fmla="*/ 430 w 454"/>
                <a:gd name="T5" fmla="*/ 24 h 541"/>
                <a:gd name="T6" fmla="*/ 409 w 454"/>
                <a:gd name="T7" fmla="*/ 21 h 541"/>
                <a:gd name="T8" fmla="*/ 400 w 454"/>
                <a:gd name="T9" fmla="*/ 14 h 541"/>
                <a:gd name="T10" fmla="*/ 385 w 454"/>
                <a:gd name="T11" fmla="*/ 21 h 541"/>
                <a:gd name="T12" fmla="*/ 374 w 454"/>
                <a:gd name="T13" fmla="*/ 10 h 541"/>
                <a:gd name="T14" fmla="*/ 350 w 454"/>
                <a:gd name="T15" fmla="*/ 36 h 541"/>
                <a:gd name="T16" fmla="*/ 340 w 454"/>
                <a:gd name="T17" fmla="*/ 7 h 541"/>
                <a:gd name="T18" fmla="*/ 319 w 454"/>
                <a:gd name="T19" fmla="*/ 50 h 541"/>
                <a:gd name="T20" fmla="*/ 300 w 454"/>
                <a:gd name="T21" fmla="*/ 47 h 541"/>
                <a:gd name="T22" fmla="*/ 296 w 454"/>
                <a:gd name="T23" fmla="*/ 57 h 541"/>
                <a:gd name="T24" fmla="*/ 277 w 454"/>
                <a:gd name="T25" fmla="*/ 64 h 541"/>
                <a:gd name="T26" fmla="*/ 267 w 454"/>
                <a:gd name="T27" fmla="*/ 66 h 541"/>
                <a:gd name="T28" fmla="*/ 253 w 454"/>
                <a:gd name="T29" fmla="*/ 92 h 541"/>
                <a:gd name="T30" fmla="*/ 229 w 454"/>
                <a:gd name="T31" fmla="*/ 90 h 541"/>
                <a:gd name="T32" fmla="*/ 222 w 454"/>
                <a:gd name="T33" fmla="*/ 114 h 541"/>
                <a:gd name="T34" fmla="*/ 201 w 454"/>
                <a:gd name="T35" fmla="*/ 130 h 541"/>
                <a:gd name="T36" fmla="*/ 201 w 454"/>
                <a:gd name="T37" fmla="*/ 135 h 541"/>
                <a:gd name="T38" fmla="*/ 185 w 454"/>
                <a:gd name="T39" fmla="*/ 149 h 541"/>
                <a:gd name="T40" fmla="*/ 177 w 454"/>
                <a:gd name="T41" fmla="*/ 173 h 541"/>
                <a:gd name="T42" fmla="*/ 163 w 454"/>
                <a:gd name="T43" fmla="*/ 187 h 541"/>
                <a:gd name="T44" fmla="*/ 144 w 454"/>
                <a:gd name="T45" fmla="*/ 215 h 541"/>
                <a:gd name="T46" fmla="*/ 137 w 454"/>
                <a:gd name="T47" fmla="*/ 234 h 541"/>
                <a:gd name="T48" fmla="*/ 133 w 454"/>
                <a:gd name="T49" fmla="*/ 253 h 541"/>
                <a:gd name="T50" fmla="*/ 123 w 454"/>
                <a:gd name="T51" fmla="*/ 272 h 541"/>
                <a:gd name="T52" fmla="*/ 114 w 454"/>
                <a:gd name="T53" fmla="*/ 286 h 541"/>
                <a:gd name="T54" fmla="*/ 97 w 454"/>
                <a:gd name="T55" fmla="*/ 307 h 541"/>
                <a:gd name="T56" fmla="*/ 102 w 454"/>
                <a:gd name="T57" fmla="*/ 336 h 541"/>
                <a:gd name="T58" fmla="*/ 90 w 454"/>
                <a:gd name="T59" fmla="*/ 347 h 541"/>
                <a:gd name="T60" fmla="*/ 71 w 454"/>
                <a:gd name="T61" fmla="*/ 350 h 541"/>
                <a:gd name="T62" fmla="*/ 52 w 454"/>
                <a:gd name="T63" fmla="*/ 357 h 541"/>
                <a:gd name="T64" fmla="*/ 43 w 454"/>
                <a:gd name="T65" fmla="*/ 376 h 541"/>
                <a:gd name="T66" fmla="*/ 24 w 454"/>
                <a:gd name="T67" fmla="*/ 385 h 541"/>
                <a:gd name="T68" fmla="*/ 17 w 454"/>
                <a:gd name="T69" fmla="*/ 399 h 541"/>
                <a:gd name="T70" fmla="*/ 17 w 454"/>
                <a:gd name="T71" fmla="*/ 406 h 541"/>
                <a:gd name="T72" fmla="*/ 5 w 454"/>
                <a:gd name="T73" fmla="*/ 416 h 541"/>
                <a:gd name="T74" fmla="*/ 24 w 454"/>
                <a:gd name="T75" fmla="*/ 430 h 541"/>
                <a:gd name="T76" fmla="*/ 40 w 454"/>
                <a:gd name="T77" fmla="*/ 430 h 541"/>
                <a:gd name="T78" fmla="*/ 17 w 454"/>
                <a:gd name="T79" fmla="*/ 435 h 541"/>
                <a:gd name="T80" fmla="*/ 0 w 454"/>
                <a:gd name="T81" fmla="*/ 447 h 541"/>
                <a:gd name="T82" fmla="*/ 10 w 454"/>
                <a:gd name="T83" fmla="*/ 466 h 541"/>
                <a:gd name="T84" fmla="*/ 26 w 454"/>
                <a:gd name="T85" fmla="*/ 454 h 541"/>
                <a:gd name="T86" fmla="*/ 12 w 454"/>
                <a:gd name="T87" fmla="*/ 480 h 541"/>
                <a:gd name="T88" fmla="*/ 5 w 454"/>
                <a:gd name="T89" fmla="*/ 496 h 541"/>
                <a:gd name="T90" fmla="*/ 19 w 454"/>
                <a:gd name="T91" fmla="*/ 499 h 541"/>
                <a:gd name="T92" fmla="*/ 26 w 454"/>
                <a:gd name="T93" fmla="*/ 534 h 541"/>
                <a:gd name="T94" fmla="*/ 59 w 454"/>
                <a:gd name="T95" fmla="*/ 532 h 541"/>
                <a:gd name="T96" fmla="*/ 92 w 454"/>
                <a:gd name="T97" fmla="*/ 494 h 541"/>
                <a:gd name="T98" fmla="*/ 95 w 454"/>
                <a:gd name="T99" fmla="*/ 480 h 541"/>
                <a:gd name="T100" fmla="*/ 107 w 454"/>
                <a:gd name="T101" fmla="*/ 513 h 541"/>
                <a:gd name="T102" fmla="*/ 126 w 454"/>
                <a:gd name="T103" fmla="*/ 444 h 541"/>
                <a:gd name="T104" fmla="*/ 123 w 454"/>
                <a:gd name="T105" fmla="*/ 378 h 541"/>
                <a:gd name="T106" fmla="*/ 154 w 454"/>
                <a:gd name="T107" fmla="*/ 324 h 541"/>
                <a:gd name="T108" fmla="*/ 173 w 454"/>
                <a:gd name="T109" fmla="*/ 239 h 541"/>
                <a:gd name="T110" fmla="*/ 201 w 454"/>
                <a:gd name="T111" fmla="*/ 170 h 541"/>
                <a:gd name="T112" fmla="*/ 232 w 454"/>
                <a:gd name="T113" fmla="*/ 128 h 541"/>
                <a:gd name="T114" fmla="*/ 263 w 454"/>
                <a:gd name="T115" fmla="*/ 104 h 541"/>
                <a:gd name="T116" fmla="*/ 303 w 454"/>
                <a:gd name="T117" fmla="*/ 118 h 541"/>
                <a:gd name="T118" fmla="*/ 362 w 454"/>
                <a:gd name="T119" fmla="*/ 102 h 541"/>
                <a:gd name="T120" fmla="*/ 421 w 454"/>
                <a:gd name="T121" fmla="*/ 71 h 541"/>
                <a:gd name="T122" fmla="*/ 440 w 454"/>
                <a:gd name="T123" fmla="*/ 76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4" h="541">
                  <a:moveTo>
                    <a:pt x="451" y="69"/>
                  </a:moveTo>
                  <a:lnTo>
                    <a:pt x="444" y="66"/>
                  </a:lnTo>
                  <a:lnTo>
                    <a:pt x="442" y="73"/>
                  </a:lnTo>
                  <a:lnTo>
                    <a:pt x="442" y="73"/>
                  </a:lnTo>
                  <a:lnTo>
                    <a:pt x="442" y="73"/>
                  </a:lnTo>
                  <a:lnTo>
                    <a:pt x="437" y="71"/>
                  </a:lnTo>
                  <a:lnTo>
                    <a:pt x="437" y="69"/>
                  </a:lnTo>
                  <a:lnTo>
                    <a:pt x="437" y="73"/>
                  </a:lnTo>
                  <a:lnTo>
                    <a:pt x="437" y="73"/>
                  </a:lnTo>
                  <a:lnTo>
                    <a:pt x="435" y="71"/>
                  </a:lnTo>
                  <a:lnTo>
                    <a:pt x="430" y="71"/>
                  </a:lnTo>
                  <a:lnTo>
                    <a:pt x="428" y="73"/>
                  </a:lnTo>
                  <a:lnTo>
                    <a:pt x="428" y="71"/>
                  </a:lnTo>
                  <a:lnTo>
                    <a:pt x="430" y="69"/>
                  </a:lnTo>
                  <a:lnTo>
                    <a:pt x="433" y="69"/>
                  </a:lnTo>
                  <a:lnTo>
                    <a:pt x="435" y="66"/>
                  </a:lnTo>
                  <a:lnTo>
                    <a:pt x="433" y="64"/>
                  </a:lnTo>
                  <a:lnTo>
                    <a:pt x="433" y="62"/>
                  </a:lnTo>
                  <a:lnTo>
                    <a:pt x="426" y="62"/>
                  </a:lnTo>
                  <a:lnTo>
                    <a:pt x="428" y="62"/>
                  </a:lnTo>
                  <a:lnTo>
                    <a:pt x="426" y="59"/>
                  </a:lnTo>
                  <a:lnTo>
                    <a:pt x="421" y="57"/>
                  </a:lnTo>
                  <a:lnTo>
                    <a:pt x="418" y="52"/>
                  </a:lnTo>
                  <a:lnTo>
                    <a:pt x="414" y="52"/>
                  </a:lnTo>
                  <a:lnTo>
                    <a:pt x="411" y="50"/>
                  </a:lnTo>
                  <a:lnTo>
                    <a:pt x="411" y="50"/>
                  </a:lnTo>
                  <a:lnTo>
                    <a:pt x="411" y="47"/>
                  </a:lnTo>
                  <a:lnTo>
                    <a:pt x="418" y="50"/>
                  </a:lnTo>
                  <a:lnTo>
                    <a:pt x="435" y="52"/>
                  </a:lnTo>
                  <a:lnTo>
                    <a:pt x="447" y="43"/>
                  </a:lnTo>
                  <a:lnTo>
                    <a:pt x="451" y="43"/>
                  </a:lnTo>
                  <a:lnTo>
                    <a:pt x="454" y="40"/>
                  </a:lnTo>
                  <a:lnTo>
                    <a:pt x="451" y="36"/>
                  </a:lnTo>
                  <a:lnTo>
                    <a:pt x="449" y="33"/>
                  </a:lnTo>
                  <a:lnTo>
                    <a:pt x="447" y="29"/>
                  </a:lnTo>
                  <a:lnTo>
                    <a:pt x="440" y="29"/>
                  </a:lnTo>
                  <a:lnTo>
                    <a:pt x="437" y="29"/>
                  </a:lnTo>
                  <a:lnTo>
                    <a:pt x="442" y="26"/>
                  </a:lnTo>
                  <a:lnTo>
                    <a:pt x="435" y="24"/>
                  </a:lnTo>
                  <a:lnTo>
                    <a:pt x="435" y="19"/>
                  </a:lnTo>
                  <a:lnTo>
                    <a:pt x="433" y="24"/>
                  </a:lnTo>
                  <a:lnTo>
                    <a:pt x="430" y="24"/>
                  </a:lnTo>
                  <a:lnTo>
                    <a:pt x="430" y="21"/>
                  </a:lnTo>
                  <a:lnTo>
                    <a:pt x="430" y="19"/>
                  </a:lnTo>
                  <a:lnTo>
                    <a:pt x="423" y="21"/>
                  </a:lnTo>
                  <a:lnTo>
                    <a:pt x="423" y="21"/>
                  </a:lnTo>
                  <a:lnTo>
                    <a:pt x="423" y="21"/>
                  </a:lnTo>
                  <a:lnTo>
                    <a:pt x="423" y="19"/>
                  </a:lnTo>
                  <a:lnTo>
                    <a:pt x="423" y="17"/>
                  </a:lnTo>
                  <a:lnTo>
                    <a:pt x="421" y="14"/>
                  </a:lnTo>
                  <a:lnTo>
                    <a:pt x="421" y="12"/>
                  </a:lnTo>
                  <a:lnTo>
                    <a:pt x="418" y="14"/>
                  </a:lnTo>
                  <a:lnTo>
                    <a:pt x="416" y="12"/>
                  </a:lnTo>
                  <a:lnTo>
                    <a:pt x="414" y="12"/>
                  </a:lnTo>
                  <a:lnTo>
                    <a:pt x="411" y="19"/>
                  </a:lnTo>
                  <a:lnTo>
                    <a:pt x="409" y="21"/>
                  </a:lnTo>
                  <a:lnTo>
                    <a:pt x="409" y="29"/>
                  </a:lnTo>
                  <a:lnTo>
                    <a:pt x="411" y="33"/>
                  </a:lnTo>
                  <a:lnTo>
                    <a:pt x="407" y="36"/>
                  </a:lnTo>
                  <a:lnTo>
                    <a:pt x="404" y="33"/>
                  </a:lnTo>
                  <a:lnTo>
                    <a:pt x="400" y="33"/>
                  </a:lnTo>
                  <a:lnTo>
                    <a:pt x="400" y="31"/>
                  </a:lnTo>
                  <a:lnTo>
                    <a:pt x="402" y="29"/>
                  </a:lnTo>
                  <a:lnTo>
                    <a:pt x="404" y="24"/>
                  </a:lnTo>
                  <a:lnTo>
                    <a:pt x="404" y="21"/>
                  </a:lnTo>
                  <a:lnTo>
                    <a:pt x="400" y="24"/>
                  </a:lnTo>
                  <a:lnTo>
                    <a:pt x="395" y="24"/>
                  </a:lnTo>
                  <a:lnTo>
                    <a:pt x="400" y="21"/>
                  </a:lnTo>
                  <a:lnTo>
                    <a:pt x="397" y="17"/>
                  </a:lnTo>
                  <a:lnTo>
                    <a:pt x="400" y="14"/>
                  </a:lnTo>
                  <a:lnTo>
                    <a:pt x="404" y="17"/>
                  </a:lnTo>
                  <a:lnTo>
                    <a:pt x="407" y="12"/>
                  </a:lnTo>
                  <a:lnTo>
                    <a:pt x="409" y="7"/>
                  </a:lnTo>
                  <a:lnTo>
                    <a:pt x="404" y="7"/>
                  </a:lnTo>
                  <a:lnTo>
                    <a:pt x="404" y="3"/>
                  </a:lnTo>
                  <a:lnTo>
                    <a:pt x="402" y="0"/>
                  </a:lnTo>
                  <a:lnTo>
                    <a:pt x="400" y="0"/>
                  </a:lnTo>
                  <a:lnTo>
                    <a:pt x="397" y="5"/>
                  </a:lnTo>
                  <a:lnTo>
                    <a:pt x="392" y="0"/>
                  </a:lnTo>
                  <a:lnTo>
                    <a:pt x="392" y="5"/>
                  </a:lnTo>
                  <a:lnTo>
                    <a:pt x="390" y="12"/>
                  </a:lnTo>
                  <a:lnTo>
                    <a:pt x="390" y="17"/>
                  </a:lnTo>
                  <a:lnTo>
                    <a:pt x="388" y="19"/>
                  </a:lnTo>
                  <a:lnTo>
                    <a:pt x="385" y="21"/>
                  </a:lnTo>
                  <a:lnTo>
                    <a:pt x="388" y="24"/>
                  </a:lnTo>
                  <a:lnTo>
                    <a:pt x="385" y="26"/>
                  </a:lnTo>
                  <a:lnTo>
                    <a:pt x="383" y="29"/>
                  </a:lnTo>
                  <a:lnTo>
                    <a:pt x="383" y="33"/>
                  </a:lnTo>
                  <a:lnTo>
                    <a:pt x="381" y="33"/>
                  </a:lnTo>
                  <a:lnTo>
                    <a:pt x="376" y="38"/>
                  </a:lnTo>
                  <a:lnTo>
                    <a:pt x="376" y="33"/>
                  </a:lnTo>
                  <a:lnTo>
                    <a:pt x="378" y="26"/>
                  </a:lnTo>
                  <a:lnTo>
                    <a:pt x="374" y="21"/>
                  </a:lnTo>
                  <a:lnTo>
                    <a:pt x="376" y="19"/>
                  </a:lnTo>
                  <a:lnTo>
                    <a:pt x="378" y="12"/>
                  </a:lnTo>
                  <a:lnTo>
                    <a:pt x="376" y="10"/>
                  </a:lnTo>
                  <a:lnTo>
                    <a:pt x="376" y="10"/>
                  </a:lnTo>
                  <a:lnTo>
                    <a:pt x="374" y="10"/>
                  </a:lnTo>
                  <a:lnTo>
                    <a:pt x="362" y="29"/>
                  </a:lnTo>
                  <a:lnTo>
                    <a:pt x="359" y="31"/>
                  </a:lnTo>
                  <a:lnTo>
                    <a:pt x="359" y="36"/>
                  </a:lnTo>
                  <a:lnTo>
                    <a:pt x="355" y="38"/>
                  </a:lnTo>
                  <a:lnTo>
                    <a:pt x="355" y="45"/>
                  </a:lnTo>
                  <a:lnTo>
                    <a:pt x="357" y="43"/>
                  </a:lnTo>
                  <a:lnTo>
                    <a:pt x="350" y="55"/>
                  </a:lnTo>
                  <a:lnTo>
                    <a:pt x="348" y="55"/>
                  </a:lnTo>
                  <a:lnTo>
                    <a:pt x="348" y="50"/>
                  </a:lnTo>
                  <a:lnTo>
                    <a:pt x="348" y="47"/>
                  </a:lnTo>
                  <a:lnTo>
                    <a:pt x="348" y="45"/>
                  </a:lnTo>
                  <a:lnTo>
                    <a:pt x="350" y="43"/>
                  </a:lnTo>
                  <a:lnTo>
                    <a:pt x="350" y="40"/>
                  </a:lnTo>
                  <a:lnTo>
                    <a:pt x="350" y="36"/>
                  </a:lnTo>
                  <a:lnTo>
                    <a:pt x="350" y="33"/>
                  </a:lnTo>
                  <a:lnTo>
                    <a:pt x="352" y="29"/>
                  </a:lnTo>
                  <a:lnTo>
                    <a:pt x="359" y="19"/>
                  </a:lnTo>
                  <a:lnTo>
                    <a:pt x="362" y="14"/>
                  </a:lnTo>
                  <a:lnTo>
                    <a:pt x="359" y="12"/>
                  </a:lnTo>
                  <a:lnTo>
                    <a:pt x="355" y="14"/>
                  </a:lnTo>
                  <a:lnTo>
                    <a:pt x="352" y="17"/>
                  </a:lnTo>
                  <a:lnTo>
                    <a:pt x="350" y="12"/>
                  </a:lnTo>
                  <a:lnTo>
                    <a:pt x="350" y="10"/>
                  </a:lnTo>
                  <a:lnTo>
                    <a:pt x="348" y="10"/>
                  </a:lnTo>
                  <a:lnTo>
                    <a:pt x="348" y="7"/>
                  </a:lnTo>
                  <a:lnTo>
                    <a:pt x="345" y="10"/>
                  </a:lnTo>
                  <a:lnTo>
                    <a:pt x="343" y="7"/>
                  </a:lnTo>
                  <a:lnTo>
                    <a:pt x="340" y="7"/>
                  </a:lnTo>
                  <a:lnTo>
                    <a:pt x="340" y="17"/>
                  </a:lnTo>
                  <a:lnTo>
                    <a:pt x="336" y="14"/>
                  </a:lnTo>
                  <a:lnTo>
                    <a:pt x="338" y="19"/>
                  </a:lnTo>
                  <a:lnTo>
                    <a:pt x="340" y="21"/>
                  </a:lnTo>
                  <a:lnTo>
                    <a:pt x="340" y="24"/>
                  </a:lnTo>
                  <a:lnTo>
                    <a:pt x="336" y="26"/>
                  </a:lnTo>
                  <a:lnTo>
                    <a:pt x="333" y="29"/>
                  </a:lnTo>
                  <a:lnTo>
                    <a:pt x="336" y="33"/>
                  </a:lnTo>
                  <a:lnTo>
                    <a:pt x="329" y="33"/>
                  </a:lnTo>
                  <a:lnTo>
                    <a:pt x="324" y="38"/>
                  </a:lnTo>
                  <a:lnTo>
                    <a:pt x="322" y="40"/>
                  </a:lnTo>
                  <a:lnTo>
                    <a:pt x="317" y="45"/>
                  </a:lnTo>
                  <a:lnTo>
                    <a:pt x="317" y="47"/>
                  </a:lnTo>
                  <a:lnTo>
                    <a:pt x="319" y="50"/>
                  </a:lnTo>
                  <a:lnTo>
                    <a:pt x="317" y="55"/>
                  </a:lnTo>
                  <a:lnTo>
                    <a:pt x="317" y="59"/>
                  </a:lnTo>
                  <a:lnTo>
                    <a:pt x="314" y="59"/>
                  </a:lnTo>
                  <a:lnTo>
                    <a:pt x="312" y="57"/>
                  </a:lnTo>
                  <a:lnTo>
                    <a:pt x="312" y="55"/>
                  </a:lnTo>
                  <a:lnTo>
                    <a:pt x="314" y="52"/>
                  </a:lnTo>
                  <a:lnTo>
                    <a:pt x="310" y="52"/>
                  </a:lnTo>
                  <a:lnTo>
                    <a:pt x="312" y="47"/>
                  </a:lnTo>
                  <a:lnTo>
                    <a:pt x="312" y="47"/>
                  </a:lnTo>
                  <a:lnTo>
                    <a:pt x="303" y="47"/>
                  </a:lnTo>
                  <a:lnTo>
                    <a:pt x="303" y="50"/>
                  </a:lnTo>
                  <a:lnTo>
                    <a:pt x="303" y="50"/>
                  </a:lnTo>
                  <a:lnTo>
                    <a:pt x="300" y="50"/>
                  </a:lnTo>
                  <a:lnTo>
                    <a:pt x="300" y="47"/>
                  </a:lnTo>
                  <a:lnTo>
                    <a:pt x="298" y="45"/>
                  </a:lnTo>
                  <a:lnTo>
                    <a:pt x="298" y="45"/>
                  </a:lnTo>
                  <a:lnTo>
                    <a:pt x="296" y="43"/>
                  </a:lnTo>
                  <a:lnTo>
                    <a:pt x="296" y="45"/>
                  </a:lnTo>
                  <a:lnTo>
                    <a:pt x="293" y="43"/>
                  </a:lnTo>
                  <a:lnTo>
                    <a:pt x="293" y="45"/>
                  </a:lnTo>
                  <a:lnTo>
                    <a:pt x="293" y="50"/>
                  </a:lnTo>
                  <a:lnTo>
                    <a:pt x="291" y="47"/>
                  </a:lnTo>
                  <a:lnTo>
                    <a:pt x="289" y="43"/>
                  </a:lnTo>
                  <a:lnTo>
                    <a:pt x="289" y="43"/>
                  </a:lnTo>
                  <a:lnTo>
                    <a:pt x="289" y="50"/>
                  </a:lnTo>
                  <a:lnTo>
                    <a:pt x="293" y="52"/>
                  </a:lnTo>
                  <a:lnTo>
                    <a:pt x="296" y="52"/>
                  </a:lnTo>
                  <a:lnTo>
                    <a:pt x="296" y="57"/>
                  </a:lnTo>
                  <a:lnTo>
                    <a:pt x="296" y="59"/>
                  </a:lnTo>
                  <a:lnTo>
                    <a:pt x="296" y="64"/>
                  </a:lnTo>
                  <a:lnTo>
                    <a:pt x="296" y="66"/>
                  </a:lnTo>
                  <a:lnTo>
                    <a:pt x="296" y="71"/>
                  </a:lnTo>
                  <a:lnTo>
                    <a:pt x="293" y="69"/>
                  </a:lnTo>
                  <a:lnTo>
                    <a:pt x="289" y="62"/>
                  </a:lnTo>
                  <a:lnTo>
                    <a:pt x="284" y="57"/>
                  </a:lnTo>
                  <a:lnTo>
                    <a:pt x="284" y="62"/>
                  </a:lnTo>
                  <a:lnTo>
                    <a:pt x="281" y="62"/>
                  </a:lnTo>
                  <a:lnTo>
                    <a:pt x="281" y="66"/>
                  </a:lnTo>
                  <a:lnTo>
                    <a:pt x="279" y="64"/>
                  </a:lnTo>
                  <a:lnTo>
                    <a:pt x="279" y="66"/>
                  </a:lnTo>
                  <a:lnTo>
                    <a:pt x="277" y="66"/>
                  </a:lnTo>
                  <a:lnTo>
                    <a:pt x="277" y="64"/>
                  </a:lnTo>
                  <a:lnTo>
                    <a:pt x="279" y="62"/>
                  </a:lnTo>
                  <a:lnTo>
                    <a:pt x="277" y="62"/>
                  </a:lnTo>
                  <a:lnTo>
                    <a:pt x="274" y="64"/>
                  </a:lnTo>
                  <a:lnTo>
                    <a:pt x="272" y="69"/>
                  </a:lnTo>
                  <a:lnTo>
                    <a:pt x="270" y="71"/>
                  </a:lnTo>
                  <a:lnTo>
                    <a:pt x="272" y="76"/>
                  </a:lnTo>
                  <a:lnTo>
                    <a:pt x="272" y="76"/>
                  </a:lnTo>
                  <a:lnTo>
                    <a:pt x="267" y="81"/>
                  </a:lnTo>
                  <a:lnTo>
                    <a:pt x="265" y="88"/>
                  </a:lnTo>
                  <a:lnTo>
                    <a:pt x="263" y="90"/>
                  </a:lnTo>
                  <a:lnTo>
                    <a:pt x="265" y="85"/>
                  </a:lnTo>
                  <a:lnTo>
                    <a:pt x="265" y="81"/>
                  </a:lnTo>
                  <a:lnTo>
                    <a:pt x="267" y="73"/>
                  </a:lnTo>
                  <a:lnTo>
                    <a:pt x="267" y="66"/>
                  </a:lnTo>
                  <a:lnTo>
                    <a:pt x="265" y="62"/>
                  </a:lnTo>
                  <a:lnTo>
                    <a:pt x="263" y="62"/>
                  </a:lnTo>
                  <a:lnTo>
                    <a:pt x="260" y="66"/>
                  </a:lnTo>
                  <a:lnTo>
                    <a:pt x="258" y="71"/>
                  </a:lnTo>
                  <a:lnTo>
                    <a:pt x="255" y="78"/>
                  </a:lnTo>
                  <a:lnTo>
                    <a:pt x="255" y="85"/>
                  </a:lnTo>
                  <a:lnTo>
                    <a:pt x="255" y="69"/>
                  </a:lnTo>
                  <a:lnTo>
                    <a:pt x="246" y="69"/>
                  </a:lnTo>
                  <a:lnTo>
                    <a:pt x="244" y="76"/>
                  </a:lnTo>
                  <a:lnTo>
                    <a:pt x="244" y="76"/>
                  </a:lnTo>
                  <a:lnTo>
                    <a:pt x="244" y="83"/>
                  </a:lnTo>
                  <a:lnTo>
                    <a:pt x="246" y="88"/>
                  </a:lnTo>
                  <a:lnTo>
                    <a:pt x="251" y="88"/>
                  </a:lnTo>
                  <a:lnTo>
                    <a:pt x="253" y="92"/>
                  </a:lnTo>
                  <a:lnTo>
                    <a:pt x="251" y="97"/>
                  </a:lnTo>
                  <a:lnTo>
                    <a:pt x="248" y="95"/>
                  </a:lnTo>
                  <a:lnTo>
                    <a:pt x="246" y="90"/>
                  </a:lnTo>
                  <a:lnTo>
                    <a:pt x="244" y="88"/>
                  </a:lnTo>
                  <a:lnTo>
                    <a:pt x="241" y="83"/>
                  </a:lnTo>
                  <a:lnTo>
                    <a:pt x="239" y="81"/>
                  </a:lnTo>
                  <a:lnTo>
                    <a:pt x="234" y="81"/>
                  </a:lnTo>
                  <a:lnTo>
                    <a:pt x="237" y="85"/>
                  </a:lnTo>
                  <a:lnTo>
                    <a:pt x="241" y="90"/>
                  </a:lnTo>
                  <a:lnTo>
                    <a:pt x="237" y="92"/>
                  </a:lnTo>
                  <a:lnTo>
                    <a:pt x="234" y="92"/>
                  </a:lnTo>
                  <a:lnTo>
                    <a:pt x="234" y="92"/>
                  </a:lnTo>
                  <a:lnTo>
                    <a:pt x="232" y="90"/>
                  </a:lnTo>
                  <a:lnTo>
                    <a:pt x="229" y="90"/>
                  </a:lnTo>
                  <a:lnTo>
                    <a:pt x="229" y="90"/>
                  </a:lnTo>
                  <a:lnTo>
                    <a:pt x="232" y="85"/>
                  </a:lnTo>
                  <a:lnTo>
                    <a:pt x="229" y="83"/>
                  </a:lnTo>
                  <a:lnTo>
                    <a:pt x="229" y="85"/>
                  </a:lnTo>
                  <a:lnTo>
                    <a:pt x="227" y="92"/>
                  </a:lnTo>
                  <a:lnTo>
                    <a:pt x="227" y="95"/>
                  </a:lnTo>
                  <a:lnTo>
                    <a:pt x="229" y="97"/>
                  </a:lnTo>
                  <a:lnTo>
                    <a:pt x="220" y="102"/>
                  </a:lnTo>
                  <a:lnTo>
                    <a:pt x="220" y="104"/>
                  </a:lnTo>
                  <a:lnTo>
                    <a:pt x="218" y="107"/>
                  </a:lnTo>
                  <a:lnTo>
                    <a:pt x="218" y="109"/>
                  </a:lnTo>
                  <a:lnTo>
                    <a:pt x="218" y="111"/>
                  </a:lnTo>
                  <a:lnTo>
                    <a:pt x="222" y="111"/>
                  </a:lnTo>
                  <a:lnTo>
                    <a:pt x="222" y="114"/>
                  </a:lnTo>
                  <a:lnTo>
                    <a:pt x="220" y="114"/>
                  </a:lnTo>
                  <a:lnTo>
                    <a:pt x="220" y="116"/>
                  </a:lnTo>
                  <a:lnTo>
                    <a:pt x="220" y="118"/>
                  </a:lnTo>
                  <a:lnTo>
                    <a:pt x="218" y="116"/>
                  </a:lnTo>
                  <a:lnTo>
                    <a:pt x="215" y="118"/>
                  </a:lnTo>
                  <a:lnTo>
                    <a:pt x="218" y="121"/>
                  </a:lnTo>
                  <a:lnTo>
                    <a:pt x="215" y="123"/>
                  </a:lnTo>
                  <a:lnTo>
                    <a:pt x="213" y="121"/>
                  </a:lnTo>
                  <a:lnTo>
                    <a:pt x="211" y="123"/>
                  </a:lnTo>
                  <a:lnTo>
                    <a:pt x="208" y="123"/>
                  </a:lnTo>
                  <a:lnTo>
                    <a:pt x="203" y="123"/>
                  </a:lnTo>
                  <a:lnTo>
                    <a:pt x="203" y="128"/>
                  </a:lnTo>
                  <a:lnTo>
                    <a:pt x="201" y="128"/>
                  </a:lnTo>
                  <a:lnTo>
                    <a:pt x="201" y="130"/>
                  </a:lnTo>
                  <a:lnTo>
                    <a:pt x="203" y="132"/>
                  </a:lnTo>
                  <a:lnTo>
                    <a:pt x="206" y="130"/>
                  </a:lnTo>
                  <a:lnTo>
                    <a:pt x="208" y="128"/>
                  </a:lnTo>
                  <a:lnTo>
                    <a:pt x="213" y="132"/>
                  </a:lnTo>
                  <a:lnTo>
                    <a:pt x="218" y="130"/>
                  </a:lnTo>
                  <a:lnTo>
                    <a:pt x="218" y="130"/>
                  </a:lnTo>
                  <a:lnTo>
                    <a:pt x="220" y="132"/>
                  </a:lnTo>
                  <a:lnTo>
                    <a:pt x="215" y="132"/>
                  </a:lnTo>
                  <a:lnTo>
                    <a:pt x="213" y="135"/>
                  </a:lnTo>
                  <a:lnTo>
                    <a:pt x="213" y="140"/>
                  </a:lnTo>
                  <a:lnTo>
                    <a:pt x="208" y="137"/>
                  </a:lnTo>
                  <a:lnTo>
                    <a:pt x="206" y="137"/>
                  </a:lnTo>
                  <a:lnTo>
                    <a:pt x="203" y="135"/>
                  </a:lnTo>
                  <a:lnTo>
                    <a:pt x="201" y="135"/>
                  </a:lnTo>
                  <a:lnTo>
                    <a:pt x="196" y="137"/>
                  </a:lnTo>
                  <a:lnTo>
                    <a:pt x="194" y="140"/>
                  </a:lnTo>
                  <a:lnTo>
                    <a:pt x="199" y="144"/>
                  </a:lnTo>
                  <a:lnTo>
                    <a:pt x="199" y="147"/>
                  </a:lnTo>
                  <a:lnTo>
                    <a:pt x="196" y="147"/>
                  </a:lnTo>
                  <a:lnTo>
                    <a:pt x="199" y="151"/>
                  </a:lnTo>
                  <a:lnTo>
                    <a:pt x="199" y="154"/>
                  </a:lnTo>
                  <a:lnTo>
                    <a:pt x="196" y="154"/>
                  </a:lnTo>
                  <a:lnTo>
                    <a:pt x="196" y="156"/>
                  </a:lnTo>
                  <a:lnTo>
                    <a:pt x="194" y="158"/>
                  </a:lnTo>
                  <a:lnTo>
                    <a:pt x="192" y="147"/>
                  </a:lnTo>
                  <a:lnTo>
                    <a:pt x="189" y="147"/>
                  </a:lnTo>
                  <a:lnTo>
                    <a:pt x="187" y="151"/>
                  </a:lnTo>
                  <a:lnTo>
                    <a:pt x="185" y="149"/>
                  </a:lnTo>
                  <a:lnTo>
                    <a:pt x="185" y="151"/>
                  </a:lnTo>
                  <a:lnTo>
                    <a:pt x="187" y="151"/>
                  </a:lnTo>
                  <a:lnTo>
                    <a:pt x="187" y="154"/>
                  </a:lnTo>
                  <a:lnTo>
                    <a:pt x="185" y="154"/>
                  </a:lnTo>
                  <a:lnTo>
                    <a:pt x="182" y="156"/>
                  </a:lnTo>
                  <a:lnTo>
                    <a:pt x="182" y="158"/>
                  </a:lnTo>
                  <a:lnTo>
                    <a:pt x="182" y="163"/>
                  </a:lnTo>
                  <a:lnTo>
                    <a:pt x="185" y="163"/>
                  </a:lnTo>
                  <a:lnTo>
                    <a:pt x="182" y="166"/>
                  </a:lnTo>
                  <a:lnTo>
                    <a:pt x="185" y="168"/>
                  </a:lnTo>
                  <a:lnTo>
                    <a:pt x="182" y="168"/>
                  </a:lnTo>
                  <a:lnTo>
                    <a:pt x="180" y="173"/>
                  </a:lnTo>
                  <a:lnTo>
                    <a:pt x="180" y="173"/>
                  </a:lnTo>
                  <a:lnTo>
                    <a:pt x="177" y="173"/>
                  </a:lnTo>
                  <a:lnTo>
                    <a:pt x="177" y="173"/>
                  </a:lnTo>
                  <a:lnTo>
                    <a:pt x="180" y="175"/>
                  </a:lnTo>
                  <a:lnTo>
                    <a:pt x="187" y="173"/>
                  </a:lnTo>
                  <a:lnTo>
                    <a:pt x="182" y="177"/>
                  </a:lnTo>
                  <a:lnTo>
                    <a:pt x="180" y="180"/>
                  </a:lnTo>
                  <a:lnTo>
                    <a:pt x="175" y="177"/>
                  </a:lnTo>
                  <a:lnTo>
                    <a:pt x="173" y="175"/>
                  </a:lnTo>
                  <a:lnTo>
                    <a:pt x="173" y="173"/>
                  </a:lnTo>
                  <a:lnTo>
                    <a:pt x="170" y="175"/>
                  </a:lnTo>
                  <a:lnTo>
                    <a:pt x="168" y="177"/>
                  </a:lnTo>
                  <a:lnTo>
                    <a:pt x="166" y="182"/>
                  </a:lnTo>
                  <a:lnTo>
                    <a:pt x="163" y="184"/>
                  </a:lnTo>
                  <a:lnTo>
                    <a:pt x="163" y="187"/>
                  </a:lnTo>
                  <a:lnTo>
                    <a:pt x="163" y="187"/>
                  </a:lnTo>
                  <a:lnTo>
                    <a:pt x="163" y="192"/>
                  </a:lnTo>
                  <a:lnTo>
                    <a:pt x="163" y="192"/>
                  </a:lnTo>
                  <a:lnTo>
                    <a:pt x="161" y="194"/>
                  </a:lnTo>
                  <a:lnTo>
                    <a:pt x="159" y="199"/>
                  </a:lnTo>
                  <a:lnTo>
                    <a:pt x="156" y="199"/>
                  </a:lnTo>
                  <a:lnTo>
                    <a:pt x="156" y="199"/>
                  </a:lnTo>
                  <a:lnTo>
                    <a:pt x="154" y="201"/>
                  </a:lnTo>
                  <a:lnTo>
                    <a:pt x="151" y="203"/>
                  </a:lnTo>
                  <a:lnTo>
                    <a:pt x="151" y="206"/>
                  </a:lnTo>
                  <a:lnTo>
                    <a:pt x="151" y="208"/>
                  </a:lnTo>
                  <a:lnTo>
                    <a:pt x="147" y="208"/>
                  </a:lnTo>
                  <a:lnTo>
                    <a:pt x="147" y="213"/>
                  </a:lnTo>
                  <a:lnTo>
                    <a:pt x="144" y="213"/>
                  </a:lnTo>
                  <a:lnTo>
                    <a:pt x="144" y="215"/>
                  </a:lnTo>
                  <a:lnTo>
                    <a:pt x="144" y="215"/>
                  </a:lnTo>
                  <a:lnTo>
                    <a:pt x="142" y="218"/>
                  </a:lnTo>
                  <a:lnTo>
                    <a:pt x="147" y="220"/>
                  </a:lnTo>
                  <a:lnTo>
                    <a:pt x="147" y="220"/>
                  </a:lnTo>
                  <a:lnTo>
                    <a:pt x="144" y="222"/>
                  </a:lnTo>
                  <a:lnTo>
                    <a:pt x="142" y="220"/>
                  </a:lnTo>
                  <a:lnTo>
                    <a:pt x="142" y="222"/>
                  </a:lnTo>
                  <a:lnTo>
                    <a:pt x="142" y="227"/>
                  </a:lnTo>
                  <a:lnTo>
                    <a:pt x="144" y="229"/>
                  </a:lnTo>
                  <a:lnTo>
                    <a:pt x="144" y="227"/>
                  </a:lnTo>
                  <a:lnTo>
                    <a:pt x="147" y="227"/>
                  </a:lnTo>
                  <a:lnTo>
                    <a:pt x="147" y="232"/>
                  </a:lnTo>
                  <a:lnTo>
                    <a:pt x="140" y="232"/>
                  </a:lnTo>
                  <a:lnTo>
                    <a:pt x="137" y="234"/>
                  </a:lnTo>
                  <a:lnTo>
                    <a:pt x="137" y="239"/>
                  </a:lnTo>
                  <a:lnTo>
                    <a:pt x="135" y="241"/>
                  </a:lnTo>
                  <a:lnTo>
                    <a:pt x="133" y="241"/>
                  </a:lnTo>
                  <a:lnTo>
                    <a:pt x="130" y="246"/>
                  </a:lnTo>
                  <a:lnTo>
                    <a:pt x="133" y="246"/>
                  </a:lnTo>
                  <a:lnTo>
                    <a:pt x="135" y="241"/>
                  </a:lnTo>
                  <a:lnTo>
                    <a:pt x="140" y="241"/>
                  </a:lnTo>
                  <a:lnTo>
                    <a:pt x="140" y="244"/>
                  </a:lnTo>
                  <a:lnTo>
                    <a:pt x="142" y="248"/>
                  </a:lnTo>
                  <a:lnTo>
                    <a:pt x="135" y="246"/>
                  </a:lnTo>
                  <a:lnTo>
                    <a:pt x="135" y="248"/>
                  </a:lnTo>
                  <a:lnTo>
                    <a:pt x="135" y="251"/>
                  </a:lnTo>
                  <a:lnTo>
                    <a:pt x="133" y="251"/>
                  </a:lnTo>
                  <a:lnTo>
                    <a:pt x="133" y="253"/>
                  </a:lnTo>
                  <a:lnTo>
                    <a:pt x="133" y="255"/>
                  </a:lnTo>
                  <a:lnTo>
                    <a:pt x="133" y="258"/>
                  </a:lnTo>
                  <a:lnTo>
                    <a:pt x="130" y="255"/>
                  </a:lnTo>
                  <a:lnTo>
                    <a:pt x="130" y="258"/>
                  </a:lnTo>
                  <a:lnTo>
                    <a:pt x="130" y="260"/>
                  </a:lnTo>
                  <a:lnTo>
                    <a:pt x="133" y="262"/>
                  </a:lnTo>
                  <a:lnTo>
                    <a:pt x="133" y="269"/>
                  </a:lnTo>
                  <a:lnTo>
                    <a:pt x="130" y="267"/>
                  </a:lnTo>
                  <a:lnTo>
                    <a:pt x="128" y="265"/>
                  </a:lnTo>
                  <a:lnTo>
                    <a:pt x="126" y="262"/>
                  </a:lnTo>
                  <a:lnTo>
                    <a:pt x="128" y="267"/>
                  </a:lnTo>
                  <a:lnTo>
                    <a:pt x="126" y="269"/>
                  </a:lnTo>
                  <a:lnTo>
                    <a:pt x="123" y="269"/>
                  </a:lnTo>
                  <a:lnTo>
                    <a:pt x="123" y="272"/>
                  </a:lnTo>
                  <a:lnTo>
                    <a:pt x="123" y="274"/>
                  </a:lnTo>
                  <a:lnTo>
                    <a:pt x="126" y="272"/>
                  </a:lnTo>
                  <a:lnTo>
                    <a:pt x="128" y="269"/>
                  </a:lnTo>
                  <a:lnTo>
                    <a:pt x="128" y="272"/>
                  </a:lnTo>
                  <a:lnTo>
                    <a:pt x="128" y="272"/>
                  </a:lnTo>
                  <a:lnTo>
                    <a:pt x="128" y="274"/>
                  </a:lnTo>
                  <a:lnTo>
                    <a:pt x="128" y="277"/>
                  </a:lnTo>
                  <a:lnTo>
                    <a:pt x="126" y="279"/>
                  </a:lnTo>
                  <a:lnTo>
                    <a:pt x="123" y="277"/>
                  </a:lnTo>
                  <a:lnTo>
                    <a:pt x="121" y="279"/>
                  </a:lnTo>
                  <a:lnTo>
                    <a:pt x="118" y="279"/>
                  </a:lnTo>
                  <a:lnTo>
                    <a:pt x="116" y="281"/>
                  </a:lnTo>
                  <a:lnTo>
                    <a:pt x="116" y="284"/>
                  </a:lnTo>
                  <a:lnTo>
                    <a:pt x="114" y="286"/>
                  </a:lnTo>
                  <a:lnTo>
                    <a:pt x="111" y="288"/>
                  </a:lnTo>
                  <a:lnTo>
                    <a:pt x="109" y="293"/>
                  </a:lnTo>
                  <a:lnTo>
                    <a:pt x="114" y="293"/>
                  </a:lnTo>
                  <a:lnTo>
                    <a:pt x="116" y="291"/>
                  </a:lnTo>
                  <a:lnTo>
                    <a:pt x="116" y="293"/>
                  </a:lnTo>
                  <a:lnTo>
                    <a:pt x="111" y="295"/>
                  </a:lnTo>
                  <a:lnTo>
                    <a:pt x="111" y="298"/>
                  </a:lnTo>
                  <a:lnTo>
                    <a:pt x="111" y="303"/>
                  </a:lnTo>
                  <a:lnTo>
                    <a:pt x="111" y="305"/>
                  </a:lnTo>
                  <a:lnTo>
                    <a:pt x="107" y="305"/>
                  </a:lnTo>
                  <a:lnTo>
                    <a:pt x="104" y="300"/>
                  </a:lnTo>
                  <a:lnTo>
                    <a:pt x="102" y="300"/>
                  </a:lnTo>
                  <a:lnTo>
                    <a:pt x="100" y="305"/>
                  </a:lnTo>
                  <a:lnTo>
                    <a:pt x="97" y="307"/>
                  </a:lnTo>
                  <a:lnTo>
                    <a:pt x="95" y="310"/>
                  </a:lnTo>
                  <a:lnTo>
                    <a:pt x="95" y="312"/>
                  </a:lnTo>
                  <a:lnTo>
                    <a:pt x="88" y="319"/>
                  </a:lnTo>
                  <a:lnTo>
                    <a:pt x="88" y="321"/>
                  </a:lnTo>
                  <a:lnTo>
                    <a:pt x="88" y="326"/>
                  </a:lnTo>
                  <a:lnTo>
                    <a:pt x="88" y="326"/>
                  </a:lnTo>
                  <a:lnTo>
                    <a:pt x="81" y="331"/>
                  </a:lnTo>
                  <a:lnTo>
                    <a:pt x="81" y="333"/>
                  </a:lnTo>
                  <a:lnTo>
                    <a:pt x="83" y="336"/>
                  </a:lnTo>
                  <a:lnTo>
                    <a:pt x="88" y="333"/>
                  </a:lnTo>
                  <a:lnTo>
                    <a:pt x="85" y="338"/>
                  </a:lnTo>
                  <a:lnTo>
                    <a:pt x="88" y="343"/>
                  </a:lnTo>
                  <a:lnTo>
                    <a:pt x="90" y="343"/>
                  </a:lnTo>
                  <a:lnTo>
                    <a:pt x="102" y="336"/>
                  </a:lnTo>
                  <a:lnTo>
                    <a:pt x="109" y="331"/>
                  </a:lnTo>
                  <a:lnTo>
                    <a:pt x="109" y="329"/>
                  </a:lnTo>
                  <a:lnTo>
                    <a:pt x="111" y="331"/>
                  </a:lnTo>
                  <a:lnTo>
                    <a:pt x="109" y="333"/>
                  </a:lnTo>
                  <a:lnTo>
                    <a:pt x="107" y="336"/>
                  </a:lnTo>
                  <a:lnTo>
                    <a:pt x="104" y="336"/>
                  </a:lnTo>
                  <a:lnTo>
                    <a:pt x="100" y="338"/>
                  </a:lnTo>
                  <a:lnTo>
                    <a:pt x="97" y="340"/>
                  </a:lnTo>
                  <a:lnTo>
                    <a:pt x="100" y="343"/>
                  </a:lnTo>
                  <a:lnTo>
                    <a:pt x="100" y="343"/>
                  </a:lnTo>
                  <a:lnTo>
                    <a:pt x="92" y="345"/>
                  </a:lnTo>
                  <a:lnTo>
                    <a:pt x="90" y="345"/>
                  </a:lnTo>
                  <a:lnTo>
                    <a:pt x="88" y="347"/>
                  </a:lnTo>
                  <a:lnTo>
                    <a:pt x="90" y="347"/>
                  </a:lnTo>
                  <a:lnTo>
                    <a:pt x="88" y="350"/>
                  </a:lnTo>
                  <a:lnTo>
                    <a:pt x="85" y="347"/>
                  </a:lnTo>
                  <a:lnTo>
                    <a:pt x="85" y="345"/>
                  </a:lnTo>
                  <a:lnTo>
                    <a:pt x="83" y="340"/>
                  </a:lnTo>
                  <a:lnTo>
                    <a:pt x="81" y="340"/>
                  </a:lnTo>
                  <a:lnTo>
                    <a:pt x="81" y="340"/>
                  </a:lnTo>
                  <a:lnTo>
                    <a:pt x="78" y="340"/>
                  </a:lnTo>
                  <a:lnTo>
                    <a:pt x="76" y="340"/>
                  </a:lnTo>
                  <a:lnTo>
                    <a:pt x="74" y="343"/>
                  </a:lnTo>
                  <a:lnTo>
                    <a:pt x="74" y="345"/>
                  </a:lnTo>
                  <a:lnTo>
                    <a:pt x="76" y="347"/>
                  </a:lnTo>
                  <a:lnTo>
                    <a:pt x="76" y="350"/>
                  </a:lnTo>
                  <a:lnTo>
                    <a:pt x="74" y="350"/>
                  </a:lnTo>
                  <a:lnTo>
                    <a:pt x="71" y="350"/>
                  </a:lnTo>
                  <a:lnTo>
                    <a:pt x="71" y="345"/>
                  </a:lnTo>
                  <a:lnTo>
                    <a:pt x="71" y="345"/>
                  </a:lnTo>
                  <a:lnTo>
                    <a:pt x="62" y="347"/>
                  </a:lnTo>
                  <a:lnTo>
                    <a:pt x="62" y="350"/>
                  </a:lnTo>
                  <a:lnTo>
                    <a:pt x="59" y="352"/>
                  </a:lnTo>
                  <a:lnTo>
                    <a:pt x="57" y="352"/>
                  </a:lnTo>
                  <a:lnTo>
                    <a:pt x="57" y="355"/>
                  </a:lnTo>
                  <a:lnTo>
                    <a:pt x="57" y="357"/>
                  </a:lnTo>
                  <a:lnTo>
                    <a:pt x="55" y="357"/>
                  </a:lnTo>
                  <a:lnTo>
                    <a:pt x="55" y="355"/>
                  </a:lnTo>
                  <a:lnTo>
                    <a:pt x="55" y="355"/>
                  </a:lnTo>
                  <a:lnTo>
                    <a:pt x="52" y="355"/>
                  </a:lnTo>
                  <a:lnTo>
                    <a:pt x="52" y="355"/>
                  </a:lnTo>
                  <a:lnTo>
                    <a:pt x="52" y="357"/>
                  </a:lnTo>
                  <a:lnTo>
                    <a:pt x="52" y="357"/>
                  </a:lnTo>
                  <a:lnTo>
                    <a:pt x="50" y="357"/>
                  </a:lnTo>
                  <a:lnTo>
                    <a:pt x="45" y="359"/>
                  </a:lnTo>
                  <a:lnTo>
                    <a:pt x="43" y="364"/>
                  </a:lnTo>
                  <a:lnTo>
                    <a:pt x="43" y="369"/>
                  </a:lnTo>
                  <a:lnTo>
                    <a:pt x="40" y="366"/>
                  </a:lnTo>
                  <a:lnTo>
                    <a:pt x="36" y="366"/>
                  </a:lnTo>
                  <a:lnTo>
                    <a:pt x="33" y="369"/>
                  </a:lnTo>
                  <a:lnTo>
                    <a:pt x="33" y="371"/>
                  </a:lnTo>
                  <a:lnTo>
                    <a:pt x="36" y="373"/>
                  </a:lnTo>
                  <a:lnTo>
                    <a:pt x="36" y="373"/>
                  </a:lnTo>
                  <a:lnTo>
                    <a:pt x="38" y="376"/>
                  </a:lnTo>
                  <a:lnTo>
                    <a:pt x="40" y="373"/>
                  </a:lnTo>
                  <a:lnTo>
                    <a:pt x="43" y="376"/>
                  </a:lnTo>
                  <a:lnTo>
                    <a:pt x="45" y="376"/>
                  </a:lnTo>
                  <a:lnTo>
                    <a:pt x="43" y="381"/>
                  </a:lnTo>
                  <a:lnTo>
                    <a:pt x="43" y="381"/>
                  </a:lnTo>
                  <a:lnTo>
                    <a:pt x="40" y="381"/>
                  </a:lnTo>
                  <a:lnTo>
                    <a:pt x="38" y="381"/>
                  </a:lnTo>
                  <a:lnTo>
                    <a:pt x="31" y="378"/>
                  </a:lnTo>
                  <a:lnTo>
                    <a:pt x="29" y="381"/>
                  </a:lnTo>
                  <a:lnTo>
                    <a:pt x="26" y="381"/>
                  </a:lnTo>
                  <a:lnTo>
                    <a:pt x="24" y="381"/>
                  </a:lnTo>
                  <a:lnTo>
                    <a:pt x="24" y="383"/>
                  </a:lnTo>
                  <a:lnTo>
                    <a:pt x="24" y="383"/>
                  </a:lnTo>
                  <a:lnTo>
                    <a:pt x="24" y="383"/>
                  </a:lnTo>
                  <a:lnTo>
                    <a:pt x="24" y="385"/>
                  </a:lnTo>
                  <a:lnTo>
                    <a:pt x="24" y="385"/>
                  </a:lnTo>
                  <a:lnTo>
                    <a:pt x="26" y="385"/>
                  </a:lnTo>
                  <a:lnTo>
                    <a:pt x="26" y="385"/>
                  </a:lnTo>
                  <a:lnTo>
                    <a:pt x="24" y="388"/>
                  </a:lnTo>
                  <a:lnTo>
                    <a:pt x="26" y="390"/>
                  </a:lnTo>
                  <a:lnTo>
                    <a:pt x="26" y="395"/>
                  </a:lnTo>
                  <a:lnTo>
                    <a:pt x="26" y="395"/>
                  </a:lnTo>
                  <a:lnTo>
                    <a:pt x="24" y="392"/>
                  </a:lnTo>
                  <a:lnTo>
                    <a:pt x="22" y="390"/>
                  </a:lnTo>
                  <a:lnTo>
                    <a:pt x="19" y="392"/>
                  </a:lnTo>
                  <a:lnTo>
                    <a:pt x="17" y="395"/>
                  </a:lnTo>
                  <a:lnTo>
                    <a:pt x="17" y="397"/>
                  </a:lnTo>
                  <a:lnTo>
                    <a:pt x="19" y="399"/>
                  </a:lnTo>
                  <a:lnTo>
                    <a:pt x="19" y="402"/>
                  </a:lnTo>
                  <a:lnTo>
                    <a:pt x="17" y="399"/>
                  </a:lnTo>
                  <a:lnTo>
                    <a:pt x="14" y="397"/>
                  </a:lnTo>
                  <a:lnTo>
                    <a:pt x="12" y="397"/>
                  </a:lnTo>
                  <a:lnTo>
                    <a:pt x="7" y="397"/>
                  </a:lnTo>
                  <a:lnTo>
                    <a:pt x="7" y="399"/>
                  </a:lnTo>
                  <a:lnTo>
                    <a:pt x="7" y="402"/>
                  </a:lnTo>
                  <a:lnTo>
                    <a:pt x="3" y="397"/>
                  </a:lnTo>
                  <a:lnTo>
                    <a:pt x="3" y="397"/>
                  </a:lnTo>
                  <a:lnTo>
                    <a:pt x="5" y="402"/>
                  </a:lnTo>
                  <a:lnTo>
                    <a:pt x="3" y="404"/>
                  </a:lnTo>
                  <a:lnTo>
                    <a:pt x="3" y="404"/>
                  </a:lnTo>
                  <a:lnTo>
                    <a:pt x="12" y="404"/>
                  </a:lnTo>
                  <a:lnTo>
                    <a:pt x="19" y="404"/>
                  </a:lnTo>
                  <a:lnTo>
                    <a:pt x="14" y="406"/>
                  </a:lnTo>
                  <a:lnTo>
                    <a:pt x="17" y="406"/>
                  </a:lnTo>
                  <a:lnTo>
                    <a:pt x="19" y="406"/>
                  </a:lnTo>
                  <a:lnTo>
                    <a:pt x="24" y="406"/>
                  </a:lnTo>
                  <a:lnTo>
                    <a:pt x="24" y="406"/>
                  </a:lnTo>
                  <a:lnTo>
                    <a:pt x="22" y="409"/>
                  </a:lnTo>
                  <a:lnTo>
                    <a:pt x="14" y="409"/>
                  </a:lnTo>
                  <a:lnTo>
                    <a:pt x="10" y="409"/>
                  </a:lnTo>
                  <a:lnTo>
                    <a:pt x="10" y="406"/>
                  </a:lnTo>
                  <a:lnTo>
                    <a:pt x="7" y="406"/>
                  </a:lnTo>
                  <a:lnTo>
                    <a:pt x="3" y="411"/>
                  </a:lnTo>
                  <a:lnTo>
                    <a:pt x="3" y="411"/>
                  </a:lnTo>
                  <a:lnTo>
                    <a:pt x="0" y="411"/>
                  </a:lnTo>
                  <a:lnTo>
                    <a:pt x="0" y="414"/>
                  </a:lnTo>
                  <a:lnTo>
                    <a:pt x="0" y="416"/>
                  </a:lnTo>
                  <a:lnTo>
                    <a:pt x="5" y="416"/>
                  </a:lnTo>
                  <a:lnTo>
                    <a:pt x="5" y="418"/>
                  </a:lnTo>
                  <a:lnTo>
                    <a:pt x="5" y="421"/>
                  </a:lnTo>
                  <a:lnTo>
                    <a:pt x="3" y="423"/>
                  </a:lnTo>
                  <a:lnTo>
                    <a:pt x="0" y="425"/>
                  </a:lnTo>
                  <a:lnTo>
                    <a:pt x="0" y="428"/>
                  </a:lnTo>
                  <a:lnTo>
                    <a:pt x="0" y="428"/>
                  </a:lnTo>
                  <a:lnTo>
                    <a:pt x="0" y="430"/>
                  </a:lnTo>
                  <a:lnTo>
                    <a:pt x="0" y="432"/>
                  </a:lnTo>
                  <a:lnTo>
                    <a:pt x="0" y="435"/>
                  </a:lnTo>
                  <a:lnTo>
                    <a:pt x="7" y="435"/>
                  </a:lnTo>
                  <a:lnTo>
                    <a:pt x="17" y="430"/>
                  </a:lnTo>
                  <a:lnTo>
                    <a:pt x="19" y="432"/>
                  </a:lnTo>
                  <a:lnTo>
                    <a:pt x="22" y="432"/>
                  </a:lnTo>
                  <a:lnTo>
                    <a:pt x="24" y="430"/>
                  </a:lnTo>
                  <a:lnTo>
                    <a:pt x="26" y="423"/>
                  </a:lnTo>
                  <a:lnTo>
                    <a:pt x="26" y="428"/>
                  </a:lnTo>
                  <a:lnTo>
                    <a:pt x="26" y="432"/>
                  </a:lnTo>
                  <a:lnTo>
                    <a:pt x="26" y="432"/>
                  </a:lnTo>
                  <a:lnTo>
                    <a:pt x="31" y="432"/>
                  </a:lnTo>
                  <a:lnTo>
                    <a:pt x="33" y="432"/>
                  </a:lnTo>
                  <a:lnTo>
                    <a:pt x="33" y="432"/>
                  </a:lnTo>
                  <a:lnTo>
                    <a:pt x="38" y="428"/>
                  </a:lnTo>
                  <a:lnTo>
                    <a:pt x="38" y="421"/>
                  </a:lnTo>
                  <a:lnTo>
                    <a:pt x="43" y="418"/>
                  </a:lnTo>
                  <a:lnTo>
                    <a:pt x="43" y="421"/>
                  </a:lnTo>
                  <a:lnTo>
                    <a:pt x="40" y="425"/>
                  </a:lnTo>
                  <a:lnTo>
                    <a:pt x="40" y="430"/>
                  </a:lnTo>
                  <a:lnTo>
                    <a:pt x="40" y="430"/>
                  </a:lnTo>
                  <a:lnTo>
                    <a:pt x="40" y="430"/>
                  </a:lnTo>
                  <a:lnTo>
                    <a:pt x="43" y="430"/>
                  </a:lnTo>
                  <a:lnTo>
                    <a:pt x="45" y="430"/>
                  </a:lnTo>
                  <a:lnTo>
                    <a:pt x="40" y="432"/>
                  </a:lnTo>
                  <a:lnTo>
                    <a:pt x="36" y="435"/>
                  </a:lnTo>
                  <a:lnTo>
                    <a:pt x="36" y="437"/>
                  </a:lnTo>
                  <a:lnTo>
                    <a:pt x="36" y="440"/>
                  </a:lnTo>
                  <a:lnTo>
                    <a:pt x="33" y="444"/>
                  </a:lnTo>
                  <a:lnTo>
                    <a:pt x="33" y="440"/>
                  </a:lnTo>
                  <a:lnTo>
                    <a:pt x="31" y="437"/>
                  </a:lnTo>
                  <a:lnTo>
                    <a:pt x="29" y="435"/>
                  </a:lnTo>
                  <a:lnTo>
                    <a:pt x="24" y="435"/>
                  </a:lnTo>
                  <a:lnTo>
                    <a:pt x="22" y="437"/>
                  </a:lnTo>
                  <a:lnTo>
                    <a:pt x="17" y="435"/>
                  </a:lnTo>
                  <a:lnTo>
                    <a:pt x="14" y="437"/>
                  </a:lnTo>
                  <a:lnTo>
                    <a:pt x="12" y="435"/>
                  </a:lnTo>
                  <a:lnTo>
                    <a:pt x="7" y="437"/>
                  </a:lnTo>
                  <a:lnTo>
                    <a:pt x="3" y="437"/>
                  </a:lnTo>
                  <a:lnTo>
                    <a:pt x="0" y="442"/>
                  </a:lnTo>
                  <a:lnTo>
                    <a:pt x="0" y="444"/>
                  </a:lnTo>
                  <a:lnTo>
                    <a:pt x="3" y="444"/>
                  </a:lnTo>
                  <a:lnTo>
                    <a:pt x="5" y="444"/>
                  </a:lnTo>
                  <a:lnTo>
                    <a:pt x="5" y="449"/>
                  </a:lnTo>
                  <a:lnTo>
                    <a:pt x="3" y="447"/>
                  </a:lnTo>
                  <a:lnTo>
                    <a:pt x="0" y="447"/>
                  </a:lnTo>
                  <a:lnTo>
                    <a:pt x="0" y="447"/>
                  </a:lnTo>
                  <a:lnTo>
                    <a:pt x="0" y="447"/>
                  </a:lnTo>
                  <a:lnTo>
                    <a:pt x="0" y="447"/>
                  </a:lnTo>
                  <a:lnTo>
                    <a:pt x="3" y="454"/>
                  </a:lnTo>
                  <a:lnTo>
                    <a:pt x="5" y="454"/>
                  </a:lnTo>
                  <a:lnTo>
                    <a:pt x="10" y="451"/>
                  </a:lnTo>
                  <a:lnTo>
                    <a:pt x="12" y="451"/>
                  </a:lnTo>
                  <a:lnTo>
                    <a:pt x="7" y="454"/>
                  </a:lnTo>
                  <a:lnTo>
                    <a:pt x="5" y="456"/>
                  </a:lnTo>
                  <a:lnTo>
                    <a:pt x="7" y="458"/>
                  </a:lnTo>
                  <a:lnTo>
                    <a:pt x="3" y="461"/>
                  </a:lnTo>
                  <a:lnTo>
                    <a:pt x="3" y="461"/>
                  </a:lnTo>
                  <a:lnTo>
                    <a:pt x="3" y="466"/>
                  </a:lnTo>
                  <a:lnTo>
                    <a:pt x="5" y="466"/>
                  </a:lnTo>
                  <a:lnTo>
                    <a:pt x="5" y="468"/>
                  </a:lnTo>
                  <a:lnTo>
                    <a:pt x="7" y="466"/>
                  </a:lnTo>
                  <a:lnTo>
                    <a:pt x="10" y="466"/>
                  </a:lnTo>
                  <a:lnTo>
                    <a:pt x="10" y="468"/>
                  </a:lnTo>
                  <a:lnTo>
                    <a:pt x="12" y="473"/>
                  </a:lnTo>
                  <a:lnTo>
                    <a:pt x="10" y="473"/>
                  </a:lnTo>
                  <a:lnTo>
                    <a:pt x="7" y="475"/>
                  </a:lnTo>
                  <a:lnTo>
                    <a:pt x="7" y="475"/>
                  </a:lnTo>
                  <a:lnTo>
                    <a:pt x="7" y="477"/>
                  </a:lnTo>
                  <a:lnTo>
                    <a:pt x="12" y="475"/>
                  </a:lnTo>
                  <a:lnTo>
                    <a:pt x="12" y="470"/>
                  </a:lnTo>
                  <a:lnTo>
                    <a:pt x="14" y="468"/>
                  </a:lnTo>
                  <a:lnTo>
                    <a:pt x="17" y="466"/>
                  </a:lnTo>
                  <a:lnTo>
                    <a:pt x="19" y="461"/>
                  </a:lnTo>
                  <a:lnTo>
                    <a:pt x="22" y="456"/>
                  </a:lnTo>
                  <a:lnTo>
                    <a:pt x="26" y="451"/>
                  </a:lnTo>
                  <a:lnTo>
                    <a:pt x="26" y="454"/>
                  </a:lnTo>
                  <a:lnTo>
                    <a:pt x="26" y="456"/>
                  </a:lnTo>
                  <a:lnTo>
                    <a:pt x="31" y="454"/>
                  </a:lnTo>
                  <a:lnTo>
                    <a:pt x="33" y="454"/>
                  </a:lnTo>
                  <a:lnTo>
                    <a:pt x="29" y="458"/>
                  </a:lnTo>
                  <a:lnTo>
                    <a:pt x="29" y="461"/>
                  </a:lnTo>
                  <a:lnTo>
                    <a:pt x="29" y="463"/>
                  </a:lnTo>
                  <a:lnTo>
                    <a:pt x="26" y="458"/>
                  </a:lnTo>
                  <a:lnTo>
                    <a:pt x="26" y="458"/>
                  </a:lnTo>
                  <a:lnTo>
                    <a:pt x="22" y="463"/>
                  </a:lnTo>
                  <a:lnTo>
                    <a:pt x="19" y="466"/>
                  </a:lnTo>
                  <a:lnTo>
                    <a:pt x="22" y="468"/>
                  </a:lnTo>
                  <a:lnTo>
                    <a:pt x="22" y="470"/>
                  </a:lnTo>
                  <a:lnTo>
                    <a:pt x="19" y="470"/>
                  </a:lnTo>
                  <a:lnTo>
                    <a:pt x="12" y="480"/>
                  </a:lnTo>
                  <a:lnTo>
                    <a:pt x="14" y="480"/>
                  </a:lnTo>
                  <a:lnTo>
                    <a:pt x="19" y="480"/>
                  </a:lnTo>
                  <a:lnTo>
                    <a:pt x="22" y="480"/>
                  </a:lnTo>
                  <a:lnTo>
                    <a:pt x="22" y="480"/>
                  </a:lnTo>
                  <a:lnTo>
                    <a:pt x="17" y="482"/>
                  </a:lnTo>
                  <a:lnTo>
                    <a:pt x="14" y="484"/>
                  </a:lnTo>
                  <a:lnTo>
                    <a:pt x="14" y="487"/>
                  </a:lnTo>
                  <a:lnTo>
                    <a:pt x="12" y="487"/>
                  </a:lnTo>
                  <a:lnTo>
                    <a:pt x="10" y="487"/>
                  </a:lnTo>
                  <a:lnTo>
                    <a:pt x="7" y="487"/>
                  </a:lnTo>
                  <a:lnTo>
                    <a:pt x="5" y="489"/>
                  </a:lnTo>
                  <a:lnTo>
                    <a:pt x="3" y="492"/>
                  </a:lnTo>
                  <a:lnTo>
                    <a:pt x="3" y="496"/>
                  </a:lnTo>
                  <a:lnTo>
                    <a:pt x="5" y="496"/>
                  </a:lnTo>
                  <a:lnTo>
                    <a:pt x="5" y="499"/>
                  </a:lnTo>
                  <a:lnTo>
                    <a:pt x="7" y="496"/>
                  </a:lnTo>
                  <a:lnTo>
                    <a:pt x="10" y="494"/>
                  </a:lnTo>
                  <a:lnTo>
                    <a:pt x="10" y="496"/>
                  </a:lnTo>
                  <a:lnTo>
                    <a:pt x="12" y="496"/>
                  </a:lnTo>
                  <a:lnTo>
                    <a:pt x="12" y="496"/>
                  </a:lnTo>
                  <a:lnTo>
                    <a:pt x="12" y="494"/>
                  </a:lnTo>
                  <a:lnTo>
                    <a:pt x="14" y="494"/>
                  </a:lnTo>
                  <a:lnTo>
                    <a:pt x="19" y="492"/>
                  </a:lnTo>
                  <a:lnTo>
                    <a:pt x="22" y="489"/>
                  </a:lnTo>
                  <a:lnTo>
                    <a:pt x="22" y="492"/>
                  </a:lnTo>
                  <a:lnTo>
                    <a:pt x="17" y="496"/>
                  </a:lnTo>
                  <a:lnTo>
                    <a:pt x="19" y="496"/>
                  </a:lnTo>
                  <a:lnTo>
                    <a:pt x="19" y="499"/>
                  </a:lnTo>
                  <a:lnTo>
                    <a:pt x="17" y="503"/>
                  </a:lnTo>
                  <a:lnTo>
                    <a:pt x="17" y="506"/>
                  </a:lnTo>
                  <a:lnTo>
                    <a:pt x="14" y="506"/>
                  </a:lnTo>
                  <a:lnTo>
                    <a:pt x="14" y="508"/>
                  </a:lnTo>
                  <a:lnTo>
                    <a:pt x="14" y="510"/>
                  </a:lnTo>
                  <a:lnTo>
                    <a:pt x="14" y="510"/>
                  </a:lnTo>
                  <a:lnTo>
                    <a:pt x="12" y="510"/>
                  </a:lnTo>
                  <a:lnTo>
                    <a:pt x="10" y="508"/>
                  </a:lnTo>
                  <a:lnTo>
                    <a:pt x="10" y="508"/>
                  </a:lnTo>
                  <a:lnTo>
                    <a:pt x="7" y="518"/>
                  </a:lnTo>
                  <a:lnTo>
                    <a:pt x="12" y="525"/>
                  </a:lnTo>
                  <a:lnTo>
                    <a:pt x="19" y="529"/>
                  </a:lnTo>
                  <a:lnTo>
                    <a:pt x="22" y="532"/>
                  </a:lnTo>
                  <a:lnTo>
                    <a:pt x="26" y="534"/>
                  </a:lnTo>
                  <a:lnTo>
                    <a:pt x="29" y="529"/>
                  </a:lnTo>
                  <a:lnTo>
                    <a:pt x="29" y="534"/>
                  </a:lnTo>
                  <a:lnTo>
                    <a:pt x="29" y="539"/>
                  </a:lnTo>
                  <a:lnTo>
                    <a:pt x="31" y="536"/>
                  </a:lnTo>
                  <a:lnTo>
                    <a:pt x="33" y="539"/>
                  </a:lnTo>
                  <a:lnTo>
                    <a:pt x="33" y="536"/>
                  </a:lnTo>
                  <a:lnTo>
                    <a:pt x="38" y="536"/>
                  </a:lnTo>
                  <a:lnTo>
                    <a:pt x="36" y="539"/>
                  </a:lnTo>
                  <a:lnTo>
                    <a:pt x="43" y="541"/>
                  </a:lnTo>
                  <a:lnTo>
                    <a:pt x="45" y="539"/>
                  </a:lnTo>
                  <a:lnTo>
                    <a:pt x="50" y="536"/>
                  </a:lnTo>
                  <a:lnTo>
                    <a:pt x="50" y="532"/>
                  </a:lnTo>
                  <a:lnTo>
                    <a:pt x="52" y="536"/>
                  </a:lnTo>
                  <a:lnTo>
                    <a:pt x="59" y="532"/>
                  </a:lnTo>
                  <a:lnTo>
                    <a:pt x="66" y="522"/>
                  </a:lnTo>
                  <a:lnTo>
                    <a:pt x="69" y="520"/>
                  </a:lnTo>
                  <a:lnTo>
                    <a:pt x="71" y="518"/>
                  </a:lnTo>
                  <a:lnTo>
                    <a:pt x="74" y="515"/>
                  </a:lnTo>
                  <a:lnTo>
                    <a:pt x="74" y="513"/>
                  </a:lnTo>
                  <a:lnTo>
                    <a:pt x="78" y="508"/>
                  </a:lnTo>
                  <a:lnTo>
                    <a:pt x="78" y="506"/>
                  </a:lnTo>
                  <a:lnTo>
                    <a:pt x="83" y="508"/>
                  </a:lnTo>
                  <a:lnTo>
                    <a:pt x="88" y="508"/>
                  </a:lnTo>
                  <a:lnTo>
                    <a:pt x="88" y="506"/>
                  </a:lnTo>
                  <a:lnTo>
                    <a:pt x="90" y="503"/>
                  </a:lnTo>
                  <a:lnTo>
                    <a:pt x="90" y="501"/>
                  </a:lnTo>
                  <a:lnTo>
                    <a:pt x="92" y="499"/>
                  </a:lnTo>
                  <a:lnTo>
                    <a:pt x="92" y="494"/>
                  </a:lnTo>
                  <a:lnTo>
                    <a:pt x="90" y="492"/>
                  </a:lnTo>
                  <a:lnTo>
                    <a:pt x="90" y="489"/>
                  </a:lnTo>
                  <a:lnTo>
                    <a:pt x="90" y="489"/>
                  </a:lnTo>
                  <a:lnTo>
                    <a:pt x="90" y="487"/>
                  </a:lnTo>
                  <a:lnTo>
                    <a:pt x="90" y="484"/>
                  </a:lnTo>
                  <a:lnTo>
                    <a:pt x="90" y="484"/>
                  </a:lnTo>
                  <a:lnTo>
                    <a:pt x="92" y="487"/>
                  </a:lnTo>
                  <a:lnTo>
                    <a:pt x="92" y="489"/>
                  </a:lnTo>
                  <a:lnTo>
                    <a:pt x="95" y="489"/>
                  </a:lnTo>
                  <a:lnTo>
                    <a:pt x="95" y="487"/>
                  </a:lnTo>
                  <a:lnTo>
                    <a:pt x="92" y="484"/>
                  </a:lnTo>
                  <a:lnTo>
                    <a:pt x="92" y="480"/>
                  </a:lnTo>
                  <a:lnTo>
                    <a:pt x="92" y="480"/>
                  </a:lnTo>
                  <a:lnTo>
                    <a:pt x="95" y="480"/>
                  </a:lnTo>
                  <a:lnTo>
                    <a:pt x="97" y="477"/>
                  </a:lnTo>
                  <a:lnTo>
                    <a:pt x="97" y="480"/>
                  </a:lnTo>
                  <a:lnTo>
                    <a:pt x="97" y="482"/>
                  </a:lnTo>
                  <a:lnTo>
                    <a:pt x="95" y="482"/>
                  </a:lnTo>
                  <a:lnTo>
                    <a:pt x="95" y="484"/>
                  </a:lnTo>
                  <a:lnTo>
                    <a:pt x="97" y="487"/>
                  </a:lnTo>
                  <a:lnTo>
                    <a:pt x="97" y="496"/>
                  </a:lnTo>
                  <a:lnTo>
                    <a:pt x="97" y="501"/>
                  </a:lnTo>
                  <a:lnTo>
                    <a:pt x="100" y="501"/>
                  </a:lnTo>
                  <a:lnTo>
                    <a:pt x="104" y="503"/>
                  </a:lnTo>
                  <a:lnTo>
                    <a:pt x="104" y="503"/>
                  </a:lnTo>
                  <a:lnTo>
                    <a:pt x="107" y="506"/>
                  </a:lnTo>
                  <a:lnTo>
                    <a:pt x="107" y="506"/>
                  </a:lnTo>
                  <a:lnTo>
                    <a:pt x="107" y="513"/>
                  </a:lnTo>
                  <a:lnTo>
                    <a:pt x="109" y="508"/>
                  </a:lnTo>
                  <a:lnTo>
                    <a:pt x="109" y="513"/>
                  </a:lnTo>
                  <a:lnTo>
                    <a:pt x="111" y="510"/>
                  </a:lnTo>
                  <a:lnTo>
                    <a:pt x="114" y="499"/>
                  </a:lnTo>
                  <a:lnTo>
                    <a:pt x="114" y="494"/>
                  </a:lnTo>
                  <a:lnTo>
                    <a:pt x="114" y="489"/>
                  </a:lnTo>
                  <a:lnTo>
                    <a:pt x="116" y="482"/>
                  </a:lnTo>
                  <a:lnTo>
                    <a:pt x="116" y="477"/>
                  </a:lnTo>
                  <a:lnTo>
                    <a:pt x="126" y="475"/>
                  </a:lnTo>
                  <a:lnTo>
                    <a:pt x="128" y="470"/>
                  </a:lnTo>
                  <a:lnTo>
                    <a:pt x="128" y="466"/>
                  </a:lnTo>
                  <a:lnTo>
                    <a:pt x="126" y="463"/>
                  </a:lnTo>
                  <a:lnTo>
                    <a:pt x="128" y="454"/>
                  </a:lnTo>
                  <a:lnTo>
                    <a:pt x="126" y="444"/>
                  </a:lnTo>
                  <a:lnTo>
                    <a:pt x="123" y="440"/>
                  </a:lnTo>
                  <a:lnTo>
                    <a:pt x="123" y="437"/>
                  </a:lnTo>
                  <a:lnTo>
                    <a:pt x="128" y="435"/>
                  </a:lnTo>
                  <a:lnTo>
                    <a:pt x="133" y="432"/>
                  </a:lnTo>
                  <a:lnTo>
                    <a:pt x="135" y="425"/>
                  </a:lnTo>
                  <a:lnTo>
                    <a:pt x="133" y="418"/>
                  </a:lnTo>
                  <a:lnTo>
                    <a:pt x="126" y="414"/>
                  </a:lnTo>
                  <a:lnTo>
                    <a:pt x="123" y="409"/>
                  </a:lnTo>
                  <a:lnTo>
                    <a:pt x="123" y="404"/>
                  </a:lnTo>
                  <a:lnTo>
                    <a:pt x="123" y="390"/>
                  </a:lnTo>
                  <a:lnTo>
                    <a:pt x="123" y="385"/>
                  </a:lnTo>
                  <a:lnTo>
                    <a:pt x="121" y="383"/>
                  </a:lnTo>
                  <a:lnTo>
                    <a:pt x="121" y="381"/>
                  </a:lnTo>
                  <a:lnTo>
                    <a:pt x="123" y="378"/>
                  </a:lnTo>
                  <a:lnTo>
                    <a:pt x="123" y="371"/>
                  </a:lnTo>
                  <a:lnTo>
                    <a:pt x="123" y="369"/>
                  </a:lnTo>
                  <a:lnTo>
                    <a:pt x="123" y="364"/>
                  </a:lnTo>
                  <a:lnTo>
                    <a:pt x="126" y="362"/>
                  </a:lnTo>
                  <a:lnTo>
                    <a:pt x="123" y="359"/>
                  </a:lnTo>
                  <a:lnTo>
                    <a:pt x="123" y="355"/>
                  </a:lnTo>
                  <a:lnTo>
                    <a:pt x="121" y="350"/>
                  </a:lnTo>
                  <a:lnTo>
                    <a:pt x="123" y="343"/>
                  </a:lnTo>
                  <a:lnTo>
                    <a:pt x="123" y="338"/>
                  </a:lnTo>
                  <a:lnTo>
                    <a:pt x="133" y="329"/>
                  </a:lnTo>
                  <a:lnTo>
                    <a:pt x="137" y="324"/>
                  </a:lnTo>
                  <a:lnTo>
                    <a:pt x="144" y="324"/>
                  </a:lnTo>
                  <a:lnTo>
                    <a:pt x="149" y="324"/>
                  </a:lnTo>
                  <a:lnTo>
                    <a:pt x="154" y="324"/>
                  </a:lnTo>
                  <a:lnTo>
                    <a:pt x="159" y="321"/>
                  </a:lnTo>
                  <a:lnTo>
                    <a:pt x="159" y="317"/>
                  </a:lnTo>
                  <a:lnTo>
                    <a:pt x="159" y="310"/>
                  </a:lnTo>
                  <a:lnTo>
                    <a:pt x="156" y="307"/>
                  </a:lnTo>
                  <a:lnTo>
                    <a:pt x="151" y="303"/>
                  </a:lnTo>
                  <a:lnTo>
                    <a:pt x="151" y="298"/>
                  </a:lnTo>
                  <a:lnTo>
                    <a:pt x="159" y="288"/>
                  </a:lnTo>
                  <a:lnTo>
                    <a:pt x="163" y="277"/>
                  </a:lnTo>
                  <a:lnTo>
                    <a:pt x="166" y="260"/>
                  </a:lnTo>
                  <a:lnTo>
                    <a:pt x="166" y="251"/>
                  </a:lnTo>
                  <a:lnTo>
                    <a:pt x="166" y="244"/>
                  </a:lnTo>
                  <a:lnTo>
                    <a:pt x="166" y="241"/>
                  </a:lnTo>
                  <a:lnTo>
                    <a:pt x="168" y="239"/>
                  </a:lnTo>
                  <a:lnTo>
                    <a:pt x="173" y="239"/>
                  </a:lnTo>
                  <a:lnTo>
                    <a:pt x="177" y="234"/>
                  </a:lnTo>
                  <a:lnTo>
                    <a:pt x="180" y="229"/>
                  </a:lnTo>
                  <a:lnTo>
                    <a:pt x="180" y="225"/>
                  </a:lnTo>
                  <a:lnTo>
                    <a:pt x="182" y="220"/>
                  </a:lnTo>
                  <a:lnTo>
                    <a:pt x="189" y="208"/>
                  </a:lnTo>
                  <a:lnTo>
                    <a:pt x="192" y="206"/>
                  </a:lnTo>
                  <a:lnTo>
                    <a:pt x="194" y="201"/>
                  </a:lnTo>
                  <a:lnTo>
                    <a:pt x="196" y="196"/>
                  </a:lnTo>
                  <a:lnTo>
                    <a:pt x="199" y="194"/>
                  </a:lnTo>
                  <a:lnTo>
                    <a:pt x="196" y="189"/>
                  </a:lnTo>
                  <a:lnTo>
                    <a:pt x="194" y="182"/>
                  </a:lnTo>
                  <a:lnTo>
                    <a:pt x="194" y="177"/>
                  </a:lnTo>
                  <a:lnTo>
                    <a:pt x="199" y="173"/>
                  </a:lnTo>
                  <a:lnTo>
                    <a:pt x="201" y="170"/>
                  </a:lnTo>
                  <a:lnTo>
                    <a:pt x="201" y="166"/>
                  </a:lnTo>
                  <a:lnTo>
                    <a:pt x="203" y="161"/>
                  </a:lnTo>
                  <a:lnTo>
                    <a:pt x="206" y="156"/>
                  </a:lnTo>
                  <a:lnTo>
                    <a:pt x="211" y="149"/>
                  </a:lnTo>
                  <a:lnTo>
                    <a:pt x="215" y="149"/>
                  </a:lnTo>
                  <a:lnTo>
                    <a:pt x="220" y="151"/>
                  </a:lnTo>
                  <a:lnTo>
                    <a:pt x="222" y="156"/>
                  </a:lnTo>
                  <a:lnTo>
                    <a:pt x="222" y="156"/>
                  </a:lnTo>
                  <a:lnTo>
                    <a:pt x="227" y="151"/>
                  </a:lnTo>
                  <a:lnTo>
                    <a:pt x="227" y="144"/>
                  </a:lnTo>
                  <a:lnTo>
                    <a:pt x="229" y="142"/>
                  </a:lnTo>
                  <a:lnTo>
                    <a:pt x="227" y="132"/>
                  </a:lnTo>
                  <a:lnTo>
                    <a:pt x="229" y="130"/>
                  </a:lnTo>
                  <a:lnTo>
                    <a:pt x="232" y="128"/>
                  </a:lnTo>
                  <a:lnTo>
                    <a:pt x="234" y="128"/>
                  </a:lnTo>
                  <a:lnTo>
                    <a:pt x="244" y="130"/>
                  </a:lnTo>
                  <a:lnTo>
                    <a:pt x="258" y="135"/>
                  </a:lnTo>
                  <a:lnTo>
                    <a:pt x="260" y="135"/>
                  </a:lnTo>
                  <a:lnTo>
                    <a:pt x="263" y="130"/>
                  </a:lnTo>
                  <a:lnTo>
                    <a:pt x="260" y="128"/>
                  </a:lnTo>
                  <a:lnTo>
                    <a:pt x="260" y="125"/>
                  </a:lnTo>
                  <a:lnTo>
                    <a:pt x="260" y="121"/>
                  </a:lnTo>
                  <a:lnTo>
                    <a:pt x="263" y="116"/>
                  </a:lnTo>
                  <a:lnTo>
                    <a:pt x="263" y="116"/>
                  </a:lnTo>
                  <a:lnTo>
                    <a:pt x="265" y="111"/>
                  </a:lnTo>
                  <a:lnTo>
                    <a:pt x="265" y="109"/>
                  </a:lnTo>
                  <a:lnTo>
                    <a:pt x="263" y="107"/>
                  </a:lnTo>
                  <a:lnTo>
                    <a:pt x="263" y="104"/>
                  </a:lnTo>
                  <a:lnTo>
                    <a:pt x="263" y="102"/>
                  </a:lnTo>
                  <a:lnTo>
                    <a:pt x="272" y="104"/>
                  </a:lnTo>
                  <a:lnTo>
                    <a:pt x="272" y="102"/>
                  </a:lnTo>
                  <a:lnTo>
                    <a:pt x="274" y="99"/>
                  </a:lnTo>
                  <a:lnTo>
                    <a:pt x="277" y="102"/>
                  </a:lnTo>
                  <a:lnTo>
                    <a:pt x="279" y="99"/>
                  </a:lnTo>
                  <a:lnTo>
                    <a:pt x="279" y="97"/>
                  </a:lnTo>
                  <a:lnTo>
                    <a:pt x="279" y="92"/>
                  </a:lnTo>
                  <a:lnTo>
                    <a:pt x="284" y="90"/>
                  </a:lnTo>
                  <a:lnTo>
                    <a:pt x="286" y="92"/>
                  </a:lnTo>
                  <a:lnTo>
                    <a:pt x="291" y="95"/>
                  </a:lnTo>
                  <a:lnTo>
                    <a:pt x="300" y="109"/>
                  </a:lnTo>
                  <a:lnTo>
                    <a:pt x="303" y="116"/>
                  </a:lnTo>
                  <a:lnTo>
                    <a:pt x="303" y="118"/>
                  </a:lnTo>
                  <a:lnTo>
                    <a:pt x="312" y="118"/>
                  </a:lnTo>
                  <a:lnTo>
                    <a:pt x="317" y="123"/>
                  </a:lnTo>
                  <a:lnTo>
                    <a:pt x="322" y="121"/>
                  </a:lnTo>
                  <a:lnTo>
                    <a:pt x="324" y="118"/>
                  </a:lnTo>
                  <a:lnTo>
                    <a:pt x="331" y="114"/>
                  </a:lnTo>
                  <a:lnTo>
                    <a:pt x="333" y="114"/>
                  </a:lnTo>
                  <a:lnTo>
                    <a:pt x="336" y="118"/>
                  </a:lnTo>
                  <a:lnTo>
                    <a:pt x="338" y="121"/>
                  </a:lnTo>
                  <a:lnTo>
                    <a:pt x="340" y="123"/>
                  </a:lnTo>
                  <a:lnTo>
                    <a:pt x="345" y="121"/>
                  </a:lnTo>
                  <a:lnTo>
                    <a:pt x="350" y="116"/>
                  </a:lnTo>
                  <a:lnTo>
                    <a:pt x="352" y="114"/>
                  </a:lnTo>
                  <a:lnTo>
                    <a:pt x="362" y="107"/>
                  </a:lnTo>
                  <a:lnTo>
                    <a:pt x="362" y="102"/>
                  </a:lnTo>
                  <a:lnTo>
                    <a:pt x="362" y="95"/>
                  </a:lnTo>
                  <a:lnTo>
                    <a:pt x="362" y="90"/>
                  </a:lnTo>
                  <a:lnTo>
                    <a:pt x="362" y="78"/>
                  </a:lnTo>
                  <a:lnTo>
                    <a:pt x="366" y="69"/>
                  </a:lnTo>
                  <a:lnTo>
                    <a:pt x="369" y="64"/>
                  </a:lnTo>
                  <a:lnTo>
                    <a:pt x="374" y="62"/>
                  </a:lnTo>
                  <a:lnTo>
                    <a:pt x="381" y="62"/>
                  </a:lnTo>
                  <a:lnTo>
                    <a:pt x="392" y="55"/>
                  </a:lnTo>
                  <a:lnTo>
                    <a:pt x="402" y="55"/>
                  </a:lnTo>
                  <a:lnTo>
                    <a:pt x="402" y="55"/>
                  </a:lnTo>
                  <a:lnTo>
                    <a:pt x="407" y="62"/>
                  </a:lnTo>
                  <a:lnTo>
                    <a:pt x="409" y="64"/>
                  </a:lnTo>
                  <a:lnTo>
                    <a:pt x="414" y="66"/>
                  </a:lnTo>
                  <a:lnTo>
                    <a:pt x="421" y="71"/>
                  </a:lnTo>
                  <a:lnTo>
                    <a:pt x="423" y="81"/>
                  </a:lnTo>
                  <a:lnTo>
                    <a:pt x="423" y="85"/>
                  </a:lnTo>
                  <a:lnTo>
                    <a:pt x="416" y="92"/>
                  </a:lnTo>
                  <a:lnTo>
                    <a:pt x="416" y="97"/>
                  </a:lnTo>
                  <a:lnTo>
                    <a:pt x="416" y="102"/>
                  </a:lnTo>
                  <a:lnTo>
                    <a:pt x="418" y="104"/>
                  </a:lnTo>
                  <a:lnTo>
                    <a:pt x="421" y="102"/>
                  </a:lnTo>
                  <a:lnTo>
                    <a:pt x="423" y="99"/>
                  </a:lnTo>
                  <a:lnTo>
                    <a:pt x="423" y="99"/>
                  </a:lnTo>
                  <a:lnTo>
                    <a:pt x="423" y="95"/>
                  </a:lnTo>
                  <a:lnTo>
                    <a:pt x="423" y="95"/>
                  </a:lnTo>
                  <a:lnTo>
                    <a:pt x="435" y="88"/>
                  </a:lnTo>
                  <a:lnTo>
                    <a:pt x="437" y="85"/>
                  </a:lnTo>
                  <a:lnTo>
                    <a:pt x="440" y="76"/>
                  </a:lnTo>
                  <a:lnTo>
                    <a:pt x="444" y="81"/>
                  </a:lnTo>
                  <a:lnTo>
                    <a:pt x="449" y="78"/>
                  </a:lnTo>
                  <a:lnTo>
                    <a:pt x="449" y="78"/>
                  </a:lnTo>
                  <a:lnTo>
                    <a:pt x="451" y="73"/>
                  </a:lnTo>
                  <a:lnTo>
                    <a:pt x="451" y="71"/>
                  </a:lnTo>
                  <a:lnTo>
                    <a:pt x="451" y="69"/>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7" name="Freeform 829">
              <a:extLst>
                <a:ext uri="{FF2B5EF4-FFF2-40B4-BE49-F238E27FC236}">
                  <a16:creationId xmlns:a16="http://schemas.microsoft.com/office/drawing/2014/main" id="{9760F916-18C7-400C-9DC9-B4BD4F23D6D3}"/>
                </a:ext>
              </a:extLst>
            </p:cNvPr>
            <p:cNvSpPr>
              <a:spLocks/>
            </p:cNvSpPr>
            <p:nvPr/>
          </p:nvSpPr>
          <p:spPr bwMode="auto">
            <a:xfrm>
              <a:off x="1886790" y="2832065"/>
              <a:ext cx="501649" cy="328613"/>
            </a:xfrm>
            <a:custGeom>
              <a:avLst/>
              <a:gdLst>
                <a:gd name="T0" fmla="*/ 47 w 316"/>
                <a:gd name="T1" fmla="*/ 120 h 207"/>
                <a:gd name="T2" fmla="*/ 14 w 316"/>
                <a:gd name="T3" fmla="*/ 118 h 207"/>
                <a:gd name="T4" fmla="*/ 7 w 316"/>
                <a:gd name="T5" fmla="*/ 89 h 207"/>
                <a:gd name="T6" fmla="*/ 28 w 316"/>
                <a:gd name="T7" fmla="*/ 56 h 207"/>
                <a:gd name="T8" fmla="*/ 28 w 316"/>
                <a:gd name="T9" fmla="*/ 30 h 207"/>
                <a:gd name="T10" fmla="*/ 40 w 316"/>
                <a:gd name="T11" fmla="*/ 16 h 207"/>
                <a:gd name="T12" fmla="*/ 70 w 316"/>
                <a:gd name="T13" fmla="*/ 14 h 207"/>
                <a:gd name="T14" fmla="*/ 89 w 316"/>
                <a:gd name="T15" fmla="*/ 21 h 207"/>
                <a:gd name="T16" fmla="*/ 106 w 316"/>
                <a:gd name="T17" fmla="*/ 23 h 207"/>
                <a:gd name="T18" fmla="*/ 122 w 316"/>
                <a:gd name="T19" fmla="*/ 21 h 207"/>
                <a:gd name="T20" fmla="*/ 144 w 316"/>
                <a:gd name="T21" fmla="*/ 26 h 207"/>
                <a:gd name="T22" fmla="*/ 151 w 316"/>
                <a:gd name="T23" fmla="*/ 16 h 207"/>
                <a:gd name="T24" fmla="*/ 172 w 316"/>
                <a:gd name="T25" fmla="*/ 4 h 207"/>
                <a:gd name="T26" fmla="*/ 189 w 316"/>
                <a:gd name="T27" fmla="*/ 0 h 207"/>
                <a:gd name="T28" fmla="*/ 212 w 316"/>
                <a:gd name="T29" fmla="*/ 7 h 207"/>
                <a:gd name="T30" fmla="*/ 212 w 316"/>
                <a:gd name="T31" fmla="*/ 21 h 207"/>
                <a:gd name="T32" fmla="*/ 229 w 316"/>
                <a:gd name="T33" fmla="*/ 33 h 207"/>
                <a:gd name="T34" fmla="*/ 243 w 316"/>
                <a:gd name="T35" fmla="*/ 52 h 207"/>
                <a:gd name="T36" fmla="*/ 269 w 316"/>
                <a:gd name="T37" fmla="*/ 52 h 207"/>
                <a:gd name="T38" fmla="*/ 285 w 316"/>
                <a:gd name="T39" fmla="*/ 61 h 207"/>
                <a:gd name="T40" fmla="*/ 304 w 316"/>
                <a:gd name="T41" fmla="*/ 70 h 207"/>
                <a:gd name="T42" fmla="*/ 314 w 316"/>
                <a:gd name="T43" fmla="*/ 89 h 207"/>
                <a:gd name="T44" fmla="*/ 309 w 316"/>
                <a:gd name="T45" fmla="*/ 101 h 207"/>
                <a:gd name="T46" fmla="*/ 307 w 316"/>
                <a:gd name="T47" fmla="*/ 122 h 207"/>
                <a:gd name="T48" fmla="*/ 283 w 316"/>
                <a:gd name="T49" fmla="*/ 132 h 207"/>
                <a:gd name="T50" fmla="*/ 259 w 316"/>
                <a:gd name="T51" fmla="*/ 146 h 207"/>
                <a:gd name="T52" fmla="*/ 241 w 316"/>
                <a:gd name="T53" fmla="*/ 153 h 207"/>
                <a:gd name="T54" fmla="*/ 231 w 316"/>
                <a:gd name="T55" fmla="*/ 163 h 207"/>
                <a:gd name="T56" fmla="*/ 226 w 316"/>
                <a:gd name="T57" fmla="*/ 172 h 207"/>
                <a:gd name="T58" fmla="*/ 219 w 316"/>
                <a:gd name="T59" fmla="*/ 170 h 207"/>
                <a:gd name="T60" fmla="*/ 212 w 316"/>
                <a:gd name="T61" fmla="*/ 160 h 207"/>
                <a:gd name="T62" fmla="*/ 210 w 316"/>
                <a:gd name="T63" fmla="*/ 167 h 207"/>
                <a:gd name="T64" fmla="*/ 219 w 316"/>
                <a:gd name="T65" fmla="*/ 170 h 207"/>
                <a:gd name="T66" fmla="*/ 226 w 316"/>
                <a:gd name="T67" fmla="*/ 177 h 207"/>
                <a:gd name="T68" fmla="*/ 238 w 316"/>
                <a:gd name="T69" fmla="*/ 186 h 207"/>
                <a:gd name="T70" fmla="*/ 255 w 316"/>
                <a:gd name="T71" fmla="*/ 184 h 207"/>
                <a:gd name="T72" fmla="*/ 231 w 316"/>
                <a:gd name="T73" fmla="*/ 196 h 207"/>
                <a:gd name="T74" fmla="*/ 217 w 316"/>
                <a:gd name="T75" fmla="*/ 205 h 207"/>
                <a:gd name="T76" fmla="*/ 200 w 316"/>
                <a:gd name="T77" fmla="*/ 203 h 207"/>
                <a:gd name="T78" fmla="*/ 193 w 316"/>
                <a:gd name="T79" fmla="*/ 186 h 207"/>
                <a:gd name="T80" fmla="*/ 196 w 316"/>
                <a:gd name="T81" fmla="*/ 174 h 207"/>
                <a:gd name="T82" fmla="*/ 198 w 316"/>
                <a:gd name="T83" fmla="*/ 165 h 207"/>
                <a:gd name="T84" fmla="*/ 177 w 316"/>
                <a:gd name="T85" fmla="*/ 163 h 207"/>
                <a:gd name="T86" fmla="*/ 167 w 316"/>
                <a:gd name="T87" fmla="*/ 155 h 207"/>
                <a:gd name="T88" fmla="*/ 174 w 316"/>
                <a:gd name="T89" fmla="*/ 148 h 207"/>
                <a:gd name="T90" fmla="*/ 158 w 316"/>
                <a:gd name="T91" fmla="*/ 153 h 207"/>
                <a:gd name="T92" fmla="*/ 144 w 316"/>
                <a:gd name="T93" fmla="*/ 160 h 207"/>
                <a:gd name="T94" fmla="*/ 139 w 316"/>
                <a:gd name="T95" fmla="*/ 172 h 207"/>
                <a:gd name="T96" fmla="*/ 134 w 316"/>
                <a:gd name="T97" fmla="*/ 179 h 207"/>
                <a:gd name="T98" fmla="*/ 118 w 316"/>
                <a:gd name="T99" fmla="*/ 186 h 207"/>
                <a:gd name="T100" fmla="*/ 113 w 316"/>
                <a:gd name="T101" fmla="*/ 177 h 207"/>
                <a:gd name="T102" fmla="*/ 122 w 316"/>
                <a:gd name="T103" fmla="*/ 158 h 207"/>
                <a:gd name="T104" fmla="*/ 139 w 316"/>
                <a:gd name="T105" fmla="*/ 153 h 207"/>
                <a:gd name="T106" fmla="*/ 130 w 316"/>
                <a:gd name="T107" fmla="*/ 134 h 207"/>
                <a:gd name="T108" fmla="*/ 122 w 316"/>
                <a:gd name="T109" fmla="*/ 115 h 207"/>
                <a:gd name="T110" fmla="*/ 99 w 316"/>
                <a:gd name="T111" fmla="*/ 10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6" h="207">
                  <a:moveTo>
                    <a:pt x="80" y="111"/>
                  </a:moveTo>
                  <a:lnTo>
                    <a:pt x="78" y="111"/>
                  </a:lnTo>
                  <a:lnTo>
                    <a:pt x="66" y="118"/>
                  </a:lnTo>
                  <a:lnTo>
                    <a:pt x="61" y="118"/>
                  </a:lnTo>
                  <a:lnTo>
                    <a:pt x="56" y="120"/>
                  </a:lnTo>
                  <a:lnTo>
                    <a:pt x="52" y="122"/>
                  </a:lnTo>
                  <a:lnTo>
                    <a:pt x="47" y="120"/>
                  </a:lnTo>
                  <a:lnTo>
                    <a:pt x="44" y="118"/>
                  </a:lnTo>
                  <a:lnTo>
                    <a:pt x="40" y="118"/>
                  </a:lnTo>
                  <a:lnTo>
                    <a:pt x="35" y="120"/>
                  </a:lnTo>
                  <a:lnTo>
                    <a:pt x="26" y="118"/>
                  </a:lnTo>
                  <a:lnTo>
                    <a:pt x="21" y="118"/>
                  </a:lnTo>
                  <a:lnTo>
                    <a:pt x="16" y="118"/>
                  </a:lnTo>
                  <a:lnTo>
                    <a:pt x="14" y="118"/>
                  </a:lnTo>
                  <a:lnTo>
                    <a:pt x="11" y="115"/>
                  </a:lnTo>
                  <a:lnTo>
                    <a:pt x="9" y="113"/>
                  </a:lnTo>
                  <a:lnTo>
                    <a:pt x="4" y="111"/>
                  </a:lnTo>
                  <a:lnTo>
                    <a:pt x="0" y="108"/>
                  </a:lnTo>
                  <a:lnTo>
                    <a:pt x="2" y="99"/>
                  </a:lnTo>
                  <a:lnTo>
                    <a:pt x="7" y="92"/>
                  </a:lnTo>
                  <a:lnTo>
                    <a:pt x="7" y="89"/>
                  </a:lnTo>
                  <a:lnTo>
                    <a:pt x="9" y="89"/>
                  </a:lnTo>
                  <a:lnTo>
                    <a:pt x="11" y="89"/>
                  </a:lnTo>
                  <a:lnTo>
                    <a:pt x="11" y="85"/>
                  </a:lnTo>
                  <a:lnTo>
                    <a:pt x="11" y="80"/>
                  </a:lnTo>
                  <a:lnTo>
                    <a:pt x="16" y="68"/>
                  </a:lnTo>
                  <a:lnTo>
                    <a:pt x="21" y="61"/>
                  </a:lnTo>
                  <a:lnTo>
                    <a:pt x="28" y="56"/>
                  </a:lnTo>
                  <a:lnTo>
                    <a:pt x="33" y="52"/>
                  </a:lnTo>
                  <a:lnTo>
                    <a:pt x="35" y="49"/>
                  </a:lnTo>
                  <a:lnTo>
                    <a:pt x="33" y="44"/>
                  </a:lnTo>
                  <a:lnTo>
                    <a:pt x="33" y="40"/>
                  </a:lnTo>
                  <a:lnTo>
                    <a:pt x="30" y="35"/>
                  </a:lnTo>
                  <a:lnTo>
                    <a:pt x="30" y="35"/>
                  </a:lnTo>
                  <a:lnTo>
                    <a:pt x="28" y="30"/>
                  </a:lnTo>
                  <a:lnTo>
                    <a:pt x="26" y="26"/>
                  </a:lnTo>
                  <a:lnTo>
                    <a:pt x="26" y="21"/>
                  </a:lnTo>
                  <a:lnTo>
                    <a:pt x="28" y="18"/>
                  </a:lnTo>
                  <a:lnTo>
                    <a:pt x="30" y="18"/>
                  </a:lnTo>
                  <a:lnTo>
                    <a:pt x="33" y="18"/>
                  </a:lnTo>
                  <a:lnTo>
                    <a:pt x="37" y="16"/>
                  </a:lnTo>
                  <a:lnTo>
                    <a:pt x="40" y="16"/>
                  </a:lnTo>
                  <a:lnTo>
                    <a:pt x="40" y="14"/>
                  </a:lnTo>
                  <a:lnTo>
                    <a:pt x="42" y="11"/>
                  </a:lnTo>
                  <a:lnTo>
                    <a:pt x="56" y="9"/>
                  </a:lnTo>
                  <a:lnTo>
                    <a:pt x="59" y="11"/>
                  </a:lnTo>
                  <a:lnTo>
                    <a:pt x="63" y="11"/>
                  </a:lnTo>
                  <a:lnTo>
                    <a:pt x="66" y="9"/>
                  </a:lnTo>
                  <a:lnTo>
                    <a:pt x="70" y="14"/>
                  </a:lnTo>
                  <a:lnTo>
                    <a:pt x="75" y="14"/>
                  </a:lnTo>
                  <a:lnTo>
                    <a:pt x="78" y="14"/>
                  </a:lnTo>
                  <a:lnTo>
                    <a:pt x="80" y="14"/>
                  </a:lnTo>
                  <a:lnTo>
                    <a:pt x="82" y="16"/>
                  </a:lnTo>
                  <a:lnTo>
                    <a:pt x="85" y="16"/>
                  </a:lnTo>
                  <a:lnTo>
                    <a:pt x="87" y="18"/>
                  </a:lnTo>
                  <a:lnTo>
                    <a:pt x="89" y="21"/>
                  </a:lnTo>
                  <a:lnTo>
                    <a:pt x="89" y="21"/>
                  </a:lnTo>
                  <a:lnTo>
                    <a:pt x="96" y="21"/>
                  </a:lnTo>
                  <a:lnTo>
                    <a:pt x="96" y="23"/>
                  </a:lnTo>
                  <a:lnTo>
                    <a:pt x="99" y="26"/>
                  </a:lnTo>
                  <a:lnTo>
                    <a:pt x="99" y="23"/>
                  </a:lnTo>
                  <a:lnTo>
                    <a:pt x="101" y="23"/>
                  </a:lnTo>
                  <a:lnTo>
                    <a:pt x="106" y="23"/>
                  </a:lnTo>
                  <a:lnTo>
                    <a:pt x="106" y="21"/>
                  </a:lnTo>
                  <a:lnTo>
                    <a:pt x="108" y="23"/>
                  </a:lnTo>
                  <a:lnTo>
                    <a:pt x="111" y="23"/>
                  </a:lnTo>
                  <a:lnTo>
                    <a:pt x="113" y="23"/>
                  </a:lnTo>
                  <a:lnTo>
                    <a:pt x="115" y="26"/>
                  </a:lnTo>
                  <a:lnTo>
                    <a:pt x="118" y="26"/>
                  </a:lnTo>
                  <a:lnTo>
                    <a:pt x="122" y="21"/>
                  </a:lnTo>
                  <a:lnTo>
                    <a:pt x="127" y="23"/>
                  </a:lnTo>
                  <a:lnTo>
                    <a:pt x="127" y="26"/>
                  </a:lnTo>
                  <a:lnTo>
                    <a:pt x="130" y="28"/>
                  </a:lnTo>
                  <a:lnTo>
                    <a:pt x="132" y="26"/>
                  </a:lnTo>
                  <a:lnTo>
                    <a:pt x="134" y="28"/>
                  </a:lnTo>
                  <a:lnTo>
                    <a:pt x="141" y="26"/>
                  </a:lnTo>
                  <a:lnTo>
                    <a:pt x="144" y="26"/>
                  </a:lnTo>
                  <a:lnTo>
                    <a:pt x="146" y="28"/>
                  </a:lnTo>
                  <a:lnTo>
                    <a:pt x="146" y="30"/>
                  </a:lnTo>
                  <a:lnTo>
                    <a:pt x="151" y="28"/>
                  </a:lnTo>
                  <a:lnTo>
                    <a:pt x="151" y="26"/>
                  </a:lnTo>
                  <a:lnTo>
                    <a:pt x="151" y="21"/>
                  </a:lnTo>
                  <a:lnTo>
                    <a:pt x="151" y="18"/>
                  </a:lnTo>
                  <a:lnTo>
                    <a:pt x="151" y="16"/>
                  </a:lnTo>
                  <a:lnTo>
                    <a:pt x="151" y="14"/>
                  </a:lnTo>
                  <a:lnTo>
                    <a:pt x="158" y="7"/>
                  </a:lnTo>
                  <a:lnTo>
                    <a:pt x="160" y="7"/>
                  </a:lnTo>
                  <a:lnTo>
                    <a:pt x="163" y="7"/>
                  </a:lnTo>
                  <a:lnTo>
                    <a:pt x="165" y="4"/>
                  </a:lnTo>
                  <a:lnTo>
                    <a:pt x="172" y="4"/>
                  </a:lnTo>
                  <a:lnTo>
                    <a:pt x="172" y="4"/>
                  </a:lnTo>
                  <a:lnTo>
                    <a:pt x="174" y="7"/>
                  </a:lnTo>
                  <a:lnTo>
                    <a:pt x="177" y="7"/>
                  </a:lnTo>
                  <a:lnTo>
                    <a:pt x="179" y="7"/>
                  </a:lnTo>
                  <a:lnTo>
                    <a:pt x="179" y="4"/>
                  </a:lnTo>
                  <a:lnTo>
                    <a:pt x="181" y="2"/>
                  </a:lnTo>
                  <a:lnTo>
                    <a:pt x="181" y="0"/>
                  </a:lnTo>
                  <a:lnTo>
                    <a:pt x="189" y="0"/>
                  </a:lnTo>
                  <a:lnTo>
                    <a:pt x="191" y="0"/>
                  </a:lnTo>
                  <a:lnTo>
                    <a:pt x="196" y="0"/>
                  </a:lnTo>
                  <a:lnTo>
                    <a:pt x="200" y="0"/>
                  </a:lnTo>
                  <a:lnTo>
                    <a:pt x="205" y="0"/>
                  </a:lnTo>
                  <a:lnTo>
                    <a:pt x="210" y="2"/>
                  </a:lnTo>
                  <a:lnTo>
                    <a:pt x="212" y="4"/>
                  </a:lnTo>
                  <a:lnTo>
                    <a:pt x="212" y="7"/>
                  </a:lnTo>
                  <a:lnTo>
                    <a:pt x="215" y="11"/>
                  </a:lnTo>
                  <a:lnTo>
                    <a:pt x="217" y="11"/>
                  </a:lnTo>
                  <a:lnTo>
                    <a:pt x="217" y="16"/>
                  </a:lnTo>
                  <a:lnTo>
                    <a:pt x="215" y="16"/>
                  </a:lnTo>
                  <a:lnTo>
                    <a:pt x="212" y="16"/>
                  </a:lnTo>
                  <a:lnTo>
                    <a:pt x="212" y="18"/>
                  </a:lnTo>
                  <a:lnTo>
                    <a:pt x="212" y="21"/>
                  </a:lnTo>
                  <a:lnTo>
                    <a:pt x="215" y="26"/>
                  </a:lnTo>
                  <a:lnTo>
                    <a:pt x="217" y="28"/>
                  </a:lnTo>
                  <a:lnTo>
                    <a:pt x="219" y="30"/>
                  </a:lnTo>
                  <a:lnTo>
                    <a:pt x="224" y="30"/>
                  </a:lnTo>
                  <a:lnTo>
                    <a:pt x="226" y="30"/>
                  </a:lnTo>
                  <a:lnTo>
                    <a:pt x="229" y="30"/>
                  </a:lnTo>
                  <a:lnTo>
                    <a:pt x="229" y="33"/>
                  </a:lnTo>
                  <a:lnTo>
                    <a:pt x="233" y="35"/>
                  </a:lnTo>
                  <a:lnTo>
                    <a:pt x="236" y="44"/>
                  </a:lnTo>
                  <a:lnTo>
                    <a:pt x="233" y="47"/>
                  </a:lnTo>
                  <a:lnTo>
                    <a:pt x="236" y="49"/>
                  </a:lnTo>
                  <a:lnTo>
                    <a:pt x="238" y="52"/>
                  </a:lnTo>
                  <a:lnTo>
                    <a:pt x="241" y="52"/>
                  </a:lnTo>
                  <a:lnTo>
                    <a:pt x="243" y="52"/>
                  </a:lnTo>
                  <a:lnTo>
                    <a:pt x="245" y="52"/>
                  </a:lnTo>
                  <a:lnTo>
                    <a:pt x="248" y="52"/>
                  </a:lnTo>
                  <a:lnTo>
                    <a:pt x="250" y="54"/>
                  </a:lnTo>
                  <a:lnTo>
                    <a:pt x="252" y="54"/>
                  </a:lnTo>
                  <a:lnTo>
                    <a:pt x="255" y="56"/>
                  </a:lnTo>
                  <a:lnTo>
                    <a:pt x="264" y="54"/>
                  </a:lnTo>
                  <a:lnTo>
                    <a:pt x="269" y="52"/>
                  </a:lnTo>
                  <a:lnTo>
                    <a:pt x="271" y="52"/>
                  </a:lnTo>
                  <a:lnTo>
                    <a:pt x="271" y="54"/>
                  </a:lnTo>
                  <a:lnTo>
                    <a:pt x="276" y="61"/>
                  </a:lnTo>
                  <a:lnTo>
                    <a:pt x="278" y="63"/>
                  </a:lnTo>
                  <a:lnTo>
                    <a:pt x="281" y="63"/>
                  </a:lnTo>
                  <a:lnTo>
                    <a:pt x="283" y="61"/>
                  </a:lnTo>
                  <a:lnTo>
                    <a:pt x="285" y="61"/>
                  </a:lnTo>
                  <a:lnTo>
                    <a:pt x="288" y="63"/>
                  </a:lnTo>
                  <a:lnTo>
                    <a:pt x="290" y="63"/>
                  </a:lnTo>
                  <a:lnTo>
                    <a:pt x="293" y="66"/>
                  </a:lnTo>
                  <a:lnTo>
                    <a:pt x="293" y="68"/>
                  </a:lnTo>
                  <a:lnTo>
                    <a:pt x="300" y="68"/>
                  </a:lnTo>
                  <a:lnTo>
                    <a:pt x="302" y="70"/>
                  </a:lnTo>
                  <a:lnTo>
                    <a:pt x="304" y="70"/>
                  </a:lnTo>
                  <a:lnTo>
                    <a:pt x="309" y="73"/>
                  </a:lnTo>
                  <a:lnTo>
                    <a:pt x="311" y="73"/>
                  </a:lnTo>
                  <a:lnTo>
                    <a:pt x="314" y="73"/>
                  </a:lnTo>
                  <a:lnTo>
                    <a:pt x="316" y="75"/>
                  </a:lnTo>
                  <a:lnTo>
                    <a:pt x="314" y="77"/>
                  </a:lnTo>
                  <a:lnTo>
                    <a:pt x="316" y="85"/>
                  </a:lnTo>
                  <a:lnTo>
                    <a:pt x="314" y="89"/>
                  </a:lnTo>
                  <a:lnTo>
                    <a:pt x="309" y="89"/>
                  </a:lnTo>
                  <a:lnTo>
                    <a:pt x="311" y="92"/>
                  </a:lnTo>
                  <a:lnTo>
                    <a:pt x="314" y="92"/>
                  </a:lnTo>
                  <a:lnTo>
                    <a:pt x="314" y="94"/>
                  </a:lnTo>
                  <a:lnTo>
                    <a:pt x="309" y="96"/>
                  </a:lnTo>
                  <a:lnTo>
                    <a:pt x="309" y="99"/>
                  </a:lnTo>
                  <a:lnTo>
                    <a:pt x="309" y="101"/>
                  </a:lnTo>
                  <a:lnTo>
                    <a:pt x="309" y="103"/>
                  </a:lnTo>
                  <a:lnTo>
                    <a:pt x="311" y="106"/>
                  </a:lnTo>
                  <a:lnTo>
                    <a:pt x="311" y="108"/>
                  </a:lnTo>
                  <a:lnTo>
                    <a:pt x="311" y="108"/>
                  </a:lnTo>
                  <a:lnTo>
                    <a:pt x="311" y="113"/>
                  </a:lnTo>
                  <a:lnTo>
                    <a:pt x="309" y="122"/>
                  </a:lnTo>
                  <a:lnTo>
                    <a:pt x="307" y="122"/>
                  </a:lnTo>
                  <a:lnTo>
                    <a:pt x="302" y="122"/>
                  </a:lnTo>
                  <a:lnTo>
                    <a:pt x="300" y="122"/>
                  </a:lnTo>
                  <a:lnTo>
                    <a:pt x="295" y="120"/>
                  </a:lnTo>
                  <a:lnTo>
                    <a:pt x="293" y="120"/>
                  </a:lnTo>
                  <a:lnTo>
                    <a:pt x="290" y="125"/>
                  </a:lnTo>
                  <a:lnTo>
                    <a:pt x="285" y="127"/>
                  </a:lnTo>
                  <a:lnTo>
                    <a:pt x="283" y="132"/>
                  </a:lnTo>
                  <a:lnTo>
                    <a:pt x="283" y="134"/>
                  </a:lnTo>
                  <a:lnTo>
                    <a:pt x="283" y="139"/>
                  </a:lnTo>
                  <a:lnTo>
                    <a:pt x="276" y="141"/>
                  </a:lnTo>
                  <a:lnTo>
                    <a:pt x="271" y="141"/>
                  </a:lnTo>
                  <a:lnTo>
                    <a:pt x="269" y="144"/>
                  </a:lnTo>
                  <a:lnTo>
                    <a:pt x="267" y="144"/>
                  </a:lnTo>
                  <a:lnTo>
                    <a:pt x="259" y="146"/>
                  </a:lnTo>
                  <a:lnTo>
                    <a:pt x="259" y="151"/>
                  </a:lnTo>
                  <a:lnTo>
                    <a:pt x="255" y="148"/>
                  </a:lnTo>
                  <a:lnTo>
                    <a:pt x="248" y="151"/>
                  </a:lnTo>
                  <a:lnTo>
                    <a:pt x="248" y="153"/>
                  </a:lnTo>
                  <a:lnTo>
                    <a:pt x="248" y="151"/>
                  </a:lnTo>
                  <a:lnTo>
                    <a:pt x="243" y="153"/>
                  </a:lnTo>
                  <a:lnTo>
                    <a:pt x="241" y="153"/>
                  </a:lnTo>
                  <a:lnTo>
                    <a:pt x="236" y="158"/>
                  </a:lnTo>
                  <a:lnTo>
                    <a:pt x="236" y="158"/>
                  </a:lnTo>
                  <a:lnTo>
                    <a:pt x="233" y="160"/>
                  </a:lnTo>
                  <a:lnTo>
                    <a:pt x="231" y="165"/>
                  </a:lnTo>
                  <a:lnTo>
                    <a:pt x="229" y="165"/>
                  </a:lnTo>
                  <a:lnTo>
                    <a:pt x="229" y="165"/>
                  </a:lnTo>
                  <a:lnTo>
                    <a:pt x="231" y="163"/>
                  </a:lnTo>
                  <a:lnTo>
                    <a:pt x="233" y="163"/>
                  </a:lnTo>
                  <a:lnTo>
                    <a:pt x="231" y="158"/>
                  </a:lnTo>
                  <a:lnTo>
                    <a:pt x="229" y="158"/>
                  </a:lnTo>
                  <a:lnTo>
                    <a:pt x="229" y="163"/>
                  </a:lnTo>
                  <a:lnTo>
                    <a:pt x="224" y="165"/>
                  </a:lnTo>
                  <a:lnTo>
                    <a:pt x="226" y="170"/>
                  </a:lnTo>
                  <a:lnTo>
                    <a:pt x="226" y="172"/>
                  </a:lnTo>
                  <a:lnTo>
                    <a:pt x="224" y="172"/>
                  </a:lnTo>
                  <a:lnTo>
                    <a:pt x="224" y="172"/>
                  </a:lnTo>
                  <a:lnTo>
                    <a:pt x="222" y="167"/>
                  </a:lnTo>
                  <a:lnTo>
                    <a:pt x="224" y="167"/>
                  </a:lnTo>
                  <a:lnTo>
                    <a:pt x="222" y="165"/>
                  </a:lnTo>
                  <a:lnTo>
                    <a:pt x="219" y="167"/>
                  </a:lnTo>
                  <a:lnTo>
                    <a:pt x="219" y="170"/>
                  </a:lnTo>
                  <a:lnTo>
                    <a:pt x="219" y="167"/>
                  </a:lnTo>
                  <a:lnTo>
                    <a:pt x="219" y="165"/>
                  </a:lnTo>
                  <a:lnTo>
                    <a:pt x="219" y="165"/>
                  </a:lnTo>
                  <a:lnTo>
                    <a:pt x="215" y="165"/>
                  </a:lnTo>
                  <a:lnTo>
                    <a:pt x="215" y="165"/>
                  </a:lnTo>
                  <a:lnTo>
                    <a:pt x="215" y="163"/>
                  </a:lnTo>
                  <a:lnTo>
                    <a:pt x="212" y="160"/>
                  </a:lnTo>
                  <a:lnTo>
                    <a:pt x="212" y="165"/>
                  </a:lnTo>
                  <a:lnTo>
                    <a:pt x="210" y="165"/>
                  </a:lnTo>
                  <a:lnTo>
                    <a:pt x="205" y="163"/>
                  </a:lnTo>
                  <a:lnTo>
                    <a:pt x="207" y="165"/>
                  </a:lnTo>
                  <a:lnTo>
                    <a:pt x="207" y="165"/>
                  </a:lnTo>
                  <a:lnTo>
                    <a:pt x="210" y="165"/>
                  </a:lnTo>
                  <a:lnTo>
                    <a:pt x="210" y="167"/>
                  </a:lnTo>
                  <a:lnTo>
                    <a:pt x="212" y="167"/>
                  </a:lnTo>
                  <a:lnTo>
                    <a:pt x="212" y="170"/>
                  </a:lnTo>
                  <a:lnTo>
                    <a:pt x="212" y="172"/>
                  </a:lnTo>
                  <a:lnTo>
                    <a:pt x="215" y="170"/>
                  </a:lnTo>
                  <a:lnTo>
                    <a:pt x="215" y="167"/>
                  </a:lnTo>
                  <a:lnTo>
                    <a:pt x="217" y="170"/>
                  </a:lnTo>
                  <a:lnTo>
                    <a:pt x="219" y="170"/>
                  </a:lnTo>
                  <a:lnTo>
                    <a:pt x="219" y="170"/>
                  </a:lnTo>
                  <a:lnTo>
                    <a:pt x="219" y="174"/>
                  </a:lnTo>
                  <a:lnTo>
                    <a:pt x="219" y="174"/>
                  </a:lnTo>
                  <a:lnTo>
                    <a:pt x="222" y="174"/>
                  </a:lnTo>
                  <a:lnTo>
                    <a:pt x="222" y="174"/>
                  </a:lnTo>
                  <a:lnTo>
                    <a:pt x="222" y="177"/>
                  </a:lnTo>
                  <a:lnTo>
                    <a:pt x="226" y="177"/>
                  </a:lnTo>
                  <a:lnTo>
                    <a:pt x="226" y="179"/>
                  </a:lnTo>
                  <a:lnTo>
                    <a:pt x="229" y="184"/>
                  </a:lnTo>
                  <a:lnTo>
                    <a:pt x="229" y="186"/>
                  </a:lnTo>
                  <a:lnTo>
                    <a:pt x="229" y="184"/>
                  </a:lnTo>
                  <a:lnTo>
                    <a:pt x="236" y="186"/>
                  </a:lnTo>
                  <a:lnTo>
                    <a:pt x="236" y="184"/>
                  </a:lnTo>
                  <a:lnTo>
                    <a:pt x="238" y="186"/>
                  </a:lnTo>
                  <a:lnTo>
                    <a:pt x="243" y="181"/>
                  </a:lnTo>
                  <a:lnTo>
                    <a:pt x="243" y="181"/>
                  </a:lnTo>
                  <a:lnTo>
                    <a:pt x="245" y="184"/>
                  </a:lnTo>
                  <a:lnTo>
                    <a:pt x="248" y="181"/>
                  </a:lnTo>
                  <a:lnTo>
                    <a:pt x="252" y="181"/>
                  </a:lnTo>
                  <a:lnTo>
                    <a:pt x="255" y="181"/>
                  </a:lnTo>
                  <a:lnTo>
                    <a:pt x="255" y="184"/>
                  </a:lnTo>
                  <a:lnTo>
                    <a:pt x="252" y="186"/>
                  </a:lnTo>
                  <a:lnTo>
                    <a:pt x="252" y="189"/>
                  </a:lnTo>
                  <a:lnTo>
                    <a:pt x="252" y="191"/>
                  </a:lnTo>
                  <a:lnTo>
                    <a:pt x="248" y="191"/>
                  </a:lnTo>
                  <a:lnTo>
                    <a:pt x="245" y="193"/>
                  </a:lnTo>
                  <a:lnTo>
                    <a:pt x="236" y="191"/>
                  </a:lnTo>
                  <a:lnTo>
                    <a:pt x="231" y="196"/>
                  </a:lnTo>
                  <a:lnTo>
                    <a:pt x="226" y="198"/>
                  </a:lnTo>
                  <a:lnTo>
                    <a:pt x="224" y="198"/>
                  </a:lnTo>
                  <a:lnTo>
                    <a:pt x="219" y="198"/>
                  </a:lnTo>
                  <a:lnTo>
                    <a:pt x="222" y="200"/>
                  </a:lnTo>
                  <a:lnTo>
                    <a:pt x="219" y="200"/>
                  </a:lnTo>
                  <a:lnTo>
                    <a:pt x="217" y="203"/>
                  </a:lnTo>
                  <a:lnTo>
                    <a:pt x="217" y="205"/>
                  </a:lnTo>
                  <a:lnTo>
                    <a:pt x="215" y="205"/>
                  </a:lnTo>
                  <a:lnTo>
                    <a:pt x="215" y="205"/>
                  </a:lnTo>
                  <a:lnTo>
                    <a:pt x="210" y="207"/>
                  </a:lnTo>
                  <a:lnTo>
                    <a:pt x="205" y="207"/>
                  </a:lnTo>
                  <a:lnTo>
                    <a:pt x="203" y="207"/>
                  </a:lnTo>
                  <a:lnTo>
                    <a:pt x="200" y="205"/>
                  </a:lnTo>
                  <a:lnTo>
                    <a:pt x="200" y="203"/>
                  </a:lnTo>
                  <a:lnTo>
                    <a:pt x="200" y="198"/>
                  </a:lnTo>
                  <a:lnTo>
                    <a:pt x="203" y="196"/>
                  </a:lnTo>
                  <a:lnTo>
                    <a:pt x="203" y="193"/>
                  </a:lnTo>
                  <a:lnTo>
                    <a:pt x="200" y="189"/>
                  </a:lnTo>
                  <a:lnTo>
                    <a:pt x="198" y="189"/>
                  </a:lnTo>
                  <a:lnTo>
                    <a:pt x="196" y="189"/>
                  </a:lnTo>
                  <a:lnTo>
                    <a:pt x="193" y="186"/>
                  </a:lnTo>
                  <a:lnTo>
                    <a:pt x="191" y="184"/>
                  </a:lnTo>
                  <a:lnTo>
                    <a:pt x="184" y="184"/>
                  </a:lnTo>
                  <a:lnTo>
                    <a:pt x="184" y="184"/>
                  </a:lnTo>
                  <a:lnTo>
                    <a:pt x="186" y="181"/>
                  </a:lnTo>
                  <a:lnTo>
                    <a:pt x="189" y="179"/>
                  </a:lnTo>
                  <a:lnTo>
                    <a:pt x="193" y="177"/>
                  </a:lnTo>
                  <a:lnTo>
                    <a:pt x="196" y="174"/>
                  </a:lnTo>
                  <a:lnTo>
                    <a:pt x="205" y="172"/>
                  </a:lnTo>
                  <a:lnTo>
                    <a:pt x="205" y="170"/>
                  </a:lnTo>
                  <a:lnTo>
                    <a:pt x="205" y="170"/>
                  </a:lnTo>
                  <a:lnTo>
                    <a:pt x="205" y="167"/>
                  </a:lnTo>
                  <a:lnTo>
                    <a:pt x="203" y="165"/>
                  </a:lnTo>
                  <a:lnTo>
                    <a:pt x="200" y="167"/>
                  </a:lnTo>
                  <a:lnTo>
                    <a:pt x="198" y="165"/>
                  </a:lnTo>
                  <a:lnTo>
                    <a:pt x="198" y="165"/>
                  </a:lnTo>
                  <a:lnTo>
                    <a:pt x="193" y="165"/>
                  </a:lnTo>
                  <a:lnTo>
                    <a:pt x="193" y="165"/>
                  </a:lnTo>
                  <a:lnTo>
                    <a:pt x="191" y="165"/>
                  </a:lnTo>
                  <a:lnTo>
                    <a:pt x="184" y="167"/>
                  </a:lnTo>
                  <a:lnTo>
                    <a:pt x="179" y="165"/>
                  </a:lnTo>
                  <a:lnTo>
                    <a:pt x="177" y="163"/>
                  </a:lnTo>
                  <a:lnTo>
                    <a:pt x="177" y="163"/>
                  </a:lnTo>
                  <a:lnTo>
                    <a:pt x="172" y="163"/>
                  </a:lnTo>
                  <a:lnTo>
                    <a:pt x="172" y="163"/>
                  </a:lnTo>
                  <a:lnTo>
                    <a:pt x="177" y="158"/>
                  </a:lnTo>
                  <a:lnTo>
                    <a:pt x="174" y="158"/>
                  </a:lnTo>
                  <a:lnTo>
                    <a:pt x="170" y="158"/>
                  </a:lnTo>
                  <a:lnTo>
                    <a:pt x="167" y="155"/>
                  </a:lnTo>
                  <a:lnTo>
                    <a:pt x="172" y="155"/>
                  </a:lnTo>
                  <a:lnTo>
                    <a:pt x="179" y="155"/>
                  </a:lnTo>
                  <a:lnTo>
                    <a:pt x="179" y="155"/>
                  </a:lnTo>
                  <a:lnTo>
                    <a:pt x="179" y="155"/>
                  </a:lnTo>
                  <a:lnTo>
                    <a:pt x="177" y="155"/>
                  </a:lnTo>
                  <a:lnTo>
                    <a:pt x="174" y="151"/>
                  </a:lnTo>
                  <a:lnTo>
                    <a:pt x="174" y="148"/>
                  </a:lnTo>
                  <a:lnTo>
                    <a:pt x="172" y="151"/>
                  </a:lnTo>
                  <a:lnTo>
                    <a:pt x="170" y="153"/>
                  </a:lnTo>
                  <a:lnTo>
                    <a:pt x="167" y="153"/>
                  </a:lnTo>
                  <a:lnTo>
                    <a:pt x="167" y="151"/>
                  </a:lnTo>
                  <a:lnTo>
                    <a:pt x="165" y="151"/>
                  </a:lnTo>
                  <a:lnTo>
                    <a:pt x="163" y="153"/>
                  </a:lnTo>
                  <a:lnTo>
                    <a:pt x="158" y="153"/>
                  </a:lnTo>
                  <a:lnTo>
                    <a:pt x="155" y="155"/>
                  </a:lnTo>
                  <a:lnTo>
                    <a:pt x="153" y="155"/>
                  </a:lnTo>
                  <a:lnTo>
                    <a:pt x="153" y="158"/>
                  </a:lnTo>
                  <a:lnTo>
                    <a:pt x="148" y="165"/>
                  </a:lnTo>
                  <a:lnTo>
                    <a:pt x="148" y="165"/>
                  </a:lnTo>
                  <a:lnTo>
                    <a:pt x="146" y="160"/>
                  </a:lnTo>
                  <a:lnTo>
                    <a:pt x="144" y="160"/>
                  </a:lnTo>
                  <a:lnTo>
                    <a:pt x="141" y="160"/>
                  </a:lnTo>
                  <a:lnTo>
                    <a:pt x="144" y="163"/>
                  </a:lnTo>
                  <a:lnTo>
                    <a:pt x="146" y="165"/>
                  </a:lnTo>
                  <a:lnTo>
                    <a:pt x="146" y="167"/>
                  </a:lnTo>
                  <a:lnTo>
                    <a:pt x="144" y="172"/>
                  </a:lnTo>
                  <a:lnTo>
                    <a:pt x="144" y="172"/>
                  </a:lnTo>
                  <a:lnTo>
                    <a:pt x="139" y="172"/>
                  </a:lnTo>
                  <a:lnTo>
                    <a:pt x="139" y="174"/>
                  </a:lnTo>
                  <a:lnTo>
                    <a:pt x="137" y="174"/>
                  </a:lnTo>
                  <a:lnTo>
                    <a:pt x="137" y="177"/>
                  </a:lnTo>
                  <a:lnTo>
                    <a:pt x="134" y="177"/>
                  </a:lnTo>
                  <a:lnTo>
                    <a:pt x="134" y="174"/>
                  </a:lnTo>
                  <a:lnTo>
                    <a:pt x="134" y="172"/>
                  </a:lnTo>
                  <a:lnTo>
                    <a:pt x="134" y="179"/>
                  </a:lnTo>
                  <a:lnTo>
                    <a:pt x="134" y="184"/>
                  </a:lnTo>
                  <a:lnTo>
                    <a:pt x="132" y="184"/>
                  </a:lnTo>
                  <a:lnTo>
                    <a:pt x="132" y="184"/>
                  </a:lnTo>
                  <a:lnTo>
                    <a:pt x="130" y="181"/>
                  </a:lnTo>
                  <a:lnTo>
                    <a:pt x="125" y="184"/>
                  </a:lnTo>
                  <a:lnTo>
                    <a:pt x="120" y="184"/>
                  </a:lnTo>
                  <a:lnTo>
                    <a:pt x="118" y="186"/>
                  </a:lnTo>
                  <a:lnTo>
                    <a:pt x="113" y="186"/>
                  </a:lnTo>
                  <a:lnTo>
                    <a:pt x="111" y="181"/>
                  </a:lnTo>
                  <a:lnTo>
                    <a:pt x="108" y="181"/>
                  </a:lnTo>
                  <a:lnTo>
                    <a:pt x="108" y="181"/>
                  </a:lnTo>
                  <a:lnTo>
                    <a:pt x="111" y="181"/>
                  </a:lnTo>
                  <a:lnTo>
                    <a:pt x="113" y="179"/>
                  </a:lnTo>
                  <a:lnTo>
                    <a:pt x="113" y="177"/>
                  </a:lnTo>
                  <a:lnTo>
                    <a:pt x="113" y="174"/>
                  </a:lnTo>
                  <a:lnTo>
                    <a:pt x="115" y="172"/>
                  </a:lnTo>
                  <a:lnTo>
                    <a:pt x="115" y="170"/>
                  </a:lnTo>
                  <a:lnTo>
                    <a:pt x="118" y="167"/>
                  </a:lnTo>
                  <a:lnTo>
                    <a:pt x="120" y="167"/>
                  </a:lnTo>
                  <a:lnTo>
                    <a:pt x="120" y="160"/>
                  </a:lnTo>
                  <a:lnTo>
                    <a:pt x="122" y="158"/>
                  </a:lnTo>
                  <a:lnTo>
                    <a:pt x="125" y="155"/>
                  </a:lnTo>
                  <a:lnTo>
                    <a:pt x="127" y="158"/>
                  </a:lnTo>
                  <a:lnTo>
                    <a:pt x="127" y="158"/>
                  </a:lnTo>
                  <a:lnTo>
                    <a:pt x="137" y="158"/>
                  </a:lnTo>
                  <a:lnTo>
                    <a:pt x="139" y="158"/>
                  </a:lnTo>
                  <a:lnTo>
                    <a:pt x="139" y="155"/>
                  </a:lnTo>
                  <a:lnTo>
                    <a:pt x="139" y="153"/>
                  </a:lnTo>
                  <a:lnTo>
                    <a:pt x="139" y="151"/>
                  </a:lnTo>
                  <a:lnTo>
                    <a:pt x="139" y="148"/>
                  </a:lnTo>
                  <a:lnTo>
                    <a:pt x="137" y="146"/>
                  </a:lnTo>
                  <a:lnTo>
                    <a:pt x="132" y="144"/>
                  </a:lnTo>
                  <a:lnTo>
                    <a:pt x="130" y="139"/>
                  </a:lnTo>
                  <a:lnTo>
                    <a:pt x="130" y="137"/>
                  </a:lnTo>
                  <a:lnTo>
                    <a:pt x="130" y="134"/>
                  </a:lnTo>
                  <a:lnTo>
                    <a:pt x="127" y="132"/>
                  </a:lnTo>
                  <a:lnTo>
                    <a:pt x="125" y="129"/>
                  </a:lnTo>
                  <a:lnTo>
                    <a:pt x="125" y="129"/>
                  </a:lnTo>
                  <a:lnTo>
                    <a:pt x="125" y="125"/>
                  </a:lnTo>
                  <a:lnTo>
                    <a:pt x="125" y="120"/>
                  </a:lnTo>
                  <a:lnTo>
                    <a:pt x="125" y="118"/>
                  </a:lnTo>
                  <a:lnTo>
                    <a:pt x="122" y="115"/>
                  </a:lnTo>
                  <a:lnTo>
                    <a:pt x="120" y="118"/>
                  </a:lnTo>
                  <a:lnTo>
                    <a:pt x="118" y="113"/>
                  </a:lnTo>
                  <a:lnTo>
                    <a:pt x="115" y="113"/>
                  </a:lnTo>
                  <a:lnTo>
                    <a:pt x="111" y="113"/>
                  </a:lnTo>
                  <a:lnTo>
                    <a:pt x="108" y="113"/>
                  </a:lnTo>
                  <a:lnTo>
                    <a:pt x="101" y="108"/>
                  </a:lnTo>
                  <a:lnTo>
                    <a:pt x="99" y="106"/>
                  </a:lnTo>
                  <a:lnTo>
                    <a:pt x="94" y="106"/>
                  </a:lnTo>
                  <a:lnTo>
                    <a:pt x="89" y="106"/>
                  </a:lnTo>
                  <a:lnTo>
                    <a:pt x="87" y="106"/>
                  </a:lnTo>
                  <a:lnTo>
                    <a:pt x="85" y="106"/>
                  </a:lnTo>
                  <a:lnTo>
                    <a:pt x="82" y="108"/>
                  </a:lnTo>
                  <a:lnTo>
                    <a:pt x="80" y="111"/>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8" name="Freeform 830">
              <a:extLst>
                <a:ext uri="{FF2B5EF4-FFF2-40B4-BE49-F238E27FC236}">
                  <a16:creationId xmlns:a16="http://schemas.microsoft.com/office/drawing/2014/main" id="{43ED2385-3DB7-4404-BFFA-CE9376E07AFA}"/>
                </a:ext>
              </a:extLst>
            </p:cNvPr>
            <p:cNvSpPr>
              <a:spLocks/>
            </p:cNvSpPr>
            <p:nvPr/>
          </p:nvSpPr>
          <p:spPr bwMode="auto">
            <a:xfrm>
              <a:off x="1886790" y="2832065"/>
              <a:ext cx="501649" cy="328613"/>
            </a:xfrm>
            <a:custGeom>
              <a:avLst/>
              <a:gdLst>
                <a:gd name="T0" fmla="*/ 47 w 316"/>
                <a:gd name="T1" fmla="*/ 120 h 207"/>
                <a:gd name="T2" fmla="*/ 14 w 316"/>
                <a:gd name="T3" fmla="*/ 118 h 207"/>
                <a:gd name="T4" fmla="*/ 7 w 316"/>
                <a:gd name="T5" fmla="*/ 89 h 207"/>
                <a:gd name="T6" fmla="*/ 28 w 316"/>
                <a:gd name="T7" fmla="*/ 56 h 207"/>
                <a:gd name="T8" fmla="*/ 28 w 316"/>
                <a:gd name="T9" fmla="*/ 30 h 207"/>
                <a:gd name="T10" fmla="*/ 40 w 316"/>
                <a:gd name="T11" fmla="*/ 16 h 207"/>
                <a:gd name="T12" fmla="*/ 70 w 316"/>
                <a:gd name="T13" fmla="*/ 14 h 207"/>
                <a:gd name="T14" fmla="*/ 89 w 316"/>
                <a:gd name="T15" fmla="*/ 21 h 207"/>
                <a:gd name="T16" fmla="*/ 106 w 316"/>
                <a:gd name="T17" fmla="*/ 23 h 207"/>
                <a:gd name="T18" fmla="*/ 122 w 316"/>
                <a:gd name="T19" fmla="*/ 21 h 207"/>
                <a:gd name="T20" fmla="*/ 144 w 316"/>
                <a:gd name="T21" fmla="*/ 26 h 207"/>
                <a:gd name="T22" fmla="*/ 151 w 316"/>
                <a:gd name="T23" fmla="*/ 16 h 207"/>
                <a:gd name="T24" fmla="*/ 172 w 316"/>
                <a:gd name="T25" fmla="*/ 4 h 207"/>
                <a:gd name="T26" fmla="*/ 189 w 316"/>
                <a:gd name="T27" fmla="*/ 0 h 207"/>
                <a:gd name="T28" fmla="*/ 212 w 316"/>
                <a:gd name="T29" fmla="*/ 7 h 207"/>
                <a:gd name="T30" fmla="*/ 212 w 316"/>
                <a:gd name="T31" fmla="*/ 21 h 207"/>
                <a:gd name="T32" fmla="*/ 229 w 316"/>
                <a:gd name="T33" fmla="*/ 33 h 207"/>
                <a:gd name="T34" fmla="*/ 243 w 316"/>
                <a:gd name="T35" fmla="*/ 52 h 207"/>
                <a:gd name="T36" fmla="*/ 269 w 316"/>
                <a:gd name="T37" fmla="*/ 52 h 207"/>
                <a:gd name="T38" fmla="*/ 285 w 316"/>
                <a:gd name="T39" fmla="*/ 61 h 207"/>
                <a:gd name="T40" fmla="*/ 304 w 316"/>
                <a:gd name="T41" fmla="*/ 70 h 207"/>
                <a:gd name="T42" fmla="*/ 314 w 316"/>
                <a:gd name="T43" fmla="*/ 89 h 207"/>
                <a:gd name="T44" fmla="*/ 309 w 316"/>
                <a:gd name="T45" fmla="*/ 101 h 207"/>
                <a:gd name="T46" fmla="*/ 307 w 316"/>
                <a:gd name="T47" fmla="*/ 122 h 207"/>
                <a:gd name="T48" fmla="*/ 283 w 316"/>
                <a:gd name="T49" fmla="*/ 132 h 207"/>
                <a:gd name="T50" fmla="*/ 259 w 316"/>
                <a:gd name="T51" fmla="*/ 146 h 207"/>
                <a:gd name="T52" fmla="*/ 241 w 316"/>
                <a:gd name="T53" fmla="*/ 153 h 207"/>
                <a:gd name="T54" fmla="*/ 231 w 316"/>
                <a:gd name="T55" fmla="*/ 163 h 207"/>
                <a:gd name="T56" fmla="*/ 226 w 316"/>
                <a:gd name="T57" fmla="*/ 172 h 207"/>
                <a:gd name="T58" fmla="*/ 219 w 316"/>
                <a:gd name="T59" fmla="*/ 170 h 207"/>
                <a:gd name="T60" fmla="*/ 212 w 316"/>
                <a:gd name="T61" fmla="*/ 160 h 207"/>
                <a:gd name="T62" fmla="*/ 210 w 316"/>
                <a:gd name="T63" fmla="*/ 167 h 207"/>
                <a:gd name="T64" fmla="*/ 219 w 316"/>
                <a:gd name="T65" fmla="*/ 170 h 207"/>
                <a:gd name="T66" fmla="*/ 226 w 316"/>
                <a:gd name="T67" fmla="*/ 177 h 207"/>
                <a:gd name="T68" fmla="*/ 238 w 316"/>
                <a:gd name="T69" fmla="*/ 186 h 207"/>
                <a:gd name="T70" fmla="*/ 255 w 316"/>
                <a:gd name="T71" fmla="*/ 184 h 207"/>
                <a:gd name="T72" fmla="*/ 231 w 316"/>
                <a:gd name="T73" fmla="*/ 196 h 207"/>
                <a:gd name="T74" fmla="*/ 217 w 316"/>
                <a:gd name="T75" fmla="*/ 205 h 207"/>
                <a:gd name="T76" fmla="*/ 200 w 316"/>
                <a:gd name="T77" fmla="*/ 203 h 207"/>
                <a:gd name="T78" fmla="*/ 193 w 316"/>
                <a:gd name="T79" fmla="*/ 186 h 207"/>
                <a:gd name="T80" fmla="*/ 196 w 316"/>
                <a:gd name="T81" fmla="*/ 174 h 207"/>
                <a:gd name="T82" fmla="*/ 198 w 316"/>
                <a:gd name="T83" fmla="*/ 165 h 207"/>
                <a:gd name="T84" fmla="*/ 177 w 316"/>
                <a:gd name="T85" fmla="*/ 163 h 207"/>
                <a:gd name="T86" fmla="*/ 167 w 316"/>
                <a:gd name="T87" fmla="*/ 155 h 207"/>
                <a:gd name="T88" fmla="*/ 174 w 316"/>
                <a:gd name="T89" fmla="*/ 148 h 207"/>
                <a:gd name="T90" fmla="*/ 158 w 316"/>
                <a:gd name="T91" fmla="*/ 153 h 207"/>
                <a:gd name="T92" fmla="*/ 144 w 316"/>
                <a:gd name="T93" fmla="*/ 160 h 207"/>
                <a:gd name="T94" fmla="*/ 139 w 316"/>
                <a:gd name="T95" fmla="*/ 172 h 207"/>
                <a:gd name="T96" fmla="*/ 134 w 316"/>
                <a:gd name="T97" fmla="*/ 179 h 207"/>
                <a:gd name="T98" fmla="*/ 118 w 316"/>
                <a:gd name="T99" fmla="*/ 186 h 207"/>
                <a:gd name="T100" fmla="*/ 113 w 316"/>
                <a:gd name="T101" fmla="*/ 177 h 207"/>
                <a:gd name="T102" fmla="*/ 122 w 316"/>
                <a:gd name="T103" fmla="*/ 158 h 207"/>
                <a:gd name="T104" fmla="*/ 139 w 316"/>
                <a:gd name="T105" fmla="*/ 153 h 207"/>
                <a:gd name="T106" fmla="*/ 130 w 316"/>
                <a:gd name="T107" fmla="*/ 134 h 207"/>
                <a:gd name="T108" fmla="*/ 122 w 316"/>
                <a:gd name="T109" fmla="*/ 115 h 207"/>
                <a:gd name="T110" fmla="*/ 99 w 316"/>
                <a:gd name="T111" fmla="*/ 10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6" h="207">
                  <a:moveTo>
                    <a:pt x="80" y="111"/>
                  </a:moveTo>
                  <a:lnTo>
                    <a:pt x="78" y="111"/>
                  </a:lnTo>
                  <a:lnTo>
                    <a:pt x="66" y="118"/>
                  </a:lnTo>
                  <a:lnTo>
                    <a:pt x="61" y="118"/>
                  </a:lnTo>
                  <a:lnTo>
                    <a:pt x="56" y="120"/>
                  </a:lnTo>
                  <a:lnTo>
                    <a:pt x="52" y="122"/>
                  </a:lnTo>
                  <a:lnTo>
                    <a:pt x="47" y="120"/>
                  </a:lnTo>
                  <a:lnTo>
                    <a:pt x="44" y="118"/>
                  </a:lnTo>
                  <a:lnTo>
                    <a:pt x="40" y="118"/>
                  </a:lnTo>
                  <a:lnTo>
                    <a:pt x="35" y="120"/>
                  </a:lnTo>
                  <a:lnTo>
                    <a:pt x="26" y="118"/>
                  </a:lnTo>
                  <a:lnTo>
                    <a:pt x="21" y="118"/>
                  </a:lnTo>
                  <a:lnTo>
                    <a:pt x="16" y="118"/>
                  </a:lnTo>
                  <a:lnTo>
                    <a:pt x="14" y="118"/>
                  </a:lnTo>
                  <a:lnTo>
                    <a:pt x="11" y="115"/>
                  </a:lnTo>
                  <a:lnTo>
                    <a:pt x="9" y="113"/>
                  </a:lnTo>
                  <a:lnTo>
                    <a:pt x="4" y="111"/>
                  </a:lnTo>
                  <a:lnTo>
                    <a:pt x="0" y="108"/>
                  </a:lnTo>
                  <a:lnTo>
                    <a:pt x="2" y="99"/>
                  </a:lnTo>
                  <a:lnTo>
                    <a:pt x="7" y="92"/>
                  </a:lnTo>
                  <a:lnTo>
                    <a:pt x="7" y="89"/>
                  </a:lnTo>
                  <a:lnTo>
                    <a:pt x="9" y="89"/>
                  </a:lnTo>
                  <a:lnTo>
                    <a:pt x="11" y="89"/>
                  </a:lnTo>
                  <a:lnTo>
                    <a:pt x="11" y="85"/>
                  </a:lnTo>
                  <a:lnTo>
                    <a:pt x="11" y="80"/>
                  </a:lnTo>
                  <a:lnTo>
                    <a:pt x="16" y="68"/>
                  </a:lnTo>
                  <a:lnTo>
                    <a:pt x="21" y="61"/>
                  </a:lnTo>
                  <a:lnTo>
                    <a:pt x="28" y="56"/>
                  </a:lnTo>
                  <a:lnTo>
                    <a:pt x="33" y="52"/>
                  </a:lnTo>
                  <a:lnTo>
                    <a:pt x="35" y="49"/>
                  </a:lnTo>
                  <a:lnTo>
                    <a:pt x="33" y="44"/>
                  </a:lnTo>
                  <a:lnTo>
                    <a:pt x="33" y="40"/>
                  </a:lnTo>
                  <a:lnTo>
                    <a:pt x="30" y="35"/>
                  </a:lnTo>
                  <a:lnTo>
                    <a:pt x="30" y="35"/>
                  </a:lnTo>
                  <a:lnTo>
                    <a:pt x="28" y="30"/>
                  </a:lnTo>
                  <a:lnTo>
                    <a:pt x="26" y="26"/>
                  </a:lnTo>
                  <a:lnTo>
                    <a:pt x="26" y="21"/>
                  </a:lnTo>
                  <a:lnTo>
                    <a:pt x="28" y="18"/>
                  </a:lnTo>
                  <a:lnTo>
                    <a:pt x="30" y="18"/>
                  </a:lnTo>
                  <a:lnTo>
                    <a:pt x="33" y="18"/>
                  </a:lnTo>
                  <a:lnTo>
                    <a:pt x="37" y="16"/>
                  </a:lnTo>
                  <a:lnTo>
                    <a:pt x="40" y="16"/>
                  </a:lnTo>
                  <a:lnTo>
                    <a:pt x="40" y="14"/>
                  </a:lnTo>
                  <a:lnTo>
                    <a:pt x="42" y="11"/>
                  </a:lnTo>
                  <a:lnTo>
                    <a:pt x="56" y="9"/>
                  </a:lnTo>
                  <a:lnTo>
                    <a:pt x="59" y="11"/>
                  </a:lnTo>
                  <a:lnTo>
                    <a:pt x="63" y="11"/>
                  </a:lnTo>
                  <a:lnTo>
                    <a:pt x="66" y="9"/>
                  </a:lnTo>
                  <a:lnTo>
                    <a:pt x="70" y="14"/>
                  </a:lnTo>
                  <a:lnTo>
                    <a:pt x="75" y="14"/>
                  </a:lnTo>
                  <a:lnTo>
                    <a:pt x="78" y="14"/>
                  </a:lnTo>
                  <a:lnTo>
                    <a:pt x="80" y="14"/>
                  </a:lnTo>
                  <a:lnTo>
                    <a:pt x="82" y="16"/>
                  </a:lnTo>
                  <a:lnTo>
                    <a:pt x="85" y="16"/>
                  </a:lnTo>
                  <a:lnTo>
                    <a:pt x="87" y="18"/>
                  </a:lnTo>
                  <a:lnTo>
                    <a:pt x="89" y="21"/>
                  </a:lnTo>
                  <a:lnTo>
                    <a:pt x="89" y="21"/>
                  </a:lnTo>
                  <a:lnTo>
                    <a:pt x="96" y="21"/>
                  </a:lnTo>
                  <a:lnTo>
                    <a:pt x="96" y="23"/>
                  </a:lnTo>
                  <a:lnTo>
                    <a:pt x="99" y="26"/>
                  </a:lnTo>
                  <a:lnTo>
                    <a:pt x="99" y="23"/>
                  </a:lnTo>
                  <a:lnTo>
                    <a:pt x="101" y="23"/>
                  </a:lnTo>
                  <a:lnTo>
                    <a:pt x="106" y="23"/>
                  </a:lnTo>
                  <a:lnTo>
                    <a:pt x="106" y="21"/>
                  </a:lnTo>
                  <a:lnTo>
                    <a:pt x="108" y="23"/>
                  </a:lnTo>
                  <a:lnTo>
                    <a:pt x="111" y="23"/>
                  </a:lnTo>
                  <a:lnTo>
                    <a:pt x="113" y="23"/>
                  </a:lnTo>
                  <a:lnTo>
                    <a:pt x="115" y="26"/>
                  </a:lnTo>
                  <a:lnTo>
                    <a:pt x="118" y="26"/>
                  </a:lnTo>
                  <a:lnTo>
                    <a:pt x="122" y="21"/>
                  </a:lnTo>
                  <a:lnTo>
                    <a:pt x="127" y="23"/>
                  </a:lnTo>
                  <a:lnTo>
                    <a:pt x="127" y="26"/>
                  </a:lnTo>
                  <a:lnTo>
                    <a:pt x="130" y="28"/>
                  </a:lnTo>
                  <a:lnTo>
                    <a:pt x="132" y="26"/>
                  </a:lnTo>
                  <a:lnTo>
                    <a:pt x="134" y="28"/>
                  </a:lnTo>
                  <a:lnTo>
                    <a:pt x="141" y="26"/>
                  </a:lnTo>
                  <a:lnTo>
                    <a:pt x="144" y="26"/>
                  </a:lnTo>
                  <a:lnTo>
                    <a:pt x="146" y="28"/>
                  </a:lnTo>
                  <a:lnTo>
                    <a:pt x="146" y="30"/>
                  </a:lnTo>
                  <a:lnTo>
                    <a:pt x="151" y="28"/>
                  </a:lnTo>
                  <a:lnTo>
                    <a:pt x="151" y="26"/>
                  </a:lnTo>
                  <a:lnTo>
                    <a:pt x="151" y="21"/>
                  </a:lnTo>
                  <a:lnTo>
                    <a:pt x="151" y="18"/>
                  </a:lnTo>
                  <a:lnTo>
                    <a:pt x="151" y="16"/>
                  </a:lnTo>
                  <a:lnTo>
                    <a:pt x="151" y="14"/>
                  </a:lnTo>
                  <a:lnTo>
                    <a:pt x="158" y="7"/>
                  </a:lnTo>
                  <a:lnTo>
                    <a:pt x="160" y="7"/>
                  </a:lnTo>
                  <a:lnTo>
                    <a:pt x="163" y="7"/>
                  </a:lnTo>
                  <a:lnTo>
                    <a:pt x="165" y="4"/>
                  </a:lnTo>
                  <a:lnTo>
                    <a:pt x="172" y="4"/>
                  </a:lnTo>
                  <a:lnTo>
                    <a:pt x="172" y="4"/>
                  </a:lnTo>
                  <a:lnTo>
                    <a:pt x="174" y="7"/>
                  </a:lnTo>
                  <a:lnTo>
                    <a:pt x="177" y="7"/>
                  </a:lnTo>
                  <a:lnTo>
                    <a:pt x="179" y="7"/>
                  </a:lnTo>
                  <a:lnTo>
                    <a:pt x="179" y="4"/>
                  </a:lnTo>
                  <a:lnTo>
                    <a:pt x="181" y="2"/>
                  </a:lnTo>
                  <a:lnTo>
                    <a:pt x="181" y="0"/>
                  </a:lnTo>
                  <a:lnTo>
                    <a:pt x="189" y="0"/>
                  </a:lnTo>
                  <a:lnTo>
                    <a:pt x="191" y="0"/>
                  </a:lnTo>
                  <a:lnTo>
                    <a:pt x="196" y="0"/>
                  </a:lnTo>
                  <a:lnTo>
                    <a:pt x="200" y="0"/>
                  </a:lnTo>
                  <a:lnTo>
                    <a:pt x="205" y="0"/>
                  </a:lnTo>
                  <a:lnTo>
                    <a:pt x="210" y="2"/>
                  </a:lnTo>
                  <a:lnTo>
                    <a:pt x="212" y="4"/>
                  </a:lnTo>
                  <a:lnTo>
                    <a:pt x="212" y="7"/>
                  </a:lnTo>
                  <a:lnTo>
                    <a:pt x="215" y="11"/>
                  </a:lnTo>
                  <a:lnTo>
                    <a:pt x="217" y="11"/>
                  </a:lnTo>
                  <a:lnTo>
                    <a:pt x="217" y="16"/>
                  </a:lnTo>
                  <a:lnTo>
                    <a:pt x="215" y="16"/>
                  </a:lnTo>
                  <a:lnTo>
                    <a:pt x="212" y="16"/>
                  </a:lnTo>
                  <a:lnTo>
                    <a:pt x="212" y="18"/>
                  </a:lnTo>
                  <a:lnTo>
                    <a:pt x="212" y="21"/>
                  </a:lnTo>
                  <a:lnTo>
                    <a:pt x="215" y="26"/>
                  </a:lnTo>
                  <a:lnTo>
                    <a:pt x="217" y="28"/>
                  </a:lnTo>
                  <a:lnTo>
                    <a:pt x="219" y="30"/>
                  </a:lnTo>
                  <a:lnTo>
                    <a:pt x="224" y="30"/>
                  </a:lnTo>
                  <a:lnTo>
                    <a:pt x="226" y="30"/>
                  </a:lnTo>
                  <a:lnTo>
                    <a:pt x="229" y="30"/>
                  </a:lnTo>
                  <a:lnTo>
                    <a:pt x="229" y="33"/>
                  </a:lnTo>
                  <a:lnTo>
                    <a:pt x="233" y="35"/>
                  </a:lnTo>
                  <a:lnTo>
                    <a:pt x="236" y="44"/>
                  </a:lnTo>
                  <a:lnTo>
                    <a:pt x="233" y="47"/>
                  </a:lnTo>
                  <a:lnTo>
                    <a:pt x="236" y="49"/>
                  </a:lnTo>
                  <a:lnTo>
                    <a:pt x="238" y="52"/>
                  </a:lnTo>
                  <a:lnTo>
                    <a:pt x="241" y="52"/>
                  </a:lnTo>
                  <a:lnTo>
                    <a:pt x="243" y="52"/>
                  </a:lnTo>
                  <a:lnTo>
                    <a:pt x="245" y="52"/>
                  </a:lnTo>
                  <a:lnTo>
                    <a:pt x="248" y="52"/>
                  </a:lnTo>
                  <a:lnTo>
                    <a:pt x="250" y="54"/>
                  </a:lnTo>
                  <a:lnTo>
                    <a:pt x="252" y="54"/>
                  </a:lnTo>
                  <a:lnTo>
                    <a:pt x="255" y="56"/>
                  </a:lnTo>
                  <a:lnTo>
                    <a:pt x="264" y="54"/>
                  </a:lnTo>
                  <a:lnTo>
                    <a:pt x="269" y="52"/>
                  </a:lnTo>
                  <a:lnTo>
                    <a:pt x="271" y="52"/>
                  </a:lnTo>
                  <a:lnTo>
                    <a:pt x="271" y="54"/>
                  </a:lnTo>
                  <a:lnTo>
                    <a:pt x="276" y="61"/>
                  </a:lnTo>
                  <a:lnTo>
                    <a:pt x="278" y="63"/>
                  </a:lnTo>
                  <a:lnTo>
                    <a:pt x="281" y="63"/>
                  </a:lnTo>
                  <a:lnTo>
                    <a:pt x="283" y="61"/>
                  </a:lnTo>
                  <a:lnTo>
                    <a:pt x="285" y="61"/>
                  </a:lnTo>
                  <a:lnTo>
                    <a:pt x="288" y="63"/>
                  </a:lnTo>
                  <a:lnTo>
                    <a:pt x="290" y="63"/>
                  </a:lnTo>
                  <a:lnTo>
                    <a:pt x="293" y="66"/>
                  </a:lnTo>
                  <a:lnTo>
                    <a:pt x="293" y="68"/>
                  </a:lnTo>
                  <a:lnTo>
                    <a:pt x="300" y="68"/>
                  </a:lnTo>
                  <a:lnTo>
                    <a:pt x="302" y="70"/>
                  </a:lnTo>
                  <a:lnTo>
                    <a:pt x="304" y="70"/>
                  </a:lnTo>
                  <a:lnTo>
                    <a:pt x="309" y="73"/>
                  </a:lnTo>
                  <a:lnTo>
                    <a:pt x="311" y="73"/>
                  </a:lnTo>
                  <a:lnTo>
                    <a:pt x="314" y="73"/>
                  </a:lnTo>
                  <a:lnTo>
                    <a:pt x="316" y="75"/>
                  </a:lnTo>
                  <a:lnTo>
                    <a:pt x="314" y="77"/>
                  </a:lnTo>
                  <a:lnTo>
                    <a:pt x="316" y="85"/>
                  </a:lnTo>
                  <a:lnTo>
                    <a:pt x="314" y="89"/>
                  </a:lnTo>
                  <a:lnTo>
                    <a:pt x="309" y="89"/>
                  </a:lnTo>
                  <a:lnTo>
                    <a:pt x="311" y="92"/>
                  </a:lnTo>
                  <a:lnTo>
                    <a:pt x="314" y="92"/>
                  </a:lnTo>
                  <a:lnTo>
                    <a:pt x="314" y="94"/>
                  </a:lnTo>
                  <a:lnTo>
                    <a:pt x="309" y="96"/>
                  </a:lnTo>
                  <a:lnTo>
                    <a:pt x="309" y="99"/>
                  </a:lnTo>
                  <a:lnTo>
                    <a:pt x="309" y="101"/>
                  </a:lnTo>
                  <a:lnTo>
                    <a:pt x="309" y="103"/>
                  </a:lnTo>
                  <a:lnTo>
                    <a:pt x="311" y="106"/>
                  </a:lnTo>
                  <a:lnTo>
                    <a:pt x="311" y="108"/>
                  </a:lnTo>
                  <a:lnTo>
                    <a:pt x="311" y="108"/>
                  </a:lnTo>
                  <a:lnTo>
                    <a:pt x="311" y="113"/>
                  </a:lnTo>
                  <a:lnTo>
                    <a:pt x="309" y="122"/>
                  </a:lnTo>
                  <a:lnTo>
                    <a:pt x="307" y="122"/>
                  </a:lnTo>
                  <a:lnTo>
                    <a:pt x="302" y="122"/>
                  </a:lnTo>
                  <a:lnTo>
                    <a:pt x="300" y="122"/>
                  </a:lnTo>
                  <a:lnTo>
                    <a:pt x="295" y="120"/>
                  </a:lnTo>
                  <a:lnTo>
                    <a:pt x="293" y="120"/>
                  </a:lnTo>
                  <a:lnTo>
                    <a:pt x="290" y="125"/>
                  </a:lnTo>
                  <a:lnTo>
                    <a:pt x="285" y="127"/>
                  </a:lnTo>
                  <a:lnTo>
                    <a:pt x="283" y="132"/>
                  </a:lnTo>
                  <a:lnTo>
                    <a:pt x="283" y="134"/>
                  </a:lnTo>
                  <a:lnTo>
                    <a:pt x="283" y="139"/>
                  </a:lnTo>
                  <a:lnTo>
                    <a:pt x="276" y="141"/>
                  </a:lnTo>
                  <a:lnTo>
                    <a:pt x="271" y="141"/>
                  </a:lnTo>
                  <a:lnTo>
                    <a:pt x="269" y="144"/>
                  </a:lnTo>
                  <a:lnTo>
                    <a:pt x="267" y="144"/>
                  </a:lnTo>
                  <a:lnTo>
                    <a:pt x="259" y="146"/>
                  </a:lnTo>
                  <a:lnTo>
                    <a:pt x="259" y="151"/>
                  </a:lnTo>
                  <a:lnTo>
                    <a:pt x="255" y="148"/>
                  </a:lnTo>
                  <a:lnTo>
                    <a:pt x="248" y="151"/>
                  </a:lnTo>
                  <a:lnTo>
                    <a:pt x="248" y="153"/>
                  </a:lnTo>
                  <a:lnTo>
                    <a:pt x="248" y="151"/>
                  </a:lnTo>
                  <a:lnTo>
                    <a:pt x="243" y="153"/>
                  </a:lnTo>
                  <a:lnTo>
                    <a:pt x="241" y="153"/>
                  </a:lnTo>
                  <a:lnTo>
                    <a:pt x="236" y="158"/>
                  </a:lnTo>
                  <a:lnTo>
                    <a:pt x="236" y="158"/>
                  </a:lnTo>
                  <a:lnTo>
                    <a:pt x="233" y="160"/>
                  </a:lnTo>
                  <a:lnTo>
                    <a:pt x="231" y="165"/>
                  </a:lnTo>
                  <a:lnTo>
                    <a:pt x="229" y="165"/>
                  </a:lnTo>
                  <a:lnTo>
                    <a:pt x="229" y="165"/>
                  </a:lnTo>
                  <a:lnTo>
                    <a:pt x="231" y="163"/>
                  </a:lnTo>
                  <a:lnTo>
                    <a:pt x="233" y="163"/>
                  </a:lnTo>
                  <a:lnTo>
                    <a:pt x="231" y="158"/>
                  </a:lnTo>
                  <a:lnTo>
                    <a:pt x="229" y="158"/>
                  </a:lnTo>
                  <a:lnTo>
                    <a:pt x="229" y="163"/>
                  </a:lnTo>
                  <a:lnTo>
                    <a:pt x="224" y="165"/>
                  </a:lnTo>
                  <a:lnTo>
                    <a:pt x="226" y="170"/>
                  </a:lnTo>
                  <a:lnTo>
                    <a:pt x="226" y="172"/>
                  </a:lnTo>
                  <a:lnTo>
                    <a:pt x="224" y="172"/>
                  </a:lnTo>
                  <a:lnTo>
                    <a:pt x="224" y="172"/>
                  </a:lnTo>
                  <a:lnTo>
                    <a:pt x="222" y="167"/>
                  </a:lnTo>
                  <a:lnTo>
                    <a:pt x="224" y="167"/>
                  </a:lnTo>
                  <a:lnTo>
                    <a:pt x="222" y="165"/>
                  </a:lnTo>
                  <a:lnTo>
                    <a:pt x="219" y="167"/>
                  </a:lnTo>
                  <a:lnTo>
                    <a:pt x="219" y="170"/>
                  </a:lnTo>
                  <a:lnTo>
                    <a:pt x="219" y="167"/>
                  </a:lnTo>
                  <a:lnTo>
                    <a:pt x="219" y="165"/>
                  </a:lnTo>
                  <a:lnTo>
                    <a:pt x="219" y="165"/>
                  </a:lnTo>
                  <a:lnTo>
                    <a:pt x="215" y="165"/>
                  </a:lnTo>
                  <a:lnTo>
                    <a:pt x="215" y="165"/>
                  </a:lnTo>
                  <a:lnTo>
                    <a:pt x="215" y="163"/>
                  </a:lnTo>
                  <a:lnTo>
                    <a:pt x="212" y="160"/>
                  </a:lnTo>
                  <a:lnTo>
                    <a:pt x="212" y="165"/>
                  </a:lnTo>
                  <a:lnTo>
                    <a:pt x="210" y="165"/>
                  </a:lnTo>
                  <a:lnTo>
                    <a:pt x="205" y="163"/>
                  </a:lnTo>
                  <a:lnTo>
                    <a:pt x="207" y="165"/>
                  </a:lnTo>
                  <a:lnTo>
                    <a:pt x="207" y="165"/>
                  </a:lnTo>
                  <a:lnTo>
                    <a:pt x="210" y="165"/>
                  </a:lnTo>
                  <a:lnTo>
                    <a:pt x="210" y="167"/>
                  </a:lnTo>
                  <a:lnTo>
                    <a:pt x="212" y="167"/>
                  </a:lnTo>
                  <a:lnTo>
                    <a:pt x="212" y="170"/>
                  </a:lnTo>
                  <a:lnTo>
                    <a:pt x="212" y="172"/>
                  </a:lnTo>
                  <a:lnTo>
                    <a:pt x="215" y="170"/>
                  </a:lnTo>
                  <a:lnTo>
                    <a:pt x="215" y="167"/>
                  </a:lnTo>
                  <a:lnTo>
                    <a:pt x="217" y="170"/>
                  </a:lnTo>
                  <a:lnTo>
                    <a:pt x="219" y="170"/>
                  </a:lnTo>
                  <a:lnTo>
                    <a:pt x="219" y="170"/>
                  </a:lnTo>
                  <a:lnTo>
                    <a:pt x="219" y="174"/>
                  </a:lnTo>
                  <a:lnTo>
                    <a:pt x="219" y="174"/>
                  </a:lnTo>
                  <a:lnTo>
                    <a:pt x="222" y="174"/>
                  </a:lnTo>
                  <a:lnTo>
                    <a:pt x="222" y="174"/>
                  </a:lnTo>
                  <a:lnTo>
                    <a:pt x="222" y="177"/>
                  </a:lnTo>
                  <a:lnTo>
                    <a:pt x="226" y="177"/>
                  </a:lnTo>
                  <a:lnTo>
                    <a:pt x="226" y="179"/>
                  </a:lnTo>
                  <a:lnTo>
                    <a:pt x="229" y="184"/>
                  </a:lnTo>
                  <a:lnTo>
                    <a:pt x="229" y="186"/>
                  </a:lnTo>
                  <a:lnTo>
                    <a:pt x="229" y="184"/>
                  </a:lnTo>
                  <a:lnTo>
                    <a:pt x="236" y="186"/>
                  </a:lnTo>
                  <a:lnTo>
                    <a:pt x="236" y="184"/>
                  </a:lnTo>
                  <a:lnTo>
                    <a:pt x="238" y="186"/>
                  </a:lnTo>
                  <a:lnTo>
                    <a:pt x="243" y="181"/>
                  </a:lnTo>
                  <a:lnTo>
                    <a:pt x="243" y="181"/>
                  </a:lnTo>
                  <a:lnTo>
                    <a:pt x="245" y="184"/>
                  </a:lnTo>
                  <a:lnTo>
                    <a:pt x="248" y="181"/>
                  </a:lnTo>
                  <a:lnTo>
                    <a:pt x="252" y="181"/>
                  </a:lnTo>
                  <a:lnTo>
                    <a:pt x="255" y="181"/>
                  </a:lnTo>
                  <a:lnTo>
                    <a:pt x="255" y="184"/>
                  </a:lnTo>
                  <a:lnTo>
                    <a:pt x="252" y="186"/>
                  </a:lnTo>
                  <a:lnTo>
                    <a:pt x="252" y="189"/>
                  </a:lnTo>
                  <a:lnTo>
                    <a:pt x="252" y="191"/>
                  </a:lnTo>
                  <a:lnTo>
                    <a:pt x="248" y="191"/>
                  </a:lnTo>
                  <a:lnTo>
                    <a:pt x="245" y="193"/>
                  </a:lnTo>
                  <a:lnTo>
                    <a:pt x="236" y="191"/>
                  </a:lnTo>
                  <a:lnTo>
                    <a:pt x="231" y="196"/>
                  </a:lnTo>
                  <a:lnTo>
                    <a:pt x="226" y="198"/>
                  </a:lnTo>
                  <a:lnTo>
                    <a:pt x="224" y="198"/>
                  </a:lnTo>
                  <a:lnTo>
                    <a:pt x="219" y="198"/>
                  </a:lnTo>
                  <a:lnTo>
                    <a:pt x="222" y="200"/>
                  </a:lnTo>
                  <a:lnTo>
                    <a:pt x="219" y="200"/>
                  </a:lnTo>
                  <a:lnTo>
                    <a:pt x="217" y="203"/>
                  </a:lnTo>
                  <a:lnTo>
                    <a:pt x="217" y="205"/>
                  </a:lnTo>
                  <a:lnTo>
                    <a:pt x="215" y="205"/>
                  </a:lnTo>
                  <a:lnTo>
                    <a:pt x="215" y="205"/>
                  </a:lnTo>
                  <a:lnTo>
                    <a:pt x="210" y="207"/>
                  </a:lnTo>
                  <a:lnTo>
                    <a:pt x="205" y="207"/>
                  </a:lnTo>
                  <a:lnTo>
                    <a:pt x="203" y="207"/>
                  </a:lnTo>
                  <a:lnTo>
                    <a:pt x="200" y="205"/>
                  </a:lnTo>
                  <a:lnTo>
                    <a:pt x="200" y="203"/>
                  </a:lnTo>
                  <a:lnTo>
                    <a:pt x="200" y="198"/>
                  </a:lnTo>
                  <a:lnTo>
                    <a:pt x="203" y="196"/>
                  </a:lnTo>
                  <a:lnTo>
                    <a:pt x="203" y="193"/>
                  </a:lnTo>
                  <a:lnTo>
                    <a:pt x="200" y="189"/>
                  </a:lnTo>
                  <a:lnTo>
                    <a:pt x="198" y="189"/>
                  </a:lnTo>
                  <a:lnTo>
                    <a:pt x="196" y="189"/>
                  </a:lnTo>
                  <a:lnTo>
                    <a:pt x="193" y="186"/>
                  </a:lnTo>
                  <a:lnTo>
                    <a:pt x="191" y="184"/>
                  </a:lnTo>
                  <a:lnTo>
                    <a:pt x="184" y="184"/>
                  </a:lnTo>
                  <a:lnTo>
                    <a:pt x="184" y="184"/>
                  </a:lnTo>
                  <a:lnTo>
                    <a:pt x="186" y="181"/>
                  </a:lnTo>
                  <a:lnTo>
                    <a:pt x="189" y="179"/>
                  </a:lnTo>
                  <a:lnTo>
                    <a:pt x="193" y="177"/>
                  </a:lnTo>
                  <a:lnTo>
                    <a:pt x="196" y="174"/>
                  </a:lnTo>
                  <a:lnTo>
                    <a:pt x="205" y="172"/>
                  </a:lnTo>
                  <a:lnTo>
                    <a:pt x="205" y="170"/>
                  </a:lnTo>
                  <a:lnTo>
                    <a:pt x="205" y="170"/>
                  </a:lnTo>
                  <a:lnTo>
                    <a:pt x="205" y="167"/>
                  </a:lnTo>
                  <a:lnTo>
                    <a:pt x="203" y="165"/>
                  </a:lnTo>
                  <a:lnTo>
                    <a:pt x="200" y="167"/>
                  </a:lnTo>
                  <a:lnTo>
                    <a:pt x="198" y="165"/>
                  </a:lnTo>
                  <a:lnTo>
                    <a:pt x="198" y="165"/>
                  </a:lnTo>
                  <a:lnTo>
                    <a:pt x="193" y="165"/>
                  </a:lnTo>
                  <a:lnTo>
                    <a:pt x="193" y="165"/>
                  </a:lnTo>
                  <a:lnTo>
                    <a:pt x="191" y="165"/>
                  </a:lnTo>
                  <a:lnTo>
                    <a:pt x="184" y="167"/>
                  </a:lnTo>
                  <a:lnTo>
                    <a:pt x="179" y="165"/>
                  </a:lnTo>
                  <a:lnTo>
                    <a:pt x="177" y="163"/>
                  </a:lnTo>
                  <a:lnTo>
                    <a:pt x="177" y="163"/>
                  </a:lnTo>
                  <a:lnTo>
                    <a:pt x="172" y="163"/>
                  </a:lnTo>
                  <a:lnTo>
                    <a:pt x="172" y="163"/>
                  </a:lnTo>
                  <a:lnTo>
                    <a:pt x="177" y="158"/>
                  </a:lnTo>
                  <a:lnTo>
                    <a:pt x="174" y="158"/>
                  </a:lnTo>
                  <a:lnTo>
                    <a:pt x="170" y="158"/>
                  </a:lnTo>
                  <a:lnTo>
                    <a:pt x="167" y="155"/>
                  </a:lnTo>
                  <a:lnTo>
                    <a:pt x="172" y="155"/>
                  </a:lnTo>
                  <a:lnTo>
                    <a:pt x="179" y="155"/>
                  </a:lnTo>
                  <a:lnTo>
                    <a:pt x="179" y="155"/>
                  </a:lnTo>
                  <a:lnTo>
                    <a:pt x="179" y="155"/>
                  </a:lnTo>
                  <a:lnTo>
                    <a:pt x="177" y="155"/>
                  </a:lnTo>
                  <a:lnTo>
                    <a:pt x="174" y="151"/>
                  </a:lnTo>
                  <a:lnTo>
                    <a:pt x="174" y="148"/>
                  </a:lnTo>
                  <a:lnTo>
                    <a:pt x="172" y="151"/>
                  </a:lnTo>
                  <a:lnTo>
                    <a:pt x="170" y="153"/>
                  </a:lnTo>
                  <a:lnTo>
                    <a:pt x="167" y="153"/>
                  </a:lnTo>
                  <a:lnTo>
                    <a:pt x="167" y="151"/>
                  </a:lnTo>
                  <a:lnTo>
                    <a:pt x="165" y="151"/>
                  </a:lnTo>
                  <a:lnTo>
                    <a:pt x="163" y="153"/>
                  </a:lnTo>
                  <a:lnTo>
                    <a:pt x="158" y="153"/>
                  </a:lnTo>
                  <a:lnTo>
                    <a:pt x="155" y="155"/>
                  </a:lnTo>
                  <a:lnTo>
                    <a:pt x="153" y="155"/>
                  </a:lnTo>
                  <a:lnTo>
                    <a:pt x="153" y="158"/>
                  </a:lnTo>
                  <a:lnTo>
                    <a:pt x="148" y="165"/>
                  </a:lnTo>
                  <a:lnTo>
                    <a:pt x="148" y="165"/>
                  </a:lnTo>
                  <a:lnTo>
                    <a:pt x="146" y="160"/>
                  </a:lnTo>
                  <a:lnTo>
                    <a:pt x="144" y="160"/>
                  </a:lnTo>
                  <a:lnTo>
                    <a:pt x="141" y="160"/>
                  </a:lnTo>
                  <a:lnTo>
                    <a:pt x="144" y="163"/>
                  </a:lnTo>
                  <a:lnTo>
                    <a:pt x="146" y="165"/>
                  </a:lnTo>
                  <a:lnTo>
                    <a:pt x="146" y="167"/>
                  </a:lnTo>
                  <a:lnTo>
                    <a:pt x="144" y="172"/>
                  </a:lnTo>
                  <a:lnTo>
                    <a:pt x="144" y="172"/>
                  </a:lnTo>
                  <a:lnTo>
                    <a:pt x="139" y="172"/>
                  </a:lnTo>
                  <a:lnTo>
                    <a:pt x="139" y="174"/>
                  </a:lnTo>
                  <a:lnTo>
                    <a:pt x="137" y="174"/>
                  </a:lnTo>
                  <a:lnTo>
                    <a:pt x="137" y="177"/>
                  </a:lnTo>
                  <a:lnTo>
                    <a:pt x="134" y="177"/>
                  </a:lnTo>
                  <a:lnTo>
                    <a:pt x="134" y="174"/>
                  </a:lnTo>
                  <a:lnTo>
                    <a:pt x="134" y="172"/>
                  </a:lnTo>
                  <a:lnTo>
                    <a:pt x="134" y="179"/>
                  </a:lnTo>
                  <a:lnTo>
                    <a:pt x="134" y="184"/>
                  </a:lnTo>
                  <a:lnTo>
                    <a:pt x="132" y="184"/>
                  </a:lnTo>
                  <a:lnTo>
                    <a:pt x="132" y="184"/>
                  </a:lnTo>
                  <a:lnTo>
                    <a:pt x="130" y="181"/>
                  </a:lnTo>
                  <a:lnTo>
                    <a:pt x="125" y="184"/>
                  </a:lnTo>
                  <a:lnTo>
                    <a:pt x="120" y="184"/>
                  </a:lnTo>
                  <a:lnTo>
                    <a:pt x="118" y="186"/>
                  </a:lnTo>
                  <a:lnTo>
                    <a:pt x="113" y="186"/>
                  </a:lnTo>
                  <a:lnTo>
                    <a:pt x="111" y="181"/>
                  </a:lnTo>
                  <a:lnTo>
                    <a:pt x="108" y="181"/>
                  </a:lnTo>
                  <a:lnTo>
                    <a:pt x="108" y="181"/>
                  </a:lnTo>
                  <a:lnTo>
                    <a:pt x="111" y="181"/>
                  </a:lnTo>
                  <a:lnTo>
                    <a:pt x="113" y="179"/>
                  </a:lnTo>
                  <a:lnTo>
                    <a:pt x="113" y="177"/>
                  </a:lnTo>
                  <a:lnTo>
                    <a:pt x="113" y="174"/>
                  </a:lnTo>
                  <a:lnTo>
                    <a:pt x="115" y="172"/>
                  </a:lnTo>
                  <a:lnTo>
                    <a:pt x="115" y="170"/>
                  </a:lnTo>
                  <a:lnTo>
                    <a:pt x="118" y="167"/>
                  </a:lnTo>
                  <a:lnTo>
                    <a:pt x="120" y="167"/>
                  </a:lnTo>
                  <a:lnTo>
                    <a:pt x="120" y="160"/>
                  </a:lnTo>
                  <a:lnTo>
                    <a:pt x="122" y="158"/>
                  </a:lnTo>
                  <a:lnTo>
                    <a:pt x="125" y="155"/>
                  </a:lnTo>
                  <a:lnTo>
                    <a:pt x="127" y="158"/>
                  </a:lnTo>
                  <a:lnTo>
                    <a:pt x="127" y="158"/>
                  </a:lnTo>
                  <a:lnTo>
                    <a:pt x="137" y="158"/>
                  </a:lnTo>
                  <a:lnTo>
                    <a:pt x="139" y="158"/>
                  </a:lnTo>
                  <a:lnTo>
                    <a:pt x="139" y="155"/>
                  </a:lnTo>
                  <a:lnTo>
                    <a:pt x="139" y="153"/>
                  </a:lnTo>
                  <a:lnTo>
                    <a:pt x="139" y="151"/>
                  </a:lnTo>
                  <a:lnTo>
                    <a:pt x="139" y="148"/>
                  </a:lnTo>
                  <a:lnTo>
                    <a:pt x="137" y="146"/>
                  </a:lnTo>
                  <a:lnTo>
                    <a:pt x="132" y="144"/>
                  </a:lnTo>
                  <a:lnTo>
                    <a:pt x="130" y="139"/>
                  </a:lnTo>
                  <a:lnTo>
                    <a:pt x="130" y="137"/>
                  </a:lnTo>
                  <a:lnTo>
                    <a:pt x="130" y="134"/>
                  </a:lnTo>
                  <a:lnTo>
                    <a:pt x="127" y="132"/>
                  </a:lnTo>
                  <a:lnTo>
                    <a:pt x="125" y="129"/>
                  </a:lnTo>
                  <a:lnTo>
                    <a:pt x="125" y="129"/>
                  </a:lnTo>
                  <a:lnTo>
                    <a:pt x="125" y="125"/>
                  </a:lnTo>
                  <a:lnTo>
                    <a:pt x="125" y="120"/>
                  </a:lnTo>
                  <a:lnTo>
                    <a:pt x="125" y="118"/>
                  </a:lnTo>
                  <a:lnTo>
                    <a:pt x="122" y="115"/>
                  </a:lnTo>
                  <a:lnTo>
                    <a:pt x="120" y="118"/>
                  </a:lnTo>
                  <a:lnTo>
                    <a:pt x="118" y="113"/>
                  </a:lnTo>
                  <a:lnTo>
                    <a:pt x="115" y="113"/>
                  </a:lnTo>
                  <a:lnTo>
                    <a:pt x="111" y="113"/>
                  </a:lnTo>
                  <a:lnTo>
                    <a:pt x="108" y="113"/>
                  </a:lnTo>
                  <a:lnTo>
                    <a:pt x="101" y="108"/>
                  </a:lnTo>
                  <a:lnTo>
                    <a:pt x="99" y="106"/>
                  </a:lnTo>
                  <a:lnTo>
                    <a:pt x="94" y="106"/>
                  </a:lnTo>
                  <a:lnTo>
                    <a:pt x="89" y="106"/>
                  </a:lnTo>
                  <a:lnTo>
                    <a:pt x="87" y="106"/>
                  </a:lnTo>
                  <a:lnTo>
                    <a:pt x="85" y="106"/>
                  </a:lnTo>
                  <a:lnTo>
                    <a:pt x="82" y="108"/>
                  </a:lnTo>
                  <a:lnTo>
                    <a:pt x="80" y="11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899" name="Freeform 831">
              <a:extLst>
                <a:ext uri="{FF2B5EF4-FFF2-40B4-BE49-F238E27FC236}">
                  <a16:creationId xmlns:a16="http://schemas.microsoft.com/office/drawing/2014/main" id="{3836651A-A3C4-4CE3-89C8-566FA6091E24}"/>
                </a:ext>
              </a:extLst>
            </p:cNvPr>
            <p:cNvSpPr>
              <a:spLocks/>
            </p:cNvSpPr>
            <p:nvPr/>
          </p:nvSpPr>
          <p:spPr bwMode="auto">
            <a:xfrm>
              <a:off x="1608978" y="2887627"/>
              <a:ext cx="187325" cy="107950"/>
            </a:xfrm>
            <a:custGeom>
              <a:avLst/>
              <a:gdLst>
                <a:gd name="T0" fmla="*/ 118 w 118"/>
                <a:gd name="T1" fmla="*/ 45 h 68"/>
                <a:gd name="T2" fmla="*/ 111 w 118"/>
                <a:gd name="T3" fmla="*/ 47 h 68"/>
                <a:gd name="T4" fmla="*/ 106 w 118"/>
                <a:gd name="T5" fmla="*/ 50 h 68"/>
                <a:gd name="T6" fmla="*/ 106 w 118"/>
                <a:gd name="T7" fmla="*/ 54 h 68"/>
                <a:gd name="T8" fmla="*/ 101 w 118"/>
                <a:gd name="T9" fmla="*/ 59 h 68"/>
                <a:gd name="T10" fmla="*/ 97 w 118"/>
                <a:gd name="T11" fmla="*/ 64 h 68"/>
                <a:gd name="T12" fmla="*/ 92 w 118"/>
                <a:gd name="T13" fmla="*/ 64 h 68"/>
                <a:gd name="T14" fmla="*/ 87 w 118"/>
                <a:gd name="T15" fmla="*/ 66 h 68"/>
                <a:gd name="T16" fmla="*/ 85 w 118"/>
                <a:gd name="T17" fmla="*/ 68 h 68"/>
                <a:gd name="T18" fmla="*/ 82 w 118"/>
                <a:gd name="T19" fmla="*/ 61 h 68"/>
                <a:gd name="T20" fmla="*/ 66 w 118"/>
                <a:gd name="T21" fmla="*/ 59 h 68"/>
                <a:gd name="T22" fmla="*/ 54 w 118"/>
                <a:gd name="T23" fmla="*/ 57 h 68"/>
                <a:gd name="T24" fmla="*/ 49 w 118"/>
                <a:gd name="T25" fmla="*/ 64 h 68"/>
                <a:gd name="T26" fmla="*/ 45 w 118"/>
                <a:gd name="T27" fmla="*/ 66 h 68"/>
                <a:gd name="T28" fmla="*/ 38 w 118"/>
                <a:gd name="T29" fmla="*/ 66 h 68"/>
                <a:gd name="T30" fmla="*/ 30 w 118"/>
                <a:gd name="T31" fmla="*/ 64 h 68"/>
                <a:gd name="T32" fmla="*/ 21 w 118"/>
                <a:gd name="T33" fmla="*/ 54 h 68"/>
                <a:gd name="T34" fmla="*/ 9 w 118"/>
                <a:gd name="T35" fmla="*/ 45 h 68"/>
                <a:gd name="T36" fmla="*/ 7 w 118"/>
                <a:gd name="T37" fmla="*/ 33 h 68"/>
                <a:gd name="T38" fmla="*/ 2 w 118"/>
                <a:gd name="T39" fmla="*/ 28 h 68"/>
                <a:gd name="T40" fmla="*/ 0 w 118"/>
                <a:gd name="T41" fmla="*/ 21 h 68"/>
                <a:gd name="T42" fmla="*/ 5 w 118"/>
                <a:gd name="T43" fmla="*/ 26 h 68"/>
                <a:gd name="T44" fmla="*/ 7 w 118"/>
                <a:gd name="T45" fmla="*/ 21 h 68"/>
                <a:gd name="T46" fmla="*/ 16 w 118"/>
                <a:gd name="T47" fmla="*/ 17 h 68"/>
                <a:gd name="T48" fmla="*/ 23 w 118"/>
                <a:gd name="T49" fmla="*/ 12 h 68"/>
                <a:gd name="T50" fmla="*/ 38 w 118"/>
                <a:gd name="T51" fmla="*/ 0 h 68"/>
                <a:gd name="T52" fmla="*/ 42 w 118"/>
                <a:gd name="T53" fmla="*/ 5 h 68"/>
                <a:gd name="T54" fmla="*/ 47 w 118"/>
                <a:gd name="T55" fmla="*/ 7 h 68"/>
                <a:gd name="T56" fmla="*/ 54 w 118"/>
                <a:gd name="T57" fmla="*/ 2 h 68"/>
                <a:gd name="T58" fmla="*/ 59 w 118"/>
                <a:gd name="T59" fmla="*/ 7 h 68"/>
                <a:gd name="T60" fmla="*/ 68 w 118"/>
                <a:gd name="T61" fmla="*/ 9 h 68"/>
                <a:gd name="T62" fmla="*/ 75 w 118"/>
                <a:gd name="T63" fmla="*/ 14 h 68"/>
                <a:gd name="T64" fmla="*/ 75 w 118"/>
                <a:gd name="T65" fmla="*/ 14 h 68"/>
                <a:gd name="T66" fmla="*/ 80 w 118"/>
                <a:gd name="T67" fmla="*/ 24 h 68"/>
                <a:gd name="T68" fmla="*/ 85 w 118"/>
                <a:gd name="T69" fmla="*/ 24 h 68"/>
                <a:gd name="T70" fmla="*/ 85 w 118"/>
                <a:gd name="T71" fmla="*/ 19 h 68"/>
                <a:gd name="T72" fmla="*/ 99 w 118"/>
                <a:gd name="T73" fmla="*/ 21 h 68"/>
                <a:gd name="T74" fmla="*/ 101 w 118"/>
                <a:gd name="T75" fmla="*/ 31 h 68"/>
                <a:gd name="T76" fmla="*/ 106 w 118"/>
                <a:gd name="T77" fmla="*/ 31 h 68"/>
                <a:gd name="T78" fmla="*/ 118 w 118"/>
                <a:gd name="T79"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68">
                  <a:moveTo>
                    <a:pt x="118" y="42"/>
                  </a:moveTo>
                  <a:lnTo>
                    <a:pt x="118" y="45"/>
                  </a:lnTo>
                  <a:lnTo>
                    <a:pt x="113" y="45"/>
                  </a:lnTo>
                  <a:lnTo>
                    <a:pt x="111" y="47"/>
                  </a:lnTo>
                  <a:lnTo>
                    <a:pt x="111" y="50"/>
                  </a:lnTo>
                  <a:lnTo>
                    <a:pt x="106" y="50"/>
                  </a:lnTo>
                  <a:lnTo>
                    <a:pt x="106" y="52"/>
                  </a:lnTo>
                  <a:lnTo>
                    <a:pt x="106" y="54"/>
                  </a:lnTo>
                  <a:lnTo>
                    <a:pt x="104" y="59"/>
                  </a:lnTo>
                  <a:lnTo>
                    <a:pt x="101" y="59"/>
                  </a:lnTo>
                  <a:lnTo>
                    <a:pt x="101" y="61"/>
                  </a:lnTo>
                  <a:lnTo>
                    <a:pt x="97" y="64"/>
                  </a:lnTo>
                  <a:lnTo>
                    <a:pt x="92" y="64"/>
                  </a:lnTo>
                  <a:lnTo>
                    <a:pt x="92" y="64"/>
                  </a:lnTo>
                  <a:lnTo>
                    <a:pt x="90" y="64"/>
                  </a:lnTo>
                  <a:lnTo>
                    <a:pt x="87" y="66"/>
                  </a:lnTo>
                  <a:lnTo>
                    <a:pt x="85" y="68"/>
                  </a:lnTo>
                  <a:lnTo>
                    <a:pt x="85" y="68"/>
                  </a:lnTo>
                  <a:lnTo>
                    <a:pt x="85" y="66"/>
                  </a:lnTo>
                  <a:lnTo>
                    <a:pt x="82" y="61"/>
                  </a:lnTo>
                  <a:lnTo>
                    <a:pt x="71" y="64"/>
                  </a:lnTo>
                  <a:lnTo>
                    <a:pt x="66" y="59"/>
                  </a:lnTo>
                  <a:lnTo>
                    <a:pt x="64" y="57"/>
                  </a:lnTo>
                  <a:lnTo>
                    <a:pt x="54" y="57"/>
                  </a:lnTo>
                  <a:lnTo>
                    <a:pt x="52" y="59"/>
                  </a:lnTo>
                  <a:lnTo>
                    <a:pt x="49" y="64"/>
                  </a:lnTo>
                  <a:lnTo>
                    <a:pt x="47" y="66"/>
                  </a:lnTo>
                  <a:lnTo>
                    <a:pt x="45" y="66"/>
                  </a:lnTo>
                  <a:lnTo>
                    <a:pt x="40" y="66"/>
                  </a:lnTo>
                  <a:lnTo>
                    <a:pt x="38" y="66"/>
                  </a:lnTo>
                  <a:lnTo>
                    <a:pt x="35" y="64"/>
                  </a:lnTo>
                  <a:lnTo>
                    <a:pt x="30" y="64"/>
                  </a:lnTo>
                  <a:lnTo>
                    <a:pt x="30" y="61"/>
                  </a:lnTo>
                  <a:lnTo>
                    <a:pt x="21" y="54"/>
                  </a:lnTo>
                  <a:lnTo>
                    <a:pt x="19" y="52"/>
                  </a:lnTo>
                  <a:lnTo>
                    <a:pt x="9" y="45"/>
                  </a:lnTo>
                  <a:lnTo>
                    <a:pt x="7" y="40"/>
                  </a:lnTo>
                  <a:lnTo>
                    <a:pt x="7" y="33"/>
                  </a:lnTo>
                  <a:lnTo>
                    <a:pt x="5" y="31"/>
                  </a:lnTo>
                  <a:lnTo>
                    <a:pt x="2" y="28"/>
                  </a:lnTo>
                  <a:lnTo>
                    <a:pt x="0" y="26"/>
                  </a:lnTo>
                  <a:lnTo>
                    <a:pt x="0" y="21"/>
                  </a:lnTo>
                  <a:lnTo>
                    <a:pt x="0" y="21"/>
                  </a:lnTo>
                  <a:lnTo>
                    <a:pt x="5" y="26"/>
                  </a:lnTo>
                  <a:lnTo>
                    <a:pt x="5" y="26"/>
                  </a:lnTo>
                  <a:lnTo>
                    <a:pt x="7" y="21"/>
                  </a:lnTo>
                  <a:lnTo>
                    <a:pt x="12" y="19"/>
                  </a:lnTo>
                  <a:lnTo>
                    <a:pt x="16" y="17"/>
                  </a:lnTo>
                  <a:lnTo>
                    <a:pt x="23" y="14"/>
                  </a:lnTo>
                  <a:lnTo>
                    <a:pt x="23" y="12"/>
                  </a:lnTo>
                  <a:lnTo>
                    <a:pt x="38" y="7"/>
                  </a:lnTo>
                  <a:lnTo>
                    <a:pt x="38" y="0"/>
                  </a:lnTo>
                  <a:lnTo>
                    <a:pt x="40" y="0"/>
                  </a:lnTo>
                  <a:lnTo>
                    <a:pt x="42" y="5"/>
                  </a:lnTo>
                  <a:lnTo>
                    <a:pt x="45" y="7"/>
                  </a:lnTo>
                  <a:lnTo>
                    <a:pt x="47" y="7"/>
                  </a:lnTo>
                  <a:lnTo>
                    <a:pt x="49" y="7"/>
                  </a:lnTo>
                  <a:lnTo>
                    <a:pt x="54" y="2"/>
                  </a:lnTo>
                  <a:lnTo>
                    <a:pt x="56" y="5"/>
                  </a:lnTo>
                  <a:lnTo>
                    <a:pt x="59" y="7"/>
                  </a:lnTo>
                  <a:lnTo>
                    <a:pt x="61" y="7"/>
                  </a:lnTo>
                  <a:lnTo>
                    <a:pt x="68" y="9"/>
                  </a:lnTo>
                  <a:lnTo>
                    <a:pt x="71" y="12"/>
                  </a:lnTo>
                  <a:lnTo>
                    <a:pt x="75" y="14"/>
                  </a:lnTo>
                  <a:lnTo>
                    <a:pt x="75" y="14"/>
                  </a:lnTo>
                  <a:lnTo>
                    <a:pt x="75" y="14"/>
                  </a:lnTo>
                  <a:lnTo>
                    <a:pt x="73" y="19"/>
                  </a:lnTo>
                  <a:lnTo>
                    <a:pt x="80" y="24"/>
                  </a:lnTo>
                  <a:lnTo>
                    <a:pt x="82" y="26"/>
                  </a:lnTo>
                  <a:lnTo>
                    <a:pt x="85" y="24"/>
                  </a:lnTo>
                  <a:lnTo>
                    <a:pt x="85" y="21"/>
                  </a:lnTo>
                  <a:lnTo>
                    <a:pt x="85" y="19"/>
                  </a:lnTo>
                  <a:lnTo>
                    <a:pt x="92" y="21"/>
                  </a:lnTo>
                  <a:lnTo>
                    <a:pt x="99" y="21"/>
                  </a:lnTo>
                  <a:lnTo>
                    <a:pt x="99" y="28"/>
                  </a:lnTo>
                  <a:lnTo>
                    <a:pt x="101" y="31"/>
                  </a:lnTo>
                  <a:lnTo>
                    <a:pt x="104" y="28"/>
                  </a:lnTo>
                  <a:lnTo>
                    <a:pt x="106" y="31"/>
                  </a:lnTo>
                  <a:lnTo>
                    <a:pt x="113" y="40"/>
                  </a:lnTo>
                  <a:lnTo>
                    <a:pt x="118" y="4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0" name="Freeform 832">
              <a:extLst>
                <a:ext uri="{FF2B5EF4-FFF2-40B4-BE49-F238E27FC236}">
                  <a16:creationId xmlns:a16="http://schemas.microsoft.com/office/drawing/2014/main" id="{7ACA1D81-4A45-4CC4-B4D0-9349F6A6C938}"/>
                </a:ext>
              </a:extLst>
            </p:cNvPr>
            <p:cNvSpPr>
              <a:spLocks/>
            </p:cNvSpPr>
            <p:nvPr/>
          </p:nvSpPr>
          <p:spPr bwMode="auto">
            <a:xfrm>
              <a:off x="1608978" y="2887627"/>
              <a:ext cx="187325" cy="107950"/>
            </a:xfrm>
            <a:custGeom>
              <a:avLst/>
              <a:gdLst>
                <a:gd name="T0" fmla="*/ 118 w 118"/>
                <a:gd name="T1" fmla="*/ 45 h 68"/>
                <a:gd name="T2" fmla="*/ 111 w 118"/>
                <a:gd name="T3" fmla="*/ 47 h 68"/>
                <a:gd name="T4" fmla="*/ 106 w 118"/>
                <a:gd name="T5" fmla="*/ 50 h 68"/>
                <a:gd name="T6" fmla="*/ 106 w 118"/>
                <a:gd name="T7" fmla="*/ 54 h 68"/>
                <a:gd name="T8" fmla="*/ 101 w 118"/>
                <a:gd name="T9" fmla="*/ 59 h 68"/>
                <a:gd name="T10" fmla="*/ 97 w 118"/>
                <a:gd name="T11" fmla="*/ 64 h 68"/>
                <a:gd name="T12" fmla="*/ 92 w 118"/>
                <a:gd name="T13" fmla="*/ 64 h 68"/>
                <a:gd name="T14" fmla="*/ 87 w 118"/>
                <a:gd name="T15" fmla="*/ 66 h 68"/>
                <a:gd name="T16" fmla="*/ 85 w 118"/>
                <a:gd name="T17" fmla="*/ 68 h 68"/>
                <a:gd name="T18" fmla="*/ 82 w 118"/>
                <a:gd name="T19" fmla="*/ 61 h 68"/>
                <a:gd name="T20" fmla="*/ 66 w 118"/>
                <a:gd name="T21" fmla="*/ 59 h 68"/>
                <a:gd name="T22" fmla="*/ 54 w 118"/>
                <a:gd name="T23" fmla="*/ 57 h 68"/>
                <a:gd name="T24" fmla="*/ 49 w 118"/>
                <a:gd name="T25" fmla="*/ 64 h 68"/>
                <a:gd name="T26" fmla="*/ 45 w 118"/>
                <a:gd name="T27" fmla="*/ 66 h 68"/>
                <a:gd name="T28" fmla="*/ 38 w 118"/>
                <a:gd name="T29" fmla="*/ 66 h 68"/>
                <a:gd name="T30" fmla="*/ 30 w 118"/>
                <a:gd name="T31" fmla="*/ 64 h 68"/>
                <a:gd name="T32" fmla="*/ 21 w 118"/>
                <a:gd name="T33" fmla="*/ 54 h 68"/>
                <a:gd name="T34" fmla="*/ 9 w 118"/>
                <a:gd name="T35" fmla="*/ 45 h 68"/>
                <a:gd name="T36" fmla="*/ 7 w 118"/>
                <a:gd name="T37" fmla="*/ 33 h 68"/>
                <a:gd name="T38" fmla="*/ 2 w 118"/>
                <a:gd name="T39" fmla="*/ 28 h 68"/>
                <a:gd name="T40" fmla="*/ 0 w 118"/>
                <a:gd name="T41" fmla="*/ 21 h 68"/>
                <a:gd name="T42" fmla="*/ 5 w 118"/>
                <a:gd name="T43" fmla="*/ 26 h 68"/>
                <a:gd name="T44" fmla="*/ 7 w 118"/>
                <a:gd name="T45" fmla="*/ 21 h 68"/>
                <a:gd name="T46" fmla="*/ 16 w 118"/>
                <a:gd name="T47" fmla="*/ 17 h 68"/>
                <a:gd name="T48" fmla="*/ 23 w 118"/>
                <a:gd name="T49" fmla="*/ 12 h 68"/>
                <a:gd name="T50" fmla="*/ 38 w 118"/>
                <a:gd name="T51" fmla="*/ 0 h 68"/>
                <a:gd name="T52" fmla="*/ 42 w 118"/>
                <a:gd name="T53" fmla="*/ 5 h 68"/>
                <a:gd name="T54" fmla="*/ 47 w 118"/>
                <a:gd name="T55" fmla="*/ 7 h 68"/>
                <a:gd name="T56" fmla="*/ 54 w 118"/>
                <a:gd name="T57" fmla="*/ 2 h 68"/>
                <a:gd name="T58" fmla="*/ 59 w 118"/>
                <a:gd name="T59" fmla="*/ 7 h 68"/>
                <a:gd name="T60" fmla="*/ 68 w 118"/>
                <a:gd name="T61" fmla="*/ 9 h 68"/>
                <a:gd name="T62" fmla="*/ 75 w 118"/>
                <a:gd name="T63" fmla="*/ 14 h 68"/>
                <a:gd name="T64" fmla="*/ 75 w 118"/>
                <a:gd name="T65" fmla="*/ 14 h 68"/>
                <a:gd name="T66" fmla="*/ 80 w 118"/>
                <a:gd name="T67" fmla="*/ 24 h 68"/>
                <a:gd name="T68" fmla="*/ 85 w 118"/>
                <a:gd name="T69" fmla="*/ 24 h 68"/>
                <a:gd name="T70" fmla="*/ 85 w 118"/>
                <a:gd name="T71" fmla="*/ 19 h 68"/>
                <a:gd name="T72" fmla="*/ 99 w 118"/>
                <a:gd name="T73" fmla="*/ 21 h 68"/>
                <a:gd name="T74" fmla="*/ 101 w 118"/>
                <a:gd name="T75" fmla="*/ 31 h 68"/>
                <a:gd name="T76" fmla="*/ 106 w 118"/>
                <a:gd name="T77" fmla="*/ 31 h 68"/>
                <a:gd name="T78" fmla="*/ 118 w 118"/>
                <a:gd name="T79"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68">
                  <a:moveTo>
                    <a:pt x="118" y="42"/>
                  </a:moveTo>
                  <a:lnTo>
                    <a:pt x="118" y="45"/>
                  </a:lnTo>
                  <a:lnTo>
                    <a:pt x="113" y="45"/>
                  </a:lnTo>
                  <a:lnTo>
                    <a:pt x="111" y="47"/>
                  </a:lnTo>
                  <a:lnTo>
                    <a:pt x="111" y="50"/>
                  </a:lnTo>
                  <a:lnTo>
                    <a:pt x="106" y="50"/>
                  </a:lnTo>
                  <a:lnTo>
                    <a:pt x="106" y="52"/>
                  </a:lnTo>
                  <a:lnTo>
                    <a:pt x="106" y="54"/>
                  </a:lnTo>
                  <a:lnTo>
                    <a:pt x="104" y="59"/>
                  </a:lnTo>
                  <a:lnTo>
                    <a:pt x="101" y="59"/>
                  </a:lnTo>
                  <a:lnTo>
                    <a:pt x="101" y="61"/>
                  </a:lnTo>
                  <a:lnTo>
                    <a:pt x="97" y="64"/>
                  </a:lnTo>
                  <a:lnTo>
                    <a:pt x="92" y="64"/>
                  </a:lnTo>
                  <a:lnTo>
                    <a:pt x="92" y="64"/>
                  </a:lnTo>
                  <a:lnTo>
                    <a:pt x="90" y="64"/>
                  </a:lnTo>
                  <a:lnTo>
                    <a:pt x="87" y="66"/>
                  </a:lnTo>
                  <a:lnTo>
                    <a:pt x="85" y="68"/>
                  </a:lnTo>
                  <a:lnTo>
                    <a:pt x="85" y="68"/>
                  </a:lnTo>
                  <a:lnTo>
                    <a:pt x="85" y="66"/>
                  </a:lnTo>
                  <a:lnTo>
                    <a:pt x="82" y="61"/>
                  </a:lnTo>
                  <a:lnTo>
                    <a:pt x="71" y="64"/>
                  </a:lnTo>
                  <a:lnTo>
                    <a:pt x="66" y="59"/>
                  </a:lnTo>
                  <a:lnTo>
                    <a:pt x="64" y="57"/>
                  </a:lnTo>
                  <a:lnTo>
                    <a:pt x="54" y="57"/>
                  </a:lnTo>
                  <a:lnTo>
                    <a:pt x="52" y="59"/>
                  </a:lnTo>
                  <a:lnTo>
                    <a:pt x="49" y="64"/>
                  </a:lnTo>
                  <a:lnTo>
                    <a:pt x="47" y="66"/>
                  </a:lnTo>
                  <a:lnTo>
                    <a:pt x="45" y="66"/>
                  </a:lnTo>
                  <a:lnTo>
                    <a:pt x="40" y="66"/>
                  </a:lnTo>
                  <a:lnTo>
                    <a:pt x="38" y="66"/>
                  </a:lnTo>
                  <a:lnTo>
                    <a:pt x="35" y="64"/>
                  </a:lnTo>
                  <a:lnTo>
                    <a:pt x="30" y="64"/>
                  </a:lnTo>
                  <a:lnTo>
                    <a:pt x="30" y="61"/>
                  </a:lnTo>
                  <a:lnTo>
                    <a:pt x="21" y="54"/>
                  </a:lnTo>
                  <a:lnTo>
                    <a:pt x="19" y="52"/>
                  </a:lnTo>
                  <a:lnTo>
                    <a:pt x="9" y="45"/>
                  </a:lnTo>
                  <a:lnTo>
                    <a:pt x="7" y="40"/>
                  </a:lnTo>
                  <a:lnTo>
                    <a:pt x="7" y="33"/>
                  </a:lnTo>
                  <a:lnTo>
                    <a:pt x="5" y="31"/>
                  </a:lnTo>
                  <a:lnTo>
                    <a:pt x="2" y="28"/>
                  </a:lnTo>
                  <a:lnTo>
                    <a:pt x="0" y="26"/>
                  </a:lnTo>
                  <a:lnTo>
                    <a:pt x="0" y="21"/>
                  </a:lnTo>
                  <a:lnTo>
                    <a:pt x="0" y="21"/>
                  </a:lnTo>
                  <a:lnTo>
                    <a:pt x="5" y="26"/>
                  </a:lnTo>
                  <a:lnTo>
                    <a:pt x="5" y="26"/>
                  </a:lnTo>
                  <a:lnTo>
                    <a:pt x="7" y="21"/>
                  </a:lnTo>
                  <a:lnTo>
                    <a:pt x="12" y="19"/>
                  </a:lnTo>
                  <a:lnTo>
                    <a:pt x="16" y="17"/>
                  </a:lnTo>
                  <a:lnTo>
                    <a:pt x="23" y="14"/>
                  </a:lnTo>
                  <a:lnTo>
                    <a:pt x="23" y="12"/>
                  </a:lnTo>
                  <a:lnTo>
                    <a:pt x="38" y="7"/>
                  </a:lnTo>
                  <a:lnTo>
                    <a:pt x="38" y="0"/>
                  </a:lnTo>
                  <a:lnTo>
                    <a:pt x="40" y="0"/>
                  </a:lnTo>
                  <a:lnTo>
                    <a:pt x="42" y="5"/>
                  </a:lnTo>
                  <a:lnTo>
                    <a:pt x="45" y="7"/>
                  </a:lnTo>
                  <a:lnTo>
                    <a:pt x="47" y="7"/>
                  </a:lnTo>
                  <a:lnTo>
                    <a:pt x="49" y="7"/>
                  </a:lnTo>
                  <a:lnTo>
                    <a:pt x="54" y="2"/>
                  </a:lnTo>
                  <a:lnTo>
                    <a:pt x="56" y="5"/>
                  </a:lnTo>
                  <a:lnTo>
                    <a:pt x="59" y="7"/>
                  </a:lnTo>
                  <a:lnTo>
                    <a:pt x="61" y="7"/>
                  </a:lnTo>
                  <a:lnTo>
                    <a:pt x="68" y="9"/>
                  </a:lnTo>
                  <a:lnTo>
                    <a:pt x="71" y="12"/>
                  </a:lnTo>
                  <a:lnTo>
                    <a:pt x="75" y="14"/>
                  </a:lnTo>
                  <a:lnTo>
                    <a:pt x="75" y="14"/>
                  </a:lnTo>
                  <a:lnTo>
                    <a:pt x="75" y="14"/>
                  </a:lnTo>
                  <a:lnTo>
                    <a:pt x="73" y="19"/>
                  </a:lnTo>
                  <a:lnTo>
                    <a:pt x="80" y="24"/>
                  </a:lnTo>
                  <a:lnTo>
                    <a:pt x="82" y="26"/>
                  </a:lnTo>
                  <a:lnTo>
                    <a:pt x="85" y="24"/>
                  </a:lnTo>
                  <a:lnTo>
                    <a:pt x="85" y="21"/>
                  </a:lnTo>
                  <a:lnTo>
                    <a:pt x="85" y="19"/>
                  </a:lnTo>
                  <a:lnTo>
                    <a:pt x="92" y="21"/>
                  </a:lnTo>
                  <a:lnTo>
                    <a:pt x="99" y="21"/>
                  </a:lnTo>
                  <a:lnTo>
                    <a:pt x="99" y="28"/>
                  </a:lnTo>
                  <a:lnTo>
                    <a:pt x="101" y="31"/>
                  </a:lnTo>
                  <a:lnTo>
                    <a:pt x="104" y="28"/>
                  </a:lnTo>
                  <a:lnTo>
                    <a:pt x="106" y="31"/>
                  </a:lnTo>
                  <a:lnTo>
                    <a:pt x="113" y="40"/>
                  </a:lnTo>
                  <a:lnTo>
                    <a:pt x="118" y="4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1" name="Freeform 833">
              <a:extLst>
                <a:ext uri="{FF2B5EF4-FFF2-40B4-BE49-F238E27FC236}">
                  <a16:creationId xmlns:a16="http://schemas.microsoft.com/office/drawing/2014/main" id="{DAD616A0-25EA-4C86-B7C1-1068C2757D75}"/>
                </a:ext>
              </a:extLst>
            </p:cNvPr>
            <p:cNvSpPr>
              <a:spLocks/>
            </p:cNvSpPr>
            <p:nvPr/>
          </p:nvSpPr>
          <p:spPr bwMode="auto">
            <a:xfrm>
              <a:off x="1443878" y="3033677"/>
              <a:ext cx="119063" cy="71437"/>
            </a:xfrm>
            <a:custGeom>
              <a:avLst/>
              <a:gdLst>
                <a:gd name="T0" fmla="*/ 16 w 75"/>
                <a:gd name="T1" fmla="*/ 43 h 45"/>
                <a:gd name="T2" fmla="*/ 12 w 75"/>
                <a:gd name="T3" fmla="*/ 38 h 45"/>
                <a:gd name="T4" fmla="*/ 12 w 75"/>
                <a:gd name="T5" fmla="*/ 31 h 45"/>
                <a:gd name="T6" fmla="*/ 2 w 75"/>
                <a:gd name="T7" fmla="*/ 38 h 45"/>
                <a:gd name="T8" fmla="*/ 0 w 75"/>
                <a:gd name="T9" fmla="*/ 38 h 45"/>
                <a:gd name="T10" fmla="*/ 0 w 75"/>
                <a:gd name="T11" fmla="*/ 26 h 45"/>
                <a:gd name="T12" fmla="*/ 5 w 75"/>
                <a:gd name="T13" fmla="*/ 24 h 45"/>
                <a:gd name="T14" fmla="*/ 7 w 75"/>
                <a:gd name="T15" fmla="*/ 21 h 45"/>
                <a:gd name="T16" fmla="*/ 9 w 75"/>
                <a:gd name="T17" fmla="*/ 14 h 45"/>
                <a:gd name="T18" fmla="*/ 14 w 75"/>
                <a:gd name="T19" fmla="*/ 5 h 45"/>
                <a:gd name="T20" fmla="*/ 21 w 75"/>
                <a:gd name="T21" fmla="*/ 5 h 45"/>
                <a:gd name="T22" fmla="*/ 26 w 75"/>
                <a:gd name="T23" fmla="*/ 0 h 45"/>
                <a:gd name="T24" fmla="*/ 40 w 75"/>
                <a:gd name="T25" fmla="*/ 2 h 45"/>
                <a:gd name="T26" fmla="*/ 54 w 75"/>
                <a:gd name="T27" fmla="*/ 2 h 45"/>
                <a:gd name="T28" fmla="*/ 61 w 75"/>
                <a:gd name="T29" fmla="*/ 7 h 45"/>
                <a:gd name="T30" fmla="*/ 61 w 75"/>
                <a:gd name="T31" fmla="*/ 12 h 45"/>
                <a:gd name="T32" fmla="*/ 66 w 75"/>
                <a:gd name="T33" fmla="*/ 19 h 45"/>
                <a:gd name="T34" fmla="*/ 71 w 75"/>
                <a:gd name="T35" fmla="*/ 19 h 45"/>
                <a:gd name="T36" fmla="*/ 75 w 75"/>
                <a:gd name="T37" fmla="*/ 21 h 45"/>
                <a:gd name="T38" fmla="*/ 75 w 75"/>
                <a:gd name="T39" fmla="*/ 26 h 45"/>
                <a:gd name="T40" fmla="*/ 71 w 75"/>
                <a:gd name="T41" fmla="*/ 26 h 45"/>
                <a:gd name="T42" fmla="*/ 71 w 75"/>
                <a:gd name="T43" fmla="*/ 31 h 45"/>
                <a:gd name="T44" fmla="*/ 71 w 75"/>
                <a:gd name="T45" fmla="*/ 36 h 45"/>
                <a:gd name="T46" fmla="*/ 61 w 75"/>
                <a:gd name="T47" fmla="*/ 33 h 45"/>
                <a:gd name="T48" fmla="*/ 57 w 75"/>
                <a:gd name="T49" fmla="*/ 31 h 45"/>
                <a:gd name="T50" fmla="*/ 52 w 75"/>
                <a:gd name="T51" fmla="*/ 40 h 45"/>
                <a:gd name="T52" fmla="*/ 52 w 75"/>
                <a:gd name="T53" fmla="*/ 45 h 45"/>
                <a:gd name="T54" fmla="*/ 47 w 75"/>
                <a:gd name="T55" fmla="*/ 40 h 45"/>
                <a:gd name="T56" fmla="*/ 42 w 75"/>
                <a:gd name="T57" fmla="*/ 31 h 45"/>
                <a:gd name="T58" fmla="*/ 35 w 75"/>
                <a:gd name="T59" fmla="*/ 36 h 45"/>
                <a:gd name="T60" fmla="*/ 35 w 75"/>
                <a:gd name="T61" fmla="*/ 40 h 45"/>
                <a:gd name="T62" fmla="*/ 28 w 75"/>
                <a:gd name="T63" fmla="*/ 43 h 45"/>
                <a:gd name="T64" fmla="*/ 16 w 75"/>
                <a:gd name="T6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45">
                  <a:moveTo>
                    <a:pt x="16" y="45"/>
                  </a:moveTo>
                  <a:lnTo>
                    <a:pt x="16" y="43"/>
                  </a:lnTo>
                  <a:lnTo>
                    <a:pt x="14" y="40"/>
                  </a:lnTo>
                  <a:lnTo>
                    <a:pt x="12" y="38"/>
                  </a:lnTo>
                  <a:lnTo>
                    <a:pt x="12" y="33"/>
                  </a:lnTo>
                  <a:lnTo>
                    <a:pt x="12" y="31"/>
                  </a:lnTo>
                  <a:lnTo>
                    <a:pt x="7" y="31"/>
                  </a:lnTo>
                  <a:lnTo>
                    <a:pt x="2" y="38"/>
                  </a:lnTo>
                  <a:lnTo>
                    <a:pt x="0" y="38"/>
                  </a:lnTo>
                  <a:lnTo>
                    <a:pt x="0" y="38"/>
                  </a:lnTo>
                  <a:lnTo>
                    <a:pt x="0" y="31"/>
                  </a:lnTo>
                  <a:lnTo>
                    <a:pt x="0" y="26"/>
                  </a:lnTo>
                  <a:lnTo>
                    <a:pt x="2" y="26"/>
                  </a:lnTo>
                  <a:lnTo>
                    <a:pt x="5" y="24"/>
                  </a:lnTo>
                  <a:lnTo>
                    <a:pt x="5" y="21"/>
                  </a:lnTo>
                  <a:lnTo>
                    <a:pt x="7" y="21"/>
                  </a:lnTo>
                  <a:lnTo>
                    <a:pt x="7" y="19"/>
                  </a:lnTo>
                  <a:lnTo>
                    <a:pt x="9" y="14"/>
                  </a:lnTo>
                  <a:lnTo>
                    <a:pt x="16" y="7"/>
                  </a:lnTo>
                  <a:lnTo>
                    <a:pt x="14" y="5"/>
                  </a:lnTo>
                  <a:lnTo>
                    <a:pt x="16" y="2"/>
                  </a:lnTo>
                  <a:lnTo>
                    <a:pt x="21" y="5"/>
                  </a:lnTo>
                  <a:lnTo>
                    <a:pt x="23" y="2"/>
                  </a:lnTo>
                  <a:lnTo>
                    <a:pt x="26" y="0"/>
                  </a:lnTo>
                  <a:lnTo>
                    <a:pt x="28" y="2"/>
                  </a:lnTo>
                  <a:lnTo>
                    <a:pt x="40" y="2"/>
                  </a:lnTo>
                  <a:lnTo>
                    <a:pt x="47" y="0"/>
                  </a:lnTo>
                  <a:lnTo>
                    <a:pt x="54" y="2"/>
                  </a:lnTo>
                  <a:lnTo>
                    <a:pt x="59" y="5"/>
                  </a:lnTo>
                  <a:lnTo>
                    <a:pt x="61" y="7"/>
                  </a:lnTo>
                  <a:lnTo>
                    <a:pt x="61" y="10"/>
                  </a:lnTo>
                  <a:lnTo>
                    <a:pt x="61" y="12"/>
                  </a:lnTo>
                  <a:lnTo>
                    <a:pt x="64" y="17"/>
                  </a:lnTo>
                  <a:lnTo>
                    <a:pt x="66" y="19"/>
                  </a:lnTo>
                  <a:lnTo>
                    <a:pt x="68" y="19"/>
                  </a:lnTo>
                  <a:lnTo>
                    <a:pt x="71" y="19"/>
                  </a:lnTo>
                  <a:lnTo>
                    <a:pt x="73" y="19"/>
                  </a:lnTo>
                  <a:lnTo>
                    <a:pt x="75" y="21"/>
                  </a:lnTo>
                  <a:lnTo>
                    <a:pt x="75" y="24"/>
                  </a:lnTo>
                  <a:lnTo>
                    <a:pt x="75" y="26"/>
                  </a:lnTo>
                  <a:lnTo>
                    <a:pt x="73" y="26"/>
                  </a:lnTo>
                  <a:lnTo>
                    <a:pt x="71" y="26"/>
                  </a:lnTo>
                  <a:lnTo>
                    <a:pt x="71" y="28"/>
                  </a:lnTo>
                  <a:lnTo>
                    <a:pt x="71" y="31"/>
                  </a:lnTo>
                  <a:lnTo>
                    <a:pt x="71" y="33"/>
                  </a:lnTo>
                  <a:lnTo>
                    <a:pt x="71" y="36"/>
                  </a:lnTo>
                  <a:lnTo>
                    <a:pt x="64" y="33"/>
                  </a:lnTo>
                  <a:lnTo>
                    <a:pt x="61" y="33"/>
                  </a:lnTo>
                  <a:lnTo>
                    <a:pt x="59" y="31"/>
                  </a:lnTo>
                  <a:lnTo>
                    <a:pt x="57" y="31"/>
                  </a:lnTo>
                  <a:lnTo>
                    <a:pt x="57" y="33"/>
                  </a:lnTo>
                  <a:lnTo>
                    <a:pt x="52" y="40"/>
                  </a:lnTo>
                  <a:lnTo>
                    <a:pt x="52" y="43"/>
                  </a:lnTo>
                  <a:lnTo>
                    <a:pt x="52" y="45"/>
                  </a:lnTo>
                  <a:lnTo>
                    <a:pt x="49" y="43"/>
                  </a:lnTo>
                  <a:lnTo>
                    <a:pt x="47" y="40"/>
                  </a:lnTo>
                  <a:lnTo>
                    <a:pt x="42" y="38"/>
                  </a:lnTo>
                  <a:lnTo>
                    <a:pt x="42" y="31"/>
                  </a:lnTo>
                  <a:lnTo>
                    <a:pt x="38" y="33"/>
                  </a:lnTo>
                  <a:lnTo>
                    <a:pt x="35" y="36"/>
                  </a:lnTo>
                  <a:lnTo>
                    <a:pt x="35" y="38"/>
                  </a:lnTo>
                  <a:lnTo>
                    <a:pt x="35" y="40"/>
                  </a:lnTo>
                  <a:lnTo>
                    <a:pt x="31" y="43"/>
                  </a:lnTo>
                  <a:lnTo>
                    <a:pt x="28" y="43"/>
                  </a:lnTo>
                  <a:lnTo>
                    <a:pt x="19" y="45"/>
                  </a:lnTo>
                  <a:lnTo>
                    <a:pt x="16" y="4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2" name="Freeform 834">
              <a:extLst>
                <a:ext uri="{FF2B5EF4-FFF2-40B4-BE49-F238E27FC236}">
                  <a16:creationId xmlns:a16="http://schemas.microsoft.com/office/drawing/2014/main" id="{E8A41ABE-E57D-43BE-8ED9-056BA99FF2AA}"/>
                </a:ext>
              </a:extLst>
            </p:cNvPr>
            <p:cNvSpPr>
              <a:spLocks/>
            </p:cNvSpPr>
            <p:nvPr/>
          </p:nvSpPr>
          <p:spPr bwMode="auto">
            <a:xfrm>
              <a:off x="1443878" y="3033677"/>
              <a:ext cx="119063" cy="71437"/>
            </a:xfrm>
            <a:custGeom>
              <a:avLst/>
              <a:gdLst>
                <a:gd name="T0" fmla="*/ 16 w 75"/>
                <a:gd name="T1" fmla="*/ 43 h 45"/>
                <a:gd name="T2" fmla="*/ 12 w 75"/>
                <a:gd name="T3" fmla="*/ 38 h 45"/>
                <a:gd name="T4" fmla="*/ 12 w 75"/>
                <a:gd name="T5" fmla="*/ 31 h 45"/>
                <a:gd name="T6" fmla="*/ 2 w 75"/>
                <a:gd name="T7" fmla="*/ 38 h 45"/>
                <a:gd name="T8" fmla="*/ 0 w 75"/>
                <a:gd name="T9" fmla="*/ 38 h 45"/>
                <a:gd name="T10" fmla="*/ 0 w 75"/>
                <a:gd name="T11" fmla="*/ 26 h 45"/>
                <a:gd name="T12" fmla="*/ 5 w 75"/>
                <a:gd name="T13" fmla="*/ 24 h 45"/>
                <a:gd name="T14" fmla="*/ 7 w 75"/>
                <a:gd name="T15" fmla="*/ 21 h 45"/>
                <a:gd name="T16" fmla="*/ 9 w 75"/>
                <a:gd name="T17" fmla="*/ 14 h 45"/>
                <a:gd name="T18" fmla="*/ 14 w 75"/>
                <a:gd name="T19" fmla="*/ 5 h 45"/>
                <a:gd name="T20" fmla="*/ 21 w 75"/>
                <a:gd name="T21" fmla="*/ 5 h 45"/>
                <a:gd name="T22" fmla="*/ 26 w 75"/>
                <a:gd name="T23" fmla="*/ 0 h 45"/>
                <a:gd name="T24" fmla="*/ 40 w 75"/>
                <a:gd name="T25" fmla="*/ 2 h 45"/>
                <a:gd name="T26" fmla="*/ 54 w 75"/>
                <a:gd name="T27" fmla="*/ 2 h 45"/>
                <a:gd name="T28" fmla="*/ 61 w 75"/>
                <a:gd name="T29" fmla="*/ 7 h 45"/>
                <a:gd name="T30" fmla="*/ 61 w 75"/>
                <a:gd name="T31" fmla="*/ 12 h 45"/>
                <a:gd name="T32" fmla="*/ 66 w 75"/>
                <a:gd name="T33" fmla="*/ 19 h 45"/>
                <a:gd name="T34" fmla="*/ 71 w 75"/>
                <a:gd name="T35" fmla="*/ 19 h 45"/>
                <a:gd name="T36" fmla="*/ 75 w 75"/>
                <a:gd name="T37" fmla="*/ 21 h 45"/>
                <a:gd name="T38" fmla="*/ 75 w 75"/>
                <a:gd name="T39" fmla="*/ 26 h 45"/>
                <a:gd name="T40" fmla="*/ 71 w 75"/>
                <a:gd name="T41" fmla="*/ 26 h 45"/>
                <a:gd name="T42" fmla="*/ 71 w 75"/>
                <a:gd name="T43" fmla="*/ 31 h 45"/>
                <a:gd name="T44" fmla="*/ 71 w 75"/>
                <a:gd name="T45" fmla="*/ 36 h 45"/>
                <a:gd name="T46" fmla="*/ 61 w 75"/>
                <a:gd name="T47" fmla="*/ 33 h 45"/>
                <a:gd name="T48" fmla="*/ 57 w 75"/>
                <a:gd name="T49" fmla="*/ 31 h 45"/>
                <a:gd name="T50" fmla="*/ 52 w 75"/>
                <a:gd name="T51" fmla="*/ 40 h 45"/>
                <a:gd name="T52" fmla="*/ 52 w 75"/>
                <a:gd name="T53" fmla="*/ 45 h 45"/>
                <a:gd name="T54" fmla="*/ 47 w 75"/>
                <a:gd name="T55" fmla="*/ 40 h 45"/>
                <a:gd name="T56" fmla="*/ 42 w 75"/>
                <a:gd name="T57" fmla="*/ 31 h 45"/>
                <a:gd name="T58" fmla="*/ 35 w 75"/>
                <a:gd name="T59" fmla="*/ 36 h 45"/>
                <a:gd name="T60" fmla="*/ 35 w 75"/>
                <a:gd name="T61" fmla="*/ 40 h 45"/>
                <a:gd name="T62" fmla="*/ 28 w 75"/>
                <a:gd name="T63" fmla="*/ 43 h 45"/>
                <a:gd name="T64" fmla="*/ 16 w 75"/>
                <a:gd name="T6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45">
                  <a:moveTo>
                    <a:pt x="16" y="45"/>
                  </a:moveTo>
                  <a:lnTo>
                    <a:pt x="16" y="43"/>
                  </a:lnTo>
                  <a:lnTo>
                    <a:pt x="14" y="40"/>
                  </a:lnTo>
                  <a:lnTo>
                    <a:pt x="12" y="38"/>
                  </a:lnTo>
                  <a:lnTo>
                    <a:pt x="12" y="33"/>
                  </a:lnTo>
                  <a:lnTo>
                    <a:pt x="12" y="31"/>
                  </a:lnTo>
                  <a:lnTo>
                    <a:pt x="7" y="31"/>
                  </a:lnTo>
                  <a:lnTo>
                    <a:pt x="2" y="38"/>
                  </a:lnTo>
                  <a:lnTo>
                    <a:pt x="0" y="38"/>
                  </a:lnTo>
                  <a:lnTo>
                    <a:pt x="0" y="38"/>
                  </a:lnTo>
                  <a:lnTo>
                    <a:pt x="0" y="31"/>
                  </a:lnTo>
                  <a:lnTo>
                    <a:pt x="0" y="26"/>
                  </a:lnTo>
                  <a:lnTo>
                    <a:pt x="2" y="26"/>
                  </a:lnTo>
                  <a:lnTo>
                    <a:pt x="5" y="24"/>
                  </a:lnTo>
                  <a:lnTo>
                    <a:pt x="5" y="21"/>
                  </a:lnTo>
                  <a:lnTo>
                    <a:pt x="7" y="21"/>
                  </a:lnTo>
                  <a:lnTo>
                    <a:pt x="7" y="19"/>
                  </a:lnTo>
                  <a:lnTo>
                    <a:pt x="9" y="14"/>
                  </a:lnTo>
                  <a:lnTo>
                    <a:pt x="16" y="7"/>
                  </a:lnTo>
                  <a:lnTo>
                    <a:pt x="14" y="5"/>
                  </a:lnTo>
                  <a:lnTo>
                    <a:pt x="16" y="2"/>
                  </a:lnTo>
                  <a:lnTo>
                    <a:pt x="21" y="5"/>
                  </a:lnTo>
                  <a:lnTo>
                    <a:pt x="23" y="2"/>
                  </a:lnTo>
                  <a:lnTo>
                    <a:pt x="26" y="0"/>
                  </a:lnTo>
                  <a:lnTo>
                    <a:pt x="28" y="2"/>
                  </a:lnTo>
                  <a:lnTo>
                    <a:pt x="40" y="2"/>
                  </a:lnTo>
                  <a:lnTo>
                    <a:pt x="47" y="0"/>
                  </a:lnTo>
                  <a:lnTo>
                    <a:pt x="54" y="2"/>
                  </a:lnTo>
                  <a:lnTo>
                    <a:pt x="59" y="5"/>
                  </a:lnTo>
                  <a:lnTo>
                    <a:pt x="61" y="7"/>
                  </a:lnTo>
                  <a:lnTo>
                    <a:pt x="61" y="10"/>
                  </a:lnTo>
                  <a:lnTo>
                    <a:pt x="61" y="12"/>
                  </a:lnTo>
                  <a:lnTo>
                    <a:pt x="64" y="17"/>
                  </a:lnTo>
                  <a:lnTo>
                    <a:pt x="66" y="19"/>
                  </a:lnTo>
                  <a:lnTo>
                    <a:pt x="68" y="19"/>
                  </a:lnTo>
                  <a:lnTo>
                    <a:pt x="71" y="19"/>
                  </a:lnTo>
                  <a:lnTo>
                    <a:pt x="73" y="19"/>
                  </a:lnTo>
                  <a:lnTo>
                    <a:pt x="75" y="21"/>
                  </a:lnTo>
                  <a:lnTo>
                    <a:pt x="75" y="24"/>
                  </a:lnTo>
                  <a:lnTo>
                    <a:pt x="75" y="26"/>
                  </a:lnTo>
                  <a:lnTo>
                    <a:pt x="73" y="26"/>
                  </a:lnTo>
                  <a:lnTo>
                    <a:pt x="71" y="26"/>
                  </a:lnTo>
                  <a:lnTo>
                    <a:pt x="71" y="28"/>
                  </a:lnTo>
                  <a:lnTo>
                    <a:pt x="71" y="31"/>
                  </a:lnTo>
                  <a:lnTo>
                    <a:pt x="71" y="33"/>
                  </a:lnTo>
                  <a:lnTo>
                    <a:pt x="71" y="36"/>
                  </a:lnTo>
                  <a:lnTo>
                    <a:pt x="64" y="33"/>
                  </a:lnTo>
                  <a:lnTo>
                    <a:pt x="61" y="33"/>
                  </a:lnTo>
                  <a:lnTo>
                    <a:pt x="59" y="31"/>
                  </a:lnTo>
                  <a:lnTo>
                    <a:pt x="57" y="31"/>
                  </a:lnTo>
                  <a:lnTo>
                    <a:pt x="57" y="33"/>
                  </a:lnTo>
                  <a:lnTo>
                    <a:pt x="52" y="40"/>
                  </a:lnTo>
                  <a:lnTo>
                    <a:pt x="52" y="43"/>
                  </a:lnTo>
                  <a:lnTo>
                    <a:pt x="52" y="45"/>
                  </a:lnTo>
                  <a:lnTo>
                    <a:pt x="49" y="43"/>
                  </a:lnTo>
                  <a:lnTo>
                    <a:pt x="47" y="40"/>
                  </a:lnTo>
                  <a:lnTo>
                    <a:pt x="42" y="38"/>
                  </a:lnTo>
                  <a:lnTo>
                    <a:pt x="42" y="31"/>
                  </a:lnTo>
                  <a:lnTo>
                    <a:pt x="38" y="33"/>
                  </a:lnTo>
                  <a:lnTo>
                    <a:pt x="35" y="36"/>
                  </a:lnTo>
                  <a:lnTo>
                    <a:pt x="35" y="38"/>
                  </a:lnTo>
                  <a:lnTo>
                    <a:pt x="35" y="40"/>
                  </a:lnTo>
                  <a:lnTo>
                    <a:pt x="31" y="43"/>
                  </a:lnTo>
                  <a:lnTo>
                    <a:pt x="28" y="43"/>
                  </a:lnTo>
                  <a:lnTo>
                    <a:pt x="19" y="45"/>
                  </a:lnTo>
                  <a:lnTo>
                    <a:pt x="16" y="45"/>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3" name="Freeform 835">
              <a:extLst>
                <a:ext uri="{FF2B5EF4-FFF2-40B4-BE49-F238E27FC236}">
                  <a16:creationId xmlns:a16="http://schemas.microsoft.com/office/drawing/2014/main" id="{D2EEC589-4396-452C-934A-693BA111ED73}"/>
                </a:ext>
              </a:extLst>
            </p:cNvPr>
            <p:cNvSpPr>
              <a:spLocks/>
            </p:cNvSpPr>
            <p:nvPr/>
          </p:nvSpPr>
          <p:spPr bwMode="auto">
            <a:xfrm>
              <a:off x="1353391" y="2873339"/>
              <a:ext cx="98425" cy="80962"/>
            </a:xfrm>
            <a:custGeom>
              <a:avLst/>
              <a:gdLst>
                <a:gd name="T0" fmla="*/ 52 w 62"/>
                <a:gd name="T1" fmla="*/ 49 h 51"/>
                <a:gd name="T2" fmla="*/ 50 w 62"/>
                <a:gd name="T3" fmla="*/ 51 h 51"/>
                <a:gd name="T4" fmla="*/ 45 w 62"/>
                <a:gd name="T5" fmla="*/ 49 h 51"/>
                <a:gd name="T6" fmla="*/ 43 w 62"/>
                <a:gd name="T7" fmla="*/ 47 h 51"/>
                <a:gd name="T8" fmla="*/ 40 w 62"/>
                <a:gd name="T9" fmla="*/ 44 h 51"/>
                <a:gd name="T10" fmla="*/ 40 w 62"/>
                <a:gd name="T11" fmla="*/ 44 h 51"/>
                <a:gd name="T12" fmla="*/ 38 w 62"/>
                <a:gd name="T13" fmla="*/ 42 h 51"/>
                <a:gd name="T14" fmla="*/ 38 w 62"/>
                <a:gd name="T15" fmla="*/ 35 h 51"/>
                <a:gd name="T16" fmla="*/ 36 w 62"/>
                <a:gd name="T17" fmla="*/ 35 h 51"/>
                <a:gd name="T18" fmla="*/ 36 w 62"/>
                <a:gd name="T19" fmla="*/ 37 h 51"/>
                <a:gd name="T20" fmla="*/ 33 w 62"/>
                <a:gd name="T21" fmla="*/ 40 h 51"/>
                <a:gd name="T22" fmla="*/ 31 w 62"/>
                <a:gd name="T23" fmla="*/ 40 h 51"/>
                <a:gd name="T24" fmla="*/ 26 w 62"/>
                <a:gd name="T25" fmla="*/ 40 h 51"/>
                <a:gd name="T26" fmla="*/ 26 w 62"/>
                <a:gd name="T27" fmla="*/ 35 h 51"/>
                <a:gd name="T28" fmla="*/ 26 w 62"/>
                <a:gd name="T29" fmla="*/ 30 h 51"/>
                <a:gd name="T30" fmla="*/ 24 w 62"/>
                <a:gd name="T31" fmla="*/ 30 h 51"/>
                <a:gd name="T32" fmla="*/ 19 w 62"/>
                <a:gd name="T33" fmla="*/ 28 h 51"/>
                <a:gd name="T34" fmla="*/ 14 w 62"/>
                <a:gd name="T35" fmla="*/ 26 h 51"/>
                <a:gd name="T36" fmla="*/ 12 w 62"/>
                <a:gd name="T37" fmla="*/ 26 h 51"/>
                <a:gd name="T38" fmla="*/ 10 w 62"/>
                <a:gd name="T39" fmla="*/ 18 h 51"/>
                <a:gd name="T40" fmla="*/ 5 w 62"/>
                <a:gd name="T41" fmla="*/ 18 h 51"/>
                <a:gd name="T42" fmla="*/ 3 w 62"/>
                <a:gd name="T43" fmla="*/ 18 h 51"/>
                <a:gd name="T44" fmla="*/ 0 w 62"/>
                <a:gd name="T45" fmla="*/ 14 h 51"/>
                <a:gd name="T46" fmla="*/ 0 w 62"/>
                <a:gd name="T47" fmla="*/ 9 h 51"/>
                <a:gd name="T48" fmla="*/ 0 w 62"/>
                <a:gd name="T49" fmla="*/ 9 h 51"/>
                <a:gd name="T50" fmla="*/ 7 w 62"/>
                <a:gd name="T51" fmla="*/ 4 h 51"/>
                <a:gd name="T52" fmla="*/ 12 w 62"/>
                <a:gd name="T53" fmla="*/ 2 h 51"/>
                <a:gd name="T54" fmla="*/ 14 w 62"/>
                <a:gd name="T55" fmla="*/ 2 h 51"/>
                <a:gd name="T56" fmla="*/ 14 w 62"/>
                <a:gd name="T57" fmla="*/ 2 h 51"/>
                <a:gd name="T58" fmla="*/ 19 w 62"/>
                <a:gd name="T59" fmla="*/ 7 h 51"/>
                <a:gd name="T60" fmla="*/ 26 w 62"/>
                <a:gd name="T61" fmla="*/ 4 h 51"/>
                <a:gd name="T62" fmla="*/ 31 w 62"/>
                <a:gd name="T63" fmla="*/ 0 h 51"/>
                <a:gd name="T64" fmla="*/ 33 w 62"/>
                <a:gd name="T65" fmla="*/ 0 h 51"/>
                <a:gd name="T66" fmla="*/ 38 w 62"/>
                <a:gd name="T67" fmla="*/ 0 h 51"/>
                <a:gd name="T68" fmla="*/ 40 w 62"/>
                <a:gd name="T69" fmla="*/ 2 h 51"/>
                <a:gd name="T70" fmla="*/ 40 w 62"/>
                <a:gd name="T71" fmla="*/ 2 h 51"/>
                <a:gd name="T72" fmla="*/ 43 w 62"/>
                <a:gd name="T73" fmla="*/ 4 h 51"/>
                <a:gd name="T74" fmla="*/ 45 w 62"/>
                <a:gd name="T75" fmla="*/ 4 h 51"/>
                <a:gd name="T76" fmla="*/ 47 w 62"/>
                <a:gd name="T77" fmla="*/ 4 h 51"/>
                <a:gd name="T78" fmla="*/ 50 w 62"/>
                <a:gd name="T79" fmla="*/ 7 h 51"/>
                <a:gd name="T80" fmla="*/ 50 w 62"/>
                <a:gd name="T81" fmla="*/ 9 h 51"/>
                <a:gd name="T82" fmla="*/ 50 w 62"/>
                <a:gd name="T83" fmla="*/ 14 h 51"/>
                <a:gd name="T84" fmla="*/ 50 w 62"/>
                <a:gd name="T85" fmla="*/ 16 h 51"/>
                <a:gd name="T86" fmla="*/ 52 w 62"/>
                <a:gd name="T87" fmla="*/ 18 h 51"/>
                <a:gd name="T88" fmla="*/ 57 w 62"/>
                <a:gd name="T89" fmla="*/ 18 h 51"/>
                <a:gd name="T90" fmla="*/ 59 w 62"/>
                <a:gd name="T91" fmla="*/ 21 h 51"/>
                <a:gd name="T92" fmla="*/ 59 w 62"/>
                <a:gd name="T93" fmla="*/ 23 h 51"/>
                <a:gd name="T94" fmla="*/ 62 w 62"/>
                <a:gd name="T95" fmla="*/ 28 h 51"/>
                <a:gd name="T96" fmla="*/ 62 w 62"/>
                <a:gd name="T97" fmla="*/ 30 h 51"/>
                <a:gd name="T98" fmla="*/ 57 w 62"/>
                <a:gd name="T99" fmla="*/ 35 h 51"/>
                <a:gd name="T100" fmla="*/ 54 w 62"/>
                <a:gd name="T101" fmla="*/ 35 h 51"/>
                <a:gd name="T102" fmla="*/ 52 w 62"/>
                <a:gd name="T103" fmla="*/ 37 h 51"/>
                <a:gd name="T104" fmla="*/ 50 w 62"/>
                <a:gd name="T105" fmla="*/ 42 h 51"/>
                <a:gd name="T106" fmla="*/ 52 w 62"/>
                <a:gd name="T107" fmla="*/ 44 h 51"/>
                <a:gd name="T108" fmla="*/ 52 w 62"/>
                <a:gd name="T10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 h="51">
                  <a:moveTo>
                    <a:pt x="52" y="49"/>
                  </a:moveTo>
                  <a:lnTo>
                    <a:pt x="50" y="51"/>
                  </a:lnTo>
                  <a:lnTo>
                    <a:pt x="45" y="49"/>
                  </a:lnTo>
                  <a:lnTo>
                    <a:pt x="43" y="47"/>
                  </a:lnTo>
                  <a:lnTo>
                    <a:pt x="40" y="44"/>
                  </a:lnTo>
                  <a:lnTo>
                    <a:pt x="40" y="44"/>
                  </a:lnTo>
                  <a:lnTo>
                    <a:pt x="38" y="42"/>
                  </a:lnTo>
                  <a:lnTo>
                    <a:pt x="38" y="35"/>
                  </a:lnTo>
                  <a:lnTo>
                    <a:pt x="36" y="35"/>
                  </a:lnTo>
                  <a:lnTo>
                    <a:pt x="36" y="37"/>
                  </a:lnTo>
                  <a:lnTo>
                    <a:pt x="33" y="40"/>
                  </a:lnTo>
                  <a:lnTo>
                    <a:pt x="31" y="40"/>
                  </a:lnTo>
                  <a:lnTo>
                    <a:pt x="26" y="40"/>
                  </a:lnTo>
                  <a:lnTo>
                    <a:pt x="26" y="35"/>
                  </a:lnTo>
                  <a:lnTo>
                    <a:pt x="26" y="30"/>
                  </a:lnTo>
                  <a:lnTo>
                    <a:pt x="24" y="30"/>
                  </a:lnTo>
                  <a:lnTo>
                    <a:pt x="19" y="28"/>
                  </a:lnTo>
                  <a:lnTo>
                    <a:pt x="14" y="26"/>
                  </a:lnTo>
                  <a:lnTo>
                    <a:pt x="12" y="26"/>
                  </a:lnTo>
                  <a:lnTo>
                    <a:pt x="10" y="18"/>
                  </a:lnTo>
                  <a:lnTo>
                    <a:pt x="5" y="18"/>
                  </a:lnTo>
                  <a:lnTo>
                    <a:pt x="3" y="18"/>
                  </a:lnTo>
                  <a:lnTo>
                    <a:pt x="0" y="14"/>
                  </a:lnTo>
                  <a:lnTo>
                    <a:pt x="0" y="9"/>
                  </a:lnTo>
                  <a:lnTo>
                    <a:pt x="0" y="9"/>
                  </a:lnTo>
                  <a:lnTo>
                    <a:pt x="7" y="4"/>
                  </a:lnTo>
                  <a:lnTo>
                    <a:pt x="12" y="2"/>
                  </a:lnTo>
                  <a:lnTo>
                    <a:pt x="14" y="2"/>
                  </a:lnTo>
                  <a:lnTo>
                    <a:pt x="14" y="2"/>
                  </a:lnTo>
                  <a:lnTo>
                    <a:pt x="19" y="7"/>
                  </a:lnTo>
                  <a:lnTo>
                    <a:pt x="26" y="4"/>
                  </a:lnTo>
                  <a:lnTo>
                    <a:pt x="31" y="0"/>
                  </a:lnTo>
                  <a:lnTo>
                    <a:pt x="33" y="0"/>
                  </a:lnTo>
                  <a:lnTo>
                    <a:pt x="38" y="0"/>
                  </a:lnTo>
                  <a:lnTo>
                    <a:pt x="40" y="2"/>
                  </a:lnTo>
                  <a:lnTo>
                    <a:pt x="40" y="2"/>
                  </a:lnTo>
                  <a:lnTo>
                    <a:pt x="43" y="4"/>
                  </a:lnTo>
                  <a:lnTo>
                    <a:pt x="45" y="4"/>
                  </a:lnTo>
                  <a:lnTo>
                    <a:pt x="47" y="4"/>
                  </a:lnTo>
                  <a:lnTo>
                    <a:pt x="50" y="7"/>
                  </a:lnTo>
                  <a:lnTo>
                    <a:pt x="50" y="9"/>
                  </a:lnTo>
                  <a:lnTo>
                    <a:pt x="50" y="14"/>
                  </a:lnTo>
                  <a:lnTo>
                    <a:pt x="50" y="16"/>
                  </a:lnTo>
                  <a:lnTo>
                    <a:pt x="52" y="18"/>
                  </a:lnTo>
                  <a:lnTo>
                    <a:pt x="57" y="18"/>
                  </a:lnTo>
                  <a:lnTo>
                    <a:pt x="59" y="21"/>
                  </a:lnTo>
                  <a:lnTo>
                    <a:pt x="59" y="23"/>
                  </a:lnTo>
                  <a:lnTo>
                    <a:pt x="62" y="28"/>
                  </a:lnTo>
                  <a:lnTo>
                    <a:pt x="62" y="30"/>
                  </a:lnTo>
                  <a:lnTo>
                    <a:pt x="57" y="35"/>
                  </a:lnTo>
                  <a:lnTo>
                    <a:pt x="54" y="35"/>
                  </a:lnTo>
                  <a:lnTo>
                    <a:pt x="52" y="37"/>
                  </a:lnTo>
                  <a:lnTo>
                    <a:pt x="50" y="42"/>
                  </a:lnTo>
                  <a:lnTo>
                    <a:pt x="52" y="44"/>
                  </a:lnTo>
                  <a:lnTo>
                    <a:pt x="52" y="4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4" name="Freeform 836">
              <a:extLst>
                <a:ext uri="{FF2B5EF4-FFF2-40B4-BE49-F238E27FC236}">
                  <a16:creationId xmlns:a16="http://schemas.microsoft.com/office/drawing/2014/main" id="{BA1EB342-9769-481E-98E0-383EA6D19272}"/>
                </a:ext>
              </a:extLst>
            </p:cNvPr>
            <p:cNvSpPr>
              <a:spLocks/>
            </p:cNvSpPr>
            <p:nvPr/>
          </p:nvSpPr>
          <p:spPr bwMode="auto">
            <a:xfrm>
              <a:off x="1353391" y="2873339"/>
              <a:ext cx="98425" cy="80962"/>
            </a:xfrm>
            <a:custGeom>
              <a:avLst/>
              <a:gdLst>
                <a:gd name="T0" fmla="*/ 52 w 62"/>
                <a:gd name="T1" fmla="*/ 49 h 51"/>
                <a:gd name="T2" fmla="*/ 50 w 62"/>
                <a:gd name="T3" fmla="*/ 51 h 51"/>
                <a:gd name="T4" fmla="*/ 45 w 62"/>
                <a:gd name="T5" fmla="*/ 49 h 51"/>
                <a:gd name="T6" fmla="*/ 43 w 62"/>
                <a:gd name="T7" fmla="*/ 47 h 51"/>
                <a:gd name="T8" fmla="*/ 40 w 62"/>
                <a:gd name="T9" fmla="*/ 44 h 51"/>
                <a:gd name="T10" fmla="*/ 40 w 62"/>
                <a:gd name="T11" fmla="*/ 44 h 51"/>
                <a:gd name="T12" fmla="*/ 38 w 62"/>
                <a:gd name="T13" fmla="*/ 42 h 51"/>
                <a:gd name="T14" fmla="*/ 38 w 62"/>
                <a:gd name="T15" fmla="*/ 35 h 51"/>
                <a:gd name="T16" fmla="*/ 36 w 62"/>
                <a:gd name="T17" fmla="*/ 35 h 51"/>
                <a:gd name="T18" fmla="*/ 36 w 62"/>
                <a:gd name="T19" fmla="*/ 37 h 51"/>
                <a:gd name="T20" fmla="*/ 33 w 62"/>
                <a:gd name="T21" fmla="*/ 40 h 51"/>
                <a:gd name="T22" fmla="*/ 31 w 62"/>
                <a:gd name="T23" fmla="*/ 40 h 51"/>
                <a:gd name="T24" fmla="*/ 26 w 62"/>
                <a:gd name="T25" fmla="*/ 40 h 51"/>
                <a:gd name="T26" fmla="*/ 26 w 62"/>
                <a:gd name="T27" fmla="*/ 35 h 51"/>
                <a:gd name="T28" fmla="*/ 26 w 62"/>
                <a:gd name="T29" fmla="*/ 30 h 51"/>
                <a:gd name="T30" fmla="*/ 24 w 62"/>
                <a:gd name="T31" fmla="*/ 30 h 51"/>
                <a:gd name="T32" fmla="*/ 19 w 62"/>
                <a:gd name="T33" fmla="*/ 28 h 51"/>
                <a:gd name="T34" fmla="*/ 14 w 62"/>
                <a:gd name="T35" fmla="*/ 26 h 51"/>
                <a:gd name="T36" fmla="*/ 12 w 62"/>
                <a:gd name="T37" fmla="*/ 26 h 51"/>
                <a:gd name="T38" fmla="*/ 10 w 62"/>
                <a:gd name="T39" fmla="*/ 18 h 51"/>
                <a:gd name="T40" fmla="*/ 5 w 62"/>
                <a:gd name="T41" fmla="*/ 18 h 51"/>
                <a:gd name="T42" fmla="*/ 3 w 62"/>
                <a:gd name="T43" fmla="*/ 18 h 51"/>
                <a:gd name="T44" fmla="*/ 0 w 62"/>
                <a:gd name="T45" fmla="*/ 14 h 51"/>
                <a:gd name="T46" fmla="*/ 0 w 62"/>
                <a:gd name="T47" fmla="*/ 9 h 51"/>
                <a:gd name="T48" fmla="*/ 0 w 62"/>
                <a:gd name="T49" fmla="*/ 9 h 51"/>
                <a:gd name="T50" fmla="*/ 7 w 62"/>
                <a:gd name="T51" fmla="*/ 4 h 51"/>
                <a:gd name="T52" fmla="*/ 12 w 62"/>
                <a:gd name="T53" fmla="*/ 2 h 51"/>
                <a:gd name="T54" fmla="*/ 14 w 62"/>
                <a:gd name="T55" fmla="*/ 2 h 51"/>
                <a:gd name="T56" fmla="*/ 14 w 62"/>
                <a:gd name="T57" fmla="*/ 2 h 51"/>
                <a:gd name="T58" fmla="*/ 19 w 62"/>
                <a:gd name="T59" fmla="*/ 7 h 51"/>
                <a:gd name="T60" fmla="*/ 26 w 62"/>
                <a:gd name="T61" fmla="*/ 4 h 51"/>
                <a:gd name="T62" fmla="*/ 31 w 62"/>
                <a:gd name="T63" fmla="*/ 0 h 51"/>
                <a:gd name="T64" fmla="*/ 33 w 62"/>
                <a:gd name="T65" fmla="*/ 0 h 51"/>
                <a:gd name="T66" fmla="*/ 38 w 62"/>
                <a:gd name="T67" fmla="*/ 0 h 51"/>
                <a:gd name="T68" fmla="*/ 40 w 62"/>
                <a:gd name="T69" fmla="*/ 2 h 51"/>
                <a:gd name="T70" fmla="*/ 40 w 62"/>
                <a:gd name="T71" fmla="*/ 2 h 51"/>
                <a:gd name="T72" fmla="*/ 43 w 62"/>
                <a:gd name="T73" fmla="*/ 4 h 51"/>
                <a:gd name="T74" fmla="*/ 45 w 62"/>
                <a:gd name="T75" fmla="*/ 4 h 51"/>
                <a:gd name="T76" fmla="*/ 47 w 62"/>
                <a:gd name="T77" fmla="*/ 4 h 51"/>
                <a:gd name="T78" fmla="*/ 50 w 62"/>
                <a:gd name="T79" fmla="*/ 7 h 51"/>
                <a:gd name="T80" fmla="*/ 50 w 62"/>
                <a:gd name="T81" fmla="*/ 9 h 51"/>
                <a:gd name="T82" fmla="*/ 50 w 62"/>
                <a:gd name="T83" fmla="*/ 14 h 51"/>
                <a:gd name="T84" fmla="*/ 50 w 62"/>
                <a:gd name="T85" fmla="*/ 16 h 51"/>
                <a:gd name="T86" fmla="*/ 52 w 62"/>
                <a:gd name="T87" fmla="*/ 18 h 51"/>
                <a:gd name="T88" fmla="*/ 57 w 62"/>
                <a:gd name="T89" fmla="*/ 18 h 51"/>
                <a:gd name="T90" fmla="*/ 59 w 62"/>
                <a:gd name="T91" fmla="*/ 21 h 51"/>
                <a:gd name="T92" fmla="*/ 59 w 62"/>
                <a:gd name="T93" fmla="*/ 23 h 51"/>
                <a:gd name="T94" fmla="*/ 62 w 62"/>
                <a:gd name="T95" fmla="*/ 28 h 51"/>
                <a:gd name="T96" fmla="*/ 62 w 62"/>
                <a:gd name="T97" fmla="*/ 30 h 51"/>
                <a:gd name="T98" fmla="*/ 57 w 62"/>
                <a:gd name="T99" fmla="*/ 35 h 51"/>
                <a:gd name="T100" fmla="*/ 54 w 62"/>
                <a:gd name="T101" fmla="*/ 35 h 51"/>
                <a:gd name="T102" fmla="*/ 52 w 62"/>
                <a:gd name="T103" fmla="*/ 37 h 51"/>
                <a:gd name="T104" fmla="*/ 50 w 62"/>
                <a:gd name="T105" fmla="*/ 42 h 51"/>
                <a:gd name="T106" fmla="*/ 52 w 62"/>
                <a:gd name="T107" fmla="*/ 44 h 51"/>
                <a:gd name="T108" fmla="*/ 52 w 62"/>
                <a:gd name="T10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 h="51">
                  <a:moveTo>
                    <a:pt x="52" y="49"/>
                  </a:moveTo>
                  <a:lnTo>
                    <a:pt x="50" y="51"/>
                  </a:lnTo>
                  <a:lnTo>
                    <a:pt x="45" y="49"/>
                  </a:lnTo>
                  <a:lnTo>
                    <a:pt x="43" y="47"/>
                  </a:lnTo>
                  <a:lnTo>
                    <a:pt x="40" y="44"/>
                  </a:lnTo>
                  <a:lnTo>
                    <a:pt x="40" y="44"/>
                  </a:lnTo>
                  <a:lnTo>
                    <a:pt x="38" y="42"/>
                  </a:lnTo>
                  <a:lnTo>
                    <a:pt x="38" y="35"/>
                  </a:lnTo>
                  <a:lnTo>
                    <a:pt x="36" y="35"/>
                  </a:lnTo>
                  <a:lnTo>
                    <a:pt x="36" y="37"/>
                  </a:lnTo>
                  <a:lnTo>
                    <a:pt x="33" y="40"/>
                  </a:lnTo>
                  <a:lnTo>
                    <a:pt x="31" y="40"/>
                  </a:lnTo>
                  <a:lnTo>
                    <a:pt x="26" y="40"/>
                  </a:lnTo>
                  <a:lnTo>
                    <a:pt x="26" y="35"/>
                  </a:lnTo>
                  <a:lnTo>
                    <a:pt x="26" y="30"/>
                  </a:lnTo>
                  <a:lnTo>
                    <a:pt x="24" y="30"/>
                  </a:lnTo>
                  <a:lnTo>
                    <a:pt x="19" y="28"/>
                  </a:lnTo>
                  <a:lnTo>
                    <a:pt x="14" y="26"/>
                  </a:lnTo>
                  <a:lnTo>
                    <a:pt x="12" y="26"/>
                  </a:lnTo>
                  <a:lnTo>
                    <a:pt x="10" y="18"/>
                  </a:lnTo>
                  <a:lnTo>
                    <a:pt x="5" y="18"/>
                  </a:lnTo>
                  <a:lnTo>
                    <a:pt x="3" y="18"/>
                  </a:lnTo>
                  <a:lnTo>
                    <a:pt x="0" y="14"/>
                  </a:lnTo>
                  <a:lnTo>
                    <a:pt x="0" y="9"/>
                  </a:lnTo>
                  <a:lnTo>
                    <a:pt x="0" y="9"/>
                  </a:lnTo>
                  <a:lnTo>
                    <a:pt x="7" y="4"/>
                  </a:lnTo>
                  <a:lnTo>
                    <a:pt x="12" y="2"/>
                  </a:lnTo>
                  <a:lnTo>
                    <a:pt x="14" y="2"/>
                  </a:lnTo>
                  <a:lnTo>
                    <a:pt x="14" y="2"/>
                  </a:lnTo>
                  <a:lnTo>
                    <a:pt x="19" y="7"/>
                  </a:lnTo>
                  <a:lnTo>
                    <a:pt x="26" y="4"/>
                  </a:lnTo>
                  <a:lnTo>
                    <a:pt x="31" y="0"/>
                  </a:lnTo>
                  <a:lnTo>
                    <a:pt x="33" y="0"/>
                  </a:lnTo>
                  <a:lnTo>
                    <a:pt x="38" y="0"/>
                  </a:lnTo>
                  <a:lnTo>
                    <a:pt x="40" y="2"/>
                  </a:lnTo>
                  <a:lnTo>
                    <a:pt x="40" y="2"/>
                  </a:lnTo>
                  <a:lnTo>
                    <a:pt x="43" y="4"/>
                  </a:lnTo>
                  <a:lnTo>
                    <a:pt x="45" y="4"/>
                  </a:lnTo>
                  <a:lnTo>
                    <a:pt x="47" y="4"/>
                  </a:lnTo>
                  <a:lnTo>
                    <a:pt x="50" y="7"/>
                  </a:lnTo>
                  <a:lnTo>
                    <a:pt x="50" y="9"/>
                  </a:lnTo>
                  <a:lnTo>
                    <a:pt x="50" y="14"/>
                  </a:lnTo>
                  <a:lnTo>
                    <a:pt x="50" y="16"/>
                  </a:lnTo>
                  <a:lnTo>
                    <a:pt x="52" y="18"/>
                  </a:lnTo>
                  <a:lnTo>
                    <a:pt x="57" y="18"/>
                  </a:lnTo>
                  <a:lnTo>
                    <a:pt x="59" y="21"/>
                  </a:lnTo>
                  <a:lnTo>
                    <a:pt x="59" y="23"/>
                  </a:lnTo>
                  <a:lnTo>
                    <a:pt x="62" y="28"/>
                  </a:lnTo>
                  <a:lnTo>
                    <a:pt x="62" y="30"/>
                  </a:lnTo>
                  <a:lnTo>
                    <a:pt x="57" y="35"/>
                  </a:lnTo>
                  <a:lnTo>
                    <a:pt x="54" y="35"/>
                  </a:lnTo>
                  <a:lnTo>
                    <a:pt x="52" y="37"/>
                  </a:lnTo>
                  <a:lnTo>
                    <a:pt x="50" y="42"/>
                  </a:lnTo>
                  <a:lnTo>
                    <a:pt x="52" y="44"/>
                  </a:lnTo>
                  <a:lnTo>
                    <a:pt x="52" y="49"/>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5" name="Freeform 837">
              <a:extLst>
                <a:ext uri="{FF2B5EF4-FFF2-40B4-BE49-F238E27FC236}">
                  <a16:creationId xmlns:a16="http://schemas.microsoft.com/office/drawing/2014/main" id="{E256D6BB-9329-480C-83E0-2178BA7E6E37}"/>
                </a:ext>
              </a:extLst>
            </p:cNvPr>
            <p:cNvSpPr>
              <a:spLocks/>
            </p:cNvSpPr>
            <p:nvPr/>
          </p:nvSpPr>
          <p:spPr bwMode="auto">
            <a:xfrm>
              <a:off x="1316879" y="3232114"/>
              <a:ext cx="11113" cy="7937"/>
            </a:xfrm>
            <a:custGeom>
              <a:avLst/>
              <a:gdLst>
                <a:gd name="T0" fmla="*/ 7 w 7"/>
                <a:gd name="T1" fmla="*/ 3 h 5"/>
                <a:gd name="T2" fmla="*/ 7 w 7"/>
                <a:gd name="T3" fmla="*/ 3 h 5"/>
                <a:gd name="T4" fmla="*/ 4 w 7"/>
                <a:gd name="T5" fmla="*/ 5 h 5"/>
                <a:gd name="T6" fmla="*/ 2 w 7"/>
                <a:gd name="T7" fmla="*/ 5 h 5"/>
                <a:gd name="T8" fmla="*/ 2 w 7"/>
                <a:gd name="T9" fmla="*/ 3 h 5"/>
                <a:gd name="T10" fmla="*/ 0 w 7"/>
                <a:gd name="T11" fmla="*/ 0 h 5"/>
                <a:gd name="T12" fmla="*/ 4 w 7"/>
                <a:gd name="T13" fmla="*/ 0 h 5"/>
                <a:gd name="T14" fmla="*/ 7 w 7"/>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7" y="3"/>
                  </a:moveTo>
                  <a:lnTo>
                    <a:pt x="7" y="3"/>
                  </a:lnTo>
                  <a:lnTo>
                    <a:pt x="4" y="5"/>
                  </a:lnTo>
                  <a:lnTo>
                    <a:pt x="2" y="5"/>
                  </a:lnTo>
                  <a:lnTo>
                    <a:pt x="2" y="3"/>
                  </a:lnTo>
                  <a:lnTo>
                    <a:pt x="0" y="0"/>
                  </a:lnTo>
                  <a:lnTo>
                    <a:pt x="4" y="0"/>
                  </a:lnTo>
                  <a:lnTo>
                    <a:pt x="7" y="3"/>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6" name="Freeform 838">
              <a:extLst>
                <a:ext uri="{FF2B5EF4-FFF2-40B4-BE49-F238E27FC236}">
                  <a16:creationId xmlns:a16="http://schemas.microsoft.com/office/drawing/2014/main" id="{B174B0C2-242B-4EDB-97A0-8E623DFBFEB2}"/>
                </a:ext>
              </a:extLst>
            </p:cNvPr>
            <p:cNvSpPr>
              <a:spLocks/>
            </p:cNvSpPr>
            <p:nvPr/>
          </p:nvSpPr>
          <p:spPr bwMode="auto">
            <a:xfrm>
              <a:off x="1316879" y="3232114"/>
              <a:ext cx="11113" cy="7937"/>
            </a:xfrm>
            <a:custGeom>
              <a:avLst/>
              <a:gdLst>
                <a:gd name="T0" fmla="*/ 7 w 7"/>
                <a:gd name="T1" fmla="*/ 3 h 5"/>
                <a:gd name="T2" fmla="*/ 7 w 7"/>
                <a:gd name="T3" fmla="*/ 3 h 5"/>
                <a:gd name="T4" fmla="*/ 4 w 7"/>
                <a:gd name="T5" fmla="*/ 5 h 5"/>
                <a:gd name="T6" fmla="*/ 2 w 7"/>
                <a:gd name="T7" fmla="*/ 5 h 5"/>
                <a:gd name="T8" fmla="*/ 2 w 7"/>
                <a:gd name="T9" fmla="*/ 3 h 5"/>
                <a:gd name="T10" fmla="*/ 0 w 7"/>
                <a:gd name="T11" fmla="*/ 0 h 5"/>
                <a:gd name="T12" fmla="*/ 4 w 7"/>
                <a:gd name="T13" fmla="*/ 0 h 5"/>
                <a:gd name="T14" fmla="*/ 7 w 7"/>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7" y="3"/>
                  </a:moveTo>
                  <a:lnTo>
                    <a:pt x="7" y="3"/>
                  </a:lnTo>
                  <a:lnTo>
                    <a:pt x="4" y="5"/>
                  </a:lnTo>
                  <a:lnTo>
                    <a:pt x="2" y="5"/>
                  </a:lnTo>
                  <a:lnTo>
                    <a:pt x="2" y="3"/>
                  </a:lnTo>
                  <a:lnTo>
                    <a:pt x="0" y="0"/>
                  </a:lnTo>
                  <a:lnTo>
                    <a:pt x="4" y="0"/>
                  </a:lnTo>
                  <a:lnTo>
                    <a:pt x="7" y="3"/>
                  </a:lnTo>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7" name="Freeform 839">
              <a:extLst>
                <a:ext uri="{FF2B5EF4-FFF2-40B4-BE49-F238E27FC236}">
                  <a16:creationId xmlns:a16="http://schemas.microsoft.com/office/drawing/2014/main" id="{2F2AD98C-D751-4E1D-A531-057E8030B0A6}"/>
                </a:ext>
              </a:extLst>
            </p:cNvPr>
            <p:cNvSpPr>
              <a:spLocks/>
            </p:cNvSpPr>
            <p:nvPr/>
          </p:nvSpPr>
          <p:spPr bwMode="auto">
            <a:xfrm>
              <a:off x="1023192" y="3187664"/>
              <a:ext cx="349249" cy="277813"/>
            </a:xfrm>
            <a:custGeom>
              <a:avLst/>
              <a:gdLst>
                <a:gd name="T0" fmla="*/ 33 w 220"/>
                <a:gd name="T1" fmla="*/ 142 h 175"/>
                <a:gd name="T2" fmla="*/ 43 w 220"/>
                <a:gd name="T3" fmla="*/ 132 h 175"/>
                <a:gd name="T4" fmla="*/ 36 w 220"/>
                <a:gd name="T5" fmla="*/ 120 h 175"/>
                <a:gd name="T6" fmla="*/ 40 w 220"/>
                <a:gd name="T7" fmla="*/ 109 h 175"/>
                <a:gd name="T8" fmla="*/ 36 w 220"/>
                <a:gd name="T9" fmla="*/ 97 h 175"/>
                <a:gd name="T10" fmla="*/ 43 w 220"/>
                <a:gd name="T11" fmla="*/ 90 h 175"/>
                <a:gd name="T12" fmla="*/ 43 w 220"/>
                <a:gd name="T13" fmla="*/ 83 h 175"/>
                <a:gd name="T14" fmla="*/ 45 w 220"/>
                <a:gd name="T15" fmla="*/ 68 h 175"/>
                <a:gd name="T16" fmla="*/ 55 w 220"/>
                <a:gd name="T17" fmla="*/ 54 h 175"/>
                <a:gd name="T18" fmla="*/ 50 w 220"/>
                <a:gd name="T19" fmla="*/ 45 h 175"/>
                <a:gd name="T20" fmla="*/ 36 w 220"/>
                <a:gd name="T21" fmla="*/ 45 h 175"/>
                <a:gd name="T22" fmla="*/ 22 w 220"/>
                <a:gd name="T23" fmla="*/ 45 h 175"/>
                <a:gd name="T24" fmla="*/ 12 w 220"/>
                <a:gd name="T25" fmla="*/ 42 h 175"/>
                <a:gd name="T26" fmla="*/ 7 w 220"/>
                <a:gd name="T27" fmla="*/ 42 h 175"/>
                <a:gd name="T28" fmla="*/ 10 w 220"/>
                <a:gd name="T29" fmla="*/ 35 h 175"/>
                <a:gd name="T30" fmla="*/ 10 w 220"/>
                <a:gd name="T31" fmla="*/ 28 h 175"/>
                <a:gd name="T32" fmla="*/ 5 w 220"/>
                <a:gd name="T33" fmla="*/ 24 h 175"/>
                <a:gd name="T34" fmla="*/ 7 w 220"/>
                <a:gd name="T35" fmla="*/ 12 h 175"/>
                <a:gd name="T36" fmla="*/ 19 w 220"/>
                <a:gd name="T37" fmla="*/ 9 h 175"/>
                <a:gd name="T38" fmla="*/ 29 w 220"/>
                <a:gd name="T39" fmla="*/ 0 h 175"/>
                <a:gd name="T40" fmla="*/ 43 w 220"/>
                <a:gd name="T41" fmla="*/ 5 h 175"/>
                <a:gd name="T42" fmla="*/ 62 w 220"/>
                <a:gd name="T43" fmla="*/ 5 h 175"/>
                <a:gd name="T44" fmla="*/ 83 w 220"/>
                <a:gd name="T45" fmla="*/ 7 h 175"/>
                <a:gd name="T46" fmla="*/ 97 w 220"/>
                <a:gd name="T47" fmla="*/ 7 h 175"/>
                <a:gd name="T48" fmla="*/ 118 w 220"/>
                <a:gd name="T49" fmla="*/ 9 h 175"/>
                <a:gd name="T50" fmla="*/ 130 w 220"/>
                <a:gd name="T51" fmla="*/ 9 h 175"/>
                <a:gd name="T52" fmla="*/ 140 w 220"/>
                <a:gd name="T53" fmla="*/ 19 h 175"/>
                <a:gd name="T54" fmla="*/ 149 w 220"/>
                <a:gd name="T55" fmla="*/ 24 h 175"/>
                <a:gd name="T56" fmla="*/ 173 w 220"/>
                <a:gd name="T57" fmla="*/ 26 h 175"/>
                <a:gd name="T58" fmla="*/ 180 w 220"/>
                <a:gd name="T59" fmla="*/ 26 h 175"/>
                <a:gd name="T60" fmla="*/ 187 w 220"/>
                <a:gd name="T61" fmla="*/ 33 h 175"/>
                <a:gd name="T62" fmla="*/ 192 w 220"/>
                <a:gd name="T63" fmla="*/ 31 h 175"/>
                <a:gd name="T64" fmla="*/ 206 w 220"/>
                <a:gd name="T65" fmla="*/ 33 h 175"/>
                <a:gd name="T66" fmla="*/ 215 w 220"/>
                <a:gd name="T67" fmla="*/ 33 h 175"/>
                <a:gd name="T68" fmla="*/ 218 w 220"/>
                <a:gd name="T69" fmla="*/ 38 h 175"/>
                <a:gd name="T70" fmla="*/ 215 w 220"/>
                <a:gd name="T71" fmla="*/ 47 h 175"/>
                <a:gd name="T72" fmla="*/ 180 w 220"/>
                <a:gd name="T73" fmla="*/ 66 h 175"/>
                <a:gd name="T74" fmla="*/ 173 w 220"/>
                <a:gd name="T75" fmla="*/ 76 h 175"/>
                <a:gd name="T76" fmla="*/ 159 w 220"/>
                <a:gd name="T77" fmla="*/ 97 h 175"/>
                <a:gd name="T78" fmla="*/ 156 w 220"/>
                <a:gd name="T79" fmla="*/ 104 h 175"/>
                <a:gd name="T80" fmla="*/ 159 w 220"/>
                <a:gd name="T81" fmla="*/ 111 h 175"/>
                <a:gd name="T82" fmla="*/ 166 w 220"/>
                <a:gd name="T83" fmla="*/ 113 h 175"/>
                <a:gd name="T84" fmla="*/ 161 w 220"/>
                <a:gd name="T85" fmla="*/ 123 h 175"/>
                <a:gd name="T86" fmla="*/ 151 w 220"/>
                <a:gd name="T87" fmla="*/ 132 h 175"/>
                <a:gd name="T88" fmla="*/ 149 w 220"/>
                <a:gd name="T89" fmla="*/ 139 h 175"/>
                <a:gd name="T90" fmla="*/ 133 w 220"/>
                <a:gd name="T91" fmla="*/ 149 h 175"/>
                <a:gd name="T92" fmla="*/ 128 w 220"/>
                <a:gd name="T93" fmla="*/ 158 h 175"/>
                <a:gd name="T94" fmla="*/ 116 w 220"/>
                <a:gd name="T95" fmla="*/ 161 h 175"/>
                <a:gd name="T96" fmla="*/ 102 w 220"/>
                <a:gd name="T97" fmla="*/ 161 h 175"/>
                <a:gd name="T98" fmla="*/ 83 w 220"/>
                <a:gd name="T99" fmla="*/ 165 h 175"/>
                <a:gd name="T100" fmla="*/ 74 w 220"/>
                <a:gd name="T101" fmla="*/ 170 h 175"/>
                <a:gd name="T102" fmla="*/ 66 w 220"/>
                <a:gd name="T103" fmla="*/ 175 h 175"/>
                <a:gd name="T104" fmla="*/ 55 w 220"/>
                <a:gd name="T105" fmla="*/ 165 h 175"/>
                <a:gd name="T106" fmla="*/ 52 w 220"/>
                <a:gd name="T107" fmla="*/ 158 h 175"/>
                <a:gd name="T108" fmla="*/ 48 w 220"/>
                <a:gd name="T109" fmla="*/ 153 h 175"/>
                <a:gd name="T110" fmla="*/ 33 w 220"/>
                <a:gd name="T111" fmla="*/ 14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0" h="175">
                  <a:moveTo>
                    <a:pt x="33" y="149"/>
                  </a:moveTo>
                  <a:lnTo>
                    <a:pt x="33" y="144"/>
                  </a:lnTo>
                  <a:lnTo>
                    <a:pt x="33" y="142"/>
                  </a:lnTo>
                  <a:lnTo>
                    <a:pt x="36" y="137"/>
                  </a:lnTo>
                  <a:lnTo>
                    <a:pt x="40" y="135"/>
                  </a:lnTo>
                  <a:lnTo>
                    <a:pt x="43" y="132"/>
                  </a:lnTo>
                  <a:lnTo>
                    <a:pt x="40" y="127"/>
                  </a:lnTo>
                  <a:lnTo>
                    <a:pt x="38" y="125"/>
                  </a:lnTo>
                  <a:lnTo>
                    <a:pt x="36" y="120"/>
                  </a:lnTo>
                  <a:lnTo>
                    <a:pt x="36" y="116"/>
                  </a:lnTo>
                  <a:lnTo>
                    <a:pt x="38" y="113"/>
                  </a:lnTo>
                  <a:lnTo>
                    <a:pt x="40" y="109"/>
                  </a:lnTo>
                  <a:lnTo>
                    <a:pt x="40" y="109"/>
                  </a:lnTo>
                  <a:lnTo>
                    <a:pt x="36" y="102"/>
                  </a:lnTo>
                  <a:lnTo>
                    <a:pt x="36" y="97"/>
                  </a:lnTo>
                  <a:lnTo>
                    <a:pt x="38" y="94"/>
                  </a:lnTo>
                  <a:lnTo>
                    <a:pt x="40" y="94"/>
                  </a:lnTo>
                  <a:lnTo>
                    <a:pt x="43" y="90"/>
                  </a:lnTo>
                  <a:lnTo>
                    <a:pt x="45" y="87"/>
                  </a:lnTo>
                  <a:lnTo>
                    <a:pt x="43" y="85"/>
                  </a:lnTo>
                  <a:lnTo>
                    <a:pt x="43" y="83"/>
                  </a:lnTo>
                  <a:lnTo>
                    <a:pt x="43" y="78"/>
                  </a:lnTo>
                  <a:lnTo>
                    <a:pt x="45" y="73"/>
                  </a:lnTo>
                  <a:lnTo>
                    <a:pt x="45" y="68"/>
                  </a:lnTo>
                  <a:lnTo>
                    <a:pt x="45" y="64"/>
                  </a:lnTo>
                  <a:lnTo>
                    <a:pt x="52" y="59"/>
                  </a:lnTo>
                  <a:lnTo>
                    <a:pt x="55" y="54"/>
                  </a:lnTo>
                  <a:lnTo>
                    <a:pt x="55" y="52"/>
                  </a:lnTo>
                  <a:lnTo>
                    <a:pt x="52" y="47"/>
                  </a:lnTo>
                  <a:lnTo>
                    <a:pt x="50" y="45"/>
                  </a:lnTo>
                  <a:lnTo>
                    <a:pt x="45" y="45"/>
                  </a:lnTo>
                  <a:lnTo>
                    <a:pt x="40" y="45"/>
                  </a:lnTo>
                  <a:lnTo>
                    <a:pt x="36" y="45"/>
                  </a:lnTo>
                  <a:lnTo>
                    <a:pt x="29" y="45"/>
                  </a:lnTo>
                  <a:lnTo>
                    <a:pt x="24" y="45"/>
                  </a:lnTo>
                  <a:lnTo>
                    <a:pt x="22" y="45"/>
                  </a:lnTo>
                  <a:lnTo>
                    <a:pt x="22" y="40"/>
                  </a:lnTo>
                  <a:lnTo>
                    <a:pt x="17" y="40"/>
                  </a:lnTo>
                  <a:lnTo>
                    <a:pt x="12" y="42"/>
                  </a:lnTo>
                  <a:lnTo>
                    <a:pt x="10" y="47"/>
                  </a:lnTo>
                  <a:lnTo>
                    <a:pt x="10" y="45"/>
                  </a:lnTo>
                  <a:lnTo>
                    <a:pt x="7" y="42"/>
                  </a:lnTo>
                  <a:lnTo>
                    <a:pt x="10" y="38"/>
                  </a:lnTo>
                  <a:lnTo>
                    <a:pt x="12" y="35"/>
                  </a:lnTo>
                  <a:lnTo>
                    <a:pt x="10" y="35"/>
                  </a:lnTo>
                  <a:lnTo>
                    <a:pt x="10" y="33"/>
                  </a:lnTo>
                  <a:lnTo>
                    <a:pt x="7" y="31"/>
                  </a:lnTo>
                  <a:lnTo>
                    <a:pt x="10" y="28"/>
                  </a:lnTo>
                  <a:lnTo>
                    <a:pt x="7" y="28"/>
                  </a:lnTo>
                  <a:lnTo>
                    <a:pt x="5" y="26"/>
                  </a:lnTo>
                  <a:lnTo>
                    <a:pt x="5" y="24"/>
                  </a:lnTo>
                  <a:lnTo>
                    <a:pt x="0" y="19"/>
                  </a:lnTo>
                  <a:lnTo>
                    <a:pt x="3" y="14"/>
                  </a:lnTo>
                  <a:lnTo>
                    <a:pt x="7" y="12"/>
                  </a:lnTo>
                  <a:lnTo>
                    <a:pt x="10" y="12"/>
                  </a:lnTo>
                  <a:lnTo>
                    <a:pt x="17" y="12"/>
                  </a:lnTo>
                  <a:lnTo>
                    <a:pt x="19" y="9"/>
                  </a:lnTo>
                  <a:lnTo>
                    <a:pt x="19" y="7"/>
                  </a:lnTo>
                  <a:lnTo>
                    <a:pt x="19" y="2"/>
                  </a:lnTo>
                  <a:lnTo>
                    <a:pt x="29" y="0"/>
                  </a:lnTo>
                  <a:lnTo>
                    <a:pt x="31" y="2"/>
                  </a:lnTo>
                  <a:lnTo>
                    <a:pt x="36" y="5"/>
                  </a:lnTo>
                  <a:lnTo>
                    <a:pt x="43" y="5"/>
                  </a:lnTo>
                  <a:lnTo>
                    <a:pt x="55" y="5"/>
                  </a:lnTo>
                  <a:lnTo>
                    <a:pt x="57" y="2"/>
                  </a:lnTo>
                  <a:lnTo>
                    <a:pt x="62" y="5"/>
                  </a:lnTo>
                  <a:lnTo>
                    <a:pt x="69" y="5"/>
                  </a:lnTo>
                  <a:lnTo>
                    <a:pt x="71" y="7"/>
                  </a:lnTo>
                  <a:lnTo>
                    <a:pt x="83" y="7"/>
                  </a:lnTo>
                  <a:lnTo>
                    <a:pt x="88" y="9"/>
                  </a:lnTo>
                  <a:lnTo>
                    <a:pt x="95" y="7"/>
                  </a:lnTo>
                  <a:lnTo>
                    <a:pt x="97" y="7"/>
                  </a:lnTo>
                  <a:lnTo>
                    <a:pt x="102" y="7"/>
                  </a:lnTo>
                  <a:lnTo>
                    <a:pt x="109" y="9"/>
                  </a:lnTo>
                  <a:lnTo>
                    <a:pt x="118" y="9"/>
                  </a:lnTo>
                  <a:lnTo>
                    <a:pt x="121" y="9"/>
                  </a:lnTo>
                  <a:lnTo>
                    <a:pt x="128" y="9"/>
                  </a:lnTo>
                  <a:lnTo>
                    <a:pt x="130" y="9"/>
                  </a:lnTo>
                  <a:lnTo>
                    <a:pt x="130" y="12"/>
                  </a:lnTo>
                  <a:lnTo>
                    <a:pt x="137" y="16"/>
                  </a:lnTo>
                  <a:lnTo>
                    <a:pt x="140" y="19"/>
                  </a:lnTo>
                  <a:lnTo>
                    <a:pt x="144" y="19"/>
                  </a:lnTo>
                  <a:lnTo>
                    <a:pt x="147" y="21"/>
                  </a:lnTo>
                  <a:lnTo>
                    <a:pt x="149" y="24"/>
                  </a:lnTo>
                  <a:lnTo>
                    <a:pt x="166" y="26"/>
                  </a:lnTo>
                  <a:lnTo>
                    <a:pt x="170" y="28"/>
                  </a:lnTo>
                  <a:lnTo>
                    <a:pt x="173" y="26"/>
                  </a:lnTo>
                  <a:lnTo>
                    <a:pt x="175" y="24"/>
                  </a:lnTo>
                  <a:lnTo>
                    <a:pt x="177" y="24"/>
                  </a:lnTo>
                  <a:lnTo>
                    <a:pt x="180" y="26"/>
                  </a:lnTo>
                  <a:lnTo>
                    <a:pt x="185" y="28"/>
                  </a:lnTo>
                  <a:lnTo>
                    <a:pt x="187" y="31"/>
                  </a:lnTo>
                  <a:lnTo>
                    <a:pt x="187" y="33"/>
                  </a:lnTo>
                  <a:lnTo>
                    <a:pt x="189" y="33"/>
                  </a:lnTo>
                  <a:lnTo>
                    <a:pt x="192" y="31"/>
                  </a:lnTo>
                  <a:lnTo>
                    <a:pt x="192" y="31"/>
                  </a:lnTo>
                  <a:lnTo>
                    <a:pt x="194" y="33"/>
                  </a:lnTo>
                  <a:lnTo>
                    <a:pt x="196" y="33"/>
                  </a:lnTo>
                  <a:lnTo>
                    <a:pt x="206" y="33"/>
                  </a:lnTo>
                  <a:lnTo>
                    <a:pt x="211" y="33"/>
                  </a:lnTo>
                  <a:lnTo>
                    <a:pt x="215" y="33"/>
                  </a:lnTo>
                  <a:lnTo>
                    <a:pt x="215" y="33"/>
                  </a:lnTo>
                  <a:lnTo>
                    <a:pt x="218" y="33"/>
                  </a:lnTo>
                  <a:lnTo>
                    <a:pt x="220" y="35"/>
                  </a:lnTo>
                  <a:lnTo>
                    <a:pt x="218" y="38"/>
                  </a:lnTo>
                  <a:lnTo>
                    <a:pt x="218" y="40"/>
                  </a:lnTo>
                  <a:lnTo>
                    <a:pt x="218" y="42"/>
                  </a:lnTo>
                  <a:lnTo>
                    <a:pt x="215" y="47"/>
                  </a:lnTo>
                  <a:lnTo>
                    <a:pt x="203" y="54"/>
                  </a:lnTo>
                  <a:lnTo>
                    <a:pt x="199" y="59"/>
                  </a:lnTo>
                  <a:lnTo>
                    <a:pt x="180" y="66"/>
                  </a:lnTo>
                  <a:lnTo>
                    <a:pt x="175" y="71"/>
                  </a:lnTo>
                  <a:lnTo>
                    <a:pt x="175" y="73"/>
                  </a:lnTo>
                  <a:lnTo>
                    <a:pt x="173" y="76"/>
                  </a:lnTo>
                  <a:lnTo>
                    <a:pt x="170" y="80"/>
                  </a:lnTo>
                  <a:lnTo>
                    <a:pt x="166" y="87"/>
                  </a:lnTo>
                  <a:lnTo>
                    <a:pt x="159" y="97"/>
                  </a:lnTo>
                  <a:lnTo>
                    <a:pt x="156" y="102"/>
                  </a:lnTo>
                  <a:lnTo>
                    <a:pt x="156" y="102"/>
                  </a:lnTo>
                  <a:lnTo>
                    <a:pt x="156" y="104"/>
                  </a:lnTo>
                  <a:lnTo>
                    <a:pt x="156" y="104"/>
                  </a:lnTo>
                  <a:lnTo>
                    <a:pt x="159" y="109"/>
                  </a:lnTo>
                  <a:lnTo>
                    <a:pt x="159" y="111"/>
                  </a:lnTo>
                  <a:lnTo>
                    <a:pt x="161" y="111"/>
                  </a:lnTo>
                  <a:lnTo>
                    <a:pt x="161" y="113"/>
                  </a:lnTo>
                  <a:lnTo>
                    <a:pt x="166" y="113"/>
                  </a:lnTo>
                  <a:lnTo>
                    <a:pt x="166" y="116"/>
                  </a:lnTo>
                  <a:lnTo>
                    <a:pt x="163" y="118"/>
                  </a:lnTo>
                  <a:lnTo>
                    <a:pt x="161" y="123"/>
                  </a:lnTo>
                  <a:lnTo>
                    <a:pt x="156" y="123"/>
                  </a:lnTo>
                  <a:lnTo>
                    <a:pt x="154" y="125"/>
                  </a:lnTo>
                  <a:lnTo>
                    <a:pt x="151" y="132"/>
                  </a:lnTo>
                  <a:lnTo>
                    <a:pt x="151" y="135"/>
                  </a:lnTo>
                  <a:lnTo>
                    <a:pt x="149" y="137"/>
                  </a:lnTo>
                  <a:lnTo>
                    <a:pt x="149" y="139"/>
                  </a:lnTo>
                  <a:lnTo>
                    <a:pt x="149" y="142"/>
                  </a:lnTo>
                  <a:lnTo>
                    <a:pt x="140" y="142"/>
                  </a:lnTo>
                  <a:lnTo>
                    <a:pt x="133" y="149"/>
                  </a:lnTo>
                  <a:lnTo>
                    <a:pt x="130" y="153"/>
                  </a:lnTo>
                  <a:lnTo>
                    <a:pt x="130" y="156"/>
                  </a:lnTo>
                  <a:lnTo>
                    <a:pt x="128" y="158"/>
                  </a:lnTo>
                  <a:lnTo>
                    <a:pt x="125" y="161"/>
                  </a:lnTo>
                  <a:lnTo>
                    <a:pt x="121" y="158"/>
                  </a:lnTo>
                  <a:lnTo>
                    <a:pt x="116" y="161"/>
                  </a:lnTo>
                  <a:lnTo>
                    <a:pt x="111" y="161"/>
                  </a:lnTo>
                  <a:lnTo>
                    <a:pt x="107" y="158"/>
                  </a:lnTo>
                  <a:lnTo>
                    <a:pt x="102" y="161"/>
                  </a:lnTo>
                  <a:lnTo>
                    <a:pt x="97" y="161"/>
                  </a:lnTo>
                  <a:lnTo>
                    <a:pt x="88" y="161"/>
                  </a:lnTo>
                  <a:lnTo>
                    <a:pt x="83" y="165"/>
                  </a:lnTo>
                  <a:lnTo>
                    <a:pt x="78" y="165"/>
                  </a:lnTo>
                  <a:lnTo>
                    <a:pt x="76" y="168"/>
                  </a:lnTo>
                  <a:lnTo>
                    <a:pt x="74" y="170"/>
                  </a:lnTo>
                  <a:lnTo>
                    <a:pt x="71" y="172"/>
                  </a:lnTo>
                  <a:lnTo>
                    <a:pt x="71" y="172"/>
                  </a:lnTo>
                  <a:lnTo>
                    <a:pt x="66" y="175"/>
                  </a:lnTo>
                  <a:lnTo>
                    <a:pt x="62" y="172"/>
                  </a:lnTo>
                  <a:lnTo>
                    <a:pt x="59" y="170"/>
                  </a:lnTo>
                  <a:lnTo>
                    <a:pt x="55" y="165"/>
                  </a:lnTo>
                  <a:lnTo>
                    <a:pt x="55" y="163"/>
                  </a:lnTo>
                  <a:lnTo>
                    <a:pt x="52" y="161"/>
                  </a:lnTo>
                  <a:lnTo>
                    <a:pt x="52" y="158"/>
                  </a:lnTo>
                  <a:lnTo>
                    <a:pt x="52" y="156"/>
                  </a:lnTo>
                  <a:lnTo>
                    <a:pt x="50" y="156"/>
                  </a:lnTo>
                  <a:lnTo>
                    <a:pt x="48" y="153"/>
                  </a:lnTo>
                  <a:lnTo>
                    <a:pt x="43" y="151"/>
                  </a:lnTo>
                  <a:lnTo>
                    <a:pt x="40" y="149"/>
                  </a:lnTo>
                  <a:lnTo>
                    <a:pt x="33" y="149"/>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8" name="Freeform 840">
              <a:extLst>
                <a:ext uri="{FF2B5EF4-FFF2-40B4-BE49-F238E27FC236}">
                  <a16:creationId xmlns:a16="http://schemas.microsoft.com/office/drawing/2014/main" id="{905142DF-2212-45A5-8684-79DC3122E0FC}"/>
                </a:ext>
              </a:extLst>
            </p:cNvPr>
            <p:cNvSpPr>
              <a:spLocks/>
            </p:cNvSpPr>
            <p:nvPr/>
          </p:nvSpPr>
          <p:spPr bwMode="auto">
            <a:xfrm>
              <a:off x="1023192" y="3187664"/>
              <a:ext cx="349249" cy="277813"/>
            </a:xfrm>
            <a:custGeom>
              <a:avLst/>
              <a:gdLst>
                <a:gd name="T0" fmla="*/ 33 w 220"/>
                <a:gd name="T1" fmla="*/ 142 h 175"/>
                <a:gd name="T2" fmla="*/ 43 w 220"/>
                <a:gd name="T3" fmla="*/ 132 h 175"/>
                <a:gd name="T4" fmla="*/ 36 w 220"/>
                <a:gd name="T5" fmla="*/ 120 h 175"/>
                <a:gd name="T6" fmla="*/ 40 w 220"/>
                <a:gd name="T7" fmla="*/ 109 h 175"/>
                <a:gd name="T8" fmla="*/ 36 w 220"/>
                <a:gd name="T9" fmla="*/ 97 h 175"/>
                <a:gd name="T10" fmla="*/ 43 w 220"/>
                <a:gd name="T11" fmla="*/ 90 h 175"/>
                <a:gd name="T12" fmla="*/ 43 w 220"/>
                <a:gd name="T13" fmla="*/ 83 h 175"/>
                <a:gd name="T14" fmla="*/ 45 w 220"/>
                <a:gd name="T15" fmla="*/ 68 h 175"/>
                <a:gd name="T16" fmla="*/ 55 w 220"/>
                <a:gd name="T17" fmla="*/ 54 h 175"/>
                <a:gd name="T18" fmla="*/ 50 w 220"/>
                <a:gd name="T19" fmla="*/ 45 h 175"/>
                <a:gd name="T20" fmla="*/ 36 w 220"/>
                <a:gd name="T21" fmla="*/ 45 h 175"/>
                <a:gd name="T22" fmla="*/ 22 w 220"/>
                <a:gd name="T23" fmla="*/ 45 h 175"/>
                <a:gd name="T24" fmla="*/ 12 w 220"/>
                <a:gd name="T25" fmla="*/ 42 h 175"/>
                <a:gd name="T26" fmla="*/ 7 w 220"/>
                <a:gd name="T27" fmla="*/ 42 h 175"/>
                <a:gd name="T28" fmla="*/ 10 w 220"/>
                <a:gd name="T29" fmla="*/ 35 h 175"/>
                <a:gd name="T30" fmla="*/ 10 w 220"/>
                <a:gd name="T31" fmla="*/ 28 h 175"/>
                <a:gd name="T32" fmla="*/ 5 w 220"/>
                <a:gd name="T33" fmla="*/ 24 h 175"/>
                <a:gd name="T34" fmla="*/ 7 w 220"/>
                <a:gd name="T35" fmla="*/ 12 h 175"/>
                <a:gd name="T36" fmla="*/ 19 w 220"/>
                <a:gd name="T37" fmla="*/ 9 h 175"/>
                <a:gd name="T38" fmla="*/ 29 w 220"/>
                <a:gd name="T39" fmla="*/ 0 h 175"/>
                <a:gd name="T40" fmla="*/ 43 w 220"/>
                <a:gd name="T41" fmla="*/ 5 h 175"/>
                <a:gd name="T42" fmla="*/ 62 w 220"/>
                <a:gd name="T43" fmla="*/ 5 h 175"/>
                <a:gd name="T44" fmla="*/ 83 w 220"/>
                <a:gd name="T45" fmla="*/ 7 h 175"/>
                <a:gd name="T46" fmla="*/ 97 w 220"/>
                <a:gd name="T47" fmla="*/ 7 h 175"/>
                <a:gd name="T48" fmla="*/ 118 w 220"/>
                <a:gd name="T49" fmla="*/ 9 h 175"/>
                <a:gd name="T50" fmla="*/ 130 w 220"/>
                <a:gd name="T51" fmla="*/ 9 h 175"/>
                <a:gd name="T52" fmla="*/ 140 w 220"/>
                <a:gd name="T53" fmla="*/ 19 h 175"/>
                <a:gd name="T54" fmla="*/ 149 w 220"/>
                <a:gd name="T55" fmla="*/ 24 h 175"/>
                <a:gd name="T56" fmla="*/ 173 w 220"/>
                <a:gd name="T57" fmla="*/ 26 h 175"/>
                <a:gd name="T58" fmla="*/ 180 w 220"/>
                <a:gd name="T59" fmla="*/ 26 h 175"/>
                <a:gd name="T60" fmla="*/ 187 w 220"/>
                <a:gd name="T61" fmla="*/ 33 h 175"/>
                <a:gd name="T62" fmla="*/ 192 w 220"/>
                <a:gd name="T63" fmla="*/ 31 h 175"/>
                <a:gd name="T64" fmla="*/ 206 w 220"/>
                <a:gd name="T65" fmla="*/ 33 h 175"/>
                <a:gd name="T66" fmla="*/ 215 w 220"/>
                <a:gd name="T67" fmla="*/ 33 h 175"/>
                <a:gd name="T68" fmla="*/ 218 w 220"/>
                <a:gd name="T69" fmla="*/ 38 h 175"/>
                <a:gd name="T70" fmla="*/ 215 w 220"/>
                <a:gd name="T71" fmla="*/ 47 h 175"/>
                <a:gd name="T72" fmla="*/ 180 w 220"/>
                <a:gd name="T73" fmla="*/ 66 h 175"/>
                <a:gd name="T74" fmla="*/ 173 w 220"/>
                <a:gd name="T75" fmla="*/ 76 h 175"/>
                <a:gd name="T76" fmla="*/ 159 w 220"/>
                <a:gd name="T77" fmla="*/ 97 h 175"/>
                <a:gd name="T78" fmla="*/ 156 w 220"/>
                <a:gd name="T79" fmla="*/ 104 h 175"/>
                <a:gd name="T80" fmla="*/ 159 w 220"/>
                <a:gd name="T81" fmla="*/ 111 h 175"/>
                <a:gd name="T82" fmla="*/ 166 w 220"/>
                <a:gd name="T83" fmla="*/ 113 h 175"/>
                <a:gd name="T84" fmla="*/ 161 w 220"/>
                <a:gd name="T85" fmla="*/ 123 h 175"/>
                <a:gd name="T86" fmla="*/ 151 w 220"/>
                <a:gd name="T87" fmla="*/ 132 h 175"/>
                <a:gd name="T88" fmla="*/ 149 w 220"/>
                <a:gd name="T89" fmla="*/ 139 h 175"/>
                <a:gd name="T90" fmla="*/ 133 w 220"/>
                <a:gd name="T91" fmla="*/ 149 h 175"/>
                <a:gd name="T92" fmla="*/ 128 w 220"/>
                <a:gd name="T93" fmla="*/ 158 h 175"/>
                <a:gd name="T94" fmla="*/ 116 w 220"/>
                <a:gd name="T95" fmla="*/ 161 h 175"/>
                <a:gd name="T96" fmla="*/ 102 w 220"/>
                <a:gd name="T97" fmla="*/ 161 h 175"/>
                <a:gd name="T98" fmla="*/ 83 w 220"/>
                <a:gd name="T99" fmla="*/ 165 h 175"/>
                <a:gd name="T100" fmla="*/ 74 w 220"/>
                <a:gd name="T101" fmla="*/ 170 h 175"/>
                <a:gd name="T102" fmla="*/ 66 w 220"/>
                <a:gd name="T103" fmla="*/ 175 h 175"/>
                <a:gd name="T104" fmla="*/ 55 w 220"/>
                <a:gd name="T105" fmla="*/ 165 h 175"/>
                <a:gd name="T106" fmla="*/ 52 w 220"/>
                <a:gd name="T107" fmla="*/ 158 h 175"/>
                <a:gd name="T108" fmla="*/ 48 w 220"/>
                <a:gd name="T109" fmla="*/ 153 h 175"/>
                <a:gd name="T110" fmla="*/ 33 w 220"/>
                <a:gd name="T111" fmla="*/ 14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0" h="175">
                  <a:moveTo>
                    <a:pt x="33" y="149"/>
                  </a:moveTo>
                  <a:lnTo>
                    <a:pt x="33" y="144"/>
                  </a:lnTo>
                  <a:lnTo>
                    <a:pt x="33" y="142"/>
                  </a:lnTo>
                  <a:lnTo>
                    <a:pt x="36" y="137"/>
                  </a:lnTo>
                  <a:lnTo>
                    <a:pt x="40" y="135"/>
                  </a:lnTo>
                  <a:lnTo>
                    <a:pt x="43" y="132"/>
                  </a:lnTo>
                  <a:lnTo>
                    <a:pt x="40" y="127"/>
                  </a:lnTo>
                  <a:lnTo>
                    <a:pt x="38" y="125"/>
                  </a:lnTo>
                  <a:lnTo>
                    <a:pt x="36" y="120"/>
                  </a:lnTo>
                  <a:lnTo>
                    <a:pt x="36" y="116"/>
                  </a:lnTo>
                  <a:lnTo>
                    <a:pt x="38" y="113"/>
                  </a:lnTo>
                  <a:lnTo>
                    <a:pt x="40" y="109"/>
                  </a:lnTo>
                  <a:lnTo>
                    <a:pt x="40" y="109"/>
                  </a:lnTo>
                  <a:lnTo>
                    <a:pt x="36" y="102"/>
                  </a:lnTo>
                  <a:lnTo>
                    <a:pt x="36" y="97"/>
                  </a:lnTo>
                  <a:lnTo>
                    <a:pt x="38" y="94"/>
                  </a:lnTo>
                  <a:lnTo>
                    <a:pt x="40" y="94"/>
                  </a:lnTo>
                  <a:lnTo>
                    <a:pt x="43" y="90"/>
                  </a:lnTo>
                  <a:lnTo>
                    <a:pt x="45" y="87"/>
                  </a:lnTo>
                  <a:lnTo>
                    <a:pt x="43" y="85"/>
                  </a:lnTo>
                  <a:lnTo>
                    <a:pt x="43" y="83"/>
                  </a:lnTo>
                  <a:lnTo>
                    <a:pt x="43" y="78"/>
                  </a:lnTo>
                  <a:lnTo>
                    <a:pt x="45" y="73"/>
                  </a:lnTo>
                  <a:lnTo>
                    <a:pt x="45" y="68"/>
                  </a:lnTo>
                  <a:lnTo>
                    <a:pt x="45" y="64"/>
                  </a:lnTo>
                  <a:lnTo>
                    <a:pt x="52" y="59"/>
                  </a:lnTo>
                  <a:lnTo>
                    <a:pt x="55" y="54"/>
                  </a:lnTo>
                  <a:lnTo>
                    <a:pt x="55" y="52"/>
                  </a:lnTo>
                  <a:lnTo>
                    <a:pt x="52" y="47"/>
                  </a:lnTo>
                  <a:lnTo>
                    <a:pt x="50" y="45"/>
                  </a:lnTo>
                  <a:lnTo>
                    <a:pt x="45" y="45"/>
                  </a:lnTo>
                  <a:lnTo>
                    <a:pt x="40" y="45"/>
                  </a:lnTo>
                  <a:lnTo>
                    <a:pt x="36" y="45"/>
                  </a:lnTo>
                  <a:lnTo>
                    <a:pt x="29" y="45"/>
                  </a:lnTo>
                  <a:lnTo>
                    <a:pt x="24" y="45"/>
                  </a:lnTo>
                  <a:lnTo>
                    <a:pt x="22" y="45"/>
                  </a:lnTo>
                  <a:lnTo>
                    <a:pt x="22" y="40"/>
                  </a:lnTo>
                  <a:lnTo>
                    <a:pt x="17" y="40"/>
                  </a:lnTo>
                  <a:lnTo>
                    <a:pt x="12" y="42"/>
                  </a:lnTo>
                  <a:lnTo>
                    <a:pt x="10" y="47"/>
                  </a:lnTo>
                  <a:lnTo>
                    <a:pt x="10" y="45"/>
                  </a:lnTo>
                  <a:lnTo>
                    <a:pt x="7" y="42"/>
                  </a:lnTo>
                  <a:lnTo>
                    <a:pt x="10" y="38"/>
                  </a:lnTo>
                  <a:lnTo>
                    <a:pt x="12" y="35"/>
                  </a:lnTo>
                  <a:lnTo>
                    <a:pt x="10" y="35"/>
                  </a:lnTo>
                  <a:lnTo>
                    <a:pt x="10" y="33"/>
                  </a:lnTo>
                  <a:lnTo>
                    <a:pt x="7" y="31"/>
                  </a:lnTo>
                  <a:lnTo>
                    <a:pt x="10" y="28"/>
                  </a:lnTo>
                  <a:lnTo>
                    <a:pt x="7" y="28"/>
                  </a:lnTo>
                  <a:lnTo>
                    <a:pt x="5" y="26"/>
                  </a:lnTo>
                  <a:lnTo>
                    <a:pt x="5" y="24"/>
                  </a:lnTo>
                  <a:lnTo>
                    <a:pt x="0" y="19"/>
                  </a:lnTo>
                  <a:lnTo>
                    <a:pt x="3" y="14"/>
                  </a:lnTo>
                  <a:lnTo>
                    <a:pt x="7" y="12"/>
                  </a:lnTo>
                  <a:lnTo>
                    <a:pt x="10" y="12"/>
                  </a:lnTo>
                  <a:lnTo>
                    <a:pt x="17" y="12"/>
                  </a:lnTo>
                  <a:lnTo>
                    <a:pt x="19" y="9"/>
                  </a:lnTo>
                  <a:lnTo>
                    <a:pt x="19" y="7"/>
                  </a:lnTo>
                  <a:lnTo>
                    <a:pt x="19" y="2"/>
                  </a:lnTo>
                  <a:lnTo>
                    <a:pt x="29" y="0"/>
                  </a:lnTo>
                  <a:lnTo>
                    <a:pt x="31" y="2"/>
                  </a:lnTo>
                  <a:lnTo>
                    <a:pt x="36" y="5"/>
                  </a:lnTo>
                  <a:lnTo>
                    <a:pt x="43" y="5"/>
                  </a:lnTo>
                  <a:lnTo>
                    <a:pt x="55" y="5"/>
                  </a:lnTo>
                  <a:lnTo>
                    <a:pt x="57" y="2"/>
                  </a:lnTo>
                  <a:lnTo>
                    <a:pt x="62" y="5"/>
                  </a:lnTo>
                  <a:lnTo>
                    <a:pt x="69" y="5"/>
                  </a:lnTo>
                  <a:lnTo>
                    <a:pt x="71" y="7"/>
                  </a:lnTo>
                  <a:lnTo>
                    <a:pt x="83" y="7"/>
                  </a:lnTo>
                  <a:lnTo>
                    <a:pt x="88" y="9"/>
                  </a:lnTo>
                  <a:lnTo>
                    <a:pt x="95" y="7"/>
                  </a:lnTo>
                  <a:lnTo>
                    <a:pt x="97" y="7"/>
                  </a:lnTo>
                  <a:lnTo>
                    <a:pt x="102" y="7"/>
                  </a:lnTo>
                  <a:lnTo>
                    <a:pt x="109" y="9"/>
                  </a:lnTo>
                  <a:lnTo>
                    <a:pt x="118" y="9"/>
                  </a:lnTo>
                  <a:lnTo>
                    <a:pt x="121" y="9"/>
                  </a:lnTo>
                  <a:lnTo>
                    <a:pt x="128" y="9"/>
                  </a:lnTo>
                  <a:lnTo>
                    <a:pt x="130" y="9"/>
                  </a:lnTo>
                  <a:lnTo>
                    <a:pt x="130" y="12"/>
                  </a:lnTo>
                  <a:lnTo>
                    <a:pt x="137" y="16"/>
                  </a:lnTo>
                  <a:lnTo>
                    <a:pt x="140" y="19"/>
                  </a:lnTo>
                  <a:lnTo>
                    <a:pt x="144" y="19"/>
                  </a:lnTo>
                  <a:lnTo>
                    <a:pt x="147" y="21"/>
                  </a:lnTo>
                  <a:lnTo>
                    <a:pt x="149" y="24"/>
                  </a:lnTo>
                  <a:lnTo>
                    <a:pt x="166" y="26"/>
                  </a:lnTo>
                  <a:lnTo>
                    <a:pt x="170" y="28"/>
                  </a:lnTo>
                  <a:lnTo>
                    <a:pt x="173" y="26"/>
                  </a:lnTo>
                  <a:lnTo>
                    <a:pt x="175" y="24"/>
                  </a:lnTo>
                  <a:lnTo>
                    <a:pt x="177" y="24"/>
                  </a:lnTo>
                  <a:lnTo>
                    <a:pt x="180" y="26"/>
                  </a:lnTo>
                  <a:lnTo>
                    <a:pt x="185" y="28"/>
                  </a:lnTo>
                  <a:lnTo>
                    <a:pt x="187" y="31"/>
                  </a:lnTo>
                  <a:lnTo>
                    <a:pt x="187" y="33"/>
                  </a:lnTo>
                  <a:lnTo>
                    <a:pt x="189" y="33"/>
                  </a:lnTo>
                  <a:lnTo>
                    <a:pt x="192" y="31"/>
                  </a:lnTo>
                  <a:lnTo>
                    <a:pt x="192" y="31"/>
                  </a:lnTo>
                  <a:lnTo>
                    <a:pt x="194" y="33"/>
                  </a:lnTo>
                  <a:lnTo>
                    <a:pt x="196" y="33"/>
                  </a:lnTo>
                  <a:lnTo>
                    <a:pt x="206" y="33"/>
                  </a:lnTo>
                  <a:lnTo>
                    <a:pt x="211" y="33"/>
                  </a:lnTo>
                  <a:lnTo>
                    <a:pt x="215" y="33"/>
                  </a:lnTo>
                  <a:lnTo>
                    <a:pt x="215" y="33"/>
                  </a:lnTo>
                  <a:lnTo>
                    <a:pt x="218" y="33"/>
                  </a:lnTo>
                  <a:lnTo>
                    <a:pt x="220" y="35"/>
                  </a:lnTo>
                  <a:lnTo>
                    <a:pt x="218" y="38"/>
                  </a:lnTo>
                  <a:lnTo>
                    <a:pt x="218" y="40"/>
                  </a:lnTo>
                  <a:lnTo>
                    <a:pt x="218" y="42"/>
                  </a:lnTo>
                  <a:lnTo>
                    <a:pt x="215" y="47"/>
                  </a:lnTo>
                  <a:lnTo>
                    <a:pt x="203" y="54"/>
                  </a:lnTo>
                  <a:lnTo>
                    <a:pt x="199" y="59"/>
                  </a:lnTo>
                  <a:lnTo>
                    <a:pt x="180" y="66"/>
                  </a:lnTo>
                  <a:lnTo>
                    <a:pt x="175" y="71"/>
                  </a:lnTo>
                  <a:lnTo>
                    <a:pt x="175" y="73"/>
                  </a:lnTo>
                  <a:lnTo>
                    <a:pt x="173" y="76"/>
                  </a:lnTo>
                  <a:lnTo>
                    <a:pt x="170" y="80"/>
                  </a:lnTo>
                  <a:lnTo>
                    <a:pt x="166" y="87"/>
                  </a:lnTo>
                  <a:lnTo>
                    <a:pt x="159" y="97"/>
                  </a:lnTo>
                  <a:lnTo>
                    <a:pt x="156" y="102"/>
                  </a:lnTo>
                  <a:lnTo>
                    <a:pt x="156" y="102"/>
                  </a:lnTo>
                  <a:lnTo>
                    <a:pt x="156" y="104"/>
                  </a:lnTo>
                  <a:lnTo>
                    <a:pt x="156" y="104"/>
                  </a:lnTo>
                  <a:lnTo>
                    <a:pt x="159" y="109"/>
                  </a:lnTo>
                  <a:lnTo>
                    <a:pt x="159" y="111"/>
                  </a:lnTo>
                  <a:lnTo>
                    <a:pt x="161" y="111"/>
                  </a:lnTo>
                  <a:lnTo>
                    <a:pt x="161" y="113"/>
                  </a:lnTo>
                  <a:lnTo>
                    <a:pt x="166" y="113"/>
                  </a:lnTo>
                  <a:lnTo>
                    <a:pt x="166" y="116"/>
                  </a:lnTo>
                  <a:lnTo>
                    <a:pt x="163" y="118"/>
                  </a:lnTo>
                  <a:lnTo>
                    <a:pt x="161" y="123"/>
                  </a:lnTo>
                  <a:lnTo>
                    <a:pt x="156" y="123"/>
                  </a:lnTo>
                  <a:lnTo>
                    <a:pt x="154" y="125"/>
                  </a:lnTo>
                  <a:lnTo>
                    <a:pt x="151" y="132"/>
                  </a:lnTo>
                  <a:lnTo>
                    <a:pt x="151" y="135"/>
                  </a:lnTo>
                  <a:lnTo>
                    <a:pt x="149" y="137"/>
                  </a:lnTo>
                  <a:lnTo>
                    <a:pt x="149" y="139"/>
                  </a:lnTo>
                  <a:lnTo>
                    <a:pt x="149" y="142"/>
                  </a:lnTo>
                  <a:lnTo>
                    <a:pt x="140" y="142"/>
                  </a:lnTo>
                  <a:lnTo>
                    <a:pt x="133" y="149"/>
                  </a:lnTo>
                  <a:lnTo>
                    <a:pt x="130" y="153"/>
                  </a:lnTo>
                  <a:lnTo>
                    <a:pt x="130" y="156"/>
                  </a:lnTo>
                  <a:lnTo>
                    <a:pt x="128" y="158"/>
                  </a:lnTo>
                  <a:lnTo>
                    <a:pt x="125" y="161"/>
                  </a:lnTo>
                  <a:lnTo>
                    <a:pt x="121" y="158"/>
                  </a:lnTo>
                  <a:lnTo>
                    <a:pt x="116" y="161"/>
                  </a:lnTo>
                  <a:lnTo>
                    <a:pt x="111" y="161"/>
                  </a:lnTo>
                  <a:lnTo>
                    <a:pt x="107" y="158"/>
                  </a:lnTo>
                  <a:lnTo>
                    <a:pt x="102" y="161"/>
                  </a:lnTo>
                  <a:lnTo>
                    <a:pt x="97" y="161"/>
                  </a:lnTo>
                  <a:lnTo>
                    <a:pt x="88" y="161"/>
                  </a:lnTo>
                  <a:lnTo>
                    <a:pt x="83" y="165"/>
                  </a:lnTo>
                  <a:lnTo>
                    <a:pt x="78" y="165"/>
                  </a:lnTo>
                  <a:lnTo>
                    <a:pt x="76" y="168"/>
                  </a:lnTo>
                  <a:lnTo>
                    <a:pt x="74" y="170"/>
                  </a:lnTo>
                  <a:lnTo>
                    <a:pt x="71" y="172"/>
                  </a:lnTo>
                  <a:lnTo>
                    <a:pt x="71" y="172"/>
                  </a:lnTo>
                  <a:lnTo>
                    <a:pt x="66" y="175"/>
                  </a:lnTo>
                  <a:lnTo>
                    <a:pt x="62" y="172"/>
                  </a:lnTo>
                  <a:lnTo>
                    <a:pt x="59" y="170"/>
                  </a:lnTo>
                  <a:lnTo>
                    <a:pt x="55" y="165"/>
                  </a:lnTo>
                  <a:lnTo>
                    <a:pt x="55" y="163"/>
                  </a:lnTo>
                  <a:lnTo>
                    <a:pt x="52" y="161"/>
                  </a:lnTo>
                  <a:lnTo>
                    <a:pt x="52" y="158"/>
                  </a:lnTo>
                  <a:lnTo>
                    <a:pt x="52" y="156"/>
                  </a:lnTo>
                  <a:lnTo>
                    <a:pt x="50" y="156"/>
                  </a:lnTo>
                  <a:lnTo>
                    <a:pt x="48" y="153"/>
                  </a:lnTo>
                  <a:lnTo>
                    <a:pt x="43" y="151"/>
                  </a:lnTo>
                  <a:lnTo>
                    <a:pt x="40" y="149"/>
                  </a:lnTo>
                  <a:lnTo>
                    <a:pt x="33" y="149"/>
                  </a:lnTo>
                </a:path>
              </a:pathLst>
            </a:custGeom>
            <a:solidFill>
              <a:srgbClr val="C3E2BC"/>
            </a:solid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09" name="Freeform 841">
              <a:extLst>
                <a:ext uri="{FF2B5EF4-FFF2-40B4-BE49-F238E27FC236}">
                  <a16:creationId xmlns:a16="http://schemas.microsoft.com/office/drawing/2014/main" id="{FF02948A-1D5E-46F8-B03A-FB36500FCE0C}"/>
                </a:ext>
              </a:extLst>
            </p:cNvPr>
            <p:cNvSpPr>
              <a:spLocks/>
            </p:cNvSpPr>
            <p:nvPr/>
          </p:nvSpPr>
          <p:spPr bwMode="auto">
            <a:xfrm>
              <a:off x="2220165" y="3559140"/>
              <a:ext cx="41275" cy="127000"/>
            </a:xfrm>
            <a:custGeom>
              <a:avLst/>
              <a:gdLst>
                <a:gd name="T0" fmla="*/ 14 w 26"/>
                <a:gd name="T1" fmla="*/ 75 h 80"/>
                <a:gd name="T2" fmla="*/ 19 w 26"/>
                <a:gd name="T3" fmla="*/ 56 h 80"/>
                <a:gd name="T4" fmla="*/ 23 w 26"/>
                <a:gd name="T5" fmla="*/ 45 h 80"/>
                <a:gd name="T6" fmla="*/ 23 w 26"/>
                <a:gd name="T7" fmla="*/ 38 h 80"/>
                <a:gd name="T8" fmla="*/ 21 w 26"/>
                <a:gd name="T9" fmla="*/ 35 h 80"/>
                <a:gd name="T10" fmla="*/ 14 w 26"/>
                <a:gd name="T11" fmla="*/ 40 h 80"/>
                <a:gd name="T12" fmla="*/ 14 w 26"/>
                <a:gd name="T13" fmla="*/ 38 h 80"/>
                <a:gd name="T14" fmla="*/ 14 w 26"/>
                <a:gd name="T15" fmla="*/ 35 h 80"/>
                <a:gd name="T16" fmla="*/ 16 w 26"/>
                <a:gd name="T17" fmla="*/ 33 h 80"/>
                <a:gd name="T18" fmla="*/ 19 w 26"/>
                <a:gd name="T19" fmla="*/ 30 h 80"/>
                <a:gd name="T20" fmla="*/ 19 w 26"/>
                <a:gd name="T21" fmla="*/ 30 h 80"/>
                <a:gd name="T22" fmla="*/ 14 w 26"/>
                <a:gd name="T23" fmla="*/ 28 h 80"/>
                <a:gd name="T24" fmla="*/ 14 w 26"/>
                <a:gd name="T25" fmla="*/ 26 h 80"/>
                <a:gd name="T26" fmla="*/ 16 w 26"/>
                <a:gd name="T27" fmla="*/ 19 h 80"/>
                <a:gd name="T28" fmla="*/ 16 w 26"/>
                <a:gd name="T29" fmla="*/ 16 h 80"/>
                <a:gd name="T30" fmla="*/ 21 w 26"/>
                <a:gd name="T31" fmla="*/ 16 h 80"/>
                <a:gd name="T32" fmla="*/ 21 w 26"/>
                <a:gd name="T33" fmla="*/ 16 h 80"/>
                <a:gd name="T34" fmla="*/ 23 w 26"/>
                <a:gd name="T35" fmla="*/ 19 h 80"/>
                <a:gd name="T36" fmla="*/ 26 w 26"/>
                <a:gd name="T37" fmla="*/ 9 h 80"/>
                <a:gd name="T38" fmla="*/ 26 w 26"/>
                <a:gd name="T39" fmla="*/ 7 h 80"/>
                <a:gd name="T40" fmla="*/ 26 w 26"/>
                <a:gd name="T41" fmla="*/ 4 h 80"/>
                <a:gd name="T42" fmla="*/ 26 w 26"/>
                <a:gd name="T43" fmla="*/ 0 h 80"/>
                <a:gd name="T44" fmla="*/ 23 w 26"/>
                <a:gd name="T45" fmla="*/ 0 h 80"/>
                <a:gd name="T46" fmla="*/ 23 w 26"/>
                <a:gd name="T47" fmla="*/ 4 h 80"/>
                <a:gd name="T48" fmla="*/ 21 w 26"/>
                <a:gd name="T49" fmla="*/ 4 h 80"/>
                <a:gd name="T50" fmla="*/ 16 w 26"/>
                <a:gd name="T51" fmla="*/ 4 h 80"/>
                <a:gd name="T52" fmla="*/ 16 w 26"/>
                <a:gd name="T53" fmla="*/ 4 h 80"/>
                <a:gd name="T54" fmla="*/ 14 w 26"/>
                <a:gd name="T55" fmla="*/ 12 h 80"/>
                <a:gd name="T56" fmla="*/ 9 w 26"/>
                <a:gd name="T57" fmla="*/ 23 h 80"/>
                <a:gd name="T58" fmla="*/ 5 w 26"/>
                <a:gd name="T59" fmla="*/ 35 h 80"/>
                <a:gd name="T60" fmla="*/ 2 w 26"/>
                <a:gd name="T61" fmla="*/ 40 h 80"/>
                <a:gd name="T62" fmla="*/ 0 w 26"/>
                <a:gd name="T63" fmla="*/ 42 h 80"/>
                <a:gd name="T64" fmla="*/ 2 w 26"/>
                <a:gd name="T65" fmla="*/ 47 h 80"/>
                <a:gd name="T66" fmla="*/ 14 w 26"/>
                <a:gd name="T6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80">
                  <a:moveTo>
                    <a:pt x="14" y="78"/>
                  </a:moveTo>
                  <a:lnTo>
                    <a:pt x="14" y="75"/>
                  </a:lnTo>
                  <a:lnTo>
                    <a:pt x="16" y="73"/>
                  </a:lnTo>
                  <a:lnTo>
                    <a:pt x="19" y="56"/>
                  </a:lnTo>
                  <a:lnTo>
                    <a:pt x="19" y="49"/>
                  </a:lnTo>
                  <a:lnTo>
                    <a:pt x="23" y="45"/>
                  </a:lnTo>
                  <a:lnTo>
                    <a:pt x="21" y="42"/>
                  </a:lnTo>
                  <a:lnTo>
                    <a:pt x="23" y="38"/>
                  </a:lnTo>
                  <a:lnTo>
                    <a:pt x="23" y="35"/>
                  </a:lnTo>
                  <a:lnTo>
                    <a:pt x="21" y="35"/>
                  </a:lnTo>
                  <a:lnTo>
                    <a:pt x="19" y="38"/>
                  </a:lnTo>
                  <a:lnTo>
                    <a:pt x="14" y="40"/>
                  </a:lnTo>
                  <a:lnTo>
                    <a:pt x="14" y="40"/>
                  </a:lnTo>
                  <a:lnTo>
                    <a:pt x="14" y="38"/>
                  </a:lnTo>
                  <a:lnTo>
                    <a:pt x="14" y="38"/>
                  </a:lnTo>
                  <a:lnTo>
                    <a:pt x="14" y="35"/>
                  </a:lnTo>
                  <a:lnTo>
                    <a:pt x="14" y="33"/>
                  </a:lnTo>
                  <a:lnTo>
                    <a:pt x="16" y="33"/>
                  </a:lnTo>
                  <a:lnTo>
                    <a:pt x="16" y="30"/>
                  </a:lnTo>
                  <a:lnTo>
                    <a:pt x="19" y="30"/>
                  </a:lnTo>
                  <a:lnTo>
                    <a:pt x="19" y="30"/>
                  </a:lnTo>
                  <a:lnTo>
                    <a:pt x="19" y="30"/>
                  </a:lnTo>
                  <a:lnTo>
                    <a:pt x="19" y="28"/>
                  </a:lnTo>
                  <a:lnTo>
                    <a:pt x="14" y="28"/>
                  </a:lnTo>
                  <a:lnTo>
                    <a:pt x="14" y="28"/>
                  </a:lnTo>
                  <a:lnTo>
                    <a:pt x="14" y="26"/>
                  </a:lnTo>
                  <a:lnTo>
                    <a:pt x="14" y="21"/>
                  </a:lnTo>
                  <a:lnTo>
                    <a:pt x="16" y="19"/>
                  </a:lnTo>
                  <a:lnTo>
                    <a:pt x="16" y="16"/>
                  </a:lnTo>
                  <a:lnTo>
                    <a:pt x="16" y="16"/>
                  </a:lnTo>
                  <a:lnTo>
                    <a:pt x="19" y="14"/>
                  </a:lnTo>
                  <a:lnTo>
                    <a:pt x="21" y="16"/>
                  </a:lnTo>
                  <a:lnTo>
                    <a:pt x="21" y="14"/>
                  </a:lnTo>
                  <a:lnTo>
                    <a:pt x="21" y="16"/>
                  </a:lnTo>
                  <a:lnTo>
                    <a:pt x="23" y="19"/>
                  </a:lnTo>
                  <a:lnTo>
                    <a:pt x="23" y="19"/>
                  </a:lnTo>
                  <a:lnTo>
                    <a:pt x="26" y="12"/>
                  </a:lnTo>
                  <a:lnTo>
                    <a:pt x="26" y="9"/>
                  </a:lnTo>
                  <a:lnTo>
                    <a:pt x="26" y="7"/>
                  </a:lnTo>
                  <a:lnTo>
                    <a:pt x="26" y="7"/>
                  </a:lnTo>
                  <a:lnTo>
                    <a:pt x="26" y="4"/>
                  </a:lnTo>
                  <a:lnTo>
                    <a:pt x="26" y="4"/>
                  </a:lnTo>
                  <a:lnTo>
                    <a:pt x="26" y="0"/>
                  </a:lnTo>
                  <a:lnTo>
                    <a:pt x="26" y="0"/>
                  </a:lnTo>
                  <a:lnTo>
                    <a:pt x="26" y="0"/>
                  </a:lnTo>
                  <a:lnTo>
                    <a:pt x="23" y="0"/>
                  </a:lnTo>
                  <a:lnTo>
                    <a:pt x="23" y="4"/>
                  </a:lnTo>
                  <a:lnTo>
                    <a:pt x="23" y="4"/>
                  </a:lnTo>
                  <a:lnTo>
                    <a:pt x="21" y="4"/>
                  </a:lnTo>
                  <a:lnTo>
                    <a:pt x="21" y="4"/>
                  </a:lnTo>
                  <a:lnTo>
                    <a:pt x="21" y="4"/>
                  </a:lnTo>
                  <a:lnTo>
                    <a:pt x="16" y="4"/>
                  </a:lnTo>
                  <a:lnTo>
                    <a:pt x="16" y="2"/>
                  </a:lnTo>
                  <a:lnTo>
                    <a:pt x="16" y="4"/>
                  </a:lnTo>
                  <a:lnTo>
                    <a:pt x="14" y="7"/>
                  </a:lnTo>
                  <a:lnTo>
                    <a:pt x="14" y="12"/>
                  </a:lnTo>
                  <a:lnTo>
                    <a:pt x="12" y="14"/>
                  </a:lnTo>
                  <a:lnTo>
                    <a:pt x="9" y="23"/>
                  </a:lnTo>
                  <a:lnTo>
                    <a:pt x="7" y="33"/>
                  </a:lnTo>
                  <a:lnTo>
                    <a:pt x="5" y="35"/>
                  </a:lnTo>
                  <a:lnTo>
                    <a:pt x="7" y="38"/>
                  </a:lnTo>
                  <a:lnTo>
                    <a:pt x="2" y="40"/>
                  </a:lnTo>
                  <a:lnTo>
                    <a:pt x="2" y="42"/>
                  </a:lnTo>
                  <a:lnTo>
                    <a:pt x="0" y="42"/>
                  </a:lnTo>
                  <a:lnTo>
                    <a:pt x="0" y="45"/>
                  </a:lnTo>
                  <a:lnTo>
                    <a:pt x="2" y="47"/>
                  </a:lnTo>
                  <a:lnTo>
                    <a:pt x="7" y="66"/>
                  </a:lnTo>
                  <a:lnTo>
                    <a:pt x="14" y="80"/>
                  </a:lnTo>
                  <a:lnTo>
                    <a:pt x="14" y="7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0" name="Freeform 842">
              <a:extLst>
                <a:ext uri="{FF2B5EF4-FFF2-40B4-BE49-F238E27FC236}">
                  <a16:creationId xmlns:a16="http://schemas.microsoft.com/office/drawing/2014/main" id="{9C9A0994-BAFA-4280-89AC-1EF393EB2377}"/>
                </a:ext>
              </a:extLst>
            </p:cNvPr>
            <p:cNvSpPr>
              <a:spLocks/>
            </p:cNvSpPr>
            <p:nvPr/>
          </p:nvSpPr>
          <p:spPr bwMode="auto">
            <a:xfrm>
              <a:off x="2220165" y="3559140"/>
              <a:ext cx="41275" cy="127000"/>
            </a:xfrm>
            <a:custGeom>
              <a:avLst/>
              <a:gdLst>
                <a:gd name="T0" fmla="*/ 14 w 26"/>
                <a:gd name="T1" fmla="*/ 75 h 80"/>
                <a:gd name="T2" fmla="*/ 19 w 26"/>
                <a:gd name="T3" fmla="*/ 56 h 80"/>
                <a:gd name="T4" fmla="*/ 23 w 26"/>
                <a:gd name="T5" fmla="*/ 45 h 80"/>
                <a:gd name="T6" fmla="*/ 23 w 26"/>
                <a:gd name="T7" fmla="*/ 38 h 80"/>
                <a:gd name="T8" fmla="*/ 21 w 26"/>
                <a:gd name="T9" fmla="*/ 35 h 80"/>
                <a:gd name="T10" fmla="*/ 14 w 26"/>
                <a:gd name="T11" fmla="*/ 40 h 80"/>
                <a:gd name="T12" fmla="*/ 14 w 26"/>
                <a:gd name="T13" fmla="*/ 38 h 80"/>
                <a:gd name="T14" fmla="*/ 14 w 26"/>
                <a:gd name="T15" fmla="*/ 35 h 80"/>
                <a:gd name="T16" fmla="*/ 16 w 26"/>
                <a:gd name="T17" fmla="*/ 33 h 80"/>
                <a:gd name="T18" fmla="*/ 19 w 26"/>
                <a:gd name="T19" fmla="*/ 30 h 80"/>
                <a:gd name="T20" fmla="*/ 19 w 26"/>
                <a:gd name="T21" fmla="*/ 30 h 80"/>
                <a:gd name="T22" fmla="*/ 14 w 26"/>
                <a:gd name="T23" fmla="*/ 28 h 80"/>
                <a:gd name="T24" fmla="*/ 14 w 26"/>
                <a:gd name="T25" fmla="*/ 26 h 80"/>
                <a:gd name="T26" fmla="*/ 16 w 26"/>
                <a:gd name="T27" fmla="*/ 19 h 80"/>
                <a:gd name="T28" fmla="*/ 16 w 26"/>
                <a:gd name="T29" fmla="*/ 16 h 80"/>
                <a:gd name="T30" fmla="*/ 21 w 26"/>
                <a:gd name="T31" fmla="*/ 16 h 80"/>
                <a:gd name="T32" fmla="*/ 21 w 26"/>
                <a:gd name="T33" fmla="*/ 16 h 80"/>
                <a:gd name="T34" fmla="*/ 23 w 26"/>
                <a:gd name="T35" fmla="*/ 19 h 80"/>
                <a:gd name="T36" fmla="*/ 26 w 26"/>
                <a:gd name="T37" fmla="*/ 9 h 80"/>
                <a:gd name="T38" fmla="*/ 26 w 26"/>
                <a:gd name="T39" fmla="*/ 7 h 80"/>
                <a:gd name="T40" fmla="*/ 26 w 26"/>
                <a:gd name="T41" fmla="*/ 4 h 80"/>
                <a:gd name="T42" fmla="*/ 26 w 26"/>
                <a:gd name="T43" fmla="*/ 0 h 80"/>
                <a:gd name="T44" fmla="*/ 23 w 26"/>
                <a:gd name="T45" fmla="*/ 0 h 80"/>
                <a:gd name="T46" fmla="*/ 23 w 26"/>
                <a:gd name="T47" fmla="*/ 4 h 80"/>
                <a:gd name="T48" fmla="*/ 21 w 26"/>
                <a:gd name="T49" fmla="*/ 4 h 80"/>
                <a:gd name="T50" fmla="*/ 16 w 26"/>
                <a:gd name="T51" fmla="*/ 4 h 80"/>
                <a:gd name="T52" fmla="*/ 16 w 26"/>
                <a:gd name="T53" fmla="*/ 4 h 80"/>
                <a:gd name="T54" fmla="*/ 14 w 26"/>
                <a:gd name="T55" fmla="*/ 12 h 80"/>
                <a:gd name="T56" fmla="*/ 9 w 26"/>
                <a:gd name="T57" fmla="*/ 23 h 80"/>
                <a:gd name="T58" fmla="*/ 5 w 26"/>
                <a:gd name="T59" fmla="*/ 35 h 80"/>
                <a:gd name="T60" fmla="*/ 2 w 26"/>
                <a:gd name="T61" fmla="*/ 40 h 80"/>
                <a:gd name="T62" fmla="*/ 0 w 26"/>
                <a:gd name="T63" fmla="*/ 42 h 80"/>
                <a:gd name="T64" fmla="*/ 2 w 26"/>
                <a:gd name="T65" fmla="*/ 47 h 80"/>
                <a:gd name="T66" fmla="*/ 14 w 26"/>
                <a:gd name="T6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80">
                  <a:moveTo>
                    <a:pt x="14" y="78"/>
                  </a:moveTo>
                  <a:lnTo>
                    <a:pt x="14" y="75"/>
                  </a:lnTo>
                  <a:lnTo>
                    <a:pt x="16" y="73"/>
                  </a:lnTo>
                  <a:lnTo>
                    <a:pt x="19" y="56"/>
                  </a:lnTo>
                  <a:lnTo>
                    <a:pt x="19" y="49"/>
                  </a:lnTo>
                  <a:lnTo>
                    <a:pt x="23" y="45"/>
                  </a:lnTo>
                  <a:lnTo>
                    <a:pt x="21" y="42"/>
                  </a:lnTo>
                  <a:lnTo>
                    <a:pt x="23" y="38"/>
                  </a:lnTo>
                  <a:lnTo>
                    <a:pt x="23" y="35"/>
                  </a:lnTo>
                  <a:lnTo>
                    <a:pt x="21" y="35"/>
                  </a:lnTo>
                  <a:lnTo>
                    <a:pt x="19" y="38"/>
                  </a:lnTo>
                  <a:lnTo>
                    <a:pt x="14" y="40"/>
                  </a:lnTo>
                  <a:lnTo>
                    <a:pt x="14" y="40"/>
                  </a:lnTo>
                  <a:lnTo>
                    <a:pt x="14" y="38"/>
                  </a:lnTo>
                  <a:lnTo>
                    <a:pt x="14" y="38"/>
                  </a:lnTo>
                  <a:lnTo>
                    <a:pt x="14" y="35"/>
                  </a:lnTo>
                  <a:lnTo>
                    <a:pt x="14" y="33"/>
                  </a:lnTo>
                  <a:lnTo>
                    <a:pt x="16" y="33"/>
                  </a:lnTo>
                  <a:lnTo>
                    <a:pt x="16" y="30"/>
                  </a:lnTo>
                  <a:lnTo>
                    <a:pt x="19" y="30"/>
                  </a:lnTo>
                  <a:lnTo>
                    <a:pt x="19" y="30"/>
                  </a:lnTo>
                  <a:lnTo>
                    <a:pt x="19" y="30"/>
                  </a:lnTo>
                  <a:lnTo>
                    <a:pt x="19" y="28"/>
                  </a:lnTo>
                  <a:lnTo>
                    <a:pt x="14" y="28"/>
                  </a:lnTo>
                  <a:lnTo>
                    <a:pt x="14" y="28"/>
                  </a:lnTo>
                  <a:lnTo>
                    <a:pt x="14" y="26"/>
                  </a:lnTo>
                  <a:lnTo>
                    <a:pt x="14" y="21"/>
                  </a:lnTo>
                  <a:lnTo>
                    <a:pt x="16" y="19"/>
                  </a:lnTo>
                  <a:lnTo>
                    <a:pt x="16" y="16"/>
                  </a:lnTo>
                  <a:lnTo>
                    <a:pt x="16" y="16"/>
                  </a:lnTo>
                  <a:lnTo>
                    <a:pt x="19" y="14"/>
                  </a:lnTo>
                  <a:lnTo>
                    <a:pt x="21" y="16"/>
                  </a:lnTo>
                  <a:lnTo>
                    <a:pt x="21" y="14"/>
                  </a:lnTo>
                  <a:lnTo>
                    <a:pt x="21" y="16"/>
                  </a:lnTo>
                  <a:lnTo>
                    <a:pt x="23" y="19"/>
                  </a:lnTo>
                  <a:lnTo>
                    <a:pt x="23" y="19"/>
                  </a:lnTo>
                  <a:lnTo>
                    <a:pt x="26" y="12"/>
                  </a:lnTo>
                  <a:lnTo>
                    <a:pt x="26" y="9"/>
                  </a:lnTo>
                  <a:lnTo>
                    <a:pt x="26" y="7"/>
                  </a:lnTo>
                  <a:lnTo>
                    <a:pt x="26" y="7"/>
                  </a:lnTo>
                  <a:lnTo>
                    <a:pt x="26" y="4"/>
                  </a:lnTo>
                  <a:lnTo>
                    <a:pt x="26" y="4"/>
                  </a:lnTo>
                  <a:lnTo>
                    <a:pt x="26" y="0"/>
                  </a:lnTo>
                  <a:lnTo>
                    <a:pt x="26" y="0"/>
                  </a:lnTo>
                  <a:lnTo>
                    <a:pt x="26" y="0"/>
                  </a:lnTo>
                  <a:lnTo>
                    <a:pt x="23" y="0"/>
                  </a:lnTo>
                  <a:lnTo>
                    <a:pt x="23" y="4"/>
                  </a:lnTo>
                  <a:lnTo>
                    <a:pt x="23" y="4"/>
                  </a:lnTo>
                  <a:lnTo>
                    <a:pt x="21" y="4"/>
                  </a:lnTo>
                  <a:lnTo>
                    <a:pt x="21" y="4"/>
                  </a:lnTo>
                  <a:lnTo>
                    <a:pt x="21" y="4"/>
                  </a:lnTo>
                  <a:lnTo>
                    <a:pt x="16" y="4"/>
                  </a:lnTo>
                  <a:lnTo>
                    <a:pt x="16" y="2"/>
                  </a:lnTo>
                  <a:lnTo>
                    <a:pt x="16" y="4"/>
                  </a:lnTo>
                  <a:lnTo>
                    <a:pt x="14" y="7"/>
                  </a:lnTo>
                  <a:lnTo>
                    <a:pt x="14" y="12"/>
                  </a:lnTo>
                  <a:lnTo>
                    <a:pt x="12" y="14"/>
                  </a:lnTo>
                  <a:lnTo>
                    <a:pt x="9" y="23"/>
                  </a:lnTo>
                  <a:lnTo>
                    <a:pt x="7" y="33"/>
                  </a:lnTo>
                  <a:lnTo>
                    <a:pt x="5" y="35"/>
                  </a:lnTo>
                  <a:lnTo>
                    <a:pt x="7" y="38"/>
                  </a:lnTo>
                  <a:lnTo>
                    <a:pt x="2" y="40"/>
                  </a:lnTo>
                  <a:lnTo>
                    <a:pt x="2" y="42"/>
                  </a:lnTo>
                  <a:lnTo>
                    <a:pt x="0" y="42"/>
                  </a:lnTo>
                  <a:lnTo>
                    <a:pt x="0" y="45"/>
                  </a:lnTo>
                  <a:lnTo>
                    <a:pt x="2" y="47"/>
                  </a:lnTo>
                  <a:lnTo>
                    <a:pt x="7" y="66"/>
                  </a:lnTo>
                  <a:lnTo>
                    <a:pt x="14" y="80"/>
                  </a:lnTo>
                  <a:lnTo>
                    <a:pt x="14" y="78"/>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1" name="Freeform 843">
              <a:extLst>
                <a:ext uri="{FF2B5EF4-FFF2-40B4-BE49-F238E27FC236}">
                  <a16:creationId xmlns:a16="http://schemas.microsoft.com/office/drawing/2014/main" id="{C2E5EDF1-BE0E-4548-8F89-F4FC36D7D18A}"/>
                </a:ext>
              </a:extLst>
            </p:cNvPr>
            <p:cNvSpPr>
              <a:spLocks/>
            </p:cNvSpPr>
            <p:nvPr/>
          </p:nvSpPr>
          <p:spPr bwMode="auto">
            <a:xfrm>
              <a:off x="2351927" y="3416265"/>
              <a:ext cx="269874" cy="277813"/>
            </a:xfrm>
            <a:custGeom>
              <a:avLst/>
              <a:gdLst>
                <a:gd name="T0" fmla="*/ 167 w 170"/>
                <a:gd name="T1" fmla="*/ 158 h 175"/>
                <a:gd name="T2" fmla="*/ 163 w 170"/>
                <a:gd name="T3" fmla="*/ 156 h 175"/>
                <a:gd name="T4" fmla="*/ 160 w 170"/>
                <a:gd name="T5" fmla="*/ 156 h 175"/>
                <a:gd name="T6" fmla="*/ 153 w 170"/>
                <a:gd name="T7" fmla="*/ 156 h 175"/>
                <a:gd name="T8" fmla="*/ 144 w 170"/>
                <a:gd name="T9" fmla="*/ 163 h 175"/>
                <a:gd name="T10" fmla="*/ 134 w 170"/>
                <a:gd name="T11" fmla="*/ 175 h 175"/>
                <a:gd name="T12" fmla="*/ 85 w 170"/>
                <a:gd name="T13" fmla="*/ 163 h 175"/>
                <a:gd name="T14" fmla="*/ 85 w 170"/>
                <a:gd name="T15" fmla="*/ 149 h 175"/>
                <a:gd name="T16" fmla="*/ 73 w 170"/>
                <a:gd name="T17" fmla="*/ 149 h 175"/>
                <a:gd name="T18" fmla="*/ 68 w 170"/>
                <a:gd name="T19" fmla="*/ 139 h 175"/>
                <a:gd name="T20" fmla="*/ 33 w 170"/>
                <a:gd name="T21" fmla="*/ 118 h 175"/>
                <a:gd name="T22" fmla="*/ 4 w 170"/>
                <a:gd name="T23" fmla="*/ 111 h 175"/>
                <a:gd name="T24" fmla="*/ 14 w 170"/>
                <a:gd name="T25" fmla="*/ 78 h 175"/>
                <a:gd name="T26" fmla="*/ 23 w 170"/>
                <a:gd name="T27" fmla="*/ 73 h 175"/>
                <a:gd name="T28" fmla="*/ 35 w 170"/>
                <a:gd name="T29" fmla="*/ 66 h 175"/>
                <a:gd name="T30" fmla="*/ 40 w 170"/>
                <a:gd name="T31" fmla="*/ 64 h 175"/>
                <a:gd name="T32" fmla="*/ 44 w 170"/>
                <a:gd name="T33" fmla="*/ 45 h 175"/>
                <a:gd name="T34" fmla="*/ 54 w 170"/>
                <a:gd name="T35" fmla="*/ 19 h 175"/>
                <a:gd name="T36" fmla="*/ 66 w 170"/>
                <a:gd name="T37" fmla="*/ 7 h 175"/>
                <a:gd name="T38" fmla="*/ 80 w 170"/>
                <a:gd name="T39" fmla="*/ 2 h 175"/>
                <a:gd name="T40" fmla="*/ 94 w 170"/>
                <a:gd name="T41" fmla="*/ 2 h 175"/>
                <a:gd name="T42" fmla="*/ 101 w 170"/>
                <a:gd name="T43" fmla="*/ 7 h 175"/>
                <a:gd name="T44" fmla="*/ 106 w 170"/>
                <a:gd name="T45" fmla="*/ 14 h 175"/>
                <a:gd name="T46" fmla="*/ 113 w 170"/>
                <a:gd name="T47" fmla="*/ 24 h 175"/>
                <a:gd name="T48" fmla="*/ 118 w 170"/>
                <a:gd name="T49" fmla="*/ 33 h 175"/>
                <a:gd name="T50" fmla="*/ 129 w 170"/>
                <a:gd name="T51" fmla="*/ 35 h 175"/>
                <a:gd name="T52" fmla="*/ 127 w 170"/>
                <a:gd name="T53" fmla="*/ 43 h 175"/>
                <a:gd name="T54" fmla="*/ 125 w 170"/>
                <a:gd name="T55" fmla="*/ 52 h 175"/>
                <a:gd name="T56" fmla="*/ 120 w 170"/>
                <a:gd name="T57" fmla="*/ 59 h 175"/>
                <a:gd name="T58" fmla="*/ 118 w 170"/>
                <a:gd name="T59" fmla="*/ 64 h 175"/>
                <a:gd name="T60" fmla="*/ 115 w 170"/>
                <a:gd name="T61" fmla="*/ 73 h 175"/>
                <a:gd name="T62" fmla="*/ 115 w 170"/>
                <a:gd name="T63" fmla="*/ 78 h 175"/>
                <a:gd name="T64" fmla="*/ 120 w 170"/>
                <a:gd name="T65" fmla="*/ 80 h 175"/>
                <a:gd name="T66" fmla="*/ 122 w 170"/>
                <a:gd name="T67" fmla="*/ 85 h 175"/>
                <a:gd name="T68" fmla="*/ 125 w 170"/>
                <a:gd name="T69" fmla="*/ 92 h 175"/>
                <a:gd name="T70" fmla="*/ 134 w 170"/>
                <a:gd name="T71" fmla="*/ 99 h 175"/>
                <a:gd name="T72" fmla="*/ 141 w 170"/>
                <a:gd name="T73" fmla="*/ 104 h 175"/>
                <a:gd name="T74" fmla="*/ 148 w 170"/>
                <a:gd name="T75" fmla="*/ 106 h 175"/>
                <a:gd name="T76" fmla="*/ 153 w 170"/>
                <a:gd name="T77" fmla="*/ 116 h 175"/>
                <a:gd name="T78" fmla="*/ 153 w 170"/>
                <a:gd name="T79" fmla="*/ 130 h 175"/>
                <a:gd name="T80" fmla="*/ 158 w 170"/>
                <a:gd name="T81" fmla="*/ 137 h 175"/>
                <a:gd name="T82" fmla="*/ 160 w 170"/>
                <a:gd name="T83" fmla="*/ 146 h 175"/>
                <a:gd name="T84" fmla="*/ 170 w 170"/>
                <a:gd name="T85" fmla="*/ 1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5">
                  <a:moveTo>
                    <a:pt x="170" y="156"/>
                  </a:moveTo>
                  <a:lnTo>
                    <a:pt x="167" y="158"/>
                  </a:lnTo>
                  <a:lnTo>
                    <a:pt x="165" y="156"/>
                  </a:lnTo>
                  <a:lnTo>
                    <a:pt x="163" y="156"/>
                  </a:lnTo>
                  <a:lnTo>
                    <a:pt x="160" y="156"/>
                  </a:lnTo>
                  <a:lnTo>
                    <a:pt x="160" y="156"/>
                  </a:lnTo>
                  <a:lnTo>
                    <a:pt x="155" y="156"/>
                  </a:lnTo>
                  <a:lnTo>
                    <a:pt x="153" y="156"/>
                  </a:lnTo>
                  <a:lnTo>
                    <a:pt x="148" y="156"/>
                  </a:lnTo>
                  <a:lnTo>
                    <a:pt x="144" y="163"/>
                  </a:lnTo>
                  <a:lnTo>
                    <a:pt x="141" y="168"/>
                  </a:lnTo>
                  <a:lnTo>
                    <a:pt x="134" y="175"/>
                  </a:lnTo>
                  <a:lnTo>
                    <a:pt x="103" y="172"/>
                  </a:lnTo>
                  <a:lnTo>
                    <a:pt x="85" y="163"/>
                  </a:lnTo>
                  <a:lnTo>
                    <a:pt x="85" y="163"/>
                  </a:lnTo>
                  <a:lnTo>
                    <a:pt x="85" y="149"/>
                  </a:lnTo>
                  <a:lnTo>
                    <a:pt x="82" y="149"/>
                  </a:lnTo>
                  <a:lnTo>
                    <a:pt x="73" y="149"/>
                  </a:lnTo>
                  <a:lnTo>
                    <a:pt x="70" y="142"/>
                  </a:lnTo>
                  <a:lnTo>
                    <a:pt x="68" y="139"/>
                  </a:lnTo>
                  <a:lnTo>
                    <a:pt x="51" y="135"/>
                  </a:lnTo>
                  <a:lnTo>
                    <a:pt x="33" y="118"/>
                  </a:lnTo>
                  <a:lnTo>
                    <a:pt x="4" y="111"/>
                  </a:lnTo>
                  <a:lnTo>
                    <a:pt x="4" y="111"/>
                  </a:lnTo>
                  <a:lnTo>
                    <a:pt x="0" y="87"/>
                  </a:lnTo>
                  <a:lnTo>
                    <a:pt x="14" y="78"/>
                  </a:lnTo>
                  <a:lnTo>
                    <a:pt x="18" y="76"/>
                  </a:lnTo>
                  <a:lnTo>
                    <a:pt x="23" y="73"/>
                  </a:lnTo>
                  <a:lnTo>
                    <a:pt x="30" y="69"/>
                  </a:lnTo>
                  <a:lnTo>
                    <a:pt x="35" y="66"/>
                  </a:lnTo>
                  <a:lnTo>
                    <a:pt x="35" y="66"/>
                  </a:lnTo>
                  <a:lnTo>
                    <a:pt x="40" y="64"/>
                  </a:lnTo>
                  <a:lnTo>
                    <a:pt x="42" y="57"/>
                  </a:lnTo>
                  <a:lnTo>
                    <a:pt x="44" y="45"/>
                  </a:lnTo>
                  <a:lnTo>
                    <a:pt x="44" y="21"/>
                  </a:lnTo>
                  <a:lnTo>
                    <a:pt x="54" y="19"/>
                  </a:lnTo>
                  <a:lnTo>
                    <a:pt x="61" y="9"/>
                  </a:lnTo>
                  <a:lnTo>
                    <a:pt x="66" y="7"/>
                  </a:lnTo>
                  <a:lnTo>
                    <a:pt x="73" y="0"/>
                  </a:lnTo>
                  <a:lnTo>
                    <a:pt x="80" y="2"/>
                  </a:lnTo>
                  <a:lnTo>
                    <a:pt x="89" y="2"/>
                  </a:lnTo>
                  <a:lnTo>
                    <a:pt x="94" y="2"/>
                  </a:lnTo>
                  <a:lnTo>
                    <a:pt x="96" y="5"/>
                  </a:lnTo>
                  <a:lnTo>
                    <a:pt x="101" y="7"/>
                  </a:lnTo>
                  <a:lnTo>
                    <a:pt x="106" y="5"/>
                  </a:lnTo>
                  <a:lnTo>
                    <a:pt x="106" y="14"/>
                  </a:lnTo>
                  <a:lnTo>
                    <a:pt x="108" y="19"/>
                  </a:lnTo>
                  <a:lnTo>
                    <a:pt x="113" y="24"/>
                  </a:lnTo>
                  <a:lnTo>
                    <a:pt x="115" y="31"/>
                  </a:lnTo>
                  <a:lnTo>
                    <a:pt x="118" y="33"/>
                  </a:lnTo>
                  <a:lnTo>
                    <a:pt x="125" y="35"/>
                  </a:lnTo>
                  <a:lnTo>
                    <a:pt x="129" y="35"/>
                  </a:lnTo>
                  <a:lnTo>
                    <a:pt x="129" y="38"/>
                  </a:lnTo>
                  <a:lnTo>
                    <a:pt x="127" y="43"/>
                  </a:lnTo>
                  <a:lnTo>
                    <a:pt x="127" y="47"/>
                  </a:lnTo>
                  <a:lnTo>
                    <a:pt x="125" y="52"/>
                  </a:lnTo>
                  <a:lnTo>
                    <a:pt x="120" y="57"/>
                  </a:lnTo>
                  <a:lnTo>
                    <a:pt x="120" y="59"/>
                  </a:lnTo>
                  <a:lnTo>
                    <a:pt x="118" y="61"/>
                  </a:lnTo>
                  <a:lnTo>
                    <a:pt x="118" y="64"/>
                  </a:lnTo>
                  <a:lnTo>
                    <a:pt x="115" y="71"/>
                  </a:lnTo>
                  <a:lnTo>
                    <a:pt x="115" y="73"/>
                  </a:lnTo>
                  <a:lnTo>
                    <a:pt x="115" y="73"/>
                  </a:lnTo>
                  <a:lnTo>
                    <a:pt x="115" y="78"/>
                  </a:lnTo>
                  <a:lnTo>
                    <a:pt x="118" y="80"/>
                  </a:lnTo>
                  <a:lnTo>
                    <a:pt x="120" y="80"/>
                  </a:lnTo>
                  <a:lnTo>
                    <a:pt x="120" y="83"/>
                  </a:lnTo>
                  <a:lnTo>
                    <a:pt x="122" y="85"/>
                  </a:lnTo>
                  <a:lnTo>
                    <a:pt x="125" y="90"/>
                  </a:lnTo>
                  <a:lnTo>
                    <a:pt x="125" y="92"/>
                  </a:lnTo>
                  <a:lnTo>
                    <a:pt x="129" y="94"/>
                  </a:lnTo>
                  <a:lnTo>
                    <a:pt x="134" y="99"/>
                  </a:lnTo>
                  <a:lnTo>
                    <a:pt x="137" y="102"/>
                  </a:lnTo>
                  <a:lnTo>
                    <a:pt x="141" y="104"/>
                  </a:lnTo>
                  <a:lnTo>
                    <a:pt x="146" y="104"/>
                  </a:lnTo>
                  <a:lnTo>
                    <a:pt x="148" y="106"/>
                  </a:lnTo>
                  <a:lnTo>
                    <a:pt x="151" y="111"/>
                  </a:lnTo>
                  <a:lnTo>
                    <a:pt x="153" y="116"/>
                  </a:lnTo>
                  <a:lnTo>
                    <a:pt x="155" y="120"/>
                  </a:lnTo>
                  <a:lnTo>
                    <a:pt x="153" y="130"/>
                  </a:lnTo>
                  <a:lnTo>
                    <a:pt x="153" y="135"/>
                  </a:lnTo>
                  <a:lnTo>
                    <a:pt x="158" y="137"/>
                  </a:lnTo>
                  <a:lnTo>
                    <a:pt x="158" y="144"/>
                  </a:lnTo>
                  <a:lnTo>
                    <a:pt x="160" y="146"/>
                  </a:lnTo>
                  <a:lnTo>
                    <a:pt x="163" y="149"/>
                  </a:lnTo>
                  <a:lnTo>
                    <a:pt x="170" y="154"/>
                  </a:lnTo>
                  <a:lnTo>
                    <a:pt x="170" y="15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2" name="Freeform 844">
              <a:extLst>
                <a:ext uri="{FF2B5EF4-FFF2-40B4-BE49-F238E27FC236}">
                  <a16:creationId xmlns:a16="http://schemas.microsoft.com/office/drawing/2014/main" id="{CC08D79B-F5A8-4E4E-B7AA-B513FCC9B295}"/>
                </a:ext>
              </a:extLst>
            </p:cNvPr>
            <p:cNvSpPr>
              <a:spLocks/>
            </p:cNvSpPr>
            <p:nvPr/>
          </p:nvSpPr>
          <p:spPr bwMode="auto">
            <a:xfrm>
              <a:off x="2351927" y="3416265"/>
              <a:ext cx="269874" cy="277813"/>
            </a:xfrm>
            <a:custGeom>
              <a:avLst/>
              <a:gdLst>
                <a:gd name="T0" fmla="*/ 167 w 170"/>
                <a:gd name="T1" fmla="*/ 158 h 175"/>
                <a:gd name="T2" fmla="*/ 163 w 170"/>
                <a:gd name="T3" fmla="*/ 156 h 175"/>
                <a:gd name="T4" fmla="*/ 160 w 170"/>
                <a:gd name="T5" fmla="*/ 156 h 175"/>
                <a:gd name="T6" fmla="*/ 153 w 170"/>
                <a:gd name="T7" fmla="*/ 156 h 175"/>
                <a:gd name="T8" fmla="*/ 144 w 170"/>
                <a:gd name="T9" fmla="*/ 163 h 175"/>
                <a:gd name="T10" fmla="*/ 134 w 170"/>
                <a:gd name="T11" fmla="*/ 175 h 175"/>
                <a:gd name="T12" fmla="*/ 85 w 170"/>
                <a:gd name="T13" fmla="*/ 163 h 175"/>
                <a:gd name="T14" fmla="*/ 85 w 170"/>
                <a:gd name="T15" fmla="*/ 149 h 175"/>
                <a:gd name="T16" fmla="*/ 73 w 170"/>
                <a:gd name="T17" fmla="*/ 149 h 175"/>
                <a:gd name="T18" fmla="*/ 68 w 170"/>
                <a:gd name="T19" fmla="*/ 139 h 175"/>
                <a:gd name="T20" fmla="*/ 33 w 170"/>
                <a:gd name="T21" fmla="*/ 118 h 175"/>
                <a:gd name="T22" fmla="*/ 4 w 170"/>
                <a:gd name="T23" fmla="*/ 111 h 175"/>
                <a:gd name="T24" fmla="*/ 14 w 170"/>
                <a:gd name="T25" fmla="*/ 78 h 175"/>
                <a:gd name="T26" fmla="*/ 23 w 170"/>
                <a:gd name="T27" fmla="*/ 73 h 175"/>
                <a:gd name="T28" fmla="*/ 35 w 170"/>
                <a:gd name="T29" fmla="*/ 66 h 175"/>
                <a:gd name="T30" fmla="*/ 40 w 170"/>
                <a:gd name="T31" fmla="*/ 64 h 175"/>
                <a:gd name="T32" fmla="*/ 44 w 170"/>
                <a:gd name="T33" fmla="*/ 45 h 175"/>
                <a:gd name="T34" fmla="*/ 54 w 170"/>
                <a:gd name="T35" fmla="*/ 19 h 175"/>
                <a:gd name="T36" fmla="*/ 66 w 170"/>
                <a:gd name="T37" fmla="*/ 7 h 175"/>
                <a:gd name="T38" fmla="*/ 80 w 170"/>
                <a:gd name="T39" fmla="*/ 2 h 175"/>
                <a:gd name="T40" fmla="*/ 94 w 170"/>
                <a:gd name="T41" fmla="*/ 2 h 175"/>
                <a:gd name="T42" fmla="*/ 101 w 170"/>
                <a:gd name="T43" fmla="*/ 7 h 175"/>
                <a:gd name="T44" fmla="*/ 106 w 170"/>
                <a:gd name="T45" fmla="*/ 14 h 175"/>
                <a:gd name="T46" fmla="*/ 113 w 170"/>
                <a:gd name="T47" fmla="*/ 24 h 175"/>
                <a:gd name="T48" fmla="*/ 118 w 170"/>
                <a:gd name="T49" fmla="*/ 33 h 175"/>
                <a:gd name="T50" fmla="*/ 129 w 170"/>
                <a:gd name="T51" fmla="*/ 35 h 175"/>
                <a:gd name="T52" fmla="*/ 127 w 170"/>
                <a:gd name="T53" fmla="*/ 43 h 175"/>
                <a:gd name="T54" fmla="*/ 125 w 170"/>
                <a:gd name="T55" fmla="*/ 52 h 175"/>
                <a:gd name="T56" fmla="*/ 120 w 170"/>
                <a:gd name="T57" fmla="*/ 59 h 175"/>
                <a:gd name="T58" fmla="*/ 118 w 170"/>
                <a:gd name="T59" fmla="*/ 64 h 175"/>
                <a:gd name="T60" fmla="*/ 115 w 170"/>
                <a:gd name="T61" fmla="*/ 73 h 175"/>
                <a:gd name="T62" fmla="*/ 115 w 170"/>
                <a:gd name="T63" fmla="*/ 78 h 175"/>
                <a:gd name="T64" fmla="*/ 120 w 170"/>
                <a:gd name="T65" fmla="*/ 80 h 175"/>
                <a:gd name="T66" fmla="*/ 122 w 170"/>
                <a:gd name="T67" fmla="*/ 85 h 175"/>
                <a:gd name="T68" fmla="*/ 125 w 170"/>
                <a:gd name="T69" fmla="*/ 92 h 175"/>
                <a:gd name="T70" fmla="*/ 134 w 170"/>
                <a:gd name="T71" fmla="*/ 99 h 175"/>
                <a:gd name="T72" fmla="*/ 141 w 170"/>
                <a:gd name="T73" fmla="*/ 104 h 175"/>
                <a:gd name="T74" fmla="*/ 148 w 170"/>
                <a:gd name="T75" fmla="*/ 106 h 175"/>
                <a:gd name="T76" fmla="*/ 153 w 170"/>
                <a:gd name="T77" fmla="*/ 116 h 175"/>
                <a:gd name="T78" fmla="*/ 153 w 170"/>
                <a:gd name="T79" fmla="*/ 130 h 175"/>
                <a:gd name="T80" fmla="*/ 158 w 170"/>
                <a:gd name="T81" fmla="*/ 137 h 175"/>
                <a:gd name="T82" fmla="*/ 160 w 170"/>
                <a:gd name="T83" fmla="*/ 146 h 175"/>
                <a:gd name="T84" fmla="*/ 170 w 170"/>
                <a:gd name="T85" fmla="*/ 1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5">
                  <a:moveTo>
                    <a:pt x="170" y="156"/>
                  </a:moveTo>
                  <a:lnTo>
                    <a:pt x="167" y="158"/>
                  </a:lnTo>
                  <a:lnTo>
                    <a:pt x="165" y="156"/>
                  </a:lnTo>
                  <a:lnTo>
                    <a:pt x="163" y="156"/>
                  </a:lnTo>
                  <a:lnTo>
                    <a:pt x="160" y="156"/>
                  </a:lnTo>
                  <a:lnTo>
                    <a:pt x="160" y="156"/>
                  </a:lnTo>
                  <a:lnTo>
                    <a:pt x="155" y="156"/>
                  </a:lnTo>
                  <a:lnTo>
                    <a:pt x="153" y="156"/>
                  </a:lnTo>
                  <a:lnTo>
                    <a:pt x="148" y="156"/>
                  </a:lnTo>
                  <a:lnTo>
                    <a:pt x="144" y="163"/>
                  </a:lnTo>
                  <a:lnTo>
                    <a:pt x="141" y="168"/>
                  </a:lnTo>
                  <a:lnTo>
                    <a:pt x="134" y="175"/>
                  </a:lnTo>
                  <a:lnTo>
                    <a:pt x="103" y="172"/>
                  </a:lnTo>
                  <a:lnTo>
                    <a:pt x="85" y="163"/>
                  </a:lnTo>
                  <a:lnTo>
                    <a:pt x="85" y="163"/>
                  </a:lnTo>
                  <a:lnTo>
                    <a:pt x="85" y="149"/>
                  </a:lnTo>
                  <a:lnTo>
                    <a:pt x="82" y="149"/>
                  </a:lnTo>
                  <a:lnTo>
                    <a:pt x="73" y="149"/>
                  </a:lnTo>
                  <a:lnTo>
                    <a:pt x="70" y="142"/>
                  </a:lnTo>
                  <a:lnTo>
                    <a:pt x="68" y="139"/>
                  </a:lnTo>
                  <a:lnTo>
                    <a:pt x="51" y="135"/>
                  </a:lnTo>
                  <a:lnTo>
                    <a:pt x="33" y="118"/>
                  </a:lnTo>
                  <a:lnTo>
                    <a:pt x="4" y="111"/>
                  </a:lnTo>
                  <a:lnTo>
                    <a:pt x="4" y="111"/>
                  </a:lnTo>
                  <a:lnTo>
                    <a:pt x="0" y="87"/>
                  </a:lnTo>
                  <a:lnTo>
                    <a:pt x="14" y="78"/>
                  </a:lnTo>
                  <a:lnTo>
                    <a:pt x="18" y="76"/>
                  </a:lnTo>
                  <a:lnTo>
                    <a:pt x="23" y="73"/>
                  </a:lnTo>
                  <a:lnTo>
                    <a:pt x="30" y="69"/>
                  </a:lnTo>
                  <a:lnTo>
                    <a:pt x="35" y="66"/>
                  </a:lnTo>
                  <a:lnTo>
                    <a:pt x="35" y="66"/>
                  </a:lnTo>
                  <a:lnTo>
                    <a:pt x="40" y="64"/>
                  </a:lnTo>
                  <a:lnTo>
                    <a:pt x="42" y="57"/>
                  </a:lnTo>
                  <a:lnTo>
                    <a:pt x="44" y="45"/>
                  </a:lnTo>
                  <a:lnTo>
                    <a:pt x="44" y="21"/>
                  </a:lnTo>
                  <a:lnTo>
                    <a:pt x="54" y="19"/>
                  </a:lnTo>
                  <a:lnTo>
                    <a:pt x="61" y="9"/>
                  </a:lnTo>
                  <a:lnTo>
                    <a:pt x="66" y="7"/>
                  </a:lnTo>
                  <a:lnTo>
                    <a:pt x="73" y="0"/>
                  </a:lnTo>
                  <a:lnTo>
                    <a:pt x="80" y="2"/>
                  </a:lnTo>
                  <a:lnTo>
                    <a:pt x="89" y="2"/>
                  </a:lnTo>
                  <a:lnTo>
                    <a:pt x="94" y="2"/>
                  </a:lnTo>
                  <a:lnTo>
                    <a:pt x="96" y="5"/>
                  </a:lnTo>
                  <a:lnTo>
                    <a:pt x="101" y="7"/>
                  </a:lnTo>
                  <a:lnTo>
                    <a:pt x="106" y="5"/>
                  </a:lnTo>
                  <a:lnTo>
                    <a:pt x="106" y="14"/>
                  </a:lnTo>
                  <a:lnTo>
                    <a:pt x="108" y="19"/>
                  </a:lnTo>
                  <a:lnTo>
                    <a:pt x="113" y="24"/>
                  </a:lnTo>
                  <a:lnTo>
                    <a:pt x="115" y="31"/>
                  </a:lnTo>
                  <a:lnTo>
                    <a:pt x="118" y="33"/>
                  </a:lnTo>
                  <a:lnTo>
                    <a:pt x="125" y="35"/>
                  </a:lnTo>
                  <a:lnTo>
                    <a:pt x="129" y="35"/>
                  </a:lnTo>
                  <a:lnTo>
                    <a:pt x="129" y="38"/>
                  </a:lnTo>
                  <a:lnTo>
                    <a:pt x="127" y="43"/>
                  </a:lnTo>
                  <a:lnTo>
                    <a:pt x="127" y="47"/>
                  </a:lnTo>
                  <a:lnTo>
                    <a:pt x="125" y="52"/>
                  </a:lnTo>
                  <a:lnTo>
                    <a:pt x="120" y="57"/>
                  </a:lnTo>
                  <a:lnTo>
                    <a:pt x="120" y="59"/>
                  </a:lnTo>
                  <a:lnTo>
                    <a:pt x="118" y="61"/>
                  </a:lnTo>
                  <a:lnTo>
                    <a:pt x="118" y="64"/>
                  </a:lnTo>
                  <a:lnTo>
                    <a:pt x="115" y="71"/>
                  </a:lnTo>
                  <a:lnTo>
                    <a:pt x="115" y="73"/>
                  </a:lnTo>
                  <a:lnTo>
                    <a:pt x="115" y="73"/>
                  </a:lnTo>
                  <a:lnTo>
                    <a:pt x="115" y="78"/>
                  </a:lnTo>
                  <a:lnTo>
                    <a:pt x="118" y="80"/>
                  </a:lnTo>
                  <a:lnTo>
                    <a:pt x="120" y="80"/>
                  </a:lnTo>
                  <a:lnTo>
                    <a:pt x="120" y="83"/>
                  </a:lnTo>
                  <a:lnTo>
                    <a:pt x="122" y="85"/>
                  </a:lnTo>
                  <a:lnTo>
                    <a:pt x="125" y="90"/>
                  </a:lnTo>
                  <a:lnTo>
                    <a:pt x="125" y="92"/>
                  </a:lnTo>
                  <a:lnTo>
                    <a:pt x="129" y="94"/>
                  </a:lnTo>
                  <a:lnTo>
                    <a:pt x="134" y="99"/>
                  </a:lnTo>
                  <a:lnTo>
                    <a:pt x="137" y="102"/>
                  </a:lnTo>
                  <a:lnTo>
                    <a:pt x="141" y="104"/>
                  </a:lnTo>
                  <a:lnTo>
                    <a:pt x="146" y="104"/>
                  </a:lnTo>
                  <a:lnTo>
                    <a:pt x="148" y="106"/>
                  </a:lnTo>
                  <a:lnTo>
                    <a:pt x="151" y="111"/>
                  </a:lnTo>
                  <a:lnTo>
                    <a:pt x="153" y="116"/>
                  </a:lnTo>
                  <a:lnTo>
                    <a:pt x="155" y="120"/>
                  </a:lnTo>
                  <a:lnTo>
                    <a:pt x="153" y="130"/>
                  </a:lnTo>
                  <a:lnTo>
                    <a:pt x="153" y="135"/>
                  </a:lnTo>
                  <a:lnTo>
                    <a:pt x="158" y="137"/>
                  </a:lnTo>
                  <a:lnTo>
                    <a:pt x="158" y="144"/>
                  </a:lnTo>
                  <a:lnTo>
                    <a:pt x="160" y="146"/>
                  </a:lnTo>
                  <a:lnTo>
                    <a:pt x="163" y="149"/>
                  </a:lnTo>
                  <a:lnTo>
                    <a:pt x="170" y="154"/>
                  </a:lnTo>
                  <a:lnTo>
                    <a:pt x="170" y="15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3" name="Freeform 845">
              <a:extLst>
                <a:ext uri="{FF2B5EF4-FFF2-40B4-BE49-F238E27FC236}">
                  <a16:creationId xmlns:a16="http://schemas.microsoft.com/office/drawing/2014/main" id="{229C7887-5015-4A21-A145-805E8370560E}"/>
                </a:ext>
              </a:extLst>
            </p:cNvPr>
            <p:cNvSpPr>
              <a:spLocks/>
            </p:cNvSpPr>
            <p:nvPr/>
          </p:nvSpPr>
          <p:spPr bwMode="auto">
            <a:xfrm>
              <a:off x="2680539" y="3782977"/>
              <a:ext cx="23813" cy="49212"/>
            </a:xfrm>
            <a:custGeom>
              <a:avLst/>
              <a:gdLst>
                <a:gd name="T0" fmla="*/ 5 w 15"/>
                <a:gd name="T1" fmla="*/ 31 h 31"/>
                <a:gd name="T2" fmla="*/ 12 w 15"/>
                <a:gd name="T3" fmla="*/ 29 h 31"/>
                <a:gd name="T4" fmla="*/ 12 w 15"/>
                <a:gd name="T5" fmla="*/ 29 h 31"/>
                <a:gd name="T6" fmla="*/ 12 w 15"/>
                <a:gd name="T7" fmla="*/ 26 h 31"/>
                <a:gd name="T8" fmla="*/ 15 w 15"/>
                <a:gd name="T9" fmla="*/ 24 h 31"/>
                <a:gd name="T10" fmla="*/ 15 w 15"/>
                <a:gd name="T11" fmla="*/ 22 h 31"/>
                <a:gd name="T12" fmla="*/ 15 w 15"/>
                <a:gd name="T13" fmla="*/ 17 h 31"/>
                <a:gd name="T14" fmla="*/ 15 w 15"/>
                <a:gd name="T15" fmla="*/ 17 h 31"/>
                <a:gd name="T16" fmla="*/ 15 w 15"/>
                <a:gd name="T17" fmla="*/ 15 h 31"/>
                <a:gd name="T18" fmla="*/ 15 w 15"/>
                <a:gd name="T19" fmla="*/ 12 h 31"/>
                <a:gd name="T20" fmla="*/ 15 w 15"/>
                <a:gd name="T21" fmla="*/ 10 h 31"/>
                <a:gd name="T22" fmla="*/ 15 w 15"/>
                <a:gd name="T23" fmla="*/ 10 h 31"/>
                <a:gd name="T24" fmla="*/ 15 w 15"/>
                <a:gd name="T25" fmla="*/ 8 h 31"/>
                <a:gd name="T26" fmla="*/ 15 w 15"/>
                <a:gd name="T27" fmla="*/ 8 h 31"/>
                <a:gd name="T28" fmla="*/ 15 w 15"/>
                <a:gd name="T29" fmla="*/ 5 h 31"/>
                <a:gd name="T30" fmla="*/ 15 w 15"/>
                <a:gd name="T31" fmla="*/ 5 h 31"/>
                <a:gd name="T32" fmla="*/ 12 w 15"/>
                <a:gd name="T33" fmla="*/ 5 h 31"/>
                <a:gd name="T34" fmla="*/ 12 w 15"/>
                <a:gd name="T35" fmla="*/ 3 h 31"/>
                <a:gd name="T36" fmla="*/ 12 w 15"/>
                <a:gd name="T37" fmla="*/ 3 h 31"/>
                <a:gd name="T38" fmla="*/ 10 w 15"/>
                <a:gd name="T39" fmla="*/ 3 h 31"/>
                <a:gd name="T40" fmla="*/ 7 w 15"/>
                <a:gd name="T41" fmla="*/ 0 h 31"/>
                <a:gd name="T42" fmla="*/ 7 w 15"/>
                <a:gd name="T43" fmla="*/ 3 h 31"/>
                <a:gd name="T44" fmla="*/ 5 w 15"/>
                <a:gd name="T45" fmla="*/ 5 h 31"/>
                <a:gd name="T46" fmla="*/ 5 w 15"/>
                <a:gd name="T47" fmla="*/ 10 h 31"/>
                <a:gd name="T48" fmla="*/ 3 w 15"/>
                <a:gd name="T49" fmla="*/ 12 h 31"/>
                <a:gd name="T50" fmla="*/ 0 w 15"/>
                <a:gd name="T51" fmla="*/ 15 h 31"/>
                <a:gd name="T52" fmla="*/ 0 w 15"/>
                <a:gd name="T53" fmla="*/ 17 h 31"/>
                <a:gd name="T54" fmla="*/ 0 w 15"/>
                <a:gd name="T55" fmla="*/ 17 h 31"/>
                <a:gd name="T56" fmla="*/ 0 w 15"/>
                <a:gd name="T57" fmla="*/ 19 h 31"/>
                <a:gd name="T58" fmla="*/ 0 w 15"/>
                <a:gd name="T59" fmla="*/ 22 h 31"/>
                <a:gd name="T60" fmla="*/ 0 w 15"/>
                <a:gd name="T61" fmla="*/ 22 h 31"/>
                <a:gd name="T62" fmla="*/ 3 w 15"/>
                <a:gd name="T63" fmla="*/ 24 h 31"/>
                <a:gd name="T64" fmla="*/ 0 w 15"/>
                <a:gd name="T65" fmla="*/ 24 h 31"/>
                <a:gd name="T66" fmla="*/ 3 w 15"/>
                <a:gd name="T67" fmla="*/ 26 h 31"/>
                <a:gd name="T68" fmla="*/ 3 w 15"/>
                <a:gd name="T69" fmla="*/ 26 h 31"/>
                <a:gd name="T70" fmla="*/ 0 w 15"/>
                <a:gd name="T71" fmla="*/ 29 h 31"/>
                <a:gd name="T72" fmla="*/ 3 w 15"/>
                <a:gd name="T73" fmla="*/ 31 h 31"/>
                <a:gd name="T74" fmla="*/ 5 w 15"/>
                <a:gd name="T7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31">
                  <a:moveTo>
                    <a:pt x="5" y="31"/>
                  </a:moveTo>
                  <a:lnTo>
                    <a:pt x="12" y="29"/>
                  </a:lnTo>
                  <a:lnTo>
                    <a:pt x="12" y="29"/>
                  </a:lnTo>
                  <a:lnTo>
                    <a:pt x="12" y="26"/>
                  </a:lnTo>
                  <a:lnTo>
                    <a:pt x="15" y="24"/>
                  </a:lnTo>
                  <a:lnTo>
                    <a:pt x="15" y="22"/>
                  </a:lnTo>
                  <a:lnTo>
                    <a:pt x="15" y="17"/>
                  </a:lnTo>
                  <a:lnTo>
                    <a:pt x="15" y="17"/>
                  </a:lnTo>
                  <a:lnTo>
                    <a:pt x="15" y="15"/>
                  </a:lnTo>
                  <a:lnTo>
                    <a:pt x="15" y="12"/>
                  </a:lnTo>
                  <a:lnTo>
                    <a:pt x="15" y="10"/>
                  </a:lnTo>
                  <a:lnTo>
                    <a:pt x="15" y="10"/>
                  </a:lnTo>
                  <a:lnTo>
                    <a:pt x="15" y="8"/>
                  </a:lnTo>
                  <a:lnTo>
                    <a:pt x="15" y="8"/>
                  </a:lnTo>
                  <a:lnTo>
                    <a:pt x="15" y="5"/>
                  </a:lnTo>
                  <a:lnTo>
                    <a:pt x="15" y="5"/>
                  </a:lnTo>
                  <a:lnTo>
                    <a:pt x="12" y="5"/>
                  </a:lnTo>
                  <a:lnTo>
                    <a:pt x="12" y="3"/>
                  </a:lnTo>
                  <a:lnTo>
                    <a:pt x="12" y="3"/>
                  </a:lnTo>
                  <a:lnTo>
                    <a:pt x="10" y="3"/>
                  </a:lnTo>
                  <a:lnTo>
                    <a:pt x="7" y="0"/>
                  </a:lnTo>
                  <a:lnTo>
                    <a:pt x="7" y="3"/>
                  </a:lnTo>
                  <a:lnTo>
                    <a:pt x="5" y="5"/>
                  </a:lnTo>
                  <a:lnTo>
                    <a:pt x="5" y="10"/>
                  </a:lnTo>
                  <a:lnTo>
                    <a:pt x="3" y="12"/>
                  </a:lnTo>
                  <a:lnTo>
                    <a:pt x="0" y="15"/>
                  </a:lnTo>
                  <a:lnTo>
                    <a:pt x="0" y="17"/>
                  </a:lnTo>
                  <a:lnTo>
                    <a:pt x="0" y="17"/>
                  </a:lnTo>
                  <a:lnTo>
                    <a:pt x="0" y="19"/>
                  </a:lnTo>
                  <a:lnTo>
                    <a:pt x="0" y="22"/>
                  </a:lnTo>
                  <a:lnTo>
                    <a:pt x="0" y="22"/>
                  </a:lnTo>
                  <a:lnTo>
                    <a:pt x="3" y="24"/>
                  </a:lnTo>
                  <a:lnTo>
                    <a:pt x="0" y="24"/>
                  </a:lnTo>
                  <a:lnTo>
                    <a:pt x="3" y="26"/>
                  </a:lnTo>
                  <a:lnTo>
                    <a:pt x="3" y="26"/>
                  </a:lnTo>
                  <a:lnTo>
                    <a:pt x="0" y="29"/>
                  </a:lnTo>
                  <a:lnTo>
                    <a:pt x="3" y="31"/>
                  </a:lnTo>
                  <a:lnTo>
                    <a:pt x="5" y="3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4" name="Freeform 846">
              <a:extLst>
                <a:ext uri="{FF2B5EF4-FFF2-40B4-BE49-F238E27FC236}">
                  <a16:creationId xmlns:a16="http://schemas.microsoft.com/office/drawing/2014/main" id="{ED7B9970-399C-4B0E-B8F3-0A322A66005B}"/>
                </a:ext>
              </a:extLst>
            </p:cNvPr>
            <p:cNvSpPr>
              <a:spLocks/>
            </p:cNvSpPr>
            <p:nvPr/>
          </p:nvSpPr>
          <p:spPr bwMode="auto">
            <a:xfrm>
              <a:off x="2680539" y="3782977"/>
              <a:ext cx="23813" cy="49212"/>
            </a:xfrm>
            <a:custGeom>
              <a:avLst/>
              <a:gdLst>
                <a:gd name="T0" fmla="*/ 5 w 15"/>
                <a:gd name="T1" fmla="*/ 31 h 31"/>
                <a:gd name="T2" fmla="*/ 12 w 15"/>
                <a:gd name="T3" fmla="*/ 29 h 31"/>
                <a:gd name="T4" fmla="*/ 12 w 15"/>
                <a:gd name="T5" fmla="*/ 29 h 31"/>
                <a:gd name="T6" fmla="*/ 12 w 15"/>
                <a:gd name="T7" fmla="*/ 26 h 31"/>
                <a:gd name="T8" fmla="*/ 15 w 15"/>
                <a:gd name="T9" fmla="*/ 24 h 31"/>
                <a:gd name="T10" fmla="*/ 15 w 15"/>
                <a:gd name="T11" fmla="*/ 22 h 31"/>
                <a:gd name="T12" fmla="*/ 15 w 15"/>
                <a:gd name="T13" fmla="*/ 17 h 31"/>
                <a:gd name="T14" fmla="*/ 15 w 15"/>
                <a:gd name="T15" fmla="*/ 17 h 31"/>
                <a:gd name="T16" fmla="*/ 15 w 15"/>
                <a:gd name="T17" fmla="*/ 15 h 31"/>
                <a:gd name="T18" fmla="*/ 15 w 15"/>
                <a:gd name="T19" fmla="*/ 12 h 31"/>
                <a:gd name="T20" fmla="*/ 15 w 15"/>
                <a:gd name="T21" fmla="*/ 10 h 31"/>
                <a:gd name="T22" fmla="*/ 15 w 15"/>
                <a:gd name="T23" fmla="*/ 10 h 31"/>
                <a:gd name="T24" fmla="*/ 15 w 15"/>
                <a:gd name="T25" fmla="*/ 8 h 31"/>
                <a:gd name="T26" fmla="*/ 15 w 15"/>
                <a:gd name="T27" fmla="*/ 8 h 31"/>
                <a:gd name="T28" fmla="*/ 15 w 15"/>
                <a:gd name="T29" fmla="*/ 5 h 31"/>
                <a:gd name="T30" fmla="*/ 15 w 15"/>
                <a:gd name="T31" fmla="*/ 5 h 31"/>
                <a:gd name="T32" fmla="*/ 12 w 15"/>
                <a:gd name="T33" fmla="*/ 5 h 31"/>
                <a:gd name="T34" fmla="*/ 12 w 15"/>
                <a:gd name="T35" fmla="*/ 3 h 31"/>
                <a:gd name="T36" fmla="*/ 12 w 15"/>
                <a:gd name="T37" fmla="*/ 3 h 31"/>
                <a:gd name="T38" fmla="*/ 10 w 15"/>
                <a:gd name="T39" fmla="*/ 3 h 31"/>
                <a:gd name="T40" fmla="*/ 7 w 15"/>
                <a:gd name="T41" fmla="*/ 0 h 31"/>
                <a:gd name="T42" fmla="*/ 7 w 15"/>
                <a:gd name="T43" fmla="*/ 3 h 31"/>
                <a:gd name="T44" fmla="*/ 5 w 15"/>
                <a:gd name="T45" fmla="*/ 5 h 31"/>
                <a:gd name="T46" fmla="*/ 5 w 15"/>
                <a:gd name="T47" fmla="*/ 10 h 31"/>
                <a:gd name="T48" fmla="*/ 3 w 15"/>
                <a:gd name="T49" fmla="*/ 12 h 31"/>
                <a:gd name="T50" fmla="*/ 0 w 15"/>
                <a:gd name="T51" fmla="*/ 15 h 31"/>
                <a:gd name="T52" fmla="*/ 0 w 15"/>
                <a:gd name="T53" fmla="*/ 17 h 31"/>
                <a:gd name="T54" fmla="*/ 0 w 15"/>
                <a:gd name="T55" fmla="*/ 17 h 31"/>
                <a:gd name="T56" fmla="*/ 0 w 15"/>
                <a:gd name="T57" fmla="*/ 19 h 31"/>
                <a:gd name="T58" fmla="*/ 0 w 15"/>
                <a:gd name="T59" fmla="*/ 22 h 31"/>
                <a:gd name="T60" fmla="*/ 0 w 15"/>
                <a:gd name="T61" fmla="*/ 22 h 31"/>
                <a:gd name="T62" fmla="*/ 3 w 15"/>
                <a:gd name="T63" fmla="*/ 24 h 31"/>
                <a:gd name="T64" fmla="*/ 0 w 15"/>
                <a:gd name="T65" fmla="*/ 24 h 31"/>
                <a:gd name="T66" fmla="*/ 3 w 15"/>
                <a:gd name="T67" fmla="*/ 26 h 31"/>
                <a:gd name="T68" fmla="*/ 3 w 15"/>
                <a:gd name="T69" fmla="*/ 26 h 31"/>
                <a:gd name="T70" fmla="*/ 0 w 15"/>
                <a:gd name="T71" fmla="*/ 29 h 31"/>
                <a:gd name="T72" fmla="*/ 3 w 15"/>
                <a:gd name="T73" fmla="*/ 31 h 31"/>
                <a:gd name="T74" fmla="*/ 5 w 15"/>
                <a:gd name="T7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31">
                  <a:moveTo>
                    <a:pt x="5" y="31"/>
                  </a:moveTo>
                  <a:lnTo>
                    <a:pt x="12" y="29"/>
                  </a:lnTo>
                  <a:lnTo>
                    <a:pt x="12" y="29"/>
                  </a:lnTo>
                  <a:lnTo>
                    <a:pt x="12" y="26"/>
                  </a:lnTo>
                  <a:lnTo>
                    <a:pt x="15" y="24"/>
                  </a:lnTo>
                  <a:lnTo>
                    <a:pt x="15" y="22"/>
                  </a:lnTo>
                  <a:lnTo>
                    <a:pt x="15" y="17"/>
                  </a:lnTo>
                  <a:lnTo>
                    <a:pt x="15" y="17"/>
                  </a:lnTo>
                  <a:lnTo>
                    <a:pt x="15" y="15"/>
                  </a:lnTo>
                  <a:lnTo>
                    <a:pt x="15" y="12"/>
                  </a:lnTo>
                  <a:lnTo>
                    <a:pt x="15" y="10"/>
                  </a:lnTo>
                  <a:lnTo>
                    <a:pt x="15" y="10"/>
                  </a:lnTo>
                  <a:lnTo>
                    <a:pt x="15" y="8"/>
                  </a:lnTo>
                  <a:lnTo>
                    <a:pt x="15" y="8"/>
                  </a:lnTo>
                  <a:lnTo>
                    <a:pt x="15" y="5"/>
                  </a:lnTo>
                  <a:lnTo>
                    <a:pt x="15" y="5"/>
                  </a:lnTo>
                  <a:lnTo>
                    <a:pt x="12" y="5"/>
                  </a:lnTo>
                  <a:lnTo>
                    <a:pt x="12" y="3"/>
                  </a:lnTo>
                  <a:lnTo>
                    <a:pt x="12" y="3"/>
                  </a:lnTo>
                  <a:lnTo>
                    <a:pt x="10" y="3"/>
                  </a:lnTo>
                  <a:lnTo>
                    <a:pt x="7" y="0"/>
                  </a:lnTo>
                  <a:lnTo>
                    <a:pt x="7" y="3"/>
                  </a:lnTo>
                  <a:lnTo>
                    <a:pt x="5" y="5"/>
                  </a:lnTo>
                  <a:lnTo>
                    <a:pt x="5" y="10"/>
                  </a:lnTo>
                  <a:lnTo>
                    <a:pt x="3" y="12"/>
                  </a:lnTo>
                  <a:lnTo>
                    <a:pt x="0" y="15"/>
                  </a:lnTo>
                  <a:lnTo>
                    <a:pt x="0" y="17"/>
                  </a:lnTo>
                  <a:lnTo>
                    <a:pt x="0" y="17"/>
                  </a:lnTo>
                  <a:lnTo>
                    <a:pt x="0" y="19"/>
                  </a:lnTo>
                  <a:lnTo>
                    <a:pt x="0" y="22"/>
                  </a:lnTo>
                  <a:lnTo>
                    <a:pt x="0" y="22"/>
                  </a:lnTo>
                  <a:lnTo>
                    <a:pt x="3" y="24"/>
                  </a:lnTo>
                  <a:lnTo>
                    <a:pt x="0" y="24"/>
                  </a:lnTo>
                  <a:lnTo>
                    <a:pt x="3" y="26"/>
                  </a:lnTo>
                  <a:lnTo>
                    <a:pt x="3" y="26"/>
                  </a:lnTo>
                  <a:lnTo>
                    <a:pt x="0" y="29"/>
                  </a:lnTo>
                  <a:lnTo>
                    <a:pt x="3" y="31"/>
                  </a:lnTo>
                  <a:lnTo>
                    <a:pt x="5" y="3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5" name="Freeform 849">
              <a:extLst>
                <a:ext uri="{FF2B5EF4-FFF2-40B4-BE49-F238E27FC236}">
                  <a16:creationId xmlns:a16="http://schemas.microsoft.com/office/drawing/2014/main" id="{547B6FDE-FA61-4AFE-B384-83F2CF1A6CF8}"/>
                </a:ext>
              </a:extLst>
            </p:cNvPr>
            <p:cNvSpPr>
              <a:spLocks/>
            </p:cNvSpPr>
            <p:nvPr/>
          </p:nvSpPr>
          <p:spPr bwMode="auto">
            <a:xfrm>
              <a:off x="1132729" y="4113178"/>
              <a:ext cx="209550" cy="153988"/>
            </a:xfrm>
            <a:custGeom>
              <a:avLst/>
              <a:gdLst>
                <a:gd name="T0" fmla="*/ 78 w 132"/>
                <a:gd name="T1" fmla="*/ 3 h 97"/>
                <a:gd name="T2" fmla="*/ 59 w 132"/>
                <a:gd name="T3" fmla="*/ 15 h 97"/>
                <a:gd name="T4" fmla="*/ 35 w 132"/>
                <a:gd name="T5" fmla="*/ 29 h 97"/>
                <a:gd name="T6" fmla="*/ 26 w 132"/>
                <a:gd name="T7" fmla="*/ 31 h 97"/>
                <a:gd name="T8" fmla="*/ 21 w 132"/>
                <a:gd name="T9" fmla="*/ 38 h 97"/>
                <a:gd name="T10" fmla="*/ 14 w 132"/>
                <a:gd name="T11" fmla="*/ 52 h 97"/>
                <a:gd name="T12" fmla="*/ 5 w 132"/>
                <a:gd name="T13" fmla="*/ 59 h 97"/>
                <a:gd name="T14" fmla="*/ 0 w 132"/>
                <a:gd name="T15" fmla="*/ 71 h 97"/>
                <a:gd name="T16" fmla="*/ 0 w 132"/>
                <a:gd name="T17" fmla="*/ 83 h 97"/>
                <a:gd name="T18" fmla="*/ 2 w 132"/>
                <a:gd name="T19" fmla="*/ 85 h 97"/>
                <a:gd name="T20" fmla="*/ 5 w 132"/>
                <a:gd name="T21" fmla="*/ 88 h 97"/>
                <a:gd name="T22" fmla="*/ 5 w 132"/>
                <a:gd name="T23" fmla="*/ 90 h 97"/>
                <a:gd name="T24" fmla="*/ 7 w 132"/>
                <a:gd name="T25" fmla="*/ 92 h 97"/>
                <a:gd name="T26" fmla="*/ 12 w 132"/>
                <a:gd name="T27" fmla="*/ 92 h 97"/>
                <a:gd name="T28" fmla="*/ 12 w 132"/>
                <a:gd name="T29" fmla="*/ 92 h 97"/>
                <a:gd name="T30" fmla="*/ 16 w 132"/>
                <a:gd name="T31" fmla="*/ 92 h 97"/>
                <a:gd name="T32" fmla="*/ 26 w 132"/>
                <a:gd name="T33" fmla="*/ 90 h 97"/>
                <a:gd name="T34" fmla="*/ 35 w 132"/>
                <a:gd name="T35" fmla="*/ 90 h 97"/>
                <a:gd name="T36" fmla="*/ 38 w 132"/>
                <a:gd name="T37" fmla="*/ 92 h 97"/>
                <a:gd name="T38" fmla="*/ 42 w 132"/>
                <a:gd name="T39" fmla="*/ 97 h 97"/>
                <a:gd name="T40" fmla="*/ 45 w 132"/>
                <a:gd name="T41" fmla="*/ 97 h 97"/>
                <a:gd name="T42" fmla="*/ 45 w 132"/>
                <a:gd name="T43" fmla="*/ 90 h 97"/>
                <a:gd name="T44" fmla="*/ 42 w 132"/>
                <a:gd name="T45" fmla="*/ 83 h 97"/>
                <a:gd name="T46" fmla="*/ 40 w 132"/>
                <a:gd name="T47" fmla="*/ 76 h 97"/>
                <a:gd name="T48" fmla="*/ 47 w 132"/>
                <a:gd name="T49" fmla="*/ 71 h 97"/>
                <a:gd name="T50" fmla="*/ 64 w 132"/>
                <a:gd name="T51" fmla="*/ 71 h 97"/>
                <a:gd name="T52" fmla="*/ 78 w 132"/>
                <a:gd name="T53" fmla="*/ 71 h 97"/>
                <a:gd name="T54" fmla="*/ 87 w 132"/>
                <a:gd name="T55" fmla="*/ 69 h 97"/>
                <a:gd name="T56" fmla="*/ 101 w 132"/>
                <a:gd name="T57" fmla="*/ 71 h 97"/>
                <a:gd name="T58" fmla="*/ 106 w 132"/>
                <a:gd name="T59" fmla="*/ 71 h 97"/>
                <a:gd name="T60" fmla="*/ 108 w 132"/>
                <a:gd name="T61" fmla="*/ 69 h 97"/>
                <a:gd name="T62" fmla="*/ 111 w 132"/>
                <a:gd name="T63" fmla="*/ 66 h 97"/>
                <a:gd name="T64" fmla="*/ 116 w 132"/>
                <a:gd name="T65" fmla="*/ 62 h 97"/>
                <a:gd name="T66" fmla="*/ 123 w 132"/>
                <a:gd name="T67" fmla="*/ 62 h 97"/>
                <a:gd name="T68" fmla="*/ 130 w 132"/>
                <a:gd name="T69" fmla="*/ 59 h 97"/>
                <a:gd name="T70" fmla="*/ 132 w 132"/>
                <a:gd name="T71" fmla="*/ 57 h 97"/>
                <a:gd name="T72" fmla="*/ 132 w 132"/>
                <a:gd name="T73" fmla="*/ 55 h 97"/>
                <a:gd name="T74" fmla="*/ 127 w 132"/>
                <a:gd name="T75" fmla="*/ 48 h 97"/>
                <a:gd name="T76" fmla="*/ 130 w 132"/>
                <a:gd name="T77" fmla="*/ 45 h 97"/>
                <a:gd name="T78" fmla="*/ 127 w 132"/>
                <a:gd name="T79" fmla="*/ 41 h 97"/>
                <a:gd name="T80" fmla="*/ 123 w 132"/>
                <a:gd name="T81" fmla="*/ 43 h 97"/>
                <a:gd name="T82" fmla="*/ 118 w 132"/>
                <a:gd name="T83" fmla="*/ 41 h 97"/>
                <a:gd name="T84" fmla="*/ 111 w 132"/>
                <a:gd name="T85" fmla="*/ 33 h 97"/>
                <a:gd name="T86" fmla="*/ 101 w 132"/>
                <a:gd name="T87" fmla="*/ 22 h 97"/>
                <a:gd name="T88" fmla="*/ 97 w 132"/>
                <a:gd name="T89" fmla="*/ 12 h 97"/>
                <a:gd name="T90" fmla="*/ 92 w 132"/>
                <a:gd name="T91" fmla="*/ 7 h 97"/>
                <a:gd name="T92" fmla="*/ 94 w 132"/>
                <a:gd name="T9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7">
                  <a:moveTo>
                    <a:pt x="94" y="0"/>
                  </a:moveTo>
                  <a:lnTo>
                    <a:pt x="82" y="0"/>
                  </a:lnTo>
                  <a:lnTo>
                    <a:pt x="78" y="3"/>
                  </a:lnTo>
                  <a:lnTo>
                    <a:pt x="75" y="3"/>
                  </a:lnTo>
                  <a:lnTo>
                    <a:pt x="71" y="7"/>
                  </a:lnTo>
                  <a:lnTo>
                    <a:pt x="59" y="15"/>
                  </a:lnTo>
                  <a:lnTo>
                    <a:pt x="54" y="22"/>
                  </a:lnTo>
                  <a:lnTo>
                    <a:pt x="47" y="24"/>
                  </a:lnTo>
                  <a:lnTo>
                    <a:pt x="35" y="29"/>
                  </a:lnTo>
                  <a:lnTo>
                    <a:pt x="33" y="29"/>
                  </a:lnTo>
                  <a:lnTo>
                    <a:pt x="28" y="29"/>
                  </a:lnTo>
                  <a:lnTo>
                    <a:pt x="26" y="31"/>
                  </a:lnTo>
                  <a:lnTo>
                    <a:pt x="23" y="31"/>
                  </a:lnTo>
                  <a:lnTo>
                    <a:pt x="21" y="33"/>
                  </a:lnTo>
                  <a:lnTo>
                    <a:pt x="21" y="38"/>
                  </a:lnTo>
                  <a:lnTo>
                    <a:pt x="19" y="43"/>
                  </a:lnTo>
                  <a:lnTo>
                    <a:pt x="16" y="48"/>
                  </a:lnTo>
                  <a:lnTo>
                    <a:pt x="14" y="52"/>
                  </a:lnTo>
                  <a:lnTo>
                    <a:pt x="9" y="55"/>
                  </a:lnTo>
                  <a:lnTo>
                    <a:pt x="7" y="57"/>
                  </a:lnTo>
                  <a:lnTo>
                    <a:pt x="5" y="59"/>
                  </a:lnTo>
                  <a:lnTo>
                    <a:pt x="5" y="62"/>
                  </a:lnTo>
                  <a:lnTo>
                    <a:pt x="5" y="64"/>
                  </a:lnTo>
                  <a:lnTo>
                    <a:pt x="0" y="71"/>
                  </a:lnTo>
                  <a:lnTo>
                    <a:pt x="0" y="74"/>
                  </a:lnTo>
                  <a:lnTo>
                    <a:pt x="0" y="78"/>
                  </a:lnTo>
                  <a:lnTo>
                    <a:pt x="0" y="83"/>
                  </a:lnTo>
                  <a:lnTo>
                    <a:pt x="2" y="83"/>
                  </a:lnTo>
                  <a:lnTo>
                    <a:pt x="2" y="83"/>
                  </a:lnTo>
                  <a:lnTo>
                    <a:pt x="2" y="85"/>
                  </a:lnTo>
                  <a:lnTo>
                    <a:pt x="2" y="85"/>
                  </a:lnTo>
                  <a:lnTo>
                    <a:pt x="2" y="85"/>
                  </a:lnTo>
                  <a:lnTo>
                    <a:pt x="5" y="88"/>
                  </a:lnTo>
                  <a:lnTo>
                    <a:pt x="5" y="88"/>
                  </a:lnTo>
                  <a:lnTo>
                    <a:pt x="5" y="88"/>
                  </a:lnTo>
                  <a:lnTo>
                    <a:pt x="5" y="90"/>
                  </a:lnTo>
                  <a:lnTo>
                    <a:pt x="7" y="90"/>
                  </a:lnTo>
                  <a:lnTo>
                    <a:pt x="7" y="90"/>
                  </a:lnTo>
                  <a:lnTo>
                    <a:pt x="7" y="92"/>
                  </a:lnTo>
                  <a:lnTo>
                    <a:pt x="9" y="92"/>
                  </a:lnTo>
                  <a:lnTo>
                    <a:pt x="9" y="92"/>
                  </a:lnTo>
                  <a:lnTo>
                    <a:pt x="12" y="92"/>
                  </a:lnTo>
                  <a:lnTo>
                    <a:pt x="12" y="92"/>
                  </a:lnTo>
                  <a:lnTo>
                    <a:pt x="12" y="92"/>
                  </a:lnTo>
                  <a:lnTo>
                    <a:pt x="12" y="92"/>
                  </a:lnTo>
                  <a:lnTo>
                    <a:pt x="16" y="95"/>
                  </a:lnTo>
                  <a:lnTo>
                    <a:pt x="16" y="95"/>
                  </a:lnTo>
                  <a:lnTo>
                    <a:pt x="16" y="92"/>
                  </a:lnTo>
                  <a:lnTo>
                    <a:pt x="19" y="92"/>
                  </a:lnTo>
                  <a:lnTo>
                    <a:pt x="21" y="90"/>
                  </a:lnTo>
                  <a:lnTo>
                    <a:pt x="26" y="90"/>
                  </a:lnTo>
                  <a:lnTo>
                    <a:pt x="28" y="88"/>
                  </a:lnTo>
                  <a:lnTo>
                    <a:pt x="30" y="88"/>
                  </a:lnTo>
                  <a:lnTo>
                    <a:pt x="35" y="90"/>
                  </a:lnTo>
                  <a:lnTo>
                    <a:pt x="35" y="88"/>
                  </a:lnTo>
                  <a:lnTo>
                    <a:pt x="35" y="88"/>
                  </a:lnTo>
                  <a:lnTo>
                    <a:pt x="38" y="92"/>
                  </a:lnTo>
                  <a:lnTo>
                    <a:pt x="40" y="92"/>
                  </a:lnTo>
                  <a:lnTo>
                    <a:pt x="40" y="95"/>
                  </a:lnTo>
                  <a:lnTo>
                    <a:pt x="42" y="97"/>
                  </a:lnTo>
                  <a:lnTo>
                    <a:pt x="42" y="97"/>
                  </a:lnTo>
                  <a:lnTo>
                    <a:pt x="45" y="97"/>
                  </a:lnTo>
                  <a:lnTo>
                    <a:pt x="45" y="97"/>
                  </a:lnTo>
                  <a:lnTo>
                    <a:pt x="45" y="95"/>
                  </a:lnTo>
                  <a:lnTo>
                    <a:pt x="45" y="92"/>
                  </a:lnTo>
                  <a:lnTo>
                    <a:pt x="45" y="90"/>
                  </a:lnTo>
                  <a:lnTo>
                    <a:pt x="42" y="85"/>
                  </a:lnTo>
                  <a:lnTo>
                    <a:pt x="42" y="83"/>
                  </a:lnTo>
                  <a:lnTo>
                    <a:pt x="42" y="83"/>
                  </a:lnTo>
                  <a:lnTo>
                    <a:pt x="42" y="81"/>
                  </a:lnTo>
                  <a:lnTo>
                    <a:pt x="42" y="78"/>
                  </a:lnTo>
                  <a:lnTo>
                    <a:pt x="40" y="76"/>
                  </a:lnTo>
                  <a:lnTo>
                    <a:pt x="40" y="74"/>
                  </a:lnTo>
                  <a:lnTo>
                    <a:pt x="42" y="71"/>
                  </a:lnTo>
                  <a:lnTo>
                    <a:pt x="47" y="71"/>
                  </a:lnTo>
                  <a:lnTo>
                    <a:pt x="52" y="71"/>
                  </a:lnTo>
                  <a:lnTo>
                    <a:pt x="54" y="71"/>
                  </a:lnTo>
                  <a:lnTo>
                    <a:pt x="64" y="71"/>
                  </a:lnTo>
                  <a:lnTo>
                    <a:pt x="71" y="71"/>
                  </a:lnTo>
                  <a:lnTo>
                    <a:pt x="78" y="71"/>
                  </a:lnTo>
                  <a:lnTo>
                    <a:pt x="78" y="71"/>
                  </a:lnTo>
                  <a:lnTo>
                    <a:pt x="82" y="69"/>
                  </a:lnTo>
                  <a:lnTo>
                    <a:pt x="87" y="69"/>
                  </a:lnTo>
                  <a:lnTo>
                    <a:pt x="87" y="69"/>
                  </a:lnTo>
                  <a:lnTo>
                    <a:pt x="99" y="71"/>
                  </a:lnTo>
                  <a:lnTo>
                    <a:pt x="99" y="71"/>
                  </a:lnTo>
                  <a:lnTo>
                    <a:pt x="101" y="71"/>
                  </a:lnTo>
                  <a:lnTo>
                    <a:pt x="101" y="71"/>
                  </a:lnTo>
                  <a:lnTo>
                    <a:pt x="106" y="71"/>
                  </a:lnTo>
                  <a:lnTo>
                    <a:pt x="106" y="71"/>
                  </a:lnTo>
                  <a:lnTo>
                    <a:pt x="108" y="69"/>
                  </a:lnTo>
                  <a:lnTo>
                    <a:pt x="108" y="69"/>
                  </a:lnTo>
                  <a:lnTo>
                    <a:pt x="108" y="69"/>
                  </a:lnTo>
                  <a:lnTo>
                    <a:pt x="111" y="66"/>
                  </a:lnTo>
                  <a:lnTo>
                    <a:pt x="111" y="66"/>
                  </a:lnTo>
                  <a:lnTo>
                    <a:pt x="111" y="66"/>
                  </a:lnTo>
                  <a:lnTo>
                    <a:pt x="113" y="66"/>
                  </a:lnTo>
                  <a:lnTo>
                    <a:pt x="116" y="62"/>
                  </a:lnTo>
                  <a:lnTo>
                    <a:pt x="116" y="62"/>
                  </a:lnTo>
                  <a:lnTo>
                    <a:pt x="118" y="62"/>
                  </a:lnTo>
                  <a:lnTo>
                    <a:pt x="120" y="62"/>
                  </a:lnTo>
                  <a:lnTo>
                    <a:pt x="123" y="62"/>
                  </a:lnTo>
                  <a:lnTo>
                    <a:pt x="125" y="64"/>
                  </a:lnTo>
                  <a:lnTo>
                    <a:pt x="127" y="62"/>
                  </a:lnTo>
                  <a:lnTo>
                    <a:pt x="130" y="59"/>
                  </a:lnTo>
                  <a:lnTo>
                    <a:pt x="132" y="57"/>
                  </a:lnTo>
                  <a:lnTo>
                    <a:pt x="132" y="57"/>
                  </a:lnTo>
                  <a:lnTo>
                    <a:pt x="132" y="57"/>
                  </a:lnTo>
                  <a:lnTo>
                    <a:pt x="132" y="55"/>
                  </a:lnTo>
                  <a:lnTo>
                    <a:pt x="132" y="55"/>
                  </a:lnTo>
                  <a:lnTo>
                    <a:pt x="132" y="55"/>
                  </a:lnTo>
                  <a:lnTo>
                    <a:pt x="130" y="50"/>
                  </a:lnTo>
                  <a:lnTo>
                    <a:pt x="127" y="48"/>
                  </a:lnTo>
                  <a:lnTo>
                    <a:pt x="127" y="48"/>
                  </a:lnTo>
                  <a:lnTo>
                    <a:pt x="127" y="45"/>
                  </a:lnTo>
                  <a:lnTo>
                    <a:pt x="127" y="45"/>
                  </a:lnTo>
                  <a:lnTo>
                    <a:pt x="130" y="45"/>
                  </a:lnTo>
                  <a:lnTo>
                    <a:pt x="130" y="45"/>
                  </a:lnTo>
                  <a:lnTo>
                    <a:pt x="130" y="45"/>
                  </a:lnTo>
                  <a:lnTo>
                    <a:pt x="127" y="41"/>
                  </a:lnTo>
                  <a:lnTo>
                    <a:pt x="127" y="41"/>
                  </a:lnTo>
                  <a:lnTo>
                    <a:pt x="125" y="41"/>
                  </a:lnTo>
                  <a:lnTo>
                    <a:pt x="123" y="43"/>
                  </a:lnTo>
                  <a:lnTo>
                    <a:pt x="123" y="43"/>
                  </a:lnTo>
                  <a:lnTo>
                    <a:pt x="120" y="43"/>
                  </a:lnTo>
                  <a:lnTo>
                    <a:pt x="118" y="41"/>
                  </a:lnTo>
                  <a:lnTo>
                    <a:pt x="116" y="41"/>
                  </a:lnTo>
                  <a:lnTo>
                    <a:pt x="111" y="36"/>
                  </a:lnTo>
                  <a:lnTo>
                    <a:pt x="111" y="33"/>
                  </a:lnTo>
                  <a:lnTo>
                    <a:pt x="108" y="29"/>
                  </a:lnTo>
                  <a:lnTo>
                    <a:pt x="106" y="26"/>
                  </a:lnTo>
                  <a:lnTo>
                    <a:pt x="101" y="22"/>
                  </a:lnTo>
                  <a:lnTo>
                    <a:pt x="97" y="17"/>
                  </a:lnTo>
                  <a:lnTo>
                    <a:pt x="97" y="15"/>
                  </a:lnTo>
                  <a:lnTo>
                    <a:pt x="97" y="12"/>
                  </a:lnTo>
                  <a:lnTo>
                    <a:pt x="97" y="12"/>
                  </a:lnTo>
                  <a:lnTo>
                    <a:pt x="92" y="10"/>
                  </a:lnTo>
                  <a:lnTo>
                    <a:pt x="92" y="7"/>
                  </a:lnTo>
                  <a:lnTo>
                    <a:pt x="94" y="5"/>
                  </a:lnTo>
                  <a:lnTo>
                    <a:pt x="94" y="0"/>
                  </a:lnTo>
                  <a:lnTo>
                    <a:pt x="9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6" name="Freeform 850">
              <a:extLst>
                <a:ext uri="{FF2B5EF4-FFF2-40B4-BE49-F238E27FC236}">
                  <a16:creationId xmlns:a16="http://schemas.microsoft.com/office/drawing/2014/main" id="{249F04FB-3423-4216-BB46-EF2839161938}"/>
                </a:ext>
              </a:extLst>
            </p:cNvPr>
            <p:cNvSpPr>
              <a:spLocks/>
            </p:cNvSpPr>
            <p:nvPr/>
          </p:nvSpPr>
          <p:spPr bwMode="auto">
            <a:xfrm>
              <a:off x="1132729" y="4113178"/>
              <a:ext cx="209550" cy="153988"/>
            </a:xfrm>
            <a:custGeom>
              <a:avLst/>
              <a:gdLst>
                <a:gd name="T0" fmla="*/ 78 w 132"/>
                <a:gd name="T1" fmla="*/ 3 h 97"/>
                <a:gd name="T2" fmla="*/ 59 w 132"/>
                <a:gd name="T3" fmla="*/ 15 h 97"/>
                <a:gd name="T4" fmla="*/ 35 w 132"/>
                <a:gd name="T5" fmla="*/ 29 h 97"/>
                <a:gd name="T6" fmla="*/ 26 w 132"/>
                <a:gd name="T7" fmla="*/ 31 h 97"/>
                <a:gd name="T8" fmla="*/ 21 w 132"/>
                <a:gd name="T9" fmla="*/ 38 h 97"/>
                <a:gd name="T10" fmla="*/ 14 w 132"/>
                <a:gd name="T11" fmla="*/ 52 h 97"/>
                <a:gd name="T12" fmla="*/ 5 w 132"/>
                <a:gd name="T13" fmla="*/ 59 h 97"/>
                <a:gd name="T14" fmla="*/ 0 w 132"/>
                <a:gd name="T15" fmla="*/ 71 h 97"/>
                <a:gd name="T16" fmla="*/ 0 w 132"/>
                <a:gd name="T17" fmla="*/ 83 h 97"/>
                <a:gd name="T18" fmla="*/ 2 w 132"/>
                <a:gd name="T19" fmla="*/ 85 h 97"/>
                <a:gd name="T20" fmla="*/ 5 w 132"/>
                <a:gd name="T21" fmla="*/ 88 h 97"/>
                <a:gd name="T22" fmla="*/ 5 w 132"/>
                <a:gd name="T23" fmla="*/ 90 h 97"/>
                <a:gd name="T24" fmla="*/ 7 w 132"/>
                <a:gd name="T25" fmla="*/ 92 h 97"/>
                <a:gd name="T26" fmla="*/ 12 w 132"/>
                <a:gd name="T27" fmla="*/ 92 h 97"/>
                <a:gd name="T28" fmla="*/ 12 w 132"/>
                <a:gd name="T29" fmla="*/ 92 h 97"/>
                <a:gd name="T30" fmla="*/ 16 w 132"/>
                <a:gd name="T31" fmla="*/ 92 h 97"/>
                <a:gd name="T32" fmla="*/ 26 w 132"/>
                <a:gd name="T33" fmla="*/ 90 h 97"/>
                <a:gd name="T34" fmla="*/ 35 w 132"/>
                <a:gd name="T35" fmla="*/ 90 h 97"/>
                <a:gd name="T36" fmla="*/ 38 w 132"/>
                <a:gd name="T37" fmla="*/ 92 h 97"/>
                <a:gd name="T38" fmla="*/ 42 w 132"/>
                <a:gd name="T39" fmla="*/ 97 h 97"/>
                <a:gd name="T40" fmla="*/ 45 w 132"/>
                <a:gd name="T41" fmla="*/ 97 h 97"/>
                <a:gd name="T42" fmla="*/ 45 w 132"/>
                <a:gd name="T43" fmla="*/ 90 h 97"/>
                <a:gd name="T44" fmla="*/ 42 w 132"/>
                <a:gd name="T45" fmla="*/ 83 h 97"/>
                <a:gd name="T46" fmla="*/ 40 w 132"/>
                <a:gd name="T47" fmla="*/ 76 h 97"/>
                <a:gd name="T48" fmla="*/ 47 w 132"/>
                <a:gd name="T49" fmla="*/ 71 h 97"/>
                <a:gd name="T50" fmla="*/ 64 w 132"/>
                <a:gd name="T51" fmla="*/ 71 h 97"/>
                <a:gd name="T52" fmla="*/ 78 w 132"/>
                <a:gd name="T53" fmla="*/ 71 h 97"/>
                <a:gd name="T54" fmla="*/ 87 w 132"/>
                <a:gd name="T55" fmla="*/ 69 h 97"/>
                <a:gd name="T56" fmla="*/ 101 w 132"/>
                <a:gd name="T57" fmla="*/ 71 h 97"/>
                <a:gd name="T58" fmla="*/ 106 w 132"/>
                <a:gd name="T59" fmla="*/ 71 h 97"/>
                <a:gd name="T60" fmla="*/ 108 w 132"/>
                <a:gd name="T61" fmla="*/ 69 h 97"/>
                <a:gd name="T62" fmla="*/ 111 w 132"/>
                <a:gd name="T63" fmla="*/ 66 h 97"/>
                <a:gd name="T64" fmla="*/ 116 w 132"/>
                <a:gd name="T65" fmla="*/ 62 h 97"/>
                <a:gd name="T66" fmla="*/ 123 w 132"/>
                <a:gd name="T67" fmla="*/ 62 h 97"/>
                <a:gd name="T68" fmla="*/ 130 w 132"/>
                <a:gd name="T69" fmla="*/ 59 h 97"/>
                <a:gd name="T70" fmla="*/ 132 w 132"/>
                <a:gd name="T71" fmla="*/ 57 h 97"/>
                <a:gd name="T72" fmla="*/ 132 w 132"/>
                <a:gd name="T73" fmla="*/ 55 h 97"/>
                <a:gd name="T74" fmla="*/ 127 w 132"/>
                <a:gd name="T75" fmla="*/ 48 h 97"/>
                <a:gd name="T76" fmla="*/ 130 w 132"/>
                <a:gd name="T77" fmla="*/ 45 h 97"/>
                <a:gd name="T78" fmla="*/ 127 w 132"/>
                <a:gd name="T79" fmla="*/ 41 h 97"/>
                <a:gd name="T80" fmla="*/ 123 w 132"/>
                <a:gd name="T81" fmla="*/ 43 h 97"/>
                <a:gd name="T82" fmla="*/ 118 w 132"/>
                <a:gd name="T83" fmla="*/ 41 h 97"/>
                <a:gd name="T84" fmla="*/ 111 w 132"/>
                <a:gd name="T85" fmla="*/ 33 h 97"/>
                <a:gd name="T86" fmla="*/ 101 w 132"/>
                <a:gd name="T87" fmla="*/ 22 h 97"/>
                <a:gd name="T88" fmla="*/ 97 w 132"/>
                <a:gd name="T89" fmla="*/ 12 h 97"/>
                <a:gd name="T90" fmla="*/ 92 w 132"/>
                <a:gd name="T91" fmla="*/ 7 h 97"/>
                <a:gd name="T92" fmla="*/ 94 w 132"/>
                <a:gd name="T9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7">
                  <a:moveTo>
                    <a:pt x="94" y="0"/>
                  </a:moveTo>
                  <a:lnTo>
                    <a:pt x="82" y="0"/>
                  </a:lnTo>
                  <a:lnTo>
                    <a:pt x="78" y="3"/>
                  </a:lnTo>
                  <a:lnTo>
                    <a:pt x="75" y="3"/>
                  </a:lnTo>
                  <a:lnTo>
                    <a:pt x="71" y="7"/>
                  </a:lnTo>
                  <a:lnTo>
                    <a:pt x="59" y="15"/>
                  </a:lnTo>
                  <a:lnTo>
                    <a:pt x="54" y="22"/>
                  </a:lnTo>
                  <a:lnTo>
                    <a:pt x="47" y="24"/>
                  </a:lnTo>
                  <a:lnTo>
                    <a:pt x="35" y="29"/>
                  </a:lnTo>
                  <a:lnTo>
                    <a:pt x="33" y="29"/>
                  </a:lnTo>
                  <a:lnTo>
                    <a:pt x="28" y="29"/>
                  </a:lnTo>
                  <a:lnTo>
                    <a:pt x="26" y="31"/>
                  </a:lnTo>
                  <a:lnTo>
                    <a:pt x="23" y="31"/>
                  </a:lnTo>
                  <a:lnTo>
                    <a:pt x="21" y="33"/>
                  </a:lnTo>
                  <a:lnTo>
                    <a:pt x="21" y="38"/>
                  </a:lnTo>
                  <a:lnTo>
                    <a:pt x="19" y="43"/>
                  </a:lnTo>
                  <a:lnTo>
                    <a:pt x="16" y="48"/>
                  </a:lnTo>
                  <a:lnTo>
                    <a:pt x="14" y="52"/>
                  </a:lnTo>
                  <a:lnTo>
                    <a:pt x="9" y="55"/>
                  </a:lnTo>
                  <a:lnTo>
                    <a:pt x="7" y="57"/>
                  </a:lnTo>
                  <a:lnTo>
                    <a:pt x="5" y="59"/>
                  </a:lnTo>
                  <a:lnTo>
                    <a:pt x="5" y="62"/>
                  </a:lnTo>
                  <a:lnTo>
                    <a:pt x="5" y="64"/>
                  </a:lnTo>
                  <a:lnTo>
                    <a:pt x="0" y="71"/>
                  </a:lnTo>
                  <a:lnTo>
                    <a:pt x="0" y="74"/>
                  </a:lnTo>
                  <a:lnTo>
                    <a:pt x="0" y="78"/>
                  </a:lnTo>
                  <a:lnTo>
                    <a:pt x="0" y="83"/>
                  </a:lnTo>
                  <a:lnTo>
                    <a:pt x="2" y="83"/>
                  </a:lnTo>
                  <a:lnTo>
                    <a:pt x="2" y="83"/>
                  </a:lnTo>
                  <a:lnTo>
                    <a:pt x="2" y="85"/>
                  </a:lnTo>
                  <a:lnTo>
                    <a:pt x="2" y="85"/>
                  </a:lnTo>
                  <a:lnTo>
                    <a:pt x="2" y="85"/>
                  </a:lnTo>
                  <a:lnTo>
                    <a:pt x="5" y="88"/>
                  </a:lnTo>
                  <a:lnTo>
                    <a:pt x="5" y="88"/>
                  </a:lnTo>
                  <a:lnTo>
                    <a:pt x="5" y="88"/>
                  </a:lnTo>
                  <a:lnTo>
                    <a:pt x="5" y="90"/>
                  </a:lnTo>
                  <a:lnTo>
                    <a:pt x="7" y="90"/>
                  </a:lnTo>
                  <a:lnTo>
                    <a:pt x="7" y="90"/>
                  </a:lnTo>
                  <a:lnTo>
                    <a:pt x="7" y="92"/>
                  </a:lnTo>
                  <a:lnTo>
                    <a:pt x="9" y="92"/>
                  </a:lnTo>
                  <a:lnTo>
                    <a:pt x="9" y="92"/>
                  </a:lnTo>
                  <a:lnTo>
                    <a:pt x="12" y="92"/>
                  </a:lnTo>
                  <a:lnTo>
                    <a:pt x="12" y="92"/>
                  </a:lnTo>
                  <a:lnTo>
                    <a:pt x="12" y="92"/>
                  </a:lnTo>
                  <a:lnTo>
                    <a:pt x="12" y="92"/>
                  </a:lnTo>
                  <a:lnTo>
                    <a:pt x="16" y="95"/>
                  </a:lnTo>
                  <a:lnTo>
                    <a:pt x="16" y="95"/>
                  </a:lnTo>
                  <a:lnTo>
                    <a:pt x="16" y="92"/>
                  </a:lnTo>
                  <a:lnTo>
                    <a:pt x="19" y="92"/>
                  </a:lnTo>
                  <a:lnTo>
                    <a:pt x="21" y="90"/>
                  </a:lnTo>
                  <a:lnTo>
                    <a:pt x="26" y="90"/>
                  </a:lnTo>
                  <a:lnTo>
                    <a:pt x="28" y="88"/>
                  </a:lnTo>
                  <a:lnTo>
                    <a:pt x="30" y="88"/>
                  </a:lnTo>
                  <a:lnTo>
                    <a:pt x="35" y="90"/>
                  </a:lnTo>
                  <a:lnTo>
                    <a:pt x="35" y="88"/>
                  </a:lnTo>
                  <a:lnTo>
                    <a:pt x="35" y="88"/>
                  </a:lnTo>
                  <a:lnTo>
                    <a:pt x="38" y="92"/>
                  </a:lnTo>
                  <a:lnTo>
                    <a:pt x="40" y="92"/>
                  </a:lnTo>
                  <a:lnTo>
                    <a:pt x="40" y="95"/>
                  </a:lnTo>
                  <a:lnTo>
                    <a:pt x="42" y="97"/>
                  </a:lnTo>
                  <a:lnTo>
                    <a:pt x="42" y="97"/>
                  </a:lnTo>
                  <a:lnTo>
                    <a:pt x="45" y="97"/>
                  </a:lnTo>
                  <a:lnTo>
                    <a:pt x="45" y="97"/>
                  </a:lnTo>
                  <a:lnTo>
                    <a:pt x="45" y="95"/>
                  </a:lnTo>
                  <a:lnTo>
                    <a:pt x="45" y="92"/>
                  </a:lnTo>
                  <a:lnTo>
                    <a:pt x="45" y="90"/>
                  </a:lnTo>
                  <a:lnTo>
                    <a:pt x="42" y="85"/>
                  </a:lnTo>
                  <a:lnTo>
                    <a:pt x="42" y="83"/>
                  </a:lnTo>
                  <a:lnTo>
                    <a:pt x="42" y="83"/>
                  </a:lnTo>
                  <a:lnTo>
                    <a:pt x="42" y="81"/>
                  </a:lnTo>
                  <a:lnTo>
                    <a:pt x="42" y="78"/>
                  </a:lnTo>
                  <a:lnTo>
                    <a:pt x="40" y="76"/>
                  </a:lnTo>
                  <a:lnTo>
                    <a:pt x="40" y="74"/>
                  </a:lnTo>
                  <a:lnTo>
                    <a:pt x="42" y="71"/>
                  </a:lnTo>
                  <a:lnTo>
                    <a:pt x="47" y="71"/>
                  </a:lnTo>
                  <a:lnTo>
                    <a:pt x="52" y="71"/>
                  </a:lnTo>
                  <a:lnTo>
                    <a:pt x="54" y="71"/>
                  </a:lnTo>
                  <a:lnTo>
                    <a:pt x="64" y="71"/>
                  </a:lnTo>
                  <a:lnTo>
                    <a:pt x="71" y="71"/>
                  </a:lnTo>
                  <a:lnTo>
                    <a:pt x="78" y="71"/>
                  </a:lnTo>
                  <a:lnTo>
                    <a:pt x="78" y="71"/>
                  </a:lnTo>
                  <a:lnTo>
                    <a:pt x="82" y="69"/>
                  </a:lnTo>
                  <a:lnTo>
                    <a:pt x="87" y="69"/>
                  </a:lnTo>
                  <a:lnTo>
                    <a:pt x="87" y="69"/>
                  </a:lnTo>
                  <a:lnTo>
                    <a:pt x="99" y="71"/>
                  </a:lnTo>
                  <a:lnTo>
                    <a:pt x="99" y="71"/>
                  </a:lnTo>
                  <a:lnTo>
                    <a:pt x="101" y="71"/>
                  </a:lnTo>
                  <a:lnTo>
                    <a:pt x="101" y="71"/>
                  </a:lnTo>
                  <a:lnTo>
                    <a:pt x="106" y="71"/>
                  </a:lnTo>
                  <a:lnTo>
                    <a:pt x="106" y="71"/>
                  </a:lnTo>
                  <a:lnTo>
                    <a:pt x="108" y="69"/>
                  </a:lnTo>
                  <a:lnTo>
                    <a:pt x="108" y="69"/>
                  </a:lnTo>
                  <a:lnTo>
                    <a:pt x="108" y="69"/>
                  </a:lnTo>
                  <a:lnTo>
                    <a:pt x="111" y="66"/>
                  </a:lnTo>
                  <a:lnTo>
                    <a:pt x="111" y="66"/>
                  </a:lnTo>
                  <a:lnTo>
                    <a:pt x="111" y="66"/>
                  </a:lnTo>
                  <a:lnTo>
                    <a:pt x="113" y="66"/>
                  </a:lnTo>
                  <a:lnTo>
                    <a:pt x="116" y="62"/>
                  </a:lnTo>
                  <a:lnTo>
                    <a:pt x="116" y="62"/>
                  </a:lnTo>
                  <a:lnTo>
                    <a:pt x="118" y="62"/>
                  </a:lnTo>
                  <a:lnTo>
                    <a:pt x="120" y="62"/>
                  </a:lnTo>
                  <a:lnTo>
                    <a:pt x="123" y="62"/>
                  </a:lnTo>
                  <a:lnTo>
                    <a:pt x="125" y="64"/>
                  </a:lnTo>
                  <a:lnTo>
                    <a:pt x="127" y="62"/>
                  </a:lnTo>
                  <a:lnTo>
                    <a:pt x="130" y="59"/>
                  </a:lnTo>
                  <a:lnTo>
                    <a:pt x="132" y="57"/>
                  </a:lnTo>
                  <a:lnTo>
                    <a:pt x="132" y="57"/>
                  </a:lnTo>
                  <a:lnTo>
                    <a:pt x="132" y="57"/>
                  </a:lnTo>
                  <a:lnTo>
                    <a:pt x="132" y="55"/>
                  </a:lnTo>
                  <a:lnTo>
                    <a:pt x="132" y="55"/>
                  </a:lnTo>
                  <a:lnTo>
                    <a:pt x="132" y="55"/>
                  </a:lnTo>
                  <a:lnTo>
                    <a:pt x="130" y="50"/>
                  </a:lnTo>
                  <a:lnTo>
                    <a:pt x="127" y="48"/>
                  </a:lnTo>
                  <a:lnTo>
                    <a:pt x="127" y="48"/>
                  </a:lnTo>
                  <a:lnTo>
                    <a:pt x="127" y="45"/>
                  </a:lnTo>
                  <a:lnTo>
                    <a:pt x="127" y="45"/>
                  </a:lnTo>
                  <a:lnTo>
                    <a:pt x="130" y="45"/>
                  </a:lnTo>
                  <a:lnTo>
                    <a:pt x="130" y="45"/>
                  </a:lnTo>
                  <a:lnTo>
                    <a:pt x="130" y="45"/>
                  </a:lnTo>
                  <a:lnTo>
                    <a:pt x="127" y="41"/>
                  </a:lnTo>
                  <a:lnTo>
                    <a:pt x="127" y="41"/>
                  </a:lnTo>
                  <a:lnTo>
                    <a:pt x="125" y="41"/>
                  </a:lnTo>
                  <a:lnTo>
                    <a:pt x="123" y="43"/>
                  </a:lnTo>
                  <a:lnTo>
                    <a:pt x="123" y="43"/>
                  </a:lnTo>
                  <a:lnTo>
                    <a:pt x="120" y="43"/>
                  </a:lnTo>
                  <a:lnTo>
                    <a:pt x="118" y="41"/>
                  </a:lnTo>
                  <a:lnTo>
                    <a:pt x="116" y="41"/>
                  </a:lnTo>
                  <a:lnTo>
                    <a:pt x="111" y="36"/>
                  </a:lnTo>
                  <a:lnTo>
                    <a:pt x="111" y="33"/>
                  </a:lnTo>
                  <a:lnTo>
                    <a:pt x="108" y="29"/>
                  </a:lnTo>
                  <a:lnTo>
                    <a:pt x="106" y="26"/>
                  </a:lnTo>
                  <a:lnTo>
                    <a:pt x="101" y="22"/>
                  </a:lnTo>
                  <a:lnTo>
                    <a:pt x="97" y="17"/>
                  </a:lnTo>
                  <a:lnTo>
                    <a:pt x="97" y="15"/>
                  </a:lnTo>
                  <a:lnTo>
                    <a:pt x="97" y="12"/>
                  </a:lnTo>
                  <a:lnTo>
                    <a:pt x="97" y="12"/>
                  </a:lnTo>
                  <a:lnTo>
                    <a:pt x="92" y="10"/>
                  </a:lnTo>
                  <a:lnTo>
                    <a:pt x="92" y="7"/>
                  </a:lnTo>
                  <a:lnTo>
                    <a:pt x="94" y="5"/>
                  </a:lnTo>
                  <a:lnTo>
                    <a:pt x="94" y="0"/>
                  </a:lnTo>
                  <a:lnTo>
                    <a:pt x="94" y="0"/>
                  </a:lnTo>
                </a:path>
              </a:pathLst>
            </a:custGeom>
            <a:solidFill>
              <a:srgbClr val="9999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7" name="Freeform 851">
              <a:extLst>
                <a:ext uri="{FF2B5EF4-FFF2-40B4-BE49-F238E27FC236}">
                  <a16:creationId xmlns:a16="http://schemas.microsoft.com/office/drawing/2014/main" id="{40D1B1D2-6448-42D1-8EEF-D64499DB5E45}"/>
                </a:ext>
              </a:extLst>
            </p:cNvPr>
            <p:cNvSpPr>
              <a:spLocks/>
            </p:cNvSpPr>
            <p:nvPr/>
          </p:nvSpPr>
          <p:spPr bwMode="auto">
            <a:xfrm>
              <a:off x="862854" y="4178266"/>
              <a:ext cx="201612" cy="152400"/>
            </a:xfrm>
            <a:custGeom>
              <a:avLst/>
              <a:gdLst>
                <a:gd name="T0" fmla="*/ 54 w 127"/>
                <a:gd name="T1" fmla="*/ 4 h 96"/>
                <a:gd name="T2" fmla="*/ 45 w 127"/>
                <a:gd name="T3" fmla="*/ 4 h 96"/>
                <a:gd name="T4" fmla="*/ 37 w 127"/>
                <a:gd name="T5" fmla="*/ 2 h 96"/>
                <a:gd name="T6" fmla="*/ 30 w 127"/>
                <a:gd name="T7" fmla="*/ 0 h 96"/>
                <a:gd name="T8" fmla="*/ 23 w 127"/>
                <a:gd name="T9" fmla="*/ 4 h 96"/>
                <a:gd name="T10" fmla="*/ 21 w 127"/>
                <a:gd name="T11" fmla="*/ 7 h 96"/>
                <a:gd name="T12" fmla="*/ 21 w 127"/>
                <a:gd name="T13" fmla="*/ 16 h 96"/>
                <a:gd name="T14" fmla="*/ 4 w 127"/>
                <a:gd name="T15" fmla="*/ 25 h 96"/>
                <a:gd name="T16" fmla="*/ 0 w 127"/>
                <a:gd name="T17" fmla="*/ 33 h 96"/>
                <a:gd name="T18" fmla="*/ 4 w 127"/>
                <a:gd name="T19" fmla="*/ 30 h 96"/>
                <a:gd name="T20" fmla="*/ 9 w 127"/>
                <a:gd name="T21" fmla="*/ 40 h 96"/>
                <a:gd name="T22" fmla="*/ 21 w 127"/>
                <a:gd name="T23" fmla="*/ 49 h 96"/>
                <a:gd name="T24" fmla="*/ 28 w 127"/>
                <a:gd name="T25" fmla="*/ 59 h 96"/>
                <a:gd name="T26" fmla="*/ 33 w 127"/>
                <a:gd name="T27" fmla="*/ 63 h 96"/>
                <a:gd name="T28" fmla="*/ 37 w 127"/>
                <a:gd name="T29" fmla="*/ 59 h 96"/>
                <a:gd name="T30" fmla="*/ 45 w 127"/>
                <a:gd name="T31" fmla="*/ 51 h 96"/>
                <a:gd name="T32" fmla="*/ 49 w 127"/>
                <a:gd name="T33" fmla="*/ 49 h 96"/>
                <a:gd name="T34" fmla="*/ 66 w 127"/>
                <a:gd name="T35" fmla="*/ 47 h 96"/>
                <a:gd name="T36" fmla="*/ 71 w 127"/>
                <a:gd name="T37" fmla="*/ 54 h 96"/>
                <a:gd name="T38" fmla="*/ 75 w 127"/>
                <a:gd name="T39" fmla="*/ 59 h 96"/>
                <a:gd name="T40" fmla="*/ 75 w 127"/>
                <a:gd name="T41" fmla="*/ 63 h 96"/>
                <a:gd name="T42" fmla="*/ 78 w 127"/>
                <a:gd name="T43" fmla="*/ 70 h 96"/>
                <a:gd name="T44" fmla="*/ 80 w 127"/>
                <a:gd name="T45" fmla="*/ 75 h 96"/>
                <a:gd name="T46" fmla="*/ 82 w 127"/>
                <a:gd name="T47" fmla="*/ 75 h 96"/>
                <a:gd name="T48" fmla="*/ 87 w 127"/>
                <a:gd name="T49" fmla="*/ 75 h 96"/>
                <a:gd name="T50" fmla="*/ 94 w 127"/>
                <a:gd name="T51" fmla="*/ 75 h 96"/>
                <a:gd name="T52" fmla="*/ 99 w 127"/>
                <a:gd name="T53" fmla="*/ 87 h 96"/>
                <a:gd name="T54" fmla="*/ 97 w 127"/>
                <a:gd name="T55" fmla="*/ 94 h 96"/>
                <a:gd name="T56" fmla="*/ 104 w 127"/>
                <a:gd name="T57" fmla="*/ 96 h 96"/>
                <a:gd name="T58" fmla="*/ 108 w 127"/>
                <a:gd name="T59" fmla="*/ 92 h 96"/>
                <a:gd name="T60" fmla="*/ 115 w 127"/>
                <a:gd name="T61" fmla="*/ 89 h 96"/>
                <a:gd name="T62" fmla="*/ 120 w 127"/>
                <a:gd name="T63" fmla="*/ 82 h 96"/>
                <a:gd name="T64" fmla="*/ 123 w 127"/>
                <a:gd name="T65" fmla="*/ 80 h 96"/>
                <a:gd name="T66" fmla="*/ 118 w 127"/>
                <a:gd name="T67" fmla="*/ 75 h 96"/>
                <a:gd name="T68" fmla="*/ 125 w 127"/>
                <a:gd name="T69" fmla="*/ 75 h 96"/>
                <a:gd name="T70" fmla="*/ 127 w 127"/>
                <a:gd name="T71" fmla="*/ 73 h 96"/>
                <a:gd name="T72" fmla="*/ 125 w 127"/>
                <a:gd name="T73" fmla="*/ 68 h 96"/>
                <a:gd name="T74" fmla="*/ 127 w 127"/>
                <a:gd name="T75" fmla="*/ 63 h 96"/>
                <a:gd name="T76" fmla="*/ 120 w 127"/>
                <a:gd name="T77" fmla="*/ 56 h 96"/>
                <a:gd name="T78" fmla="*/ 120 w 127"/>
                <a:gd name="T79" fmla="*/ 47 h 96"/>
                <a:gd name="T80" fmla="*/ 120 w 127"/>
                <a:gd name="T81" fmla="*/ 40 h 96"/>
                <a:gd name="T82" fmla="*/ 115 w 127"/>
                <a:gd name="T83" fmla="*/ 28 h 96"/>
                <a:gd name="T84" fmla="*/ 111 w 127"/>
                <a:gd name="T85" fmla="*/ 28 h 96"/>
                <a:gd name="T86" fmla="*/ 115 w 127"/>
                <a:gd name="T87" fmla="*/ 23 h 96"/>
                <a:gd name="T88" fmla="*/ 113 w 127"/>
                <a:gd name="T89" fmla="*/ 21 h 96"/>
                <a:gd name="T90" fmla="*/ 108 w 127"/>
                <a:gd name="T91" fmla="*/ 11 h 96"/>
                <a:gd name="T92" fmla="*/ 106 w 127"/>
                <a:gd name="T93" fmla="*/ 9 h 96"/>
                <a:gd name="T94" fmla="*/ 104 w 127"/>
                <a:gd name="T95" fmla="*/ 2 h 96"/>
                <a:gd name="T96" fmla="*/ 99 w 127"/>
                <a:gd name="T97" fmla="*/ 2 h 96"/>
                <a:gd name="T98" fmla="*/ 92 w 127"/>
                <a:gd name="T99" fmla="*/ 11 h 96"/>
                <a:gd name="T100" fmla="*/ 80 w 127"/>
                <a:gd name="T101" fmla="*/ 9 h 96"/>
                <a:gd name="T102" fmla="*/ 73 w 127"/>
                <a:gd name="T103" fmla="*/ 9 h 96"/>
                <a:gd name="T104" fmla="*/ 66 w 127"/>
                <a:gd name="T105" fmla="*/ 11 h 96"/>
                <a:gd name="T106" fmla="*/ 63 w 127"/>
                <a:gd name="T107"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 h="96">
                  <a:moveTo>
                    <a:pt x="63" y="4"/>
                  </a:moveTo>
                  <a:lnTo>
                    <a:pt x="61" y="4"/>
                  </a:lnTo>
                  <a:lnTo>
                    <a:pt x="59" y="4"/>
                  </a:lnTo>
                  <a:lnTo>
                    <a:pt x="59" y="4"/>
                  </a:lnTo>
                  <a:lnTo>
                    <a:pt x="54" y="4"/>
                  </a:lnTo>
                  <a:lnTo>
                    <a:pt x="54" y="4"/>
                  </a:lnTo>
                  <a:lnTo>
                    <a:pt x="52" y="4"/>
                  </a:lnTo>
                  <a:lnTo>
                    <a:pt x="49" y="7"/>
                  </a:lnTo>
                  <a:lnTo>
                    <a:pt x="47" y="7"/>
                  </a:lnTo>
                  <a:lnTo>
                    <a:pt x="45" y="4"/>
                  </a:lnTo>
                  <a:lnTo>
                    <a:pt x="45" y="4"/>
                  </a:lnTo>
                  <a:lnTo>
                    <a:pt x="42" y="4"/>
                  </a:lnTo>
                  <a:lnTo>
                    <a:pt x="40" y="4"/>
                  </a:lnTo>
                  <a:lnTo>
                    <a:pt x="37" y="2"/>
                  </a:lnTo>
                  <a:lnTo>
                    <a:pt x="37" y="2"/>
                  </a:lnTo>
                  <a:lnTo>
                    <a:pt x="37" y="4"/>
                  </a:lnTo>
                  <a:lnTo>
                    <a:pt x="35" y="4"/>
                  </a:lnTo>
                  <a:lnTo>
                    <a:pt x="35" y="2"/>
                  </a:lnTo>
                  <a:lnTo>
                    <a:pt x="33" y="0"/>
                  </a:lnTo>
                  <a:lnTo>
                    <a:pt x="30" y="0"/>
                  </a:lnTo>
                  <a:lnTo>
                    <a:pt x="28" y="0"/>
                  </a:lnTo>
                  <a:lnTo>
                    <a:pt x="28" y="0"/>
                  </a:lnTo>
                  <a:lnTo>
                    <a:pt x="23" y="0"/>
                  </a:lnTo>
                  <a:lnTo>
                    <a:pt x="23" y="2"/>
                  </a:lnTo>
                  <a:lnTo>
                    <a:pt x="23" y="4"/>
                  </a:lnTo>
                  <a:lnTo>
                    <a:pt x="23" y="4"/>
                  </a:lnTo>
                  <a:lnTo>
                    <a:pt x="23" y="7"/>
                  </a:lnTo>
                  <a:lnTo>
                    <a:pt x="23" y="7"/>
                  </a:lnTo>
                  <a:lnTo>
                    <a:pt x="21" y="7"/>
                  </a:lnTo>
                  <a:lnTo>
                    <a:pt x="21" y="7"/>
                  </a:lnTo>
                  <a:lnTo>
                    <a:pt x="19" y="9"/>
                  </a:lnTo>
                  <a:lnTo>
                    <a:pt x="21" y="9"/>
                  </a:lnTo>
                  <a:lnTo>
                    <a:pt x="23" y="11"/>
                  </a:lnTo>
                  <a:lnTo>
                    <a:pt x="23" y="16"/>
                  </a:lnTo>
                  <a:lnTo>
                    <a:pt x="21" y="16"/>
                  </a:lnTo>
                  <a:lnTo>
                    <a:pt x="19" y="18"/>
                  </a:lnTo>
                  <a:lnTo>
                    <a:pt x="14" y="18"/>
                  </a:lnTo>
                  <a:lnTo>
                    <a:pt x="7" y="21"/>
                  </a:lnTo>
                  <a:lnTo>
                    <a:pt x="4" y="23"/>
                  </a:lnTo>
                  <a:lnTo>
                    <a:pt x="4" y="25"/>
                  </a:lnTo>
                  <a:lnTo>
                    <a:pt x="2" y="28"/>
                  </a:lnTo>
                  <a:lnTo>
                    <a:pt x="2" y="28"/>
                  </a:lnTo>
                  <a:lnTo>
                    <a:pt x="0" y="30"/>
                  </a:lnTo>
                  <a:lnTo>
                    <a:pt x="0" y="30"/>
                  </a:lnTo>
                  <a:lnTo>
                    <a:pt x="0" y="33"/>
                  </a:lnTo>
                  <a:lnTo>
                    <a:pt x="0" y="35"/>
                  </a:lnTo>
                  <a:lnTo>
                    <a:pt x="2" y="35"/>
                  </a:lnTo>
                  <a:lnTo>
                    <a:pt x="2" y="35"/>
                  </a:lnTo>
                  <a:lnTo>
                    <a:pt x="2" y="33"/>
                  </a:lnTo>
                  <a:lnTo>
                    <a:pt x="4" y="30"/>
                  </a:lnTo>
                  <a:lnTo>
                    <a:pt x="4" y="30"/>
                  </a:lnTo>
                  <a:lnTo>
                    <a:pt x="4" y="35"/>
                  </a:lnTo>
                  <a:lnTo>
                    <a:pt x="9" y="35"/>
                  </a:lnTo>
                  <a:lnTo>
                    <a:pt x="9" y="37"/>
                  </a:lnTo>
                  <a:lnTo>
                    <a:pt x="9" y="40"/>
                  </a:lnTo>
                  <a:lnTo>
                    <a:pt x="9" y="44"/>
                  </a:lnTo>
                  <a:lnTo>
                    <a:pt x="12" y="44"/>
                  </a:lnTo>
                  <a:lnTo>
                    <a:pt x="14" y="47"/>
                  </a:lnTo>
                  <a:lnTo>
                    <a:pt x="16" y="49"/>
                  </a:lnTo>
                  <a:lnTo>
                    <a:pt x="21" y="49"/>
                  </a:lnTo>
                  <a:lnTo>
                    <a:pt x="23" y="51"/>
                  </a:lnTo>
                  <a:lnTo>
                    <a:pt x="23" y="56"/>
                  </a:lnTo>
                  <a:lnTo>
                    <a:pt x="26" y="56"/>
                  </a:lnTo>
                  <a:lnTo>
                    <a:pt x="26" y="59"/>
                  </a:lnTo>
                  <a:lnTo>
                    <a:pt x="28" y="59"/>
                  </a:lnTo>
                  <a:lnTo>
                    <a:pt x="28" y="61"/>
                  </a:lnTo>
                  <a:lnTo>
                    <a:pt x="28" y="61"/>
                  </a:lnTo>
                  <a:lnTo>
                    <a:pt x="30" y="63"/>
                  </a:lnTo>
                  <a:lnTo>
                    <a:pt x="30" y="63"/>
                  </a:lnTo>
                  <a:lnTo>
                    <a:pt x="33" y="63"/>
                  </a:lnTo>
                  <a:lnTo>
                    <a:pt x="33" y="63"/>
                  </a:lnTo>
                  <a:lnTo>
                    <a:pt x="35" y="63"/>
                  </a:lnTo>
                  <a:lnTo>
                    <a:pt x="35" y="63"/>
                  </a:lnTo>
                  <a:lnTo>
                    <a:pt x="37" y="61"/>
                  </a:lnTo>
                  <a:lnTo>
                    <a:pt x="37" y="59"/>
                  </a:lnTo>
                  <a:lnTo>
                    <a:pt x="40" y="59"/>
                  </a:lnTo>
                  <a:lnTo>
                    <a:pt x="40" y="59"/>
                  </a:lnTo>
                  <a:lnTo>
                    <a:pt x="40" y="56"/>
                  </a:lnTo>
                  <a:lnTo>
                    <a:pt x="42" y="54"/>
                  </a:lnTo>
                  <a:lnTo>
                    <a:pt x="45" y="51"/>
                  </a:lnTo>
                  <a:lnTo>
                    <a:pt x="45" y="49"/>
                  </a:lnTo>
                  <a:lnTo>
                    <a:pt x="45" y="49"/>
                  </a:lnTo>
                  <a:lnTo>
                    <a:pt x="47" y="49"/>
                  </a:lnTo>
                  <a:lnTo>
                    <a:pt x="49" y="49"/>
                  </a:lnTo>
                  <a:lnTo>
                    <a:pt x="49" y="49"/>
                  </a:lnTo>
                  <a:lnTo>
                    <a:pt x="52" y="49"/>
                  </a:lnTo>
                  <a:lnTo>
                    <a:pt x="54" y="49"/>
                  </a:lnTo>
                  <a:lnTo>
                    <a:pt x="54" y="47"/>
                  </a:lnTo>
                  <a:lnTo>
                    <a:pt x="61" y="47"/>
                  </a:lnTo>
                  <a:lnTo>
                    <a:pt x="66" y="47"/>
                  </a:lnTo>
                  <a:lnTo>
                    <a:pt x="68" y="49"/>
                  </a:lnTo>
                  <a:lnTo>
                    <a:pt x="68" y="51"/>
                  </a:lnTo>
                  <a:lnTo>
                    <a:pt x="71" y="54"/>
                  </a:lnTo>
                  <a:lnTo>
                    <a:pt x="71" y="54"/>
                  </a:lnTo>
                  <a:lnTo>
                    <a:pt x="71" y="54"/>
                  </a:lnTo>
                  <a:lnTo>
                    <a:pt x="73" y="56"/>
                  </a:lnTo>
                  <a:lnTo>
                    <a:pt x="73" y="56"/>
                  </a:lnTo>
                  <a:lnTo>
                    <a:pt x="73" y="59"/>
                  </a:lnTo>
                  <a:lnTo>
                    <a:pt x="75" y="59"/>
                  </a:lnTo>
                  <a:lnTo>
                    <a:pt x="75" y="59"/>
                  </a:lnTo>
                  <a:lnTo>
                    <a:pt x="75" y="59"/>
                  </a:lnTo>
                  <a:lnTo>
                    <a:pt x="75" y="61"/>
                  </a:lnTo>
                  <a:lnTo>
                    <a:pt x="75" y="61"/>
                  </a:lnTo>
                  <a:lnTo>
                    <a:pt x="75" y="61"/>
                  </a:lnTo>
                  <a:lnTo>
                    <a:pt x="75" y="63"/>
                  </a:lnTo>
                  <a:lnTo>
                    <a:pt x="75" y="63"/>
                  </a:lnTo>
                  <a:lnTo>
                    <a:pt x="78" y="66"/>
                  </a:lnTo>
                  <a:lnTo>
                    <a:pt x="78" y="66"/>
                  </a:lnTo>
                  <a:lnTo>
                    <a:pt x="78" y="70"/>
                  </a:lnTo>
                  <a:lnTo>
                    <a:pt x="78" y="70"/>
                  </a:lnTo>
                  <a:lnTo>
                    <a:pt x="78" y="70"/>
                  </a:lnTo>
                  <a:lnTo>
                    <a:pt x="75" y="75"/>
                  </a:lnTo>
                  <a:lnTo>
                    <a:pt x="75" y="75"/>
                  </a:lnTo>
                  <a:lnTo>
                    <a:pt x="75" y="77"/>
                  </a:lnTo>
                  <a:lnTo>
                    <a:pt x="80" y="75"/>
                  </a:lnTo>
                  <a:lnTo>
                    <a:pt x="80" y="73"/>
                  </a:lnTo>
                  <a:lnTo>
                    <a:pt x="82" y="73"/>
                  </a:lnTo>
                  <a:lnTo>
                    <a:pt x="82" y="75"/>
                  </a:lnTo>
                  <a:lnTo>
                    <a:pt x="82" y="75"/>
                  </a:lnTo>
                  <a:lnTo>
                    <a:pt x="82" y="75"/>
                  </a:lnTo>
                  <a:lnTo>
                    <a:pt x="85" y="73"/>
                  </a:lnTo>
                  <a:lnTo>
                    <a:pt x="85" y="73"/>
                  </a:lnTo>
                  <a:lnTo>
                    <a:pt x="87" y="73"/>
                  </a:lnTo>
                  <a:lnTo>
                    <a:pt x="87" y="75"/>
                  </a:lnTo>
                  <a:lnTo>
                    <a:pt x="87" y="75"/>
                  </a:lnTo>
                  <a:lnTo>
                    <a:pt x="89" y="75"/>
                  </a:lnTo>
                  <a:lnTo>
                    <a:pt x="92" y="73"/>
                  </a:lnTo>
                  <a:lnTo>
                    <a:pt x="92" y="73"/>
                  </a:lnTo>
                  <a:lnTo>
                    <a:pt x="92" y="73"/>
                  </a:lnTo>
                  <a:lnTo>
                    <a:pt x="94" y="75"/>
                  </a:lnTo>
                  <a:lnTo>
                    <a:pt x="97" y="77"/>
                  </a:lnTo>
                  <a:lnTo>
                    <a:pt x="97" y="80"/>
                  </a:lnTo>
                  <a:lnTo>
                    <a:pt x="97" y="80"/>
                  </a:lnTo>
                  <a:lnTo>
                    <a:pt x="97" y="85"/>
                  </a:lnTo>
                  <a:lnTo>
                    <a:pt x="99" y="87"/>
                  </a:lnTo>
                  <a:lnTo>
                    <a:pt x="99" y="92"/>
                  </a:lnTo>
                  <a:lnTo>
                    <a:pt x="97" y="92"/>
                  </a:lnTo>
                  <a:lnTo>
                    <a:pt x="97" y="94"/>
                  </a:lnTo>
                  <a:lnTo>
                    <a:pt x="97" y="94"/>
                  </a:lnTo>
                  <a:lnTo>
                    <a:pt x="97" y="94"/>
                  </a:lnTo>
                  <a:lnTo>
                    <a:pt x="97" y="94"/>
                  </a:lnTo>
                  <a:lnTo>
                    <a:pt x="99" y="94"/>
                  </a:lnTo>
                  <a:lnTo>
                    <a:pt x="99" y="94"/>
                  </a:lnTo>
                  <a:lnTo>
                    <a:pt x="101" y="94"/>
                  </a:lnTo>
                  <a:lnTo>
                    <a:pt x="104" y="96"/>
                  </a:lnTo>
                  <a:lnTo>
                    <a:pt x="104" y="96"/>
                  </a:lnTo>
                  <a:lnTo>
                    <a:pt x="106" y="96"/>
                  </a:lnTo>
                  <a:lnTo>
                    <a:pt x="108" y="96"/>
                  </a:lnTo>
                  <a:lnTo>
                    <a:pt x="108" y="94"/>
                  </a:lnTo>
                  <a:lnTo>
                    <a:pt x="108" y="92"/>
                  </a:lnTo>
                  <a:lnTo>
                    <a:pt x="108" y="89"/>
                  </a:lnTo>
                  <a:lnTo>
                    <a:pt x="111" y="89"/>
                  </a:lnTo>
                  <a:lnTo>
                    <a:pt x="113" y="89"/>
                  </a:lnTo>
                  <a:lnTo>
                    <a:pt x="113" y="92"/>
                  </a:lnTo>
                  <a:lnTo>
                    <a:pt x="115" y="89"/>
                  </a:lnTo>
                  <a:lnTo>
                    <a:pt x="120" y="89"/>
                  </a:lnTo>
                  <a:lnTo>
                    <a:pt x="120" y="89"/>
                  </a:lnTo>
                  <a:lnTo>
                    <a:pt x="120" y="87"/>
                  </a:lnTo>
                  <a:lnTo>
                    <a:pt x="120" y="85"/>
                  </a:lnTo>
                  <a:lnTo>
                    <a:pt x="120" y="82"/>
                  </a:lnTo>
                  <a:lnTo>
                    <a:pt x="123" y="82"/>
                  </a:lnTo>
                  <a:lnTo>
                    <a:pt x="123" y="80"/>
                  </a:lnTo>
                  <a:lnTo>
                    <a:pt x="123" y="80"/>
                  </a:lnTo>
                  <a:lnTo>
                    <a:pt x="123" y="80"/>
                  </a:lnTo>
                  <a:lnTo>
                    <a:pt x="123" y="80"/>
                  </a:lnTo>
                  <a:lnTo>
                    <a:pt x="120" y="80"/>
                  </a:lnTo>
                  <a:lnTo>
                    <a:pt x="118" y="80"/>
                  </a:lnTo>
                  <a:lnTo>
                    <a:pt x="118" y="77"/>
                  </a:lnTo>
                  <a:lnTo>
                    <a:pt x="118" y="77"/>
                  </a:lnTo>
                  <a:lnTo>
                    <a:pt x="118" y="75"/>
                  </a:lnTo>
                  <a:lnTo>
                    <a:pt x="118" y="75"/>
                  </a:lnTo>
                  <a:lnTo>
                    <a:pt x="118" y="75"/>
                  </a:lnTo>
                  <a:lnTo>
                    <a:pt x="120" y="73"/>
                  </a:lnTo>
                  <a:lnTo>
                    <a:pt x="123" y="73"/>
                  </a:lnTo>
                  <a:lnTo>
                    <a:pt x="125" y="75"/>
                  </a:lnTo>
                  <a:lnTo>
                    <a:pt x="125" y="75"/>
                  </a:lnTo>
                  <a:lnTo>
                    <a:pt x="125" y="75"/>
                  </a:lnTo>
                  <a:lnTo>
                    <a:pt x="127" y="77"/>
                  </a:lnTo>
                  <a:lnTo>
                    <a:pt x="127" y="77"/>
                  </a:lnTo>
                  <a:lnTo>
                    <a:pt x="127" y="73"/>
                  </a:lnTo>
                  <a:lnTo>
                    <a:pt x="127" y="73"/>
                  </a:lnTo>
                  <a:lnTo>
                    <a:pt x="125" y="70"/>
                  </a:lnTo>
                  <a:lnTo>
                    <a:pt x="125" y="70"/>
                  </a:lnTo>
                  <a:lnTo>
                    <a:pt x="125" y="70"/>
                  </a:lnTo>
                  <a:lnTo>
                    <a:pt x="125" y="68"/>
                  </a:lnTo>
                  <a:lnTo>
                    <a:pt x="123" y="68"/>
                  </a:lnTo>
                  <a:lnTo>
                    <a:pt x="125" y="66"/>
                  </a:lnTo>
                  <a:lnTo>
                    <a:pt x="125" y="66"/>
                  </a:lnTo>
                  <a:lnTo>
                    <a:pt x="127" y="63"/>
                  </a:lnTo>
                  <a:lnTo>
                    <a:pt x="127" y="63"/>
                  </a:lnTo>
                  <a:lnTo>
                    <a:pt x="125" y="63"/>
                  </a:lnTo>
                  <a:lnTo>
                    <a:pt x="125" y="63"/>
                  </a:lnTo>
                  <a:lnTo>
                    <a:pt x="125" y="59"/>
                  </a:lnTo>
                  <a:lnTo>
                    <a:pt x="123" y="59"/>
                  </a:lnTo>
                  <a:lnTo>
                    <a:pt x="120" y="56"/>
                  </a:lnTo>
                  <a:lnTo>
                    <a:pt x="120" y="56"/>
                  </a:lnTo>
                  <a:lnTo>
                    <a:pt x="120" y="51"/>
                  </a:lnTo>
                  <a:lnTo>
                    <a:pt x="120" y="49"/>
                  </a:lnTo>
                  <a:lnTo>
                    <a:pt x="120" y="47"/>
                  </a:lnTo>
                  <a:lnTo>
                    <a:pt x="120" y="47"/>
                  </a:lnTo>
                  <a:lnTo>
                    <a:pt x="123" y="44"/>
                  </a:lnTo>
                  <a:lnTo>
                    <a:pt x="123" y="44"/>
                  </a:lnTo>
                  <a:lnTo>
                    <a:pt x="123" y="42"/>
                  </a:lnTo>
                  <a:lnTo>
                    <a:pt x="123" y="42"/>
                  </a:lnTo>
                  <a:lnTo>
                    <a:pt x="120" y="40"/>
                  </a:lnTo>
                  <a:lnTo>
                    <a:pt x="120" y="40"/>
                  </a:lnTo>
                  <a:lnTo>
                    <a:pt x="118" y="40"/>
                  </a:lnTo>
                  <a:lnTo>
                    <a:pt x="118" y="37"/>
                  </a:lnTo>
                  <a:lnTo>
                    <a:pt x="115" y="30"/>
                  </a:lnTo>
                  <a:lnTo>
                    <a:pt x="115" y="28"/>
                  </a:lnTo>
                  <a:lnTo>
                    <a:pt x="115" y="28"/>
                  </a:lnTo>
                  <a:lnTo>
                    <a:pt x="113" y="28"/>
                  </a:lnTo>
                  <a:lnTo>
                    <a:pt x="111" y="30"/>
                  </a:lnTo>
                  <a:lnTo>
                    <a:pt x="111" y="30"/>
                  </a:lnTo>
                  <a:lnTo>
                    <a:pt x="111" y="28"/>
                  </a:lnTo>
                  <a:lnTo>
                    <a:pt x="111" y="28"/>
                  </a:lnTo>
                  <a:lnTo>
                    <a:pt x="113" y="28"/>
                  </a:lnTo>
                  <a:lnTo>
                    <a:pt x="113" y="25"/>
                  </a:lnTo>
                  <a:lnTo>
                    <a:pt x="113" y="25"/>
                  </a:lnTo>
                  <a:lnTo>
                    <a:pt x="115" y="23"/>
                  </a:lnTo>
                  <a:lnTo>
                    <a:pt x="115" y="23"/>
                  </a:lnTo>
                  <a:lnTo>
                    <a:pt x="115" y="23"/>
                  </a:lnTo>
                  <a:lnTo>
                    <a:pt x="115" y="23"/>
                  </a:lnTo>
                  <a:lnTo>
                    <a:pt x="113" y="23"/>
                  </a:lnTo>
                  <a:lnTo>
                    <a:pt x="113" y="21"/>
                  </a:lnTo>
                  <a:lnTo>
                    <a:pt x="111" y="21"/>
                  </a:lnTo>
                  <a:lnTo>
                    <a:pt x="111" y="18"/>
                  </a:lnTo>
                  <a:lnTo>
                    <a:pt x="108" y="18"/>
                  </a:lnTo>
                  <a:lnTo>
                    <a:pt x="108" y="18"/>
                  </a:lnTo>
                  <a:lnTo>
                    <a:pt x="108" y="11"/>
                  </a:lnTo>
                  <a:lnTo>
                    <a:pt x="108" y="11"/>
                  </a:lnTo>
                  <a:lnTo>
                    <a:pt x="106" y="11"/>
                  </a:lnTo>
                  <a:lnTo>
                    <a:pt x="106" y="9"/>
                  </a:lnTo>
                  <a:lnTo>
                    <a:pt x="106" y="9"/>
                  </a:lnTo>
                  <a:lnTo>
                    <a:pt x="106" y="9"/>
                  </a:lnTo>
                  <a:lnTo>
                    <a:pt x="104" y="9"/>
                  </a:lnTo>
                  <a:lnTo>
                    <a:pt x="106" y="4"/>
                  </a:lnTo>
                  <a:lnTo>
                    <a:pt x="106" y="4"/>
                  </a:lnTo>
                  <a:lnTo>
                    <a:pt x="104" y="2"/>
                  </a:lnTo>
                  <a:lnTo>
                    <a:pt x="104" y="2"/>
                  </a:lnTo>
                  <a:lnTo>
                    <a:pt x="101" y="4"/>
                  </a:lnTo>
                  <a:lnTo>
                    <a:pt x="101" y="4"/>
                  </a:lnTo>
                  <a:lnTo>
                    <a:pt x="99" y="2"/>
                  </a:lnTo>
                  <a:lnTo>
                    <a:pt x="99" y="2"/>
                  </a:lnTo>
                  <a:lnTo>
                    <a:pt x="99" y="2"/>
                  </a:lnTo>
                  <a:lnTo>
                    <a:pt x="99" y="7"/>
                  </a:lnTo>
                  <a:lnTo>
                    <a:pt x="97" y="7"/>
                  </a:lnTo>
                  <a:lnTo>
                    <a:pt x="92" y="9"/>
                  </a:lnTo>
                  <a:lnTo>
                    <a:pt x="92" y="9"/>
                  </a:lnTo>
                  <a:lnTo>
                    <a:pt x="92" y="11"/>
                  </a:lnTo>
                  <a:lnTo>
                    <a:pt x="87" y="9"/>
                  </a:lnTo>
                  <a:lnTo>
                    <a:pt x="85" y="9"/>
                  </a:lnTo>
                  <a:lnTo>
                    <a:pt x="82" y="7"/>
                  </a:lnTo>
                  <a:lnTo>
                    <a:pt x="80" y="7"/>
                  </a:lnTo>
                  <a:lnTo>
                    <a:pt x="80" y="9"/>
                  </a:lnTo>
                  <a:lnTo>
                    <a:pt x="78" y="9"/>
                  </a:lnTo>
                  <a:lnTo>
                    <a:pt x="78" y="11"/>
                  </a:lnTo>
                  <a:lnTo>
                    <a:pt x="75" y="14"/>
                  </a:lnTo>
                  <a:lnTo>
                    <a:pt x="75" y="11"/>
                  </a:lnTo>
                  <a:lnTo>
                    <a:pt x="73" y="9"/>
                  </a:lnTo>
                  <a:lnTo>
                    <a:pt x="71" y="9"/>
                  </a:lnTo>
                  <a:lnTo>
                    <a:pt x="68" y="9"/>
                  </a:lnTo>
                  <a:lnTo>
                    <a:pt x="68" y="9"/>
                  </a:lnTo>
                  <a:lnTo>
                    <a:pt x="66" y="11"/>
                  </a:lnTo>
                  <a:lnTo>
                    <a:pt x="66" y="11"/>
                  </a:lnTo>
                  <a:lnTo>
                    <a:pt x="63" y="11"/>
                  </a:lnTo>
                  <a:lnTo>
                    <a:pt x="61" y="9"/>
                  </a:lnTo>
                  <a:lnTo>
                    <a:pt x="61" y="9"/>
                  </a:lnTo>
                  <a:lnTo>
                    <a:pt x="63" y="7"/>
                  </a:lnTo>
                  <a:lnTo>
                    <a:pt x="63" y="4"/>
                  </a:lnTo>
                  <a:lnTo>
                    <a:pt x="63" y="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8" name="Freeform 852">
              <a:extLst>
                <a:ext uri="{FF2B5EF4-FFF2-40B4-BE49-F238E27FC236}">
                  <a16:creationId xmlns:a16="http://schemas.microsoft.com/office/drawing/2014/main" id="{7EEBA58F-3C43-416A-BF1B-FB2AC3508147}"/>
                </a:ext>
              </a:extLst>
            </p:cNvPr>
            <p:cNvSpPr>
              <a:spLocks/>
            </p:cNvSpPr>
            <p:nvPr/>
          </p:nvSpPr>
          <p:spPr bwMode="auto">
            <a:xfrm>
              <a:off x="862854" y="4178266"/>
              <a:ext cx="201612" cy="152400"/>
            </a:xfrm>
            <a:custGeom>
              <a:avLst/>
              <a:gdLst>
                <a:gd name="T0" fmla="*/ 54 w 127"/>
                <a:gd name="T1" fmla="*/ 4 h 96"/>
                <a:gd name="T2" fmla="*/ 45 w 127"/>
                <a:gd name="T3" fmla="*/ 4 h 96"/>
                <a:gd name="T4" fmla="*/ 37 w 127"/>
                <a:gd name="T5" fmla="*/ 2 h 96"/>
                <a:gd name="T6" fmla="*/ 30 w 127"/>
                <a:gd name="T7" fmla="*/ 0 h 96"/>
                <a:gd name="T8" fmla="*/ 23 w 127"/>
                <a:gd name="T9" fmla="*/ 4 h 96"/>
                <a:gd name="T10" fmla="*/ 21 w 127"/>
                <a:gd name="T11" fmla="*/ 7 h 96"/>
                <a:gd name="T12" fmla="*/ 21 w 127"/>
                <a:gd name="T13" fmla="*/ 16 h 96"/>
                <a:gd name="T14" fmla="*/ 4 w 127"/>
                <a:gd name="T15" fmla="*/ 25 h 96"/>
                <a:gd name="T16" fmla="*/ 0 w 127"/>
                <a:gd name="T17" fmla="*/ 33 h 96"/>
                <a:gd name="T18" fmla="*/ 4 w 127"/>
                <a:gd name="T19" fmla="*/ 30 h 96"/>
                <a:gd name="T20" fmla="*/ 9 w 127"/>
                <a:gd name="T21" fmla="*/ 40 h 96"/>
                <a:gd name="T22" fmla="*/ 21 w 127"/>
                <a:gd name="T23" fmla="*/ 49 h 96"/>
                <a:gd name="T24" fmla="*/ 28 w 127"/>
                <a:gd name="T25" fmla="*/ 59 h 96"/>
                <a:gd name="T26" fmla="*/ 33 w 127"/>
                <a:gd name="T27" fmla="*/ 63 h 96"/>
                <a:gd name="T28" fmla="*/ 37 w 127"/>
                <a:gd name="T29" fmla="*/ 59 h 96"/>
                <a:gd name="T30" fmla="*/ 45 w 127"/>
                <a:gd name="T31" fmla="*/ 51 h 96"/>
                <a:gd name="T32" fmla="*/ 49 w 127"/>
                <a:gd name="T33" fmla="*/ 49 h 96"/>
                <a:gd name="T34" fmla="*/ 66 w 127"/>
                <a:gd name="T35" fmla="*/ 47 h 96"/>
                <a:gd name="T36" fmla="*/ 71 w 127"/>
                <a:gd name="T37" fmla="*/ 54 h 96"/>
                <a:gd name="T38" fmla="*/ 75 w 127"/>
                <a:gd name="T39" fmla="*/ 59 h 96"/>
                <a:gd name="T40" fmla="*/ 75 w 127"/>
                <a:gd name="T41" fmla="*/ 63 h 96"/>
                <a:gd name="T42" fmla="*/ 78 w 127"/>
                <a:gd name="T43" fmla="*/ 70 h 96"/>
                <a:gd name="T44" fmla="*/ 80 w 127"/>
                <a:gd name="T45" fmla="*/ 75 h 96"/>
                <a:gd name="T46" fmla="*/ 82 w 127"/>
                <a:gd name="T47" fmla="*/ 75 h 96"/>
                <a:gd name="T48" fmla="*/ 87 w 127"/>
                <a:gd name="T49" fmla="*/ 75 h 96"/>
                <a:gd name="T50" fmla="*/ 94 w 127"/>
                <a:gd name="T51" fmla="*/ 75 h 96"/>
                <a:gd name="T52" fmla="*/ 99 w 127"/>
                <a:gd name="T53" fmla="*/ 87 h 96"/>
                <a:gd name="T54" fmla="*/ 97 w 127"/>
                <a:gd name="T55" fmla="*/ 94 h 96"/>
                <a:gd name="T56" fmla="*/ 104 w 127"/>
                <a:gd name="T57" fmla="*/ 96 h 96"/>
                <a:gd name="T58" fmla="*/ 108 w 127"/>
                <a:gd name="T59" fmla="*/ 92 h 96"/>
                <a:gd name="T60" fmla="*/ 115 w 127"/>
                <a:gd name="T61" fmla="*/ 89 h 96"/>
                <a:gd name="T62" fmla="*/ 120 w 127"/>
                <a:gd name="T63" fmla="*/ 82 h 96"/>
                <a:gd name="T64" fmla="*/ 123 w 127"/>
                <a:gd name="T65" fmla="*/ 80 h 96"/>
                <a:gd name="T66" fmla="*/ 118 w 127"/>
                <a:gd name="T67" fmla="*/ 75 h 96"/>
                <a:gd name="T68" fmla="*/ 125 w 127"/>
                <a:gd name="T69" fmla="*/ 75 h 96"/>
                <a:gd name="T70" fmla="*/ 127 w 127"/>
                <a:gd name="T71" fmla="*/ 73 h 96"/>
                <a:gd name="T72" fmla="*/ 125 w 127"/>
                <a:gd name="T73" fmla="*/ 68 h 96"/>
                <a:gd name="T74" fmla="*/ 127 w 127"/>
                <a:gd name="T75" fmla="*/ 63 h 96"/>
                <a:gd name="T76" fmla="*/ 120 w 127"/>
                <a:gd name="T77" fmla="*/ 56 h 96"/>
                <a:gd name="T78" fmla="*/ 120 w 127"/>
                <a:gd name="T79" fmla="*/ 47 h 96"/>
                <a:gd name="T80" fmla="*/ 120 w 127"/>
                <a:gd name="T81" fmla="*/ 40 h 96"/>
                <a:gd name="T82" fmla="*/ 115 w 127"/>
                <a:gd name="T83" fmla="*/ 28 h 96"/>
                <a:gd name="T84" fmla="*/ 111 w 127"/>
                <a:gd name="T85" fmla="*/ 28 h 96"/>
                <a:gd name="T86" fmla="*/ 115 w 127"/>
                <a:gd name="T87" fmla="*/ 23 h 96"/>
                <a:gd name="T88" fmla="*/ 113 w 127"/>
                <a:gd name="T89" fmla="*/ 21 h 96"/>
                <a:gd name="T90" fmla="*/ 108 w 127"/>
                <a:gd name="T91" fmla="*/ 11 h 96"/>
                <a:gd name="T92" fmla="*/ 106 w 127"/>
                <a:gd name="T93" fmla="*/ 9 h 96"/>
                <a:gd name="T94" fmla="*/ 104 w 127"/>
                <a:gd name="T95" fmla="*/ 2 h 96"/>
                <a:gd name="T96" fmla="*/ 99 w 127"/>
                <a:gd name="T97" fmla="*/ 2 h 96"/>
                <a:gd name="T98" fmla="*/ 92 w 127"/>
                <a:gd name="T99" fmla="*/ 11 h 96"/>
                <a:gd name="T100" fmla="*/ 80 w 127"/>
                <a:gd name="T101" fmla="*/ 9 h 96"/>
                <a:gd name="T102" fmla="*/ 73 w 127"/>
                <a:gd name="T103" fmla="*/ 9 h 96"/>
                <a:gd name="T104" fmla="*/ 66 w 127"/>
                <a:gd name="T105" fmla="*/ 11 h 96"/>
                <a:gd name="T106" fmla="*/ 63 w 127"/>
                <a:gd name="T107"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 h="96">
                  <a:moveTo>
                    <a:pt x="63" y="4"/>
                  </a:moveTo>
                  <a:lnTo>
                    <a:pt x="61" y="4"/>
                  </a:lnTo>
                  <a:lnTo>
                    <a:pt x="59" y="4"/>
                  </a:lnTo>
                  <a:lnTo>
                    <a:pt x="59" y="4"/>
                  </a:lnTo>
                  <a:lnTo>
                    <a:pt x="54" y="4"/>
                  </a:lnTo>
                  <a:lnTo>
                    <a:pt x="54" y="4"/>
                  </a:lnTo>
                  <a:lnTo>
                    <a:pt x="52" y="4"/>
                  </a:lnTo>
                  <a:lnTo>
                    <a:pt x="49" y="7"/>
                  </a:lnTo>
                  <a:lnTo>
                    <a:pt x="47" y="7"/>
                  </a:lnTo>
                  <a:lnTo>
                    <a:pt x="45" y="4"/>
                  </a:lnTo>
                  <a:lnTo>
                    <a:pt x="45" y="4"/>
                  </a:lnTo>
                  <a:lnTo>
                    <a:pt x="42" y="4"/>
                  </a:lnTo>
                  <a:lnTo>
                    <a:pt x="40" y="4"/>
                  </a:lnTo>
                  <a:lnTo>
                    <a:pt x="37" y="2"/>
                  </a:lnTo>
                  <a:lnTo>
                    <a:pt x="37" y="2"/>
                  </a:lnTo>
                  <a:lnTo>
                    <a:pt x="37" y="4"/>
                  </a:lnTo>
                  <a:lnTo>
                    <a:pt x="35" y="4"/>
                  </a:lnTo>
                  <a:lnTo>
                    <a:pt x="35" y="2"/>
                  </a:lnTo>
                  <a:lnTo>
                    <a:pt x="33" y="0"/>
                  </a:lnTo>
                  <a:lnTo>
                    <a:pt x="30" y="0"/>
                  </a:lnTo>
                  <a:lnTo>
                    <a:pt x="28" y="0"/>
                  </a:lnTo>
                  <a:lnTo>
                    <a:pt x="28" y="0"/>
                  </a:lnTo>
                  <a:lnTo>
                    <a:pt x="23" y="0"/>
                  </a:lnTo>
                  <a:lnTo>
                    <a:pt x="23" y="2"/>
                  </a:lnTo>
                  <a:lnTo>
                    <a:pt x="23" y="4"/>
                  </a:lnTo>
                  <a:lnTo>
                    <a:pt x="23" y="4"/>
                  </a:lnTo>
                  <a:lnTo>
                    <a:pt x="23" y="7"/>
                  </a:lnTo>
                  <a:lnTo>
                    <a:pt x="23" y="7"/>
                  </a:lnTo>
                  <a:lnTo>
                    <a:pt x="21" y="7"/>
                  </a:lnTo>
                  <a:lnTo>
                    <a:pt x="21" y="7"/>
                  </a:lnTo>
                  <a:lnTo>
                    <a:pt x="19" y="9"/>
                  </a:lnTo>
                  <a:lnTo>
                    <a:pt x="21" y="9"/>
                  </a:lnTo>
                  <a:lnTo>
                    <a:pt x="23" y="11"/>
                  </a:lnTo>
                  <a:lnTo>
                    <a:pt x="23" y="16"/>
                  </a:lnTo>
                  <a:lnTo>
                    <a:pt x="21" y="16"/>
                  </a:lnTo>
                  <a:lnTo>
                    <a:pt x="19" y="18"/>
                  </a:lnTo>
                  <a:lnTo>
                    <a:pt x="14" y="18"/>
                  </a:lnTo>
                  <a:lnTo>
                    <a:pt x="7" y="21"/>
                  </a:lnTo>
                  <a:lnTo>
                    <a:pt x="4" y="23"/>
                  </a:lnTo>
                  <a:lnTo>
                    <a:pt x="4" y="25"/>
                  </a:lnTo>
                  <a:lnTo>
                    <a:pt x="2" y="28"/>
                  </a:lnTo>
                  <a:lnTo>
                    <a:pt x="2" y="28"/>
                  </a:lnTo>
                  <a:lnTo>
                    <a:pt x="0" y="30"/>
                  </a:lnTo>
                  <a:lnTo>
                    <a:pt x="0" y="30"/>
                  </a:lnTo>
                  <a:lnTo>
                    <a:pt x="0" y="33"/>
                  </a:lnTo>
                  <a:lnTo>
                    <a:pt x="0" y="35"/>
                  </a:lnTo>
                  <a:lnTo>
                    <a:pt x="2" y="35"/>
                  </a:lnTo>
                  <a:lnTo>
                    <a:pt x="2" y="35"/>
                  </a:lnTo>
                  <a:lnTo>
                    <a:pt x="2" y="33"/>
                  </a:lnTo>
                  <a:lnTo>
                    <a:pt x="4" y="30"/>
                  </a:lnTo>
                  <a:lnTo>
                    <a:pt x="4" y="30"/>
                  </a:lnTo>
                  <a:lnTo>
                    <a:pt x="4" y="35"/>
                  </a:lnTo>
                  <a:lnTo>
                    <a:pt x="9" y="35"/>
                  </a:lnTo>
                  <a:lnTo>
                    <a:pt x="9" y="37"/>
                  </a:lnTo>
                  <a:lnTo>
                    <a:pt x="9" y="40"/>
                  </a:lnTo>
                  <a:lnTo>
                    <a:pt x="9" y="44"/>
                  </a:lnTo>
                  <a:lnTo>
                    <a:pt x="12" y="44"/>
                  </a:lnTo>
                  <a:lnTo>
                    <a:pt x="14" y="47"/>
                  </a:lnTo>
                  <a:lnTo>
                    <a:pt x="16" y="49"/>
                  </a:lnTo>
                  <a:lnTo>
                    <a:pt x="21" y="49"/>
                  </a:lnTo>
                  <a:lnTo>
                    <a:pt x="23" y="51"/>
                  </a:lnTo>
                  <a:lnTo>
                    <a:pt x="23" y="56"/>
                  </a:lnTo>
                  <a:lnTo>
                    <a:pt x="26" y="56"/>
                  </a:lnTo>
                  <a:lnTo>
                    <a:pt x="26" y="59"/>
                  </a:lnTo>
                  <a:lnTo>
                    <a:pt x="28" y="59"/>
                  </a:lnTo>
                  <a:lnTo>
                    <a:pt x="28" y="61"/>
                  </a:lnTo>
                  <a:lnTo>
                    <a:pt x="28" y="61"/>
                  </a:lnTo>
                  <a:lnTo>
                    <a:pt x="30" y="63"/>
                  </a:lnTo>
                  <a:lnTo>
                    <a:pt x="30" y="63"/>
                  </a:lnTo>
                  <a:lnTo>
                    <a:pt x="33" y="63"/>
                  </a:lnTo>
                  <a:lnTo>
                    <a:pt x="33" y="63"/>
                  </a:lnTo>
                  <a:lnTo>
                    <a:pt x="35" y="63"/>
                  </a:lnTo>
                  <a:lnTo>
                    <a:pt x="35" y="63"/>
                  </a:lnTo>
                  <a:lnTo>
                    <a:pt x="37" y="61"/>
                  </a:lnTo>
                  <a:lnTo>
                    <a:pt x="37" y="59"/>
                  </a:lnTo>
                  <a:lnTo>
                    <a:pt x="40" y="59"/>
                  </a:lnTo>
                  <a:lnTo>
                    <a:pt x="40" y="59"/>
                  </a:lnTo>
                  <a:lnTo>
                    <a:pt x="40" y="56"/>
                  </a:lnTo>
                  <a:lnTo>
                    <a:pt x="42" y="54"/>
                  </a:lnTo>
                  <a:lnTo>
                    <a:pt x="45" y="51"/>
                  </a:lnTo>
                  <a:lnTo>
                    <a:pt x="45" y="49"/>
                  </a:lnTo>
                  <a:lnTo>
                    <a:pt x="45" y="49"/>
                  </a:lnTo>
                  <a:lnTo>
                    <a:pt x="47" y="49"/>
                  </a:lnTo>
                  <a:lnTo>
                    <a:pt x="49" y="49"/>
                  </a:lnTo>
                  <a:lnTo>
                    <a:pt x="49" y="49"/>
                  </a:lnTo>
                  <a:lnTo>
                    <a:pt x="52" y="49"/>
                  </a:lnTo>
                  <a:lnTo>
                    <a:pt x="54" y="49"/>
                  </a:lnTo>
                  <a:lnTo>
                    <a:pt x="54" y="47"/>
                  </a:lnTo>
                  <a:lnTo>
                    <a:pt x="61" y="47"/>
                  </a:lnTo>
                  <a:lnTo>
                    <a:pt x="66" y="47"/>
                  </a:lnTo>
                  <a:lnTo>
                    <a:pt x="68" y="49"/>
                  </a:lnTo>
                  <a:lnTo>
                    <a:pt x="68" y="51"/>
                  </a:lnTo>
                  <a:lnTo>
                    <a:pt x="71" y="54"/>
                  </a:lnTo>
                  <a:lnTo>
                    <a:pt x="71" y="54"/>
                  </a:lnTo>
                  <a:lnTo>
                    <a:pt x="71" y="54"/>
                  </a:lnTo>
                  <a:lnTo>
                    <a:pt x="73" y="56"/>
                  </a:lnTo>
                  <a:lnTo>
                    <a:pt x="73" y="56"/>
                  </a:lnTo>
                  <a:lnTo>
                    <a:pt x="73" y="59"/>
                  </a:lnTo>
                  <a:lnTo>
                    <a:pt x="75" y="59"/>
                  </a:lnTo>
                  <a:lnTo>
                    <a:pt x="75" y="59"/>
                  </a:lnTo>
                  <a:lnTo>
                    <a:pt x="75" y="59"/>
                  </a:lnTo>
                  <a:lnTo>
                    <a:pt x="75" y="61"/>
                  </a:lnTo>
                  <a:lnTo>
                    <a:pt x="75" y="61"/>
                  </a:lnTo>
                  <a:lnTo>
                    <a:pt x="75" y="61"/>
                  </a:lnTo>
                  <a:lnTo>
                    <a:pt x="75" y="63"/>
                  </a:lnTo>
                  <a:lnTo>
                    <a:pt x="75" y="63"/>
                  </a:lnTo>
                  <a:lnTo>
                    <a:pt x="78" y="66"/>
                  </a:lnTo>
                  <a:lnTo>
                    <a:pt x="78" y="66"/>
                  </a:lnTo>
                  <a:lnTo>
                    <a:pt x="78" y="70"/>
                  </a:lnTo>
                  <a:lnTo>
                    <a:pt x="78" y="70"/>
                  </a:lnTo>
                  <a:lnTo>
                    <a:pt x="78" y="70"/>
                  </a:lnTo>
                  <a:lnTo>
                    <a:pt x="75" y="75"/>
                  </a:lnTo>
                  <a:lnTo>
                    <a:pt x="75" y="75"/>
                  </a:lnTo>
                  <a:lnTo>
                    <a:pt x="75" y="77"/>
                  </a:lnTo>
                  <a:lnTo>
                    <a:pt x="80" y="75"/>
                  </a:lnTo>
                  <a:lnTo>
                    <a:pt x="80" y="73"/>
                  </a:lnTo>
                  <a:lnTo>
                    <a:pt x="82" y="73"/>
                  </a:lnTo>
                  <a:lnTo>
                    <a:pt x="82" y="75"/>
                  </a:lnTo>
                  <a:lnTo>
                    <a:pt x="82" y="75"/>
                  </a:lnTo>
                  <a:lnTo>
                    <a:pt x="82" y="75"/>
                  </a:lnTo>
                  <a:lnTo>
                    <a:pt x="85" y="73"/>
                  </a:lnTo>
                  <a:lnTo>
                    <a:pt x="85" y="73"/>
                  </a:lnTo>
                  <a:lnTo>
                    <a:pt x="87" y="73"/>
                  </a:lnTo>
                  <a:lnTo>
                    <a:pt x="87" y="75"/>
                  </a:lnTo>
                  <a:lnTo>
                    <a:pt x="87" y="75"/>
                  </a:lnTo>
                  <a:lnTo>
                    <a:pt x="89" y="75"/>
                  </a:lnTo>
                  <a:lnTo>
                    <a:pt x="92" y="73"/>
                  </a:lnTo>
                  <a:lnTo>
                    <a:pt x="92" y="73"/>
                  </a:lnTo>
                  <a:lnTo>
                    <a:pt x="92" y="73"/>
                  </a:lnTo>
                  <a:lnTo>
                    <a:pt x="94" y="75"/>
                  </a:lnTo>
                  <a:lnTo>
                    <a:pt x="97" y="77"/>
                  </a:lnTo>
                  <a:lnTo>
                    <a:pt x="97" y="80"/>
                  </a:lnTo>
                  <a:lnTo>
                    <a:pt x="97" y="80"/>
                  </a:lnTo>
                  <a:lnTo>
                    <a:pt x="97" y="85"/>
                  </a:lnTo>
                  <a:lnTo>
                    <a:pt x="99" y="87"/>
                  </a:lnTo>
                  <a:lnTo>
                    <a:pt x="99" y="92"/>
                  </a:lnTo>
                  <a:lnTo>
                    <a:pt x="97" y="92"/>
                  </a:lnTo>
                  <a:lnTo>
                    <a:pt x="97" y="94"/>
                  </a:lnTo>
                  <a:lnTo>
                    <a:pt x="97" y="94"/>
                  </a:lnTo>
                  <a:lnTo>
                    <a:pt x="97" y="94"/>
                  </a:lnTo>
                  <a:lnTo>
                    <a:pt x="97" y="94"/>
                  </a:lnTo>
                  <a:lnTo>
                    <a:pt x="99" y="94"/>
                  </a:lnTo>
                  <a:lnTo>
                    <a:pt x="99" y="94"/>
                  </a:lnTo>
                  <a:lnTo>
                    <a:pt x="101" y="94"/>
                  </a:lnTo>
                  <a:lnTo>
                    <a:pt x="104" y="96"/>
                  </a:lnTo>
                  <a:lnTo>
                    <a:pt x="104" y="96"/>
                  </a:lnTo>
                  <a:lnTo>
                    <a:pt x="106" y="96"/>
                  </a:lnTo>
                  <a:lnTo>
                    <a:pt x="108" y="96"/>
                  </a:lnTo>
                  <a:lnTo>
                    <a:pt x="108" y="94"/>
                  </a:lnTo>
                  <a:lnTo>
                    <a:pt x="108" y="92"/>
                  </a:lnTo>
                  <a:lnTo>
                    <a:pt x="108" y="89"/>
                  </a:lnTo>
                  <a:lnTo>
                    <a:pt x="111" y="89"/>
                  </a:lnTo>
                  <a:lnTo>
                    <a:pt x="113" y="89"/>
                  </a:lnTo>
                  <a:lnTo>
                    <a:pt x="113" y="92"/>
                  </a:lnTo>
                  <a:lnTo>
                    <a:pt x="115" y="89"/>
                  </a:lnTo>
                  <a:lnTo>
                    <a:pt x="120" y="89"/>
                  </a:lnTo>
                  <a:lnTo>
                    <a:pt x="120" y="89"/>
                  </a:lnTo>
                  <a:lnTo>
                    <a:pt x="120" y="87"/>
                  </a:lnTo>
                  <a:lnTo>
                    <a:pt x="120" y="85"/>
                  </a:lnTo>
                  <a:lnTo>
                    <a:pt x="120" y="82"/>
                  </a:lnTo>
                  <a:lnTo>
                    <a:pt x="123" y="82"/>
                  </a:lnTo>
                  <a:lnTo>
                    <a:pt x="123" y="80"/>
                  </a:lnTo>
                  <a:lnTo>
                    <a:pt x="123" y="80"/>
                  </a:lnTo>
                  <a:lnTo>
                    <a:pt x="123" y="80"/>
                  </a:lnTo>
                  <a:lnTo>
                    <a:pt x="123" y="80"/>
                  </a:lnTo>
                  <a:lnTo>
                    <a:pt x="120" y="80"/>
                  </a:lnTo>
                  <a:lnTo>
                    <a:pt x="118" y="80"/>
                  </a:lnTo>
                  <a:lnTo>
                    <a:pt x="118" y="77"/>
                  </a:lnTo>
                  <a:lnTo>
                    <a:pt x="118" y="77"/>
                  </a:lnTo>
                  <a:lnTo>
                    <a:pt x="118" y="75"/>
                  </a:lnTo>
                  <a:lnTo>
                    <a:pt x="118" y="75"/>
                  </a:lnTo>
                  <a:lnTo>
                    <a:pt x="118" y="75"/>
                  </a:lnTo>
                  <a:lnTo>
                    <a:pt x="120" y="73"/>
                  </a:lnTo>
                  <a:lnTo>
                    <a:pt x="123" y="73"/>
                  </a:lnTo>
                  <a:lnTo>
                    <a:pt x="125" y="75"/>
                  </a:lnTo>
                  <a:lnTo>
                    <a:pt x="125" y="75"/>
                  </a:lnTo>
                  <a:lnTo>
                    <a:pt x="125" y="75"/>
                  </a:lnTo>
                  <a:lnTo>
                    <a:pt x="127" y="77"/>
                  </a:lnTo>
                  <a:lnTo>
                    <a:pt x="127" y="77"/>
                  </a:lnTo>
                  <a:lnTo>
                    <a:pt x="127" y="73"/>
                  </a:lnTo>
                  <a:lnTo>
                    <a:pt x="127" y="73"/>
                  </a:lnTo>
                  <a:lnTo>
                    <a:pt x="125" y="70"/>
                  </a:lnTo>
                  <a:lnTo>
                    <a:pt x="125" y="70"/>
                  </a:lnTo>
                  <a:lnTo>
                    <a:pt x="125" y="70"/>
                  </a:lnTo>
                  <a:lnTo>
                    <a:pt x="125" y="68"/>
                  </a:lnTo>
                  <a:lnTo>
                    <a:pt x="123" y="68"/>
                  </a:lnTo>
                  <a:lnTo>
                    <a:pt x="125" y="66"/>
                  </a:lnTo>
                  <a:lnTo>
                    <a:pt x="125" y="66"/>
                  </a:lnTo>
                  <a:lnTo>
                    <a:pt x="127" y="63"/>
                  </a:lnTo>
                  <a:lnTo>
                    <a:pt x="127" y="63"/>
                  </a:lnTo>
                  <a:lnTo>
                    <a:pt x="125" y="63"/>
                  </a:lnTo>
                  <a:lnTo>
                    <a:pt x="125" y="63"/>
                  </a:lnTo>
                  <a:lnTo>
                    <a:pt x="125" y="59"/>
                  </a:lnTo>
                  <a:lnTo>
                    <a:pt x="123" y="59"/>
                  </a:lnTo>
                  <a:lnTo>
                    <a:pt x="120" y="56"/>
                  </a:lnTo>
                  <a:lnTo>
                    <a:pt x="120" y="56"/>
                  </a:lnTo>
                  <a:lnTo>
                    <a:pt x="120" y="51"/>
                  </a:lnTo>
                  <a:lnTo>
                    <a:pt x="120" y="49"/>
                  </a:lnTo>
                  <a:lnTo>
                    <a:pt x="120" y="47"/>
                  </a:lnTo>
                  <a:lnTo>
                    <a:pt x="120" y="47"/>
                  </a:lnTo>
                  <a:lnTo>
                    <a:pt x="123" y="44"/>
                  </a:lnTo>
                  <a:lnTo>
                    <a:pt x="123" y="44"/>
                  </a:lnTo>
                  <a:lnTo>
                    <a:pt x="123" y="42"/>
                  </a:lnTo>
                  <a:lnTo>
                    <a:pt x="123" y="42"/>
                  </a:lnTo>
                  <a:lnTo>
                    <a:pt x="120" y="40"/>
                  </a:lnTo>
                  <a:lnTo>
                    <a:pt x="120" y="40"/>
                  </a:lnTo>
                  <a:lnTo>
                    <a:pt x="118" y="40"/>
                  </a:lnTo>
                  <a:lnTo>
                    <a:pt x="118" y="37"/>
                  </a:lnTo>
                  <a:lnTo>
                    <a:pt x="115" y="30"/>
                  </a:lnTo>
                  <a:lnTo>
                    <a:pt x="115" y="28"/>
                  </a:lnTo>
                  <a:lnTo>
                    <a:pt x="115" y="28"/>
                  </a:lnTo>
                  <a:lnTo>
                    <a:pt x="113" y="28"/>
                  </a:lnTo>
                  <a:lnTo>
                    <a:pt x="111" y="30"/>
                  </a:lnTo>
                  <a:lnTo>
                    <a:pt x="111" y="30"/>
                  </a:lnTo>
                  <a:lnTo>
                    <a:pt x="111" y="28"/>
                  </a:lnTo>
                  <a:lnTo>
                    <a:pt x="111" y="28"/>
                  </a:lnTo>
                  <a:lnTo>
                    <a:pt x="113" y="28"/>
                  </a:lnTo>
                  <a:lnTo>
                    <a:pt x="113" y="25"/>
                  </a:lnTo>
                  <a:lnTo>
                    <a:pt x="113" y="25"/>
                  </a:lnTo>
                  <a:lnTo>
                    <a:pt x="115" y="23"/>
                  </a:lnTo>
                  <a:lnTo>
                    <a:pt x="115" y="23"/>
                  </a:lnTo>
                  <a:lnTo>
                    <a:pt x="115" y="23"/>
                  </a:lnTo>
                  <a:lnTo>
                    <a:pt x="115" y="23"/>
                  </a:lnTo>
                  <a:lnTo>
                    <a:pt x="113" y="23"/>
                  </a:lnTo>
                  <a:lnTo>
                    <a:pt x="113" y="21"/>
                  </a:lnTo>
                  <a:lnTo>
                    <a:pt x="111" y="21"/>
                  </a:lnTo>
                  <a:lnTo>
                    <a:pt x="111" y="18"/>
                  </a:lnTo>
                  <a:lnTo>
                    <a:pt x="108" y="18"/>
                  </a:lnTo>
                  <a:lnTo>
                    <a:pt x="108" y="18"/>
                  </a:lnTo>
                  <a:lnTo>
                    <a:pt x="108" y="11"/>
                  </a:lnTo>
                  <a:lnTo>
                    <a:pt x="108" y="11"/>
                  </a:lnTo>
                  <a:lnTo>
                    <a:pt x="106" y="11"/>
                  </a:lnTo>
                  <a:lnTo>
                    <a:pt x="106" y="9"/>
                  </a:lnTo>
                  <a:lnTo>
                    <a:pt x="106" y="9"/>
                  </a:lnTo>
                  <a:lnTo>
                    <a:pt x="106" y="9"/>
                  </a:lnTo>
                  <a:lnTo>
                    <a:pt x="104" y="9"/>
                  </a:lnTo>
                  <a:lnTo>
                    <a:pt x="106" y="4"/>
                  </a:lnTo>
                  <a:lnTo>
                    <a:pt x="106" y="4"/>
                  </a:lnTo>
                  <a:lnTo>
                    <a:pt x="104" y="2"/>
                  </a:lnTo>
                  <a:lnTo>
                    <a:pt x="104" y="2"/>
                  </a:lnTo>
                  <a:lnTo>
                    <a:pt x="101" y="4"/>
                  </a:lnTo>
                  <a:lnTo>
                    <a:pt x="101" y="4"/>
                  </a:lnTo>
                  <a:lnTo>
                    <a:pt x="99" y="2"/>
                  </a:lnTo>
                  <a:lnTo>
                    <a:pt x="99" y="2"/>
                  </a:lnTo>
                  <a:lnTo>
                    <a:pt x="99" y="2"/>
                  </a:lnTo>
                  <a:lnTo>
                    <a:pt x="99" y="7"/>
                  </a:lnTo>
                  <a:lnTo>
                    <a:pt x="97" y="7"/>
                  </a:lnTo>
                  <a:lnTo>
                    <a:pt x="92" y="9"/>
                  </a:lnTo>
                  <a:lnTo>
                    <a:pt x="92" y="9"/>
                  </a:lnTo>
                  <a:lnTo>
                    <a:pt x="92" y="11"/>
                  </a:lnTo>
                  <a:lnTo>
                    <a:pt x="87" y="9"/>
                  </a:lnTo>
                  <a:lnTo>
                    <a:pt x="85" y="9"/>
                  </a:lnTo>
                  <a:lnTo>
                    <a:pt x="82" y="7"/>
                  </a:lnTo>
                  <a:lnTo>
                    <a:pt x="80" y="7"/>
                  </a:lnTo>
                  <a:lnTo>
                    <a:pt x="80" y="9"/>
                  </a:lnTo>
                  <a:lnTo>
                    <a:pt x="78" y="9"/>
                  </a:lnTo>
                  <a:lnTo>
                    <a:pt x="78" y="11"/>
                  </a:lnTo>
                  <a:lnTo>
                    <a:pt x="75" y="14"/>
                  </a:lnTo>
                  <a:lnTo>
                    <a:pt x="75" y="11"/>
                  </a:lnTo>
                  <a:lnTo>
                    <a:pt x="73" y="9"/>
                  </a:lnTo>
                  <a:lnTo>
                    <a:pt x="71" y="9"/>
                  </a:lnTo>
                  <a:lnTo>
                    <a:pt x="68" y="9"/>
                  </a:lnTo>
                  <a:lnTo>
                    <a:pt x="68" y="9"/>
                  </a:lnTo>
                  <a:lnTo>
                    <a:pt x="66" y="11"/>
                  </a:lnTo>
                  <a:lnTo>
                    <a:pt x="66" y="11"/>
                  </a:lnTo>
                  <a:lnTo>
                    <a:pt x="63" y="11"/>
                  </a:lnTo>
                  <a:lnTo>
                    <a:pt x="61" y="9"/>
                  </a:lnTo>
                  <a:lnTo>
                    <a:pt x="61" y="9"/>
                  </a:lnTo>
                  <a:lnTo>
                    <a:pt x="63" y="7"/>
                  </a:lnTo>
                  <a:lnTo>
                    <a:pt x="63" y="4"/>
                  </a:lnTo>
                  <a:lnTo>
                    <a:pt x="63" y="4"/>
                  </a:lnTo>
                </a:path>
              </a:pathLst>
            </a:custGeom>
            <a:solidFill>
              <a:srgbClr val="9999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19" name="Freeform 853">
              <a:extLst>
                <a:ext uri="{FF2B5EF4-FFF2-40B4-BE49-F238E27FC236}">
                  <a16:creationId xmlns:a16="http://schemas.microsoft.com/office/drawing/2014/main" id="{E5B3C5FC-AFE2-49E9-8468-CE7E3CE76746}"/>
                </a:ext>
              </a:extLst>
            </p:cNvPr>
            <p:cNvSpPr>
              <a:spLocks/>
            </p:cNvSpPr>
            <p:nvPr/>
          </p:nvSpPr>
          <p:spPr bwMode="auto">
            <a:xfrm>
              <a:off x="1480392" y="3419440"/>
              <a:ext cx="109538" cy="233362"/>
            </a:xfrm>
            <a:custGeom>
              <a:avLst/>
              <a:gdLst>
                <a:gd name="T0" fmla="*/ 41 w 69"/>
                <a:gd name="T1" fmla="*/ 147 h 147"/>
                <a:gd name="T2" fmla="*/ 45 w 69"/>
                <a:gd name="T3" fmla="*/ 142 h 147"/>
                <a:gd name="T4" fmla="*/ 48 w 69"/>
                <a:gd name="T5" fmla="*/ 135 h 147"/>
                <a:gd name="T6" fmla="*/ 48 w 69"/>
                <a:gd name="T7" fmla="*/ 123 h 147"/>
                <a:gd name="T8" fmla="*/ 52 w 69"/>
                <a:gd name="T9" fmla="*/ 118 h 147"/>
                <a:gd name="T10" fmla="*/ 57 w 69"/>
                <a:gd name="T11" fmla="*/ 114 h 147"/>
                <a:gd name="T12" fmla="*/ 69 w 69"/>
                <a:gd name="T13" fmla="*/ 107 h 147"/>
                <a:gd name="T14" fmla="*/ 69 w 69"/>
                <a:gd name="T15" fmla="*/ 92 h 147"/>
                <a:gd name="T16" fmla="*/ 67 w 69"/>
                <a:gd name="T17" fmla="*/ 90 h 147"/>
                <a:gd name="T18" fmla="*/ 64 w 69"/>
                <a:gd name="T19" fmla="*/ 90 h 147"/>
                <a:gd name="T20" fmla="*/ 64 w 69"/>
                <a:gd name="T21" fmla="*/ 88 h 147"/>
                <a:gd name="T22" fmla="*/ 60 w 69"/>
                <a:gd name="T23" fmla="*/ 81 h 147"/>
                <a:gd name="T24" fmla="*/ 55 w 69"/>
                <a:gd name="T25" fmla="*/ 81 h 147"/>
                <a:gd name="T26" fmla="*/ 52 w 69"/>
                <a:gd name="T27" fmla="*/ 81 h 147"/>
                <a:gd name="T28" fmla="*/ 48 w 69"/>
                <a:gd name="T29" fmla="*/ 78 h 147"/>
                <a:gd name="T30" fmla="*/ 43 w 69"/>
                <a:gd name="T31" fmla="*/ 74 h 147"/>
                <a:gd name="T32" fmla="*/ 48 w 69"/>
                <a:gd name="T33" fmla="*/ 71 h 147"/>
                <a:gd name="T34" fmla="*/ 48 w 69"/>
                <a:gd name="T35" fmla="*/ 67 h 147"/>
                <a:gd name="T36" fmla="*/ 52 w 69"/>
                <a:gd name="T37" fmla="*/ 62 h 147"/>
                <a:gd name="T38" fmla="*/ 60 w 69"/>
                <a:gd name="T39" fmla="*/ 59 h 147"/>
                <a:gd name="T40" fmla="*/ 64 w 69"/>
                <a:gd name="T41" fmla="*/ 52 h 147"/>
                <a:gd name="T42" fmla="*/ 64 w 69"/>
                <a:gd name="T43" fmla="*/ 43 h 147"/>
                <a:gd name="T44" fmla="*/ 62 w 69"/>
                <a:gd name="T45" fmla="*/ 36 h 147"/>
                <a:gd name="T46" fmla="*/ 57 w 69"/>
                <a:gd name="T47" fmla="*/ 33 h 147"/>
                <a:gd name="T48" fmla="*/ 55 w 69"/>
                <a:gd name="T49" fmla="*/ 26 h 147"/>
                <a:gd name="T50" fmla="*/ 60 w 69"/>
                <a:gd name="T51" fmla="*/ 19 h 147"/>
                <a:gd name="T52" fmla="*/ 67 w 69"/>
                <a:gd name="T53" fmla="*/ 12 h 147"/>
                <a:gd name="T54" fmla="*/ 62 w 69"/>
                <a:gd name="T55" fmla="*/ 7 h 147"/>
                <a:gd name="T56" fmla="*/ 57 w 69"/>
                <a:gd name="T57" fmla="*/ 12 h 147"/>
                <a:gd name="T58" fmla="*/ 55 w 69"/>
                <a:gd name="T59" fmla="*/ 15 h 147"/>
                <a:gd name="T60" fmla="*/ 52 w 69"/>
                <a:gd name="T61" fmla="*/ 10 h 147"/>
                <a:gd name="T62" fmla="*/ 50 w 69"/>
                <a:gd name="T63" fmla="*/ 5 h 147"/>
                <a:gd name="T64" fmla="*/ 45 w 69"/>
                <a:gd name="T65" fmla="*/ 0 h 147"/>
                <a:gd name="T66" fmla="*/ 36 w 69"/>
                <a:gd name="T67" fmla="*/ 3 h 147"/>
                <a:gd name="T68" fmla="*/ 29 w 69"/>
                <a:gd name="T69" fmla="*/ 5 h 147"/>
                <a:gd name="T70" fmla="*/ 26 w 69"/>
                <a:gd name="T71" fmla="*/ 7 h 147"/>
                <a:gd name="T72" fmla="*/ 24 w 69"/>
                <a:gd name="T73" fmla="*/ 12 h 147"/>
                <a:gd name="T74" fmla="*/ 19 w 69"/>
                <a:gd name="T75" fmla="*/ 15 h 147"/>
                <a:gd name="T76" fmla="*/ 17 w 69"/>
                <a:gd name="T77" fmla="*/ 19 h 147"/>
                <a:gd name="T78" fmla="*/ 19 w 69"/>
                <a:gd name="T79" fmla="*/ 19 h 147"/>
                <a:gd name="T80" fmla="*/ 17 w 69"/>
                <a:gd name="T81" fmla="*/ 33 h 147"/>
                <a:gd name="T82" fmla="*/ 17 w 69"/>
                <a:gd name="T83" fmla="*/ 43 h 147"/>
                <a:gd name="T84" fmla="*/ 19 w 69"/>
                <a:gd name="T85" fmla="*/ 48 h 147"/>
                <a:gd name="T86" fmla="*/ 17 w 69"/>
                <a:gd name="T87" fmla="*/ 59 h 147"/>
                <a:gd name="T88" fmla="*/ 10 w 69"/>
                <a:gd name="T89" fmla="*/ 67 h 147"/>
                <a:gd name="T90" fmla="*/ 5 w 69"/>
                <a:gd name="T91" fmla="*/ 71 h 147"/>
                <a:gd name="T92" fmla="*/ 0 w 69"/>
                <a:gd name="T93" fmla="*/ 74 h 147"/>
                <a:gd name="T94" fmla="*/ 0 w 69"/>
                <a:gd name="T95" fmla="*/ 76 h 147"/>
                <a:gd name="T96" fmla="*/ 5 w 69"/>
                <a:gd name="T97" fmla="*/ 88 h 147"/>
                <a:gd name="T98" fmla="*/ 12 w 69"/>
                <a:gd name="T99" fmla="*/ 92 h 147"/>
                <a:gd name="T100" fmla="*/ 15 w 69"/>
                <a:gd name="T101" fmla="*/ 104 h 147"/>
                <a:gd name="T102" fmla="*/ 29 w 69"/>
                <a:gd name="T103" fmla="*/ 111 h 147"/>
                <a:gd name="T104" fmla="*/ 29 w 69"/>
                <a:gd name="T105" fmla="*/ 111 h 147"/>
                <a:gd name="T106" fmla="*/ 36 w 69"/>
                <a:gd name="T10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47">
                  <a:moveTo>
                    <a:pt x="36" y="147"/>
                  </a:moveTo>
                  <a:lnTo>
                    <a:pt x="41" y="147"/>
                  </a:lnTo>
                  <a:lnTo>
                    <a:pt x="43" y="144"/>
                  </a:lnTo>
                  <a:lnTo>
                    <a:pt x="45" y="142"/>
                  </a:lnTo>
                  <a:lnTo>
                    <a:pt x="48" y="140"/>
                  </a:lnTo>
                  <a:lnTo>
                    <a:pt x="48" y="135"/>
                  </a:lnTo>
                  <a:lnTo>
                    <a:pt x="48" y="128"/>
                  </a:lnTo>
                  <a:lnTo>
                    <a:pt x="48" y="123"/>
                  </a:lnTo>
                  <a:lnTo>
                    <a:pt x="48" y="121"/>
                  </a:lnTo>
                  <a:lnTo>
                    <a:pt x="52" y="118"/>
                  </a:lnTo>
                  <a:lnTo>
                    <a:pt x="55" y="118"/>
                  </a:lnTo>
                  <a:lnTo>
                    <a:pt x="57" y="114"/>
                  </a:lnTo>
                  <a:lnTo>
                    <a:pt x="67" y="109"/>
                  </a:lnTo>
                  <a:lnTo>
                    <a:pt x="69" y="107"/>
                  </a:lnTo>
                  <a:lnTo>
                    <a:pt x="69" y="102"/>
                  </a:lnTo>
                  <a:lnTo>
                    <a:pt x="69" y="92"/>
                  </a:lnTo>
                  <a:lnTo>
                    <a:pt x="69" y="90"/>
                  </a:lnTo>
                  <a:lnTo>
                    <a:pt x="67" y="90"/>
                  </a:lnTo>
                  <a:lnTo>
                    <a:pt x="67" y="90"/>
                  </a:lnTo>
                  <a:lnTo>
                    <a:pt x="64" y="90"/>
                  </a:lnTo>
                  <a:lnTo>
                    <a:pt x="64" y="88"/>
                  </a:lnTo>
                  <a:lnTo>
                    <a:pt x="64" y="88"/>
                  </a:lnTo>
                  <a:lnTo>
                    <a:pt x="62" y="81"/>
                  </a:lnTo>
                  <a:lnTo>
                    <a:pt x="60" y="81"/>
                  </a:lnTo>
                  <a:lnTo>
                    <a:pt x="57" y="83"/>
                  </a:lnTo>
                  <a:lnTo>
                    <a:pt x="55" y="81"/>
                  </a:lnTo>
                  <a:lnTo>
                    <a:pt x="55" y="78"/>
                  </a:lnTo>
                  <a:lnTo>
                    <a:pt x="52" y="81"/>
                  </a:lnTo>
                  <a:lnTo>
                    <a:pt x="50" y="81"/>
                  </a:lnTo>
                  <a:lnTo>
                    <a:pt x="48" y="78"/>
                  </a:lnTo>
                  <a:lnTo>
                    <a:pt x="45" y="76"/>
                  </a:lnTo>
                  <a:lnTo>
                    <a:pt x="43" y="74"/>
                  </a:lnTo>
                  <a:lnTo>
                    <a:pt x="43" y="69"/>
                  </a:lnTo>
                  <a:lnTo>
                    <a:pt x="48" y="71"/>
                  </a:lnTo>
                  <a:lnTo>
                    <a:pt x="48" y="69"/>
                  </a:lnTo>
                  <a:lnTo>
                    <a:pt x="48" y="67"/>
                  </a:lnTo>
                  <a:lnTo>
                    <a:pt x="52" y="64"/>
                  </a:lnTo>
                  <a:lnTo>
                    <a:pt x="52" y="62"/>
                  </a:lnTo>
                  <a:lnTo>
                    <a:pt x="55" y="62"/>
                  </a:lnTo>
                  <a:lnTo>
                    <a:pt x="60" y="59"/>
                  </a:lnTo>
                  <a:lnTo>
                    <a:pt x="62" y="57"/>
                  </a:lnTo>
                  <a:lnTo>
                    <a:pt x="64" y="52"/>
                  </a:lnTo>
                  <a:lnTo>
                    <a:pt x="67" y="45"/>
                  </a:lnTo>
                  <a:lnTo>
                    <a:pt x="64" y="43"/>
                  </a:lnTo>
                  <a:lnTo>
                    <a:pt x="64" y="38"/>
                  </a:lnTo>
                  <a:lnTo>
                    <a:pt x="62" y="36"/>
                  </a:lnTo>
                  <a:lnTo>
                    <a:pt x="62" y="33"/>
                  </a:lnTo>
                  <a:lnTo>
                    <a:pt x="57" y="33"/>
                  </a:lnTo>
                  <a:lnTo>
                    <a:pt x="57" y="31"/>
                  </a:lnTo>
                  <a:lnTo>
                    <a:pt x="55" y="26"/>
                  </a:lnTo>
                  <a:lnTo>
                    <a:pt x="55" y="22"/>
                  </a:lnTo>
                  <a:lnTo>
                    <a:pt x="60" y="19"/>
                  </a:lnTo>
                  <a:lnTo>
                    <a:pt x="62" y="19"/>
                  </a:lnTo>
                  <a:lnTo>
                    <a:pt x="67" y="12"/>
                  </a:lnTo>
                  <a:lnTo>
                    <a:pt x="64" y="7"/>
                  </a:lnTo>
                  <a:lnTo>
                    <a:pt x="62" y="7"/>
                  </a:lnTo>
                  <a:lnTo>
                    <a:pt x="60" y="10"/>
                  </a:lnTo>
                  <a:lnTo>
                    <a:pt x="57" y="12"/>
                  </a:lnTo>
                  <a:lnTo>
                    <a:pt x="55" y="12"/>
                  </a:lnTo>
                  <a:lnTo>
                    <a:pt x="55" y="15"/>
                  </a:lnTo>
                  <a:lnTo>
                    <a:pt x="52" y="12"/>
                  </a:lnTo>
                  <a:lnTo>
                    <a:pt x="52" y="10"/>
                  </a:lnTo>
                  <a:lnTo>
                    <a:pt x="50" y="5"/>
                  </a:lnTo>
                  <a:lnTo>
                    <a:pt x="50" y="5"/>
                  </a:lnTo>
                  <a:lnTo>
                    <a:pt x="50" y="3"/>
                  </a:lnTo>
                  <a:lnTo>
                    <a:pt x="45" y="0"/>
                  </a:lnTo>
                  <a:lnTo>
                    <a:pt x="41" y="0"/>
                  </a:lnTo>
                  <a:lnTo>
                    <a:pt x="36" y="3"/>
                  </a:lnTo>
                  <a:lnTo>
                    <a:pt x="34" y="3"/>
                  </a:lnTo>
                  <a:lnTo>
                    <a:pt x="29" y="5"/>
                  </a:lnTo>
                  <a:lnTo>
                    <a:pt x="26" y="7"/>
                  </a:lnTo>
                  <a:lnTo>
                    <a:pt x="26" y="7"/>
                  </a:lnTo>
                  <a:lnTo>
                    <a:pt x="24" y="10"/>
                  </a:lnTo>
                  <a:lnTo>
                    <a:pt x="24" y="12"/>
                  </a:lnTo>
                  <a:lnTo>
                    <a:pt x="22" y="12"/>
                  </a:lnTo>
                  <a:lnTo>
                    <a:pt x="19" y="15"/>
                  </a:lnTo>
                  <a:lnTo>
                    <a:pt x="17" y="17"/>
                  </a:lnTo>
                  <a:lnTo>
                    <a:pt x="17" y="19"/>
                  </a:lnTo>
                  <a:lnTo>
                    <a:pt x="19" y="19"/>
                  </a:lnTo>
                  <a:lnTo>
                    <a:pt x="19" y="19"/>
                  </a:lnTo>
                  <a:lnTo>
                    <a:pt x="17" y="31"/>
                  </a:lnTo>
                  <a:lnTo>
                    <a:pt x="17" y="33"/>
                  </a:lnTo>
                  <a:lnTo>
                    <a:pt x="17" y="36"/>
                  </a:lnTo>
                  <a:lnTo>
                    <a:pt x="17" y="43"/>
                  </a:lnTo>
                  <a:lnTo>
                    <a:pt x="19" y="45"/>
                  </a:lnTo>
                  <a:lnTo>
                    <a:pt x="19" y="48"/>
                  </a:lnTo>
                  <a:lnTo>
                    <a:pt x="17" y="55"/>
                  </a:lnTo>
                  <a:lnTo>
                    <a:pt x="17" y="59"/>
                  </a:lnTo>
                  <a:lnTo>
                    <a:pt x="10" y="64"/>
                  </a:lnTo>
                  <a:lnTo>
                    <a:pt x="10" y="67"/>
                  </a:lnTo>
                  <a:lnTo>
                    <a:pt x="5" y="69"/>
                  </a:lnTo>
                  <a:lnTo>
                    <a:pt x="5" y="71"/>
                  </a:lnTo>
                  <a:lnTo>
                    <a:pt x="5" y="71"/>
                  </a:lnTo>
                  <a:lnTo>
                    <a:pt x="0" y="74"/>
                  </a:lnTo>
                  <a:lnTo>
                    <a:pt x="0" y="74"/>
                  </a:lnTo>
                  <a:lnTo>
                    <a:pt x="0" y="76"/>
                  </a:lnTo>
                  <a:lnTo>
                    <a:pt x="3" y="78"/>
                  </a:lnTo>
                  <a:lnTo>
                    <a:pt x="5" y="88"/>
                  </a:lnTo>
                  <a:lnTo>
                    <a:pt x="10" y="90"/>
                  </a:lnTo>
                  <a:lnTo>
                    <a:pt x="12" y="92"/>
                  </a:lnTo>
                  <a:lnTo>
                    <a:pt x="15" y="97"/>
                  </a:lnTo>
                  <a:lnTo>
                    <a:pt x="15" y="104"/>
                  </a:lnTo>
                  <a:lnTo>
                    <a:pt x="22" y="109"/>
                  </a:lnTo>
                  <a:lnTo>
                    <a:pt x="29" y="111"/>
                  </a:lnTo>
                  <a:lnTo>
                    <a:pt x="29" y="111"/>
                  </a:lnTo>
                  <a:lnTo>
                    <a:pt x="29" y="111"/>
                  </a:lnTo>
                  <a:lnTo>
                    <a:pt x="34" y="135"/>
                  </a:lnTo>
                  <a:lnTo>
                    <a:pt x="36" y="147"/>
                  </a:lnTo>
                  <a:lnTo>
                    <a:pt x="36" y="14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0" name="Freeform 854">
              <a:extLst>
                <a:ext uri="{FF2B5EF4-FFF2-40B4-BE49-F238E27FC236}">
                  <a16:creationId xmlns:a16="http://schemas.microsoft.com/office/drawing/2014/main" id="{0CA3FBE0-00AD-4B4E-93DE-D9E093BB23DD}"/>
                </a:ext>
              </a:extLst>
            </p:cNvPr>
            <p:cNvSpPr>
              <a:spLocks/>
            </p:cNvSpPr>
            <p:nvPr/>
          </p:nvSpPr>
          <p:spPr bwMode="auto">
            <a:xfrm>
              <a:off x="1480392" y="3419440"/>
              <a:ext cx="109538" cy="233362"/>
            </a:xfrm>
            <a:custGeom>
              <a:avLst/>
              <a:gdLst>
                <a:gd name="T0" fmla="*/ 41 w 69"/>
                <a:gd name="T1" fmla="*/ 147 h 147"/>
                <a:gd name="T2" fmla="*/ 45 w 69"/>
                <a:gd name="T3" fmla="*/ 142 h 147"/>
                <a:gd name="T4" fmla="*/ 48 w 69"/>
                <a:gd name="T5" fmla="*/ 135 h 147"/>
                <a:gd name="T6" fmla="*/ 48 w 69"/>
                <a:gd name="T7" fmla="*/ 123 h 147"/>
                <a:gd name="T8" fmla="*/ 52 w 69"/>
                <a:gd name="T9" fmla="*/ 118 h 147"/>
                <a:gd name="T10" fmla="*/ 57 w 69"/>
                <a:gd name="T11" fmla="*/ 114 h 147"/>
                <a:gd name="T12" fmla="*/ 69 w 69"/>
                <a:gd name="T13" fmla="*/ 107 h 147"/>
                <a:gd name="T14" fmla="*/ 69 w 69"/>
                <a:gd name="T15" fmla="*/ 92 h 147"/>
                <a:gd name="T16" fmla="*/ 67 w 69"/>
                <a:gd name="T17" fmla="*/ 90 h 147"/>
                <a:gd name="T18" fmla="*/ 64 w 69"/>
                <a:gd name="T19" fmla="*/ 90 h 147"/>
                <a:gd name="T20" fmla="*/ 64 w 69"/>
                <a:gd name="T21" fmla="*/ 88 h 147"/>
                <a:gd name="T22" fmla="*/ 60 w 69"/>
                <a:gd name="T23" fmla="*/ 81 h 147"/>
                <a:gd name="T24" fmla="*/ 55 w 69"/>
                <a:gd name="T25" fmla="*/ 81 h 147"/>
                <a:gd name="T26" fmla="*/ 52 w 69"/>
                <a:gd name="T27" fmla="*/ 81 h 147"/>
                <a:gd name="T28" fmla="*/ 48 w 69"/>
                <a:gd name="T29" fmla="*/ 78 h 147"/>
                <a:gd name="T30" fmla="*/ 43 w 69"/>
                <a:gd name="T31" fmla="*/ 74 h 147"/>
                <a:gd name="T32" fmla="*/ 48 w 69"/>
                <a:gd name="T33" fmla="*/ 71 h 147"/>
                <a:gd name="T34" fmla="*/ 48 w 69"/>
                <a:gd name="T35" fmla="*/ 67 h 147"/>
                <a:gd name="T36" fmla="*/ 52 w 69"/>
                <a:gd name="T37" fmla="*/ 62 h 147"/>
                <a:gd name="T38" fmla="*/ 60 w 69"/>
                <a:gd name="T39" fmla="*/ 59 h 147"/>
                <a:gd name="T40" fmla="*/ 64 w 69"/>
                <a:gd name="T41" fmla="*/ 52 h 147"/>
                <a:gd name="T42" fmla="*/ 64 w 69"/>
                <a:gd name="T43" fmla="*/ 43 h 147"/>
                <a:gd name="T44" fmla="*/ 62 w 69"/>
                <a:gd name="T45" fmla="*/ 36 h 147"/>
                <a:gd name="T46" fmla="*/ 57 w 69"/>
                <a:gd name="T47" fmla="*/ 33 h 147"/>
                <a:gd name="T48" fmla="*/ 55 w 69"/>
                <a:gd name="T49" fmla="*/ 26 h 147"/>
                <a:gd name="T50" fmla="*/ 60 w 69"/>
                <a:gd name="T51" fmla="*/ 19 h 147"/>
                <a:gd name="T52" fmla="*/ 67 w 69"/>
                <a:gd name="T53" fmla="*/ 12 h 147"/>
                <a:gd name="T54" fmla="*/ 62 w 69"/>
                <a:gd name="T55" fmla="*/ 7 h 147"/>
                <a:gd name="T56" fmla="*/ 57 w 69"/>
                <a:gd name="T57" fmla="*/ 12 h 147"/>
                <a:gd name="T58" fmla="*/ 55 w 69"/>
                <a:gd name="T59" fmla="*/ 15 h 147"/>
                <a:gd name="T60" fmla="*/ 52 w 69"/>
                <a:gd name="T61" fmla="*/ 10 h 147"/>
                <a:gd name="T62" fmla="*/ 50 w 69"/>
                <a:gd name="T63" fmla="*/ 5 h 147"/>
                <a:gd name="T64" fmla="*/ 45 w 69"/>
                <a:gd name="T65" fmla="*/ 0 h 147"/>
                <a:gd name="T66" fmla="*/ 36 w 69"/>
                <a:gd name="T67" fmla="*/ 3 h 147"/>
                <a:gd name="T68" fmla="*/ 29 w 69"/>
                <a:gd name="T69" fmla="*/ 5 h 147"/>
                <a:gd name="T70" fmla="*/ 26 w 69"/>
                <a:gd name="T71" fmla="*/ 7 h 147"/>
                <a:gd name="T72" fmla="*/ 24 w 69"/>
                <a:gd name="T73" fmla="*/ 12 h 147"/>
                <a:gd name="T74" fmla="*/ 19 w 69"/>
                <a:gd name="T75" fmla="*/ 15 h 147"/>
                <a:gd name="T76" fmla="*/ 17 w 69"/>
                <a:gd name="T77" fmla="*/ 19 h 147"/>
                <a:gd name="T78" fmla="*/ 19 w 69"/>
                <a:gd name="T79" fmla="*/ 19 h 147"/>
                <a:gd name="T80" fmla="*/ 17 w 69"/>
                <a:gd name="T81" fmla="*/ 33 h 147"/>
                <a:gd name="T82" fmla="*/ 17 w 69"/>
                <a:gd name="T83" fmla="*/ 43 h 147"/>
                <a:gd name="T84" fmla="*/ 19 w 69"/>
                <a:gd name="T85" fmla="*/ 48 h 147"/>
                <a:gd name="T86" fmla="*/ 17 w 69"/>
                <a:gd name="T87" fmla="*/ 59 h 147"/>
                <a:gd name="T88" fmla="*/ 10 w 69"/>
                <a:gd name="T89" fmla="*/ 67 h 147"/>
                <a:gd name="T90" fmla="*/ 5 w 69"/>
                <a:gd name="T91" fmla="*/ 71 h 147"/>
                <a:gd name="T92" fmla="*/ 0 w 69"/>
                <a:gd name="T93" fmla="*/ 74 h 147"/>
                <a:gd name="T94" fmla="*/ 0 w 69"/>
                <a:gd name="T95" fmla="*/ 76 h 147"/>
                <a:gd name="T96" fmla="*/ 5 w 69"/>
                <a:gd name="T97" fmla="*/ 88 h 147"/>
                <a:gd name="T98" fmla="*/ 12 w 69"/>
                <a:gd name="T99" fmla="*/ 92 h 147"/>
                <a:gd name="T100" fmla="*/ 15 w 69"/>
                <a:gd name="T101" fmla="*/ 104 h 147"/>
                <a:gd name="T102" fmla="*/ 29 w 69"/>
                <a:gd name="T103" fmla="*/ 111 h 147"/>
                <a:gd name="T104" fmla="*/ 29 w 69"/>
                <a:gd name="T105" fmla="*/ 111 h 147"/>
                <a:gd name="T106" fmla="*/ 36 w 69"/>
                <a:gd name="T10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47">
                  <a:moveTo>
                    <a:pt x="36" y="147"/>
                  </a:moveTo>
                  <a:lnTo>
                    <a:pt x="41" y="147"/>
                  </a:lnTo>
                  <a:lnTo>
                    <a:pt x="43" y="144"/>
                  </a:lnTo>
                  <a:lnTo>
                    <a:pt x="45" y="142"/>
                  </a:lnTo>
                  <a:lnTo>
                    <a:pt x="48" y="140"/>
                  </a:lnTo>
                  <a:lnTo>
                    <a:pt x="48" y="135"/>
                  </a:lnTo>
                  <a:lnTo>
                    <a:pt x="48" y="128"/>
                  </a:lnTo>
                  <a:lnTo>
                    <a:pt x="48" y="123"/>
                  </a:lnTo>
                  <a:lnTo>
                    <a:pt x="48" y="121"/>
                  </a:lnTo>
                  <a:lnTo>
                    <a:pt x="52" y="118"/>
                  </a:lnTo>
                  <a:lnTo>
                    <a:pt x="55" y="118"/>
                  </a:lnTo>
                  <a:lnTo>
                    <a:pt x="57" y="114"/>
                  </a:lnTo>
                  <a:lnTo>
                    <a:pt x="67" y="109"/>
                  </a:lnTo>
                  <a:lnTo>
                    <a:pt x="69" y="107"/>
                  </a:lnTo>
                  <a:lnTo>
                    <a:pt x="69" y="102"/>
                  </a:lnTo>
                  <a:lnTo>
                    <a:pt x="69" y="92"/>
                  </a:lnTo>
                  <a:lnTo>
                    <a:pt x="69" y="90"/>
                  </a:lnTo>
                  <a:lnTo>
                    <a:pt x="67" y="90"/>
                  </a:lnTo>
                  <a:lnTo>
                    <a:pt x="67" y="90"/>
                  </a:lnTo>
                  <a:lnTo>
                    <a:pt x="64" y="90"/>
                  </a:lnTo>
                  <a:lnTo>
                    <a:pt x="64" y="88"/>
                  </a:lnTo>
                  <a:lnTo>
                    <a:pt x="64" y="88"/>
                  </a:lnTo>
                  <a:lnTo>
                    <a:pt x="62" y="81"/>
                  </a:lnTo>
                  <a:lnTo>
                    <a:pt x="60" y="81"/>
                  </a:lnTo>
                  <a:lnTo>
                    <a:pt x="57" y="83"/>
                  </a:lnTo>
                  <a:lnTo>
                    <a:pt x="55" y="81"/>
                  </a:lnTo>
                  <a:lnTo>
                    <a:pt x="55" y="78"/>
                  </a:lnTo>
                  <a:lnTo>
                    <a:pt x="52" y="81"/>
                  </a:lnTo>
                  <a:lnTo>
                    <a:pt x="50" y="81"/>
                  </a:lnTo>
                  <a:lnTo>
                    <a:pt x="48" y="78"/>
                  </a:lnTo>
                  <a:lnTo>
                    <a:pt x="45" y="76"/>
                  </a:lnTo>
                  <a:lnTo>
                    <a:pt x="43" y="74"/>
                  </a:lnTo>
                  <a:lnTo>
                    <a:pt x="43" y="69"/>
                  </a:lnTo>
                  <a:lnTo>
                    <a:pt x="48" y="71"/>
                  </a:lnTo>
                  <a:lnTo>
                    <a:pt x="48" y="69"/>
                  </a:lnTo>
                  <a:lnTo>
                    <a:pt x="48" y="67"/>
                  </a:lnTo>
                  <a:lnTo>
                    <a:pt x="52" y="64"/>
                  </a:lnTo>
                  <a:lnTo>
                    <a:pt x="52" y="62"/>
                  </a:lnTo>
                  <a:lnTo>
                    <a:pt x="55" y="62"/>
                  </a:lnTo>
                  <a:lnTo>
                    <a:pt x="60" y="59"/>
                  </a:lnTo>
                  <a:lnTo>
                    <a:pt x="62" y="57"/>
                  </a:lnTo>
                  <a:lnTo>
                    <a:pt x="64" y="52"/>
                  </a:lnTo>
                  <a:lnTo>
                    <a:pt x="67" y="45"/>
                  </a:lnTo>
                  <a:lnTo>
                    <a:pt x="64" y="43"/>
                  </a:lnTo>
                  <a:lnTo>
                    <a:pt x="64" y="38"/>
                  </a:lnTo>
                  <a:lnTo>
                    <a:pt x="62" y="36"/>
                  </a:lnTo>
                  <a:lnTo>
                    <a:pt x="62" y="33"/>
                  </a:lnTo>
                  <a:lnTo>
                    <a:pt x="57" y="33"/>
                  </a:lnTo>
                  <a:lnTo>
                    <a:pt x="57" y="31"/>
                  </a:lnTo>
                  <a:lnTo>
                    <a:pt x="55" y="26"/>
                  </a:lnTo>
                  <a:lnTo>
                    <a:pt x="55" y="22"/>
                  </a:lnTo>
                  <a:lnTo>
                    <a:pt x="60" y="19"/>
                  </a:lnTo>
                  <a:lnTo>
                    <a:pt x="62" y="19"/>
                  </a:lnTo>
                  <a:lnTo>
                    <a:pt x="67" y="12"/>
                  </a:lnTo>
                  <a:lnTo>
                    <a:pt x="64" y="7"/>
                  </a:lnTo>
                  <a:lnTo>
                    <a:pt x="62" y="7"/>
                  </a:lnTo>
                  <a:lnTo>
                    <a:pt x="60" y="10"/>
                  </a:lnTo>
                  <a:lnTo>
                    <a:pt x="57" y="12"/>
                  </a:lnTo>
                  <a:lnTo>
                    <a:pt x="55" y="12"/>
                  </a:lnTo>
                  <a:lnTo>
                    <a:pt x="55" y="15"/>
                  </a:lnTo>
                  <a:lnTo>
                    <a:pt x="52" y="12"/>
                  </a:lnTo>
                  <a:lnTo>
                    <a:pt x="52" y="10"/>
                  </a:lnTo>
                  <a:lnTo>
                    <a:pt x="50" y="5"/>
                  </a:lnTo>
                  <a:lnTo>
                    <a:pt x="50" y="5"/>
                  </a:lnTo>
                  <a:lnTo>
                    <a:pt x="50" y="3"/>
                  </a:lnTo>
                  <a:lnTo>
                    <a:pt x="45" y="0"/>
                  </a:lnTo>
                  <a:lnTo>
                    <a:pt x="41" y="0"/>
                  </a:lnTo>
                  <a:lnTo>
                    <a:pt x="36" y="3"/>
                  </a:lnTo>
                  <a:lnTo>
                    <a:pt x="34" y="3"/>
                  </a:lnTo>
                  <a:lnTo>
                    <a:pt x="29" y="5"/>
                  </a:lnTo>
                  <a:lnTo>
                    <a:pt x="26" y="7"/>
                  </a:lnTo>
                  <a:lnTo>
                    <a:pt x="26" y="7"/>
                  </a:lnTo>
                  <a:lnTo>
                    <a:pt x="24" y="10"/>
                  </a:lnTo>
                  <a:lnTo>
                    <a:pt x="24" y="12"/>
                  </a:lnTo>
                  <a:lnTo>
                    <a:pt x="22" y="12"/>
                  </a:lnTo>
                  <a:lnTo>
                    <a:pt x="19" y="15"/>
                  </a:lnTo>
                  <a:lnTo>
                    <a:pt x="17" y="17"/>
                  </a:lnTo>
                  <a:lnTo>
                    <a:pt x="17" y="19"/>
                  </a:lnTo>
                  <a:lnTo>
                    <a:pt x="19" y="19"/>
                  </a:lnTo>
                  <a:lnTo>
                    <a:pt x="19" y="19"/>
                  </a:lnTo>
                  <a:lnTo>
                    <a:pt x="17" y="31"/>
                  </a:lnTo>
                  <a:lnTo>
                    <a:pt x="17" y="33"/>
                  </a:lnTo>
                  <a:lnTo>
                    <a:pt x="17" y="36"/>
                  </a:lnTo>
                  <a:lnTo>
                    <a:pt x="17" y="43"/>
                  </a:lnTo>
                  <a:lnTo>
                    <a:pt x="19" y="45"/>
                  </a:lnTo>
                  <a:lnTo>
                    <a:pt x="19" y="48"/>
                  </a:lnTo>
                  <a:lnTo>
                    <a:pt x="17" y="55"/>
                  </a:lnTo>
                  <a:lnTo>
                    <a:pt x="17" y="59"/>
                  </a:lnTo>
                  <a:lnTo>
                    <a:pt x="10" y="64"/>
                  </a:lnTo>
                  <a:lnTo>
                    <a:pt x="10" y="67"/>
                  </a:lnTo>
                  <a:lnTo>
                    <a:pt x="5" y="69"/>
                  </a:lnTo>
                  <a:lnTo>
                    <a:pt x="5" y="71"/>
                  </a:lnTo>
                  <a:lnTo>
                    <a:pt x="5" y="71"/>
                  </a:lnTo>
                  <a:lnTo>
                    <a:pt x="0" y="74"/>
                  </a:lnTo>
                  <a:lnTo>
                    <a:pt x="0" y="74"/>
                  </a:lnTo>
                  <a:lnTo>
                    <a:pt x="0" y="76"/>
                  </a:lnTo>
                  <a:lnTo>
                    <a:pt x="3" y="78"/>
                  </a:lnTo>
                  <a:lnTo>
                    <a:pt x="5" y="88"/>
                  </a:lnTo>
                  <a:lnTo>
                    <a:pt x="10" y="90"/>
                  </a:lnTo>
                  <a:lnTo>
                    <a:pt x="12" y="92"/>
                  </a:lnTo>
                  <a:lnTo>
                    <a:pt x="15" y="97"/>
                  </a:lnTo>
                  <a:lnTo>
                    <a:pt x="15" y="104"/>
                  </a:lnTo>
                  <a:lnTo>
                    <a:pt x="22" y="109"/>
                  </a:lnTo>
                  <a:lnTo>
                    <a:pt x="29" y="111"/>
                  </a:lnTo>
                  <a:lnTo>
                    <a:pt x="29" y="111"/>
                  </a:lnTo>
                  <a:lnTo>
                    <a:pt x="29" y="111"/>
                  </a:lnTo>
                  <a:lnTo>
                    <a:pt x="34" y="135"/>
                  </a:lnTo>
                  <a:lnTo>
                    <a:pt x="36" y="147"/>
                  </a:lnTo>
                  <a:lnTo>
                    <a:pt x="36" y="14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1" name="Freeform 855">
              <a:extLst>
                <a:ext uri="{FF2B5EF4-FFF2-40B4-BE49-F238E27FC236}">
                  <a16:creationId xmlns:a16="http://schemas.microsoft.com/office/drawing/2014/main" id="{966CB606-78ED-4A6D-82E7-F8F78B817778}"/>
                </a:ext>
              </a:extLst>
            </p:cNvPr>
            <p:cNvSpPr>
              <a:spLocks/>
            </p:cNvSpPr>
            <p:nvPr/>
          </p:nvSpPr>
          <p:spPr bwMode="auto">
            <a:xfrm>
              <a:off x="1608978" y="4652929"/>
              <a:ext cx="25399" cy="38100"/>
            </a:xfrm>
            <a:custGeom>
              <a:avLst/>
              <a:gdLst>
                <a:gd name="T0" fmla="*/ 16 w 16"/>
                <a:gd name="T1" fmla="*/ 5 h 24"/>
                <a:gd name="T2" fmla="*/ 16 w 16"/>
                <a:gd name="T3" fmla="*/ 0 h 24"/>
                <a:gd name="T4" fmla="*/ 14 w 16"/>
                <a:gd name="T5" fmla="*/ 0 h 24"/>
                <a:gd name="T6" fmla="*/ 9 w 16"/>
                <a:gd name="T7" fmla="*/ 0 h 24"/>
                <a:gd name="T8" fmla="*/ 7 w 16"/>
                <a:gd name="T9" fmla="*/ 5 h 24"/>
                <a:gd name="T10" fmla="*/ 5 w 16"/>
                <a:gd name="T11" fmla="*/ 8 h 24"/>
                <a:gd name="T12" fmla="*/ 0 w 16"/>
                <a:gd name="T13" fmla="*/ 10 h 24"/>
                <a:gd name="T14" fmla="*/ 2 w 16"/>
                <a:gd name="T15" fmla="*/ 12 h 24"/>
                <a:gd name="T16" fmla="*/ 2 w 16"/>
                <a:gd name="T17" fmla="*/ 17 h 24"/>
                <a:gd name="T18" fmla="*/ 2 w 16"/>
                <a:gd name="T19" fmla="*/ 19 h 24"/>
                <a:gd name="T20" fmla="*/ 2 w 16"/>
                <a:gd name="T21" fmla="*/ 22 h 24"/>
                <a:gd name="T22" fmla="*/ 5 w 16"/>
                <a:gd name="T23" fmla="*/ 24 h 24"/>
                <a:gd name="T24" fmla="*/ 9 w 16"/>
                <a:gd name="T25" fmla="*/ 24 h 24"/>
                <a:gd name="T26" fmla="*/ 9 w 16"/>
                <a:gd name="T27" fmla="*/ 19 h 24"/>
                <a:gd name="T28" fmla="*/ 9 w 16"/>
                <a:gd name="T29" fmla="*/ 15 h 24"/>
                <a:gd name="T30" fmla="*/ 12 w 16"/>
                <a:gd name="T31" fmla="*/ 10 h 24"/>
                <a:gd name="T32" fmla="*/ 14 w 16"/>
                <a:gd name="T33" fmla="*/ 8 h 24"/>
                <a:gd name="T34" fmla="*/ 16 w 16"/>
                <a:gd name="T35" fmla="*/ 5 h 24"/>
                <a:gd name="T36" fmla="*/ 16 w 16"/>
                <a:gd name="T37"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4">
                  <a:moveTo>
                    <a:pt x="16" y="5"/>
                  </a:moveTo>
                  <a:lnTo>
                    <a:pt x="16" y="0"/>
                  </a:lnTo>
                  <a:lnTo>
                    <a:pt x="14" y="0"/>
                  </a:lnTo>
                  <a:lnTo>
                    <a:pt x="9" y="0"/>
                  </a:lnTo>
                  <a:lnTo>
                    <a:pt x="7" y="5"/>
                  </a:lnTo>
                  <a:lnTo>
                    <a:pt x="5" y="8"/>
                  </a:lnTo>
                  <a:lnTo>
                    <a:pt x="0" y="10"/>
                  </a:lnTo>
                  <a:lnTo>
                    <a:pt x="2" y="12"/>
                  </a:lnTo>
                  <a:lnTo>
                    <a:pt x="2" y="17"/>
                  </a:lnTo>
                  <a:lnTo>
                    <a:pt x="2" y="19"/>
                  </a:lnTo>
                  <a:lnTo>
                    <a:pt x="2" y="22"/>
                  </a:lnTo>
                  <a:lnTo>
                    <a:pt x="5" y="24"/>
                  </a:lnTo>
                  <a:lnTo>
                    <a:pt x="9" y="24"/>
                  </a:lnTo>
                  <a:lnTo>
                    <a:pt x="9" y="19"/>
                  </a:lnTo>
                  <a:lnTo>
                    <a:pt x="9" y="15"/>
                  </a:lnTo>
                  <a:lnTo>
                    <a:pt x="12" y="10"/>
                  </a:lnTo>
                  <a:lnTo>
                    <a:pt x="14" y="8"/>
                  </a:lnTo>
                  <a:lnTo>
                    <a:pt x="16" y="5"/>
                  </a:lnTo>
                  <a:lnTo>
                    <a:pt x="16"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2" name="Freeform 856">
              <a:extLst>
                <a:ext uri="{FF2B5EF4-FFF2-40B4-BE49-F238E27FC236}">
                  <a16:creationId xmlns:a16="http://schemas.microsoft.com/office/drawing/2014/main" id="{2A7F696D-4359-430A-AD56-3AB7CCF7BFB8}"/>
                </a:ext>
              </a:extLst>
            </p:cNvPr>
            <p:cNvSpPr>
              <a:spLocks/>
            </p:cNvSpPr>
            <p:nvPr/>
          </p:nvSpPr>
          <p:spPr bwMode="auto">
            <a:xfrm>
              <a:off x="1608978" y="4652929"/>
              <a:ext cx="25399" cy="38100"/>
            </a:xfrm>
            <a:custGeom>
              <a:avLst/>
              <a:gdLst>
                <a:gd name="T0" fmla="*/ 16 w 16"/>
                <a:gd name="T1" fmla="*/ 5 h 24"/>
                <a:gd name="T2" fmla="*/ 16 w 16"/>
                <a:gd name="T3" fmla="*/ 0 h 24"/>
                <a:gd name="T4" fmla="*/ 14 w 16"/>
                <a:gd name="T5" fmla="*/ 0 h 24"/>
                <a:gd name="T6" fmla="*/ 9 w 16"/>
                <a:gd name="T7" fmla="*/ 0 h 24"/>
                <a:gd name="T8" fmla="*/ 7 w 16"/>
                <a:gd name="T9" fmla="*/ 5 h 24"/>
                <a:gd name="T10" fmla="*/ 5 w 16"/>
                <a:gd name="T11" fmla="*/ 8 h 24"/>
                <a:gd name="T12" fmla="*/ 0 w 16"/>
                <a:gd name="T13" fmla="*/ 10 h 24"/>
                <a:gd name="T14" fmla="*/ 2 w 16"/>
                <a:gd name="T15" fmla="*/ 12 h 24"/>
                <a:gd name="T16" fmla="*/ 2 w 16"/>
                <a:gd name="T17" fmla="*/ 17 h 24"/>
                <a:gd name="T18" fmla="*/ 2 w 16"/>
                <a:gd name="T19" fmla="*/ 19 h 24"/>
                <a:gd name="T20" fmla="*/ 2 w 16"/>
                <a:gd name="T21" fmla="*/ 22 h 24"/>
                <a:gd name="T22" fmla="*/ 5 w 16"/>
                <a:gd name="T23" fmla="*/ 24 h 24"/>
                <a:gd name="T24" fmla="*/ 9 w 16"/>
                <a:gd name="T25" fmla="*/ 24 h 24"/>
                <a:gd name="T26" fmla="*/ 9 w 16"/>
                <a:gd name="T27" fmla="*/ 19 h 24"/>
                <a:gd name="T28" fmla="*/ 9 w 16"/>
                <a:gd name="T29" fmla="*/ 15 h 24"/>
                <a:gd name="T30" fmla="*/ 12 w 16"/>
                <a:gd name="T31" fmla="*/ 10 h 24"/>
                <a:gd name="T32" fmla="*/ 14 w 16"/>
                <a:gd name="T33" fmla="*/ 8 h 24"/>
                <a:gd name="T34" fmla="*/ 16 w 16"/>
                <a:gd name="T35" fmla="*/ 5 h 24"/>
                <a:gd name="T36" fmla="*/ 16 w 16"/>
                <a:gd name="T37"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4">
                  <a:moveTo>
                    <a:pt x="16" y="5"/>
                  </a:moveTo>
                  <a:lnTo>
                    <a:pt x="16" y="0"/>
                  </a:lnTo>
                  <a:lnTo>
                    <a:pt x="14" y="0"/>
                  </a:lnTo>
                  <a:lnTo>
                    <a:pt x="9" y="0"/>
                  </a:lnTo>
                  <a:lnTo>
                    <a:pt x="7" y="5"/>
                  </a:lnTo>
                  <a:lnTo>
                    <a:pt x="5" y="8"/>
                  </a:lnTo>
                  <a:lnTo>
                    <a:pt x="0" y="10"/>
                  </a:lnTo>
                  <a:lnTo>
                    <a:pt x="2" y="12"/>
                  </a:lnTo>
                  <a:lnTo>
                    <a:pt x="2" y="17"/>
                  </a:lnTo>
                  <a:lnTo>
                    <a:pt x="2" y="19"/>
                  </a:lnTo>
                  <a:lnTo>
                    <a:pt x="2" y="22"/>
                  </a:lnTo>
                  <a:lnTo>
                    <a:pt x="5" y="24"/>
                  </a:lnTo>
                  <a:lnTo>
                    <a:pt x="9" y="24"/>
                  </a:lnTo>
                  <a:lnTo>
                    <a:pt x="9" y="19"/>
                  </a:lnTo>
                  <a:lnTo>
                    <a:pt x="9" y="15"/>
                  </a:lnTo>
                  <a:lnTo>
                    <a:pt x="12" y="10"/>
                  </a:lnTo>
                  <a:lnTo>
                    <a:pt x="14" y="8"/>
                  </a:lnTo>
                  <a:lnTo>
                    <a:pt x="16" y="5"/>
                  </a:lnTo>
                  <a:lnTo>
                    <a:pt x="16"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3" name="Freeform 857">
              <a:extLst>
                <a:ext uri="{FF2B5EF4-FFF2-40B4-BE49-F238E27FC236}">
                  <a16:creationId xmlns:a16="http://schemas.microsoft.com/office/drawing/2014/main" id="{85F0C53D-AD11-4610-B23C-5C3A313127B0}"/>
                </a:ext>
              </a:extLst>
            </p:cNvPr>
            <p:cNvSpPr>
              <a:spLocks/>
            </p:cNvSpPr>
            <p:nvPr/>
          </p:nvSpPr>
          <p:spPr bwMode="auto">
            <a:xfrm>
              <a:off x="1675653" y="4225891"/>
              <a:ext cx="363537" cy="225425"/>
            </a:xfrm>
            <a:custGeom>
              <a:avLst/>
              <a:gdLst>
                <a:gd name="T0" fmla="*/ 140 w 229"/>
                <a:gd name="T1" fmla="*/ 0 h 142"/>
                <a:gd name="T2" fmla="*/ 130 w 229"/>
                <a:gd name="T3" fmla="*/ 5 h 142"/>
                <a:gd name="T4" fmla="*/ 126 w 229"/>
                <a:gd name="T5" fmla="*/ 12 h 142"/>
                <a:gd name="T6" fmla="*/ 121 w 229"/>
                <a:gd name="T7" fmla="*/ 17 h 142"/>
                <a:gd name="T8" fmla="*/ 114 w 229"/>
                <a:gd name="T9" fmla="*/ 26 h 142"/>
                <a:gd name="T10" fmla="*/ 107 w 229"/>
                <a:gd name="T11" fmla="*/ 31 h 142"/>
                <a:gd name="T12" fmla="*/ 102 w 229"/>
                <a:gd name="T13" fmla="*/ 33 h 142"/>
                <a:gd name="T14" fmla="*/ 95 w 229"/>
                <a:gd name="T15" fmla="*/ 33 h 142"/>
                <a:gd name="T16" fmla="*/ 83 w 229"/>
                <a:gd name="T17" fmla="*/ 36 h 142"/>
                <a:gd name="T18" fmla="*/ 78 w 229"/>
                <a:gd name="T19" fmla="*/ 38 h 142"/>
                <a:gd name="T20" fmla="*/ 83 w 229"/>
                <a:gd name="T21" fmla="*/ 43 h 142"/>
                <a:gd name="T22" fmla="*/ 78 w 229"/>
                <a:gd name="T23" fmla="*/ 47 h 142"/>
                <a:gd name="T24" fmla="*/ 76 w 229"/>
                <a:gd name="T25" fmla="*/ 50 h 142"/>
                <a:gd name="T26" fmla="*/ 66 w 229"/>
                <a:gd name="T27" fmla="*/ 52 h 142"/>
                <a:gd name="T28" fmla="*/ 59 w 229"/>
                <a:gd name="T29" fmla="*/ 52 h 142"/>
                <a:gd name="T30" fmla="*/ 50 w 229"/>
                <a:gd name="T31" fmla="*/ 57 h 142"/>
                <a:gd name="T32" fmla="*/ 45 w 229"/>
                <a:gd name="T33" fmla="*/ 59 h 142"/>
                <a:gd name="T34" fmla="*/ 40 w 229"/>
                <a:gd name="T35" fmla="*/ 57 h 142"/>
                <a:gd name="T36" fmla="*/ 38 w 229"/>
                <a:gd name="T37" fmla="*/ 55 h 142"/>
                <a:gd name="T38" fmla="*/ 36 w 229"/>
                <a:gd name="T39" fmla="*/ 59 h 142"/>
                <a:gd name="T40" fmla="*/ 26 w 229"/>
                <a:gd name="T41" fmla="*/ 62 h 142"/>
                <a:gd name="T42" fmla="*/ 19 w 229"/>
                <a:gd name="T43" fmla="*/ 62 h 142"/>
                <a:gd name="T44" fmla="*/ 14 w 229"/>
                <a:gd name="T45" fmla="*/ 71 h 142"/>
                <a:gd name="T46" fmla="*/ 5 w 229"/>
                <a:gd name="T47" fmla="*/ 85 h 142"/>
                <a:gd name="T48" fmla="*/ 3 w 229"/>
                <a:gd name="T49" fmla="*/ 97 h 142"/>
                <a:gd name="T50" fmla="*/ 5 w 229"/>
                <a:gd name="T51" fmla="*/ 114 h 142"/>
                <a:gd name="T52" fmla="*/ 19 w 229"/>
                <a:gd name="T53" fmla="*/ 137 h 142"/>
                <a:gd name="T54" fmla="*/ 31 w 229"/>
                <a:gd name="T55" fmla="*/ 137 h 142"/>
                <a:gd name="T56" fmla="*/ 52 w 229"/>
                <a:gd name="T57" fmla="*/ 128 h 142"/>
                <a:gd name="T58" fmla="*/ 66 w 229"/>
                <a:gd name="T59" fmla="*/ 132 h 142"/>
                <a:gd name="T60" fmla="*/ 78 w 229"/>
                <a:gd name="T61" fmla="*/ 128 h 142"/>
                <a:gd name="T62" fmla="*/ 78 w 229"/>
                <a:gd name="T63" fmla="*/ 114 h 142"/>
                <a:gd name="T64" fmla="*/ 85 w 229"/>
                <a:gd name="T65" fmla="*/ 104 h 142"/>
                <a:gd name="T66" fmla="*/ 97 w 229"/>
                <a:gd name="T67" fmla="*/ 102 h 142"/>
                <a:gd name="T68" fmla="*/ 109 w 229"/>
                <a:gd name="T69" fmla="*/ 114 h 142"/>
                <a:gd name="T70" fmla="*/ 118 w 229"/>
                <a:gd name="T71" fmla="*/ 116 h 142"/>
                <a:gd name="T72" fmla="*/ 142 w 229"/>
                <a:gd name="T73" fmla="*/ 116 h 142"/>
                <a:gd name="T74" fmla="*/ 154 w 229"/>
                <a:gd name="T75" fmla="*/ 109 h 142"/>
                <a:gd name="T76" fmla="*/ 166 w 229"/>
                <a:gd name="T77" fmla="*/ 107 h 142"/>
                <a:gd name="T78" fmla="*/ 180 w 229"/>
                <a:gd name="T79" fmla="*/ 104 h 142"/>
                <a:gd name="T80" fmla="*/ 182 w 229"/>
                <a:gd name="T81" fmla="*/ 107 h 142"/>
                <a:gd name="T82" fmla="*/ 189 w 229"/>
                <a:gd name="T83" fmla="*/ 102 h 142"/>
                <a:gd name="T84" fmla="*/ 208 w 229"/>
                <a:gd name="T85" fmla="*/ 99 h 142"/>
                <a:gd name="T86" fmla="*/ 218 w 229"/>
                <a:gd name="T87" fmla="*/ 104 h 142"/>
                <a:gd name="T88" fmla="*/ 227 w 229"/>
                <a:gd name="T89" fmla="*/ 99 h 142"/>
                <a:gd name="T90" fmla="*/ 215 w 229"/>
                <a:gd name="T91" fmla="*/ 88 h 142"/>
                <a:gd name="T92" fmla="*/ 211 w 229"/>
                <a:gd name="T93" fmla="*/ 81 h 142"/>
                <a:gd name="T94" fmla="*/ 203 w 229"/>
                <a:gd name="T95" fmla="*/ 71 h 142"/>
                <a:gd name="T96" fmla="*/ 189 w 229"/>
                <a:gd name="T97" fmla="*/ 59 h 142"/>
                <a:gd name="T98" fmla="*/ 187 w 229"/>
                <a:gd name="T99" fmla="*/ 52 h 142"/>
                <a:gd name="T100" fmla="*/ 175 w 229"/>
                <a:gd name="T101" fmla="*/ 47 h 142"/>
                <a:gd name="T102" fmla="*/ 166 w 229"/>
                <a:gd name="T103" fmla="*/ 40 h 142"/>
                <a:gd name="T104" fmla="*/ 159 w 229"/>
                <a:gd name="T105" fmla="*/ 33 h 142"/>
                <a:gd name="T106" fmla="*/ 159 w 229"/>
                <a:gd name="T107" fmla="*/ 17 h 142"/>
                <a:gd name="T108" fmla="*/ 144 w 229"/>
                <a:gd name="T10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 h="142">
                  <a:moveTo>
                    <a:pt x="144" y="0"/>
                  </a:moveTo>
                  <a:lnTo>
                    <a:pt x="142" y="0"/>
                  </a:lnTo>
                  <a:lnTo>
                    <a:pt x="140" y="0"/>
                  </a:lnTo>
                  <a:lnTo>
                    <a:pt x="135" y="0"/>
                  </a:lnTo>
                  <a:lnTo>
                    <a:pt x="133" y="3"/>
                  </a:lnTo>
                  <a:lnTo>
                    <a:pt x="130" y="5"/>
                  </a:lnTo>
                  <a:lnTo>
                    <a:pt x="128" y="7"/>
                  </a:lnTo>
                  <a:lnTo>
                    <a:pt x="128" y="12"/>
                  </a:lnTo>
                  <a:lnTo>
                    <a:pt x="126" y="12"/>
                  </a:lnTo>
                  <a:lnTo>
                    <a:pt x="123" y="17"/>
                  </a:lnTo>
                  <a:lnTo>
                    <a:pt x="123" y="17"/>
                  </a:lnTo>
                  <a:lnTo>
                    <a:pt x="121" y="17"/>
                  </a:lnTo>
                  <a:lnTo>
                    <a:pt x="116" y="21"/>
                  </a:lnTo>
                  <a:lnTo>
                    <a:pt x="116" y="26"/>
                  </a:lnTo>
                  <a:lnTo>
                    <a:pt x="114" y="26"/>
                  </a:lnTo>
                  <a:lnTo>
                    <a:pt x="111" y="29"/>
                  </a:lnTo>
                  <a:lnTo>
                    <a:pt x="109" y="29"/>
                  </a:lnTo>
                  <a:lnTo>
                    <a:pt x="107" y="31"/>
                  </a:lnTo>
                  <a:lnTo>
                    <a:pt x="107" y="33"/>
                  </a:lnTo>
                  <a:lnTo>
                    <a:pt x="104" y="33"/>
                  </a:lnTo>
                  <a:lnTo>
                    <a:pt x="102" y="33"/>
                  </a:lnTo>
                  <a:lnTo>
                    <a:pt x="100" y="33"/>
                  </a:lnTo>
                  <a:lnTo>
                    <a:pt x="97" y="33"/>
                  </a:lnTo>
                  <a:lnTo>
                    <a:pt x="95" y="33"/>
                  </a:lnTo>
                  <a:lnTo>
                    <a:pt x="92" y="33"/>
                  </a:lnTo>
                  <a:lnTo>
                    <a:pt x="88" y="33"/>
                  </a:lnTo>
                  <a:lnTo>
                    <a:pt x="83" y="36"/>
                  </a:lnTo>
                  <a:lnTo>
                    <a:pt x="81" y="36"/>
                  </a:lnTo>
                  <a:lnTo>
                    <a:pt x="81" y="36"/>
                  </a:lnTo>
                  <a:lnTo>
                    <a:pt x="78" y="38"/>
                  </a:lnTo>
                  <a:lnTo>
                    <a:pt x="81" y="38"/>
                  </a:lnTo>
                  <a:lnTo>
                    <a:pt x="81" y="40"/>
                  </a:lnTo>
                  <a:lnTo>
                    <a:pt x="83" y="43"/>
                  </a:lnTo>
                  <a:lnTo>
                    <a:pt x="81" y="43"/>
                  </a:lnTo>
                  <a:lnTo>
                    <a:pt x="81" y="45"/>
                  </a:lnTo>
                  <a:lnTo>
                    <a:pt x="78" y="47"/>
                  </a:lnTo>
                  <a:lnTo>
                    <a:pt x="78" y="47"/>
                  </a:lnTo>
                  <a:lnTo>
                    <a:pt x="76" y="47"/>
                  </a:lnTo>
                  <a:lnTo>
                    <a:pt x="76" y="50"/>
                  </a:lnTo>
                  <a:lnTo>
                    <a:pt x="74" y="52"/>
                  </a:lnTo>
                  <a:lnTo>
                    <a:pt x="74" y="52"/>
                  </a:lnTo>
                  <a:lnTo>
                    <a:pt x="66" y="52"/>
                  </a:lnTo>
                  <a:lnTo>
                    <a:pt x="64" y="52"/>
                  </a:lnTo>
                  <a:lnTo>
                    <a:pt x="62" y="52"/>
                  </a:lnTo>
                  <a:lnTo>
                    <a:pt x="59" y="52"/>
                  </a:lnTo>
                  <a:lnTo>
                    <a:pt x="52" y="55"/>
                  </a:lnTo>
                  <a:lnTo>
                    <a:pt x="50" y="57"/>
                  </a:lnTo>
                  <a:lnTo>
                    <a:pt x="50" y="57"/>
                  </a:lnTo>
                  <a:lnTo>
                    <a:pt x="48" y="59"/>
                  </a:lnTo>
                  <a:lnTo>
                    <a:pt x="45" y="59"/>
                  </a:lnTo>
                  <a:lnTo>
                    <a:pt x="45" y="59"/>
                  </a:lnTo>
                  <a:lnTo>
                    <a:pt x="43" y="62"/>
                  </a:lnTo>
                  <a:lnTo>
                    <a:pt x="40" y="59"/>
                  </a:lnTo>
                  <a:lnTo>
                    <a:pt x="40" y="57"/>
                  </a:lnTo>
                  <a:lnTo>
                    <a:pt x="38" y="55"/>
                  </a:lnTo>
                  <a:lnTo>
                    <a:pt x="38" y="55"/>
                  </a:lnTo>
                  <a:lnTo>
                    <a:pt x="38" y="55"/>
                  </a:lnTo>
                  <a:lnTo>
                    <a:pt x="36" y="57"/>
                  </a:lnTo>
                  <a:lnTo>
                    <a:pt x="36" y="57"/>
                  </a:lnTo>
                  <a:lnTo>
                    <a:pt x="36" y="59"/>
                  </a:lnTo>
                  <a:lnTo>
                    <a:pt x="31" y="59"/>
                  </a:lnTo>
                  <a:lnTo>
                    <a:pt x="29" y="62"/>
                  </a:lnTo>
                  <a:lnTo>
                    <a:pt x="26" y="62"/>
                  </a:lnTo>
                  <a:lnTo>
                    <a:pt x="24" y="62"/>
                  </a:lnTo>
                  <a:lnTo>
                    <a:pt x="22" y="62"/>
                  </a:lnTo>
                  <a:lnTo>
                    <a:pt x="19" y="62"/>
                  </a:lnTo>
                  <a:lnTo>
                    <a:pt x="17" y="62"/>
                  </a:lnTo>
                  <a:lnTo>
                    <a:pt x="17" y="62"/>
                  </a:lnTo>
                  <a:lnTo>
                    <a:pt x="14" y="71"/>
                  </a:lnTo>
                  <a:lnTo>
                    <a:pt x="10" y="76"/>
                  </a:lnTo>
                  <a:lnTo>
                    <a:pt x="7" y="81"/>
                  </a:lnTo>
                  <a:lnTo>
                    <a:pt x="5" y="85"/>
                  </a:lnTo>
                  <a:lnTo>
                    <a:pt x="0" y="90"/>
                  </a:lnTo>
                  <a:lnTo>
                    <a:pt x="0" y="92"/>
                  </a:lnTo>
                  <a:lnTo>
                    <a:pt x="3" y="97"/>
                  </a:lnTo>
                  <a:lnTo>
                    <a:pt x="3" y="102"/>
                  </a:lnTo>
                  <a:lnTo>
                    <a:pt x="3" y="109"/>
                  </a:lnTo>
                  <a:lnTo>
                    <a:pt x="5" y="114"/>
                  </a:lnTo>
                  <a:lnTo>
                    <a:pt x="7" y="118"/>
                  </a:lnTo>
                  <a:lnTo>
                    <a:pt x="17" y="132"/>
                  </a:lnTo>
                  <a:lnTo>
                    <a:pt x="19" y="137"/>
                  </a:lnTo>
                  <a:lnTo>
                    <a:pt x="26" y="142"/>
                  </a:lnTo>
                  <a:lnTo>
                    <a:pt x="29" y="142"/>
                  </a:lnTo>
                  <a:lnTo>
                    <a:pt x="31" y="137"/>
                  </a:lnTo>
                  <a:lnTo>
                    <a:pt x="38" y="132"/>
                  </a:lnTo>
                  <a:lnTo>
                    <a:pt x="45" y="128"/>
                  </a:lnTo>
                  <a:lnTo>
                    <a:pt x="52" y="128"/>
                  </a:lnTo>
                  <a:lnTo>
                    <a:pt x="57" y="130"/>
                  </a:lnTo>
                  <a:lnTo>
                    <a:pt x="62" y="132"/>
                  </a:lnTo>
                  <a:lnTo>
                    <a:pt x="66" y="132"/>
                  </a:lnTo>
                  <a:lnTo>
                    <a:pt x="71" y="130"/>
                  </a:lnTo>
                  <a:lnTo>
                    <a:pt x="74" y="128"/>
                  </a:lnTo>
                  <a:lnTo>
                    <a:pt x="78" y="128"/>
                  </a:lnTo>
                  <a:lnTo>
                    <a:pt x="76" y="123"/>
                  </a:lnTo>
                  <a:lnTo>
                    <a:pt x="78" y="118"/>
                  </a:lnTo>
                  <a:lnTo>
                    <a:pt x="78" y="114"/>
                  </a:lnTo>
                  <a:lnTo>
                    <a:pt x="81" y="111"/>
                  </a:lnTo>
                  <a:lnTo>
                    <a:pt x="83" y="107"/>
                  </a:lnTo>
                  <a:lnTo>
                    <a:pt x="85" y="104"/>
                  </a:lnTo>
                  <a:lnTo>
                    <a:pt x="90" y="102"/>
                  </a:lnTo>
                  <a:lnTo>
                    <a:pt x="92" y="102"/>
                  </a:lnTo>
                  <a:lnTo>
                    <a:pt x="97" y="102"/>
                  </a:lnTo>
                  <a:lnTo>
                    <a:pt x="102" y="104"/>
                  </a:lnTo>
                  <a:lnTo>
                    <a:pt x="102" y="109"/>
                  </a:lnTo>
                  <a:lnTo>
                    <a:pt x="109" y="114"/>
                  </a:lnTo>
                  <a:lnTo>
                    <a:pt x="111" y="114"/>
                  </a:lnTo>
                  <a:lnTo>
                    <a:pt x="114" y="111"/>
                  </a:lnTo>
                  <a:lnTo>
                    <a:pt x="118" y="116"/>
                  </a:lnTo>
                  <a:lnTo>
                    <a:pt x="126" y="116"/>
                  </a:lnTo>
                  <a:lnTo>
                    <a:pt x="140" y="116"/>
                  </a:lnTo>
                  <a:lnTo>
                    <a:pt x="142" y="116"/>
                  </a:lnTo>
                  <a:lnTo>
                    <a:pt x="144" y="111"/>
                  </a:lnTo>
                  <a:lnTo>
                    <a:pt x="149" y="107"/>
                  </a:lnTo>
                  <a:lnTo>
                    <a:pt x="154" y="109"/>
                  </a:lnTo>
                  <a:lnTo>
                    <a:pt x="156" y="111"/>
                  </a:lnTo>
                  <a:lnTo>
                    <a:pt x="163" y="109"/>
                  </a:lnTo>
                  <a:lnTo>
                    <a:pt x="166" y="107"/>
                  </a:lnTo>
                  <a:lnTo>
                    <a:pt x="175" y="104"/>
                  </a:lnTo>
                  <a:lnTo>
                    <a:pt x="177" y="104"/>
                  </a:lnTo>
                  <a:lnTo>
                    <a:pt x="180" y="104"/>
                  </a:lnTo>
                  <a:lnTo>
                    <a:pt x="180" y="104"/>
                  </a:lnTo>
                  <a:lnTo>
                    <a:pt x="180" y="104"/>
                  </a:lnTo>
                  <a:lnTo>
                    <a:pt x="182" y="107"/>
                  </a:lnTo>
                  <a:lnTo>
                    <a:pt x="185" y="104"/>
                  </a:lnTo>
                  <a:lnTo>
                    <a:pt x="189" y="104"/>
                  </a:lnTo>
                  <a:lnTo>
                    <a:pt x="189" y="102"/>
                  </a:lnTo>
                  <a:lnTo>
                    <a:pt x="196" y="102"/>
                  </a:lnTo>
                  <a:lnTo>
                    <a:pt x="203" y="102"/>
                  </a:lnTo>
                  <a:lnTo>
                    <a:pt x="208" y="99"/>
                  </a:lnTo>
                  <a:lnTo>
                    <a:pt x="213" y="104"/>
                  </a:lnTo>
                  <a:lnTo>
                    <a:pt x="215" y="102"/>
                  </a:lnTo>
                  <a:lnTo>
                    <a:pt x="218" y="104"/>
                  </a:lnTo>
                  <a:lnTo>
                    <a:pt x="220" y="102"/>
                  </a:lnTo>
                  <a:lnTo>
                    <a:pt x="229" y="102"/>
                  </a:lnTo>
                  <a:lnTo>
                    <a:pt x="227" y="99"/>
                  </a:lnTo>
                  <a:lnTo>
                    <a:pt x="227" y="97"/>
                  </a:lnTo>
                  <a:lnTo>
                    <a:pt x="225" y="92"/>
                  </a:lnTo>
                  <a:lnTo>
                    <a:pt x="215" y="88"/>
                  </a:lnTo>
                  <a:lnTo>
                    <a:pt x="213" y="85"/>
                  </a:lnTo>
                  <a:lnTo>
                    <a:pt x="213" y="83"/>
                  </a:lnTo>
                  <a:lnTo>
                    <a:pt x="211" y="81"/>
                  </a:lnTo>
                  <a:lnTo>
                    <a:pt x="208" y="76"/>
                  </a:lnTo>
                  <a:lnTo>
                    <a:pt x="208" y="73"/>
                  </a:lnTo>
                  <a:lnTo>
                    <a:pt x="203" y="71"/>
                  </a:lnTo>
                  <a:lnTo>
                    <a:pt x="201" y="69"/>
                  </a:lnTo>
                  <a:lnTo>
                    <a:pt x="196" y="64"/>
                  </a:lnTo>
                  <a:lnTo>
                    <a:pt x="189" y="59"/>
                  </a:lnTo>
                  <a:lnTo>
                    <a:pt x="187" y="57"/>
                  </a:lnTo>
                  <a:lnTo>
                    <a:pt x="189" y="52"/>
                  </a:lnTo>
                  <a:lnTo>
                    <a:pt x="187" y="52"/>
                  </a:lnTo>
                  <a:lnTo>
                    <a:pt x="185" y="50"/>
                  </a:lnTo>
                  <a:lnTo>
                    <a:pt x="182" y="47"/>
                  </a:lnTo>
                  <a:lnTo>
                    <a:pt x="175" y="47"/>
                  </a:lnTo>
                  <a:lnTo>
                    <a:pt x="173" y="45"/>
                  </a:lnTo>
                  <a:lnTo>
                    <a:pt x="170" y="40"/>
                  </a:lnTo>
                  <a:lnTo>
                    <a:pt x="166" y="40"/>
                  </a:lnTo>
                  <a:lnTo>
                    <a:pt x="163" y="40"/>
                  </a:lnTo>
                  <a:lnTo>
                    <a:pt x="159" y="36"/>
                  </a:lnTo>
                  <a:lnTo>
                    <a:pt x="159" y="33"/>
                  </a:lnTo>
                  <a:lnTo>
                    <a:pt x="159" y="26"/>
                  </a:lnTo>
                  <a:lnTo>
                    <a:pt x="161" y="21"/>
                  </a:lnTo>
                  <a:lnTo>
                    <a:pt x="159" y="17"/>
                  </a:lnTo>
                  <a:lnTo>
                    <a:pt x="154" y="10"/>
                  </a:lnTo>
                  <a:lnTo>
                    <a:pt x="149" y="3"/>
                  </a:lnTo>
                  <a:lnTo>
                    <a:pt x="14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4" name="Freeform 858">
              <a:extLst>
                <a:ext uri="{FF2B5EF4-FFF2-40B4-BE49-F238E27FC236}">
                  <a16:creationId xmlns:a16="http://schemas.microsoft.com/office/drawing/2014/main" id="{CC1BA5DA-B0BF-4C92-BC9E-F3C3781A5155}"/>
                </a:ext>
              </a:extLst>
            </p:cNvPr>
            <p:cNvSpPr>
              <a:spLocks/>
            </p:cNvSpPr>
            <p:nvPr/>
          </p:nvSpPr>
          <p:spPr bwMode="auto">
            <a:xfrm>
              <a:off x="1675653" y="4225891"/>
              <a:ext cx="363537" cy="225425"/>
            </a:xfrm>
            <a:custGeom>
              <a:avLst/>
              <a:gdLst>
                <a:gd name="T0" fmla="*/ 140 w 229"/>
                <a:gd name="T1" fmla="*/ 0 h 142"/>
                <a:gd name="T2" fmla="*/ 130 w 229"/>
                <a:gd name="T3" fmla="*/ 5 h 142"/>
                <a:gd name="T4" fmla="*/ 126 w 229"/>
                <a:gd name="T5" fmla="*/ 12 h 142"/>
                <a:gd name="T6" fmla="*/ 121 w 229"/>
                <a:gd name="T7" fmla="*/ 17 h 142"/>
                <a:gd name="T8" fmla="*/ 114 w 229"/>
                <a:gd name="T9" fmla="*/ 26 h 142"/>
                <a:gd name="T10" fmla="*/ 107 w 229"/>
                <a:gd name="T11" fmla="*/ 31 h 142"/>
                <a:gd name="T12" fmla="*/ 102 w 229"/>
                <a:gd name="T13" fmla="*/ 33 h 142"/>
                <a:gd name="T14" fmla="*/ 95 w 229"/>
                <a:gd name="T15" fmla="*/ 33 h 142"/>
                <a:gd name="T16" fmla="*/ 83 w 229"/>
                <a:gd name="T17" fmla="*/ 36 h 142"/>
                <a:gd name="T18" fmla="*/ 78 w 229"/>
                <a:gd name="T19" fmla="*/ 38 h 142"/>
                <a:gd name="T20" fmla="*/ 83 w 229"/>
                <a:gd name="T21" fmla="*/ 43 h 142"/>
                <a:gd name="T22" fmla="*/ 78 w 229"/>
                <a:gd name="T23" fmla="*/ 47 h 142"/>
                <a:gd name="T24" fmla="*/ 76 w 229"/>
                <a:gd name="T25" fmla="*/ 50 h 142"/>
                <a:gd name="T26" fmla="*/ 66 w 229"/>
                <a:gd name="T27" fmla="*/ 52 h 142"/>
                <a:gd name="T28" fmla="*/ 59 w 229"/>
                <a:gd name="T29" fmla="*/ 52 h 142"/>
                <a:gd name="T30" fmla="*/ 50 w 229"/>
                <a:gd name="T31" fmla="*/ 57 h 142"/>
                <a:gd name="T32" fmla="*/ 45 w 229"/>
                <a:gd name="T33" fmla="*/ 59 h 142"/>
                <a:gd name="T34" fmla="*/ 40 w 229"/>
                <a:gd name="T35" fmla="*/ 57 h 142"/>
                <a:gd name="T36" fmla="*/ 38 w 229"/>
                <a:gd name="T37" fmla="*/ 55 h 142"/>
                <a:gd name="T38" fmla="*/ 36 w 229"/>
                <a:gd name="T39" fmla="*/ 59 h 142"/>
                <a:gd name="T40" fmla="*/ 26 w 229"/>
                <a:gd name="T41" fmla="*/ 62 h 142"/>
                <a:gd name="T42" fmla="*/ 19 w 229"/>
                <a:gd name="T43" fmla="*/ 62 h 142"/>
                <a:gd name="T44" fmla="*/ 14 w 229"/>
                <a:gd name="T45" fmla="*/ 71 h 142"/>
                <a:gd name="T46" fmla="*/ 5 w 229"/>
                <a:gd name="T47" fmla="*/ 85 h 142"/>
                <a:gd name="T48" fmla="*/ 3 w 229"/>
                <a:gd name="T49" fmla="*/ 97 h 142"/>
                <a:gd name="T50" fmla="*/ 5 w 229"/>
                <a:gd name="T51" fmla="*/ 114 h 142"/>
                <a:gd name="T52" fmla="*/ 19 w 229"/>
                <a:gd name="T53" fmla="*/ 137 h 142"/>
                <a:gd name="T54" fmla="*/ 31 w 229"/>
                <a:gd name="T55" fmla="*/ 137 h 142"/>
                <a:gd name="T56" fmla="*/ 52 w 229"/>
                <a:gd name="T57" fmla="*/ 128 h 142"/>
                <a:gd name="T58" fmla="*/ 66 w 229"/>
                <a:gd name="T59" fmla="*/ 132 h 142"/>
                <a:gd name="T60" fmla="*/ 78 w 229"/>
                <a:gd name="T61" fmla="*/ 128 h 142"/>
                <a:gd name="T62" fmla="*/ 78 w 229"/>
                <a:gd name="T63" fmla="*/ 114 h 142"/>
                <a:gd name="T64" fmla="*/ 85 w 229"/>
                <a:gd name="T65" fmla="*/ 104 h 142"/>
                <a:gd name="T66" fmla="*/ 97 w 229"/>
                <a:gd name="T67" fmla="*/ 102 h 142"/>
                <a:gd name="T68" fmla="*/ 109 w 229"/>
                <a:gd name="T69" fmla="*/ 114 h 142"/>
                <a:gd name="T70" fmla="*/ 118 w 229"/>
                <a:gd name="T71" fmla="*/ 116 h 142"/>
                <a:gd name="T72" fmla="*/ 142 w 229"/>
                <a:gd name="T73" fmla="*/ 116 h 142"/>
                <a:gd name="T74" fmla="*/ 154 w 229"/>
                <a:gd name="T75" fmla="*/ 109 h 142"/>
                <a:gd name="T76" fmla="*/ 166 w 229"/>
                <a:gd name="T77" fmla="*/ 107 h 142"/>
                <a:gd name="T78" fmla="*/ 180 w 229"/>
                <a:gd name="T79" fmla="*/ 104 h 142"/>
                <a:gd name="T80" fmla="*/ 182 w 229"/>
                <a:gd name="T81" fmla="*/ 107 h 142"/>
                <a:gd name="T82" fmla="*/ 189 w 229"/>
                <a:gd name="T83" fmla="*/ 102 h 142"/>
                <a:gd name="T84" fmla="*/ 208 w 229"/>
                <a:gd name="T85" fmla="*/ 99 h 142"/>
                <a:gd name="T86" fmla="*/ 218 w 229"/>
                <a:gd name="T87" fmla="*/ 104 h 142"/>
                <a:gd name="T88" fmla="*/ 227 w 229"/>
                <a:gd name="T89" fmla="*/ 99 h 142"/>
                <a:gd name="T90" fmla="*/ 215 w 229"/>
                <a:gd name="T91" fmla="*/ 88 h 142"/>
                <a:gd name="T92" fmla="*/ 211 w 229"/>
                <a:gd name="T93" fmla="*/ 81 h 142"/>
                <a:gd name="T94" fmla="*/ 203 w 229"/>
                <a:gd name="T95" fmla="*/ 71 h 142"/>
                <a:gd name="T96" fmla="*/ 189 w 229"/>
                <a:gd name="T97" fmla="*/ 59 h 142"/>
                <a:gd name="T98" fmla="*/ 187 w 229"/>
                <a:gd name="T99" fmla="*/ 52 h 142"/>
                <a:gd name="T100" fmla="*/ 175 w 229"/>
                <a:gd name="T101" fmla="*/ 47 h 142"/>
                <a:gd name="T102" fmla="*/ 166 w 229"/>
                <a:gd name="T103" fmla="*/ 40 h 142"/>
                <a:gd name="T104" fmla="*/ 159 w 229"/>
                <a:gd name="T105" fmla="*/ 33 h 142"/>
                <a:gd name="T106" fmla="*/ 159 w 229"/>
                <a:gd name="T107" fmla="*/ 17 h 142"/>
                <a:gd name="T108" fmla="*/ 144 w 229"/>
                <a:gd name="T10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 h="142">
                  <a:moveTo>
                    <a:pt x="144" y="0"/>
                  </a:moveTo>
                  <a:lnTo>
                    <a:pt x="142" y="0"/>
                  </a:lnTo>
                  <a:lnTo>
                    <a:pt x="140" y="0"/>
                  </a:lnTo>
                  <a:lnTo>
                    <a:pt x="135" y="0"/>
                  </a:lnTo>
                  <a:lnTo>
                    <a:pt x="133" y="3"/>
                  </a:lnTo>
                  <a:lnTo>
                    <a:pt x="130" y="5"/>
                  </a:lnTo>
                  <a:lnTo>
                    <a:pt x="128" y="7"/>
                  </a:lnTo>
                  <a:lnTo>
                    <a:pt x="128" y="12"/>
                  </a:lnTo>
                  <a:lnTo>
                    <a:pt x="126" y="12"/>
                  </a:lnTo>
                  <a:lnTo>
                    <a:pt x="123" y="17"/>
                  </a:lnTo>
                  <a:lnTo>
                    <a:pt x="123" y="17"/>
                  </a:lnTo>
                  <a:lnTo>
                    <a:pt x="121" y="17"/>
                  </a:lnTo>
                  <a:lnTo>
                    <a:pt x="116" y="21"/>
                  </a:lnTo>
                  <a:lnTo>
                    <a:pt x="116" y="26"/>
                  </a:lnTo>
                  <a:lnTo>
                    <a:pt x="114" y="26"/>
                  </a:lnTo>
                  <a:lnTo>
                    <a:pt x="111" y="29"/>
                  </a:lnTo>
                  <a:lnTo>
                    <a:pt x="109" y="29"/>
                  </a:lnTo>
                  <a:lnTo>
                    <a:pt x="107" y="31"/>
                  </a:lnTo>
                  <a:lnTo>
                    <a:pt x="107" y="33"/>
                  </a:lnTo>
                  <a:lnTo>
                    <a:pt x="104" y="33"/>
                  </a:lnTo>
                  <a:lnTo>
                    <a:pt x="102" y="33"/>
                  </a:lnTo>
                  <a:lnTo>
                    <a:pt x="100" y="33"/>
                  </a:lnTo>
                  <a:lnTo>
                    <a:pt x="97" y="33"/>
                  </a:lnTo>
                  <a:lnTo>
                    <a:pt x="95" y="33"/>
                  </a:lnTo>
                  <a:lnTo>
                    <a:pt x="92" y="33"/>
                  </a:lnTo>
                  <a:lnTo>
                    <a:pt x="88" y="33"/>
                  </a:lnTo>
                  <a:lnTo>
                    <a:pt x="83" y="36"/>
                  </a:lnTo>
                  <a:lnTo>
                    <a:pt x="81" y="36"/>
                  </a:lnTo>
                  <a:lnTo>
                    <a:pt x="81" y="36"/>
                  </a:lnTo>
                  <a:lnTo>
                    <a:pt x="78" y="38"/>
                  </a:lnTo>
                  <a:lnTo>
                    <a:pt x="81" y="38"/>
                  </a:lnTo>
                  <a:lnTo>
                    <a:pt x="81" y="40"/>
                  </a:lnTo>
                  <a:lnTo>
                    <a:pt x="83" y="43"/>
                  </a:lnTo>
                  <a:lnTo>
                    <a:pt x="81" y="43"/>
                  </a:lnTo>
                  <a:lnTo>
                    <a:pt x="81" y="45"/>
                  </a:lnTo>
                  <a:lnTo>
                    <a:pt x="78" y="47"/>
                  </a:lnTo>
                  <a:lnTo>
                    <a:pt x="78" y="47"/>
                  </a:lnTo>
                  <a:lnTo>
                    <a:pt x="76" y="47"/>
                  </a:lnTo>
                  <a:lnTo>
                    <a:pt x="76" y="50"/>
                  </a:lnTo>
                  <a:lnTo>
                    <a:pt x="74" y="52"/>
                  </a:lnTo>
                  <a:lnTo>
                    <a:pt x="74" y="52"/>
                  </a:lnTo>
                  <a:lnTo>
                    <a:pt x="66" y="52"/>
                  </a:lnTo>
                  <a:lnTo>
                    <a:pt x="64" y="52"/>
                  </a:lnTo>
                  <a:lnTo>
                    <a:pt x="62" y="52"/>
                  </a:lnTo>
                  <a:lnTo>
                    <a:pt x="59" y="52"/>
                  </a:lnTo>
                  <a:lnTo>
                    <a:pt x="52" y="55"/>
                  </a:lnTo>
                  <a:lnTo>
                    <a:pt x="50" y="57"/>
                  </a:lnTo>
                  <a:lnTo>
                    <a:pt x="50" y="57"/>
                  </a:lnTo>
                  <a:lnTo>
                    <a:pt x="48" y="59"/>
                  </a:lnTo>
                  <a:lnTo>
                    <a:pt x="45" y="59"/>
                  </a:lnTo>
                  <a:lnTo>
                    <a:pt x="45" y="59"/>
                  </a:lnTo>
                  <a:lnTo>
                    <a:pt x="43" y="62"/>
                  </a:lnTo>
                  <a:lnTo>
                    <a:pt x="40" y="59"/>
                  </a:lnTo>
                  <a:lnTo>
                    <a:pt x="40" y="57"/>
                  </a:lnTo>
                  <a:lnTo>
                    <a:pt x="38" y="55"/>
                  </a:lnTo>
                  <a:lnTo>
                    <a:pt x="38" y="55"/>
                  </a:lnTo>
                  <a:lnTo>
                    <a:pt x="38" y="55"/>
                  </a:lnTo>
                  <a:lnTo>
                    <a:pt x="36" y="57"/>
                  </a:lnTo>
                  <a:lnTo>
                    <a:pt x="36" y="57"/>
                  </a:lnTo>
                  <a:lnTo>
                    <a:pt x="36" y="59"/>
                  </a:lnTo>
                  <a:lnTo>
                    <a:pt x="31" y="59"/>
                  </a:lnTo>
                  <a:lnTo>
                    <a:pt x="29" y="62"/>
                  </a:lnTo>
                  <a:lnTo>
                    <a:pt x="26" y="62"/>
                  </a:lnTo>
                  <a:lnTo>
                    <a:pt x="24" y="62"/>
                  </a:lnTo>
                  <a:lnTo>
                    <a:pt x="22" y="62"/>
                  </a:lnTo>
                  <a:lnTo>
                    <a:pt x="19" y="62"/>
                  </a:lnTo>
                  <a:lnTo>
                    <a:pt x="17" y="62"/>
                  </a:lnTo>
                  <a:lnTo>
                    <a:pt x="17" y="62"/>
                  </a:lnTo>
                  <a:lnTo>
                    <a:pt x="14" y="71"/>
                  </a:lnTo>
                  <a:lnTo>
                    <a:pt x="10" y="76"/>
                  </a:lnTo>
                  <a:lnTo>
                    <a:pt x="7" y="81"/>
                  </a:lnTo>
                  <a:lnTo>
                    <a:pt x="5" y="85"/>
                  </a:lnTo>
                  <a:lnTo>
                    <a:pt x="0" y="90"/>
                  </a:lnTo>
                  <a:lnTo>
                    <a:pt x="0" y="92"/>
                  </a:lnTo>
                  <a:lnTo>
                    <a:pt x="3" y="97"/>
                  </a:lnTo>
                  <a:lnTo>
                    <a:pt x="3" y="102"/>
                  </a:lnTo>
                  <a:lnTo>
                    <a:pt x="3" y="109"/>
                  </a:lnTo>
                  <a:lnTo>
                    <a:pt x="5" y="114"/>
                  </a:lnTo>
                  <a:lnTo>
                    <a:pt x="7" y="118"/>
                  </a:lnTo>
                  <a:lnTo>
                    <a:pt x="17" y="132"/>
                  </a:lnTo>
                  <a:lnTo>
                    <a:pt x="19" y="137"/>
                  </a:lnTo>
                  <a:lnTo>
                    <a:pt x="26" y="142"/>
                  </a:lnTo>
                  <a:lnTo>
                    <a:pt x="29" y="142"/>
                  </a:lnTo>
                  <a:lnTo>
                    <a:pt x="31" y="137"/>
                  </a:lnTo>
                  <a:lnTo>
                    <a:pt x="38" y="132"/>
                  </a:lnTo>
                  <a:lnTo>
                    <a:pt x="45" y="128"/>
                  </a:lnTo>
                  <a:lnTo>
                    <a:pt x="52" y="128"/>
                  </a:lnTo>
                  <a:lnTo>
                    <a:pt x="57" y="130"/>
                  </a:lnTo>
                  <a:lnTo>
                    <a:pt x="62" y="132"/>
                  </a:lnTo>
                  <a:lnTo>
                    <a:pt x="66" y="132"/>
                  </a:lnTo>
                  <a:lnTo>
                    <a:pt x="71" y="130"/>
                  </a:lnTo>
                  <a:lnTo>
                    <a:pt x="74" y="128"/>
                  </a:lnTo>
                  <a:lnTo>
                    <a:pt x="78" y="128"/>
                  </a:lnTo>
                  <a:lnTo>
                    <a:pt x="76" y="123"/>
                  </a:lnTo>
                  <a:lnTo>
                    <a:pt x="78" y="118"/>
                  </a:lnTo>
                  <a:lnTo>
                    <a:pt x="78" y="114"/>
                  </a:lnTo>
                  <a:lnTo>
                    <a:pt x="81" y="111"/>
                  </a:lnTo>
                  <a:lnTo>
                    <a:pt x="83" y="107"/>
                  </a:lnTo>
                  <a:lnTo>
                    <a:pt x="85" y="104"/>
                  </a:lnTo>
                  <a:lnTo>
                    <a:pt x="90" y="102"/>
                  </a:lnTo>
                  <a:lnTo>
                    <a:pt x="92" y="102"/>
                  </a:lnTo>
                  <a:lnTo>
                    <a:pt x="97" y="102"/>
                  </a:lnTo>
                  <a:lnTo>
                    <a:pt x="102" y="104"/>
                  </a:lnTo>
                  <a:lnTo>
                    <a:pt x="102" y="109"/>
                  </a:lnTo>
                  <a:lnTo>
                    <a:pt x="109" y="114"/>
                  </a:lnTo>
                  <a:lnTo>
                    <a:pt x="111" y="114"/>
                  </a:lnTo>
                  <a:lnTo>
                    <a:pt x="114" y="111"/>
                  </a:lnTo>
                  <a:lnTo>
                    <a:pt x="118" y="116"/>
                  </a:lnTo>
                  <a:lnTo>
                    <a:pt x="126" y="116"/>
                  </a:lnTo>
                  <a:lnTo>
                    <a:pt x="140" y="116"/>
                  </a:lnTo>
                  <a:lnTo>
                    <a:pt x="142" y="116"/>
                  </a:lnTo>
                  <a:lnTo>
                    <a:pt x="144" y="111"/>
                  </a:lnTo>
                  <a:lnTo>
                    <a:pt x="149" y="107"/>
                  </a:lnTo>
                  <a:lnTo>
                    <a:pt x="154" y="109"/>
                  </a:lnTo>
                  <a:lnTo>
                    <a:pt x="156" y="111"/>
                  </a:lnTo>
                  <a:lnTo>
                    <a:pt x="163" y="109"/>
                  </a:lnTo>
                  <a:lnTo>
                    <a:pt x="166" y="107"/>
                  </a:lnTo>
                  <a:lnTo>
                    <a:pt x="175" y="104"/>
                  </a:lnTo>
                  <a:lnTo>
                    <a:pt x="177" y="104"/>
                  </a:lnTo>
                  <a:lnTo>
                    <a:pt x="180" y="104"/>
                  </a:lnTo>
                  <a:lnTo>
                    <a:pt x="180" y="104"/>
                  </a:lnTo>
                  <a:lnTo>
                    <a:pt x="180" y="104"/>
                  </a:lnTo>
                  <a:lnTo>
                    <a:pt x="182" y="107"/>
                  </a:lnTo>
                  <a:lnTo>
                    <a:pt x="185" y="104"/>
                  </a:lnTo>
                  <a:lnTo>
                    <a:pt x="189" y="104"/>
                  </a:lnTo>
                  <a:lnTo>
                    <a:pt x="189" y="102"/>
                  </a:lnTo>
                  <a:lnTo>
                    <a:pt x="196" y="102"/>
                  </a:lnTo>
                  <a:lnTo>
                    <a:pt x="203" y="102"/>
                  </a:lnTo>
                  <a:lnTo>
                    <a:pt x="208" y="99"/>
                  </a:lnTo>
                  <a:lnTo>
                    <a:pt x="213" y="104"/>
                  </a:lnTo>
                  <a:lnTo>
                    <a:pt x="215" y="102"/>
                  </a:lnTo>
                  <a:lnTo>
                    <a:pt x="218" y="104"/>
                  </a:lnTo>
                  <a:lnTo>
                    <a:pt x="220" y="102"/>
                  </a:lnTo>
                  <a:lnTo>
                    <a:pt x="229" y="102"/>
                  </a:lnTo>
                  <a:lnTo>
                    <a:pt x="227" y="99"/>
                  </a:lnTo>
                  <a:lnTo>
                    <a:pt x="227" y="97"/>
                  </a:lnTo>
                  <a:lnTo>
                    <a:pt x="225" y="92"/>
                  </a:lnTo>
                  <a:lnTo>
                    <a:pt x="215" y="88"/>
                  </a:lnTo>
                  <a:lnTo>
                    <a:pt x="213" y="85"/>
                  </a:lnTo>
                  <a:lnTo>
                    <a:pt x="213" y="83"/>
                  </a:lnTo>
                  <a:lnTo>
                    <a:pt x="211" y="81"/>
                  </a:lnTo>
                  <a:lnTo>
                    <a:pt x="208" y="76"/>
                  </a:lnTo>
                  <a:lnTo>
                    <a:pt x="208" y="73"/>
                  </a:lnTo>
                  <a:lnTo>
                    <a:pt x="203" y="71"/>
                  </a:lnTo>
                  <a:lnTo>
                    <a:pt x="201" y="69"/>
                  </a:lnTo>
                  <a:lnTo>
                    <a:pt x="196" y="64"/>
                  </a:lnTo>
                  <a:lnTo>
                    <a:pt x="189" y="59"/>
                  </a:lnTo>
                  <a:lnTo>
                    <a:pt x="187" y="57"/>
                  </a:lnTo>
                  <a:lnTo>
                    <a:pt x="189" y="52"/>
                  </a:lnTo>
                  <a:lnTo>
                    <a:pt x="187" y="52"/>
                  </a:lnTo>
                  <a:lnTo>
                    <a:pt x="185" y="50"/>
                  </a:lnTo>
                  <a:lnTo>
                    <a:pt x="182" y="47"/>
                  </a:lnTo>
                  <a:lnTo>
                    <a:pt x="175" y="47"/>
                  </a:lnTo>
                  <a:lnTo>
                    <a:pt x="173" y="45"/>
                  </a:lnTo>
                  <a:lnTo>
                    <a:pt x="170" y="40"/>
                  </a:lnTo>
                  <a:lnTo>
                    <a:pt x="166" y="40"/>
                  </a:lnTo>
                  <a:lnTo>
                    <a:pt x="163" y="40"/>
                  </a:lnTo>
                  <a:lnTo>
                    <a:pt x="159" y="36"/>
                  </a:lnTo>
                  <a:lnTo>
                    <a:pt x="159" y="33"/>
                  </a:lnTo>
                  <a:lnTo>
                    <a:pt x="159" y="26"/>
                  </a:lnTo>
                  <a:lnTo>
                    <a:pt x="161" y="21"/>
                  </a:lnTo>
                  <a:lnTo>
                    <a:pt x="159" y="17"/>
                  </a:lnTo>
                  <a:lnTo>
                    <a:pt x="154" y="10"/>
                  </a:lnTo>
                  <a:lnTo>
                    <a:pt x="149" y="3"/>
                  </a:lnTo>
                  <a:lnTo>
                    <a:pt x="144" y="0"/>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5" name="Freeform 859">
              <a:extLst>
                <a:ext uri="{FF2B5EF4-FFF2-40B4-BE49-F238E27FC236}">
                  <a16:creationId xmlns:a16="http://schemas.microsoft.com/office/drawing/2014/main" id="{A92A3EEA-E2EE-46FD-A69F-4D274DEB215B}"/>
                </a:ext>
              </a:extLst>
            </p:cNvPr>
            <p:cNvSpPr>
              <a:spLocks/>
            </p:cNvSpPr>
            <p:nvPr/>
          </p:nvSpPr>
          <p:spPr bwMode="auto">
            <a:xfrm>
              <a:off x="2432889" y="4178266"/>
              <a:ext cx="46038" cy="52387"/>
            </a:xfrm>
            <a:custGeom>
              <a:avLst/>
              <a:gdLst>
                <a:gd name="T0" fmla="*/ 22 w 29"/>
                <a:gd name="T1" fmla="*/ 0 h 33"/>
                <a:gd name="T2" fmla="*/ 17 w 29"/>
                <a:gd name="T3" fmla="*/ 2 h 33"/>
                <a:gd name="T4" fmla="*/ 12 w 29"/>
                <a:gd name="T5" fmla="*/ 4 h 33"/>
                <a:gd name="T6" fmla="*/ 10 w 29"/>
                <a:gd name="T7" fmla="*/ 7 h 33"/>
                <a:gd name="T8" fmla="*/ 8 w 29"/>
                <a:gd name="T9" fmla="*/ 7 h 33"/>
                <a:gd name="T10" fmla="*/ 8 w 29"/>
                <a:gd name="T11" fmla="*/ 14 h 33"/>
                <a:gd name="T12" fmla="*/ 5 w 29"/>
                <a:gd name="T13" fmla="*/ 18 h 33"/>
                <a:gd name="T14" fmla="*/ 5 w 29"/>
                <a:gd name="T15" fmla="*/ 23 h 33"/>
                <a:gd name="T16" fmla="*/ 3 w 29"/>
                <a:gd name="T17" fmla="*/ 25 h 33"/>
                <a:gd name="T18" fmla="*/ 0 w 29"/>
                <a:gd name="T19" fmla="*/ 25 h 33"/>
                <a:gd name="T20" fmla="*/ 3 w 29"/>
                <a:gd name="T21" fmla="*/ 30 h 33"/>
                <a:gd name="T22" fmla="*/ 3 w 29"/>
                <a:gd name="T23" fmla="*/ 30 h 33"/>
                <a:gd name="T24" fmla="*/ 8 w 29"/>
                <a:gd name="T25" fmla="*/ 33 h 33"/>
                <a:gd name="T26" fmla="*/ 10 w 29"/>
                <a:gd name="T27" fmla="*/ 30 h 33"/>
                <a:gd name="T28" fmla="*/ 12 w 29"/>
                <a:gd name="T29" fmla="*/ 33 h 33"/>
                <a:gd name="T30" fmla="*/ 12 w 29"/>
                <a:gd name="T31" fmla="*/ 33 h 33"/>
                <a:gd name="T32" fmla="*/ 12 w 29"/>
                <a:gd name="T33" fmla="*/ 30 h 33"/>
                <a:gd name="T34" fmla="*/ 17 w 29"/>
                <a:gd name="T35" fmla="*/ 28 h 33"/>
                <a:gd name="T36" fmla="*/ 17 w 29"/>
                <a:gd name="T37" fmla="*/ 30 h 33"/>
                <a:gd name="T38" fmla="*/ 19 w 29"/>
                <a:gd name="T39" fmla="*/ 33 h 33"/>
                <a:gd name="T40" fmla="*/ 19 w 29"/>
                <a:gd name="T41" fmla="*/ 33 h 33"/>
                <a:gd name="T42" fmla="*/ 22 w 29"/>
                <a:gd name="T43" fmla="*/ 30 h 33"/>
                <a:gd name="T44" fmla="*/ 24 w 29"/>
                <a:gd name="T45" fmla="*/ 25 h 33"/>
                <a:gd name="T46" fmla="*/ 26 w 29"/>
                <a:gd name="T47" fmla="*/ 23 h 33"/>
                <a:gd name="T48" fmla="*/ 26 w 29"/>
                <a:gd name="T49" fmla="*/ 23 h 33"/>
                <a:gd name="T50" fmla="*/ 26 w 29"/>
                <a:gd name="T51" fmla="*/ 21 h 33"/>
                <a:gd name="T52" fmla="*/ 24 w 29"/>
                <a:gd name="T53" fmla="*/ 21 h 33"/>
                <a:gd name="T54" fmla="*/ 24 w 29"/>
                <a:gd name="T55" fmla="*/ 21 h 33"/>
                <a:gd name="T56" fmla="*/ 22 w 29"/>
                <a:gd name="T57" fmla="*/ 21 h 33"/>
                <a:gd name="T58" fmla="*/ 19 w 29"/>
                <a:gd name="T59" fmla="*/ 21 h 33"/>
                <a:gd name="T60" fmla="*/ 17 w 29"/>
                <a:gd name="T61" fmla="*/ 21 h 33"/>
                <a:gd name="T62" fmla="*/ 17 w 29"/>
                <a:gd name="T63" fmla="*/ 23 h 33"/>
                <a:gd name="T64" fmla="*/ 15 w 29"/>
                <a:gd name="T65" fmla="*/ 23 h 33"/>
                <a:gd name="T66" fmla="*/ 15 w 29"/>
                <a:gd name="T67" fmla="*/ 23 h 33"/>
                <a:gd name="T68" fmla="*/ 15 w 29"/>
                <a:gd name="T69" fmla="*/ 21 h 33"/>
                <a:gd name="T70" fmla="*/ 15 w 29"/>
                <a:gd name="T71" fmla="*/ 21 h 33"/>
                <a:gd name="T72" fmla="*/ 15 w 29"/>
                <a:gd name="T73" fmla="*/ 21 h 33"/>
                <a:gd name="T74" fmla="*/ 17 w 29"/>
                <a:gd name="T75" fmla="*/ 21 h 33"/>
                <a:gd name="T76" fmla="*/ 17 w 29"/>
                <a:gd name="T77" fmla="*/ 18 h 33"/>
                <a:gd name="T78" fmla="*/ 19 w 29"/>
                <a:gd name="T79" fmla="*/ 16 h 33"/>
                <a:gd name="T80" fmla="*/ 19 w 29"/>
                <a:gd name="T81" fmla="*/ 16 h 33"/>
                <a:gd name="T82" fmla="*/ 22 w 29"/>
                <a:gd name="T83" fmla="*/ 16 h 33"/>
                <a:gd name="T84" fmla="*/ 22 w 29"/>
                <a:gd name="T85" fmla="*/ 14 h 33"/>
                <a:gd name="T86" fmla="*/ 26 w 29"/>
                <a:gd name="T87" fmla="*/ 14 h 33"/>
                <a:gd name="T88" fmla="*/ 29 w 29"/>
                <a:gd name="T89" fmla="*/ 14 h 33"/>
                <a:gd name="T90" fmla="*/ 29 w 29"/>
                <a:gd name="T91" fmla="*/ 11 h 33"/>
                <a:gd name="T92" fmla="*/ 26 w 29"/>
                <a:gd name="T93" fmla="*/ 7 h 33"/>
                <a:gd name="T94" fmla="*/ 26 w 29"/>
                <a:gd name="T95" fmla="*/ 4 h 33"/>
                <a:gd name="T96" fmla="*/ 26 w 29"/>
                <a:gd name="T97" fmla="*/ 4 h 33"/>
                <a:gd name="T98" fmla="*/ 24 w 29"/>
                <a:gd name="T99" fmla="*/ 2 h 33"/>
                <a:gd name="T100" fmla="*/ 24 w 29"/>
                <a:gd name="T101" fmla="*/ 0 h 33"/>
                <a:gd name="T102" fmla="*/ 22 w 29"/>
                <a:gd name="T10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 h="33">
                  <a:moveTo>
                    <a:pt x="22" y="0"/>
                  </a:moveTo>
                  <a:lnTo>
                    <a:pt x="17" y="2"/>
                  </a:lnTo>
                  <a:lnTo>
                    <a:pt x="12" y="4"/>
                  </a:lnTo>
                  <a:lnTo>
                    <a:pt x="10" y="7"/>
                  </a:lnTo>
                  <a:lnTo>
                    <a:pt x="8" y="7"/>
                  </a:lnTo>
                  <a:lnTo>
                    <a:pt x="8" y="14"/>
                  </a:lnTo>
                  <a:lnTo>
                    <a:pt x="5" y="18"/>
                  </a:lnTo>
                  <a:lnTo>
                    <a:pt x="5" y="23"/>
                  </a:lnTo>
                  <a:lnTo>
                    <a:pt x="3" y="25"/>
                  </a:lnTo>
                  <a:lnTo>
                    <a:pt x="0" y="25"/>
                  </a:lnTo>
                  <a:lnTo>
                    <a:pt x="3" y="30"/>
                  </a:lnTo>
                  <a:lnTo>
                    <a:pt x="3" y="30"/>
                  </a:lnTo>
                  <a:lnTo>
                    <a:pt x="8" y="33"/>
                  </a:lnTo>
                  <a:lnTo>
                    <a:pt x="10" y="30"/>
                  </a:lnTo>
                  <a:lnTo>
                    <a:pt x="12" y="33"/>
                  </a:lnTo>
                  <a:lnTo>
                    <a:pt x="12" y="33"/>
                  </a:lnTo>
                  <a:lnTo>
                    <a:pt x="12" y="30"/>
                  </a:lnTo>
                  <a:lnTo>
                    <a:pt x="17" y="28"/>
                  </a:lnTo>
                  <a:lnTo>
                    <a:pt x="17" y="30"/>
                  </a:lnTo>
                  <a:lnTo>
                    <a:pt x="19" y="33"/>
                  </a:lnTo>
                  <a:lnTo>
                    <a:pt x="19" y="33"/>
                  </a:lnTo>
                  <a:lnTo>
                    <a:pt x="22" y="30"/>
                  </a:lnTo>
                  <a:lnTo>
                    <a:pt x="24" y="25"/>
                  </a:lnTo>
                  <a:lnTo>
                    <a:pt x="26" y="23"/>
                  </a:lnTo>
                  <a:lnTo>
                    <a:pt x="26" y="23"/>
                  </a:lnTo>
                  <a:lnTo>
                    <a:pt x="26" y="21"/>
                  </a:lnTo>
                  <a:lnTo>
                    <a:pt x="24" y="21"/>
                  </a:lnTo>
                  <a:lnTo>
                    <a:pt x="24" y="21"/>
                  </a:lnTo>
                  <a:lnTo>
                    <a:pt x="22" y="21"/>
                  </a:lnTo>
                  <a:lnTo>
                    <a:pt x="19" y="21"/>
                  </a:lnTo>
                  <a:lnTo>
                    <a:pt x="17" y="21"/>
                  </a:lnTo>
                  <a:lnTo>
                    <a:pt x="17" y="23"/>
                  </a:lnTo>
                  <a:lnTo>
                    <a:pt x="15" y="23"/>
                  </a:lnTo>
                  <a:lnTo>
                    <a:pt x="15" y="23"/>
                  </a:lnTo>
                  <a:lnTo>
                    <a:pt x="15" y="21"/>
                  </a:lnTo>
                  <a:lnTo>
                    <a:pt x="15" y="21"/>
                  </a:lnTo>
                  <a:lnTo>
                    <a:pt x="15" y="21"/>
                  </a:lnTo>
                  <a:lnTo>
                    <a:pt x="17" y="21"/>
                  </a:lnTo>
                  <a:lnTo>
                    <a:pt x="17" y="18"/>
                  </a:lnTo>
                  <a:lnTo>
                    <a:pt x="19" y="16"/>
                  </a:lnTo>
                  <a:lnTo>
                    <a:pt x="19" y="16"/>
                  </a:lnTo>
                  <a:lnTo>
                    <a:pt x="22" y="16"/>
                  </a:lnTo>
                  <a:lnTo>
                    <a:pt x="22" y="14"/>
                  </a:lnTo>
                  <a:lnTo>
                    <a:pt x="26" y="14"/>
                  </a:lnTo>
                  <a:lnTo>
                    <a:pt x="29" y="14"/>
                  </a:lnTo>
                  <a:lnTo>
                    <a:pt x="29" y="11"/>
                  </a:lnTo>
                  <a:lnTo>
                    <a:pt x="26" y="7"/>
                  </a:lnTo>
                  <a:lnTo>
                    <a:pt x="26" y="4"/>
                  </a:lnTo>
                  <a:lnTo>
                    <a:pt x="26" y="4"/>
                  </a:lnTo>
                  <a:lnTo>
                    <a:pt x="24" y="2"/>
                  </a:lnTo>
                  <a:lnTo>
                    <a:pt x="24" y="0"/>
                  </a:lnTo>
                  <a:lnTo>
                    <a:pt x="2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6" name="Freeform 860">
              <a:extLst>
                <a:ext uri="{FF2B5EF4-FFF2-40B4-BE49-F238E27FC236}">
                  <a16:creationId xmlns:a16="http://schemas.microsoft.com/office/drawing/2014/main" id="{A20217A1-C688-4F97-A68A-B28C53171A44}"/>
                </a:ext>
              </a:extLst>
            </p:cNvPr>
            <p:cNvSpPr>
              <a:spLocks/>
            </p:cNvSpPr>
            <p:nvPr/>
          </p:nvSpPr>
          <p:spPr bwMode="auto">
            <a:xfrm>
              <a:off x="2432889" y="4178266"/>
              <a:ext cx="46038" cy="52387"/>
            </a:xfrm>
            <a:custGeom>
              <a:avLst/>
              <a:gdLst>
                <a:gd name="T0" fmla="*/ 22 w 29"/>
                <a:gd name="T1" fmla="*/ 0 h 33"/>
                <a:gd name="T2" fmla="*/ 17 w 29"/>
                <a:gd name="T3" fmla="*/ 2 h 33"/>
                <a:gd name="T4" fmla="*/ 12 w 29"/>
                <a:gd name="T5" fmla="*/ 4 h 33"/>
                <a:gd name="T6" fmla="*/ 10 w 29"/>
                <a:gd name="T7" fmla="*/ 7 h 33"/>
                <a:gd name="T8" fmla="*/ 8 w 29"/>
                <a:gd name="T9" fmla="*/ 7 h 33"/>
                <a:gd name="T10" fmla="*/ 8 w 29"/>
                <a:gd name="T11" fmla="*/ 14 h 33"/>
                <a:gd name="T12" fmla="*/ 5 w 29"/>
                <a:gd name="T13" fmla="*/ 18 h 33"/>
                <a:gd name="T14" fmla="*/ 5 w 29"/>
                <a:gd name="T15" fmla="*/ 23 h 33"/>
                <a:gd name="T16" fmla="*/ 3 w 29"/>
                <a:gd name="T17" fmla="*/ 25 h 33"/>
                <a:gd name="T18" fmla="*/ 0 w 29"/>
                <a:gd name="T19" fmla="*/ 25 h 33"/>
                <a:gd name="T20" fmla="*/ 3 w 29"/>
                <a:gd name="T21" fmla="*/ 30 h 33"/>
                <a:gd name="T22" fmla="*/ 3 w 29"/>
                <a:gd name="T23" fmla="*/ 30 h 33"/>
                <a:gd name="T24" fmla="*/ 8 w 29"/>
                <a:gd name="T25" fmla="*/ 33 h 33"/>
                <a:gd name="T26" fmla="*/ 10 w 29"/>
                <a:gd name="T27" fmla="*/ 30 h 33"/>
                <a:gd name="T28" fmla="*/ 12 w 29"/>
                <a:gd name="T29" fmla="*/ 33 h 33"/>
                <a:gd name="T30" fmla="*/ 12 w 29"/>
                <a:gd name="T31" fmla="*/ 33 h 33"/>
                <a:gd name="T32" fmla="*/ 12 w 29"/>
                <a:gd name="T33" fmla="*/ 30 h 33"/>
                <a:gd name="T34" fmla="*/ 17 w 29"/>
                <a:gd name="T35" fmla="*/ 28 h 33"/>
                <a:gd name="T36" fmla="*/ 17 w 29"/>
                <a:gd name="T37" fmla="*/ 30 h 33"/>
                <a:gd name="T38" fmla="*/ 19 w 29"/>
                <a:gd name="T39" fmla="*/ 33 h 33"/>
                <a:gd name="T40" fmla="*/ 19 w 29"/>
                <a:gd name="T41" fmla="*/ 33 h 33"/>
                <a:gd name="T42" fmla="*/ 22 w 29"/>
                <a:gd name="T43" fmla="*/ 30 h 33"/>
                <a:gd name="T44" fmla="*/ 24 w 29"/>
                <a:gd name="T45" fmla="*/ 25 h 33"/>
                <a:gd name="T46" fmla="*/ 26 w 29"/>
                <a:gd name="T47" fmla="*/ 23 h 33"/>
                <a:gd name="T48" fmla="*/ 26 w 29"/>
                <a:gd name="T49" fmla="*/ 23 h 33"/>
                <a:gd name="T50" fmla="*/ 26 w 29"/>
                <a:gd name="T51" fmla="*/ 21 h 33"/>
                <a:gd name="T52" fmla="*/ 24 w 29"/>
                <a:gd name="T53" fmla="*/ 21 h 33"/>
                <a:gd name="T54" fmla="*/ 24 w 29"/>
                <a:gd name="T55" fmla="*/ 21 h 33"/>
                <a:gd name="T56" fmla="*/ 22 w 29"/>
                <a:gd name="T57" fmla="*/ 21 h 33"/>
                <a:gd name="T58" fmla="*/ 19 w 29"/>
                <a:gd name="T59" fmla="*/ 21 h 33"/>
                <a:gd name="T60" fmla="*/ 17 w 29"/>
                <a:gd name="T61" fmla="*/ 21 h 33"/>
                <a:gd name="T62" fmla="*/ 17 w 29"/>
                <a:gd name="T63" fmla="*/ 23 h 33"/>
                <a:gd name="T64" fmla="*/ 15 w 29"/>
                <a:gd name="T65" fmla="*/ 23 h 33"/>
                <a:gd name="T66" fmla="*/ 15 w 29"/>
                <a:gd name="T67" fmla="*/ 23 h 33"/>
                <a:gd name="T68" fmla="*/ 15 w 29"/>
                <a:gd name="T69" fmla="*/ 21 h 33"/>
                <a:gd name="T70" fmla="*/ 15 w 29"/>
                <a:gd name="T71" fmla="*/ 21 h 33"/>
                <a:gd name="T72" fmla="*/ 15 w 29"/>
                <a:gd name="T73" fmla="*/ 21 h 33"/>
                <a:gd name="T74" fmla="*/ 17 w 29"/>
                <a:gd name="T75" fmla="*/ 21 h 33"/>
                <a:gd name="T76" fmla="*/ 17 w 29"/>
                <a:gd name="T77" fmla="*/ 18 h 33"/>
                <a:gd name="T78" fmla="*/ 19 w 29"/>
                <a:gd name="T79" fmla="*/ 16 h 33"/>
                <a:gd name="T80" fmla="*/ 19 w 29"/>
                <a:gd name="T81" fmla="*/ 16 h 33"/>
                <a:gd name="T82" fmla="*/ 22 w 29"/>
                <a:gd name="T83" fmla="*/ 16 h 33"/>
                <a:gd name="T84" fmla="*/ 22 w 29"/>
                <a:gd name="T85" fmla="*/ 14 h 33"/>
                <a:gd name="T86" fmla="*/ 26 w 29"/>
                <a:gd name="T87" fmla="*/ 14 h 33"/>
                <a:gd name="T88" fmla="*/ 29 w 29"/>
                <a:gd name="T89" fmla="*/ 14 h 33"/>
                <a:gd name="T90" fmla="*/ 29 w 29"/>
                <a:gd name="T91" fmla="*/ 11 h 33"/>
                <a:gd name="T92" fmla="*/ 26 w 29"/>
                <a:gd name="T93" fmla="*/ 7 h 33"/>
                <a:gd name="T94" fmla="*/ 26 w 29"/>
                <a:gd name="T95" fmla="*/ 4 h 33"/>
                <a:gd name="T96" fmla="*/ 26 w 29"/>
                <a:gd name="T97" fmla="*/ 4 h 33"/>
                <a:gd name="T98" fmla="*/ 24 w 29"/>
                <a:gd name="T99" fmla="*/ 2 h 33"/>
                <a:gd name="T100" fmla="*/ 24 w 29"/>
                <a:gd name="T101" fmla="*/ 0 h 33"/>
                <a:gd name="T102" fmla="*/ 22 w 29"/>
                <a:gd name="T10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 h="33">
                  <a:moveTo>
                    <a:pt x="22" y="0"/>
                  </a:moveTo>
                  <a:lnTo>
                    <a:pt x="17" y="2"/>
                  </a:lnTo>
                  <a:lnTo>
                    <a:pt x="12" y="4"/>
                  </a:lnTo>
                  <a:lnTo>
                    <a:pt x="10" y="7"/>
                  </a:lnTo>
                  <a:lnTo>
                    <a:pt x="8" y="7"/>
                  </a:lnTo>
                  <a:lnTo>
                    <a:pt x="8" y="14"/>
                  </a:lnTo>
                  <a:lnTo>
                    <a:pt x="5" y="18"/>
                  </a:lnTo>
                  <a:lnTo>
                    <a:pt x="5" y="23"/>
                  </a:lnTo>
                  <a:lnTo>
                    <a:pt x="3" y="25"/>
                  </a:lnTo>
                  <a:lnTo>
                    <a:pt x="0" y="25"/>
                  </a:lnTo>
                  <a:lnTo>
                    <a:pt x="3" y="30"/>
                  </a:lnTo>
                  <a:lnTo>
                    <a:pt x="3" y="30"/>
                  </a:lnTo>
                  <a:lnTo>
                    <a:pt x="8" y="33"/>
                  </a:lnTo>
                  <a:lnTo>
                    <a:pt x="10" y="30"/>
                  </a:lnTo>
                  <a:lnTo>
                    <a:pt x="12" y="33"/>
                  </a:lnTo>
                  <a:lnTo>
                    <a:pt x="12" y="33"/>
                  </a:lnTo>
                  <a:lnTo>
                    <a:pt x="12" y="30"/>
                  </a:lnTo>
                  <a:lnTo>
                    <a:pt x="17" y="28"/>
                  </a:lnTo>
                  <a:lnTo>
                    <a:pt x="17" y="30"/>
                  </a:lnTo>
                  <a:lnTo>
                    <a:pt x="19" y="33"/>
                  </a:lnTo>
                  <a:lnTo>
                    <a:pt x="19" y="33"/>
                  </a:lnTo>
                  <a:lnTo>
                    <a:pt x="22" y="30"/>
                  </a:lnTo>
                  <a:lnTo>
                    <a:pt x="24" y="25"/>
                  </a:lnTo>
                  <a:lnTo>
                    <a:pt x="26" y="23"/>
                  </a:lnTo>
                  <a:lnTo>
                    <a:pt x="26" y="23"/>
                  </a:lnTo>
                  <a:lnTo>
                    <a:pt x="26" y="21"/>
                  </a:lnTo>
                  <a:lnTo>
                    <a:pt x="24" y="21"/>
                  </a:lnTo>
                  <a:lnTo>
                    <a:pt x="24" y="21"/>
                  </a:lnTo>
                  <a:lnTo>
                    <a:pt x="22" y="21"/>
                  </a:lnTo>
                  <a:lnTo>
                    <a:pt x="19" y="21"/>
                  </a:lnTo>
                  <a:lnTo>
                    <a:pt x="17" y="21"/>
                  </a:lnTo>
                  <a:lnTo>
                    <a:pt x="17" y="23"/>
                  </a:lnTo>
                  <a:lnTo>
                    <a:pt x="15" y="23"/>
                  </a:lnTo>
                  <a:lnTo>
                    <a:pt x="15" y="23"/>
                  </a:lnTo>
                  <a:lnTo>
                    <a:pt x="15" y="21"/>
                  </a:lnTo>
                  <a:lnTo>
                    <a:pt x="15" y="21"/>
                  </a:lnTo>
                  <a:lnTo>
                    <a:pt x="15" y="21"/>
                  </a:lnTo>
                  <a:lnTo>
                    <a:pt x="17" y="21"/>
                  </a:lnTo>
                  <a:lnTo>
                    <a:pt x="17" y="18"/>
                  </a:lnTo>
                  <a:lnTo>
                    <a:pt x="19" y="16"/>
                  </a:lnTo>
                  <a:lnTo>
                    <a:pt x="19" y="16"/>
                  </a:lnTo>
                  <a:lnTo>
                    <a:pt x="22" y="16"/>
                  </a:lnTo>
                  <a:lnTo>
                    <a:pt x="22" y="14"/>
                  </a:lnTo>
                  <a:lnTo>
                    <a:pt x="26" y="14"/>
                  </a:lnTo>
                  <a:lnTo>
                    <a:pt x="29" y="14"/>
                  </a:lnTo>
                  <a:lnTo>
                    <a:pt x="29" y="11"/>
                  </a:lnTo>
                  <a:lnTo>
                    <a:pt x="26" y="7"/>
                  </a:lnTo>
                  <a:lnTo>
                    <a:pt x="26" y="4"/>
                  </a:lnTo>
                  <a:lnTo>
                    <a:pt x="26" y="4"/>
                  </a:lnTo>
                  <a:lnTo>
                    <a:pt x="24" y="2"/>
                  </a:lnTo>
                  <a:lnTo>
                    <a:pt x="24" y="0"/>
                  </a:lnTo>
                  <a:lnTo>
                    <a:pt x="2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7" name="Freeform 861">
              <a:extLst>
                <a:ext uri="{FF2B5EF4-FFF2-40B4-BE49-F238E27FC236}">
                  <a16:creationId xmlns:a16="http://schemas.microsoft.com/office/drawing/2014/main" id="{968712F5-05AD-4CD3-80AD-2A07977F5D1A}"/>
                </a:ext>
              </a:extLst>
            </p:cNvPr>
            <p:cNvSpPr>
              <a:spLocks/>
            </p:cNvSpPr>
            <p:nvPr/>
          </p:nvSpPr>
          <p:spPr bwMode="auto">
            <a:xfrm>
              <a:off x="2080465" y="4556091"/>
              <a:ext cx="52388" cy="49212"/>
            </a:xfrm>
            <a:custGeom>
              <a:avLst/>
              <a:gdLst>
                <a:gd name="T0" fmla="*/ 3 w 33"/>
                <a:gd name="T1" fmla="*/ 31 h 31"/>
                <a:gd name="T2" fmla="*/ 3 w 33"/>
                <a:gd name="T3" fmla="*/ 31 h 31"/>
                <a:gd name="T4" fmla="*/ 3 w 33"/>
                <a:gd name="T5" fmla="*/ 28 h 31"/>
                <a:gd name="T6" fmla="*/ 5 w 33"/>
                <a:gd name="T7" fmla="*/ 26 h 31"/>
                <a:gd name="T8" fmla="*/ 5 w 33"/>
                <a:gd name="T9" fmla="*/ 26 h 31"/>
                <a:gd name="T10" fmla="*/ 8 w 33"/>
                <a:gd name="T11" fmla="*/ 26 h 31"/>
                <a:gd name="T12" fmla="*/ 8 w 33"/>
                <a:gd name="T13" fmla="*/ 28 h 31"/>
                <a:gd name="T14" fmla="*/ 10 w 33"/>
                <a:gd name="T15" fmla="*/ 31 h 31"/>
                <a:gd name="T16" fmla="*/ 10 w 33"/>
                <a:gd name="T17" fmla="*/ 31 h 31"/>
                <a:gd name="T18" fmla="*/ 12 w 33"/>
                <a:gd name="T19" fmla="*/ 31 h 31"/>
                <a:gd name="T20" fmla="*/ 12 w 33"/>
                <a:gd name="T21" fmla="*/ 31 h 31"/>
                <a:gd name="T22" fmla="*/ 15 w 33"/>
                <a:gd name="T23" fmla="*/ 31 h 31"/>
                <a:gd name="T24" fmla="*/ 17 w 33"/>
                <a:gd name="T25" fmla="*/ 28 h 31"/>
                <a:gd name="T26" fmla="*/ 17 w 33"/>
                <a:gd name="T27" fmla="*/ 26 h 31"/>
                <a:gd name="T28" fmla="*/ 17 w 33"/>
                <a:gd name="T29" fmla="*/ 26 h 31"/>
                <a:gd name="T30" fmla="*/ 17 w 33"/>
                <a:gd name="T31" fmla="*/ 24 h 31"/>
                <a:gd name="T32" fmla="*/ 22 w 33"/>
                <a:gd name="T33" fmla="*/ 24 h 31"/>
                <a:gd name="T34" fmla="*/ 26 w 33"/>
                <a:gd name="T35" fmla="*/ 24 h 31"/>
                <a:gd name="T36" fmla="*/ 26 w 33"/>
                <a:gd name="T37" fmla="*/ 24 h 31"/>
                <a:gd name="T38" fmla="*/ 26 w 33"/>
                <a:gd name="T39" fmla="*/ 24 h 31"/>
                <a:gd name="T40" fmla="*/ 29 w 33"/>
                <a:gd name="T41" fmla="*/ 24 h 31"/>
                <a:gd name="T42" fmla="*/ 29 w 33"/>
                <a:gd name="T43" fmla="*/ 24 h 31"/>
                <a:gd name="T44" fmla="*/ 33 w 33"/>
                <a:gd name="T45" fmla="*/ 21 h 31"/>
                <a:gd name="T46" fmla="*/ 33 w 33"/>
                <a:gd name="T47" fmla="*/ 17 h 31"/>
                <a:gd name="T48" fmla="*/ 33 w 33"/>
                <a:gd name="T49" fmla="*/ 14 h 31"/>
                <a:gd name="T50" fmla="*/ 31 w 33"/>
                <a:gd name="T51" fmla="*/ 10 h 31"/>
                <a:gd name="T52" fmla="*/ 26 w 33"/>
                <a:gd name="T53" fmla="*/ 2 h 31"/>
                <a:gd name="T54" fmla="*/ 26 w 33"/>
                <a:gd name="T55" fmla="*/ 0 h 31"/>
                <a:gd name="T56" fmla="*/ 24 w 33"/>
                <a:gd name="T57" fmla="*/ 2 h 31"/>
                <a:gd name="T58" fmla="*/ 22 w 33"/>
                <a:gd name="T59" fmla="*/ 2 h 31"/>
                <a:gd name="T60" fmla="*/ 22 w 33"/>
                <a:gd name="T61" fmla="*/ 5 h 31"/>
                <a:gd name="T62" fmla="*/ 19 w 33"/>
                <a:gd name="T63" fmla="*/ 7 h 31"/>
                <a:gd name="T64" fmla="*/ 17 w 33"/>
                <a:gd name="T65" fmla="*/ 7 h 31"/>
                <a:gd name="T66" fmla="*/ 15 w 33"/>
                <a:gd name="T67" fmla="*/ 7 h 31"/>
                <a:gd name="T68" fmla="*/ 12 w 33"/>
                <a:gd name="T69" fmla="*/ 7 h 31"/>
                <a:gd name="T70" fmla="*/ 12 w 33"/>
                <a:gd name="T71" fmla="*/ 7 h 31"/>
                <a:gd name="T72" fmla="*/ 10 w 33"/>
                <a:gd name="T73" fmla="*/ 10 h 31"/>
                <a:gd name="T74" fmla="*/ 8 w 33"/>
                <a:gd name="T75" fmla="*/ 12 h 31"/>
                <a:gd name="T76" fmla="*/ 5 w 33"/>
                <a:gd name="T77" fmla="*/ 17 h 31"/>
                <a:gd name="T78" fmla="*/ 3 w 33"/>
                <a:gd name="T79" fmla="*/ 19 h 31"/>
                <a:gd name="T80" fmla="*/ 0 w 33"/>
                <a:gd name="T81" fmla="*/ 24 h 31"/>
                <a:gd name="T82" fmla="*/ 0 w 33"/>
                <a:gd name="T83" fmla="*/ 26 h 31"/>
                <a:gd name="T84" fmla="*/ 0 w 33"/>
                <a:gd name="T85" fmla="*/ 28 h 31"/>
                <a:gd name="T86" fmla="*/ 3 w 33"/>
                <a:gd name="T8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 h="31">
                  <a:moveTo>
                    <a:pt x="3" y="31"/>
                  </a:moveTo>
                  <a:lnTo>
                    <a:pt x="3" y="31"/>
                  </a:lnTo>
                  <a:lnTo>
                    <a:pt x="3" y="28"/>
                  </a:lnTo>
                  <a:lnTo>
                    <a:pt x="5" y="26"/>
                  </a:lnTo>
                  <a:lnTo>
                    <a:pt x="5" y="26"/>
                  </a:lnTo>
                  <a:lnTo>
                    <a:pt x="8" y="26"/>
                  </a:lnTo>
                  <a:lnTo>
                    <a:pt x="8" y="28"/>
                  </a:lnTo>
                  <a:lnTo>
                    <a:pt x="10" y="31"/>
                  </a:lnTo>
                  <a:lnTo>
                    <a:pt x="10" y="31"/>
                  </a:lnTo>
                  <a:lnTo>
                    <a:pt x="12" y="31"/>
                  </a:lnTo>
                  <a:lnTo>
                    <a:pt x="12" y="31"/>
                  </a:lnTo>
                  <a:lnTo>
                    <a:pt x="15" y="31"/>
                  </a:lnTo>
                  <a:lnTo>
                    <a:pt x="17" y="28"/>
                  </a:lnTo>
                  <a:lnTo>
                    <a:pt x="17" y="26"/>
                  </a:lnTo>
                  <a:lnTo>
                    <a:pt x="17" y="26"/>
                  </a:lnTo>
                  <a:lnTo>
                    <a:pt x="17" y="24"/>
                  </a:lnTo>
                  <a:lnTo>
                    <a:pt x="22" y="24"/>
                  </a:lnTo>
                  <a:lnTo>
                    <a:pt x="26" y="24"/>
                  </a:lnTo>
                  <a:lnTo>
                    <a:pt x="26" y="24"/>
                  </a:lnTo>
                  <a:lnTo>
                    <a:pt x="26" y="24"/>
                  </a:lnTo>
                  <a:lnTo>
                    <a:pt x="29" y="24"/>
                  </a:lnTo>
                  <a:lnTo>
                    <a:pt x="29" y="24"/>
                  </a:lnTo>
                  <a:lnTo>
                    <a:pt x="33" y="21"/>
                  </a:lnTo>
                  <a:lnTo>
                    <a:pt x="33" y="17"/>
                  </a:lnTo>
                  <a:lnTo>
                    <a:pt x="33" y="14"/>
                  </a:lnTo>
                  <a:lnTo>
                    <a:pt x="31" y="10"/>
                  </a:lnTo>
                  <a:lnTo>
                    <a:pt x="26" y="2"/>
                  </a:lnTo>
                  <a:lnTo>
                    <a:pt x="26" y="0"/>
                  </a:lnTo>
                  <a:lnTo>
                    <a:pt x="24" y="2"/>
                  </a:lnTo>
                  <a:lnTo>
                    <a:pt x="22" y="2"/>
                  </a:lnTo>
                  <a:lnTo>
                    <a:pt x="22" y="5"/>
                  </a:lnTo>
                  <a:lnTo>
                    <a:pt x="19" y="7"/>
                  </a:lnTo>
                  <a:lnTo>
                    <a:pt x="17" y="7"/>
                  </a:lnTo>
                  <a:lnTo>
                    <a:pt x="15" y="7"/>
                  </a:lnTo>
                  <a:lnTo>
                    <a:pt x="12" y="7"/>
                  </a:lnTo>
                  <a:lnTo>
                    <a:pt x="12" y="7"/>
                  </a:lnTo>
                  <a:lnTo>
                    <a:pt x="10" y="10"/>
                  </a:lnTo>
                  <a:lnTo>
                    <a:pt x="8" y="12"/>
                  </a:lnTo>
                  <a:lnTo>
                    <a:pt x="5" y="17"/>
                  </a:lnTo>
                  <a:lnTo>
                    <a:pt x="3" y="19"/>
                  </a:lnTo>
                  <a:lnTo>
                    <a:pt x="0" y="24"/>
                  </a:lnTo>
                  <a:lnTo>
                    <a:pt x="0" y="26"/>
                  </a:lnTo>
                  <a:lnTo>
                    <a:pt x="0" y="28"/>
                  </a:lnTo>
                  <a:lnTo>
                    <a:pt x="3" y="3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8" name="Freeform 862">
              <a:extLst>
                <a:ext uri="{FF2B5EF4-FFF2-40B4-BE49-F238E27FC236}">
                  <a16:creationId xmlns:a16="http://schemas.microsoft.com/office/drawing/2014/main" id="{796E3B72-A314-4CE5-947B-5D749D8017A6}"/>
                </a:ext>
              </a:extLst>
            </p:cNvPr>
            <p:cNvSpPr>
              <a:spLocks/>
            </p:cNvSpPr>
            <p:nvPr/>
          </p:nvSpPr>
          <p:spPr bwMode="auto">
            <a:xfrm>
              <a:off x="2080465" y="4556091"/>
              <a:ext cx="52388" cy="49212"/>
            </a:xfrm>
            <a:custGeom>
              <a:avLst/>
              <a:gdLst>
                <a:gd name="T0" fmla="*/ 3 w 33"/>
                <a:gd name="T1" fmla="*/ 31 h 31"/>
                <a:gd name="T2" fmla="*/ 3 w 33"/>
                <a:gd name="T3" fmla="*/ 31 h 31"/>
                <a:gd name="T4" fmla="*/ 3 w 33"/>
                <a:gd name="T5" fmla="*/ 28 h 31"/>
                <a:gd name="T6" fmla="*/ 5 w 33"/>
                <a:gd name="T7" fmla="*/ 26 h 31"/>
                <a:gd name="T8" fmla="*/ 5 w 33"/>
                <a:gd name="T9" fmla="*/ 26 h 31"/>
                <a:gd name="T10" fmla="*/ 8 w 33"/>
                <a:gd name="T11" fmla="*/ 26 h 31"/>
                <a:gd name="T12" fmla="*/ 8 w 33"/>
                <a:gd name="T13" fmla="*/ 28 h 31"/>
                <a:gd name="T14" fmla="*/ 10 w 33"/>
                <a:gd name="T15" fmla="*/ 31 h 31"/>
                <a:gd name="T16" fmla="*/ 10 w 33"/>
                <a:gd name="T17" fmla="*/ 31 h 31"/>
                <a:gd name="T18" fmla="*/ 12 w 33"/>
                <a:gd name="T19" fmla="*/ 31 h 31"/>
                <a:gd name="T20" fmla="*/ 12 w 33"/>
                <a:gd name="T21" fmla="*/ 31 h 31"/>
                <a:gd name="T22" fmla="*/ 15 w 33"/>
                <a:gd name="T23" fmla="*/ 31 h 31"/>
                <a:gd name="T24" fmla="*/ 17 w 33"/>
                <a:gd name="T25" fmla="*/ 28 h 31"/>
                <a:gd name="T26" fmla="*/ 17 w 33"/>
                <a:gd name="T27" fmla="*/ 26 h 31"/>
                <a:gd name="T28" fmla="*/ 17 w 33"/>
                <a:gd name="T29" fmla="*/ 26 h 31"/>
                <a:gd name="T30" fmla="*/ 17 w 33"/>
                <a:gd name="T31" fmla="*/ 24 h 31"/>
                <a:gd name="T32" fmla="*/ 22 w 33"/>
                <a:gd name="T33" fmla="*/ 24 h 31"/>
                <a:gd name="T34" fmla="*/ 26 w 33"/>
                <a:gd name="T35" fmla="*/ 24 h 31"/>
                <a:gd name="T36" fmla="*/ 26 w 33"/>
                <a:gd name="T37" fmla="*/ 24 h 31"/>
                <a:gd name="T38" fmla="*/ 26 w 33"/>
                <a:gd name="T39" fmla="*/ 24 h 31"/>
                <a:gd name="T40" fmla="*/ 29 w 33"/>
                <a:gd name="T41" fmla="*/ 24 h 31"/>
                <a:gd name="T42" fmla="*/ 29 w 33"/>
                <a:gd name="T43" fmla="*/ 24 h 31"/>
                <a:gd name="T44" fmla="*/ 33 w 33"/>
                <a:gd name="T45" fmla="*/ 21 h 31"/>
                <a:gd name="T46" fmla="*/ 33 w 33"/>
                <a:gd name="T47" fmla="*/ 17 h 31"/>
                <a:gd name="T48" fmla="*/ 33 w 33"/>
                <a:gd name="T49" fmla="*/ 14 h 31"/>
                <a:gd name="T50" fmla="*/ 31 w 33"/>
                <a:gd name="T51" fmla="*/ 10 h 31"/>
                <a:gd name="T52" fmla="*/ 26 w 33"/>
                <a:gd name="T53" fmla="*/ 2 h 31"/>
                <a:gd name="T54" fmla="*/ 26 w 33"/>
                <a:gd name="T55" fmla="*/ 0 h 31"/>
                <a:gd name="T56" fmla="*/ 24 w 33"/>
                <a:gd name="T57" fmla="*/ 2 h 31"/>
                <a:gd name="T58" fmla="*/ 22 w 33"/>
                <a:gd name="T59" fmla="*/ 2 h 31"/>
                <a:gd name="T60" fmla="*/ 22 w 33"/>
                <a:gd name="T61" fmla="*/ 5 h 31"/>
                <a:gd name="T62" fmla="*/ 19 w 33"/>
                <a:gd name="T63" fmla="*/ 7 h 31"/>
                <a:gd name="T64" fmla="*/ 17 w 33"/>
                <a:gd name="T65" fmla="*/ 7 h 31"/>
                <a:gd name="T66" fmla="*/ 15 w 33"/>
                <a:gd name="T67" fmla="*/ 7 h 31"/>
                <a:gd name="T68" fmla="*/ 12 w 33"/>
                <a:gd name="T69" fmla="*/ 7 h 31"/>
                <a:gd name="T70" fmla="*/ 12 w 33"/>
                <a:gd name="T71" fmla="*/ 7 h 31"/>
                <a:gd name="T72" fmla="*/ 10 w 33"/>
                <a:gd name="T73" fmla="*/ 10 h 31"/>
                <a:gd name="T74" fmla="*/ 8 w 33"/>
                <a:gd name="T75" fmla="*/ 12 h 31"/>
                <a:gd name="T76" fmla="*/ 5 w 33"/>
                <a:gd name="T77" fmla="*/ 17 h 31"/>
                <a:gd name="T78" fmla="*/ 3 w 33"/>
                <a:gd name="T79" fmla="*/ 19 h 31"/>
                <a:gd name="T80" fmla="*/ 0 w 33"/>
                <a:gd name="T81" fmla="*/ 24 h 31"/>
                <a:gd name="T82" fmla="*/ 0 w 33"/>
                <a:gd name="T83" fmla="*/ 26 h 31"/>
                <a:gd name="T84" fmla="*/ 0 w 33"/>
                <a:gd name="T85" fmla="*/ 28 h 31"/>
                <a:gd name="T86" fmla="*/ 3 w 33"/>
                <a:gd name="T8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 h="31">
                  <a:moveTo>
                    <a:pt x="3" y="31"/>
                  </a:moveTo>
                  <a:lnTo>
                    <a:pt x="3" y="31"/>
                  </a:lnTo>
                  <a:lnTo>
                    <a:pt x="3" y="28"/>
                  </a:lnTo>
                  <a:lnTo>
                    <a:pt x="5" y="26"/>
                  </a:lnTo>
                  <a:lnTo>
                    <a:pt x="5" y="26"/>
                  </a:lnTo>
                  <a:lnTo>
                    <a:pt x="8" y="26"/>
                  </a:lnTo>
                  <a:lnTo>
                    <a:pt x="8" y="28"/>
                  </a:lnTo>
                  <a:lnTo>
                    <a:pt x="10" y="31"/>
                  </a:lnTo>
                  <a:lnTo>
                    <a:pt x="10" y="31"/>
                  </a:lnTo>
                  <a:lnTo>
                    <a:pt x="12" y="31"/>
                  </a:lnTo>
                  <a:lnTo>
                    <a:pt x="12" y="31"/>
                  </a:lnTo>
                  <a:lnTo>
                    <a:pt x="15" y="31"/>
                  </a:lnTo>
                  <a:lnTo>
                    <a:pt x="17" y="28"/>
                  </a:lnTo>
                  <a:lnTo>
                    <a:pt x="17" y="26"/>
                  </a:lnTo>
                  <a:lnTo>
                    <a:pt x="17" y="26"/>
                  </a:lnTo>
                  <a:lnTo>
                    <a:pt x="17" y="24"/>
                  </a:lnTo>
                  <a:lnTo>
                    <a:pt x="22" y="24"/>
                  </a:lnTo>
                  <a:lnTo>
                    <a:pt x="26" y="24"/>
                  </a:lnTo>
                  <a:lnTo>
                    <a:pt x="26" y="24"/>
                  </a:lnTo>
                  <a:lnTo>
                    <a:pt x="26" y="24"/>
                  </a:lnTo>
                  <a:lnTo>
                    <a:pt x="29" y="24"/>
                  </a:lnTo>
                  <a:lnTo>
                    <a:pt x="29" y="24"/>
                  </a:lnTo>
                  <a:lnTo>
                    <a:pt x="33" y="21"/>
                  </a:lnTo>
                  <a:lnTo>
                    <a:pt x="33" y="17"/>
                  </a:lnTo>
                  <a:lnTo>
                    <a:pt x="33" y="14"/>
                  </a:lnTo>
                  <a:lnTo>
                    <a:pt x="31" y="10"/>
                  </a:lnTo>
                  <a:lnTo>
                    <a:pt x="26" y="2"/>
                  </a:lnTo>
                  <a:lnTo>
                    <a:pt x="26" y="0"/>
                  </a:lnTo>
                  <a:lnTo>
                    <a:pt x="24" y="2"/>
                  </a:lnTo>
                  <a:lnTo>
                    <a:pt x="22" y="2"/>
                  </a:lnTo>
                  <a:lnTo>
                    <a:pt x="22" y="5"/>
                  </a:lnTo>
                  <a:lnTo>
                    <a:pt x="19" y="7"/>
                  </a:lnTo>
                  <a:lnTo>
                    <a:pt x="17" y="7"/>
                  </a:lnTo>
                  <a:lnTo>
                    <a:pt x="15" y="7"/>
                  </a:lnTo>
                  <a:lnTo>
                    <a:pt x="12" y="7"/>
                  </a:lnTo>
                  <a:lnTo>
                    <a:pt x="12" y="7"/>
                  </a:lnTo>
                  <a:lnTo>
                    <a:pt x="10" y="10"/>
                  </a:lnTo>
                  <a:lnTo>
                    <a:pt x="8" y="12"/>
                  </a:lnTo>
                  <a:lnTo>
                    <a:pt x="5" y="17"/>
                  </a:lnTo>
                  <a:lnTo>
                    <a:pt x="3" y="19"/>
                  </a:lnTo>
                  <a:lnTo>
                    <a:pt x="0" y="24"/>
                  </a:lnTo>
                  <a:lnTo>
                    <a:pt x="0" y="26"/>
                  </a:lnTo>
                  <a:lnTo>
                    <a:pt x="0" y="28"/>
                  </a:lnTo>
                  <a:lnTo>
                    <a:pt x="3" y="31"/>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29" name="Freeform 863">
              <a:extLst>
                <a:ext uri="{FF2B5EF4-FFF2-40B4-BE49-F238E27FC236}">
                  <a16:creationId xmlns:a16="http://schemas.microsoft.com/office/drawing/2014/main" id="{0941BF70-9DC1-4AB7-9A41-6003E0034BBE}"/>
                </a:ext>
              </a:extLst>
            </p:cNvPr>
            <p:cNvSpPr>
              <a:spLocks/>
            </p:cNvSpPr>
            <p:nvPr/>
          </p:nvSpPr>
          <p:spPr bwMode="auto">
            <a:xfrm>
              <a:off x="2129677" y="5260941"/>
              <a:ext cx="33338" cy="44450"/>
            </a:xfrm>
            <a:custGeom>
              <a:avLst/>
              <a:gdLst>
                <a:gd name="T0" fmla="*/ 21 w 21"/>
                <a:gd name="T1" fmla="*/ 21 h 28"/>
                <a:gd name="T2" fmla="*/ 21 w 21"/>
                <a:gd name="T3" fmla="*/ 12 h 28"/>
                <a:gd name="T4" fmla="*/ 21 w 21"/>
                <a:gd name="T5" fmla="*/ 5 h 28"/>
                <a:gd name="T6" fmla="*/ 21 w 21"/>
                <a:gd name="T7" fmla="*/ 2 h 28"/>
                <a:gd name="T8" fmla="*/ 19 w 21"/>
                <a:gd name="T9" fmla="*/ 5 h 28"/>
                <a:gd name="T10" fmla="*/ 12 w 21"/>
                <a:gd name="T11" fmla="*/ 0 h 28"/>
                <a:gd name="T12" fmla="*/ 7 w 21"/>
                <a:gd name="T13" fmla="*/ 2 h 28"/>
                <a:gd name="T14" fmla="*/ 5 w 21"/>
                <a:gd name="T15" fmla="*/ 7 h 28"/>
                <a:gd name="T16" fmla="*/ 2 w 21"/>
                <a:gd name="T17" fmla="*/ 12 h 28"/>
                <a:gd name="T18" fmla="*/ 0 w 21"/>
                <a:gd name="T19" fmla="*/ 19 h 28"/>
                <a:gd name="T20" fmla="*/ 0 w 21"/>
                <a:gd name="T21" fmla="*/ 21 h 28"/>
                <a:gd name="T22" fmla="*/ 5 w 21"/>
                <a:gd name="T23" fmla="*/ 28 h 28"/>
                <a:gd name="T24" fmla="*/ 12 w 21"/>
                <a:gd name="T25" fmla="*/ 28 h 28"/>
                <a:gd name="T26" fmla="*/ 17 w 21"/>
                <a:gd name="T27" fmla="*/ 28 h 28"/>
                <a:gd name="T28" fmla="*/ 19 w 21"/>
                <a:gd name="T29" fmla="*/ 26 h 28"/>
                <a:gd name="T30" fmla="*/ 19 w 21"/>
                <a:gd name="T31" fmla="*/ 21 h 28"/>
                <a:gd name="T32" fmla="*/ 21 w 21"/>
                <a:gd name="T33"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8">
                  <a:moveTo>
                    <a:pt x="21" y="21"/>
                  </a:moveTo>
                  <a:lnTo>
                    <a:pt x="21" y="12"/>
                  </a:lnTo>
                  <a:lnTo>
                    <a:pt x="21" y="5"/>
                  </a:lnTo>
                  <a:lnTo>
                    <a:pt x="21" y="2"/>
                  </a:lnTo>
                  <a:lnTo>
                    <a:pt x="19" y="5"/>
                  </a:lnTo>
                  <a:lnTo>
                    <a:pt x="12" y="0"/>
                  </a:lnTo>
                  <a:lnTo>
                    <a:pt x="7" y="2"/>
                  </a:lnTo>
                  <a:lnTo>
                    <a:pt x="5" y="7"/>
                  </a:lnTo>
                  <a:lnTo>
                    <a:pt x="2" y="12"/>
                  </a:lnTo>
                  <a:lnTo>
                    <a:pt x="0" y="19"/>
                  </a:lnTo>
                  <a:lnTo>
                    <a:pt x="0" y="21"/>
                  </a:lnTo>
                  <a:lnTo>
                    <a:pt x="5" y="28"/>
                  </a:lnTo>
                  <a:lnTo>
                    <a:pt x="12" y="28"/>
                  </a:lnTo>
                  <a:lnTo>
                    <a:pt x="17" y="28"/>
                  </a:lnTo>
                  <a:lnTo>
                    <a:pt x="19" y="26"/>
                  </a:lnTo>
                  <a:lnTo>
                    <a:pt x="19" y="21"/>
                  </a:lnTo>
                  <a:lnTo>
                    <a:pt x="21" y="2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0" name="Freeform 864">
              <a:extLst>
                <a:ext uri="{FF2B5EF4-FFF2-40B4-BE49-F238E27FC236}">
                  <a16:creationId xmlns:a16="http://schemas.microsoft.com/office/drawing/2014/main" id="{C3446967-6E9E-448F-81EE-D7C8A5FCF976}"/>
                </a:ext>
              </a:extLst>
            </p:cNvPr>
            <p:cNvSpPr>
              <a:spLocks/>
            </p:cNvSpPr>
            <p:nvPr/>
          </p:nvSpPr>
          <p:spPr bwMode="auto">
            <a:xfrm>
              <a:off x="2129677" y="5260941"/>
              <a:ext cx="33338" cy="44450"/>
            </a:xfrm>
            <a:custGeom>
              <a:avLst/>
              <a:gdLst>
                <a:gd name="T0" fmla="*/ 21 w 21"/>
                <a:gd name="T1" fmla="*/ 21 h 28"/>
                <a:gd name="T2" fmla="*/ 21 w 21"/>
                <a:gd name="T3" fmla="*/ 12 h 28"/>
                <a:gd name="T4" fmla="*/ 21 w 21"/>
                <a:gd name="T5" fmla="*/ 5 h 28"/>
                <a:gd name="T6" fmla="*/ 21 w 21"/>
                <a:gd name="T7" fmla="*/ 2 h 28"/>
                <a:gd name="T8" fmla="*/ 19 w 21"/>
                <a:gd name="T9" fmla="*/ 5 h 28"/>
                <a:gd name="T10" fmla="*/ 12 w 21"/>
                <a:gd name="T11" fmla="*/ 0 h 28"/>
                <a:gd name="T12" fmla="*/ 7 w 21"/>
                <a:gd name="T13" fmla="*/ 2 h 28"/>
                <a:gd name="T14" fmla="*/ 5 w 21"/>
                <a:gd name="T15" fmla="*/ 7 h 28"/>
                <a:gd name="T16" fmla="*/ 2 w 21"/>
                <a:gd name="T17" fmla="*/ 12 h 28"/>
                <a:gd name="T18" fmla="*/ 0 w 21"/>
                <a:gd name="T19" fmla="*/ 19 h 28"/>
                <a:gd name="T20" fmla="*/ 0 w 21"/>
                <a:gd name="T21" fmla="*/ 21 h 28"/>
                <a:gd name="T22" fmla="*/ 5 w 21"/>
                <a:gd name="T23" fmla="*/ 28 h 28"/>
                <a:gd name="T24" fmla="*/ 12 w 21"/>
                <a:gd name="T25" fmla="*/ 28 h 28"/>
                <a:gd name="T26" fmla="*/ 17 w 21"/>
                <a:gd name="T27" fmla="*/ 28 h 28"/>
                <a:gd name="T28" fmla="*/ 19 w 21"/>
                <a:gd name="T29" fmla="*/ 26 h 28"/>
                <a:gd name="T30" fmla="*/ 19 w 21"/>
                <a:gd name="T31" fmla="*/ 21 h 28"/>
                <a:gd name="T32" fmla="*/ 21 w 21"/>
                <a:gd name="T33"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8">
                  <a:moveTo>
                    <a:pt x="21" y="21"/>
                  </a:moveTo>
                  <a:lnTo>
                    <a:pt x="21" y="12"/>
                  </a:lnTo>
                  <a:lnTo>
                    <a:pt x="21" y="5"/>
                  </a:lnTo>
                  <a:lnTo>
                    <a:pt x="21" y="2"/>
                  </a:lnTo>
                  <a:lnTo>
                    <a:pt x="19" y="5"/>
                  </a:lnTo>
                  <a:lnTo>
                    <a:pt x="12" y="0"/>
                  </a:lnTo>
                  <a:lnTo>
                    <a:pt x="7" y="2"/>
                  </a:lnTo>
                  <a:lnTo>
                    <a:pt x="5" y="7"/>
                  </a:lnTo>
                  <a:lnTo>
                    <a:pt x="2" y="12"/>
                  </a:lnTo>
                  <a:lnTo>
                    <a:pt x="0" y="19"/>
                  </a:lnTo>
                  <a:lnTo>
                    <a:pt x="0" y="21"/>
                  </a:lnTo>
                  <a:lnTo>
                    <a:pt x="5" y="28"/>
                  </a:lnTo>
                  <a:lnTo>
                    <a:pt x="12" y="28"/>
                  </a:lnTo>
                  <a:lnTo>
                    <a:pt x="17" y="28"/>
                  </a:lnTo>
                  <a:lnTo>
                    <a:pt x="19" y="26"/>
                  </a:lnTo>
                  <a:lnTo>
                    <a:pt x="19" y="21"/>
                  </a:lnTo>
                  <a:lnTo>
                    <a:pt x="21" y="21"/>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1" name="Freeform 865">
              <a:extLst>
                <a:ext uri="{FF2B5EF4-FFF2-40B4-BE49-F238E27FC236}">
                  <a16:creationId xmlns:a16="http://schemas.microsoft.com/office/drawing/2014/main" id="{8A0855B1-FC2A-4D27-886A-CF18B32FDBFD}"/>
                </a:ext>
              </a:extLst>
            </p:cNvPr>
            <p:cNvSpPr>
              <a:spLocks/>
            </p:cNvSpPr>
            <p:nvPr/>
          </p:nvSpPr>
          <p:spPr bwMode="auto">
            <a:xfrm>
              <a:off x="2028077" y="5346667"/>
              <a:ext cx="65087" cy="68262"/>
            </a:xfrm>
            <a:custGeom>
              <a:avLst/>
              <a:gdLst>
                <a:gd name="T0" fmla="*/ 41 w 41"/>
                <a:gd name="T1" fmla="*/ 17 h 43"/>
                <a:gd name="T2" fmla="*/ 41 w 41"/>
                <a:gd name="T3" fmla="*/ 17 h 43"/>
                <a:gd name="T4" fmla="*/ 41 w 41"/>
                <a:gd name="T5" fmla="*/ 19 h 43"/>
                <a:gd name="T6" fmla="*/ 31 w 41"/>
                <a:gd name="T7" fmla="*/ 31 h 43"/>
                <a:gd name="T8" fmla="*/ 24 w 41"/>
                <a:gd name="T9" fmla="*/ 36 h 43"/>
                <a:gd name="T10" fmla="*/ 19 w 41"/>
                <a:gd name="T11" fmla="*/ 41 h 43"/>
                <a:gd name="T12" fmla="*/ 17 w 41"/>
                <a:gd name="T13" fmla="*/ 43 h 43"/>
                <a:gd name="T14" fmla="*/ 12 w 41"/>
                <a:gd name="T15" fmla="*/ 43 h 43"/>
                <a:gd name="T16" fmla="*/ 7 w 41"/>
                <a:gd name="T17" fmla="*/ 38 h 43"/>
                <a:gd name="T18" fmla="*/ 3 w 41"/>
                <a:gd name="T19" fmla="*/ 34 h 43"/>
                <a:gd name="T20" fmla="*/ 0 w 41"/>
                <a:gd name="T21" fmla="*/ 29 h 43"/>
                <a:gd name="T22" fmla="*/ 0 w 41"/>
                <a:gd name="T23" fmla="*/ 24 h 43"/>
                <a:gd name="T24" fmla="*/ 0 w 41"/>
                <a:gd name="T25" fmla="*/ 22 h 43"/>
                <a:gd name="T26" fmla="*/ 7 w 41"/>
                <a:gd name="T27" fmla="*/ 10 h 43"/>
                <a:gd name="T28" fmla="*/ 12 w 41"/>
                <a:gd name="T29" fmla="*/ 5 h 43"/>
                <a:gd name="T30" fmla="*/ 22 w 41"/>
                <a:gd name="T31" fmla="*/ 3 h 43"/>
                <a:gd name="T32" fmla="*/ 26 w 41"/>
                <a:gd name="T33" fmla="*/ 0 h 43"/>
                <a:gd name="T34" fmla="*/ 31 w 41"/>
                <a:gd name="T35" fmla="*/ 3 h 43"/>
                <a:gd name="T36" fmla="*/ 33 w 41"/>
                <a:gd name="T37" fmla="*/ 8 h 43"/>
                <a:gd name="T38" fmla="*/ 36 w 41"/>
                <a:gd name="T39" fmla="*/ 10 h 43"/>
                <a:gd name="T40" fmla="*/ 38 w 41"/>
                <a:gd name="T41" fmla="*/ 15 h 43"/>
                <a:gd name="T42" fmla="*/ 41 w 41"/>
                <a:gd name="T43"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41" y="17"/>
                  </a:moveTo>
                  <a:lnTo>
                    <a:pt x="41" y="17"/>
                  </a:lnTo>
                  <a:lnTo>
                    <a:pt x="41" y="19"/>
                  </a:lnTo>
                  <a:lnTo>
                    <a:pt x="31" y="31"/>
                  </a:lnTo>
                  <a:lnTo>
                    <a:pt x="24" y="36"/>
                  </a:lnTo>
                  <a:lnTo>
                    <a:pt x="19" y="41"/>
                  </a:lnTo>
                  <a:lnTo>
                    <a:pt x="17" y="43"/>
                  </a:lnTo>
                  <a:lnTo>
                    <a:pt x="12" y="43"/>
                  </a:lnTo>
                  <a:lnTo>
                    <a:pt x="7" y="38"/>
                  </a:lnTo>
                  <a:lnTo>
                    <a:pt x="3" y="34"/>
                  </a:lnTo>
                  <a:lnTo>
                    <a:pt x="0" y="29"/>
                  </a:lnTo>
                  <a:lnTo>
                    <a:pt x="0" y="24"/>
                  </a:lnTo>
                  <a:lnTo>
                    <a:pt x="0" y="22"/>
                  </a:lnTo>
                  <a:lnTo>
                    <a:pt x="7" y="10"/>
                  </a:lnTo>
                  <a:lnTo>
                    <a:pt x="12" y="5"/>
                  </a:lnTo>
                  <a:lnTo>
                    <a:pt x="22" y="3"/>
                  </a:lnTo>
                  <a:lnTo>
                    <a:pt x="26" y="0"/>
                  </a:lnTo>
                  <a:lnTo>
                    <a:pt x="31" y="3"/>
                  </a:lnTo>
                  <a:lnTo>
                    <a:pt x="33" y="8"/>
                  </a:lnTo>
                  <a:lnTo>
                    <a:pt x="36" y="10"/>
                  </a:lnTo>
                  <a:lnTo>
                    <a:pt x="38" y="15"/>
                  </a:lnTo>
                  <a:lnTo>
                    <a:pt x="41" y="1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2" name="Freeform 866">
              <a:extLst>
                <a:ext uri="{FF2B5EF4-FFF2-40B4-BE49-F238E27FC236}">
                  <a16:creationId xmlns:a16="http://schemas.microsoft.com/office/drawing/2014/main" id="{F09127E1-0D3F-4051-B86B-85B2A6869214}"/>
                </a:ext>
              </a:extLst>
            </p:cNvPr>
            <p:cNvSpPr>
              <a:spLocks/>
            </p:cNvSpPr>
            <p:nvPr/>
          </p:nvSpPr>
          <p:spPr bwMode="auto">
            <a:xfrm>
              <a:off x="2028077" y="5346666"/>
              <a:ext cx="65087" cy="68262"/>
            </a:xfrm>
            <a:custGeom>
              <a:avLst/>
              <a:gdLst>
                <a:gd name="T0" fmla="*/ 41 w 41"/>
                <a:gd name="T1" fmla="*/ 17 h 43"/>
                <a:gd name="T2" fmla="*/ 41 w 41"/>
                <a:gd name="T3" fmla="*/ 17 h 43"/>
                <a:gd name="T4" fmla="*/ 41 w 41"/>
                <a:gd name="T5" fmla="*/ 19 h 43"/>
                <a:gd name="T6" fmla="*/ 31 w 41"/>
                <a:gd name="T7" fmla="*/ 31 h 43"/>
                <a:gd name="T8" fmla="*/ 24 w 41"/>
                <a:gd name="T9" fmla="*/ 36 h 43"/>
                <a:gd name="T10" fmla="*/ 19 w 41"/>
                <a:gd name="T11" fmla="*/ 41 h 43"/>
                <a:gd name="T12" fmla="*/ 17 w 41"/>
                <a:gd name="T13" fmla="*/ 43 h 43"/>
                <a:gd name="T14" fmla="*/ 12 w 41"/>
                <a:gd name="T15" fmla="*/ 43 h 43"/>
                <a:gd name="T16" fmla="*/ 7 w 41"/>
                <a:gd name="T17" fmla="*/ 38 h 43"/>
                <a:gd name="T18" fmla="*/ 3 w 41"/>
                <a:gd name="T19" fmla="*/ 34 h 43"/>
                <a:gd name="T20" fmla="*/ 0 w 41"/>
                <a:gd name="T21" fmla="*/ 29 h 43"/>
                <a:gd name="T22" fmla="*/ 0 w 41"/>
                <a:gd name="T23" fmla="*/ 24 h 43"/>
                <a:gd name="T24" fmla="*/ 0 w 41"/>
                <a:gd name="T25" fmla="*/ 22 h 43"/>
                <a:gd name="T26" fmla="*/ 7 w 41"/>
                <a:gd name="T27" fmla="*/ 10 h 43"/>
                <a:gd name="T28" fmla="*/ 12 w 41"/>
                <a:gd name="T29" fmla="*/ 5 h 43"/>
                <a:gd name="T30" fmla="*/ 22 w 41"/>
                <a:gd name="T31" fmla="*/ 3 h 43"/>
                <a:gd name="T32" fmla="*/ 26 w 41"/>
                <a:gd name="T33" fmla="*/ 0 h 43"/>
                <a:gd name="T34" fmla="*/ 31 w 41"/>
                <a:gd name="T35" fmla="*/ 3 h 43"/>
                <a:gd name="T36" fmla="*/ 33 w 41"/>
                <a:gd name="T37" fmla="*/ 8 h 43"/>
                <a:gd name="T38" fmla="*/ 36 w 41"/>
                <a:gd name="T39" fmla="*/ 10 h 43"/>
                <a:gd name="T40" fmla="*/ 38 w 41"/>
                <a:gd name="T41" fmla="*/ 15 h 43"/>
                <a:gd name="T42" fmla="*/ 41 w 41"/>
                <a:gd name="T43"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41" y="17"/>
                  </a:moveTo>
                  <a:lnTo>
                    <a:pt x="41" y="17"/>
                  </a:lnTo>
                  <a:lnTo>
                    <a:pt x="41" y="19"/>
                  </a:lnTo>
                  <a:lnTo>
                    <a:pt x="31" y="31"/>
                  </a:lnTo>
                  <a:lnTo>
                    <a:pt x="24" y="36"/>
                  </a:lnTo>
                  <a:lnTo>
                    <a:pt x="19" y="41"/>
                  </a:lnTo>
                  <a:lnTo>
                    <a:pt x="17" y="43"/>
                  </a:lnTo>
                  <a:lnTo>
                    <a:pt x="12" y="43"/>
                  </a:lnTo>
                  <a:lnTo>
                    <a:pt x="7" y="38"/>
                  </a:lnTo>
                  <a:lnTo>
                    <a:pt x="3" y="34"/>
                  </a:lnTo>
                  <a:lnTo>
                    <a:pt x="0" y="29"/>
                  </a:lnTo>
                  <a:lnTo>
                    <a:pt x="0" y="24"/>
                  </a:lnTo>
                  <a:lnTo>
                    <a:pt x="0" y="22"/>
                  </a:lnTo>
                  <a:lnTo>
                    <a:pt x="7" y="10"/>
                  </a:lnTo>
                  <a:lnTo>
                    <a:pt x="12" y="5"/>
                  </a:lnTo>
                  <a:lnTo>
                    <a:pt x="22" y="3"/>
                  </a:lnTo>
                  <a:lnTo>
                    <a:pt x="26" y="0"/>
                  </a:lnTo>
                  <a:lnTo>
                    <a:pt x="31" y="3"/>
                  </a:lnTo>
                  <a:lnTo>
                    <a:pt x="33" y="8"/>
                  </a:lnTo>
                  <a:lnTo>
                    <a:pt x="36" y="10"/>
                  </a:lnTo>
                  <a:lnTo>
                    <a:pt x="38" y="15"/>
                  </a:lnTo>
                  <a:lnTo>
                    <a:pt x="41" y="17"/>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3" name="Freeform 867">
              <a:extLst>
                <a:ext uri="{FF2B5EF4-FFF2-40B4-BE49-F238E27FC236}">
                  <a16:creationId xmlns:a16="http://schemas.microsoft.com/office/drawing/2014/main" id="{A0AE9A0B-A124-43D3-919D-95D208DEB2A1}"/>
                </a:ext>
              </a:extLst>
            </p:cNvPr>
            <p:cNvSpPr>
              <a:spLocks/>
            </p:cNvSpPr>
            <p:nvPr/>
          </p:nvSpPr>
          <p:spPr bwMode="auto">
            <a:xfrm>
              <a:off x="2478926" y="3278152"/>
              <a:ext cx="85725" cy="88900"/>
            </a:xfrm>
            <a:custGeom>
              <a:avLst/>
              <a:gdLst>
                <a:gd name="T0" fmla="*/ 23 w 54"/>
                <a:gd name="T1" fmla="*/ 37 h 56"/>
                <a:gd name="T2" fmla="*/ 21 w 54"/>
                <a:gd name="T3" fmla="*/ 33 h 56"/>
                <a:gd name="T4" fmla="*/ 19 w 54"/>
                <a:gd name="T5" fmla="*/ 33 h 56"/>
                <a:gd name="T6" fmla="*/ 19 w 54"/>
                <a:gd name="T7" fmla="*/ 30 h 56"/>
                <a:gd name="T8" fmla="*/ 14 w 54"/>
                <a:gd name="T9" fmla="*/ 28 h 56"/>
                <a:gd name="T10" fmla="*/ 12 w 54"/>
                <a:gd name="T11" fmla="*/ 26 h 56"/>
                <a:gd name="T12" fmla="*/ 9 w 54"/>
                <a:gd name="T13" fmla="*/ 26 h 56"/>
                <a:gd name="T14" fmla="*/ 5 w 54"/>
                <a:gd name="T15" fmla="*/ 21 h 56"/>
                <a:gd name="T16" fmla="*/ 5 w 54"/>
                <a:gd name="T17" fmla="*/ 16 h 56"/>
                <a:gd name="T18" fmla="*/ 5 w 54"/>
                <a:gd name="T19" fmla="*/ 11 h 56"/>
                <a:gd name="T20" fmla="*/ 2 w 54"/>
                <a:gd name="T21" fmla="*/ 7 h 56"/>
                <a:gd name="T22" fmla="*/ 0 w 54"/>
                <a:gd name="T23" fmla="*/ 4 h 56"/>
                <a:gd name="T24" fmla="*/ 7 w 54"/>
                <a:gd name="T25" fmla="*/ 4 h 56"/>
                <a:gd name="T26" fmla="*/ 9 w 54"/>
                <a:gd name="T27" fmla="*/ 2 h 56"/>
                <a:gd name="T28" fmla="*/ 14 w 54"/>
                <a:gd name="T29" fmla="*/ 2 h 56"/>
                <a:gd name="T30" fmla="*/ 16 w 54"/>
                <a:gd name="T31" fmla="*/ 0 h 56"/>
                <a:gd name="T32" fmla="*/ 21 w 54"/>
                <a:gd name="T33" fmla="*/ 2 h 56"/>
                <a:gd name="T34" fmla="*/ 23 w 54"/>
                <a:gd name="T35" fmla="*/ 2 h 56"/>
                <a:gd name="T36" fmla="*/ 28 w 54"/>
                <a:gd name="T37" fmla="*/ 0 h 56"/>
                <a:gd name="T38" fmla="*/ 28 w 54"/>
                <a:gd name="T39" fmla="*/ 0 h 56"/>
                <a:gd name="T40" fmla="*/ 28 w 54"/>
                <a:gd name="T41" fmla="*/ 2 h 56"/>
                <a:gd name="T42" fmla="*/ 31 w 54"/>
                <a:gd name="T43" fmla="*/ 7 h 56"/>
                <a:gd name="T44" fmla="*/ 33 w 54"/>
                <a:gd name="T45" fmla="*/ 7 h 56"/>
                <a:gd name="T46" fmla="*/ 35 w 54"/>
                <a:gd name="T47" fmla="*/ 7 h 56"/>
                <a:gd name="T48" fmla="*/ 35 w 54"/>
                <a:gd name="T49" fmla="*/ 9 h 56"/>
                <a:gd name="T50" fmla="*/ 35 w 54"/>
                <a:gd name="T51" fmla="*/ 11 h 56"/>
                <a:gd name="T52" fmla="*/ 35 w 54"/>
                <a:gd name="T53" fmla="*/ 14 h 56"/>
                <a:gd name="T54" fmla="*/ 35 w 54"/>
                <a:gd name="T55" fmla="*/ 16 h 56"/>
                <a:gd name="T56" fmla="*/ 38 w 54"/>
                <a:gd name="T57" fmla="*/ 19 h 56"/>
                <a:gd name="T58" fmla="*/ 38 w 54"/>
                <a:gd name="T59" fmla="*/ 21 h 56"/>
                <a:gd name="T60" fmla="*/ 42 w 54"/>
                <a:gd name="T61" fmla="*/ 23 h 56"/>
                <a:gd name="T62" fmla="*/ 45 w 54"/>
                <a:gd name="T63" fmla="*/ 26 h 56"/>
                <a:gd name="T64" fmla="*/ 42 w 54"/>
                <a:gd name="T65" fmla="*/ 28 h 56"/>
                <a:gd name="T66" fmla="*/ 40 w 54"/>
                <a:gd name="T67" fmla="*/ 28 h 56"/>
                <a:gd name="T68" fmla="*/ 40 w 54"/>
                <a:gd name="T69" fmla="*/ 33 h 56"/>
                <a:gd name="T70" fmla="*/ 45 w 54"/>
                <a:gd name="T71" fmla="*/ 35 h 56"/>
                <a:gd name="T72" fmla="*/ 47 w 54"/>
                <a:gd name="T73" fmla="*/ 37 h 56"/>
                <a:gd name="T74" fmla="*/ 52 w 54"/>
                <a:gd name="T75" fmla="*/ 37 h 56"/>
                <a:gd name="T76" fmla="*/ 54 w 54"/>
                <a:gd name="T77" fmla="*/ 40 h 56"/>
                <a:gd name="T78" fmla="*/ 52 w 54"/>
                <a:gd name="T79" fmla="*/ 42 h 56"/>
                <a:gd name="T80" fmla="*/ 52 w 54"/>
                <a:gd name="T81" fmla="*/ 45 h 56"/>
                <a:gd name="T82" fmla="*/ 54 w 54"/>
                <a:gd name="T83" fmla="*/ 45 h 56"/>
                <a:gd name="T84" fmla="*/ 54 w 54"/>
                <a:gd name="T85" fmla="*/ 47 h 56"/>
                <a:gd name="T86" fmla="*/ 52 w 54"/>
                <a:gd name="T87" fmla="*/ 49 h 56"/>
                <a:gd name="T88" fmla="*/ 52 w 54"/>
                <a:gd name="T89" fmla="*/ 52 h 56"/>
                <a:gd name="T90" fmla="*/ 54 w 54"/>
                <a:gd name="T91" fmla="*/ 54 h 56"/>
                <a:gd name="T92" fmla="*/ 54 w 54"/>
                <a:gd name="T93" fmla="*/ 54 h 56"/>
                <a:gd name="T94" fmla="*/ 52 w 54"/>
                <a:gd name="T95" fmla="*/ 56 h 56"/>
                <a:gd name="T96" fmla="*/ 47 w 54"/>
                <a:gd name="T97" fmla="*/ 54 h 56"/>
                <a:gd name="T98" fmla="*/ 45 w 54"/>
                <a:gd name="T99" fmla="*/ 54 h 56"/>
                <a:gd name="T100" fmla="*/ 45 w 54"/>
                <a:gd name="T101" fmla="*/ 47 h 56"/>
                <a:gd name="T102" fmla="*/ 42 w 54"/>
                <a:gd name="T103" fmla="*/ 45 h 56"/>
                <a:gd name="T104" fmla="*/ 42 w 54"/>
                <a:gd name="T105" fmla="*/ 42 h 56"/>
                <a:gd name="T106" fmla="*/ 40 w 54"/>
                <a:gd name="T107" fmla="*/ 40 h 56"/>
                <a:gd name="T108" fmla="*/ 38 w 54"/>
                <a:gd name="T109" fmla="*/ 40 h 56"/>
                <a:gd name="T110" fmla="*/ 35 w 54"/>
                <a:gd name="T111" fmla="*/ 40 h 56"/>
                <a:gd name="T112" fmla="*/ 33 w 54"/>
                <a:gd name="T113" fmla="*/ 40 h 56"/>
                <a:gd name="T114" fmla="*/ 31 w 54"/>
                <a:gd name="T115" fmla="*/ 40 h 56"/>
                <a:gd name="T116" fmla="*/ 31 w 54"/>
                <a:gd name="T117" fmla="*/ 37 h 56"/>
                <a:gd name="T118" fmla="*/ 28 w 54"/>
                <a:gd name="T119" fmla="*/ 35 h 56"/>
                <a:gd name="T120" fmla="*/ 23 w 54"/>
                <a:gd name="T121"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56">
                  <a:moveTo>
                    <a:pt x="23" y="37"/>
                  </a:moveTo>
                  <a:lnTo>
                    <a:pt x="21" y="33"/>
                  </a:lnTo>
                  <a:lnTo>
                    <a:pt x="19" y="33"/>
                  </a:lnTo>
                  <a:lnTo>
                    <a:pt x="19" y="30"/>
                  </a:lnTo>
                  <a:lnTo>
                    <a:pt x="14" y="28"/>
                  </a:lnTo>
                  <a:lnTo>
                    <a:pt x="12" y="26"/>
                  </a:lnTo>
                  <a:lnTo>
                    <a:pt x="9" y="26"/>
                  </a:lnTo>
                  <a:lnTo>
                    <a:pt x="5" y="21"/>
                  </a:lnTo>
                  <a:lnTo>
                    <a:pt x="5" y="16"/>
                  </a:lnTo>
                  <a:lnTo>
                    <a:pt x="5" y="11"/>
                  </a:lnTo>
                  <a:lnTo>
                    <a:pt x="2" y="7"/>
                  </a:lnTo>
                  <a:lnTo>
                    <a:pt x="0" y="4"/>
                  </a:lnTo>
                  <a:lnTo>
                    <a:pt x="7" y="4"/>
                  </a:lnTo>
                  <a:lnTo>
                    <a:pt x="9" y="2"/>
                  </a:lnTo>
                  <a:lnTo>
                    <a:pt x="14" y="2"/>
                  </a:lnTo>
                  <a:lnTo>
                    <a:pt x="16" y="0"/>
                  </a:lnTo>
                  <a:lnTo>
                    <a:pt x="21" y="2"/>
                  </a:lnTo>
                  <a:lnTo>
                    <a:pt x="23" y="2"/>
                  </a:lnTo>
                  <a:lnTo>
                    <a:pt x="28" y="0"/>
                  </a:lnTo>
                  <a:lnTo>
                    <a:pt x="28" y="0"/>
                  </a:lnTo>
                  <a:lnTo>
                    <a:pt x="28" y="2"/>
                  </a:lnTo>
                  <a:lnTo>
                    <a:pt x="31" y="7"/>
                  </a:lnTo>
                  <a:lnTo>
                    <a:pt x="33" y="7"/>
                  </a:lnTo>
                  <a:lnTo>
                    <a:pt x="35" y="7"/>
                  </a:lnTo>
                  <a:lnTo>
                    <a:pt x="35" y="9"/>
                  </a:lnTo>
                  <a:lnTo>
                    <a:pt x="35" y="11"/>
                  </a:lnTo>
                  <a:lnTo>
                    <a:pt x="35" y="14"/>
                  </a:lnTo>
                  <a:lnTo>
                    <a:pt x="35" y="16"/>
                  </a:lnTo>
                  <a:lnTo>
                    <a:pt x="38" y="19"/>
                  </a:lnTo>
                  <a:lnTo>
                    <a:pt x="38" y="21"/>
                  </a:lnTo>
                  <a:lnTo>
                    <a:pt x="42" y="23"/>
                  </a:lnTo>
                  <a:lnTo>
                    <a:pt x="45" y="26"/>
                  </a:lnTo>
                  <a:lnTo>
                    <a:pt x="42" y="28"/>
                  </a:lnTo>
                  <a:lnTo>
                    <a:pt x="40" y="28"/>
                  </a:lnTo>
                  <a:lnTo>
                    <a:pt x="40" y="33"/>
                  </a:lnTo>
                  <a:lnTo>
                    <a:pt x="45" y="35"/>
                  </a:lnTo>
                  <a:lnTo>
                    <a:pt x="47" y="37"/>
                  </a:lnTo>
                  <a:lnTo>
                    <a:pt x="52" y="37"/>
                  </a:lnTo>
                  <a:lnTo>
                    <a:pt x="54" y="40"/>
                  </a:lnTo>
                  <a:lnTo>
                    <a:pt x="52" y="42"/>
                  </a:lnTo>
                  <a:lnTo>
                    <a:pt x="52" y="45"/>
                  </a:lnTo>
                  <a:lnTo>
                    <a:pt x="54" y="45"/>
                  </a:lnTo>
                  <a:lnTo>
                    <a:pt x="54" y="47"/>
                  </a:lnTo>
                  <a:lnTo>
                    <a:pt x="52" y="49"/>
                  </a:lnTo>
                  <a:lnTo>
                    <a:pt x="52" y="52"/>
                  </a:lnTo>
                  <a:lnTo>
                    <a:pt x="54" y="54"/>
                  </a:lnTo>
                  <a:lnTo>
                    <a:pt x="54" y="54"/>
                  </a:lnTo>
                  <a:lnTo>
                    <a:pt x="52" y="56"/>
                  </a:lnTo>
                  <a:lnTo>
                    <a:pt x="47" y="54"/>
                  </a:lnTo>
                  <a:lnTo>
                    <a:pt x="45" y="54"/>
                  </a:lnTo>
                  <a:lnTo>
                    <a:pt x="45" y="47"/>
                  </a:lnTo>
                  <a:lnTo>
                    <a:pt x="42" y="45"/>
                  </a:lnTo>
                  <a:lnTo>
                    <a:pt x="42" y="42"/>
                  </a:lnTo>
                  <a:lnTo>
                    <a:pt x="40" y="40"/>
                  </a:lnTo>
                  <a:lnTo>
                    <a:pt x="38" y="40"/>
                  </a:lnTo>
                  <a:lnTo>
                    <a:pt x="35" y="40"/>
                  </a:lnTo>
                  <a:lnTo>
                    <a:pt x="33" y="40"/>
                  </a:lnTo>
                  <a:lnTo>
                    <a:pt x="31" y="40"/>
                  </a:lnTo>
                  <a:lnTo>
                    <a:pt x="31" y="37"/>
                  </a:lnTo>
                  <a:lnTo>
                    <a:pt x="28" y="35"/>
                  </a:lnTo>
                  <a:lnTo>
                    <a:pt x="23" y="3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4" name="Freeform 868">
              <a:extLst>
                <a:ext uri="{FF2B5EF4-FFF2-40B4-BE49-F238E27FC236}">
                  <a16:creationId xmlns:a16="http://schemas.microsoft.com/office/drawing/2014/main" id="{5D6891CC-6810-4E47-A0BC-51A827D9354D}"/>
                </a:ext>
              </a:extLst>
            </p:cNvPr>
            <p:cNvSpPr>
              <a:spLocks/>
            </p:cNvSpPr>
            <p:nvPr/>
          </p:nvSpPr>
          <p:spPr bwMode="auto">
            <a:xfrm>
              <a:off x="2478926" y="3278152"/>
              <a:ext cx="85725" cy="88900"/>
            </a:xfrm>
            <a:custGeom>
              <a:avLst/>
              <a:gdLst>
                <a:gd name="T0" fmla="*/ 23 w 54"/>
                <a:gd name="T1" fmla="*/ 37 h 56"/>
                <a:gd name="T2" fmla="*/ 21 w 54"/>
                <a:gd name="T3" fmla="*/ 33 h 56"/>
                <a:gd name="T4" fmla="*/ 19 w 54"/>
                <a:gd name="T5" fmla="*/ 33 h 56"/>
                <a:gd name="T6" fmla="*/ 19 w 54"/>
                <a:gd name="T7" fmla="*/ 30 h 56"/>
                <a:gd name="T8" fmla="*/ 14 w 54"/>
                <a:gd name="T9" fmla="*/ 28 h 56"/>
                <a:gd name="T10" fmla="*/ 12 w 54"/>
                <a:gd name="T11" fmla="*/ 26 h 56"/>
                <a:gd name="T12" fmla="*/ 9 w 54"/>
                <a:gd name="T13" fmla="*/ 26 h 56"/>
                <a:gd name="T14" fmla="*/ 5 w 54"/>
                <a:gd name="T15" fmla="*/ 21 h 56"/>
                <a:gd name="T16" fmla="*/ 5 w 54"/>
                <a:gd name="T17" fmla="*/ 16 h 56"/>
                <a:gd name="T18" fmla="*/ 5 w 54"/>
                <a:gd name="T19" fmla="*/ 11 h 56"/>
                <a:gd name="T20" fmla="*/ 2 w 54"/>
                <a:gd name="T21" fmla="*/ 7 h 56"/>
                <a:gd name="T22" fmla="*/ 0 w 54"/>
                <a:gd name="T23" fmla="*/ 4 h 56"/>
                <a:gd name="T24" fmla="*/ 7 w 54"/>
                <a:gd name="T25" fmla="*/ 4 h 56"/>
                <a:gd name="T26" fmla="*/ 9 w 54"/>
                <a:gd name="T27" fmla="*/ 2 h 56"/>
                <a:gd name="T28" fmla="*/ 14 w 54"/>
                <a:gd name="T29" fmla="*/ 2 h 56"/>
                <a:gd name="T30" fmla="*/ 16 w 54"/>
                <a:gd name="T31" fmla="*/ 0 h 56"/>
                <a:gd name="T32" fmla="*/ 21 w 54"/>
                <a:gd name="T33" fmla="*/ 2 h 56"/>
                <a:gd name="T34" fmla="*/ 23 w 54"/>
                <a:gd name="T35" fmla="*/ 2 h 56"/>
                <a:gd name="T36" fmla="*/ 28 w 54"/>
                <a:gd name="T37" fmla="*/ 0 h 56"/>
                <a:gd name="T38" fmla="*/ 28 w 54"/>
                <a:gd name="T39" fmla="*/ 0 h 56"/>
                <a:gd name="T40" fmla="*/ 28 w 54"/>
                <a:gd name="T41" fmla="*/ 2 h 56"/>
                <a:gd name="T42" fmla="*/ 31 w 54"/>
                <a:gd name="T43" fmla="*/ 7 h 56"/>
                <a:gd name="T44" fmla="*/ 33 w 54"/>
                <a:gd name="T45" fmla="*/ 7 h 56"/>
                <a:gd name="T46" fmla="*/ 35 w 54"/>
                <a:gd name="T47" fmla="*/ 7 h 56"/>
                <a:gd name="T48" fmla="*/ 35 w 54"/>
                <a:gd name="T49" fmla="*/ 9 h 56"/>
                <a:gd name="T50" fmla="*/ 35 w 54"/>
                <a:gd name="T51" fmla="*/ 11 h 56"/>
                <a:gd name="T52" fmla="*/ 35 w 54"/>
                <a:gd name="T53" fmla="*/ 14 h 56"/>
                <a:gd name="T54" fmla="*/ 35 w 54"/>
                <a:gd name="T55" fmla="*/ 16 h 56"/>
                <a:gd name="T56" fmla="*/ 38 w 54"/>
                <a:gd name="T57" fmla="*/ 19 h 56"/>
                <a:gd name="T58" fmla="*/ 38 w 54"/>
                <a:gd name="T59" fmla="*/ 21 h 56"/>
                <a:gd name="T60" fmla="*/ 42 w 54"/>
                <a:gd name="T61" fmla="*/ 23 h 56"/>
                <a:gd name="T62" fmla="*/ 45 w 54"/>
                <a:gd name="T63" fmla="*/ 26 h 56"/>
                <a:gd name="T64" fmla="*/ 42 w 54"/>
                <a:gd name="T65" fmla="*/ 28 h 56"/>
                <a:gd name="T66" fmla="*/ 40 w 54"/>
                <a:gd name="T67" fmla="*/ 28 h 56"/>
                <a:gd name="T68" fmla="*/ 40 w 54"/>
                <a:gd name="T69" fmla="*/ 33 h 56"/>
                <a:gd name="T70" fmla="*/ 45 w 54"/>
                <a:gd name="T71" fmla="*/ 35 h 56"/>
                <a:gd name="T72" fmla="*/ 47 w 54"/>
                <a:gd name="T73" fmla="*/ 37 h 56"/>
                <a:gd name="T74" fmla="*/ 52 w 54"/>
                <a:gd name="T75" fmla="*/ 37 h 56"/>
                <a:gd name="T76" fmla="*/ 54 w 54"/>
                <a:gd name="T77" fmla="*/ 40 h 56"/>
                <a:gd name="T78" fmla="*/ 52 w 54"/>
                <a:gd name="T79" fmla="*/ 42 h 56"/>
                <a:gd name="T80" fmla="*/ 52 w 54"/>
                <a:gd name="T81" fmla="*/ 45 h 56"/>
                <a:gd name="T82" fmla="*/ 54 w 54"/>
                <a:gd name="T83" fmla="*/ 45 h 56"/>
                <a:gd name="T84" fmla="*/ 54 w 54"/>
                <a:gd name="T85" fmla="*/ 47 h 56"/>
                <a:gd name="T86" fmla="*/ 52 w 54"/>
                <a:gd name="T87" fmla="*/ 49 h 56"/>
                <a:gd name="T88" fmla="*/ 52 w 54"/>
                <a:gd name="T89" fmla="*/ 52 h 56"/>
                <a:gd name="T90" fmla="*/ 54 w 54"/>
                <a:gd name="T91" fmla="*/ 54 h 56"/>
                <a:gd name="T92" fmla="*/ 54 w 54"/>
                <a:gd name="T93" fmla="*/ 54 h 56"/>
                <a:gd name="T94" fmla="*/ 52 w 54"/>
                <a:gd name="T95" fmla="*/ 56 h 56"/>
                <a:gd name="T96" fmla="*/ 47 w 54"/>
                <a:gd name="T97" fmla="*/ 54 h 56"/>
                <a:gd name="T98" fmla="*/ 45 w 54"/>
                <a:gd name="T99" fmla="*/ 54 h 56"/>
                <a:gd name="T100" fmla="*/ 45 w 54"/>
                <a:gd name="T101" fmla="*/ 47 h 56"/>
                <a:gd name="T102" fmla="*/ 42 w 54"/>
                <a:gd name="T103" fmla="*/ 45 h 56"/>
                <a:gd name="T104" fmla="*/ 42 w 54"/>
                <a:gd name="T105" fmla="*/ 42 h 56"/>
                <a:gd name="T106" fmla="*/ 40 w 54"/>
                <a:gd name="T107" fmla="*/ 40 h 56"/>
                <a:gd name="T108" fmla="*/ 38 w 54"/>
                <a:gd name="T109" fmla="*/ 40 h 56"/>
                <a:gd name="T110" fmla="*/ 35 w 54"/>
                <a:gd name="T111" fmla="*/ 40 h 56"/>
                <a:gd name="T112" fmla="*/ 33 w 54"/>
                <a:gd name="T113" fmla="*/ 40 h 56"/>
                <a:gd name="T114" fmla="*/ 31 w 54"/>
                <a:gd name="T115" fmla="*/ 40 h 56"/>
                <a:gd name="T116" fmla="*/ 31 w 54"/>
                <a:gd name="T117" fmla="*/ 37 h 56"/>
                <a:gd name="T118" fmla="*/ 28 w 54"/>
                <a:gd name="T119" fmla="*/ 35 h 56"/>
                <a:gd name="T120" fmla="*/ 23 w 54"/>
                <a:gd name="T121"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56">
                  <a:moveTo>
                    <a:pt x="23" y="37"/>
                  </a:moveTo>
                  <a:lnTo>
                    <a:pt x="21" y="33"/>
                  </a:lnTo>
                  <a:lnTo>
                    <a:pt x="19" y="33"/>
                  </a:lnTo>
                  <a:lnTo>
                    <a:pt x="19" y="30"/>
                  </a:lnTo>
                  <a:lnTo>
                    <a:pt x="14" y="28"/>
                  </a:lnTo>
                  <a:lnTo>
                    <a:pt x="12" y="26"/>
                  </a:lnTo>
                  <a:lnTo>
                    <a:pt x="9" y="26"/>
                  </a:lnTo>
                  <a:lnTo>
                    <a:pt x="5" y="21"/>
                  </a:lnTo>
                  <a:lnTo>
                    <a:pt x="5" y="16"/>
                  </a:lnTo>
                  <a:lnTo>
                    <a:pt x="5" y="11"/>
                  </a:lnTo>
                  <a:lnTo>
                    <a:pt x="2" y="7"/>
                  </a:lnTo>
                  <a:lnTo>
                    <a:pt x="0" y="4"/>
                  </a:lnTo>
                  <a:lnTo>
                    <a:pt x="7" y="4"/>
                  </a:lnTo>
                  <a:lnTo>
                    <a:pt x="9" y="2"/>
                  </a:lnTo>
                  <a:lnTo>
                    <a:pt x="14" y="2"/>
                  </a:lnTo>
                  <a:lnTo>
                    <a:pt x="16" y="0"/>
                  </a:lnTo>
                  <a:lnTo>
                    <a:pt x="21" y="2"/>
                  </a:lnTo>
                  <a:lnTo>
                    <a:pt x="23" y="2"/>
                  </a:lnTo>
                  <a:lnTo>
                    <a:pt x="28" y="0"/>
                  </a:lnTo>
                  <a:lnTo>
                    <a:pt x="28" y="0"/>
                  </a:lnTo>
                  <a:lnTo>
                    <a:pt x="28" y="2"/>
                  </a:lnTo>
                  <a:lnTo>
                    <a:pt x="31" y="7"/>
                  </a:lnTo>
                  <a:lnTo>
                    <a:pt x="33" y="7"/>
                  </a:lnTo>
                  <a:lnTo>
                    <a:pt x="35" y="7"/>
                  </a:lnTo>
                  <a:lnTo>
                    <a:pt x="35" y="9"/>
                  </a:lnTo>
                  <a:lnTo>
                    <a:pt x="35" y="11"/>
                  </a:lnTo>
                  <a:lnTo>
                    <a:pt x="35" y="14"/>
                  </a:lnTo>
                  <a:lnTo>
                    <a:pt x="35" y="16"/>
                  </a:lnTo>
                  <a:lnTo>
                    <a:pt x="38" y="19"/>
                  </a:lnTo>
                  <a:lnTo>
                    <a:pt x="38" y="21"/>
                  </a:lnTo>
                  <a:lnTo>
                    <a:pt x="42" y="23"/>
                  </a:lnTo>
                  <a:lnTo>
                    <a:pt x="45" y="26"/>
                  </a:lnTo>
                  <a:lnTo>
                    <a:pt x="42" y="28"/>
                  </a:lnTo>
                  <a:lnTo>
                    <a:pt x="40" y="28"/>
                  </a:lnTo>
                  <a:lnTo>
                    <a:pt x="40" y="33"/>
                  </a:lnTo>
                  <a:lnTo>
                    <a:pt x="45" y="35"/>
                  </a:lnTo>
                  <a:lnTo>
                    <a:pt x="47" y="37"/>
                  </a:lnTo>
                  <a:lnTo>
                    <a:pt x="52" y="37"/>
                  </a:lnTo>
                  <a:lnTo>
                    <a:pt x="54" y="40"/>
                  </a:lnTo>
                  <a:lnTo>
                    <a:pt x="52" y="42"/>
                  </a:lnTo>
                  <a:lnTo>
                    <a:pt x="52" y="45"/>
                  </a:lnTo>
                  <a:lnTo>
                    <a:pt x="54" y="45"/>
                  </a:lnTo>
                  <a:lnTo>
                    <a:pt x="54" y="47"/>
                  </a:lnTo>
                  <a:lnTo>
                    <a:pt x="52" y="49"/>
                  </a:lnTo>
                  <a:lnTo>
                    <a:pt x="52" y="52"/>
                  </a:lnTo>
                  <a:lnTo>
                    <a:pt x="54" y="54"/>
                  </a:lnTo>
                  <a:lnTo>
                    <a:pt x="54" y="54"/>
                  </a:lnTo>
                  <a:lnTo>
                    <a:pt x="52" y="56"/>
                  </a:lnTo>
                  <a:lnTo>
                    <a:pt x="47" y="54"/>
                  </a:lnTo>
                  <a:lnTo>
                    <a:pt x="45" y="54"/>
                  </a:lnTo>
                  <a:lnTo>
                    <a:pt x="45" y="47"/>
                  </a:lnTo>
                  <a:lnTo>
                    <a:pt x="42" y="45"/>
                  </a:lnTo>
                  <a:lnTo>
                    <a:pt x="42" y="42"/>
                  </a:lnTo>
                  <a:lnTo>
                    <a:pt x="40" y="40"/>
                  </a:lnTo>
                  <a:lnTo>
                    <a:pt x="38" y="40"/>
                  </a:lnTo>
                  <a:lnTo>
                    <a:pt x="35" y="40"/>
                  </a:lnTo>
                  <a:lnTo>
                    <a:pt x="33" y="40"/>
                  </a:lnTo>
                  <a:lnTo>
                    <a:pt x="31" y="40"/>
                  </a:lnTo>
                  <a:lnTo>
                    <a:pt x="31" y="37"/>
                  </a:lnTo>
                  <a:lnTo>
                    <a:pt x="28" y="35"/>
                  </a:lnTo>
                  <a:lnTo>
                    <a:pt x="23" y="3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5" name="Freeform 869">
              <a:extLst>
                <a:ext uri="{FF2B5EF4-FFF2-40B4-BE49-F238E27FC236}">
                  <a16:creationId xmlns:a16="http://schemas.microsoft.com/office/drawing/2014/main" id="{E554973F-BB38-46E4-95E3-4BBFB694F00E}"/>
                </a:ext>
              </a:extLst>
            </p:cNvPr>
            <p:cNvSpPr>
              <a:spLocks/>
            </p:cNvSpPr>
            <p:nvPr/>
          </p:nvSpPr>
          <p:spPr bwMode="auto">
            <a:xfrm>
              <a:off x="3228225" y="3330540"/>
              <a:ext cx="4763" cy="3175"/>
            </a:xfrm>
            <a:custGeom>
              <a:avLst/>
              <a:gdLst>
                <a:gd name="T0" fmla="*/ 3 w 3"/>
                <a:gd name="T1" fmla="*/ 2 h 2"/>
                <a:gd name="T2" fmla="*/ 3 w 3"/>
                <a:gd name="T3" fmla="*/ 0 h 2"/>
                <a:gd name="T4" fmla="*/ 0 w 3"/>
                <a:gd name="T5" fmla="*/ 0 h 2"/>
                <a:gd name="T6" fmla="*/ 0 w 3"/>
                <a:gd name="T7" fmla="*/ 2 h 2"/>
                <a:gd name="T8" fmla="*/ 3 w 3"/>
                <a:gd name="T9" fmla="*/ 2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lnTo>
                    <a:pt x="3" y="0"/>
                  </a:lnTo>
                  <a:lnTo>
                    <a:pt x="0" y="0"/>
                  </a:lnTo>
                  <a:lnTo>
                    <a:pt x="0" y="2"/>
                  </a:lnTo>
                  <a:lnTo>
                    <a:pt x="3" y="2"/>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6" name="Freeform 870">
              <a:extLst>
                <a:ext uri="{FF2B5EF4-FFF2-40B4-BE49-F238E27FC236}">
                  <a16:creationId xmlns:a16="http://schemas.microsoft.com/office/drawing/2014/main" id="{05437E8D-0562-487B-A441-D1AF565F69A5}"/>
                </a:ext>
              </a:extLst>
            </p:cNvPr>
            <p:cNvSpPr>
              <a:spLocks/>
            </p:cNvSpPr>
            <p:nvPr/>
          </p:nvSpPr>
          <p:spPr bwMode="auto">
            <a:xfrm>
              <a:off x="3228225" y="3330540"/>
              <a:ext cx="4763" cy="3175"/>
            </a:xfrm>
            <a:custGeom>
              <a:avLst/>
              <a:gdLst>
                <a:gd name="T0" fmla="*/ 3 w 3"/>
                <a:gd name="T1" fmla="*/ 2 h 2"/>
                <a:gd name="T2" fmla="*/ 3 w 3"/>
                <a:gd name="T3" fmla="*/ 0 h 2"/>
                <a:gd name="T4" fmla="*/ 0 w 3"/>
                <a:gd name="T5" fmla="*/ 0 h 2"/>
                <a:gd name="T6" fmla="*/ 0 w 3"/>
                <a:gd name="T7" fmla="*/ 2 h 2"/>
                <a:gd name="T8" fmla="*/ 3 w 3"/>
                <a:gd name="T9" fmla="*/ 2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lnTo>
                    <a:pt x="3" y="0"/>
                  </a:lnTo>
                  <a:lnTo>
                    <a:pt x="0" y="0"/>
                  </a:lnTo>
                  <a:lnTo>
                    <a:pt x="0" y="2"/>
                  </a:lnTo>
                  <a:lnTo>
                    <a:pt x="3" y="2"/>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7" name="Freeform 871">
              <a:extLst>
                <a:ext uri="{FF2B5EF4-FFF2-40B4-BE49-F238E27FC236}">
                  <a16:creationId xmlns:a16="http://schemas.microsoft.com/office/drawing/2014/main" id="{A59190E2-26C9-4DA2-BBEC-B561D5336563}"/>
                </a:ext>
              </a:extLst>
            </p:cNvPr>
            <p:cNvSpPr>
              <a:spLocks/>
            </p:cNvSpPr>
            <p:nvPr/>
          </p:nvSpPr>
          <p:spPr bwMode="auto">
            <a:xfrm>
              <a:off x="810468" y="3754403"/>
              <a:ext cx="333375" cy="363537"/>
            </a:xfrm>
            <a:custGeom>
              <a:avLst/>
              <a:gdLst>
                <a:gd name="T0" fmla="*/ 30 w 210"/>
                <a:gd name="T1" fmla="*/ 108 h 229"/>
                <a:gd name="T2" fmla="*/ 4 w 210"/>
                <a:gd name="T3" fmla="*/ 111 h 229"/>
                <a:gd name="T4" fmla="*/ 0 w 210"/>
                <a:gd name="T5" fmla="*/ 115 h 229"/>
                <a:gd name="T6" fmla="*/ 0 w 210"/>
                <a:gd name="T7" fmla="*/ 115 h 229"/>
                <a:gd name="T8" fmla="*/ 7 w 210"/>
                <a:gd name="T9" fmla="*/ 122 h 229"/>
                <a:gd name="T10" fmla="*/ 11 w 210"/>
                <a:gd name="T11" fmla="*/ 130 h 229"/>
                <a:gd name="T12" fmla="*/ 11 w 210"/>
                <a:gd name="T13" fmla="*/ 137 h 229"/>
                <a:gd name="T14" fmla="*/ 9 w 210"/>
                <a:gd name="T15" fmla="*/ 144 h 229"/>
                <a:gd name="T16" fmla="*/ 14 w 210"/>
                <a:gd name="T17" fmla="*/ 158 h 229"/>
                <a:gd name="T18" fmla="*/ 16 w 210"/>
                <a:gd name="T19" fmla="*/ 177 h 229"/>
                <a:gd name="T20" fmla="*/ 9 w 210"/>
                <a:gd name="T21" fmla="*/ 196 h 229"/>
                <a:gd name="T22" fmla="*/ 7 w 210"/>
                <a:gd name="T23" fmla="*/ 205 h 229"/>
                <a:gd name="T24" fmla="*/ 11 w 210"/>
                <a:gd name="T25" fmla="*/ 198 h 229"/>
                <a:gd name="T26" fmla="*/ 16 w 210"/>
                <a:gd name="T27" fmla="*/ 198 h 229"/>
                <a:gd name="T28" fmla="*/ 23 w 210"/>
                <a:gd name="T29" fmla="*/ 198 h 229"/>
                <a:gd name="T30" fmla="*/ 30 w 210"/>
                <a:gd name="T31" fmla="*/ 196 h 229"/>
                <a:gd name="T32" fmla="*/ 30 w 210"/>
                <a:gd name="T33" fmla="*/ 196 h 229"/>
                <a:gd name="T34" fmla="*/ 37 w 210"/>
                <a:gd name="T35" fmla="*/ 196 h 229"/>
                <a:gd name="T36" fmla="*/ 45 w 210"/>
                <a:gd name="T37" fmla="*/ 196 h 229"/>
                <a:gd name="T38" fmla="*/ 49 w 210"/>
                <a:gd name="T39" fmla="*/ 200 h 229"/>
                <a:gd name="T40" fmla="*/ 54 w 210"/>
                <a:gd name="T41" fmla="*/ 205 h 229"/>
                <a:gd name="T42" fmla="*/ 56 w 210"/>
                <a:gd name="T43" fmla="*/ 205 h 229"/>
                <a:gd name="T44" fmla="*/ 63 w 210"/>
                <a:gd name="T45" fmla="*/ 210 h 229"/>
                <a:gd name="T46" fmla="*/ 66 w 210"/>
                <a:gd name="T47" fmla="*/ 215 h 229"/>
                <a:gd name="T48" fmla="*/ 68 w 210"/>
                <a:gd name="T49" fmla="*/ 217 h 229"/>
                <a:gd name="T50" fmla="*/ 70 w 210"/>
                <a:gd name="T51" fmla="*/ 219 h 229"/>
                <a:gd name="T52" fmla="*/ 70 w 210"/>
                <a:gd name="T53" fmla="*/ 219 h 229"/>
                <a:gd name="T54" fmla="*/ 73 w 210"/>
                <a:gd name="T55" fmla="*/ 222 h 229"/>
                <a:gd name="T56" fmla="*/ 78 w 210"/>
                <a:gd name="T57" fmla="*/ 224 h 229"/>
                <a:gd name="T58" fmla="*/ 78 w 210"/>
                <a:gd name="T59" fmla="*/ 226 h 229"/>
                <a:gd name="T60" fmla="*/ 89 w 210"/>
                <a:gd name="T61" fmla="*/ 222 h 229"/>
                <a:gd name="T62" fmla="*/ 94 w 210"/>
                <a:gd name="T63" fmla="*/ 210 h 229"/>
                <a:gd name="T64" fmla="*/ 96 w 210"/>
                <a:gd name="T65" fmla="*/ 210 h 229"/>
                <a:gd name="T66" fmla="*/ 101 w 210"/>
                <a:gd name="T67" fmla="*/ 215 h 229"/>
                <a:gd name="T68" fmla="*/ 111 w 210"/>
                <a:gd name="T69" fmla="*/ 222 h 229"/>
                <a:gd name="T70" fmla="*/ 170 w 210"/>
                <a:gd name="T71" fmla="*/ 217 h 229"/>
                <a:gd name="T72" fmla="*/ 203 w 210"/>
                <a:gd name="T73" fmla="*/ 203 h 229"/>
                <a:gd name="T74" fmla="*/ 191 w 210"/>
                <a:gd name="T75" fmla="*/ 165 h 229"/>
                <a:gd name="T76" fmla="*/ 186 w 210"/>
                <a:gd name="T77" fmla="*/ 113 h 229"/>
                <a:gd name="T78" fmla="*/ 179 w 210"/>
                <a:gd name="T79" fmla="*/ 59 h 229"/>
                <a:gd name="T80" fmla="*/ 210 w 210"/>
                <a:gd name="T81" fmla="*/ 40 h 229"/>
                <a:gd name="T82" fmla="*/ 144 w 210"/>
                <a:gd name="T83" fmla="*/ 0 h 229"/>
                <a:gd name="T84" fmla="*/ 111 w 210"/>
                <a:gd name="T85" fmla="*/ 21 h 229"/>
                <a:gd name="T86" fmla="*/ 89 w 210"/>
                <a:gd name="T87" fmla="*/ 40 h 229"/>
                <a:gd name="T88" fmla="*/ 82 w 210"/>
                <a:gd name="T89" fmla="*/ 70 h 229"/>
                <a:gd name="T90" fmla="*/ 70 w 210"/>
                <a:gd name="T91" fmla="*/ 75 h 229"/>
                <a:gd name="T92" fmla="*/ 66 w 210"/>
                <a:gd name="T93" fmla="*/ 82 h 229"/>
                <a:gd name="T94" fmla="*/ 68 w 210"/>
                <a:gd name="T95" fmla="*/ 10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0" h="229">
                  <a:moveTo>
                    <a:pt x="61" y="108"/>
                  </a:moveTo>
                  <a:lnTo>
                    <a:pt x="47" y="108"/>
                  </a:lnTo>
                  <a:lnTo>
                    <a:pt x="30" y="108"/>
                  </a:lnTo>
                  <a:lnTo>
                    <a:pt x="14" y="108"/>
                  </a:lnTo>
                  <a:lnTo>
                    <a:pt x="4" y="108"/>
                  </a:lnTo>
                  <a:lnTo>
                    <a:pt x="4" y="111"/>
                  </a:lnTo>
                  <a:lnTo>
                    <a:pt x="2" y="113"/>
                  </a:lnTo>
                  <a:lnTo>
                    <a:pt x="0" y="115"/>
                  </a:lnTo>
                  <a:lnTo>
                    <a:pt x="0" y="115"/>
                  </a:lnTo>
                  <a:lnTo>
                    <a:pt x="0" y="115"/>
                  </a:lnTo>
                  <a:lnTo>
                    <a:pt x="0" y="115"/>
                  </a:lnTo>
                  <a:lnTo>
                    <a:pt x="0" y="115"/>
                  </a:lnTo>
                  <a:lnTo>
                    <a:pt x="2" y="115"/>
                  </a:lnTo>
                  <a:lnTo>
                    <a:pt x="2" y="115"/>
                  </a:lnTo>
                  <a:lnTo>
                    <a:pt x="7" y="122"/>
                  </a:lnTo>
                  <a:lnTo>
                    <a:pt x="7" y="122"/>
                  </a:lnTo>
                  <a:lnTo>
                    <a:pt x="9" y="122"/>
                  </a:lnTo>
                  <a:lnTo>
                    <a:pt x="11" y="130"/>
                  </a:lnTo>
                  <a:lnTo>
                    <a:pt x="11" y="130"/>
                  </a:lnTo>
                  <a:lnTo>
                    <a:pt x="11" y="134"/>
                  </a:lnTo>
                  <a:lnTo>
                    <a:pt x="11" y="137"/>
                  </a:lnTo>
                  <a:lnTo>
                    <a:pt x="9" y="144"/>
                  </a:lnTo>
                  <a:lnTo>
                    <a:pt x="9" y="144"/>
                  </a:lnTo>
                  <a:lnTo>
                    <a:pt x="9" y="144"/>
                  </a:lnTo>
                  <a:lnTo>
                    <a:pt x="7" y="146"/>
                  </a:lnTo>
                  <a:lnTo>
                    <a:pt x="14" y="153"/>
                  </a:lnTo>
                  <a:lnTo>
                    <a:pt x="14" y="158"/>
                  </a:lnTo>
                  <a:lnTo>
                    <a:pt x="16" y="163"/>
                  </a:lnTo>
                  <a:lnTo>
                    <a:pt x="16" y="165"/>
                  </a:lnTo>
                  <a:lnTo>
                    <a:pt x="16" y="177"/>
                  </a:lnTo>
                  <a:lnTo>
                    <a:pt x="14" y="181"/>
                  </a:lnTo>
                  <a:lnTo>
                    <a:pt x="9" y="193"/>
                  </a:lnTo>
                  <a:lnTo>
                    <a:pt x="9" y="196"/>
                  </a:lnTo>
                  <a:lnTo>
                    <a:pt x="7" y="203"/>
                  </a:lnTo>
                  <a:lnTo>
                    <a:pt x="7" y="205"/>
                  </a:lnTo>
                  <a:lnTo>
                    <a:pt x="7" y="205"/>
                  </a:lnTo>
                  <a:lnTo>
                    <a:pt x="7" y="205"/>
                  </a:lnTo>
                  <a:lnTo>
                    <a:pt x="9" y="203"/>
                  </a:lnTo>
                  <a:lnTo>
                    <a:pt x="11" y="198"/>
                  </a:lnTo>
                  <a:lnTo>
                    <a:pt x="11" y="198"/>
                  </a:lnTo>
                  <a:lnTo>
                    <a:pt x="11" y="198"/>
                  </a:lnTo>
                  <a:lnTo>
                    <a:pt x="16" y="198"/>
                  </a:lnTo>
                  <a:lnTo>
                    <a:pt x="19" y="198"/>
                  </a:lnTo>
                  <a:lnTo>
                    <a:pt x="21" y="198"/>
                  </a:lnTo>
                  <a:lnTo>
                    <a:pt x="23" y="198"/>
                  </a:lnTo>
                  <a:lnTo>
                    <a:pt x="23" y="198"/>
                  </a:lnTo>
                  <a:lnTo>
                    <a:pt x="28" y="196"/>
                  </a:lnTo>
                  <a:lnTo>
                    <a:pt x="30" y="196"/>
                  </a:lnTo>
                  <a:lnTo>
                    <a:pt x="30" y="196"/>
                  </a:lnTo>
                  <a:lnTo>
                    <a:pt x="30" y="196"/>
                  </a:lnTo>
                  <a:lnTo>
                    <a:pt x="30" y="196"/>
                  </a:lnTo>
                  <a:lnTo>
                    <a:pt x="33" y="196"/>
                  </a:lnTo>
                  <a:lnTo>
                    <a:pt x="35" y="196"/>
                  </a:lnTo>
                  <a:lnTo>
                    <a:pt x="37" y="196"/>
                  </a:lnTo>
                  <a:lnTo>
                    <a:pt x="42" y="196"/>
                  </a:lnTo>
                  <a:lnTo>
                    <a:pt x="42" y="196"/>
                  </a:lnTo>
                  <a:lnTo>
                    <a:pt x="45" y="196"/>
                  </a:lnTo>
                  <a:lnTo>
                    <a:pt x="45" y="198"/>
                  </a:lnTo>
                  <a:lnTo>
                    <a:pt x="47" y="198"/>
                  </a:lnTo>
                  <a:lnTo>
                    <a:pt x="49" y="200"/>
                  </a:lnTo>
                  <a:lnTo>
                    <a:pt x="52" y="203"/>
                  </a:lnTo>
                  <a:lnTo>
                    <a:pt x="54" y="205"/>
                  </a:lnTo>
                  <a:lnTo>
                    <a:pt x="54" y="205"/>
                  </a:lnTo>
                  <a:lnTo>
                    <a:pt x="56" y="203"/>
                  </a:lnTo>
                  <a:lnTo>
                    <a:pt x="56" y="205"/>
                  </a:lnTo>
                  <a:lnTo>
                    <a:pt x="56" y="205"/>
                  </a:lnTo>
                  <a:lnTo>
                    <a:pt x="59" y="205"/>
                  </a:lnTo>
                  <a:lnTo>
                    <a:pt x="59" y="205"/>
                  </a:lnTo>
                  <a:lnTo>
                    <a:pt x="63" y="210"/>
                  </a:lnTo>
                  <a:lnTo>
                    <a:pt x="63" y="212"/>
                  </a:lnTo>
                  <a:lnTo>
                    <a:pt x="63" y="212"/>
                  </a:lnTo>
                  <a:lnTo>
                    <a:pt x="66" y="215"/>
                  </a:lnTo>
                  <a:lnTo>
                    <a:pt x="66" y="215"/>
                  </a:lnTo>
                  <a:lnTo>
                    <a:pt x="66" y="217"/>
                  </a:lnTo>
                  <a:lnTo>
                    <a:pt x="68" y="217"/>
                  </a:lnTo>
                  <a:lnTo>
                    <a:pt x="68" y="217"/>
                  </a:lnTo>
                  <a:lnTo>
                    <a:pt x="68" y="217"/>
                  </a:lnTo>
                  <a:lnTo>
                    <a:pt x="70" y="219"/>
                  </a:lnTo>
                  <a:lnTo>
                    <a:pt x="70" y="219"/>
                  </a:lnTo>
                  <a:lnTo>
                    <a:pt x="70" y="219"/>
                  </a:lnTo>
                  <a:lnTo>
                    <a:pt x="70" y="219"/>
                  </a:lnTo>
                  <a:lnTo>
                    <a:pt x="70" y="222"/>
                  </a:lnTo>
                  <a:lnTo>
                    <a:pt x="73" y="222"/>
                  </a:lnTo>
                  <a:lnTo>
                    <a:pt x="73" y="222"/>
                  </a:lnTo>
                  <a:lnTo>
                    <a:pt x="73" y="224"/>
                  </a:lnTo>
                  <a:lnTo>
                    <a:pt x="75" y="224"/>
                  </a:lnTo>
                  <a:lnTo>
                    <a:pt x="78" y="224"/>
                  </a:lnTo>
                  <a:lnTo>
                    <a:pt x="78" y="224"/>
                  </a:lnTo>
                  <a:lnTo>
                    <a:pt x="78" y="226"/>
                  </a:lnTo>
                  <a:lnTo>
                    <a:pt x="78" y="226"/>
                  </a:lnTo>
                  <a:lnTo>
                    <a:pt x="80" y="229"/>
                  </a:lnTo>
                  <a:lnTo>
                    <a:pt x="82" y="229"/>
                  </a:lnTo>
                  <a:lnTo>
                    <a:pt x="89" y="222"/>
                  </a:lnTo>
                  <a:lnTo>
                    <a:pt x="92" y="217"/>
                  </a:lnTo>
                  <a:lnTo>
                    <a:pt x="94" y="212"/>
                  </a:lnTo>
                  <a:lnTo>
                    <a:pt x="94" y="210"/>
                  </a:lnTo>
                  <a:lnTo>
                    <a:pt x="96" y="210"/>
                  </a:lnTo>
                  <a:lnTo>
                    <a:pt x="96" y="210"/>
                  </a:lnTo>
                  <a:lnTo>
                    <a:pt x="96" y="210"/>
                  </a:lnTo>
                  <a:lnTo>
                    <a:pt x="99" y="210"/>
                  </a:lnTo>
                  <a:lnTo>
                    <a:pt x="101" y="212"/>
                  </a:lnTo>
                  <a:lnTo>
                    <a:pt x="101" y="215"/>
                  </a:lnTo>
                  <a:lnTo>
                    <a:pt x="104" y="222"/>
                  </a:lnTo>
                  <a:lnTo>
                    <a:pt x="111" y="222"/>
                  </a:lnTo>
                  <a:lnTo>
                    <a:pt x="111" y="222"/>
                  </a:lnTo>
                  <a:lnTo>
                    <a:pt x="118" y="215"/>
                  </a:lnTo>
                  <a:lnTo>
                    <a:pt x="146" y="217"/>
                  </a:lnTo>
                  <a:lnTo>
                    <a:pt x="170" y="217"/>
                  </a:lnTo>
                  <a:lnTo>
                    <a:pt x="191" y="217"/>
                  </a:lnTo>
                  <a:lnTo>
                    <a:pt x="198" y="217"/>
                  </a:lnTo>
                  <a:lnTo>
                    <a:pt x="203" y="203"/>
                  </a:lnTo>
                  <a:lnTo>
                    <a:pt x="196" y="200"/>
                  </a:lnTo>
                  <a:lnTo>
                    <a:pt x="193" y="181"/>
                  </a:lnTo>
                  <a:lnTo>
                    <a:pt x="191" y="165"/>
                  </a:lnTo>
                  <a:lnTo>
                    <a:pt x="189" y="148"/>
                  </a:lnTo>
                  <a:lnTo>
                    <a:pt x="186" y="130"/>
                  </a:lnTo>
                  <a:lnTo>
                    <a:pt x="186" y="113"/>
                  </a:lnTo>
                  <a:lnTo>
                    <a:pt x="184" y="94"/>
                  </a:lnTo>
                  <a:lnTo>
                    <a:pt x="182" y="78"/>
                  </a:lnTo>
                  <a:lnTo>
                    <a:pt x="179" y="59"/>
                  </a:lnTo>
                  <a:lnTo>
                    <a:pt x="179" y="40"/>
                  </a:lnTo>
                  <a:lnTo>
                    <a:pt x="210" y="40"/>
                  </a:lnTo>
                  <a:lnTo>
                    <a:pt x="210" y="40"/>
                  </a:lnTo>
                  <a:lnTo>
                    <a:pt x="184" y="26"/>
                  </a:lnTo>
                  <a:lnTo>
                    <a:pt x="165" y="11"/>
                  </a:lnTo>
                  <a:lnTo>
                    <a:pt x="144" y="0"/>
                  </a:lnTo>
                  <a:lnTo>
                    <a:pt x="144" y="21"/>
                  </a:lnTo>
                  <a:lnTo>
                    <a:pt x="127" y="21"/>
                  </a:lnTo>
                  <a:lnTo>
                    <a:pt x="111" y="21"/>
                  </a:lnTo>
                  <a:lnTo>
                    <a:pt x="94" y="21"/>
                  </a:lnTo>
                  <a:lnTo>
                    <a:pt x="89" y="21"/>
                  </a:lnTo>
                  <a:lnTo>
                    <a:pt x="89" y="40"/>
                  </a:lnTo>
                  <a:lnTo>
                    <a:pt x="89" y="59"/>
                  </a:lnTo>
                  <a:lnTo>
                    <a:pt x="89" y="68"/>
                  </a:lnTo>
                  <a:lnTo>
                    <a:pt x="82" y="70"/>
                  </a:lnTo>
                  <a:lnTo>
                    <a:pt x="78" y="73"/>
                  </a:lnTo>
                  <a:lnTo>
                    <a:pt x="73" y="73"/>
                  </a:lnTo>
                  <a:lnTo>
                    <a:pt x="70" y="75"/>
                  </a:lnTo>
                  <a:lnTo>
                    <a:pt x="68" y="75"/>
                  </a:lnTo>
                  <a:lnTo>
                    <a:pt x="68" y="80"/>
                  </a:lnTo>
                  <a:lnTo>
                    <a:pt x="66" y="82"/>
                  </a:lnTo>
                  <a:lnTo>
                    <a:pt x="68" y="92"/>
                  </a:lnTo>
                  <a:lnTo>
                    <a:pt x="68" y="96"/>
                  </a:lnTo>
                  <a:lnTo>
                    <a:pt x="68" y="104"/>
                  </a:lnTo>
                  <a:lnTo>
                    <a:pt x="70" y="108"/>
                  </a:lnTo>
                  <a:lnTo>
                    <a:pt x="61" y="10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8" name="Freeform 872">
              <a:extLst>
                <a:ext uri="{FF2B5EF4-FFF2-40B4-BE49-F238E27FC236}">
                  <a16:creationId xmlns:a16="http://schemas.microsoft.com/office/drawing/2014/main" id="{F6E2F083-1612-4488-9EF8-6B57CEE2615F}"/>
                </a:ext>
              </a:extLst>
            </p:cNvPr>
            <p:cNvSpPr>
              <a:spLocks/>
            </p:cNvSpPr>
            <p:nvPr/>
          </p:nvSpPr>
          <p:spPr bwMode="auto">
            <a:xfrm>
              <a:off x="810468" y="3754403"/>
              <a:ext cx="333375" cy="363537"/>
            </a:xfrm>
            <a:custGeom>
              <a:avLst/>
              <a:gdLst>
                <a:gd name="T0" fmla="*/ 30 w 210"/>
                <a:gd name="T1" fmla="*/ 108 h 229"/>
                <a:gd name="T2" fmla="*/ 4 w 210"/>
                <a:gd name="T3" fmla="*/ 111 h 229"/>
                <a:gd name="T4" fmla="*/ 0 w 210"/>
                <a:gd name="T5" fmla="*/ 115 h 229"/>
                <a:gd name="T6" fmla="*/ 0 w 210"/>
                <a:gd name="T7" fmla="*/ 115 h 229"/>
                <a:gd name="T8" fmla="*/ 7 w 210"/>
                <a:gd name="T9" fmla="*/ 122 h 229"/>
                <a:gd name="T10" fmla="*/ 11 w 210"/>
                <a:gd name="T11" fmla="*/ 130 h 229"/>
                <a:gd name="T12" fmla="*/ 11 w 210"/>
                <a:gd name="T13" fmla="*/ 137 h 229"/>
                <a:gd name="T14" fmla="*/ 9 w 210"/>
                <a:gd name="T15" fmla="*/ 144 h 229"/>
                <a:gd name="T16" fmla="*/ 14 w 210"/>
                <a:gd name="T17" fmla="*/ 158 h 229"/>
                <a:gd name="T18" fmla="*/ 16 w 210"/>
                <a:gd name="T19" fmla="*/ 177 h 229"/>
                <a:gd name="T20" fmla="*/ 9 w 210"/>
                <a:gd name="T21" fmla="*/ 196 h 229"/>
                <a:gd name="T22" fmla="*/ 7 w 210"/>
                <a:gd name="T23" fmla="*/ 205 h 229"/>
                <a:gd name="T24" fmla="*/ 11 w 210"/>
                <a:gd name="T25" fmla="*/ 198 h 229"/>
                <a:gd name="T26" fmla="*/ 16 w 210"/>
                <a:gd name="T27" fmla="*/ 198 h 229"/>
                <a:gd name="T28" fmla="*/ 23 w 210"/>
                <a:gd name="T29" fmla="*/ 198 h 229"/>
                <a:gd name="T30" fmla="*/ 30 w 210"/>
                <a:gd name="T31" fmla="*/ 196 h 229"/>
                <a:gd name="T32" fmla="*/ 30 w 210"/>
                <a:gd name="T33" fmla="*/ 196 h 229"/>
                <a:gd name="T34" fmla="*/ 37 w 210"/>
                <a:gd name="T35" fmla="*/ 196 h 229"/>
                <a:gd name="T36" fmla="*/ 45 w 210"/>
                <a:gd name="T37" fmla="*/ 196 h 229"/>
                <a:gd name="T38" fmla="*/ 49 w 210"/>
                <a:gd name="T39" fmla="*/ 200 h 229"/>
                <a:gd name="T40" fmla="*/ 54 w 210"/>
                <a:gd name="T41" fmla="*/ 205 h 229"/>
                <a:gd name="T42" fmla="*/ 56 w 210"/>
                <a:gd name="T43" fmla="*/ 205 h 229"/>
                <a:gd name="T44" fmla="*/ 63 w 210"/>
                <a:gd name="T45" fmla="*/ 210 h 229"/>
                <a:gd name="T46" fmla="*/ 66 w 210"/>
                <a:gd name="T47" fmla="*/ 215 h 229"/>
                <a:gd name="T48" fmla="*/ 68 w 210"/>
                <a:gd name="T49" fmla="*/ 217 h 229"/>
                <a:gd name="T50" fmla="*/ 70 w 210"/>
                <a:gd name="T51" fmla="*/ 219 h 229"/>
                <a:gd name="T52" fmla="*/ 70 w 210"/>
                <a:gd name="T53" fmla="*/ 219 h 229"/>
                <a:gd name="T54" fmla="*/ 73 w 210"/>
                <a:gd name="T55" fmla="*/ 222 h 229"/>
                <a:gd name="T56" fmla="*/ 78 w 210"/>
                <a:gd name="T57" fmla="*/ 224 h 229"/>
                <a:gd name="T58" fmla="*/ 78 w 210"/>
                <a:gd name="T59" fmla="*/ 226 h 229"/>
                <a:gd name="T60" fmla="*/ 89 w 210"/>
                <a:gd name="T61" fmla="*/ 222 h 229"/>
                <a:gd name="T62" fmla="*/ 94 w 210"/>
                <a:gd name="T63" fmla="*/ 210 h 229"/>
                <a:gd name="T64" fmla="*/ 96 w 210"/>
                <a:gd name="T65" fmla="*/ 210 h 229"/>
                <a:gd name="T66" fmla="*/ 101 w 210"/>
                <a:gd name="T67" fmla="*/ 215 h 229"/>
                <a:gd name="T68" fmla="*/ 111 w 210"/>
                <a:gd name="T69" fmla="*/ 222 h 229"/>
                <a:gd name="T70" fmla="*/ 170 w 210"/>
                <a:gd name="T71" fmla="*/ 217 h 229"/>
                <a:gd name="T72" fmla="*/ 203 w 210"/>
                <a:gd name="T73" fmla="*/ 203 h 229"/>
                <a:gd name="T74" fmla="*/ 191 w 210"/>
                <a:gd name="T75" fmla="*/ 165 h 229"/>
                <a:gd name="T76" fmla="*/ 186 w 210"/>
                <a:gd name="T77" fmla="*/ 113 h 229"/>
                <a:gd name="T78" fmla="*/ 179 w 210"/>
                <a:gd name="T79" fmla="*/ 59 h 229"/>
                <a:gd name="T80" fmla="*/ 210 w 210"/>
                <a:gd name="T81" fmla="*/ 40 h 229"/>
                <a:gd name="T82" fmla="*/ 144 w 210"/>
                <a:gd name="T83" fmla="*/ 0 h 229"/>
                <a:gd name="T84" fmla="*/ 111 w 210"/>
                <a:gd name="T85" fmla="*/ 21 h 229"/>
                <a:gd name="T86" fmla="*/ 89 w 210"/>
                <a:gd name="T87" fmla="*/ 40 h 229"/>
                <a:gd name="T88" fmla="*/ 82 w 210"/>
                <a:gd name="T89" fmla="*/ 70 h 229"/>
                <a:gd name="T90" fmla="*/ 70 w 210"/>
                <a:gd name="T91" fmla="*/ 75 h 229"/>
                <a:gd name="T92" fmla="*/ 66 w 210"/>
                <a:gd name="T93" fmla="*/ 82 h 229"/>
                <a:gd name="T94" fmla="*/ 68 w 210"/>
                <a:gd name="T95" fmla="*/ 10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0" h="229">
                  <a:moveTo>
                    <a:pt x="61" y="108"/>
                  </a:moveTo>
                  <a:lnTo>
                    <a:pt x="47" y="108"/>
                  </a:lnTo>
                  <a:lnTo>
                    <a:pt x="30" y="108"/>
                  </a:lnTo>
                  <a:lnTo>
                    <a:pt x="14" y="108"/>
                  </a:lnTo>
                  <a:lnTo>
                    <a:pt x="4" y="108"/>
                  </a:lnTo>
                  <a:lnTo>
                    <a:pt x="4" y="111"/>
                  </a:lnTo>
                  <a:lnTo>
                    <a:pt x="2" y="113"/>
                  </a:lnTo>
                  <a:lnTo>
                    <a:pt x="0" y="115"/>
                  </a:lnTo>
                  <a:lnTo>
                    <a:pt x="0" y="115"/>
                  </a:lnTo>
                  <a:lnTo>
                    <a:pt x="0" y="115"/>
                  </a:lnTo>
                  <a:lnTo>
                    <a:pt x="0" y="115"/>
                  </a:lnTo>
                  <a:lnTo>
                    <a:pt x="0" y="115"/>
                  </a:lnTo>
                  <a:lnTo>
                    <a:pt x="2" y="115"/>
                  </a:lnTo>
                  <a:lnTo>
                    <a:pt x="2" y="115"/>
                  </a:lnTo>
                  <a:lnTo>
                    <a:pt x="7" y="122"/>
                  </a:lnTo>
                  <a:lnTo>
                    <a:pt x="7" y="122"/>
                  </a:lnTo>
                  <a:lnTo>
                    <a:pt x="9" y="122"/>
                  </a:lnTo>
                  <a:lnTo>
                    <a:pt x="11" y="130"/>
                  </a:lnTo>
                  <a:lnTo>
                    <a:pt x="11" y="130"/>
                  </a:lnTo>
                  <a:lnTo>
                    <a:pt x="11" y="134"/>
                  </a:lnTo>
                  <a:lnTo>
                    <a:pt x="11" y="137"/>
                  </a:lnTo>
                  <a:lnTo>
                    <a:pt x="9" y="144"/>
                  </a:lnTo>
                  <a:lnTo>
                    <a:pt x="9" y="144"/>
                  </a:lnTo>
                  <a:lnTo>
                    <a:pt x="9" y="144"/>
                  </a:lnTo>
                  <a:lnTo>
                    <a:pt x="7" y="146"/>
                  </a:lnTo>
                  <a:lnTo>
                    <a:pt x="14" y="153"/>
                  </a:lnTo>
                  <a:lnTo>
                    <a:pt x="14" y="158"/>
                  </a:lnTo>
                  <a:lnTo>
                    <a:pt x="16" y="163"/>
                  </a:lnTo>
                  <a:lnTo>
                    <a:pt x="16" y="165"/>
                  </a:lnTo>
                  <a:lnTo>
                    <a:pt x="16" y="177"/>
                  </a:lnTo>
                  <a:lnTo>
                    <a:pt x="14" y="181"/>
                  </a:lnTo>
                  <a:lnTo>
                    <a:pt x="9" y="193"/>
                  </a:lnTo>
                  <a:lnTo>
                    <a:pt x="9" y="196"/>
                  </a:lnTo>
                  <a:lnTo>
                    <a:pt x="7" y="203"/>
                  </a:lnTo>
                  <a:lnTo>
                    <a:pt x="7" y="205"/>
                  </a:lnTo>
                  <a:lnTo>
                    <a:pt x="7" y="205"/>
                  </a:lnTo>
                  <a:lnTo>
                    <a:pt x="7" y="205"/>
                  </a:lnTo>
                  <a:lnTo>
                    <a:pt x="9" y="203"/>
                  </a:lnTo>
                  <a:lnTo>
                    <a:pt x="11" y="198"/>
                  </a:lnTo>
                  <a:lnTo>
                    <a:pt x="11" y="198"/>
                  </a:lnTo>
                  <a:lnTo>
                    <a:pt x="11" y="198"/>
                  </a:lnTo>
                  <a:lnTo>
                    <a:pt x="16" y="198"/>
                  </a:lnTo>
                  <a:lnTo>
                    <a:pt x="19" y="198"/>
                  </a:lnTo>
                  <a:lnTo>
                    <a:pt x="21" y="198"/>
                  </a:lnTo>
                  <a:lnTo>
                    <a:pt x="23" y="198"/>
                  </a:lnTo>
                  <a:lnTo>
                    <a:pt x="23" y="198"/>
                  </a:lnTo>
                  <a:lnTo>
                    <a:pt x="28" y="196"/>
                  </a:lnTo>
                  <a:lnTo>
                    <a:pt x="30" y="196"/>
                  </a:lnTo>
                  <a:lnTo>
                    <a:pt x="30" y="196"/>
                  </a:lnTo>
                  <a:lnTo>
                    <a:pt x="30" y="196"/>
                  </a:lnTo>
                  <a:lnTo>
                    <a:pt x="30" y="196"/>
                  </a:lnTo>
                  <a:lnTo>
                    <a:pt x="33" y="196"/>
                  </a:lnTo>
                  <a:lnTo>
                    <a:pt x="35" y="196"/>
                  </a:lnTo>
                  <a:lnTo>
                    <a:pt x="37" y="196"/>
                  </a:lnTo>
                  <a:lnTo>
                    <a:pt x="42" y="196"/>
                  </a:lnTo>
                  <a:lnTo>
                    <a:pt x="42" y="196"/>
                  </a:lnTo>
                  <a:lnTo>
                    <a:pt x="45" y="196"/>
                  </a:lnTo>
                  <a:lnTo>
                    <a:pt x="45" y="198"/>
                  </a:lnTo>
                  <a:lnTo>
                    <a:pt x="47" y="198"/>
                  </a:lnTo>
                  <a:lnTo>
                    <a:pt x="49" y="200"/>
                  </a:lnTo>
                  <a:lnTo>
                    <a:pt x="52" y="203"/>
                  </a:lnTo>
                  <a:lnTo>
                    <a:pt x="54" y="205"/>
                  </a:lnTo>
                  <a:lnTo>
                    <a:pt x="54" y="205"/>
                  </a:lnTo>
                  <a:lnTo>
                    <a:pt x="56" y="203"/>
                  </a:lnTo>
                  <a:lnTo>
                    <a:pt x="56" y="205"/>
                  </a:lnTo>
                  <a:lnTo>
                    <a:pt x="56" y="205"/>
                  </a:lnTo>
                  <a:lnTo>
                    <a:pt x="59" y="205"/>
                  </a:lnTo>
                  <a:lnTo>
                    <a:pt x="59" y="205"/>
                  </a:lnTo>
                  <a:lnTo>
                    <a:pt x="63" y="210"/>
                  </a:lnTo>
                  <a:lnTo>
                    <a:pt x="63" y="212"/>
                  </a:lnTo>
                  <a:lnTo>
                    <a:pt x="63" y="212"/>
                  </a:lnTo>
                  <a:lnTo>
                    <a:pt x="66" y="215"/>
                  </a:lnTo>
                  <a:lnTo>
                    <a:pt x="66" y="215"/>
                  </a:lnTo>
                  <a:lnTo>
                    <a:pt x="66" y="217"/>
                  </a:lnTo>
                  <a:lnTo>
                    <a:pt x="68" y="217"/>
                  </a:lnTo>
                  <a:lnTo>
                    <a:pt x="68" y="217"/>
                  </a:lnTo>
                  <a:lnTo>
                    <a:pt x="68" y="217"/>
                  </a:lnTo>
                  <a:lnTo>
                    <a:pt x="70" y="219"/>
                  </a:lnTo>
                  <a:lnTo>
                    <a:pt x="70" y="219"/>
                  </a:lnTo>
                  <a:lnTo>
                    <a:pt x="70" y="219"/>
                  </a:lnTo>
                  <a:lnTo>
                    <a:pt x="70" y="219"/>
                  </a:lnTo>
                  <a:lnTo>
                    <a:pt x="70" y="222"/>
                  </a:lnTo>
                  <a:lnTo>
                    <a:pt x="73" y="222"/>
                  </a:lnTo>
                  <a:lnTo>
                    <a:pt x="73" y="222"/>
                  </a:lnTo>
                  <a:lnTo>
                    <a:pt x="73" y="224"/>
                  </a:lnTo>
                  <a:lnTo>
                    <a:pt x="75" y="224"/>
                  </a:lnTo>
                  <a:lnTo>
                    <a:pt x="78" y="224"/>
                  </a:lnTo>
                  <a:lnTo>
                    <a:pt x="78" y="224"/>
                  </a:lnTo>
                  <a:lnTo>
                    <a:pt x="78" y="226"/>
                  </a:lnTo>
                  <a:lnTo>
                    <a:pt x="78" y="226"/>
                  </a:lnTo>
                  <a:lnTo>
                    <a:pt x="80" y="229"/>
                  </a:lnTo>
                  <a:lnTo>
                    <a:pt x="82" y="229"/>
                  </a:lnTo>
                  <a:lnTo>
                    <a:pt x="89" y="222"/>
                  </a:lnTo>
                  <a:lnTo>
                    <a:pt x="92" y="217"/>
                  </a:lnTo>
                  <a:lnTo>
                    <a:pt x="94" y="212"/>
                  </a:lnTo>
                  <a:lnTo>
                    <a:pt x="94" y="210"/>
                  </a:lnTo>
                  <a:lnTo>
                    <a:pt x="96" y="210"/>
                  </a:lnTo>
                  <a:lnTo>
                    <a:pt x="96" y="210"/>
                  </a:lnTo>
                  <a:lnTo>
                    <a:pt x="96" y="210"/>
                  </a:lnTo>
                  <a:lnTo>
                    <a:pt x="99" y="210"/>
                  </a:lnTo>
                  <a:lnTo>
                    <a:pt x="101" y="212"/>
                  </a:lnTo>
                  <a:lnTo>
                    <a:pt x="101" y="215"/>
                  </a:lnTo>
                  <a:lnTo>
                    <a:pt x="104" y="222"/>
                  </a:lnTo>
                  <a:lnTo>
                    <a:pt x="111" y="222"/>
                  </a:lnTo>
                  <a:lnTo>
                    <a:pt x="111" y="222"/>
                  </a:lnTo>
                  <a:lnTo>
                    <a:pt x="118" y="215"/>
                  </a:lnTo>
                  <a:lnTo>
                    <a:pt x="146" y="217"/>
                  </a:lnTo>
                  <a:lnTo>
                    <a:pt x="170" y="217"/>
                  </a:lnTo>
                  <a:lnTo>
                    <a:pt x="191" y="217"/>
                  </a:lnTo>
                  <a:lnTo>
                    <a:pt x="198" y="217"/>
                  </a:lnTo>
                  <a:lnTo>
                    <a:pt x="203" y="203"/>
                  </a:lnTo>
                  <a:lnTo>
                    <a:pt x="196" y="200"/>
                  </a:lnTo>
                  <a:lnTo>
                    <a:pt x="193" y="181"/>
                  </a:lnTo>
                  <a:lnTo>
                    <a:pt x="191" y="165"/>
                  </a:lnTo>
                  <a:lnTo>
                    <a:pt x="189" y="148"/>
                  </a:lnTo>
                  <a:lnTo>
                    <a:pt x="186" y="130"/>
                  </a:lnTo>
                  <a:lnTo>
                    <a:pt x="186" y="113"/>
                  </a:lnTo>
                  <a:lnTo>
                    <a:pt x="184" y="94"/>
                  </a:lnTo>
                  <a:lnTo>
                    <a:pt x="182" y="78"/>
                  </a:lnTo>
                  <a:lnTo>
                    <a:pt x="179" y="59"/>
                  </a:lnTo>
                  <a:lnTo>
                    <a:pt x="179" y="40"/>
                  </a:lnTo>
                  <a:lnTo>
                    <a:pt x="210" y="40"/>
                  </a:lnTo>
                  <a:lnTo>
                    <a:pt x="210" y="40"/>
                  </a:lnTo>
                  <a:lnTo>
                    <a:pt x="184" y="26"/>
                  </a:lnTo>
                  <a:lnTo>
                    <a:pt x="165" y="11"/>
                  </a:lnTo>
                  <a:lnTo>
                    <a:pt x="144" y="0"/>
                  </a:lnTo>
                  <a:lnTo>
                    <a:pt x="144" y="21"/>
                  </a:lnTo>
                  <a:lnTo>
                    <a:pt x="127" y="21"/>
                  </a:lnTo>
                  <a:lnTo>
                    <a:pt x="111" y="21"/>
                  </a:lnTo>
                  <a:lnTo>
                    <a:pt x="94" y="21"/>
                  </a:lnTo>
                  <a:lnTo>
                    <a:pt x="89" y="21"/>
                  </a:lnTo>
                  <a:lnTo>
                    <a:pt x="89" y="40"/>
                  </a:lnTo>
                  <a:lnTo>
                    <a:pt x="89" y="59"/>
                  </a:lnTo>
                  <a:lnTo>
                    <a:pt x="89" y="68"/>
                  </a:lnTo>
                  <a:lnTo>
                    <a:pt x="82" y="70"/>
                  </a:lnTo>
                  <a:lnTo>
                    <a:pt x="78" y="73"/>
                  </a:lnTo>
                  <a:lnTo>
                    <a:pt x="73" y="73"/>
                  </a:lnTo>
                  <a:lnTo>
                    <a:pt x="70" y="75"/>
                  </a:lnTo>
                  <a:lnTo>
                    <a:pt x="68" y="75"/>
                  </a:lnTo>
                  <a:lnTo>
                    <a:pt x="68" y="80"/>
                  </a:lnTo>
                  <a:lnTo>
                    <a:pt x="66" y="82"/>
                  </a:lnTo>
                  <a:lnTo>
                    <a:pt x="68" y="92"/>
                  </a:lnTo>
                  <a:lnTo>
                    <a:pt x="68" y="96"/>
                  </a:lnTo>
                  <a:lnTo>
                    <a:pt x="68" y="104"/>
                  </a:lnTo>
                  <a:lnTo>
                    <a:pt x="70" y="108"/>
                  </a:lnTo>
                  <a:lnTo>
                    <a:pt x="61" y="108"/>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39" name="Freeform 873">
              <a:extLst>
                <a:ext uri="{FF2B5EF4-FFF2-40B4-BE49-F238E27FC236}">
                  <a16:creationId xmlns:a16="http://schemas.microsoft.com/office/drawing/2014/main" id="{E6866105-20EE-4051-BB5A-ED303DCDDDB8}"/>
                </a:ext>
              </a:extLst>
            </p:cNvPr>
            <p:cNvSpPr>
              <a:spLocks/>
            </p:cNvSpPr>
            <p:nvPr/>
          </p:nvSpPr>
          <p:spPr bwMode="auto">
            <a:xfrm>
              <a:off x="1886790" y="4754529"/>
              <a:ext cx="322263" cy="280987"/>
            </a:xfrm>
            <a:custGeom>
              <a:avLst/>
              <a:gdLst>
                <a:gd name="T0" fmla="*/ 0 w 203"/>
                <a:gd name="T1" fmla="*/ 102 h 177"/>
                <a:gd name="T2" fmla="*/ 35 w 203"/>
                <a:gd name="T3" fmla="*/ 85 h 177"/>
                <a:gd name="T4" fmla="*/ 35 w 203"/>
                <a:gd name="T5" fmla="*/ 73 h 177"/>
                <a:gd name="T6" fmla="*/ 35 w 203"/>
                <a:gd name="T7" fmla="*/ 57 h 177"/>
                <a:gd name="T8" fmla="*/ 35 w 203"/>
                <a:gd name="T9" fmla="*/ 50 h 177"/>
                <a:gd name="T10" fmla="*/ 37 w 203"/>
                <a:gd name="T11" fmla="*/ 47 h 177"/>
                <a:gd name="T12" fmla="*/ 42 w 203"/>
                <a:gd name="T13" fmla="*/ 55 h 177"/>
                <a:gd name="T14" fmla="*/ 49 w 203"/>
                <a:gd name="T15" fmla="*/ 55 h 177"/>
                <a:gd name="T16" fmla="*/ 59 w 203"/>
                <a:gd name="T17" fmla="*/ 57 h 177"/>
                <a:gd name="T18" fmla="*/ 73 w 203"/>
                <a:gd name="T19" fmla="*/ 66 h 177"/>
                <a:gd name="T20" fmla="*/ 87 w 203"/>
                <a:gd name="T21" fmla="*/ 64 h 177"/>
                <a:gd name="T22" fmla="*/ 104 w 203"/>
                <a:gd name="T23" fmla="*/ 73 h 177"/>
                <a:gd name="T24" fmla="*/ 111 w 203"/>
                <a:gd name="T25" fmla="*/ 81 h 177"/>
                <a:gd name="T26" fmla="*/ 125 w 203"/>
                <a:gd name="T27" fmla="*/ 90 h 177"/>
                <a:gd name="T28" fmla="*/ 130 w 203"/>
                <a:gd name="T29" fmla="*/ 88 h 177"/>
                <a:gd name="T30" fmla="*/ 134 w 203"/>
                <a:gd name="T31" fmla="*/ 90 h 177"/>
                <a:gd name="T32" fmla="*/ 134 w 203"/>
                <a:gd name="T33" fmla="*/ 71 h 177"/>
                <a:gd name="T34" fmla="*/ 122 w 203"/>
                <a:gd name="T35" fmla="*/ 71 h 177"/>
                <a:gd name="T36" fmla="*/ 113 w 203"/>
                <a:gd name="T37" fmla="*/ 64 h 177"/>
                <a:gd name="T38" fmla="*/ 120 w 203"/>
                <a:gd name="T39" fmla="*/ 43 h 177"/>
                <a:gd name="T40" fmla="*/ 118 w 203"/>
                <a:gd name="T41" fmla="*/ 22 h 177"/>
                <a:gd name="T42" fmla="*/ 120 w 203"/>
                <a:gd name="T43" fmla="*/ 12 h 177"/>
                <a:gd name="T44" fmla="*/ 125 w 203"/>
                <a:gd name="T45" fmla="*/ 7 h 177"/>
                <a:gd name="T46" fmla="*/ 148 w 203"/>
                <a:gd name="T47" fmla="*/ 5 h 177"/>
                <a:gd name="T48" fmla="*/ 158 w 203"/>
                <a:gd name="T49" fmla="*/ 12 h 177"/>
                <a:gd name="T50" fmla="*/ 167 w 203"/>
                <a:gd name="T51" fmla="*/ 12 h 177"/>
                <a:gd name="T52" fmla="*/ 184 w 203"/>
                <a:gd name="T53" fmla="*/ 19 h 177"/>
                <a:gd name="T54" fmla="*/ 191 w 203"/>
                <a:gd name="T55" fmla="*/ 22 h 177"/>
                <a:gd name="T56" fmla="*/ 193 w 203"/>
                <a:gd name="T57" fmla="*/ 26 h 177"/>
                <a:gd name="T58" fmla="*/ 198 w 203"/>
                <a:gd name="T59" fmla="*/ 36 h 177"/>
                <a:gd name="T60" fmla="*/ 203 w 203"/>
                <a:gd name="T61" fmla="*/ 45 h 177"/>
                <a:gd name="T62" fmla="*/ 198 w 203"/>
                <a:gd name="T63" fmla="*/ 50 h 177"/>
                <a:gd name="T64" fmla="*/ 198 w 203"/>
                <a:gd name="T65" fmla="*/ 62 h 177"/>
                <a:gd name="T66" fmla="*/ 198 w 203"/>
                <a:gd name="T67" fmla="*/ 73 h 177"/>
                <a:gd name="T68" fmla="*/ 196 w 203"/>
                <a:gd name="T69" fmla="*/ 78 h 177"/>
                <a:gd name="T70" fmla="*/ 191 w 203"/>
                <a:gd name="T71" fmla="*/ 85 h 177"/>
                <a:gd name="T72" fmla="*/ 189 w 203"/>
                <a:gd name="T73" fmla="*/ 97 h 177"/>
                <a:gd name="T74" fmla="*/ 193 w 203"/>
                <a:gd name="T75" fmla="*/ 104 h 177"/>
                <a:gd name="T76" fmla="*/ 139 w 203"/>
                <a:gd name="T77" fmla="*/ 123 h 177"/>
                <a:gd name="T78" fmla="*/ 144 w 203"/>
                <a:gd name="T79" fmla="*/ 133 h 177"/>
                <a:gd name="T80" fmla="*/ 134 w 203"/>
                <a:gd name="T81" fmla="*/ 133 h 177"/>
                <a:gd name="T82" fmla="*/ 122 w 203"/>
                <a:gd name="T83" fmla="*/ 135 h 177"/>
                <a:gd name="T84" fmla="*/ 115 w 203"/>
                <a:gd name="T85" fmla="*/ 142 h 177"/>
                <a:gd name="T86" fmla="*/ 115 w 203"/>
                <a:gd name="T87" fmla="*/ 149 h 177"/>
                <a:gd name="T88" fmla="*/ 106 w 203"/>
                <a:gd name="T89" fmla="*/ 149 h 177"/>
                <a:gd name="T90" fmla="*/ 101 w 203"/>
                <a:gd name="T91" fmla="*/ 154 h 177"/>
                <a:gd name="T92" fmla="*/ 96 w 203"/>
                <a:gd name="T93" fmla="*/ 156 h 177"/>
                <a:gd name="T94" fmla="*/ 89 w 203"/>
                <a:gd name="T95" fmla="*/ 168 h 177"/>
                <a:gd name="T96" fmla="*/ 85 w 203"/>
                <a:gd name="T97" fmla="*/ 175 h 177"/>
                <a:gd name="T98" fmla="*/ 78 w 203"/>
                <a:gd name="T99" fmla="*/ 175 h 177"/>
                <a:gd name="T100" fmla="*/ 68 w 203"/>
                <a:gd name="T101" fmla="*/ 175 h 177"/>
                <a:gd name="T102" fmla="*/ 54 w 203"/>
                <a:gd name="T103" fmla="*/ 173 h 177"/>
                <a:gd name="T104" fmla="*/ 44 w 203"/>
                <a:gd name="T105" fmla="*/ 166 h 177"/>
                <a:gd name="T106" fmla="*/ 21 w 203"/>
                <a:gd name="T107" fmla="*/ 168 h 177"/>
                <a:gd name="T108" fmla="*/ 14 w 203"/>
                <a:gd name="T109" fmla="*/ 161 h 177"/>
                <a:gd name="T110" fmla="*/ 2 w 203"/>
                <a:gd name="T111" fmla="*/ 15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3" h="177">
                  <a:moveTo>
                    <a:pt x="0" y="149"/>
                  </a:moveTo>
                  <a:lnTo>
                    <a:pt x="0" y="137"/>
                  </a:lnTo>
                  <a:lnTo>
                    <a:pt x="0" y="121"/>
                  </a:lnTo>
                  <a:lnTo>
                    <a:pt x="0" y="102"/>
                  </a:lnTo>
                  <a:lnTo>
                    <a:pt x="0" y="85"/>
                  </a:lnTo>
                  <a:lnTo>
                    <a:pt x="18" y="85"/>
                  </a:lnTo>
                  <a:lnTo>
                    <a:pt x="37" y="85"/>
                  </a:lnTo>
                  <a:lnTo>
                    <a:pt x="35" y="85"/>
                  </a:lnTo>
                  <a:lnTo>
                    <a:pt x="33" y="83"/>
                  </a:lnTo>
                  <a:lnTo>
                    <a:pt x="33" y="83"/>
                  </a:lnTo>
                  <a:lnTo>
                    <a:pt x="33" y="78"/>
                  </a:lnTo>
                  <a:lnTo>
                    <a:pt x="35" y="73"/>
                  </a:lnTo>
                  <a:lnTo>
                    <a:pt x="35" y="71"/>
                  </a:lnTo>
                  <a:lnTo>
                    <a:pt x="35" y="66"/>
                  </a:lnTo>
                  <a:lnTo>
                    <a:pt x="35" y="62"/>
                  </a:lnTo>
                  <a:lnTo>
                    <a:pt x="35" y="57"/>
                  </a:lnTo>
                  <a:lnTo>
                    <a:pt x="35" y="57"/>
                  </a:lnTo>
                  <a:lnTo>
                    <a:pt x="35" y="55"/>
                  </a:lnTo>
                  <a:lnTo>
                    <a:pt x="35" y="52"/>
                  </a:lnTo>
                  <a:lnTo>
                    <a:pt x="35" y="50"/>
                  </a:lnTo>
                  <a:lnTo>
                    <a:pt x="37" y="50"/>
                  </a:lnTo>
                  <a:lnTo>
                    <a:pt x="35" y="47"/>
                  </a:lnTo>
                  <a:lnTo>
                    <a:pt x="35" y="47"/>
                  </a:lnTo>
                  <a:lnTo>
                    <a:pt x="37" y="47"/>
                  </a:lnTo>
                  <a:lnTo>
                    <a:pt x="40" y="47"/>
                  </a:lnTo>
                  <a:lnTo>
                    <a:pt x="40" y="47"/>
                  </a:lnTo>
                  <a:lnTo>
                    <a:pt x="42" y="50"/>
                  </a:lnTo>
                  <a:lnTo>
                    <a:pt x="42" y="55"/>
                  </a:lnTo>
                  <a:lnTo>
                    <a:pt x="42" y="55"/>
                  </a:lnTo>
                  <a:lnTo>
                    <a:pt x="44" y="57"/>
                  </a:lnTo>
                  <a:lnTo>
                    <a:pt x="47" y="55"/>
                  </a:lnTo>
                  <a:lnTo>
                    <a:pt x="49" y="55"/>
                  </a:lnTo>
                  <a:lnTo>
                    <a:pt x="52" y="55"/>
                  </a:lnTo>
                  <a:lnTo>
                    <a:pt x="54" y="52"/>
                  </a:lnTo>
                  <a:lnTo>
                    <a:pt x="56" y="55"/>
                  </a:lnTo>
                  <a:lnTo>
                    <a:pt x="59" y="57"/>
                  </a:lnTo>
                  <a:lnTo>
                    <a:pt x="59" y="59"/>
                  </a:lnTo>
                  <a:lnTo>
                    <a:pt x="63" y="62"/>
                  </a:lnTo>
                  <a:lnTo>
                    <a:pt x="68" y="64"/>
                  </a:lnTo>
                  <a:lnTo>
                    <a:pt x="73" y="66"/>
                  </a:lnTo>
                  <a:lnTo>
                    <a:pt x="78" y="66"/>
                  </a:lnTo>
                  <a:lnTo>
                    <a:pt x="80" y="66"/>
                  </a:lnTo>
                  <a:lnTo>
                    <a:pt x="85" y="64"/>
                  </a:lnTo>
                  <a:lnTo>
                    <a:pt x="87" y="64"/>
                  </a:lnTo>
                  <a:lnTo>
                    <a:pt x="89" y="64"/>
                  </a:lnTo>
                  <a:lnTo>
                    <a:pt x="94" y="69"/>
                  </a:lnTo>
                  <a:lnTo>
                    <a:pt x="99" y="71"/>
                  </a:lnTo>
                  <a:lnTo>
                    <a:pt x="104" y="73"/>
                  </a:lnTo>
                  <a:lnTo>
                    <a:pt x="106" y="73"/>
                  </a:lnTo>
                  <a:lnTo>
                    <a:pt x="108" y="76"/>
                  </a:lnTo>
                  <a:lnTo>
                    <a:pt x="111" y="78"/>
                  </a:lnTo>
                  <a:lnTo>
                    <a:pt x="111" y="81"/>
                  </a:lnTo>
                  <a:lnTo>
                    <a:pt x="115" y="85"/>
                  </a:lnTo>
                  <a:lnTo>
                    <a:pt x="120" y="88"/>
                  </a:lnTo>
                  <a:lnTo>
                    <a:pt x="122" y="88"/>
                  </a:lnTo>
                  <a:lnTo>
                    <a:pt x="125" y="90"/>
                  </a:lnTo>
                  <a:lnTo>
                    <a:pt x="127" y="90"/>
                  </a:lnTo>
                  <a:lnTo>
                    <a:pt x="130" y="88"/>
                  </a:lnTo>
                  <a:lnTo>
                    <a:pt x="130" y="88"/>
                  </a:lnTo>
                  <a:lnTo>
                    <a:pt x="130" y="88"/>
                  </a:lnTo>
                  <a:lnTo>
                    <a:pt x="132" y="90"/>
                  </a:lnTo>
                  <a:lnTo>
                    <a:pt x="134" y="90"/>
                  </a:lnTo>
                  <a:lnTo>
                    <a:pt x="134" y="90"/>
                  </a:lnTo>
                  <a:lnTo>
                    <a:pt x="134" y="90"/>
                  </a:lnTo>
                  <a:lnTo>
                    <a:pt x="134" y="88"/>
                  </a:lnTo>
                  <a:lnTo>
                    <a:pt x="134" y="85"/>
                  </a:lnTo>
                  <a:lnTo>
                    <a:pt x="134" y="73"/>
                  </a:lnTo>
                  <a:lnTo>
                    <a:pt x="134" y="71"/>
                  </a:lnTo>
                  <a:lnTo>
                    <a:pt x="132" y="71"/>
                  </a:lnTo>
                  <a:lnTo>
                    <a:pt x="130" y="73"/>
                  </a:lnTo>
                  <a:lnTo>
                    <a:pt x="125" y="73"/>
                  </a:lnTo>
                  <a:lnTo>
                    <a:pt x="122" y="71"/>
                  </a:lnTo>
                  <a:lnTo>
                    <a:pt x="120" y="71"/>
                  </a:lnTo>
                  <a:lnTo>
                    <a:pt x="115" y="66"/>
                  </a:lnTo>
                  <a:lnTo>
                    <a:pt x="115" y="64"/>
                  </a:lnTo>
                  <a:lnTo>
                    <a:pt x="113" y="64"/>
                  </a:lnTo>
                  <a:lnTo>
                    <a:pt x="113" y="62"/>
                  </a:lnTo>
                  <a:lnTo>
                    <a:pt x="113" y="59"/>
                  </a:lnTo>
                  <a:lnTo>
                    <a:pt x="115" y="55"/>
                  </a:lnTo>
                  <a:lnTo>
                    <a:pt x="120" y="43"/>
                  </a:lnTo>
                  <a:lnTo>
                    <a:pt x="120" y="40"/>
                  </a:lnTo>
                  <a:lnTo>
                    <a:pt x="120" y="33"/>
                  </a:lnTo>
                  <a:lnTo>
                    <a:pt x="120" y="29"/>
                  </a:lnTo>
                  <a:lnTo>
                    <a:pt x="118" y="22"/>
                  </a:lnTo>
                  <a:lnTo>
                    <a:pt x="118" y="19"/>
                  </a:lnTo>
                  <a:lnTo>
                    <a:pt x="118" y="17"/>
                  </a:lnTo>
                  <a:lnTo>
                    <a:pt x="120" y="14"/>
                  </a:lnTo>
                  <a:lnTo>
                    <a:pt x="120" y="12"/>
                  </a:lnTo>
                  <a:lnTo>
                    <a:pt x="122" y="7"/>
                  </a:lnTo>
                  <a:lnTo>
                    <a:pt x="122" y="7"/>
                  </a:lnTo>
                  <a:lnTo>
                    <a:pt x="125" y="7"/>
                  </a:lnTo>
                  <a:lnTo>
                    <a:pt x="125" y="7"/>
                  </a:lnTo>
                  <a:lnTo>
                    <a:pt x="130" y="5"/>
                  </a:lnTo>
                  <a:lnTo>
                    <a:pt x="148" y="0"/>
                  </a:lnTo>
                  <a:lnTo>
                    <a:pt x="151" y="3"/>
                  </a:lnTo>
                  <a:lnTo>
                    <a:pt x="148" y="5"/>
                  </a:lnTo>
                  <a:lnTo>
                    <a:pt x="151" y="7"/>
                  </a:lnTo>
                  <a:lnTo>
                    <a:pt x="151" y="7"/>
                  </a:lnTo>
                  <a:lnTo>
                    <a:pt x="153" y="10"/>
                  </a:lnTo>
                  <a:lnTo>
                    <a:pt x="158" y="12"/>
                  </a:lnTo>
                  <a:lnTo>
                    <a:pt x="160" y="7"/>
                  </a:lnTo>
                  <a:lnTo>
                    <a:pt x="163" y="7"/>
                  </a:lnTo>
                  <a:lnTo>
                    <a:pt x="165" y="7"/>
                  </a:lnTo>
                  <a:lnTo>
                    <a:pt x="167" y="12"/>
                  </a:lnTo>
                  <a:lnTo>
                    <a:pt x="170" y="12"/>
                  </a:lnTo>
                  <a:lnTo>
                    <a:pt x="170" y="14"/>
                  </a:lnTo>
                  <a:lnTo>
                    <a:pt x="174" y="14"/>
                  </a:lnTo>
                  <a:lnTo>
                    <a:pt x="184" y="19"/>
                  </a:lnTo>
                  <a:lnTo>
                    <a:pt x="186" y="19"/>
                  </a:lnTo>
                  <a:lnTo>
                    <a:pt x="189" y="22"/>
                  </a:lnTo>
                  <a:lnTo>
                    <a:pt x="191" y="22"/>
                  </a:lnTo>
                  <a:lnTo>
                    <a:pt x="191" y="22"/>
                  </a:lnTo>
                  <a:lnTo>
                    <a:pt x="191" y="24"/>
                  </a:lnTo>
                  <a:lnTo>
                    <a:pt x="191" y="24"/>
                  </a:lnTo>
                  <a:lnTo>
                    <a:pt x="191" y="26"/>
                  </a:lnTo>
                  <a:lnTo>
                    <a:pt x="193" y="26"/>
                  </a:lnTo>
                  <a:lnTo>
                    <a:pt x="196" y="26"/>
                  </a:lnTo>
                  <a:lnTo>
                    <a:pt x="198" y="29"/>
                  </a:lnTo>
                  <a:lnTo>
                    <a:pt x="198" y="31"/>
                  </a:lnTo>
                  <a:lnTo>
                    <a:pt x="198" y="36"/>
                  </a:lnTo>
                  <a:lnTo>
                    <a:pt x="200" y="36"/>
                  </a:lnTo>
                  <a:lnTo>
                    <a:pt x="203" y="43"/>
                  </a:lnTo>
                  <a:lnTo>
                    <a:pt x="203" y="43"/>
                  </a:lnTo>
                  <a:lnTo>
                    <a:pt x="203" y="45"/>
                  </a:lnTo>
                  <a:lnTo>
                    <a:pt x="203" y="45"/>
                  </a:lnTo>
                  <a:lnTo>
                    <a:pt x="200" y="47"/>
                  </a:lnTo>
                  <a:lnTo>
                    <a:pt x="200" y="47"/>
                  </a:lnTo>
                  <a:lnTo>
                    <a:pt x="198" y="50"/>
                  </a:lnTo>
                  <a:lnTo>
                    <a:pt x="198" y="52"/>
                  </a:lnTo>
                  <a:lnTo>
                    <a:pt x="198" y="55"/>
                  </a:lnTo>
                  <a:lnTo>
                    <a:pt x="196" y="59"/>
                  </a:lnTo>
                  <a:lnTo>
                    <a:pt x="198" y="62"/>
                  </a:lnTo>
                  <a:lnTo>
                    <a:pt x="198" y="66"/>
                  </a:lnTo>
                  <a:lnTo>
                    <a:pt x="196" y="71"/>
                  </a:lnTo>
                  <a:lnTo>
                    <a:pt x="198" y="73"/>
                  </a:lnTo>
                  <a:lnTo>
                    <a:pt x="198" y="73"/>
                  </a:lnTo>
                  <a:lnTo>
                    <a:pt x="200" y="76"/>
                  </a:lnTo>
                  <a:lnTo>
                    <a:pt x="200" y="76"/>
                  </a:lnTo>
                  <a:lnTo>
                    <a:pt x="200" y="78"/>
                  </a:lnTo>
                  <a:lnTo>
                    <a:pt x="196" y="78"/>
                  </a:lnTo>
                  <a:lnTo>
                    <a:pt x="196" y="81"/>
                  </a:lnTo>
                  <a:lnTo>
                    <a:pt x="193" y="81"/>
                  </a:lnTo>
                  <a:lnTo>
                    <a:pt x="193" y="81"/>
                  </a:lnTo>
                  <a:lnTo>
                    <a:pt x="191" y="85"/>
                  </a:lnTo>
                  <a:lnTo>
                    <a:pt x="191" y="90"/>
                  </a:lnTo>
                  <a:lnTo>
                    <a:pt x="191" y="95"/>
                  </a:lnTo>
                  <a:lnTo>
                    <a:pt x="189" y="97"/>
                  </a:lnTo>
                  <a:lnTo>
                    <a:pt x="189" y="97"/>
                  </a:lnTo>
                  <a:lnTo>
                    <a:pt x="189" y="102"/>
                  </a:lnTo>
                  <a:lnTo>
                    <a:pt x="189" y="102"/>
                  </a:lnTo>
                  <a:lnTo>
                    <a:pt x="191" y="104"/>
                  </a:lnTo>
                  <a:lnTo>
                    <a:pt x="193" y="104"/>
                  </a:lnTo>
                  <a:lnTo>
                    <a:pt x="193" y="104"/>
                  </a:lnTo>
                  <a:lnTo>
                    <a:pt x="193" y="104"/>
                  </a:lnTo>
                  <a:lnTo>
                    <a:pt x="191" y="104"/>
                  </a:lnTo>
                  <a:lnTo>
                    <a:pt x="139" y="123"/>
                  </a:lnTo>
                  <a:lnTo>
                    <a:pt x="141" y="128"/>
                  </a:lnTo>
                  <a:lnTo>
                    <a:pt x="141" y="133"/>
                  </a:lnTo>
                  <a:lnTo>
                    <a:pt x="144" y="133"/>
                  </a:lnTo>
                  <a:lnTo>
                    <a:pt x="144" y="133"/>
                  </a:lnTo>
                  <a:lnTo>
                    <a:pt x="141" y="133"/>
                  </a:lnTo>
                  <a:lnTo>
                    <a:pt x="139" y="133"/>
                  </a:lnTo>
                  <a:lnTo>
                    <a:pt x="137" y="133"/>
                  </a:lnTo>
                  <a:lnTo>
                    <a:pt x="134" y="133"/>
                  </a:lnTo>
                  <a:lnTo>
                    <a:pt x="134" y="133"/>
                  </a:lnTo>
                  <a:lnTo>
                    <a:pt x="130" y="135"/>
                  </a:lnTo>
                  <a:lnTo>
                    <a:pt x="125" y="135"/>
                  </a:lnTo>
                  <a:lnTo>
                    <a:pt x="122" y="135"/>
                  </a:lnTo>
                  <a:lnTo>
                    <a:pt x="120" y="137"/>
                  </a:lnTo>
                  <a:lnTo>
                    <a:pt x="118" y="137"/>
                  </a:lnTo>
                  <a:lnTo>
                    <a:pt x="115" y="140"/>
                  </a:lnTo>
                  <a:lnTo>
                    <a:pt x="115" y="142"/>
                  </a:lnTo>
                  <a:lnTo>
                    <a:pt x="115" y="144"/>
                  </a:lnTo>
                  <a:lnTo>
                    <a:pt x="115" y="147"/>
                  </a:lnTo>
                  <a:lnTo>
                    <a:pt x="115" y="147"/>
                  </a:lnTo>
                  <a:lnTo>
                    <a:pt x="115" y="149"/>
                  </a:lnTo>
                  <a:lnTo>
                    <a:pt x="115" y="149"/>
                  </a:lnTo>
                  <a:lnTo>
                    <a:pt x="113" y="149"/>
                  </a:lnTo>
                  <a:lnTo>
                    <a:pt x="108" y="149"/>
                  </a:lnTo>
                  <a:lnTo>
                    <a:pt x="106" y="149"/>
                  </a:lnTo>
                  <a:lnTo>
                    <a:pt x="106" y="151"/>
                  </a:lnTo>
                  <a:lnTo>
                    <a:pt x="106" y="151"/>
                  </a:lnTo>
                  <a:lnTo>
                    <a:pt x="104" y="154"/>
                  </a:lnTo>
                  <a:lnTo>
                    <a:pt x="101" y="154"/>
                  </a:lnTo>
                  <a:lnTo>
                    <a:pt x="99" y="154"/>
                  </a:lnTo>
                  <a:lnTo>
                    <a:pt x="99" y="156"/>
                  </a:lnTo>
                  <a:lnTo>
                    <a:pt x="96" y="156"/>
                  </a:lnTo>
                  <a:lnTo>
                    <a:pt x="96" y="156"/>
                  </a:lnTo>
                  <a:lnTo>
                    <a:pt x="94" y="161"/>
                  </a:lnTo>
                  <a:lnTo>
                    <a:pt x="92" y="163"/>
                  </a:lnTo>
                  <a:lnTo>
                    <a:pt x="89" y="166"/>
                  </a:lnTo>
                  <a:lnTo>
                    <a:pt x="89" y="168"/>
                  </a:lnTo>
                  <a:lnTo>
                    <a:pt x="89" y="168"/>
                  </a:lnTo>
                  <a:lnTo>
                    <a:pt x="87" y="170"/>
                  </a:lnTo>
                  <a:lnTo>
                    <a:pt x="87" y="173"/>
                  </a:lnTo>
                  <a:lnTo>
                    <a:pt x="85" y="175"/>
                  </a:lnTo>
                  <a:lnTo>
                    <a:pt x="82" y="175"/>
                  </a:lnTo>
                  <a:lnTo>
                    <a:pt x="80" y="177"/>
                  </a:lnTo>
                  <a:lnTo>
                    <a:pt x="78" y="175"/>
                  </a:lnTo>
                  <a:lnTo>
                    <a:pt x="78" y="175"/>
                  </a:lnTo>
                  <a:lnTo>
                    <a:pt x="78" y="173"/>
                  </a:lnTo>
                  <a:lnTo>
                    <a:pt x="73" y="175"/>
                  </a:lnTo>
                  <a:lnTo>
                    <a:pt x="73" y="173"/>
                  </a:lnTo>
                  <a:lnTo>
                    <a:pt x="68" y="175"/>
                  </a:lnTo>
                  <a:lnTo>
                    <a:pt x="63" y="173"/>
                  </a:lnTo>
                  <a:lnTo>
                    <a:pt x="56" y="173"/>
                  </a:lnTo>
                  <a:lnTo>
                    <a:pt x="56" y="173"/>
                  </a:lnTo>
                  <a:lnTo>
                    <a:pt x="54" y="173"/>
                  </a:lnTo>
                  <a:lnTo>
                    <a:pt x="52" y="173"/>
                  </a:lnTo>
                  <a:lnTo>
                    <a:pt x="49" y="168"/>
                  </a:lnTo>
                  <a:lnTo>
                    <a:pt x="49" y="166"/>
                  </a:lnTo>
                  <a:lnTo>
                    <a:pt x="44" y="166"/>
                  </a:lnTo>
                  <a:lnTo>
                    <a:pt x="37" y="166"/>
                  </a:lnTo>
                  <a:lnTo>
                    <a:pt x="37" y="166"/>
                  </a:lnTo>
                  <a:lnTo>
                    <a:pt x="23" y="168"/>
                  </a:lnTo>
                  <a:lnTo>
                    <a:pt x="21" y="168"/>
                  </a:lnTo>
                  <a:lnTo>
                    <a:pt x="18" y="168"/>
                  </a:lnTo>
                  <a:lnTo>
                    <a:pt x="16" y="166"/>
                  </a:lnTo>
                  <a:lnTo>
                    <a:pt x="14" y="163"/>
                  </a:lnTo>
                  <a:lnTo>
                    <a:pt x="14" y="161"/>
                  </a:lnTo>
                  <a:lnTo>
                    <a:pt x="9" y="159"/>
                  </a:lnTo>
                  <a:lnTo>
                    <a:pt x="7" y="156"/>
                  </a:lnTo>
                  <a:lnTo>
                    <a:pt x="4" y="154"/>
                  </a:lnTo>
                  <a:lnTo>
                    <a:pt x="2" y="151"/>
                  </a:lnTo>
                  <a:lnTo>
                    <a:pt x="0" y="149"/>
                  </a:lnTo>
                  <a:lnTo>
                    <a:pt x="0" y="14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0" name="Freeform 874">
              <a:extLst>
                <a:ext uri="{FF2B5EF4-FFF2-40B4-BE49-F238E27FC236}">
                  <a16:creationId xmlns:a16="http://schemas.microsoft.com/office/drawing/2014/main" id="{475DFE9A-919F-43DF-9523-0D03F3FF56BE}"/>
                </a:ext>
              </a:extLst>
            </p:cNvPr>
            <p:cNvSpPr>
              <a:spLocks/>
            </p:cNvSpPr>
            <p:nvPr/>
          </p:nvSpPr>
          <p:spPr bwMode="auto">
            <a:xfrm>
              <a:off x="1886790" y="4754529"/>
              <a:ext cx="322263" cy="280987"/>
            </a:xfrm>
            <a:custGeom>
              <a:avLst/>
              <a:gdLst>
                <a:gd name="T0" fmla="*/ 0 w 203"/>
                <a:gd name="T1" fmla="*/ 102 h 177"/>
                <a:gd name="T2" fmla="*/ 35 w 203"/>
                <a:gd name="T3" fmla="*/ 85 h 177"/>
                <a:gd name="T4" fmla="*/ 35 w 203"/>
                <a:gd name="T5" fmla="*/ 73 h 177"/>
                <a:gd name="T6" fmla="*/ 35 w 203"/>
                <a:gd name="T7" fmla="*/ 57 h 177"/>
                <a:gd name="T8" fmla="*/ 35 w 203"/>
                <a:gd name="T9" fmla="*/ 50 h 177"/>
                <a:gd name="T10" fmla="*/ 37 w 203"/>
                <a:gd name="T11" fmla="*/ 47 h 177"/>
                <a:gd name="T12" fmla="*/ 42 w 203"/>
                <a:gd name="T13" fmla="*/ 55 h 177"/>
                <a:gd name="T14" fmla="*/ 49 w 203"/>
                <a:gd name="T15" fmla="*/ 55 h 177"/>
                <a:gd name="T16" fmla="*/ 59 w 203"/>
                <a:gd name="T17" fmla="*/ 57 h 177"/>
                <a:gd name="T18" fmla="*/ 73 w 203"/>
                <a:gd name="T19" fmla="*/ 66 h 177"/>
                <a:gd name="T20" fmla="*/ 87 w 203"/>
                <a:gd name="T21" fmla="*/ 64 h 177"/>
                <a:gd name="T22" fmla="*/ 104 w 203"/>
                <a:gd name="T23" fmla="*/ 73 h 177"/>
                <a:gd name="T24" fmla="*/ 111 w 203"/>
                <a:gd name="T25" fmla="*/ 81 h 177"/>
                <a:gd name="T26" fmla="*/ 125 w 203"/>
                <a:gd name="T27" fmla="*/ 90 h 177"/>
                <a:gd name="T28" fmla="*/ 130 w 203"/>
                <a:gd name="T29" fmla="*/ 88 h 177"/>
                <a:gd name="T30" fmla="*/ 134 w 203"/>
                <a:gd name="T31" fmla="*/ 90 h 177"/>
                <a:gd name="T32" fmla="*/ 134 w 203"/>
                <a:gd name="T33" fmla="*/ 71 h 177"/>
                <a:gd name="T34" fmla="*/ 122 w 203"/>
                <a:gd name="T35" fmla="*/ 71 h 177"/>
                <a:gd name="T36" fmla="*/ 113 w 203"/>
                <a:gd name="T37" fmla="*/ 64 h 177"/>
                <a:gd name="T38" fmla="*/ 120 w 203"/>
                <a:gd name="T39" fmla="*/ 43 h 177"/>
                <a:gd name="T40" fmla="*/ 118 w 203"/>
                <a:gd name="T41" fmla="*/ 22 h 177"/>
                <a:gd name="T42" fmla="*/ 120 w 203"/>
                <a:gd name="T43" fmla="*/ 12 h 177"/>
                <a:gd name="T44" fmla="*/ 125 w 203"/>
                <a:gd name="T45" fmla="*/ 7 h 177"/>
                <a:gd name="T46" fmla="*/ 148 w 203"/>
                <a:gd name="T47" fmla="*/ 5 h 177"/>
                <a:gd name="T48" fmla="*/ 158 w 203"/>
                <a:gd name="T49" fmla="*/ 12 h 177"/>
                <a:gd name="T50" fmla="*/ 167 w 203"/>
                <a:gd name="T51" fmla="*/ 12 h 177"/>
                <a:gd name="T52" fmla="*/ 184 w 203"/>
                <a:gd name="T53" fmla="*/ 19 h 177"/>
                <a:gd name="T54" fmla="*/ 191 w 203"/>
                <a:gd name="T55" fmla="*/ 22 h 177"/>
                <a:gd name="T56" fmla="*/ 193 w 203"/>
                <a:gd name="T57" fmla="*/ 26 h 177"/>
                <a:gd name="T58" fmla="*/ 198 w 203"/>
                <a:gd name="T59" fmla="*/ 36 h 177"/>
                <a:gd name="T60" fmla="*/ 203 w 203"/>
                <a:gd name="T61" fmla="*/ 45 h 177"/>
                <a:gd name="T62" fmla="*/ 198 w 203"/>
                <a:gd name="T63" fmla="*/ 50 h 177"/>
                <a:gd name="T64" fmla="*/ 198 w 203"/>
                <a:gd name="T65" fmla="*/ 62 h 177"/>
                <a:gd name="T66" fmla="*/ 198 w 203"/>
                <a:gd name="T67" fmla="*/ 73 h 177"/>
                <a:gd name="T68" fmla="*/ 196 w 203"/>
                <a:gd name="T69" fmla="*/ 78 h 177"/>
                <a:gd name="T70" fmla="*/ 191 w 203"/>
                <a:gd name="T71" fmla="*/ 85 h 177"/>
                <a:gd name="T72" fmla="*/ 189 w 203"/>
                <a:gd name="T73" fmla="*/ 97 h 177"/>
                <a:gd name="T74" fmla="*/ 193 w 203"/>
                <a:gd name="T75" fmla="*/ 104 h 177"/>
                <a:gd name="T76" fmla="*/ 139 w 203"/>
                <a:gd name="T77" fmla="*/ 123 h 177"/>
                <a:gd name="T78" fmla="*/ 144 w 203"/>
                <a:gd name="T79" fmla="*/ 133 h 177"/>
                <a:gd name="T80" fmla="*/ 134 w 203"/>
                <a:gd name="T81" fmla="*/ 133 h 177"/>
                <a:gd name="T82" fmla="*/ 122 w 203"/>
                <a:gd name="T83" fmla="*/ 135 h 177"/>
                <a:gd name="T84" fmla="*/ 115 w 203"/>
                <a:gd name="T85" fmla="*/ 142 h 177"/>
                <a:gd name="T86" fmla="*/ 115 w 203"/>
                <a:gd name="T87" fmla="*/ 149 h 177"/>
                <a:gd name="T88" fmla="*/ 106 w 203"/>
                <a:gd name="T89" fmla="*/ 149 h 177"/>
                <a:gd name="T90" fmla="*/ 101 w 203"/>
                <a:gd name="T91" fmla="*/ 154 h 177"/>
                <a:gd name="T92" fmla="*/ 96 w 203"/>
                <a:gd name="T93" fmla="*/ 156 h 177"/>
                <a:gd name="T94" fmla="*/ 89 w 203"/>
                <a:gd name="T95" fmla="*/ 168 h 177"/>
                <a:gd name="T96" fmla="*/ 85 w 203"/>
                <a:gd name="T97" fmla="*/ 175 h 177"/>
                <a:gd name="T98" fmla="*/ 78 w 203"/>
                <a:gd name="T99" fmla="*/ 175 h 177"/>
                <a:gd name="T100" fmla="*/ 68 w 203"/>
                <a:gd name="T101" fmla="*/ 175 h 177"/>
                <a:gd name="T102" fmla="*/ 54 w 203"/>
                <a:gd name="T103" fmla="*/ 173 h 177"/>
                <a:gd name="T104" fmla="*/ 44 w 203"/>
                <a:gd name="T105" fmla="*/ 166 h 177"/>
                <a:gd name="T106" fmla="*/ 21 w 203"/>
                <a:gd name="T107" fmla="*/ 168 h 177"/>
                <a:gd name="T108" fmla="*/ 14 w 203"/>
                <a:gd name="T109" fmla="*/ 161 h 177"/>
                <a:gd name="T110" fmla="*/ 2 w 203"/>
                <a:gd name="T111" fmla="*/ 15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3" h="177">
                  <a:moveTo>
                    <a:pt x="0" y="149"/>
                  </a:moveTo>
                  <a:lnTo>
                    <a:pt x="0" y="137"/>
                  </a:lnTo>
                  <a:lnTo>
                    <a:pt x="0" y="121"/>
                  </a:lnTo>
                  <a:lnTo>
                    <a:pt x="0" y="102"/>
                  </a:lnTo>
                  <a:lnTo>
                    <a:pt x="0" y="85"/>
                  </a:lnTo>
                  <a:lnTo>
                    <a:pt x="18" y="85"/>
                  </a:lnTo>
                  <a:lnTo>
                    <a:pt x="37" y="85"/>
                  </a:lnTo>
                  <a:lnTo>
                    <a:pt x="35" y="85"/>
                  </a:lnTo>
                  <a:lnTo>
                    <a:pt x="33" y="83"/>
                  </a:lnTo>
                  <a:lnTo>
                    <a:pt x="33" y="83"/>
                  </a:lnTo>
                  <a:lnTo>
                    <a:pt x="33" y="78"/>
                  </a:lnTo>
                  <a:lnTo>
                    <a:pt x="35" y="73"/>
                  </a:lnTo>
                  <a:lnTo>
                    <a:pt x="35" y="71"/>
                  </a:lnTo>
                  <a:lnTo>
                    <a:pt x="35" y="66"/>
                  </a:lnTo>
                  <a:lnTo>
                    <a:pt x="35" y="62"/>
                  </a:lnTo>
                  <a:lnTo>
                    <a:pt x="35" y="57"/>
                  </a:lnTo>
                  <a:lnTo>
                    <a:pt x="35" y="57"/>
                  </a:lnTo>
                  <a:lnTo>
                    <a:pt x="35" y="55"/>
                  </a:lnTo>
                  <a:lnTo>
                    <a:pt x="35" y="52"/>
                  </a:lnTo>
                  <a:lnTo>
                    <a:pt x="35" y="50"/>
                  </a:lnTo>
                  <a:lnTo>
                    <a:pt x="37" y="50"/>
                  </a:lnTo>
                  <a:lnTo>
                    <a:pt x="35" y="47"/>
                  </a:lnTo>
                  <a:lnTo>
                    <a:pt x="35" y="47"/>
                  </a:lnTo>
                  <a:lnTo>
                    <a:pt x="37" y="47"/>
                  </a:lnTo>
                  <a:lnTo>
                    <a:pt x="40" y="47"/>
                  </a:lnTo>
                  <a:lnTo>
                    <a:pt x="40" y="47"/>
                  </a:lnTo>
                  <a:lnTo>
                    <a:pt x="42" y="50"/>
                  </a:lnTo>
                  <a:lnTo>
                    <a:pt x="42" y="55"/>
                  </a:lnTo>
                  <a:lnTo>
                    <a:pt x="42" y="55"/>
                  </a:lnTo>
                  <a:lnTo>
                    <a:pt x="44" y="57"/>
                  </a:lnTo>
                  <a:lnTo>
                    <a:pt x="47" y="55"/>
                  </a:lnTo>
                  <a:lnTo>
                    <a:pt x="49" y="55"/>
                  </a:lnTo>
                  <a:lnTo>
                    <a:pt x="52" y="55"/>
                  </a:lnTo>
                  <a:lnTo>
                    <a:pt x="54" y="52"/>
                  </a:lnTo>
                  <a:lnTo>
                    <a:pt x="56" y="55"/>
                  </a:lnTo>
                  <a:lnTo>
                    <a:pt x="59" y="57"/>
                  </a:lnTo>
                  <a:lnTo>
                    <a:pt x="59" y="59"/>
                  </a:lnTo>
                  <a:lnTo>
                    <a:pt x="63" y="62"/>
                  </a:lnTo>
                  <a:lnTo>
                    <a:pt x="68" y="64"/>
                  </a:lnTo>
                  <a:lnTo>
                    <a:pt x="73" y="66"/>
                  </a:lnTo>
                  <a:lnTo>
                    <a:pt x="78" y="66"/>
                  </a:lnTo>
                  <a:lnTo>
                    <a:pt x="80" y="66"/>
                  </a:lnTo>
                  <a:lnTo>
                    <a:pt x="85" y="64"/>
                  </a:lnTo>
                  <a:lnTo>
                    <a:pt x="87" y="64"/>
                  </a:lnTo>
                  <a:lnTo>
                    <a:pt x="89" y="64"/>
                  </a:lnTo>
                  <a:lnTo>
                    <a:pt x="94" y="69"/>
                  </a:lnTo>
                  <a:lnTo>
                    <a:pt x="99" y="71"/>
                  </a:lnTo>
                  <a:lnTo>
                    <a:pt x="104" y="73"/>
                  </a:lnTo>
                  <a:lnTo>
                    <a:pt x="106" y="73"/>
                  </a:lnTo>
                  <a:lnTo>
                    <a:pt x="108" y="76"/>
                  </a:lnTo>
                  <a:lnTo>
                    <a:pt x="111" y="78"/>
                  </a:lnTo>
                  <a:lnTo>
                    <a:pt x="111" y="81"/>
                  </a:lnTo>
                  <a:lnTo>
                    <a:pt x="115" y="85"/>
                  </a:lnTo>
                  <a:lnTo>
                    <a:pt x="120" y="88"/>
                  </a:lnTo>
                  <a:lnTo>
                    <a:pt x="122" y="88"/>
                  </a:lnTo>
                  <a:lnTo>
                    <a:pt x="125" y="90"/>
                  </a:lnTo>
                  <a:lnTo>
                    <a:pt x="127" y="90"/>
                  </a:lnTo>
                  <a:lnTo>
                    <a:pt x="130" y="88"/>
                  </a:lnTo>
                  <a:lnTo>
                    <a:pt x="130" y="88"/>
                  </a:lnTo>
                  <a:lnTo>
                    <a:pt x="130" y="88"/>
                  </a:lnTo>
                  <a:lnTo>
                    <a:pt x="132" y="90"/>
                  </a:lnTo>
                  <a:lnTo>
                    <a:pt x="134" y="90"/>
                  </a:lnTo>
                  <a:lnTo>
                    <a:pt x="134" y="90"/>
                  </a:lnTo>
                  <a:lnTo>
                    <a:pt x="134" y="90"/>
                  </a:lnTo>
                  <a:lnTo>
                    <a:pt x="134" y="88"/>
                  </a:lnTo>
                  <a:lnTo>
                    <a:pt x="134" y="85"/>
                  </a:lnTo>
                  <a:lnTo>
                    <a:pt x="134" y="73"/>
                  </a:lnTo>
                  <a:lnTo>
                    <a:pt x="134" y="71"/>
                  </a:lnTo>
                  <a:lnTo>
                    <a:pt x="132" y="71"/>
                  </a:lnTo>
                  <a:lnTo>
                    <a:pt x="130" y="73"/>
                  </a:lnTo>
                  <a:lnTo>
                    <a:pt x="125" y="73"/>
                  </a:lnTo>
                  <a:lnTo>
                    <a:pt x="122" y="71"/>
                  </a:lnTo>
                  <a:lnTo>
                    <a:pt x="120" y="71"/>
                  </a:lnTo>
                  <a:lnTo>
                    <a:pt x="115" y="66"/>
                  </a:lnTo>
                  <a:lnTo>
                    <a:pt x="115" y="64"/>
                  </a:lnTo>
                  <a:lnTo>
                    <a:pt x="113" y="64"/>
                  </a:lnTo>
                  <a:lnTo>
                    <a:pt x="113" y="62"/>
                  </a:lnTo>
                  <a:lnTo>
                    <a:pt x="113" y="59"/>
                  </a:lnTo>
                  <a:lnTo>
                    <a:pt x="115" y="55"/>
                  </a:lnTo>
                  <a:lnTo>
                    <a:pt x="120" y="43"/>
                  </a:lnTo>
                  <a:lnTo>
                    <a:pt x="120" y="40"/>
                  </a:lnTo>
                  <a:lnTo>
                    <a:pt x="120" y="33"/>
                  </a:lnTo>
                  <a:lnTo>
                    <a:pt x="120" y="29"/>
                  </a:lnTo>
                  <a:lnTo>
                    <a:pt x="118" y="22"/>
                  </a:lnTo>
                  <a:lnTo>
                    <a:pt x="118" y="19"/>
                  </a:lnTo>
                  <a:lnTo>
                    <a:pt x="118" y="17"/>
                  </a:lnTo>
                  <a:lnTo>
                    <a:pt x="120" y="14"/>
                  </a:lnTo>
                  <a:lnTo>
                    <a:pt x="120" y="12"/>
                  </a:lnTo>
                  <a:lnTo>
                    <a:pt x="122" y="7"/>
                  </a:lnTo>
                  <a:lnTo>
                    <a:pt x="122" y="7"/>
                  </a:lnTo>
                  <a:lnTo>
                    <a:pt x="125" y="7"/>
                  </a:lnTo>
                  <a:lnTo>
                    <a:pt x="125" y="7"/>
                  </a:lnTo>
                  <a:lnTo>
                    <a:pt x="130" y="5"/>
                  </a:lnTo>
                  <a:lnTo>
                    <a:pt x="148" y="0"/>
                  </a:lnTo>
                  <a:lnTo>
                    <a:pt x="151" y="3"/>
                  </a:lnTo>
                  <a:lnTo>
                    <a:pt x="148" y="5"/>
                  </a:lnTo>
                  <a:lnTo>
                    <a:pt x="151" y="7"/>
                  </a:lnTo>
                  <a:lnTo>
                    <a:pt x="151" y="7"/>
                  </a:lnTo>
                  <a:lnTo>
                    <a:pt x="153" y="10"/>
                  </a:lnTo>
                  <a:lnTo>
                    <a:pt x="158" y="12"/>
                  </a:lnTo>
                  <a:lnTo>
                    <a:pt x="160" y="7"/>
                  </a:lnTo>
                  <a:lnTo>
                    <a:pt x="163" y="7"/>
                  </a:lnTo>
                  <a:lnTo>
                    <a:pt x="165" y="7"/>
                  </a:lnTo>
                  <a:lnTo>
                    <a:pt x="167" y="12"/>
                  </a:lnTo>
                  <a:lnTo>
                    <a:pt x="170" y="12"/>
                  </a:lnTo>
                  <a:lnTo>
                    <a:pt x="170" y="14"/>
                  </a:lnTo>
                  <a:lnTo>
                    <a:pt x="174" y="14"/>
                  </a:lnTo>
                  <a:lnTo>
                    <a:pt x="184" y="19"/>
                  </a:lnTo>
                  <a:lnTo>
                    <a:pt x="186" y="19"/>
                  </a:lnTo>
                  <a:lnTo>
                    <a:pt x="189" y="22"/>
                  </a:lnTo>
                  <a:lnTo>
                    <a:pt x="191" y="22"/>
                  </a:lnTo>
                  <a:lnTo>
                    <a:pt x="191" y="22"/>
                  </a:lnTo>
                  <a:lnTo>
                    <a:pt x="191" y="24"/>
                  </a:lnTo>
                  <a:lnTo>
                    <a:pt x="191" y="24"/>
                  </a:lnTo>
                  <a:lnTo>
                    <a:pt x="191" y="26"/>
                  </a:lnTo>
                  <a:lnTo>
                    <a:pt x="193" y="26"/>
                  </a:lnTo>
                  <a:lnTo>
                    <a:pt x="196" y="26"/>
                  </a:lnTo>
                  <a:lnTo>
                    <a:pt x="198" y="29"/>
                  </a:lnTo>
                  <a:lnTo>
                    <a:pt x="198" y="31"/>
                  </a:lnTo>
                  <a:lnTo>
                    <a:pt x="198" y="36"/>
                  </a:lnTo>
                  <a:lnTo>
                    <a:pt x="200" y="36"/>
                  </a:lnTo>
                  <a:lnTo>
                    <a:pt x="203" y="43"/>
                  </a:lnTo>
                  <a:lnTo>
                    <a:pt x="203" y="43"/>
                  </a:lnTo>
                  <a:lnTo>
                    <a:pt x="203" y="45"/>
                  </a:lnTo>
                  <a:lnTo>
                    <a:pt x="203" y="45"/>
                  </a:lnTo>
                  <a:lnTo>
                    <a:pt x="200" y="47"/>
                  </a:lnTo>
                  <a:lnTo>
                    <a:pt x="200" y="47"/>
                  </a:lnTo>
                  <a:lnTo>
                    <a:pt x="198" y="50"/>
                  </a:lnTo>
                  <a:lnTo>
                    <a:pt x="198" y="52"/>
                  </a:lnTo>
                  <a:lnTo>
                    <a:pt x="198" y="55"/>
                  </a:lnTo>
                  <a:lnTo>
                    <a:pt x="196" y="59"/>
                  </a:lnTo>
                  <a:lnTo>
                    <a:pt x="198" y="62"/>
                  </a:lnTo>
                  <a:lnTo>
                    <a:pt x="198" y="66"/>
                  </a:lnTo>
                  <a:lnTo>
                    <a:pt x="196" y="71"/>
                  </a:lnTo>
                  <a:lnTo>
                    <a:pt x="198" y="73"/>
                  </a:lnTo>
                  <a:lnTo>
                    <a:pt x="198" y="73"/>
                  </a:lnTo>
                  <a:lnTo>
                    <a:pt x="200" y="76"/>
                  </a:lnTo>
                  <a:lnTo>
                    <a:pt x="200" y="76"/>
                  </a:lnTo>
                  <a:lnTo>
                    <a:pt x="200" y="78"/>
                  </a:lnTo>
                  <a:lnTo>
                    <a:pt x="196" y="78"/>
                  </a:lnTo>
                  <a:lnTo>
                    <a:pt x="196" y="81"/>
                  </a:lnTo>
                  <a:lnTo>
                    <a:pt x="193" y="81"/>
                  </a:lnTo>
                  <a:lnTo>
                    <a:pt x="193" y="81"/>
                  </a:lnTo>
                  <a:lnTo>
                    <a:pt x="191" y="85"/>
                  </a:lnTo>
                  <a:lnTo>
                    <a:pt x="191" y="90"/>
                  </a:lnTo>
                  <a:lnTo>
                    <a:pt x="191" y="95"/>
                  </a:lnTo>
                  <a:lnTo>
                    <a:pt x="189" y="97"/>
                  </a:lnTo>
                  <a:lnTo>
                    <a:pt x="189" y="97"/>
                  </a:lnTo>
                  <a:lnTo>
                    <a:pt x="189" y="102"/>
                  </a:lnTo>
                  <a:lnTo>
                    <a:pt x="189" y="102"/>
                  </a:lnTo>
                  <a:lnTo>
                    <a:pt x="191" y="104"/>
                  </a:lnTo>
                  <a:lnTo>
                    <a:pt x="193" y="104"/>
                  </a:lnTo>
                  <a:lnTo>
                    <a:pt x="193" y="104"/>
                  </a:lnTo>
                  <a:lnTo>
                    <a:pt x="193" y="104"/>
                  </a:lnTo>
                  <a:lnTo>
                    <a:pt x="191" y="104"/>
                  </a:lnTo>
                  <a:lnTo>
                    <a:pt x="139" y="123"/>
                  </a:lnTo>
                  <a:lnTo>
                    <a:pt x="141" y="128"/>
                  </a:lnTo>
                  <a:lnTo>
                    <a:pt x="141" y="133"/>
                  </a:lnTo>
                  <a:lnTo>
                    <a:pt x="144" y="133"/>
                  </a:lnTo>
                  <a:lnTo>
                    <a:pt x="144" y="133"/>
                  </a:lnTo>
                  <a:lnTo>
                    <a:pt x="141" y="133"/>
                  </a:lnTo>
                  <a:lnTo>
                    <a:pt x="139" y="133"/>
                  </a:lnTo>
                  <a:lnTo>
                    <a:pt x="137" y="133"/>
                  </a:lnTo>
                  <a:lnTo>
                    <a:pt x="134" y="133"/>
                  </a:lnTo>
                  <a:lnTo>
                    <a:pt x="134" y="133"/>
                  </a:lnTo>
                  <a:lnTo>
                    <a:pt x="130" y="135"/>
                  </a:lnTo>
                  <a:lnTo>
                    <a:pt x="125" y="135"/>
                  </a:lnTo>
                  <a:lnTo>
                    <a:pt x="122" y="135"/>
                  </a:lnTo>
                  <a:lnTo>
                    <a:pt x="120" y="137"/>
                  </a:lnTo>
                  <a:lnTo>
                    <a:pt x="118" y="137"/>
                  </a:lnTo>
                  <a:lnTo>
                    <a:pt x="115" y="140"/>
                  </a:lnTo>
                  <a:lnTo>
                    <a:pt x="115" y="142"/>
                  </a:lnTo>
                  <a:lnTo>
                    <a:pt x="115" y="144"/>
                  </a:lnTo>
                  <a:lnTo>
                    <a:pt x="115" y="147"/>
                  </a:lnTo>
                  <a:lnTo>
                    <a:pt x="115" y="147"/>
                  </a:lnTo>
                  <a:lnTo>
                    <a:pt x="115" y="149"/>
                  </a:lnTo>
                  <a:lnTo>
                    <a:pt x="115" y="149"/>
                  </a:lnTo>
                  <a:lnTo>
                    <a:pt x="113" y="149"/>
                  </a:lnTo>
                  <a:lnTo>
                    <a:pt x="108" y="149"/>
                  </a:lnTo>
                  <a:lnTo>
                    <a:pt x="106" y="149"/>
                  </a:lnTo>
                  <a:lnTo>
                    <a:pt x="106" y="151"/>
                  </a:lnTo>
                  <a:lnTo>
                    <a:pt x="106" y="151"/>
                  </a:lnTo>
                  <a:lnTo>
                    <a:pt x="104" y="154"/>
                  </a:lnTo>
                  <a:lnTo>
                    <a:pt x="101" y="154"/>
                  </a:lnTo>
                  <a:lnTo>
                    <a:pt x="99" y="154"/>
                  </a:lnTo>
                  <a:lnTo>
                    <a:pt x="99" y="156"/>
                  </a:lnTo>
                  <a:lnTo>
                    <a:pt x="96" y="156"/>
                  </a:lnTo>
                  <a:lnTo>
                    <a:pt x="96" y="156"/>
                  </a:lnTo>
                  <a:lnTo>
                    <a:pt x="94" y="161"/>
                  </a:lnTo>
                  <a:lnTo>
                    <a:pt x="92" y="163"/>
                  </a:lnTo>
                  <a:lnTo>
                    <a:pt x="89" y="166"/>
                  </a:lnTo>
                  <a:lnTo>
                    <a:pt x="89" y="168"/>
                  </a:lnTo>
                  <a:lnTo>
                    <a:pt x="89" y="168"/>
                  </a:lnTo>
                  <a:lnTo>
                    <a:pt x="87" y="170"/>
                  </a:lnTo>
                  <a:lnTo>
                    <a:pt x="87" y="173"/>
                  </a:lnTo>
                  <a:lnTo>
                    <a:pt x="85" y="175"/>
                  </a:lnTo>
                  <a:lnTo>
                    <a:pt x="82" y="175"/>
                  </a:lnTo>
                  <a:lnTo>
                    <a:pt x="80" y="177"/>
                  </a:lnTo>
                  <a:lnTo>
                    <a:pt x="78" y="175"/>
                  </a:lnTo>
                  <a:lnTo>
                    <a:pt x="78" y="175"/>
                  </a:lnTo>
                  <a:lnTo>
                    <a:pt x="78" y="173"/>
                  </a:lnTo>
                  <a:lnTo>
                    <a:pt x="73" y="175"/>
                  </a:lnTo>
                  <a:lnTo>
                    <a:pt x="73" y="173"/>
                  </a:lnTo>
                  <a:lnTo>
                    <a:pt x="68" y="175"/>
                  </a:lnTo>
                  <a:lnTo>
                    <a:pt x="63" y="173"/>
                  </a:lnTo>
                  <a:lnTo>
                    <a:pt x="56" y="173"/>
                  </a:lnTo>
                  <a:lnTo>
                    <a:pt x="56" y="173"/>
                  </a:lnTo>
                  <a:lnTo>
                    <a:pt x="54" y="173"/>
                  </a:lnTo>
                  <a:lnTo>
                    <a:pt x="52" y="173"/>
                  </a:lnTo>
                  <a:lnTo>
                    <a:pt x="49" y="168"/>
                  </a:lnTo>
                  <a:lnTo>
                    <a:pt x="49" y="166"/>
                  </a:lnTo>
                  <a:lnTo>
                    <a:pt x="44" y="166"/>
                  </a:lnTo>
                  <a:lnTo>
                    <a:pt x="37" y="166"/>
                  </a:lnTo>
                  <a:lnTo>
                    <a:pt x="37" y="166"/>
                  </a:lnTo>
                  <a:lnTo>
                    <a:pt x="23" y="168"/>
                  </a:lnTo>
                  <a:lnTo>
                    <a:pt x="21" y="168"/>
                  </a:lnTo>
                  <a:lnTo>
                    <a:pt x="18" y="168"/>
                  </a:lnTo>
                  <a:lnTo>
                    <a:pt x="16" y="166"/>
                  </a:lnTo>
                  <a:lnTo>
                    <a:pt x="14" y="163"/>
                  </a:lnTo>
                  <a:lnTo>
                    <a:pt x="14" y="161"/>
                  </a:lnTo>
                  <a:lnTo>
                    <a:pt x="9" y="159"/>
                  </a:lnTo>
                  <a:lnTo>
                    <a:pt x="7" y="156"/>
                  </a:lnTo>
                  <a:lnTo>
                    <a:pt x="4" y="154"/>
                  </a:lnTo>
                  <a:lnTo>
                    <a:pt x="2" y="151"/>
                  </a:lnTo>
                  <a:lnTo>
                    <a:pt x="0" y="149"/>
                  </a:lnTo>
                  <a:lnTo>
                    <a:pt x="0" y="149"/>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1" name="Freeform 883">
              <a:extLst>
                <a:ext uri="{FF2B5EF4-FFF2-40B4-BE49-F238E27FC236}">
                  <a16:creationId xmlns:a16="http://schemas.microsoft.com/office/drawing/2014/main" id="{D01F3FB6-1AF7-44CA-B9E0-D433A707BB7C}"/>
                </a:ext>
              </a:extLst>
            </p:cNvPr>
            <p:cNvSpPr>
              <a:spLocks/>
            </p:cNvSpPr>
            <p:nvPr/>
          </p:nvSpPr>
          <p:spPr bwMode="auto">
            <a:xfrm>
              <a:off x="5182435" y="3132101"/>
              <a:ext cx="7938" cy="3175"/>
            </a:xfrm>
            <a:custGeom>
              <a:avLst/>
              <a:gdLst>
                <a:gd name="T0" fmla="*/ 2 w 5"/>
                <a:gd name="T1" fmla="*/ 0 h 2"/>
                <a:gd name="T2" fmla="*/ 0 w 5"/>
                <a:gd name="T3" fmla="*/ 2 h 2"/>
                <a:gd name="T4" fmla="*/ 2 w 5"/>
                <a:gd name="T5" fmla="*/ 2 h 2"/>
                <a:gd name="T6" fmla="*/ 5 w 5"/>
                <a:gd name="T7" fmla="*/ 2 h 2"/>
                <a:gd name="T8" fmla="*/ 5 w 5"/>
                <a:gd name="T9" fmla="*/ 0 h 2"/>
                <a:gd name="T10" fmla="*/ 2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2" y="0"/>
                  </a:moveTo>
                  <a:lnTo>
                    <a:pt x="0" y="2"/>
                  </a:lnTo>
                  <a:lnTo>
                    <a:pt x="2" y="2"/>
                  </a:lnTo>
                  <a:lnTo>
                    <a:pt x="5" y="2"/>
                  </a:lnTo>
                  <a:lnTo>
                    <a:pt x="5"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2" name="Freeform 884">
              <a:extLst>
                <a:ext uri="{FF2B5EF4-FFF2-40B4-BE49-F238E27FC236}">
                  <a16:creationId xmlns:a16="http://schemas.microsoft.com/office/drawing/2014/main" id="{A8339BEF-DAE6-4047-9533-81074C57673C}"/>
                </a:ext>
              </a:extLst>
            </p:cNvPr>
            <p:cNvSpPr>
              <a:spLocks/>
            </p:cNvSpPr>
            <p:nvPr/>
          </p:nvSpPr>
          <p:spPr bwMode="auto">
            <a:xfrm>
              <a:off x="5182435" y="3132101"/>
              <a:ext cx="7938" cy="3175"/>
            </a:xfrm>
            <a:custGeom>
              <a:avLst/>
              <a:gdLst>
                <a:gd name="T0" fmla="*/ 2 w 5"/>
                <a:gd name="T1" fmla="*/ 0 h 2"/>
                <a:gd name="T2" fmla="*/ 0 w 5"/>
                <a:gd name="T3" fmla="*/ 2 h 2"/>
                <a:gd name="T4" fmla="*/ 2 w 5"/>
                <a:gd name="T5" fmla="*/ 2 h 2"/>
                <a:gd name="T6" fmla="*/ 5 w 5"/>
                <a:gd name="T7" fmla="*/ 2 h 2"/>
                <a:gd name="T8" fmla="*/ 5 w 5"/>
                <a:gd name="T9" fmla="*/ 0 h 2"/>
                <a:gd name="T10" fmla="*/ 2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2" y="0"/>
                  </a:moveTo>
                  <a:lnTo>
                    <a:pt x="0" y="2"/>
                  </a:lnTo>
                  <a:lnTo>
                    <a:pt x="2" y="2"/>
                  </a:lnTo>
                  <a:lnTo>
                    <a:pt x="5" y="2"/>
                  </a:lnTo>
                  <a:lnTo>
                    <a:pt x="5"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3" name="Freeform 887">
              <a:extLst>
                <a:ext uri="{FF2B5EF4-FFF2-40B4-BE49-F238E27FC236}">
                  <a16:creationId xmlns:a16="http://schemas.microsoft.com/office/drawing/2014/main" id="{9967DE29-2A89-46B8-AA52-C31BAB6D9113}"/>
                </a:ext>
              </a:extLst>
            </p:cNvPr>
            <p:cNvSpPr>
              <a:spLocks/>
            </p:cNvSpPr>
            <p:nvPr/>
          </p:nvSpPr>
          <p:spPr bwMode="auto">
            <a:xfrm>
              <a:off x="5107822" y="3389277"/>
              <a:ext cx="6350" cy="15875"/>
            </a:xfrm>
            <a:custGeom>
              <a:avLst/>
              <a:gdLst>
                <a:gd name="T0" fmla="*/ 4 w 4"/>
                <a:gd name="T1" fmla="*/ 0 h 10"/>
                <a:gd name="T2" fmla="*/ 4 w 4"/>
                <a:gd name="T3" fmla="*/ 3 h 10"/>
                <a:gd name="T4" fmla="*/ 4 w 4"/>
                <a:gd name="T5" fmla="*/ 5 h 10"/>
                <a:gd name="T6" fmla="*/ 2 w 4"/>
                <a:gd name="T7" fmla="*/ 10 h 10"/>
                <a:gd name="T8" fmla="*/ 0 w 4"/>
                <a:gd name="T9" fmla="*/ 10 h 10"/>
                <a:gd name="T10" fmla="*/ 0 w 4"/>
                <a:gd name="T11" fmla="*/ 8 h 10"/>
                <a:gd name="T12" fmla="*/ 2 w 4"/>
                <a:gd name="T13" fmla="*/ 0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3"/>
                  </a:lnTo>
                  <a:lnTo>
                    <a:pt x="4" y="5"/>
                  </a:lnTo>
                  <a:lnTo>
                    <a:pt x="2" y="10"/>
                  </a:lnTo>
                  <a:lnTo>
                    <a:pt x="0" y="10"/>
                  </a:lnTo>
                  <a:lnTo>
                    <a:pt x="0" y="8"/>
                  </a:lnTo>
                  <a:lnTo>
                    <a:pt x="2" y="0"/>
                  </a:lnTo>
                  <a:lnTo>
                    <a:pt x="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4" name="Freeform 888">
              <a:extLst>
                <a:ext uri="{FF2B5EF4-FFF2-40B4-BE49-F238E27FC236}">
                  <a16:creationId xmlns:a16="http://schemas.microsoft.com/office/drawing/2014/main" id="{794B3659-2DF3-4482-9162-9B133E768AFB}"/>
                </a:ext>
              </a:extLst>
            </p:cNvPr>
            <p:cNvSpPr>
              <a:spLocks/>
            </p:cNvSpPr>
            <p:nvPr/>
          </p:nvSpPr>
          <p:spPr bwMode="auto">
            <a:xfrm>
              <a:off x="5107822" y="3389277"/>
              <a:ext cx="6350" cy="15875"/>
            </a:xfrm>
            <a:custGeom>
              <a:avLst/>
              <a:gdLst>
                <a:gd name="T0" fmla="*/ 4 w 4"/>
                <a:gd name="T1" fmla="*/ 0 h 10"/>
                <a:gd name="T2" fmla="*/ 4 w 4"/>
                <a:gd name="T3" fmla="*/ 3 h 10"/>
                <a:gd name="T4" fmla="*/ 4 w 4"/>
                <a:gd name="T5" fmla="*/ 5 h 10"/>
                <a:gd name="T6" fmla="*/ 2 w 4"/>
                <a:gd name="T7" fmla="*/ 10 h 10"/>
                <a:gd name="T8" fmla="*/ 0 w 4"/>
                <a:gd name="T9" fmla="*/ 10 h 10"/>
                <a:gd name="T10" fmla="*/ 0 w 4"/>
                <a:gd name="T11" fmla="*/ 8 h 10"/>
                <a:gd name="T12" fmla="*/ 2 w 4"/>
                <a:gd name="T13" fmla="*/ 0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3"/>
                  </a:lnTo>
                  <a:lnTo>
                    <a:pt x="4" y="5"/>
                  </a:lnTo>
                  <a:lnTo>
                    <a:pt x="2" y="10"/>
                  </a:lnTo>
                  <a:lnTo>
                    <a:pt x="0" y="10"/>
                  </a:lnTo>
                  <a:lnTo>
                    <a:pt x="0" y="8"/>
                  </a:lnTo>
                  <a:lnTo>
                    <a:pt x="2" y="0"/>
                  </a:lnTo>
                  <a:lnTo>
                    <a:pt x="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5" name="Freeform 890">
              <a:extLst>
                <a:ext uri="{FF2B5EF4-FFF2-40B4-BE49-F238E27FC236}">
                  <a16:creationId xmlns:a16="http://schemas.microsoft.com/office/drawing/2014/main" id="{63C6E9DF-AA22-4780-89C3-840F7526AC4C}"/>
                </a:ext>
              </a:extLst>
            </p:cNvPr>
            <p:cNvSpPr>
              <a:spLocks/>
            </p:cNvSpPr>
            <p:nvPr/>
          </p:nvSpPr>
          <p:spPr bwMode="auto">
            <a:xfrm>
              <a:off x="4937961" y="3525802"/>
              <a:ext cx="68263" cy="52387"/>
            </a:xfrm>
            <a:custGeom>
              <a:avLst/>
              <a:gdLst>
                <a:gd name="T0" fmla="*/ 36 w 43"/>
                <a:gd name="T1" fmla="*/ 21 h 33"/>
                <a:gd name="T2" fmla="*/ 31 w 43"/>
                <a:gd name="T3" fmla="*/ 18 h 33"/>
                <a:gd name="T4" fmla="*/ 26 w 43"/>
                <a:gd name="T5" fmla="*/ 16 h 33"/>
                <a:gd name="T6" fmla="*/ 24 w 43"/>
                <a:gd name="T7" fmla="*/ 18 h 33"/>
                <a:gd name="T8" fmla="*/ 19 w 43"/>
                <a:gd name="T9" fmla="*/ 21 h 33"/>
                <a:gd name="T10" fmla="*/ 17 w 43"/>
                <a:gd name="T11" fmla="*/ 23 h 33"/>
                <a:gd name="T12" fmla="*/ 15 w 43"/>
                <a:gd name="T13" fmla="*/ 28 h 33"/>
                <a:gd name="T14" fmla="*/ 15 w 43"/>
                <a:gd name="T15" fmla="*/ 33 h 33"/>
                <a:gd name="T16" fmla="*/ 12 w 43"/>
                <a:gd name="T17" fmla="*/ 33 h 33"/>
                <a:gd name="T18" fmla="*/ 10 w 43"/>
                <a:gd name="T19" fmla="*/ 30 h 33"/>
                <a:gd name="T20" fmla="*/ 8 w 43"/>
                <a:gd name="T21" fmla="*/ 28 h 33"/>
                <a:gd name="T22" fmla="*/ 5 w 43"/>
                <a:gd name="T23" fmla="*/ 25 h 33"/>
                <a:gd name="T24" fmla="*/ 5 w 43"/>
                <a:gd name="T25" fmla="*/ 23 h 33"/>
                <a:gd name="T26" fmla="*/ 5 w 43"/>
                <a:gd name="T27" fmla="*/ 21 h 33"/>
                <a:gd name="T28" fmla="*/ 3 w 43"/>
                <a:gd name="T29" fmla="*/ 18 h 33"/>
                <a:gd name="T30" fmla="*/ 0 w 43"/>
                <a:gd name="T31" fmla="*/ 18 h 33"/>
                <a:gd name="T32" fmla="*/ 5 w 43"/>
                <a:gd name="T33" fmla="*/ 16 h 33"/>
                <a:gd name="T34" fmla="*/ 12 w 43"/>
                <a:gd name="T35" fmla="*/ 7 h 33"/>
                <a:gd name="T36" fmla="*/ 15 w 43"/>
                <a:gd name="T37" fmla="*/ 7 h 33"/>
                <a:gd name="T38" fmla="*/ 17 w 43"/>
                <a:gd name="T39" fmla="*/ 7 h 33"/>
                <a:gd name="T40" fmla="*/ 22 w 43"/>
                <a:gd name="T41" fmla="*/ 7 h 33"/>
                <a:gd name="T42" fmla="*/ 24 w 43"/>
                <a:gd name="T43" fmla="*/ 7 h 33"/>
                <a:gd name="T44" fmla="*/ 24 w 43"/>
                <a:gd name="T45" fmla="*/ 2 h 33"/>
                <a:gd name="T46" fmla="*/ 29 w 43"/>
                <a:gd name="T47" fmla="*/ 0 h 33"/>
                <a:gd name="T48" fmla="*/ 31 w 43"/>
                <a:gd name="T49" fmla="*/ 0 h 33"/>
                <a:gd name="T50" fmla="*/ 36 w 43"/>
                <a:gd name="T51" fmla="*/ 0 h 33"/>
                <a:gd name="T52" fmla="*/ 38 w 43"/>
                <a:gd name="T53" fmla="*/ 2 h 33"/>
                <a:gd name="T54" fmla="*/ 41 w 43"/>
                <a:gd name="T55" fmla="*/ 2 h 33"/>
                <a:gd name="T56" fmla="*/ 43 w 43"/>
                <a:gd name="T57" fmla="*/ 9 h 33"/>
                <a:gd name="T58" fmla="*/ 43 w 43"/>
                <a:gd name="T59" fmla="*/ 9 h 33"/>
                <a:gd name="T60" fmla="*/ 43 w 43"/>
                <a:gd name="T61" fmla="*/ 14 h 33"/>
                <a:gd name="T62" fmla="*/ 41 w 43"/>
                <a:gd name="T63" fmla="*/ 14 h 33"/>
                <a:gd name="T64" fmla="*/ 38 w 43"/>
                <a:gd name="T65" fmla="*/ 16 h 33"/>
                <a:gd name="T66" fmla="*/ 36 w 43"/>
                <a:gd name="T67" fmla="*/ 18 h 33"/>
                <a:gd name="T68" fmla="*/ 36 w 43"/>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33">
                  <a:moveTo>
                    <a:pt x="36" y="21"/>
                  </a:moveTo>
                  <a:lnTo>
                    <a:pt x="31" y="18"/>
                  </a:lnTo>
                  <a:lnTo>
                    <a:pt x="26" y="16"/>
                  </a:lnTo>
                  <a:lnTo>
                    <a:pt x="24" y="18"/>
                  </a:lnTo>
                  <a:lnTo>
                    <a:pt x="19" y="21"/>
                  </a:lnTo>
                  <a:lnTo>
                    <a:pt x="17" y="23"/>
                  </a:lnTo>
                  <a:lnTo>
                    <a:pt x="15" y="28"/>
                  </a:lnTo>
                  <a:lnTo>
                    <a:pt x="15" y="33"/>
                  </a:lnTo>
                  <a:lnTo>
                    <a:pt x="12" y="33"/>
                  </a:lnTo>
                  <a:lnTo>
                    <a:pt x="10" y="30"/>
                  </a:lnTo>
                  <a:lnTo>
                    <a:pt x="8" y="28"/>
                  </a:lnTo>
                  <a:lnTo>
                    <a:pt x="5" y="25"/>
                  </a:lnTo>
                  <a:lnTo>
                    <a:pt x="5" y="23"/>
                  </a:lnTo>
                  <a:lnTo>
                    <a:pt x="5" y="21"/>
                  </a:lnTo>
                  <a:lnTo>
                    <a:pt x="3" y="18"/>
                  </a:lnTo>
                  <a:lnTo>
                    <a:pt x="0" y="18"/>
                  </a:lnTo>
                  <a:lnTo>
                    <a:pt x="5" y="16"/>
                  </a:lnTo>
                  <a:lnTo>
                    <a:pt x="12" y="7"/>
                  </a:lnTo>
                  <a:lnTo>
                    <a:pt x="15" y="7"/>
                  </a:lnTo>
                  <a:lnTo>
                    <a:pt x="17" y="7"/>
                  </a:lnTo>
                  <a:lnTo>
                    <a:pt x="22" y="7"/>
                  </a:lnTo>
                  <a:lnTo>
                    <a:pt x="24" y="7"/>
                  </a:lnTo>
                  <a:lnTo>
                    <a:pt x="24" y="2"/>
                  </a:lnTo>
                  <a:lnTo>
                    <a:pt x="29" y="0"/>
                  </a:lnTo>
                  <a:lnTo>
                    <a:pt x="31" y="0"/>
                  </a:lnTo>
                  <a:lnTo>
                    <a:pt x="36" y="0"/>
                  </a:lnTo>
                  <a:lnTo>
                    <a:pt x="38" y="2"/>
                  </a:lnTo>
                  <a:lnTo>
                    <a:pt x="41" y="2"/>
                  </a:lnTo>
                  <a:lnTo>
                    <a:pt x="43" y="9"/>
                  </a:lnTo>
                  <a:lnTo>
                    <a:pt x="43" y="9"/>
                  </a:lnTo>
                  <a:lnTo>
                    <a:pt x="43" y="14"/>
                  </a:lnTo>
                  <a:lnTo>
                    <a:pt x="41" y="14"/>
                  </a:lnTo>
                  <a:lnTo>
                    <a:pt x="38" y="16"/>
                  </a:lnTo>
                  <a:lnTo>
                    <a:pt x="36" y="18"/>
                  </a:lnTo>
                  <a:lnTo>
                    <a:pt x="36" y="2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6" name="Freeform 891">
              <a:extLst>
                <a:ext uri="{FF2B5EF4-FFF2-40B4-BE49-F238E27FC236}">
                  <a16:creationId xmlns:a16="http://schemas.microsoft.com/office/drawing/2014/main" id="{3B9BF4DE-289D-4CCF-A5A1-04B30B528BF4}"/>
                </a:ext>
              </a:extLst>
            </p:cNvPr>
            <p:cNvSpPr>
              <a:spLocks/>
            </p:cNvSpPr>
            <p:nvPr/>
          </p:nvSpPr>
          <p:spPr bwMode="auto">
            <a:xfrm>
              <a:off x="5006222" y="3517865"/>
              <a:ext cx="11113" cy="11112"/>
            </a:xfrm>
            <a:custGeom>
              <a:avLst/>
              <a:gdLst>
                <a:gd name="T0" fmla="*/ 7 w 7"/>
                <a:gd name="T1" fmla="*/ 0 h 7"/>
                <a:gd name="T2" fmla="*/ 2 w 7"/>
                <a:gd name="T3" fmla="*/ 2 h 7"/>
                <a:gd name="T4" fmla="*/ 0 w 7"/>
                <a:gd name="T5" fmla="*/ 7 h 7"/>
                <a:gd name="T6" fmla="*/ 2 w 7"/>
                <a:gd name="T7" fmla="*/ 7 h 7"/>
                <a:gd name="T8" fmla="*/ 5 w 7"/>
                <a:gd name="T9" fmla="*/ 7 h 7"/>
                <a:gd name="T10" fmla="*/ 5 w 7"/>
                <a:gd name="T11" fmla="*/ 2 h 7"/>
                <a:gd name="T12" fmla="*/ 7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lnTo>
                    <a:pt x="2" y="2"/>
                  </a:lnTo>
                  <a:lnTo>
                    <a:pt x="0" y="7"/>
                  </a:lnTo>
                  <a:lnTo>
                    <a:pt x="2" y="7"/>
                  </a:lnTo>
                  <a:lnTo>
                    <a:pt x="5" y="7"/>
                  </a:lnTo>
                  <a:lnTo>
                    <a:pt x="5" y="2"/>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7" name="Freeform 892">
              <a:extLst>
                <a:ext uri="{FF2B5EF4-FFF2-40B4-BE49-F238E27FC236}">
                  <a16:creationId xmlns:a16="http://schemas.microsoft.com/office/drawing/2014/main" id="{223867D3-063E-4613-B141-8D7256900D47}"/>
                </a:ext>
              </a:extLst>
            </p:cNvPr>
            <p:cNvSpPr>
              <a:spLocks/>
            </p:cNvSpPr>
            <p:nvPr/>
          </p:nvSpPr>
          <p:spPr bwMode="auto">
            <a:xfrm>
              <a:off x="5006222" y="3517865"/>
              <a:ext cx="11113" cy="11112"/>
            </a:xfrm>
            <a:custGeom>
              <a:avLst/>
              <a:gdLst>
                <a:gd name="T0" fmla="*/ 7 w 7"/>
                <a:gd name="T1" fmla="*/ 0 h 7"/>
                <a:gd name="T2" fmla="*/ 2 w 7"/>
                <a:gd name="T3" fmla="*/ 2 h 7"/>
                <a:gd name="T4" fmla="*/ 0 w 7"/>
                <a:gd name="T5" fmla="*/ 7 h 7"/>
                <a:gd name="T6" fmla="*/ 2 w 7"/>
                <a:gd name="T7" fmla="*/ 7 h 7"/>
                <a:gd name="T8" fmla="*/ 5 w 7"/>
                <a:gd name="T9" fmla="*/ 7 h 7"/>
                <a:gd name="T10" fmla="*/ 5 w 7"/>
                <a:gd name="T11" fmla="*/ 2 h 7"/>
                <a:gd name="T12" fmla="*/ 7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lnTo>
                    <a:pt x="2" y="2"/>
                  </a:lnTo>
                  <a:lnTo>
                    <a:pt x="0" y="7"/>
                  </a:lnTo>
                  <a:lnTo>
                    <a:pt x="2" y="7"/>
                  </a:lnTo>
                  <a:lnTo>
                    <a:pt x="5" y="7"/>
                  </a:lnTo>
                  <a:lnTo>
                    <a:pt x="5" y="2"/>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8" name="Freeform 939">
              <a:extLst>
                <a:ext uri="{FF2B5EF4-FFF2-40B4-BE49-F238E27FC236}">
                  <a16:creationId xmlns:a16="http://schemas.microsoft.com/office/drawing/2014/main" id="{56C2B625-5A4A-4B0A-BCD2-E6DF0C532508}"/>
                </a:ext>
              </a:extLst>
            </p:cNvPr>
            <p:cNvSpPr>
              <a:spLocks/>
            </p:cNvSpPr>
            <p:nvPr/>
          </p:nvSpPr>
          <p:spPr bwMode="auto">
            <a:xfrm>
              <a:off x="2170952" y="3476590"/>
              <a:ext cx="63500" cy="36512"/>
            </a:xfrm>
            <a:custGeom>
              <a:avLst/>
              <a:gdLst>
                <a:gd name="T0" fmla="*/ 31 w 40"/>
                <a:gd name="T1" fmla="*/ 5 h 23"/>
                <a:gd name="T2" fmla="*/ 36 w 40"/>
                <a:gd name="T3" fmla="*/ 5 h 23"/>
                <a:gd name="T4" fmla="*/ 38 w 40"/>
                <a:gd name="T5" fmla="*/ 2 h 23"/>
                <a:gd name="T6" fmla="*/ 40 w 40"/>
                <a:gd name="T7" fmla="*/ 0 h 23"/>
                <a:gd name="T8" fmla="*/ 40 w 40"/>
                <a:gd name="T9" fmla="*/ 0 h 23"/>
                <a:gd name="T10" fmla="*/ 40 w 40"/>
                <a:gd name="T11" fmla="*/ 2 h 23"/>
                <a:gd name="T12" fmla="*/ 38 w 40"/>
                <a:gd name="T13" fmla="*/ 7 h 23"/>
                <a:gd name="T14" fmla="*/ 36 w 40"/>
                <a:gd name="T15" fmla="*/ 7 h 23"/>
                <a:gd name="T16" fmla="*/ 31 w 40"/>
                <a:gd name="T17" fmla="*/ 12 h 23"/>
                <a:gd name="T18" fmla="*/ 33 w 40"/>
                <a:gd name="T19" fmla="*/ 14 h 23"/>
                <a:gd name="T20" fmla="*/ 31 w 40"/>
                <a:gd name="T21" fmla="*/ 16 h 23"/>
                <a:gd name="T22" fmla="*/ 26 w 40"/>
                <a:gd name="T23" fmla="*/ 16 h 23"/>
                <a:gd name="T24" fmla="*/ 24 w 40"/>
                <a:gd name="T25" fmla="*/ 21 h 23"/>
                <a:gd name="T26" fmla="*/ 19 w 40"/>
                <a:gd name="T27" fmla="*/ 21 h 23"/>
                <a:gd name="T28" fmla="*/ 14 w 40"/>
                <a:gd name="T29" fmla="*/ 23 h 23"/>
                <a:gd name="T30" fmla="*/ 10 w 40"/>
                <a:gd name="T31" fmla="*/ 23 h 23"/>
                <a:gd name="T32" fmla="*/ 5 w 40"/>
                <a:gd name="T33" fmla="*/ 21 h 23"/>
                <a:gd name="T34" fmla="*/ 2 w 40"/>
                <a:gd name="T35" fmla="*/ 19 h 23"/>
                <a:gd name="T36" fmla="*/ 0 w 40"/>
                <a:gd name="T37" fmla="*/ 14 h 23"/>
                <a:gd name="T38" fmla="*/ 5 w 40"/>
                <a:gd name="T39" fmla="*/ 14 h 23"/>
                <a:gd name="T40" fmla="*/ 7 w 40"/>
                <a:gd name="T41" fmla="*/ 12 h 23"/>
                <a:gd name="T42" fmla="*/ 12 w 40"/>
                <a:gd name="T43" fmla="*/ 12 h 23"/>
                <a:gd name="T44" fmla="*/ 14 w 40"/>
                <a:gd name="T45" fmla="*/ 12 h 23"/>
                <a:gd name="T46" fmla="*/ 14 w 40"/>
                <a:gd name="T47" fmla="*/ 7 h 23"/>
                <a:gd name="T48" fmla="*/ 14 w 40"/>
                <a:gd name="T49" fmla="*/ 9 h 23"/>
                <a:gd name="T50" fmla="*/ 21 w 40"/>
                <a:gd name="T51" fmla="*/ 9 h 23"/>
                <a:gd name="T52" fmla="*/ 31 w 40"/>
                <a:gd name="T53"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23">
                  <a:moveTo>
                    <a:pt x="31" y="5"/>
                  </a:moveTo>
                  <a:lnTo>
                    <a:pt x="36" y="5"/>
                  </a:lnTo>
                  <a:lnTo>
                    <a:pt x="38" y="2"/>
                  </a:lnTo>
                  <a:lnTo>
                    <a:pt x="40" y="0"/>
                  </a:lnTo>
                  <a:lnTo>
                    <a:pt x="40" y="0"/>
                  </a:lnTo>
                  <a:lnTo>
                    <a:pt x="40" y="2"/>
                  </a:lnTo>
                  <a:lnTo>
                    <a:pt x="38" y="7"/>
                  </a:lnTo>
                  <a:lnTo>
                    <a:pt x="36" y="7"/>
                  </a:lnTo>
                  <a:lnTo>
                    <a:pt x="31" y="12"/>
                  </a:lnTo>
                  <a:lnTo>
                    <a:pt x="33" y="14"/>
                  </a:lnTo>
                  <a:lnTo>
                    <a:pt x="31" y="16"/>
                  </a:lnTo>
                  <a:lnTo>
                    <a:pt x="26" y="16"/>
                  </a:lnTo>
                  <a:lnTo>
                    <a:pt x="24" y="21"/>
                  </a:lnTo>
                  <a:lnTo>
                    <a:pt x="19" y="21"/>
                  </a:lnTo>
                  <a:lnTo>
                    <a:pt x="14" y="23"/>
                  </a:lnTo>
                  <a:lnTo>
                    <a:pt x="10" y="23"/>
                  </a:lnTo>
                  <a:lnTo>
                    <a:pt x="5" y="21"/>
                  </a:lnTo>
                  <a:lnTo>
                    <a:pt x="2" y="19"/>
                  </a:lnTo>
                  <a:lnTo>
                    <a:pt x="0" y="14"/>
                  </a:lnTo>
                  <a:lnTo>
                    <a:pt x="5" y="14"/>
                  </a:lnTo>
                  <a:lnTo>
                    <a:pt x="7" y="12"/>
                  </a:lnTo>
                  <a:lnTo>
                    <a:pt x="12" y="12"/>
                  </a:lnTo>
                  <a:lnTo>
                    <a:pt x="14" y="12"/>
                  </a:lnTo>
                  <a:lnTo>
                    <a:pt x="14" y="7"/>
                  </a:lnTo>
                  <a:lnTo>
                    <a:pt x="14" y="9"/>
                  </a:lnTo>
                  <a:lnTo>
                    <a:pt x="21" y="9"/>
                  </a:lnTo>
                  <a:lnTo>
                    <a:pt x="31"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49" name="Freeform 940">
              <a:extLst>
                <a:ext uri="{FF2B5EF4-FFF2-40B4-BE49-F238E27FC236}">
                  <a16:creationId xmlns:a16="http://schemas.microsoft.com/office/drawing/2014/main" id="{69F80173-5E75-4451-82CC-E1C5B8EE289B}"/>
                </a:ext>
              </a:extLst>
            </p:cNvPr>
            <p:cNvSpPr>
              <a:spLocks/>
            </p:cNvSpPr>
            <p:nvPr/>
          </p:nvSpPr>
          <p:spPr bwMode="auto">
            <a:xfrm>
              <a:off x="2170952" y="3476590"/>
              <a:ext cx="63500" cy="36512"/>
            </a:xfrm>
            <a:custGeom>
              <a:avLst/>
              <a:gdLst>
                <a:gd name="T0" fmla="*/ 31 w 40"/>
                <a:gd name="T1" fmla="*/ 5 h 23"/>
                <a:gd name="T2" fmla="*/ 36 w 40"/>
                <a:gd name="T3" fmla="*/ 5 h 23"/>
                <a:gd name="T4" fmla="*/ 38 w 40"/>
                <a:gd name="T5" fmla="*/ 2 h 23"/>
                <a:gd name="T6" fmla="*/ 40 w 40"/>
                <a:gd name="T7" fmla="*/ 0 h 23"/>
                <a:gd name="T8" fmla="*/ 40 w 40"/>
                <a:gd name="T9" fmla="*/ 0 h 23"/>
                <a:gd name="T10" fmla="*/ 40 w 40"/>
                <a:gd name="T11" fmla="*/ 2 h 23"/>
                <a:gd name="T12" fmla="*/ 38 w 40"/>
                <a:gd name="T13" fmla="*/ 7 h 23"/>
                <a:gd name="T14" fmla="*/ 36 w 40"/>
                <a:gd name="T15" fmla="*/ 7 h 23"/>
                <a:gd name="T16" fmla="*/ 31 w 40"/>
                <a:gd name="T17" fmla="*/ 12 h 23"/>
                <a:gd name="T18" fmla="*/ 33 w 40"/>
                <a:gd name="T19" fmla="*/ 14 h 23"/>
                <a:gd name="T20" fmla="*/ 31 w 40"/>
                <a:gd name="T21" fmla="*/ 16 h 23"/>
                <a:gd name="T22" fmla="*/ 26 w 40"/>
                <a:gd name="T23" fmla="*/ 16 h 23"/>
                <a:gd name="T24" fmla="*/ 24 w 40"/>
                <a:gd name="T25" fmla="*/ 21 h 23"/>
                <a:gd name="T26" fmla="*/ 19 w 40"/>
                <a:gd name="T27" fmla="*/ 21 h 23"/>
                <a:gd name="T28" fmla="*/ 14 w 40"/>
                <a:gd name="T29" fmla="*/ 23 h 23"/>
                <a:gd name="T30" fmla="*/ 10 w 40"/>
                <a:gd name="T31" fmla="*/ 23 h 23"/>
                <a:gd name="T32" fmla="*/ 5 w 40"/>
                <a:gd name="T33" fmla="*/ 21 h 23"/>
                <a:gd name="T34" fmla="*/ 2 w 40"/>
                <a:gd name="T35" fmla="*/ 19 h 23"/>
                <a:gd name="T36" fmla="*/ 0 w 40"/>
                <a:gd name="T37" fmla="*/ 14 h 23"/>
                <a:gd name="T38" fmla="*/ 5 w 40"/>
                <a:gd name="T39" fmla="*/ 14 h 23"/>
                <a:gd name="T40" fmla="*/ 7 w 40"/>
                <a:gd name="T41" fmla="*/ 12 h 23"/>
                <a:gd name="T42" fmla="*/ 12 w 40"/>
                <a:gd name="T43" fmla="*/ 12 h 23"/>
                <a:gd name="T44" fmla="*/ 14 w 40"/>
                <a:gd name="T45" fmla="*/ 12 h 23"/>
                <a:gd name="T46" fmla="*/ 14 w 40"/>
                <a:gd name="T47" fmla="*/ 7 h 23"/>
                <a:gd name="T48" fmla="*/ 14 w 40"/>
                <a:gd name="T49" fmla="*/ 9 h 23"/>
                <a:gd name="T50" fmla="*/ 21 w 40"/>
                <a:gd name="T51" fmla="*/ 9 h 23"/>
                <a:gd name="T52" fmla="*/ 31 w 40"/>
                <a:gd name="T53"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23">
                  <a:moveTo>
                    <a:pt x="31" y="5"/>
                  </a:moveTo>
                  <a:lnTo>
                    <a:pt x="36" y="5"/>
                  </a:lnTo>
                  <a:lnTo>
                    <a:pt x="38" y="2"/>
                  </a:lnTo>
                  <a:lnTo>
                    <a:pt x="40" y="0"/>
                  </a:lnTo>
                  <a:lnTo>
                    <a:pt x="40" y="0"/>
                  </a:lnTo>
                  <a:lnTo>
                    <a:pt x="40" y="2"/>
                  </a:lnTo>
                  <a:lnTo>
                    <a:pt x="38" y="7"/>
                  </a:lnTo>
                  <a:lnTo>
                    <a:pt x="36" y="7"/>
                  </a:lnTo>
                  <a:lnTo>
                    <a:pt x="31" y="12"/>
                  </a:lnTo>
                  <a:lnTo>
                    <a:pt x="33" y="14"/>
                  </a:lnTo>
                  <a:lnTo>
                    <a:pt x="31" y="16"/>
                  </a:lnTo>
                  <a:lnTo>
                    <a:pt x="26" y="16"/>
                  </a:lnTo>
                  <a:lnTo>
                    <a:pt x="24" y="21"/>
                  </a:lnTo>
                  <a:lnTo>
                    <a:pt x="19" y="21"/>
                  </a:lnTo>
                  <a:lnTo>
                    <a:pt x="14" y="23"/>
                  </a:lnTo>
                  <a:lnTo>
                    <a:pt x="10" y="23"/>
                  </a:lnTo>
                  <a:lnTo>
                    <a:pt x="5" y="21"/>
                  </a:lnTo>
                  <a:lnTo>
                    <a:pt x="2" y="19"/>
                  </a:lnTo>
                  <a:lnTo>
                    <a:pt x="0" y="14"/>
                  </a:lnTo>
                  <a:lnTo>
                    <a:pt x="5" y="14"/>
                  </a:lnTo>
                  <a:lnTo>
                    <a:pt x="7" y="12"/>
                  </a:lnTo>
                  <a:lnTo>
                    <a:pt x="12" y="12"/>
                  </a:lnTo>
                  <a:lnTo>
                    <a:pt x="14" y="12"/>
                  </a:lnTo>
                  <a:lnTo>
                    <a:pt x="14" y="7"/>
                  </a:lnTo>
                  <a:lnTo>
                    <a:pt x="14" y="9"/>
                  </a:lnTo>
                  <a:lnTo>
                    <a:pt x="21" y="9"/>
                  </a:lnTo>
                  <a:lnTo>
                    <a:pt x="31"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0" name="Freeform 943">
              <a:extLst>
                <a:ext uri="{FF2B5EF4-FFF2-40B4-BE49-F238E27FC236}">
                  <a16:creationId xmlns:a16="http://schemas.microsoft.com/office/drawing/2014/main" id="{8EAA6E32-3256-425B-AC60-389E121899EF}"/>
                </a:ext>
              </a:extLst>
            </p:cNvPr>
            <p:cNvSpPr>
              <a:spLocks/>
            </p:cNvSpPr>
            <p:nvPr/>
          </p:nvSpPr>
          <p:spPr bwMode="auto">
            <a:xfrm>
              <a:off x="881905" y="3705190"/>
              <a:ext cx="14288" cy="19050"/>
            </a:xfrm>
            <a:custGeom>
              <a:avLst/>
              <a:gdLst>
                <a:gd name="T0" fmla="*/ 9 w 9"/>
                <a:gd name="T1" fmla="*/ 0 h 12"/>
                <a:gd name="T2" fmla="*/ 9 w 9"/>
                <a:gd name="T3" fmla="*/ 0 h 12"/>
                <a:gd name="T4" fmla="*/ 7 w 9"/>
                <a:gd name="T5" fmla="*/ 0 h 12"/>
                <a:gd name="T6" fmla="*/ 4 w 9"/>
                <a:gd name="T7" fmla="*/ 2 h 12"/>
                <a:gd name="T8" fmla="*/ 4 w 9"/>
                <a:gd name="T9" fmla="*/ 5 h 12"/>
                <a:gd name="T10" fmla="*/ 2 w 9"/>
                <a:gd name="T11" fmla="*/ 9 h 12"/>
                <a:gd name="T12" fmla="*/ 2 w 9"/>
                <a:gd name="T13" fmla="*/ 12 h 12"/>
                <a:gd name="T14" fmla="*/ 0 w 9"/>
                <a:gd name="T15" fmla="*/ 12 h 12"/>
                <a:gd name="T16" fmla="*/ 7 w 9"/>
                <a:gd name="T17" fmla="*/ 9 h 12"/>
                <a:gd name="T18" fmla="*/ 7 w 9"/>
                <a:gd name="T19" fmla="*/ 7 h 12"/>
                <a:gd name="T20" fmla="*/ 9 w 9"/>
                <a:gd name="T21" fmla="*/ 5 h 12"/>
                <a:gd name="T22" fmla="*/ 9 w 9"/>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0"/>
                  </a:moveTo>
                  <a:lnTo>
                    <a:pt x="9" y="0"/>
                  </a:lnTo>
                  <a:lnTo>
                    <a:pt x="7" y="0"/>
                  </a:lnTo>
                  <a:lnTo>
                    <a:pt x="4" y="2"/>
                  </a:lnTo>
                  <a:lnTo>
                    <a:pt x="4" y="5"/>
                  </a:lnTo>
                  <a:lnTo>
                    <a:pt x="2" y="9"/>
                  </a:lnTo>
                  <a:lnTo>
                    <a:pt x="2" y="12"/>
                  </a:lnTo>
                  <a:lnTo>
                    <a:pt x="0" y="12"/>
                  </a:lnTo>
                  <a:lnTo>
                    <a:pt x="7" y="9"/>
                  </a:lnTo>
                  <a:lnTo>
                    <a:pt x="7" y="7"/>
                  </a:lnTo>
                  <a:lnTo>
                    <a:pt x="9" y="5"/>
                  </a:lnTo>
                  <a:lnTo>
                    <a:pt x="9"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1" name="Freeform 944">
              <a:extLst>
                <a:ext uri="{FF2B5EF4-FFF2-40B4-BE49-F238E27FC236}">
                  <a16:creationId xmlns:a16="http://schemas.microsoft.com/office/drawing/2014/main" id="{3B112FD9-7E4B-43B7-8925-A5F4EFEC5923}"/>
                </a:ext>
              </a:extLst>
            </p:cNvPr>
            <p:cNvSpPr>
              <a:spLocks/>
            </p:cNvSpPr>
            <p:nvPr/>
          </p:nvSpPr>
          <p:spPr bwMode="auto">
            <a:xfrm>
              <a:off x="881905" y="3705190"/>
              <a:ext cx="14288" cy="19050"/>
            </a:xfrm>
            <a:custGeom>
              <a:avLst/>
              <a:gdLst>
                <a:gd name="T0" fmla="*/ 9 w 9"/>
                <a:gd name="T1" fmla="*/ 0 h 12"/>
                <a:gd name="T2" fmla="*/ 9 w 9"/>
                <a:gd name="T3" fmla="*/ 0 h 12"/>
                <a:gd name="T4" fmla="*/ 7 w 9"/>
                <a:gd name="T5" fmla="*/ 0 h 12"/>
                <a:gd name="T6" fmla="*/ 4 w 9"/>
                <a:gd name="T7" fmla="*/ 2 h 12"/>
                <a:gd name="T8" fmla="*/ 4 w 9"/>
                <a:gd name="T9" fmla="*/ 5 h 12"/>
                <a:gd name="T10" fmla="*/ 2 w 9"/>
                <a:gd name="T11" fmla="*/ 9 h 12"/>
                <a:gd name="T12" fmla="*/ 2 w 9"/>
                <a:gd name="T13" fmla="*/ 12 h 12"/>
                <a:gd name="T14" fmla="*/ 0 w 9"/>
                <a:gd name="T15" fmla="*/ 12 h 12"/>
                <a:gd name="T16" fmla="*/ 7 w 9"/>
                <a:gd name="T17" fmla="*/ 9 h 12"/>
                <a:gd name="T18" fmla="*/ 7 w 9"/>
                <a:gd name="T19" fmla="*/ 7 h 12"/>
                <a:gd name="T20" fmla="*/ 9 w 9"/>
                <a:gd name="T21" fmla="*/ 5 h 12"/>
                <a:gd name="T22" fmla="*/ 9 w 9"/>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0"/>
                  </a:moveTo>
                  <a:lnTo>
                    <a:pt x="9" y="0"/>
                  </a:lnTo>
                  <a:lnTo>
                    <a:pt x="7" y="0"/>
                  </a:lnTo>
                  <a:lnTo>
                    <a:pt x="4" y="2"/>
                  </a:lnTo>
                  <a:lnTo>
                    <a:pt x="4" y="5"/>
                  </a:lnTo>
                  <a:lnTo>
                    <a:pt x="2" y="9"/>
                  </a:lnTo>
                  <a:lnTo>
                    <a:pt x="2" y="12"/>
                  </a:lnTo>
                  <a:lnTo>
                    <a:pt x="0" y="12"/>
                  </a:lnTo>
                  <a:lnTo>
                    <a:pt x="7" y="9"/>
                  </a:lnTo>
                  <a:lnTo>
                    <a:pt x="7" y="7"/>
                  </a:lnTo>
                  <a:lnTo>
                    <a:pt x="9" y="5"/>
                  </a:lnTo>
                  <a:lnTo>
                    <a:pt x="9"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2" name="Freeform 945">
              <a:extLst>
                <a:ext uri="{FF2B5EF4-FFF2-40B4-BE49-F238E27FC236}">
                  <a16:creationId xmlns:a16="http://schemas.microsoft.com/office/drawing/2014/main" id="{77FABD41-5AEF-4280-99BE-871DCBD2B36B}"/>
                </a:ext>
              </a:extLst>
            </p:cNvPr>
            <p:cNvSpPr>
              <a:spLocks/>
            </p:cNvSpPr>
            <p:nvPr/>
          </p:nvSpPr>
          <p:spPr bwMode="auto">
            <a:xfrm>
              <a:off x="896192" y="3689315"/>
              <a:ext cx="11113" cy="12700"/>
            </a:xfrm>
            <a:custGeom>
              <a:avLst/>
              <a:gdLst>
                <a:gd name="T0" fmla="*/ 7 w 7"/>
                <a:gd name="T1" fmla="*/ 0 h 8"/>
                <a:gd name="T2" fmla="*/ 5 w 7"/>
                <a:gd name="T3" fmla="*/ 0 h 8"/>
                <a:gd name="T4" fmla="*/ 5 w 7"/>
                <a:gd name="T5" fmla="*/ 3 h 8"/>
                <a:gd name="T6" fmla="*/ 2 w 7"/>
                <a:gd name="T7" fmla="*/ 3 h 8"/>
                <a:gd name="T8" fmla="*/ 0 w 7"/>
                <a:gd name="T9" fmla="*/ 5 h 8"/>
                <a:gd name="T10" fmla="*/ 0 w 7"/>
                <a:gd name="T11" fmla="*/ 8 h 8"/>
                <a:gd name="T12" fmla="*/ 2 w 7"/>
                <a:gd name="T13" fmla="*/ 5 h 8"/>
                <a:gd name="T14" fmla="*/ 5 w 7"/>
                <a:gd name="T15" fmla="*/ 5 h 8"/>
                <a:gd name="T16" fmla="*/ 5 w 7"/>
                <a:gd name="T17" fmla="*/ 3 h 8"/>
                <a:gd name="T18" fmla="*/ 7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7" y="0"/>
                  </a:moveTo>
                  <a:lnTo>
                    <a:pt x="5" y="0"/>
                  </a:lnTo>
                  <a:lnTo>
                    <a:pt x="5" y="3"/>
                  </a:lnTo>
                  <a:lnTo>
                    <a:pt x="2" y="3"/>
                  </a:lnTo>
                  <a:lnTo>
                    <a:pt x="0" y="5"/>
                  </a:lnTo>
                  <a:lnTo>
                    <a:pt x="0" y="8"/>
                  </a:lnTo>
                  <a:lnTo>
                    <a:pt x="2" y="5"/>
                  </a:lnTo>
                  <a:lnTo>
                    <a:pt x="5" y="5"/>
                  </a:lnTo>
                  <a:lnTo>
                    <a:pt x="5" y="3"/>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3" name="Freeform 946">
              <a:extLst>
                <a:ext uri="{FF2B5EF4-FFF2-40B4-BE49-F238E27FC236}">
                  <a16:creationId xmlns:a16="http://schemas.microsoft.com/office/drawing/2014/main" id="{8ADACBC8-45B6-416E-A7FD-BB51F89A99FA}"/>
                </a:ext>
              </a:extLst>
            </p:cNvPr>
            <p:cNvSpPr>
              <a:spLocks/>
            </p:cNvSpPr>
            <p:nvPr/>
          </p:nvSpPr>
          <p:spPr bwMode="auto">
            <a:xfrm>
              <a:off x="896192" y="3689315"/>
              <a:ext cx="11113" cy="12700"/>
            </a:xfrm>
            <a:custGeom>
              <a:avLst/>
              <a:gdLst>
                <a:gd name="T0" fmla="*/ 7 w 7"/>
                <a:gd name="T1" fmla="*/ 0 h 8"/>
                <a:gd name="T2" fmla="*/ 5 w 7"/>
                <a:gd name="T3" fmla="*/ 0 h 8"/>
                <a:gd name="T4" fmla="*/ 5 w 7"/>
                <a:gd name="T5" fmla="*/ 3 h 8"/>
                <a:gd name="T6" fmla="*/ 2 w 7"/>
                <a:gd name="T7" fmla="*/ 3 h 8"/>
                <a:gd name="T8" fmla="*/ 0 w 7"/>
                <a:gd name="T9" fmla="*/ 5 h 8"/>
                <a:gd name="T10" fmla="*/ 0 w 7"/>
                <a:gd name="T11" fmla="*/ 8 h 8"/>
                <a:gd name="T12" fmla="*/ 2 w 7"/>
                <a:gd name="T13" fmla="*/ 5 h 8"/>
                <a:gd name="T14" fmla="*/ 5 w 7"/>
                <a:gd name="T15" fmla="*/ 5 h 8"/>
                <a:gd name="T16" fmla="*/ 5 w 7"/>
                <a:gd name="T17" fmla="*/ 3 h 8"/>
                <a:gd name="T18" fmla="*/ 7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7" y="0"/>
                  </a:moveTo>
                  <a:lnTo>
                    <a:pt x="5" y="0"/>
                  </a:lnTo>
                  <a:lnTo>
                    <a:pt x="5" y="3"/>
                  </a:lnTo>
                  <a:lnTo>
                    <a:pt x="2" y="3"/>
                  </a:lnTo>
                  <a:lnTo>
                    <a:pt x="0" y="5"/>
                  </a:lnTo>
                  <a:lnTo>
                    <a:pt x="0" y="8"/>
                  </a:lnTo>
                  <a:lnTo>
                    <a:pt x="2" y="5"/>
                  </a:lnTo>
                  <a:lnTo>
                    <a:pt x="5" y="5"/>
                  </a:lnTo>
                  <a:lnTo>
                    <a:pt x="5" y="3"/>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4" name="Freeform 947">
              <a:extLst>
                <a:ext uri="{FF2B5EF4-FFF2-40B4-BE49-F238E27FC236}">
                  <a16:creationId xmlns:a16="http://schemas.microsoft.com/office/drawing/2014/main" id="{23041A14-011A-47EE-A53C-39DC745EA320}"/>
                </a:ext>
              </a:extLst>
            </p:cNvPr>
            <p:cNvSpPr>
              <a:spLocks/>
            </p:cNvSpPr>
            <p:nvPr/>
          </p:nvSpPr>
          <p:spPr bwMode="auto">
            <a:xfrm>
              <a:off x="1477216" y="4481478"/>
              <a:ext cx="3175" cy="7937"/>
            </a:xfrm>
            <a:custGeom>
              <a:avLst/>
              <a:gdLst>
                <a:gd name="T0" fmla="*/ 2 w 2"/>
                <a:gd name="T1" fmla="*/ 0 h 5"/>
                <a:gd name="T2" fmla="*/ 2 w 2"/>
                <a:gd name="T3" fmla="*/ 0 h 5"/>
                <a:gd name="T4" fmla="*/ 2 w 2"/>
                <a:gd name="T5" fmla="*/ 2 h 5"/>
                <a:gd name="T6" fmla="*/ 2 w 2"/>
                <a:gd name="T7" fmla="*/ 5 h 5"/>
                <a:gd name="T8" fmla="*/ 0 w 2"/>
                <a:gd name="T9" fmla="*/ 5 h 5"/>
                <a:gd name="T10" fmla="*/ 0 w 2"/>
                <a:gd name="T11" fmla="*/ 2 h 5"/>
                <a:gd name="T12" fmla="*/ 0 w 2"/>
                <a:gd name="T13" fmla="*/ 0 h 5"/>
                <a:gd name="T14" fmla="*/ 2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0"/>
                  </a:moveTo>
                  <a:lnTo>
                    <a:pt x="2" y="0"/>
                  </a:lnTo>
                  <a:lnTo>
                    <a:pt x="2" y="2"/>
                  </a:lnTo>
                  <a:lnTo>
                    <a:pt x="2" y="5"/>
                  </a:lnTo>
                  <a:lnTo>
                    <a:pt x="0" y="5"/>
                  </a:lnTo>
                  <a:lnTo>
                    <a:pt x="0" y="2"/>
                  </a:lnTo>
                  <a:lnTo>
                    <a:pt x="0"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5" name="Freeform 948">
              <a:extLst>
                <a:ext uri="{FF2B5EF4-FFF2-40B4-BE49-F238E27FC236}">
                  <a16:creationId xmlns:a16="http://schemas.microsoft.com/office/drawing/2014/main" id="{1F57D0B7-DA0D-4A80-B613-51EF213AF5FC}"/>
                </a:ext>
              </a:extLst>
            </p:cNvPr>
            <p:cNvSpPr>
              <a:spLocks/>
            </p:cNvSpPr>
            <p:nvPr/>
          </p:nvSpPr>
          <p:spPr bwMode="auto">
            <a:xfrm>
              <a:off x="1477216" y="4481478"/>
              <a:ext cx="3175" cy="7937"/>
            </a:xfrm>
            <a:custGeom>
              <a:avLst/>
              <a:gdLst>
                <a:gd name="T0" fmla="*/ 2 w 2"/>
                <a:gd name="T1" fmla="*/ 0 h 5"/>
                <a:gd name="T2" fmla="*/ 2 w 2"/>
                <a:gd name="T3" fmla="*/ 0 h 5"/>
                <a:gd name="T4" fmla="*/ 2 w 2"/>
                <a:gd name="T5" fmla="*/ 2 h 5"/>
                <a:gd name="T6" fmla="*/ 2 w 2"/>
                <a:gd name="T7" fmla="*/ 5 h 5"/>
                <a:gd name="T8" fmla="*/ 0 w 2"/>
                <a:gd name="T9" fmla="*/ 5 h 5"/>
                <a:gd name="T10" fmla="*/ 0 w 2"/>
                <a:gd name="T11" fmla="*/ 2 h 5"/>
                <a:gd name="T12" fmla="*/ 0 w 2"/>
                <a:gd name="T13" fmla="*/ 0 h 5"/>
                <a:gd name="T14" fmla="*/ 2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0"/>
                  </a:moveTo>
                  <a:lnTo>
                    <a:pt x="2" y="0"/>
                  </a:lnTo>
                  <a:lnTo>
                    <a:pt x="2" y="2"/>
                  </a:lnTo>
                  <a:lnTo>
                    <a:pt x="2" y="5"/>
                  </a:lnTo>
                  <a:lnTo>
                    <a:pt x="0" y="5"/>
                  </a:lnTo>
                  <a:lnTo>
                    <a:pt x="0" y="2"/>
                  </a:lnTo>
                  <a:lnTo>
                    <a:pt x="0"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6" name="Freeform 949">
              <a:extLst>
                <a:ext uri="{FF2B5EF4-FFF2-40B4-BE49-F238E27FC236}">
                  <a16:creationId xmlns:a16="http://schemas.microsoft.com/office/drawing/2014/main" id="{A4AA5A3B-CDC9-44CE-96C7-407C7994D479}"/>
                </a:ext>
              </a:extLst>
            </p:cNvPr>
            <p:cNvSpPr>
              <a:spLocks/>
            </p:cNvSpPr>
            <p:nvPr/>
          </p:nvSpPr>
          <p:spPr bwMode="auto">
            <a:xfrm>
              <a:off x="1454991" y="4517991"/>
              <a:ext cx="7938" cy="7937"/>
            </a:xfrm>
            <a:custGeom>
              <a:avLst/>
              <a:gdLst>
                <a:gd name="T0" fmla="*/ 2 w 5"/>
                <a:gd name="T1" fmla="*/ 0 h 5"/>
                <a:gd name="T2" fmla="*/ 5 w 5"/>
                <a:gd name="T3" fmla="*/ 0 h 5"/>
                <a:gd name="T4" fmla="*/ 5 w 5"/>
                <a:gd name="T5" fmla="*/ 0 h 5"/>
                <a:gd name="T6" fmla="*/ 5 w 5"/>
                <a:gd name="T7" fmla="*/ 3 h 5"/>
                <a:gd name="T8" fmla="*/ 2 w 5"/>
                <a:gd name="T9" fmla="*/ 5 h 5"/>
                <a:gd name="T10" fmla="*/ 2 w 5"/>
                <a:gd name="T11" fmla="*/ 5 h 5"/>
                <a:gd name="T12" fmla="*/ 0 w 5"/>
                <a:gd name="T13" fmla="*/ 5 h 5"/>
                <a:gd name="T14" fmla="*/ 0 w 5"/>
                <a:gd name="T15" fmla="*/ 3 h 5"/>
                <a:gd name="T16" fmla="*/ 0 w 5"/>
                <a:gd name="T17" fmla="*/ 0 h 5"/>
                <a:gd name="T18" fmla="*/ 2 w 5"/>
                <a:gd name="T19" fmla="*/ 0 h 5"/>
                <a:gd name="T20" fmla="*/ 2 w 5"/>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2" y="0"/>
                  </a:moveTo>
                  <a:lnTo>
                    <a:pt x="5" y="0"/>
                  </a:lnTo>
                  <a:lnTo>
                    <a:pt x="5" y="0"/>
                  </a:lnTo>
                  <a:lnTo>
                    <a:pt x="5" y="3"/>
                  </a:lnTo>
                  <a:lnTo>
                    <a:pt x="2" y="5"/>
                  </a:lnTo>
                  <a:lnTo>
                    <a:pt x="2" y="5"/>
                  </a:lnTo>
                  <a:lnTo>
                    <a:pt x="0" y="5"/>
                  </a:lnTo>
                  <a:lnTo>
                    <a:pt x="0" y="3"/>
                  </a:lnTo>
                  <a:lnTo>
                    <a:pt x="0" y="0"/>
                  </a:lnTo>
                  <a:lnTo>
                    <a:pt x="2"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7" name="Freeform 950">
              <a:extLst>
                <a:ext uri="{FF2B5EF4-FFF2-40B4-BE49-F238E27FC236}">
                  <a16:creationId xmlns:a16="http://schemas.microsoft.com/office/drawing/2014/main" id="{34D27170-DC95-4018-885A-CF84DB8F4FE4}"/>
                </a:ext>
              </a:extLst>
            </p:cNvPr>
            <p:cNvSpPr>
              <a:spLocks/>
            </p:cNvSpPr>
            <p:nvPr/>
          </p:nvSpPr>
          <p:spPr bwMode="auto">
            <a:xfrm>
              <a:off x="1454991" y="4517991"/>
              <a:ext cx="7938" cy="7937"/>
            </a:xfrm>
            <a:custGeom>
              <a:avLst/>
              <a:gdLst>
                <a:gd name="T0" fmla="*/ 2 w 5"/>
                <a:gd name="T1" fmla="*/ 0 h 5"/>
                <a:gd name="T2" fmla="*/ 5 w 5"/>
                <a:gd name="T3" fmla="*/ 0 h 5"/>
                <a:gd name="T4" fmla="*/ 5 w 5"/>
                <a:gd name="T5" fmla="*/ 0 h 5"/>
                <a:gd name="T6" fmla="*/ 5 w 5"/>
                <a:gd name="T7" fmla="*/ 3 h 5"/>
                <a:gd name="T8" fmla="*/ 2 w 5"/>
                <a:gd name="T9" fmla="*/ 5 h 5"/>
                <a:gd name="T10" fmla="*/ 2 w 5"/>
                <a:gd name="T11" fmla="*/ 5 h 5"/>
                <a:gd name="T12" fmla="*/ 0 w 5"/>
                <a:gd name="T13" fmla="*/ 5 h 5"/>
                <a:gd name="T14" fmla="*/ 0 w 5"/>
                <a:gd name="T15" fmla="*/ 3 h 5"/>
                <a:gd name="T16" fmla="*/ 0 w 5"/>
                <a:gd name="T17" fmla="*/ 0 h 5"/>
                <a:gd name="T18" fmla="*/ 2 w 5"/>
                <a:gd name="T19" fmla="*/ 0 h 5"/>
                <a:gd name="T20" fmla="*/ 2 w 5"/>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2" y="0"/>
                  </a:moveTo>
                  <a:lnTo>
                    <a:pt x="5" y="0"/>
                  </a:lnTo>
                  <a:lnTo>
                    <a:pt x="5" y="0"/>
                  </a:lnTo>
                  <a:lnTo>
                    <a:pt x="5" y="3"/>
                  </a:lnTo>
                  <a:lnTo>
                    <a:pt x="2" y="5"/>
                  </a:lnTo>
                  <a:lnTo>
                    <a:pt x="2" y="5"/>
                  </a:lnTo>
                  <a:lnTo>
                    <a:pt x="0" y="5"/>
                  </a:lnTo>
                  <a:lnTo>
                    <a:pt x="0" y="3"/>
                  </a:lnTo>
                  <a:lnTo>
                    <a:pt x="0" y="0"/>
                  </a:lnTo>
                  <a:lnTo>
                    <a:pt x="2"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8" name="Freeform 952">
              <a:extLst>
                <a:ext uri="{FF2B5EF4-FFF2-40B4-BE49-F238E27FC236}">
                  <a16:creationId xmlns:a16="http://schemas.microsoft.com/office/drawing/2014/main" id="{479333A9-0D6B-40C5-8E53-2BBF3D098822}"/>
                </a:ext>
              </a:extLst>
            </p:cNvPr>
            <p:cNvSpPr>
              <a:spLocks/>
            </p:cNvSpPr>
            <p:nvPr/>
          </p:nvSpPr>
          <p:spPr bwMode="auto">
            <a:xfrm>
              <a:off x="3315539" y="2782851"/>
              <a:ext cx="1693860" cy="1177926"/>
            </a:xfrm>
            <a:custGeom>
              <a:avLst/>
              <a:gdLst>
                <a:gd name="T0" fmla="*/ 696 w 1067"/>
                <a:gd name="T1" fmla="*/ 697 h 742"/>
                <a:gd name="T2" fmla="*/ 678 w 1067"/>
                <a:gd name="T3" fmla="*/ 713 h 742"/>
                <a:gd name="T4" fmla="*/ 640 w 1067"/>
                <a:gd name="T5" fmla="*/ 739 h 742"/>
                <a:gd name="T6" fmla="*/ 604 w 1067"/>
                <a:gd name="T7" fmla="*/ 718 h 742"/>
                <a:gd name="T8" fmla="*/ 555 w 1067"/>
                <a:gd name="T9" fmla="*/ 690 h 742"/>
                <a:gd name="T10" fmla="*/ 505 w 1067"/>
                <a:gd name="T11" fmla="*/ 697 h 742"/>
                <a:gd name="T12" fmla="*/ 479 w 1067"/>
                <a:gd name="T13" fmla="*/ 713 h 742"/>
                <a:gd name="T14" fmla="*/ 425 w 1067"/>
                <a:gd name="T15" fmla="*/ 673 h 742"/>
                <a:gd name="T16" fmla="*/ 430 w 1067"/>
                <a:gd name="T17" fmla="*/ 605 h 742"/>
                <a:gd name="T18" fmla="*/ 394 w 1067"/>
                <a:gd name="T19" fmla="*/ 569 h 742"/>
                <a:gd name="T20" fmla="*/ 330 w 1067"/>
                <a:gd name="T21" fmla="*/ 595 h 742"/>
                <a:gd name="T22" fmla="*/ 281 w 1067"/>
                <a:gd name="T23" fmla="*/ 593 h 742"/>
                <a:gd name="T24" fmla="*/ 252 w 1067"/>
                <a:gd name="T25" fmla="*/ 597 h 742"/>
                <a:gd name="T26" fmla="*/ 219 w 1067"/>
                <a:gd name="T27" fmla="*/ 597 h 742"/>
                <a:gd name="T28" fmla="*/ 193 w 1067"/>
                <a:gd name="T29" fmla="*/ 583 h 742"/>
                <a:gd name="T30" fmla="*/ 177 w 1067"/>
                <a:gd name="T31" fmla="*/ 574 h 742"/>
                <a:gd name="T32" fmla="*/ 134 w 1067"/>
                <a:gd name="T33" fmla="*/ 550 h 742"/>
                <a:gd name="T34" fmla="*/ 111 w 1067"/>
                <a:gd name="T35" fmla="*/ 541 h 742"/>
                <a:gd name="T36" fmla="*/ 94 w 1067"/>
                <a:gd name="T37" fmla="*/ 531 h 742"/>
                <a:gd name="T38" fmla="*/ 89 w 1067"/>
                <a:gd name="T39" fmla="*/ 503 h 742"/>
                <a:gd name="T40" fmla="*/ 104 w 1067"/>
                <a:gd name="T41" fmla="*/ 498 h 742"/>
                <a:gd name="T42" fmla="*/ 96 w 1067"/>
                <a:gd name="T43" fmla="*/ 475 h 742"/>
                <a:gd name="T44" fmla="*/ 115 w 1067"/>
                <a:gd name="T45" fmla="*/ 449 h 742"/>
                <a:gd name="T46" fmla="*/ 104 w 1067"/>
                <a:gd name="T47" fmla="*/ 434 h 742"/>
                <a:gd name="T48" fmla="*/ 73 w 1067"/>
                <a:gd name="T49" fmla="*/ 442 h 742"/>
                <a:gd name="T50" fmla="*/ 40 w 1067"/>
                <a:gd name="T51" fmla="*/ 430 h 742"/>
                <a:gd name="T52" fmla="*/ 28 w 1067"/>
                <a:gd name="T53" fmla="*/ 411 h 742"/>
                <a:gd name="T54" fmla="*/ 21 w 1067"/>
                <a:gd name="T55" fmla="*/ 385 h 742"/>
                <a:gd name="T56" fmla="*/ 33 w 1067"/>
                <a:gd name="T57" fmla="*/ 331 h 742"/>
                <a:gd name="T58" fmla="*/ 115 w 1067"/>
                <a:gd name="T59" fmla="*/ 293 h 742"/>
                <a:gd name="T60" fmla="*/ 151 w 1067"/>
                <a:gd name="T61" fmla="*/ 220 h 742"/>
                <a:gd name="T62" fmla="*/ 210 w 1067"/>
                <a:gd name="T63" fmla="*/ 160 h 742"/>
                <a:gd name="T64" fmla="*/ 271 w 1067"/>
                <a:gd name="T65" fmla="*/ 151 h 742"/>
                <a:gd name="T66" fmla="*/ 328 w 1067"/>
                <a:gd name="T67" fmla="*/ 227 h 742"/>
                <a:gd name="T68" fmla="*/ 408 w 1067"/>
                <a:gd name="T69" fmla="*/ 281 h 742"/>
                <a:gd name="T70" fmla="*/ 548 w 1067"/>
                <a:gd name="T71" fmla="*/ 305 h 742"/>
                <a:gd name="T72" fmla="*/ 649 w 1067"/>
                <a:gd name="T73" fmla="*/ 271 h 742"/>
                <a:gd name="T74" fmla="*/ 727 w 1067"/>
                <a:gd name="T75" fmla="*/ 210 h 742"/>
                <a:gd name="T76" fmla="*/ 779 w 1067"/>
                <a:gd name="T77" fmla="*/ 151 h 742"/>
                <a:gd name="T78" fmla="*/ 746 w 1067"/>
                <a:gd name="T79" fmla="*/ 99 h 742"/>
                <a:gd name="T80" fmla="*/ 812 w 1067"/>
                <a:gd name="T81" fmla="*/ 49 h 742"/>
                <a:gd name="T82" fmla="*/ 871 w 1067"/>
                <a:gd name="T83" fmla="*/ 0 h 742"/>
                <a:gd name="T84" fmla="*/ 923 w 1067"/>
                <a:gd name="T85" fmla="*/ 49 h 742"/>
                <a:gd name="T86" fmla="*/ 989 w 1067"/>
                <a:gd name="T87" fmla="*/ 125 h 742"/>
                <a:gd name="T88" fmla="*/ 1058 w 1067"/>
                <a:gd name="T89" fmla="*/ 139 h 742"/>
                <a:gd name="T90" fmla="*/ 1015 w 1067"/>
                <a:gd name="T91" fmla="*/ 220 h 742"/>
                <a:gd name="T92" fmla="*/ 952 w 1067"/>
                <a:gd name="T93" fmla="*/ 300 h 742"/>
                <a:gd name="T94" fmla="*/ 867 w 1067"/>
                <a:gd name="T95" fmla="*/ 349 h 742"/>
                <a:gd name="T96" fmla="*/ 831 w 1067"/>
                <a:gd name="T97" fmla="*/ 354 h 742"/>
                <a:gd name="T98" fmla="*/ 808 w 1067"/>
                <a:gd name="T99" fmla="*/ 342 h 742"/>
                <a:gd name="T100" fmla="*/ 777 w 1067"/>
                <a:gd name="T101" fmla="*/ 387 h 742"/>
                <a:gd name="T102" fmla="*/ 831 w 1067"/>
                <a:gd name="T103" fmla="*/ 399 h 742"/>
                <a:gd name="T104" fmla="*/ 841 w 1067"/>
                <a:gd name="T105" fmla="*/ 413 h 742"/>
                <a:gd name="T106" fmla="*/ 803 w 1067"/>
                <a:gd name="T107" fmla="*/ 446 h 742"/>
                <a:gd name="T108" fmla="*/ 843 w 1067"/>
                <a:gd name="T109" fmla="*/ 522 h 742"/>
                <a:gd name="T110" fmla="*/ 841 w 1067"/>
                <a:gd name="T111" fmla="*/ 534 h 742"/>
                <a:gd name="T112" fmla="*/ 836 w 1067"/>
                <a:gd name="T113" fmla="*/ 555 h 742"/>
                <a:gd name="T114" fmla="*/ 836 w 1067"/>
                <a:gd name="T115" fmla="*/ 576 h 742"/>
                <a:gd name="T116" fmla="*/ 812 w 1067"/>
                <a:gd name="T117" fmla="*/ 614 h 742"/>
                <a:gd name="T118" fmla="*/ 798 w 1067"/>
                <a:gd name="T119" fmla="*/ 645 h 742"/>
                <a:gd name="T120" fmla="*/ 774 w 1067"/>
                <a:gd name="T121" fmla="*/ 666 h 742"/>
                <a:gd name="T122" fmla="*/ 746 w 1067"/>
                <a:gd name="T123" fmla="*/ 692 h 742"/>
                <a:gd name="T124" fmla="*/ 713 w 1067"/>
                <a:gd name="T125" fmla="*/ 69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7" h="742">
                  <a:moveTo>
                    <a:pt x="713" y="699"/>
                  </a:moveTo>
                  <a:lnTo>
                    <a:pt x="713" y="701"/>
                  </a:lnTo>
                  <a:lnTo>
                    <a:pt x="713" y="701"/>
                  </a:lnTo>
                  <a:lnTo>
                    <a:pt x="713" y="699"/>
                  </a:lnTo>
                  <a:lnTo>
                    <a:pt x="711" y="699"/>
                  </a:lnTo>
                  <a:lnTo>
                    <a:pt x="708" y="699"/>
                  </a:lnTo>
                  <a:lnTo>
                    <a:pt x="708" y="699"/>
                  </a:lnTo>
                  <a:lnTo>
                    <a:pt x="708" y="699"/>
                  </a:lnTo>
                  <a:lnTo>
                    <a:pt x="708" y="701"/>
                  </a:lnTo>
                  <a:lnTo>
                    <a:pt x="708" y="701"/>
                  </a:lnTo>
                  <a:lnTo>
                    <a:pt x="708" y="704"/>
                  </a:lnTo>
                  <a:lnTo>
                    <a:pt x="704" y="704"/>
                  </a:lnTo>
                  <a:lnTo>
                    <a:pt x="704" y="701"/>
                  </a:lnTo>
                  <a:lnTo>
                    <a:pt x="704" y="701"/>
                  </a:lnTo>
                  <a:lnTo>
                    <a:pt x="704" y="699"/>
                  </a:lnTo>
                  <a:lnTo>
                    <a:pt x="699" y="697"/>
                  </a:lnTo>
                  <a:lnTo>
                    <a:pt x="696" y="697"/>
                  </a:lnTo>
                  <a:lnTo>
                    <a:pt x="696" y="694"/>
                  </a:lnTo>
                  <a:lnTo>
                    <a:pt x="694" y="699"/>
                  </a:lnTo>
                  <a:lnTo>
                    <a:pt x="694" y="701"/>
                  </a:lnTo>
                  <a:lnTo>
                    <a:pt x="696" y="704"/>
                  </a:lnTo>
                  <a:lnTo>
                    <a:pt x="696" y="706"/>
                  </a:lnTo>
                  <a:lnTo>
                    <a:pt x="694" y="706"/>
                  </a:lnTo>
                  <a:lnTo>
                    <a:pt x="694" y="706"/>
                  </a:lnTo>
                  <a:lnTo>
                    <a:pt x="692" y="701"/>
                  </a:lnTo>
                  <a:lnTo>
                    <a:pt x="689" y="701"/>
                  </a:lnTo>
                  <a:lnTo>
                    <a:pt x="687" y="699"/>
                  </a:lnTo>
                  <a:lnTo>
                    <a:pt x="685" y="704"/>
                  </a:lnTo>
                  <a:lnTo>
                    <a:pt x="685" y="706"/>
                  </a:lnTo>
                  <a:lnTo>
                    <a:pt x="685" y="708"/>
                  </a:lnTo>
                  <a:lnTo>
                    <a:pt x="685" y="711"/>
                  </a:lnTo>
                  <a:lnTo>
                    <a:pt x="685" y="711"/>
                  </a:lnTo>
                  <a:lnTo>
                    <a:pt x="682" y="711"/>
                  </a:lnTo>
                  <a:lnTo>
                    <a:pt x="678" y="713"/>
                  </a:lnTo>
                  <a:lnTo>
                    <a:pt x="675" y="713"/>
                  </a:lnTo>
                  <a:lnTo>
                    <a:pt x="673" y="716"/>
                  </a:lnTo>
                  <a:lnTo>
                    <a:pt x="670" y="716"/>
                  </a:lnTo>
                  <a:lnTo>
                    <a:pt x="668" y="713"/>
                  </a:lnTo>
                  <a:lnTo>
                    <a:pt x="666" y="716"/>
                  </a:lnTo>
                  <a:lnTo>
                    <a:pt x="663" y="718"/>
                  </a:lnTo>
                  <a:lnTo>
                    <a:pt x="659" y="718"/>
                  </a:lnTo>
                  <a:lnTo>
                    <a:pt x="654" y="720"/>
                  </a:lnTo>
                  <a:lnTo>
                    <a:pt x="652" y="718"/>
                  </a:lnTo>
                  <a:lnTo>
                    <a:pt x="652" y="720"/>
                  </a:lnTo>
                  <a:lnTo>
                    <a:pt x="649" y="720"/>
                  </a:lnTo>
                  <a:lnTo>
                    <a:pt x="645" y="723"/>
                  </a:lnTo>
                  <a:lnTo>
                    <a:pt x="640" y="723"/>
                  </a:lnTo>
                  <a:lnTo>
                    <a:pt x="637" y="730"/>
                  </a:lnTo>
                  <a:lnTo>
                    <a:pt x="640" y="734"/>
                  </a:lnTo>
                  <a:lnTo>
                    <a:pt x="640" y="737"/>
                  </a:lnTo>
                  <a:lnTo>
                    <a:pt x="640" y="739"/>
                  </a:lnTo>
                  <a:lnTo>
                    <a:pt x="635" y="742"/>
                  </a:lnTo>
                  <a:lnTo>
                    <a:pt x="633" y="739"/>
                  </a:lnTo>
                  <a:lnTo>
                    <a:pt x="628" y="730"/>
                  </a:lnTo>
                  <a:lnTo>
                    <a:pt x="628" y="727"/>
                  </a:lnTo>
                  <a:lnTo>
                    <a:pt x="628" y="727"/>
                  </a:lnTo>
                  <a:lnTo>
                    <a:pt x="630" y="720"/>
                  </a:lnTo>
                  <a:lnTo>
                    <a:pt x="628" y="718"/>
                  </a:lnTo>
                  <a:lnTo>
                    <a:pt x="626" y="718"/>
                  </a:lnTo>
                  <a:lnTo>
                    <a:pt x="623" y="720"/>
                  </a:lnTo>
                  <a:lnTo>
                    <a:pt x="619" y="720"/>
                  </a:lnTo>
                  <a:lnTo>
                    <a:pt x="619" y="720"/>
                  </a:lnTo>
                  <a:lnTo>
                    <a:pt x="619" y="718"/>
                  </a:lnTo>
                  <a:lnTo>
                    <a:pt x="611" y="716"/>
                  </a:lnTo>
                  <a:lnTo>
                    <a:pt x="609" y="716"/>
                  </a:lnTo>
                  <a:lnTo>
                    <a:pt x="607" y="716"/>
                  </a:lnTo>
                  <a:lnTo>
                    <a:pt x="607" y="718"/>
                  </a:lnTo>
                  <a:lnTo>
                    <a:pt x="604" y="718"/>
                  </a:lnTo>
                  <a:lnTo>
                    <a:pt x="604" y="720"/>
                  </a:lnTo>
                  <a:lnTo>
                    <a:pt x="602" y="718"/>
                  </a:lnTo>
                  <a:lnTo>
                    <a:pt x="602" y="718"/>
                  </a:lnTo>
                  <a:lnTo>
                    <a:pt x="597" y="720"/>
                  </a:lnTo>
                  <a:lnTo>
                    <a:pt x="595" y="718"/>
                  </a:lnTo>
                  <a:lnTo>
                    <a:pt x="590" y="718"/>
                  </a:lnTo>
                  <a:lnTo>
                    <a:pt x="588" y="718"/>
                  </a:lnTo>
                  <a:lnTo>
                    <a:pt x="585" y="716"/>
                  </a:lnTo>
                  <a:lnTo>
                    <a:pt x="578" y="713"/>
                  </a:lnTo>
                  <a:lnTo>
                    <a:pt x="576" y="708"/>
                  </a:lnTo>
                  <a:lnTo>
                    <a:pt x="574" y="704"/>
                  </a:lnTo>
                  <a:lnTo>
                    <a:pt x="576" y="699"/>
                  </a:lnTo>
                  <a:lnTo>
                    <a:pt x="574" y="697"/>
                  </a:lnTo>
                  <a:lnTo>
                    <a:pt x="569" y="694"/>
                  </a:lnTo>
                  <a:lnTo>
                    <a:pt x="564" y="694"/>
                  </a:lnTo>
                  <a:lnTo>
                    <a:pt x="559" y="692"/>
                  </a:lnTo>
                  <a:lnTo>
                    <a:pt x="555" y="690"/>
                  </a:lnTo>
                  <a:lnTo>
                    <a:pt x="550" y="687"/>
                  </a:lnTo>
                  <a:lnTo>
                    <a:pt x="548" y="687"/>
                  </a:lnTo>
                  <a:lnTo>
                    <a:pt x="545" y="692"/>
                  </a:lnTo>
                  <a:lnTo>
                    <a:pt x="543" y="694"/>
                  </a:lnTo>
                  <a:lnTo>
                    <a:pt x="538" y="697"/>
                  </a:lnTo>
                  <a:lnTo>
                    <a:pt x="536" y="697"/>
                  </a:lnTo>
                  <a:lnTo>
                    <a:pt x="533" y="697"/>
                  </a:lnTo>
                  <a:lnTo>
                    <a:pt x="529" y="699"/>
                  </a:lnTo>
                  <a:lnTo>
                    <a:pt x="526" y="699"/>
                  </a:lnTo>
                  <a:lnTo>
                    <a:pt x="526" y="697"/>
                  </a:lnTo>
                  <a:lnTo>
                    <a:pt x="522" y="699"/>
                  </a:lnTo>
                  <a:lnTo>
                    <a:pt x="519" y="697"/>
                  </a:lnTo>
                  <a:lnTo>
                    <a:pt x="517" y="697"/>
                  </a:lnTo>
                  <a:lnTo>
                    <a:pt x="512" y="701"/>
                  </a:lnTo>
                  <a:lnTo>
                    <a:pt x="510" y="699"/>
                  </a:lnTo>
                  <a:lnTo>
                    <a:pt x="507" y="699"/>
                  </a:lnTo>
                  <a:lnTo>
                    <a:pt x="505" y="697"/>
                  </a:lnTo>
                  <a:lnTo>
                    <a:pt x="503" y="697"/>
                  </a:lnTo>
                  <a:lnTo>
                    <a:pt x="503" y="697"/>
                  </a:lnTo>
                  <a:lnTo>
                    <a:pt x="500" y="699"/>
                  </a:lnTo>
                  <a:lnTo>
                    <a:pt x="498" y="701"/>
                  </a:lnTo>
                  <a:lnTo>
                    <a:pt x="498" y="704"/>
                  </a:lnTo>
                  <a:lnTo>
                    <a:pt x="498" y="701"/>
                  </a:lnTo>
                  <a:lnTo>
                    <a:pt x="498" y="701"/>
                  </a:lnTo>
                  <a:lnTo>
                    <a:pt x="491" y="699"/>
                  </a:lnTo>
                  <a:lnTo>
                    <a:pt x="489" y="704"/>
                  </a:lnTo>
                  <a:lnTo>
                    <a:pt x="489" y="706"/>
                  </a:lnTo>
                  <a:lnTo>
                    <a:pt x="489" y="713"/>
                  </a:lnTo>
                  <a:lnTo>
                    <a:pt x="491" y="718"/>
                  </a:lnTo>
                  <a:lnTo>
                    <a:pt x="491" y="723"/>
                  </a:lnTo>
                  <a:lnTo>
                    <a:pt x="489" y="723"/>
                  </a:lnTo>
                  <a:lnTo>
                    <a:pt x="482" y="725"/>
                  </a:lnTo>
                  <a:lnTo>
                    <a:pt x="479" y="716"/>
                  </a:lnTo>
                  <a:lnTo>
                    <a:pt x="479" y="713"/>
                  </a:lnTo>
                  <a:lnTo>
                    <a:pt x="477" y="713"/>
                  </a:lnTo>
                  <a:lnTo>
                    <a:pt x="472" y="718"/>
                  </a:lnTo>
                  <a:lnTo>
                    <a:pt x="465" y="718"/>
                  </a:lnTo>
                  <a:lnTo>
                    <a:pt x="460" y="713"/>
                  </a:lnTo>
                  <a:lnTo>
                    <a:pt x="458" y="708"/>
                  </a:lnTo>
                  <a:lnTo>
                    <a:pt x="453" y="706"/>
                  </a:lnTo>
                  <a:lnTo>
                    <a:pt x="448" y="706"/>
                  </a:lnTo>
                  <a:lnTo>
                    <a:pt x="448" y="699"/>
                  </a:lnTo>
                  <a:lnTo>
                    <a:pt x="451" y="692"/>
                  </a:lnTo>
                  <a:lnTo>
                    <a:pt x="446" y="690"/>
                  </a:lnTo>
                  <a:lnTo>
                    <a:pt x="441" y="685"/>
                  </a:lnTo>
                  <a:lnTo>
                    <a:pt x="441" y="680"/>
                  </a:lnTo>
                  <a:lnTo>
                    <a:pt x="439" y="675"/>
                  </a:lnTo>
                  <a:lnTo>
                    <a:pt x="439" y="671"/>
                  </a:lnTo>
                  <a:lnTo>
                    <a:pt x="434" y="671"/>
                  </a:lnTo>
                  <a:lnTo>
                    <a:pt x="427" y="671"/>
                  </a:lnTo>
                  <a:lnTo>
                    <a:pt x="425" y="673"/>
                  </a:lnTo>
                  <a:lnTo>
                    <a:pt x="420" y="678"/>
                  </a:lnTo>
                  <a:lnTo>
                    <a:pt x="418" y="675"/>
                  </a:lnTo>
                  <a:lnTo>
                    <a:pt x="422" y="671"/>
                  </a:lnTo>
                  <a:lnTo>
                    <a:pt x="422" y="668"/>
                  </a:lnTo>
                  <a:lnTo>
                    <a:pt x="420" y="664"/>
                  </a:lnTo>
                  <a:lnTo>
                    <a:pt x="422" y="659"/>
                  </a:lnTo>
                  <a:lnTo>
                    <a:pt x="425" y="652"/>
                  </a:lnTo>
                  <a:lnTo>
                    <a:pt x="427" y="649"/>
                  </a:lnTo>
                  <a:lnTo>
                    <a:pt x="430" y="647"/>
                  </a:lnTo>
                  <a:lnTo>
                    <a:pt x="430" y="645"/>
                  </a:lnTo>
                  <a:lnTo>
                    <a:pt x="434" y="642"/>
                  </a:lnTo>
                  <a:lnTo>
                    <a:pt x="437" y="633"/>
                  </a:lnTo>
                  <a:lnTo>
                    <a:pt x="437" y="630"/>
                  </a:lnTo>
                  <a:lnTo>
                    <a:pt x="437" y="621"/>
                  </a:lnTo>
                  <a:lnTo>
                    <a:pt x="437" y="614"/>
                  </a:lnTo>
                  <a:lnTo>
                    <a:pt x="434" y="605"/>
                  </a:lnTo>
                  <a:lnTo>
                    <a:pt x="430" y="605"/>
                  </a:lnTo>
                  <a:lnTo>
                    <a:pt x="427" y="602"/>
                  </a:lnTo>
                  <a:lnTo>
                    <a:pt x="427" y="595"/>
                  </a:lnTo>
                  <a:lnTo>
                    <a:pt x="422" y="593"/>
                  </a:lnTo>
                  <a:lnTo>
                    <a:pt x="420" y="590"/>
                  </a:lnTo>
                  <a:lnTo>
                    <a:pt x="418" y="590"/>
                  </a:lnTo>
                  <a:lnTo>
                    <a:pt x="418" y="590"/>
                  </a:lnTo>
                  <a:lnTo>
                    <a:pt x="415" y="593"/>
                  </a:lnTo>
                  <a:lnTo>
                    <a:pt x="413" y="588"/>
                  </a:lnTo>
                  <a:lnTo>
                    <a:pt x="411" y="588"/>
                  </a:lnTo>
                  <a:lnTo>
                    <a:pt x="406" y="588"/>
                  </a:lnTo>
                  <a:lnTo>
                    <a:pt x="401" y="586"/>
                  </a:lnTo>
                  <a:lnTo>
                    <a:pt x="396" y="586"/>
                  </a:lnTo>
                  <a:lnTo>
                    <a:pt x="396" y="581"/>
                  </a:lnTo>
                  <a:lnTo>
                    <a:pt x="396" y="576"/>
                  </a:lnTo>
                  <a:lnTo>
                    <a:pt x="394" y="576"/>
                  </a:lnTo>
                  <a:lnTo>
                    <a:pt x="392" y="571"/>
                  </a:lnTo>
                  <a:lnTo>
                    <a:pt x="394" y="569"/>
                  </a:lnTo>
                  <a:lnTo>
                    <a:pt x="389" y="567"/>
                  </a:lnTo>
                  <a:lnTo>
                    <a:pt x="387" y="567"/>
                  </a:lnTo>
                  <a:lnTo>
                    <a:pt x="382" y="569"/>
                  </a:lnTo>
                  <a:lnTo>
                    <a:pt x="378" y="571"/>
                  </a:lnTo>
                  <a:lnTo>
                    <a:pt x="370" y="571"/>
                  </a:lnTo>
                  <a:lnTo>
                    <a:pt x="368" y="571"/>
                  </a:lnTo>
                  <a:lnTo>
                    <a:pt x="366" y="569"/>
                  </a:lnTo>
                  <a:lnTo>
                    <a:pt x="366" y="569"/>
                  </a:lnTo>
                  <a:lnTo>
                    <a:pt x="361" y="571"/>
                  </a:lnTo>
                  <a:lnTo>
                    <a:pt x="359" y="574"/>
                  </a:lnTo>
                  <a:lnTo>
                    <a:pt x="356" y="576"/>
                  </a:lnTo>
                  <a:lnTo>
                    <a:pt x="352" y="581"/>
                  </a:lnTo>
                  <a:lnTo>
                    <a:pt x="347" y="583"/>
                  </a:lnTo>
                  <a:lnTo>
                    <a:pt x="342" y="588"/>
                  </a:lnTo>
                  <a:lnTo>
                    <a:pt x="337" y="590"/>
                  </a:lnTo>
                  <a:lnTo>
                    <a:pt x="333" y="593"/>
                  </a:lnTo>
                  <a:lnTo>
                    <a:pt x="330" y="595"/>
                  </a:lnTo>
                  <a:lnTo>
                    <a:pt x="321" y="597"/>
                  </a:lnTo>
                  <a:lnTo>
                    <a:pt x="316" y="600"/>
                  </a:lnTo>
                  <a:lnTo>
                    <a:pt x="316" y="600"/>
                  </a:lnTo>
                  <a:lnTo>
                    <a:pt x="316" y="600"/>
                  </a:lnTo>
                  <a:lnTo>
                    <a:pt x="311" y="597"/>
                  </a:lnTo>
                  <a:lnTo>
                    <a:pt x="311" y="595"/>
                  </a:lnTo>
                  <a:lnTo>
                    <a:pt x="309" y="595"/>
                  </a:lnTo>
                  <a:lnTo>
                    <a:pt x="304" y="597"/>
                  </a:lnTo>
                  <a:lnTo>
                    <a:pt x="304" y="595"/>
                  </a:lnTo>
                  <a:lnTo>
                    <a:pt x="300" y="595"/>
                  </a:lnTo>
                  <a:lnTo>
                    <a:pt x="295" y="595"/>
                  </a:lnTo>
                  <a:lnTo>
                    <a:pt x="293" y="593"/>
                  </a:lnTo>
                  <a:lnTo>
                    <a:pt x="293" y="593"/>
                  </a:lnTo>
                  <a:lnTo>
                    <a:pt x="290" y="590"/>
                  </a:lnTo>
                  <a:lnTo>
                    <a:pt x="288" y="590"/>
                  </a:lnTo>
                  <a:lnTo>
                    <a:pt x="283" y="590"/>
                  </a:lnTo>
                  <a:lnTo>
                    <a:pt x="281" y="593"/>
                  </a:lnTo>
                  <a:lnTo>
                    <a:pt x="276" y="595"/>
                  </a:lnTo>
                  <a:lnTo>
                    <a:pt x="274" y="600"/>
                  </a:lnTo>
                  <a:lnTo>
                    <a:pt x="267" y="607"/>
                  </a:lnTo>
                  <a:lnTo>
                    <a:pt x="267" y="609"/>
                  </a:lnTo>
                  <a:lnTo>
                    <a:pt x="264" y="609"/>
                  </a:lnTo>
                  <a:lnTo>
                    <a:pt x="264" y="607"/>
                  </a:lnTo>
                  <a:lnTo>
                    <a:pt x="264" y="607"/>
                  </a:lnTo>
                  <a:lnTo>
                    <a:pt x="264" y="605"/>
                  </a:lnTo>
                  <a:lnTo>
                    <a:pt x="264" y="600"/>
                  </a:lnTo>
                  <a:lnTo>
                    <a:pt x="264" y="600"/>
                  </a:lnTo>
                  <a:lnTo>
                    <a:pt x="264" y="595"/>
                  </a:lnTo>
                  <a:lnTo>
                    <a:pt x="262" y="595"/>
                  </a:lnTo>
                  <a:lnTo>
                    <a:pt x="262" y="593"/>
                  </a:lnTo>
                  <a:lnTo>
                    <a:pt x="259" y="595"/>
                  </a:lnTo>
                  <a:lnTo>
                    <a:pt x="257" y="595"/>
                  </a:lnTo>
                  <a:lnTo>
                    <a:pt x="255" y="595"/>
                  </a:lnTo>
                  <a:lnTo>
                    <a:pt x="252" y="597"/>
                  </a:lnTo>
                  <a:lnTo>
                    <a:pt x="252" y="597"/>
                  </a:lnTo>
                  <a:lnTo>
                    <a:pt x="250" y="597"/>
                  </a:lnTo>
                  <a:lnTo>
                    <a:pt x="248" y="597"/>
                  </a:lnTo>
                  <a:lnTo>
                    <a:pt x="245" y="600"/>
                  </a:lnTo>
                  <a:lnTo>
                    <a:pt x="245" y="600"/>
                  </a:lnTo>
                  <a:lnTo>
                    <a:pt x="241" y="600"/>
                  </a:lnTo>
                  <a:lnTo>
                    <a:pt x="238" y="600"/>
                  </a:lnTo>
                  <a:lnTo>
                    <a:pt x="238" y="600"/>
                  </a:lnTo>
                  <a:lnTo>
                    <a:pt x="236" y="597"/>
                  </a:lnTo>
                  <a:lnTo>
                    <a:pt x="231" y="597"/>
                  </a:lnTo>
                  <a:lnTo>
                    <a:pt x="229" y="595"/>
                  </a:lnTo>
                  <a:lnTo>
                    <a:pt x="226" y="595"/>
                  </a:lnTo>
                  <a:lnTo>
                    <a:pt x="226" y="595"/>
                  </a:lnTo>
                  <a:lnTo>
                    <a:pt x="224" y="597"/>
                  </a:lnTo>
                  <a:lnTo>
                    <a:pt x="224" y="597"/>
                  </a:lnTo>
                  <a:lnTo>
                    <a:pt x="222" y="597"/>
                  </a:lnTo>
                  <a:lnTo>
                    <a:pt x="219" y="597"/>
                  </a:lnTo>
                  <a:lnTo>
                    <a:pt x="217" y="595"/>
                  </a:lnTo>
                  <a:lnTo>
                    <a:pt x="217" y="597"/>
                  </a:lnTo>
                  <a:lnTo>
                    <a:pt x="215" y="597"/>
                  </a:lnTo>
                  <a:lnTo>
                    <a:pt x="215" y="597"/>
                  </a:lnTo>
                  <a:lnTo>
                    <a:pt x="212" y="595"/>
                  </a:lnTo>
                  <a:lnTo>
                    <a:pt x="212" y="593"/>
                  </a:lnTo>
                  <a:lnTo>
                    <a:pt x="210" y="593"/>
                  </a:lnTo>
                  <a:lnTo>
                    <a:pt x="207" y="590"/>
                  </a:lnTo>
                  <a:lnTo>
                    <a:pt x="205" y="593"/>
                  </a:lnTo>
                  <a:lnTo>
                    <a:pt x="200" y="588"/>
                  </a:lnTo>
                  <a:lnTo>
                    <a:pt x="200" y="588"/>
                  </a:lnTo>
                  <a:lnTo>
                    <a:pt x="200" y="583"/>
                  </a:lnTo>
                  <a:lnTo>
                    <a:pt x="200" y="583"/>
                  </a:lnTo>
                  <a:lnTo>
                    <a:pt x="198" y="583"/>
                  </a:lnTo>
                  <a:lnTo>
                    <a:pt x="198" y="583"/>
                  </a:lnTo>
                  <a:lnTo>
                    <a:pt x="193" y="583"/>
                  </a:lnTo>
                  <a:lnTo>
                    <a:pt x="193" y="583"/>
                  </a:lnTo>
                  <a:lnTo>
                    <a:pt x="191" y="583"/>
                  </a:lnTo>
                  <a:lnTo>
                    <a:pt x="189" y="581"/>
                  </a:lnTo>
                  <a:lnTo>
                    <a:pt x="186" y="581"/>
                  </a:lnTo>
                  <a:lnTo>
                    <a:pt x="186" y="581"/>
                  </a:lnTo>
                  <a:lnTo>
                    <a:pt x="186" y="579"/>
                  </a:lnTo>
                  <a:lnTo>
                    <a:pt x="184" y="581"/>
                  </a:lnTo>
                  <a:lnTo>
                    <a:pt x="184" y="579"/>
                  </a:lnTo>
                  <a:lnTo>
                    <a:pt x="184" y="574"/>
                  </a:lnTo>
                  <a:lnTo>
                    <a:pt x="184" y="574"/>
                  </a:lnTo>
                  <a:lnTo>
                    <a:pt x="186" y="571"/>
                  </a:lnTo>
                  <a:lnTo>
                    <a:pt x="184" y="571"/>
                  </a:lnTo>
                  <a:lnTo>
                    <a:pt x="182" y="569"/>
                  </a:lnTo>
                  <a:lnTo>
                    <a:pt x="182" y="569"/>
                  </a:lnTo>
                  <a:lnTo>
                    <a:pt x="179" y="569"/>
                  </a:lnTo>
                  <a:lnTo>
                    <a:pt x="179" y="571"/>
                  </a:lnTo>
                  <a:lnTo>
                    <a:pt x="179" y="571"/>
                  </a:lnTo>
                  <a:lnTo>
                    <a:pt x="177" y="574"/>
                  </a:lnTo>
                  <a:lnTo>
                    <a:pt x="177" y="574"/>
                  </a:lnTo>
                  <a:lnTo>
                    <a:pt x="174" y="574"/>
                  </a:lnTo>
                  <a:lnTo>
                    <a:pt x="174" y="574"/>
                  </a:lnTo>
                  <a:lnTo>
                    <a:pt x="172" y="574"/>
                  </a:lnTo>
                  <a:lnTo>
                    <a:pt x="170" y="574"/>
                  </a:lnTo>
                  <a:lnTo>
                    <a:pt x="170" y="567"/>
                  </a:lnTo>
                  <a:lnTo>
                    <a:pt x="167" y="564"/>
                  </a:lnTo>
                  <a:lnTo>
                    <a:pt x="165" y="562"/>
                  </a:lnTo>
                  <a:lnTo>
                    <a:pt x="160" y="560"/>
                  </a:lnTo>
                  <a:lnTo>
                    <a:pt x="158" y="557"/>
                  </a:lnTo>
                  <a:lnTo>
                    <a:pt x="156" y="555"/>
                  </a:lnTo>
                  <a:lnTo>
                    <a:pt x="153" y="555"/>
                  </a:lnTo>
                  <a:lnTo>
                    <a:pt x="146" y="553"/>
                  </a:lnTo>
                  <a:lnTo>
                    <a:pt x="141" y="550"/>
                  </a:lnTo>
                  <a:lnTo>
                    <a:pt x="141" y="550"/>
                  </a:lnTo>
                  <a:lnTo>
                    <a:pt x="137" y="550"/>
                  </a:lnTo>
                  <a:lnTo>
                    <a:pt x="134" y="550"/>
                  </a:lnTo>
                  <a:lnTo>
                    <a:pt x="134" y="550"/>
                  </a:lnTo>
                  <a:lnTo>
                    <a:pt x="134" y="553"/>
                  </a:lnTo>
                  <a:lnTo>
                    <a:pt x="134" y="553"/>
                  </a:lnTo>
                  <a:lnTo>
                    <a:pt x="134" y="555"/>
                  </a:lnTo>
                  <a:lnTo>
                    <a:pt x="134" y="555"/>
                  </a:lnTo>
                  <a:lnTo>
                    <a:pt x="132" y="553"/>
                  </a:lnTo>
                  <a:lnTo>
                    <a:pt x="130" y="553"/>
                  </a:lnTo>
                  <a:lnTo>
                    <a:pt x="130" y="550"/>
                  </a:lnTo>
                  <a:lnTo>
                    <a:pt x="127" y="550"/>
                  </a:lnTo>
                  <a:lnTo>
                    <a:pt x="122" y="548"/>
                  </a:lnTo>
                  <a:lnTo>
                    <a:pt x="122" y="548"/>
                  </a:lnTo>
                  <a:lnTo>
                    <a:pt x="120" y="545"/>
                  </a:lnTo>
                  <a:lnTo>
                    <a:pt x="120" y="545"/>
                  </a:lnTo>
                  <a:lnTo>
                    <a:pt x="115" y="543"/>
                  </a:lnTo>
                  <a:lnTo>
                    <a:pt x="113" y="543"/>
                  </a:lnTo>
                  <a:lnTo>
                    <a:pt x="111" y="541"/>
                  </a:lnTo>
                  <a:lnTo>
                    <a:pt x="111" y="541"/>
                  </a:lnTo>
                  <a:lnTo>
                    <a:pt x="111" y="538"/>
                  </a:lnTo>
                  <a:lnTo>
                    <a:pt x="111" y="538"/>
                  </a:lnTo>
                  <a:lnTo>
                    <a:pt x="108" y="538"/>
                  </a:lnTo>
                  <a:lnTo>
                    <a:pt x="108" y="538"/>
                  </a:lnTo>
                  <a:lnTo>
                    <a:pt x="106" y="536"/>
                  </a:lnTo>
                  <a:lnTo>
                    <a:pt x="104" y="538"/>
                  </a:lnTo>
                  <a:lnTo>
                    <a:pt x="104" y="538"/>
                  </a:lnTo>
                  <a:lnTo>
                    <a:pt x="104" y="536"/>
                  </a:lnTo>
                  <a:lnTo>
                    <a:pt x="104" y="536"/>
                  </a:lnTo>
                  <a:lnTo>
                    <a:pt x="101" y="534"/>
                  </a:lnTo>
                  <a:lnTo>
                    <a:pt x="101" y="536"/>
                  </a:lnTo>
                  <a:lnTo>
                    <a:pt x="96" y="534"/>
                  </a:lnTo>
                  <a:lnTo>
                    <a:pt x="96" y="536"/>
                  </a:lnTo>
                  <a:lnTo>
                    <a:pt x="94" y="536"/>
                  </a:lnTo>
                  <a:lnTo>
                    <a:pt x="94" y="536"/>
                  </a:lnTo>
                  <a:lnTo>
                    <a:pt x="92" y="536"/>
                  </a:lnTo>
                  <a:lnTo>
                    <a:pt x="94" y="531"/>
                  </a:lnTo>
                  <a:lnTo>
                    <a:pt x="92" y="531"/>
                  </a:lnTo>
                  <a:lnTo>
                    <a:pt x="89" y="529"/>
                  </a:lnTo>
                  <a:lnTo>
                    <a:pt x="89" y="529"/>
                  </a:lnTo>
                  <a:lnTo>
                    <a:pt x="89" y="527"/>
                  </a:lnTo>
                  <a:lnTo>
                    <a:pt x="89" y="527"/>
                  </a:lnTo>
                  <a:lnTo>
                    <a:pt x="89" y="522"/>
                  </a:lnTo>
                  <a:lnTo>
                    <a:pt x="89" y="522"/>
                  </a:lnTo>
                  <a:lnTo>
                    <a:pt x="89" y="519"/>
                  </a:lnTo>
                  <a:lnTo>
                    <a:pt x="89" y="517"/>
                  </a:lnTo>
                  <a:lnTo>
                    <a:pt x="89" y="515"/>
                  </a:lnTo>
                  <a:lnTo>
                    <a:pt x="87" y="512"/>
                  </a:lnTo>
                  <a:lnTo>
                    <a:pt x="85" y="510"/>
                  </a:lnTo>
                  <a:lnTo>
                    <a:pt x="85" y="508"/>
                  </a:lnTo>
                  <a:lnTo>
                    <a:pt x="85" y="505"/>
                  </a:lnTo>
                  <a:lnTo>
                    <a:pt x="85" y="503"/>
                  </a:lnTo>
                  <a:lnTo>
                    <a:pt x="87" y="503"/>
                  </a:lnTo>
                  <a:lnTo>
                    <a:pt x="89" y="503"/>
                  </a:lnTo>
                  <a:lnTo>
                    <a:pt x="89" y="503"/>
                  </a:lnTo>
                  <a:lnTo>
                    <a:pt x="89" y="505"/>
                  </a:lnTo>
                  <a:lnTo>
                    <a:pt x="89" y="505"/>
                  </a:lnTo>
                  <a:lnTo>
                    <a:pt x="92" y="508"/>
                  </a:lnTo>
                  <a:lnTo>
                    <a:pt x="94" y="508"/>
                  </a:lnTo>
                  <a:lnTo>
                    <a:pt x="94" y="508"/>
                  </a:lnTo>
                  <a:lnTo>
                    <a:pt x="94" y="508"/>
                  </a:lnTo>
                  <a:lnTo>
                    <a:pt x="96" y="508"/>
                  </a:lnTo>
                  <a:lnTo>
                    <a:pt x="96" y="505"/>
                  </a:lnTo>
                  <a:lnTo>
                    <a:pt x="96" y="505"/>
                  </a:lnTo>
                  <a:lnTo>
                    <a:pt x="99" y="503"/>
                  </a:lnTo>
                  <a:lnTo>
                    <a:pt x="99" y="503"/>
                  </a:lnTo>
                  <a:lnTo>
                    <a:pt x="101" y="505"/>
                  </a:lnTo>
                  <a:lnTo>
                    <a:pt x="101" y="505"/>
                  </a:lnTo>
                  <a:lnTo>
                    <a:pt x="104" y="501"/>
                  </a:lnTo>
                  <a:lnTo>
                    <a:pt x="104" y="501"/>
                  </a:lnTo>
                  <a:lnTo>
                    <a:pt x="104" y="498"/>
                  </a:lnTo>
                  <a:lnTo>
                    <a:pt x="101" y="496"/>
                  </a:lnTo>
                  <a:lnTo>
                    <a:pt x="101" y="493"/>
                  </a:lnTo>
                  <a:lnTo>
                    <a:pt x="101" y="493"/>
                  </a:lnTo>
                  <a:lnTo>
                    <a:pt x="101" y="491"/>
                  </a:lnTo>
                  <a:lnTo>
                    <a:pt x="96" y="491"/>
                  </a:lnTo>
                  <a:lnTo>
                    <a:pt x="96" y="491"/>
                  </a:lnTo>
                  <a:lnTo>
                    <a:pt x="96" y="489"/>
                  </a:lnTo>
                  <a:lnTo>
                    <a:pt x="92" y="486"/>
                  </a:lnTo>
                  <a:lnTo>
                    <a:pt x="92" y="482"/>
                  </a:lnTo>
                  <a:lnTo>
                    <a:pt x="94" y="482"/>
                  </a:lnTo>
                  <a:lnTo>
                    <a:pt x="94" y="479"/>
                  </a:lnTo>
                  <a:lnTo>
                    <a:pt x="94" y="479"/>
                  </a:lnTo>
                  <a:lnTo>
                    <a:pt x="94" y="479"/>
                  </a:lnTo>
                  <a:lnTo>
                    <a:pt x="92" y="477"/>
                  </a:lnTo>
                  <a:lnTo>
                    <a:pt x="92" y="475"/>
                  </a:lnTo>
                  <a:lnTo>
                    <a:pt x="92" y="475"/>
                  </a:lnTo>
                  <a:lnTo>
                    <a:pt x="96" y="475"/>
                  </a:lnTo>
                  <a:lnTo>
                    <a:pt x="96" y="472"/>
                  </a:lnTo>
                  <a:lnTo>
                    <a:pt x="101" y="475"/>
                  </a:lnTo>
                  <a:lnTo>
                    <a:pt x="101" y="472"/>
                  </a:lnTo>
                  <a:lnTo>
                    <a:pt x="104" y="472"/>
                  </a:lnTo>
                  <a:lnTo>
                    <a:pt x="104" y="468"/>
                  </a:lnTo>
                  <a:lnTo>
                    <a:pt x="104" y="465"/>
                  </a:lnTo>
                  <a:lnTo>
                    <a:pt x="108" y="465"/>
                  </a:lnTo>
                  <a:lnTo>
                    <a:pt x="108" y="465"/>
                  </a:lnTo>
                  <a:lnTo>
                    <a:pt x="108" y="463"/>
                  </a:lnTo>
                  <a:lnTo>
                    <a:pt x="108" y="463"/>
                  </a:lnTo>
                  <a:lnTo>
                    <a:pt x="108" y="463"/>
                  </a:lnTo>
                  <a:lnTo>
                    <a:pt x="108" y="460"/>
                  </a:lnTo>
                  <a:lnTo>
                    <a:pt x="111" y="460"/>
                  </a:lnTo>
                  <a:lnTo>
                    <a:pt x="113" y="458"/>
                  </a:lnTo>
                  <a:lnTo>
                    <a:pt x="113" y="456"/>
                  </a:lnTo>
                  <a:lnTo>
                    <a:pt x="113" y="453"/>
                  </a:lnTo>
                  <a:lnTo>
                    <a:pt x="115" y="449"/>
                  </a:lnTo>
                  <a:lnTo>
                    <a:pt x="115" y="449"/>
                  </a:lnTo>
                  <a:lnTo>
                    <a:pt x="115" y="444"/>
                  </a:lnTo>
                  <a:lnTo>
                    <a:pt x="118" y="444"/>
                  </a:lnTo>
                  <a:lnTo>
                    <a:pt x="118" y="442"/>
                  </a:lnTo>
                  <a:lnTo>
                    <a:pt x="115" y="442"/>
                  </a:lnTo>
                  <a:lnTo>
                    <a:pt x="115" y="442"/>
                  </a:lnTo>
                  <a:lnTo>
                    <a:pt x="113" y="444"/>
                  </a:lnTo>
                  <a:lnTo>
                    <a:pt x="113" y="444"/>
                  </a:lnTo>
                  <a:lnTo>
                    <a:pt x="111" y="442"/>
                  </a:lnTo>
                  <a:lnTo>
                    <a:pt x="111" y="439"/>
                  </a:lnTo>
                  <a:lnTo>
                    <a:pt x="108" y="439"/>
                  </a:lnTo>
                  <a:lnTo>
                    <a:pt x="108" y="439"/>
                  </a:lnTo>
                  <a:lnTo>
                    <a:pt x="106" y="439"/>
                  </a:lnTo>
                  <a:lnTo>
                    <a:pt x="106" y="439"/>
                  </a:lnTo>
                  <a:lnTo>
                    <a:pt x="106" y="439"/>
                  </a:lnTo>
                  <a:lnTo>
                    <a:pt x="106" y="434"/>
                  </a:lnTo>
                  <a:lnTo>
                    <a:pt x="104" y="434"/>
                  </a:lnTo>
                  <a:lnTo>
                    <a:pt x="104" y="434"/>
                  </a:lnTo>
                  <a:lnTo>
                    <a:pt x="104" y="434"/>
                  </a:lnTo>
                  <a:lnTo>
                    <a:pt x="101" y="434"/>
                  </a:lnTo>
                  <a:lnTo>
                    <a:pt x="101" y="432"/>
                  </a:lnTo>
                  <a:lnTo>
                    <a:pt x="99" y="432"/>
                  </a:lnTo>
                  <a:lnTo>
                    <a:pt x="99" y="432"/>
                  </a:lnTo>
                  <a:lnTo>
                    <a:pt x="96" y="432"/>
                  </a:lnTo>
                  <a:lnTo>
                    <a:pt x="94" y="432"/>
                  </a:lnTo>
                  <a:lnTo>
                    <a:pt x="94" y="434"/>
                  </a:lnTo>
                  <a:lnTo>
                    <a:pt x="89" y="434"/>
                  </a:lnTo>
                  <a:lnTo>
                    <a:pt x="87" y="437"/>
                  </a:lnTo>
                  <a:lnTo>
                    <a:pt x="82" y="437"/>
                  </a:lnTo>
                  <a:lnTo>
                    <a:pt x="80" y="439"/>
                  </a:lnTo>
                  <a:lnTo>
                    <a:pt x="78" y="442"/>
                  </a:lnTo>
                  <a:lnTo>
                    <a:pt x="78" y="442"/>
                  </a:lnTo>
                  <a:lnTo>
                    <a:pt x="75" y="444"/>
                  </a:lnTo>
                  <a:lnTo>
                    <a:pt x="73" y="442"/>
                  </a:lnTo>
                  <a:lnTo>
                    <a:pt x="70" y="444"/>
                  </a:lnTo>
                  <a:lnTo>
                    <a:pt x="70" y="444"/>
                  </a:lnTo>
                  <a:lnTo>
                    <a:pt x="66" y="442"/>
                  </a:lnTo>
                  <a:lnTo>
                    <a:pt x="63" y="442"/>
                  </a:lnTo>
                  <a:lnTo>
                    <a:pt x="63" y="442"/>
                  </a:lnTo>
                  <a:lnTo>
                    <a:pt x="61" y="439"/>
                  </a:lnTo>
                  <a:lnTo>
                    <a:pt x="54" y="437"/>
                  </a:lnTo>
                  <a:lnTo>
                    <a:pt x="52" y="437"/>
                  </a:lnTo>
                  <a:lnTo>
                    <a:pt x="52" y="434"/>
                  </a:lnTo>
                  <a:lnTo>
                    <a:pt x="52" y="432"/>
                  </a:lnTo>
                  <a:lnTo>
                    <a:pt x="49" y="432"/>
                  </a:lnTo>
                  <a:lnTo>
                    <a:pt x="49" y="434"/>
                  </a:lnTo>
                  <a:lnTo>
                    <a:pt x="47" y="434"/>
                  </a:lnTo>
                  <a:lnTo>
                    <a:pt x="44" y="434"/>
                  </a:lnTo>
                  <a:lnTo>
                    <a:pt x="44" y="434"/>
                  </a:lnTo>
                  <a:lnTo>
                    <a:pt x="42" y="432"/>
                  </a:lnTo>
                  <a:lnTo>
                    <a:pt x="40" y="430"/>
                  </a:lnTo>
                  <a:lnTo>
                    <a:pt x="40" y="430"/>
                  </a:lnTo>
                  <a:lnTo>
                    <a:pt x="40" y="427"/>
                  </a:lnTo>
                  <a:lnTo>
                    <a:pt x="42" y="427"/>
                  </a:lnTo>
                  <a:lnTo>
                    <a:pt x="42" y="427"/>
                  </a:lnTo>
                  <a:lnTo>
                    <a:pt x="42" y="425"/>
                  </a:lnTo>
                  <a:lnTo>
                    <a:pt x="40" y="425"/>
                  </a:lnTo>
                  <a:lnTo>
                    <a:pt x="42" y="423"/>
                  </a:lnTo>
                  <a:lnTo>
                    <a:pt x="42" y="420"/>
                  </a:lnTo>
                  <a:lnTo>
                    <a:pt x="40" y="418"/>
                  </a:lnTo>
                  <a:lnTo>
                    <a:pt x="37" y="416"/>
                  </a:lnTo>
                  <a:lnTo>
                    <a:pt x="35" y="413"/>
                  </a:lnTo>
                  <a:lnTo>
                    <a:pt x="33" y="416"/>
                  </a:lnTo>
                  <a:lnTo>
                    <a:pt x="30" y="416"/>
                  </a:lnTo>
                  <a:lnTo>
                    <a:pt x="30" y="416"/>
                  </a:lnTo>
                  <a:lnTo>
                    <a:pt x="30" y="411"/>
                  </a:lnTo>
                  <a:lnTo>
                    <a:pt x="30" y="411"/>
                  </a:lnTo>
                  <a:lnTo>
                    <a:pt x="28" y="411"/>
                  </a:lnTo>
                  <a:lnTo>
                    <a:pt x="26" y="411"/>
                  </a:lnTo>
                  <a:lnTo>
                    <a:pt x="26" y="411"/>
                  </a:lnTo>
                  <a:lnTo>
                    <a:pt x="21" y="411"/>
                  </a:lnTo>
                  <a:lnTo>
                    <a:pt x="19" y="411"/>
                  </a:lnTo>
                  <a:lnTo>
                    <a:pt x="19" y="408"/>
                  </a:lnTo>
                  <a:lnTo>
                    <a:pt x="16" y="408"/>
                  </a:lnTo>
                  <a:lnTo>
                    <a:pt x="16" y="406"/>
                  </a:lnTo>
                  <a:lnTo>
                    <a:pt x="14" y="406"/>
                  </a:lnTo>
                  <a:lnTo>
                    <a:pt x="16" y="404"/>
                  </a:lnTo>
                  <a:lnTo>
                    <a:pt x="19" y="404"/>
                  </a:lnTo>
                  <a:lnTo>
                    <a:pt x="21" y="404"/>
                  </a:lnTo>
                  <a:lnTo>
                    <a:pt x="21" y="404"/>
                  </a:lnTo>
                  <a:lnTo>
                    <a:pt x="21" y="404"/>
                  </a:lnTo>
                  <a:lnTo>
                    <a:pt x="23" y="404"/>
                  </a:lnTo>
                  <a:lnTo>
                    <a:pt x="23" y="404"/>
                  </a:lnTo>
                  <a:lnTo>
                    <a:pt x="23" y="392"/>
                  </a:lnTo>
                  <a:lnTo>
                    <a:pt x="21" y="385"/>
                  </a:lnTo>
                  <a:lnTo>
                    <a:pt x="21" y="378"/>
                  </a:lnTo>
                  <a:lnTo>
                    <a:pt x="19" y="375"/>
                  </a:lnTo>
                  <a:lnTo>
                    <a:pt x="11" y="375"/>
                  </a:lnTo>
                  <a:lnTo>
                    <a:pt x="7" y="378"/>
                  </a:lnTo>
                  <a:lnTo>
                    <a:pt x="2" y="375"/>
                  </a:lnTo>
                  <a:lnTo>
                    <a:pt x="0" y="368"/>
                  </a:lnTo>
                  <a:lnTo>
                    <a:pt x="0" y="364"/>
                  </a:lnTo>
                  <a:lnTo>
                    <a:pt x="4" y="352"/>
                  </a:lnTo>
                  <a:lnTo>
                    <a:pt x="4" y="349"/>
                  </a:lnTo>
                  <a:lnTo>
                    <a:pt x="7" y="342"/>
                  </a:lnTo>
                  <a:lnTo>
                    <a:pt x="16" y="338"/>
                  </a:lnTo>
                  <a:lnTo>
                    <a:pt x="19" y="335"/>
                  </a:lnTo>
                  <a:lnTo>
                    <a:pt x="21" y="335"/>
                  </a:lnTo>
                  <a:lnTo>
                    <a:pt x="23" y="331"/>
                  </a:lnTo>
                  <a:lnTo>
                    <a:pt x="26" y="333"/>
                  </a:lnTo>
                  <a:lnTo>
                    <a:pt x="30" y="331"/>
                  </a:lnTo>
                  <a:lnTo>
                    <a:pt x="33" y="331"/>
                  </a:lnTo>
                  <a:lnTo>
                    <a:pt x="35" y="335"/>
                  </a:lnTo>
                  <a:lnTo>
                    <a:pt x="40" y="335"/>
                  </a:lnTo>
                  <a:lnTo>
                    <a:pt x="44" y="335"/>
                  </a:lnTo>
                  <a:lnTo>
                    <a:pt x="47" y="335"/>
                  </a:lnTo>
                  <a:lnTo>
                    <a:pt x="52" y="333"/>
                  </a:lnTo>
                  <a:lnTo>
                    <a:pt x="54" y="326"/>
                  </a:lnTo>
                  <a:lnTo>
                    <a:pt x="56" y="323"/>
                  </a:lnTo>
                  <a:lnTo>
                    <a:pt x="61" y="321"/>
                  </a:lnTo>
                  <a:lnTo>
                    <a:pt x="68" y="321"/>
                  </a:lnTo>
                  <a:lnTo>
                    <a:pt x="75" y="319"/>
                  </a:lnTo>
                  <a:lnTo>
                    <a:pt x="80" y="319"/>
                  </a:lnTo>
                  <a:lnTo>
                    <a:pt x="82" y="314"/>
                  </a:lnTo>
                  <a:lnTo>
                    <a:pt x="87" y="309"/>
                  </a:lnTo>
                  <a:lnTo>
                    <a:pt x="99" y="302"/>
                  </a:lnTo>
                  <a:lnTo>
                    <a:pt x="111" y="300"/>
                  </a:lnTo>
                  <a:lnTo>
                    <a:pt x="113" y="297"/>
                  </a:lnTo>
                  <a:lnTo>
                    <a:pt x="115" y="293"/>
                  </a:lnTo>
                  <a:lnTo>
                    <a:pt x="115" y="283"/>
                  </a:lnTo>
                  <a:lnTo>
                    <a:pt x="118" y="279"/>
                  </a:lnTo>
                  <a:lnTo>
                    <a:pt x="120" y="276"/>
                  </a:lnTo>
                  <a:lnTo>
                    <a:pt x="118" y="271"/>
                  </a:lnTo>
                  <a:lnTo>
                    <a:pt x="122" y="269"/>
                  </a:lnTo>
                  <a:lnTo>
                    <a:pt x="122" y="264"/>
                  </a:lnTo>
                  <a:lnTo>
                    <a:pt x="120" y="257"/>
                  </a:lnTo>
                  <a:lnTo>
                    <a:pt x="118" y="253"/>
                  </a:lnTo>
                  <a:lnTo>
                    <a:pt x="118" y="248"/>
                  </a:lnTo>
                  <a:lnTo>
                    <a:pt x="115" y="236"/>
                  </a:lnTo>
                  <a:lnTo>
                    <a:pt x="113" y="231"/>
                  </a:lnTo>
                  <a:lnTo>
                    <a:pt x="111" y="229"/>
                  </a:lnTo>
                  <a:lnTo>
                    <a:pt x="113" y="227"/>
                  </a:lnTo>
                  <a:lnTo>
                    <a:pt x="120" y="224"/>
                  </a:lnTo>
                  <a:lnTo>
                    <a:pt x="125" y="222"/>
                  </a:lnTo>
                  <a:lnTo>
                    <a:pt x="132" y="220"/>
                  </a:lnTo>
                  <a:lnTo>
                    <a:pt x="151" y="220"/>
                  </a:lnTo>
                  <a:lnTo>
                    <a:pt x="153" y="217"/>
                  </a:lnTo>
                  <a:lnTo>
                    <a:pt x="151" y="212"/>
                  </a:lnTo>
                  <a:lnTo>
                    <a:pt x="148" y="208"/>
                  </a:lnTo>
                  <a:lnTo>
                    <a:pt x="151" y="201"/>
                  </a:lnTo>
                  <a:lnTo>
                    <a:pt x="153" y="194"/>
                  </a:lnTo>
                  <a:lnTo>
                    <a:pt x="156" y="184"/>
                  </a:lnTo>
                  <a:lnTo>
                    <a:pt x="160" y="177"/>
                  </a:lnTo>
                  <a:lnTo>
                    <a:pt x="163" y="170"/>
                  </a:lnTo>
                  <a:lnTo>
                    <a:pt x="170" y="170"/>
                  </a:lnTo>
                  <a:lnTo>
                    <a:pt x="172" y="172"/>
                  </a:lnTo>
                  <a:lnTo>
                    <a:pt x="179" y="175"/>
                  </a:lnTo>
                  <a:lnTo>
                    <a:pt x="191" y="172"/>
                  </a:lnTo>
                  <a:lnTo>
                    <a:pt x="193" y="177"/>
                  </a:lnTo>
                  <a:lnTo>
                    <a:pt x="196" y="179"/>
                  </a:lnTo>
                  <a:lnTo>
                    <a:pt x="200" y="175"/>
                  </a:lnTo>
                  <a:lnTo>
                    <a:pt x="207" y="172"/>
                  </a:lnTo>
                  <a:lnTo>
                    <a:pt x="210" y="160"/>
                  </a:lnTo>
                  <a:lnTo>
                    <a:pt x="207" y="153"/>
                  </a:lnTo>
                  <a:lnTo>
                    <a:pt x="210" y="146"/>
                  </a:lnTo>
                  <a:lnTo>
                    <a:pt x="212" y="139"/>
                  </a:lnTo>
                  <a:lnTo>
                    <a:pt x="217" y="139"/>
                  </a:lnTo>
                  <a:lnTo>
                    <a:pt x="224" y="137"/>
                  </a:lnTo>
                  <a:lnTo>
                    <a:pt x="229" y="132"/>
                  </a:lnTo>
                  <a:lnTo>
                    <a:pt x="233" y="125"/>
                  </a:lnTo>
                  <a:lnTo>
                    <a:pt x="241" y="127"/>
                  </a:lnTo>
                  <a:lnTo>
                    <a:pt x="245" y="123"/>
                  </a:lnTo>
                  <a:lnTo>
                    <a:pt x="248" y="123"/>
                  </a:lnTo>
                  <a:lnTo>
                    <a:pt x="248" y="125"/>
                  </a:lnTo>
                  <a:lnTo>
                    <a:pt x="248" y="127"/>
                  </a:lnTo>
                  <a:lnTo>
                    <a:pt x="252" y="137"/>
                  </a:lnTo>
                  <a:lnTo>
                    <a:pt x="262" y="144"/>
                  </a:lnTo>
                  <a:lnTo>
                    <a:pt x="264" y="151"/>
                  </a:lnTo>
                  <a:lnTo>
                    <a:pt x="269" y="153"/>
                  </a:lnTo>
                  <a:lnTo>
                    <a:pt x="271" y="151"/>
                  </a:lnTo>
                  <a:lnTo>
                    <a:pt x="276" y="151"/>
                  </a:lnTo>
                  <a:lnTo>
                    <a:pt x="281" y="153"/>
                  </a:lnTo>
                  <a:lnTo>
                    <a:pt x="288" y="156"/>
                  </a:lnTo>
                  <a:lnTo>
                    <a:pt x="290" y="160"/>
                  </a:lnTo>
                  <a:lnTo>
                    <a:pt x="293" y="168"/>
                  </a:lnTo>
                  <a:lnTo>
                    <a:pt x="295" y="172"/>
                  </a:lnTo>
                  <a:lnTo>
                    <a:pt x="300" y="186"/>
                  </a:lnTo>
                  <a:lnTo>
                    <a:pt x="300" y="196"/>
                  </a:lnTo>
                  <a:lnTo>
                    <a:pt x="300" y="201"/>
                  </a:lnTo>
                  <a:lnTo>
                    <a:pt x="300" y="208"/>
                  </a:lnTo>
                  <a:lnTo>
                    <a:pt x="297" y="212"/>
                  </a:lnTo>
                  <a:lnTo>
                    <a:pt x="297" y="217"/>
                  </a:lnTo>
                  <a:lnTo>
                    <a:pt x="300" y="220"/>
                  </a:lnTo>
                  <a:lnTo>
                    <a:pt x="304" y="222"/>
                  </a:lnTo>
                  <a:lnTo>
                    <a:pt x="314" y="222"/>
                  </a:lnTo>
                  <a:lnTo>
                    <a:pt x="326" y="227"/>
                  </a:lnTo>
                  <a:lnTo>
                    <a:pt x="328" y="227"/>
                  </a:lnTo>
                  <a:lnTo>
                    <a:pt x="333" y="224"/>
                  </a:lnTo>
                  <a:lnTo>
                    <a:pt x="337" y="224"/>
                  </a:lnTo>
                  <a:lnTo>
                    <a:pt x="340" y="227"/>
                  </a:lnTo>
                  <a:lnTo>
                    <a:pt x="349" y="229"/>
                  </a:lnTo>
                  <a:lnTo>
                    <a:pt x="354" y="231"/>
                  </a:lnTo>
                  <a:lnTo>
                    <a:pt x="359" y="236"/>
                  </a:lnTo>
                  <a:lnTo>
                    <a:pt x="370" y="238"/>
                  </a:lnTo>
                  <a:lnTo>
                    <a:pt x="373" y="241"/>
                  </a:lnTo>
                  <a:lnTo>
                    <a:pt x="378" y="241"/>
                  </a:lnTo>
                  <a:lnTo>
                    <a:pt x="380" y="245"/>
                  </a:lnTo>
                  <a:lnTo>
                    <a:pt x="385" y="250"/>
                  </a:lnTo>
                  <a:lnTo>
                    <a:pt x="387" y="257"/>
                  </a:lnTo>
                  <a:lnTo>
                    <a:pt x="389" y="264"/>
                  </a:lnTo>
                  <a:lnTo>
                    <a:pt x="394" y="269"/>
                  </a:lnTo>
                  <a:lnTo>
                    <a:pt x="399" y="274"/>
                  </a:lnTo>
                  <a:lnTo>
                    <a:pt x="404" y="279"/>
                  </a:lnTo>
                  <a:lnTo>
                    <a:pt x="408" y="281"/>
                  </a:lnTo>
                  <a:lnTo>
                    <a:pt x="415" y="281"/>
                  </a:lnTo>
                  <a:lnTo>
                    <a:pt x="463" y="276"/>
                  </a:lnTo>
                  <a:lnTo>
                    <a:pt x="467" y="276"/>
                  </a:lnTo>
                  <a:lnTo>
                    <a:pt x="472" y="276"/>
                  </a:lnTo>
                  <a:lnTo>
                    <a:pt x="484" y="281"/>
                  </a:lnTo>
                  <a:lnTo>
                    <a:pt x="486" y="281"/>
                  </a:lnTo>
                  <a:lnTo>
                    <a:pt x="491" y="286"/>
                  </a:lnTo>
                  <a:lnTo>
                    <a:pt x="496" y="290"/>
                  </a:lnTo>
                  <a:lnTo>
                    <a:pt x="503" y="293"/>
                  </a:lnTo>
                  <a:lnTo>
                    <a:pt x="512" y="295"/>
                  </a:lnTo>
                  <a:lnTo>
                    <a:pt x="519" y="300"/>
                  </a:lnTo>
                  <a:lnTo>
                    <a:pt x="526" y="300"/>
                  </a:lnTo>
                  <a:lnTo>
                    <a:pt x="533" y="302"/>
                  </a:lnTo>
                  <a:lnTo>
                    <a:pt x="536" y="302"/>
                  </a:lnTo>
                  <a:lnTo>
                    <a:pt x="541" y="305"/>
                  </a:lnTo>
                  <a:lnTo>
                    <a:pt x="543" y="307"/>
                  </a:lnTo>
                  <a:lnTo>
                    <a:pt x="548" y="305"/>
                  </a:lnTo>
                  <a:lnTo>
                    <a:pt x="552" y="302"/>
                  </a:lnTo>
                  <a:lnTo>
                    <a:pt x="562" y="297"/>
                  </a:lnTo>
                  <a:lnTo>
                    <a:pt x="567" y="297"/>
                  </a:lnTo>
                  <a:lnTo>
                    <a:pt x="569" y="295"/>
                  </a:lnTo>
                  <a:lnTo>
                    <a:pt x="571" y="293"/>
                  </a:lnTo>
                  <a:lnTo>
                    <a:pt x="576" y="290"/>
                  </a:lnTo>
                  <a:lnTo>
                    <a:pt x="588" y="290"/>
                  </a:lnTo>
                  <a:lnTo>
                    <a:pt x="593" y="288"/>
                  </a:lnTo>
                  <a:lnTo>
                    <a:pt x="602" y="288"/>
                  </a:lnTo>
                  <a:lnTo>
                    <a:pt x="607" y="286"/>
                  </a:lnTo>
                  <a:lnTo>
                    <a:pt x="616" y="288"/>
                  </a:lnTo>
                  <a:lnTo>
                    <a:pt x="616" y="288"/>
                  </a:lnTo>
                  <a:lnTo>
                    <a:pt x="626" y="286"/>
                  </a:lnTo>
                  <a:lnTo>
                    <a:pt x="635" y="283"/>
                  </a:lnTo>
                  <a:lnTo>
                    <a:pt x="640" y="281"/>
                  </a:lnTo>
                  <a:lnTo>
                    <a:pt x="647" y="276"/>
                  </a:lnTo>
                  <a:lnTo>
                    <a:pt x="649" y="271"/>
                  </a:lnTo>
                  <a:lnTo>
                    <a:pt x="668" y="255"/>
                  </a:lnTo>
                  <a:lnTo>
                    <a:pt x="666" y="250"/>
                  </a:lnTo>
                  <a:lnTo>
                    <a:pt x="661" y="241"/>
                  </a:lnTo>
                  <a:lnTo>
                    <a:pt x="661" y="236"/>
                  </a:lnTo>
                  <a:lnTo>
                    <a:pt x="666" y="231"/>
                  </a:lnTo>
                  <a:lnTo>
                    <a:pt x="668" y="227"/>
                  </a:lnTo>
                  <a:lnTo>
                    <a:pt x="675" y="224"/>
                  </a:lnTo>
                  <a:lnTo>
                    <a:pt x="680" y="224"/>
                  </a:lnTo>
                  <a:lnTo>
                    <a:pt x="685" y="229"/>
                  </a:lnTo>
                  <a:lnTo>
                    <a:pt x="689" y="231"/>
                  </a:lnTo>
                  <a:lnTo>
                    <a:pt x="696" y="231"/>
                  </a:lnTo>
                  <a:lnTo>
                    <a:pt x="704" y="224"/>
                  </a:lnTo>
                  <a:lnTo>
                    <a:pt x="711" y="220"/>
                  </a:lnTo>
                  <a:lnTo>
                    <a:pt x="718" y="212"/>
                  </a:lnTo>
                  <a:lnTo>
                    <a:pt x="720" y="212"/>
                  </a:lnTo>
                  <a:lnTo>
                    <a:pt x="725" y="212"/>
                  </a:lnTo>
                  <a:lnTo>
                    <a:pt x="727" y="210"/>
                  </a:lnTo>
                  <a:lnTo>
                    <a:pt x="732" y="208"/>
                  </a:lnTo>
                  <a:lnTo>
                    <a:pt x="748" y="189"/>
                  </a:lnTo>
                  <a:lnTo>
                    <a:pt x="753" y="184"/>
                  </a:lnTo>
                  <a:lnTo>
                    <a:pt x="760" y="184"/>
                  </a:lnTo>
                  <a:lnTo>
                    <a:pt x="767" y="184"/>
                  </a:lnTo>
                  <a:lnTo>
                    <a:pt x="777" y="184"/>
                  </a:lnTo>
                  <a:lnTo>
                    <a:pt x="784" y="182"/>
                  </a:lnTo>
                  <a:lnTo>
                    <a:pt x="791" y="184"/>
                  </a:lnTo>
                  <a:lnTo>
                    <a:pt x="796" y="184"/>
                  </a:lnTo>
                  <a:lnTo>
                    <a:pt x="798" y="182"/>
                  </a:lnTo>
                  <a:lnTo>
                    <a:pt x="798" y="177"/>
                  </a:lnTo>
                  <a:lnTo>
                    <a:pt x="793" y="175"/>
                  </a:lnTo>
                  <a:lnTo>
                    <a:pt x="793" y="172"/>
                  </a:lnTo>
                  <a:lnTo>
                    <a:pt x="796" y="168"/>
                  </a:lnTo>
                  <a:lnTo>
                    <a:pt x="793" y="163"/>
                  </a:lnTo>
                  <a:lnTo>
                    <a:pt x="784" y="156"/>
                  </a:lnTo>
                  <a:lnTo>
                    <a:pt x="779" y="151"/>
                  </a:lnTo>
                  <a:lnTo>
                    <a:pt x="777" y="146"/>
                  </a:lnTo>
                  <a:lnTo>
                    <a:pt x="767" y="153"/>
                  </a:lnTo>
                  <a:lnTo>
                    <a:pt x="763" y="158"/>
                  </a:lnTo>
                  <a:lnTo>
                    <a:pt x="756" y="160"/>
                  </a:lnTo>
                  <a:lnTo>
                    <a:pt x="746" y="160"/>
                  </a:lnTo>
                  <a:lnTo>
                    <a:pt x="734" y="158"/>
                  </a:lnTo>
                  <a:lnTo>
                    <a:pt x="732" y="153"/>
                  </a:lnTo>
                  <a:lnTo>
                    <a:pt x="730" y="146"/>
                  </a:lnTo>
                  <a:lnTo>
                    <a:pt x="730" y="139"/>
                  </a:lnTo>
                  <a:lnTo>
                    <a:pt x="732" y="134"/>
                  </a:lnTo>
                  <a:lnTo>
                    <a:pt x="734" y="127"/>
                  </a:lnTo>
                  <a:lnTo>
                    <a:pt x="732" y="123"/>
                  </a:lnTo>
                  <a:lnTo>
                    <a:pt x="732" y="118"/>
                  </a:lnTo>
                  <a:lnTo>
                    <a:pt x="734" y="116"/>
                  </a:lnTo>
                  <a:lnTo>
                    <a:pt x="737" y="111"/>
                  </a:lnTo>
                  <a:lnTo>
                    <a:pt x="741" y="101"/>
                  </a:lnTo>
                  <a:lnTo>
                    <a:pt x="746" y="99"/>
                  </a:lnTo>
                  <a:lnTo>
                    <a:pt x="746" y="97"/>
                  </a:lnTo>
                  <a:lnTo>
                    <a:pt x="748" y="97"/>
                  </a:lnTo>
                  <a:lnTo>
                    <a:pt x="753" y="101"/>
                  </a:lnTo>
                  <a:lnTo>
                    <a:pt x="763" y="104"/>
                  </a:lnTo>
                  <a:lnTo>
                    <a:pt x="770" y="108"/>
                  </a:lnTo>
                  <a:lnTo>
                    <a:pt x="774" y="106"/>
                  </a:lnTo>
                  <a:lnTo>
                    <a:pt x="779" y="104"/>
                  </a:lnTo>
                  <a:lnTo>
                    <a:pt x="796" y="94"/>
                  </a:lnTo>
                  <a:lnTo>
                    <a:pt x="796" y="92"/>
                  </a:lnTo>
                  <a:lnTo>
                    <a:pt x="796" y="87"/>
                  </a:lnTo>
                  <a:lnTo>
                    <a:pt x="796" y="83"/>
                  </a:lnTo>
                  <a:lnTo>
                    <a:pt x="798" y="80"/>
                  </a:lnTo>
                  <a:lnTo>
                    <a:pt x="800" y="75"/>
                  </a:lnTo>
                  <a:lnTo>
                    <a:pt x="803" y="66"/>
                  </a:lnTo>
                  <a:lnTo>
                    <a:pt x="805" y="59"/>
                  </a:lnTo>
                  <a:lnTo>
                    <a:pt x="808" y="54"/>
                  </a:lnTo>
                  <a:lnTo>
                    <a:pt x="812" y="49"/>
                  </a:lnTo>
                  <a:lnTo>
                    <a:pt x="822" y="42"/>
                  </a:lnTo>
                  <a:lnTo>
                    <a:pt x="822" y="40"/>
                  </a:lnTo>
                  <a:lnTo>
                    <a:pt x="819" y="38"/>
                  </a:lnTo>
                  <a:lnTo>
                    <a:pt x="819" y="28"/>
                  </a:lnTo>
                  <a:lnTo>
                    <a:pt x="817" y="28"/>
                  </a:lnTo>
                  <a:lnTo>
                    <a:pt x="815" y="28"/>
                  </a:lnTo>
                  <a:lnTo>
                    <a:pt x="808" y="28"/>
                  </a:lnTo>
                  <a:lnTo>
                    <a:pt x="808" y="28"/>
                  </a:lnTo>
                  <a:lnTo>
                    <a:pt x="810" y="23"/>
                  </a:lnTo>
                  <a:lnTo>
                    <a:pt x="817" y="16"/>
                  </a:lnTo>
                  <a:lnTo>
                    <a:pt x="819" y="12"/>
                  </a:lnTo>
                  <a:lnTo>
                    <a:pt x="824" y="7"/>
                  </a:lnTo>
                  <a:lnTo>
                    <a:pt x="836" y="5"/>
                  </a:lnTo>
                  <a:lnTo>
                    <a:pt x="848" y="2"/>
                  </a:lnTo>
                  <a:lnTo>
                    <a:pt x="855" y="2"/>
                  </a:lnTo>
                  <a:lnTo>
                    <a:pt x="867" y="0"/>
                  </a:lnTo>
                  <a:lnTo>
                    <a:pt x="871" y="0"/>
                  </a:lnTo>
                  <a:lnTo>
                    <a:pt x="876" y="2"/>
                  </a:lnTo>
                  <a:lnTo>
                    <a:pt x="883" y="7"/>
                  </a:lnTo>
                  <a:lnTo>
                    <a:pt x="885" y="9"/>
                  </a:lnTo>
                  <a:lnTo>
                    <a:pt x="890" y="12"/>
                  </a:lnTo>
                  <a:lnTo>
                    <a:pt x="897" y="9"/>
                  </a:lnTo>
                  <a:lnTo>
                    <a:pt x="902" y="12"/>
                  </a:lnTo>
                  <a:lnTo>
                    <a:pt x="907" y="14"/>
                  </a:lnTo>
                  <a:lnTo>
                    <a:pt x="909" y="19"/>
                  </a:lnTo>
                  <a:lnTo>
                    <a:pt x="914" y="23"/>
                  </a:lnTo>
                  <a:lnTo>
                    <a:pt x="914" y="28"/>
                  </a:lnTo>
                  <a:lnTo>
                    <a:pt x="916" y="31"/>
                  </a:lnTo>
                  <a:lnTo>
                    <a:pt x="919" y="33"/>
                  </a:lnTo>
                  <a:lnTo>
                    <a:pt x="919" y="35"/>
                  </a:lnTo>
                  <a:lnTo>
                    <a:pt x="919" y="33"/>
                  </a:lnTo>
                  <a:lnTo>
                    <a:pt x="921" y="38"/>
                  </a:lnTo>
                  <a:lnTo>
                    <a:pt x="921" y="42"/>
                  </a:lnTo>
                  <a:lnTo>
                    <a:pt x="923" y="49"/>
                  </a:lnTo>
                  <a:lnTo>
                    <a:pt x="926" y="54"/>
                  </a:lnTo>
                  <a:lnTo>
                    <a:pt x="928" y="59"/>
                  </a:lnTo>
                  <a:lnTo>
                    <a:pt x="933" y="73"/>
                  </a:lnTo>
                  <a:lnTo>
                    <a:pt x="935" y="85"/>
                  </a:lnTo>
                  <a:lnTo>
                    <a:pt x="937" y="92"/>
                  </a:lnTo>
                  <a:lnTo>
                    <a:pt x="937" y="92"/>
                  </a:lnTo>
                  <a:lnTo>
                    <a:pt x="937" y="94"/>
                  </a:lnTo>
                  <a:lnTo>
                    <a:pt x="940" y="99"/>
                  </a:lnTo>
                  <a:lnTo>
                    <a:pt x="940" y="106"/>
                  </a:lnTo>
                  <a:lnTo>
                    <a:pt x="942" y="108"/>
                  </a:lnTo>
                  <a:lnTo>
                    <a:pt x="949" y="111"/>
                  </a:lnTo>
                  <a:lnTo>
                    <a:pt x="956" y="108"/>
                  </a:lnTo>
                  <a:lnTo>
                    <a:pt x="961" y="111"/>
                  </a:lnTo>
                  <a:lnTo>
                    <a:pt x="968" y="111"/>
                  </a:lnTo>
                  <a:lnTo>
                    <a:pt x="973" y="113"/>
                  </a:lnTo>
                  <a:lnTo>
                    <a:pt x="985" y="123"/>
                  </a:lnTo>
                  <a:lnTo>
                    <a:pt x="989" y="125"/>
                  </a:lnTo>
                  <a:lnTo>
                    <a:pt x="992" y="125"/>
                  </a:lnTo>
                  <a:lnTo>
                    <a:pt x="994" y="127"/>
                  </a:lnTo>
                  <a:lnTo>
                    <a:pt x="994" y="130"/>
                  </a:lnTo>
                  <a:lnTo>
                    <a:pt x="994" y="130"/>
                  </a:lnTo>
                  <a:lnTo>
                    <a:pt x="994" y="134"/>
                  </a:lnTo>
                  <a:lnTo>
                    <a:pt x="996" y="137"/>
                  </a:lnTo>
                  <a:lnTo>
                    <a:pt x="996" y="142"/>
                  </a:lnTo>
                  <a:lnTo>
                    <a:pt x="996" y="149"/>
                  </a:lnTo>
                  <a:lnTo>
                    <a:pt x="1001" y="153"/>
                  </a:lnTo>
                  <a:lnTo>
                    <a:pt x="1004" y="156"/>
                  </a:lnTo>
                  <a:lnTo>
                    <a:pt x="1008" y="156"/>
                  </a:lnTo>
                  <a:lnTo>
                    <a:pt x="1015" y="158"/>
                  </a:lnTo>
                  <a:lnTo>
                    <a:pt x="1020" y="158"/>
                  </a:lnTo>
                  <a:lnTo>
                    <a:pt x="1030" y="153"/>
                  </a:lnTo>
                  <a:lnTo>
                    <a:pt x="1041" y="146"/>
                  </a:lnTo>
                  <a:lnTo>
                    <a:pt x="1046" y="146"/>
                  </a:lnTo>
                  <a:lnTo>
                    <a:pt x="1058" y="139"/>
                  </a:lnTo>
                  <a:lnTo>
                    <a:pt x="1067" y="137"/>
                  </a:lnTo>
                  <a:lnTo>
                    <a:pt x="1067" y="137"/>
                  </a:lnTo>
                  <a:lnTo>
                    <a:pt x="1065" y="142"/>
                  </a:lnTo>
                  <a:lnTo>
                    <a:pt x="1065" y="149"/>
                  </a:lnTo>
                  <a:lnTo>
                    <a:pt x="1067" y="153"/>
                  </a:lnTo>
                  <a:lnTo>
                    <a:pt x="1065" y="160"/>
                  </a:lnTo>
                  <a:lnTo>
                    <a:pt x="1063" y="163"/>
                  </a:lnTo>
                  <a:lnTo>
                    <a:pt x="1058" y="168"/>
                  </a:lnTo>
                  <a:lnTo>
                    <a:pt x="1056" y="175"/>
                  </a:lnTo>
                  <a:lnTo>
                    <a:pt x="1053" y="184"/>
                  </a:lnTo>
                  <a:lnTo>
                    <a:pt x="1048" y="198"/>
                  </a:lnTo>
                  <a:lnTo>
                    <a:pt x="1044" y="210"/>
                  </a:lnTo>
                  <a:lnTo>
                    <a:pt x="1039" y="215"/>
                  </a:lnTo>
                  <a:lnTo>
                    <a:pt x="1037" y="222"/>
                  </a:lnTo>
                  <a:lnTo>
                    <a:pt x="1034" y="224"/>
                  </a:lnTo>
                  <a:lnTo>
                    <a:pt x="1032" y="224"/>
                  </a:lnTo>
                  <a:lnTo>
                    <a:pt x="1015" y="220"/>
                  </a:lnTo>
                  <a:lnTo>
                    <a:pt x="1013" y="222"/>
                  </a:lnTo>
                  <a:lnTo>
                    <a:pt x="1001" y="234"/>
                  </a:lnTo>
                  <a:lnTo>
                    <a:pt x="1004" y="238"/>
                  </a:lnTo>
                  <a:lnTo>
                    <a:pt x="1006" y="245"/>
                  </a:lnTo>
                  <a:lnTo>
                    <a:pt x="1006" y="264"/>
                  </a:lnTo>
                  <a:lnTo>
                    <a:pt x="999" y="274"/>
                  </a:lnTo>
                  <a:lnTo>
                    <a:pt x="994" y="279"/>
                  </a:lnTo>
                  <a:lnTo>
                    <a:pt x="994" y="283"/>
                  </a:lnTo>
                  <a:lnTo>
                    <a:pt x="992" y="283"/>
                  </a:lnTo>
                  <a:lnTo>
                    <a:pt x="989" y="279"/>
                  </a:lnTo>
                  <a:lnTo>
                    <a:pt x="985" y="276"/>
                  </a:lnTo>
                  <a:lnTo>
                    <a:pt x="982" y="279"/>
                  </a:lnTo>
                  <a:lnTo>
                    <a:pt x="980" y="283"/>
                  </a:lnTo>
                  <a:lnTo>
                    <a:pt x="975" y="290"/>
                  </a:lnTo>
                  <a:lnTo>
                    <a:pt x="966" y="297"/>
                  </a:lnTo>
                  <a:lnTo>
                    <a:pt x="959" y="300"/>
                  </a:lnTo>
                  <a:lnTo>
                    <a:pt x="952" y="300"/>
                  </a:lnTo>
                  <a:lnTo>
                    <a:pt x="952" y="302"/>
                  </a:lnTo>
                  <a:lnTo>
                    <a:pt x="952" y="312"/>
                  </a:lnTo>
                  <a:lnTo>
                    <a:pt x="940" y="312"/>
                  </a:lnTo>
                  <a:lnTo>
                    <a:pt x="935" y="309"/>
                  </a:lnTo>
                  <a:lnTo>
                    <a:pt x="928" y="309"/>
                  </a:lnTo>
                  <a:lnTo>
                    <a:pt x="926" y="312"/>
                  </a:lnTo>
                  <a:lnTo>
                    <a:pt x="916" y="321"/>
                  </a:lnTo>
                  <a:lnTo>
                    <a:pt x="911" y="326"/>
                  </a:lnTo>
                  <a:lnTo>
                    <a:pt x="900" y="333"/>
                  </a:lnTo>
                  <a:lnTo>
                    <a:pt x="895" y="333"/>
                  </a:lnTo>
                  <a:lnTo>
                    <a:pt x="885" y="345"/>
                  </a:lnTo>
                  <a:lnTo>
                    <a:pt x="885" y="347"/>
                  </a:lnTo>
                  <a:lnTo>
                    <a:pt x="883" y="347"/>
                  </a:lnTo>
                  <a:lnTo>
                    <a:pt x="881" y="349"/>
                  </a:lnTo>
                  <a:lnTo>
                    <a:pt x="876" y="349"/>
                  </a:lnTo>
                  <a:lnTo>
                    <a:pt x="869" y="352"/>
                  </a:lnTo>
                  <a:lnTo>
                    <a:pt x="867" y="349"/>
                  </a:lnTo>
                  <a:lnTo>
                    <a:pt x="867" y="349"/>
                  </a:lnTo>
                  <a:lnTo>
                    <a:pt x="862" y="354"/>
                  </a:lnTo>
                  <a:lnTo>
                    <a:pt x="850" y="359"/>
                  </a:lnTo>
                  <a:lnTo>
                    <a:pt x="848" y="361"/>
                  </a:lnTo>
                  <a:lnTo>
                    <a:pt x="845" y="364"/>
                  </a:lnTo>
                  <a:lnTo>
                    <a:pt x="843" y="368"/>
                  </a:lnTo>
                  <a:lnTo>
                    <a:pt x="838" y="368"/>
                  </a:lnTo>
                  <a:lnTo>
                    <a:pt x="836" y="368"/>
                  </a:lnTo>
                  <a:lnTo>
                    <a:pt x="831" y="373"/>
                  </a:lnTo>
                  <a:lnTo>
                    <a:pt x="829" y="371"/>
                  </a:lnTo>
                  <a:lnTo>
                    <a:pt x="831" y="366"/>
                  </a:lnTo>
                  <a:lnTo>
                    <a:pt x="836" y="366"/>
                  </a:lnTo>
                  <a:lnTo>
                    <a:pt x="838" y="361"/>
                  </a:lnTo>
                  <a:lnTo>
                    <a:pt x="838" y="359"/>
                  </a:lnTo>
                  <a:lnTo>
                    <a:pt x="836" y="357"/>
                  </a:lnTo>
                  <a:lnTo>
                    <a:pt x="833" y="357"/>
                  </a:lnTo>
                  <a:lnTo>
                    <a:pt x="831" y="354"/>
                  </a:lnTo>
                  <a:lnTo>
                    <a:pt x="836" y="354"/>
                  </a:lnTo>
                  <a:lnTo>
                    <a:pt x="836" y="349"/>
                  </a:lnTo>
                  <a:lnTo>
                    <a:pt x="838" y="347"/>
                  </a:lnTo>
                  <a:lnTo>
                    <a:pt x="845" y="338"/>
                  </a:lnTo>
                  <a:lnTo>
                    <a:pt x="848" y="333"/>
                  </a:lnTo>
                  <a:lnTo>
                    <a:pt x="848" y="331"/>
                  </a:lnTo>
                  <a:lnTo>
                    <a:pt x="843" y="326"/>
                  </a:lnTo>
                  <a:lnTo>
                    <a:pt x="843" y="323"/>
                  </a:lnTo>
                  <a:lnTo>
                    <a:pt x="841" y="321"/>
                  </a:lnTo>
                  <a:lnTo>
                    <a:pt x="838" y="323"/>
                  </a:lnTo>
                  <a:lnTo>
                    <a:pt x="831" y="323"/>
                  </a:lnTo>
                  <a:lnTo>
                    <a:pt x="829" y="323"/>
                  </a:lnTo>
                  <a:lnTo>
                    <a:pt x="824" y="331"/>
                  </a:lnTo>
                  <a:lnTo>
                    <a:pt x="819" y="335"/>
                  </a:lnTo>
                  <a:lnTo>
                    <a:pt x="817" y="338"/>
                  </a:lnTo>
                  <a:lnTo>
                    <a:pt x="817" y="340"/>
                  </a:lnTo>
                  <a:lnTo>
                    <a:pt x="808" y="342"/>
                  </a:lnTo>
                  <a:lnTo>
                    <a:pt x="803" y="347"/>
                  </a:lnTo>
                  <a:lnTo>
                    <a:pt x="800" y="349"/>
                  </a:lnTo>
                  <a:lnTo>
                    <a:pt x="798" y="354"/>
                  </a:lnTo>
                  <a:lnTo>
                    <a:pt x="798" y="357"/>
                  </a:lnTo>
                  <a:lnTo>
                    <a:pt x="793" y="361"/>
                  </a:lnTo>
                  <a:lnTo>
                    <a:pt x="791" y="364"/>
                  </a:lnTo>
                  <a:lnTo>
                    <a:pt x="786" y="364"/>
                  </a:lnTo>
                  <a:lnTo>
                    <a:pt x="784" y="364"/>
                  </a:lnTo>
                  <a:lnTo>
                    <a:pt x="779" y="364"/>
                  </a:lnTo>
                  <a:lnTo>
                    <a:pt x="777" y="364"/>
                  </a:lnTo>
                  <a:lnTo>
                    <a:pt x="774" y="364"/>
                  </a:lnTo>
                  <a:lnTo>
                    <a:pt x="770" y="366"/>
                  </a:lnTo>
                  <a:lnTo>
                    <a:pt x="770" y="373"/>
                  </a:lnTo>
                  <a:lnTo>
                    <a:pt x="767" y="378"/>
                  </a:lnTo>
                  <a:lnTo>
                    <a:pt x="774" y="385"/>
                  </a:lnTo>
                  <a:lnTo>
                    <a:pt x="774" y="387"/>
                  </a:lnTo>
                  <a:lnTo>
                    <a:pt x="777" y="387"/>
                  </a:lnTo>
                  <a:lnTo>
                    <a:pt x="779" y="387"/>
                  </a:lnTo>
                  <a:lnTo>
                    <a:pt x="782" y="390"/>
                  </a:lnTo>
                  <a:lnTo>
                    <a:pt x="784" y="390"/>
                  </a:lnTo>
                  <a:lnTo>
                    <a:pt x="786" y="394"/>
                  </a:lnTo>
                  <a:lnTo>
                    <a:pt x="789" y="397"/>
                  </a:lnTo>
                  <a:lnTo>
                    <a:pt x="789" y="399"/>
                  </a:lnTo>
                  <a:lnTo>
                    <a:pt x="789" y="401"/>
                  </a:lnTo>
                  <a:lnTo>
                    <a:pt x="791" y="406"/>
                  </a:lnTo>
                  <a:lnTo>
                    <a:pt x="800" y="408"/>
                  </a:lnTo>
                  <a:lnTo>
                    <a:pt x="805" y="408"/>
                  </a:lnTo>
                  <a:lnTo>
                    <a:pt x="810" y="404"/>
                  </a:lnTo>
                  <a:lnTo>
                    <a:pt x="812" y="399"/>
                  </a:lnTo>
                  <a:lnTo>
                    <a:pt x="815" y="397"/>
                  </a:lnTo>
                  <a:lnTo>
                    <a:pt x="822" y="394"/>
                  </a:lnTo>
                  <a:lnTo>
                    <a:pt x="824" y="392"/>
                  </a:lnTo>
                  <a:lnTo>
                    <a:pt x="829" y="397"/>
                  </a:lnTo>
                  <a:lnTo>
                    <a:pt x="831" y="399"/>
                  </a:lnTo>
                  <a:lnTo>
                    <a:pt x="833" y="399"/>
                  </a:lnTo>
                  <a:lnTo>
                    <a:pt x="836" y="401"/>
                  </a:lnTo>
                  <a:lnTo>
                    <a:pt x="838" y="401"/>
                  </a:lnTo>
                  <a:lnTo>
                    <a:pt x="843" y="401"/>
                  </a:lnTo>
                  <a:lnTo>
                    <a:pt x="845" y="399"/>
                  </a:lnTo>
                  <a:lnTo>
                    <a:pt x="850" y="401"/>
                  </a:lnTo>
                  <a:lnTo>
                    <a:pt x="852" y="401"/>
                  </a:lnTo>
                  <a:lnTo>
                    <a:pt x="855" y="404"/>
                  </a:lnTo>
                  <a:lnTo>
                    <a:pt x="855" y="406"/>
                  </a:lnTo>
                  <a:lnTo>
                    <a:pt x="852" y="411"/>
                  </a:lnTo>
                  <a:lnTo>
                    <a:pt x="852" y="411"/>
                  </a:lnTo>
                  <a:lnTo>
                    <a:pt x="850" y="416"/>
                  </a:lnTo>
                  <a:lnTo>
                    <a:pt x="848" y="413"/>
                  </a:lnTo>
                  <a:lnTo>
                    <a:pt x="848" y="411"/>
                  </a:lnTo>
                  <a:lnTo>
                    <a:pt x="845" y="413"/>
                  </a:lnTo>
                  <a:lnTo>
                    <a:pt x="843" y="411"/>
                  </a:lnTo>
                  <a:lnTo>
                    <a:pt x="841" y="413"/>
                  </a:lnTo>
                  <a:lnTo>
                    <a:pt x="838" y="416"/>
                  </a:lnTo>
                  <a:lnTo>
                    <a:pt x="831" y="418"/>
                  </a:lnTo>
                  <a:lnTo>
                    <a:pt x="829" y="420"/>
                  </a:lnTo>
                  <a:lnTo>
                    <a:pt x="824" y="420"/>
                  </a:lnTo>
                  <a:lnTo>
                    <a:pt x="824" y="423"/>
                  </a:lnTo>
                  <a:lnTo>
                    <a:pt x="824" y="423"/>
                  </a:lnTo>
                  <a:lnTo>
                    <a:pt x="822" y="425"/>
                  </a:lnTo>
                  <a:lnTo>
                    <a:pt x="819" y="430"/>
                  </a:lnTo>
                  <a:lnTo>
                    <a:pt x="817" y="430"/>
                  </a:lnTo>
                  <a:lnTo>
                    <a:pt x="815" y="427"/>
                  </a:lnTo>
                  <a:lnTo>
                    <a:pt x="812" y="427"/>
                  </a:lnTo>
                  <a:lnTo>
                    <a:pt x="810" y="430"/>
                  </a:lnTo>
                  <a:lnTo>
                    <a:pt x="812" y="432"/>
                  </a:lnTo>
                  <a:lnTo>
                    <a:pt x="812" y="434"/>
                  </a:lnTo>
                  <a:lnTo>
                    <a:pt x="810" y="439"/>
                  </a:lnTo>
                  <a:lnTo>
                    <a:pt x="803" y="442"/>
                  </a:lnTo>
                  <a:lnTo>
                    <a:pt x="803" y="446"/>
                  </a:lnTo>
                  <a:lnTo>
                    <a:pt x="798" y="451"/>
                  </a:lnTo>
                  <a:lnTo>
                    <a:pt x="796" y="456"/>
                  </a:lnTo>
                  <a:lnTo>
                    <a:pt x="796" y="458"/>
                  </a:lnTo>
                  <a:lnTo>
                    <a:pt x="800" y="460"/>
                  </a:lnTo>
                  <a:lnTo>
                    <a:pt x="803" y="463"/>
                  </a:lnTo>
                  <a:lnTo>
                    <a:pt x="812" y="468"/>
                  </a:lnTo>
                  <a:lnTo>
                    <a:pt x="815" y="470"/>
                  </a:lnTo>
                  <a:lnTo>
                    <a:pt x="817" y="477"/>
                  </a:lnTo>
                  <a:lnTo>
                    <a:pt x="819" y="479"/>
                  </a:lnTo>
                  <a:lnTo>
                    <a:pt x="822" y="491"/>
                  </a:lnTo>
                  <a:lnTo>
                    <a:pt x="824" y="496"/>
                  </a:lnTo>
                  <a:lnTo>
                    <a:pt x="824" y="501"/>
                  </a:lnTo>
                  <a:lnTo>
                    <a:pt x="829" y="505"/>
                  </a:lnTo>
                  <a:lnTo>
                    <a:pt x="831" y="508"/>
                  </a:lnTo>
                  <a:lnTo>
                    <a:pt x="833" y="510"/>
                  </a:lnTo>
                  <a:lnTo>
                    <a:pt x="838" y="517"/>
                  </a:lnTo>
                  <a:lnTo>
                    <a:pt x="843" y="522"/>
                  </a:lnTo>
                  <a:lnTo>
                    <a:pt x="841" y="522"/>
                  </a:lnTo>
                  <a:lnTo>
                    <a:pt x="836" y="519"/>
                  </a:lnTo>
                  <a:lnTo>
                    <a:pt x="831" y="519"/>
                  </a:lnTo>
                  <a:lnTo>
                    <a:pt x="829" y="519"/>
                  </a:lnTo>
                  <a:lnTo>
                    <a:pt x="824" y="517"/>
                  </a:lnTo>
                  <a:lnTo>
                    <a:pt x="819" y="515"/>
                  </a:lnTo>
                  <a:lnTo>
                    <a:pt x="812" y="517"/>
                  </a:lnTo>
                  <a:lnTo>
                    <a:pt x="812" y="517"/>
                  </a:lnTo>
                  <a:lnTo>
                    <a:pt x="819" y="517"/>
                  </a:lnTo>
                  <a:lnTo>
                    <a:pt x="822" y="517"/>
                  </a:lnTo>
                  <a:lnTo>
                    <a:pt x="822" y="519"/>
                  </a:lnTo>
                  <a:lnTo>
                    <a:pt x="826" y="519"/>
                  </a:lnTo>
                  <a:lnTo>
                    <a:pt x="829" y="524"/>
                  </a:lnTo>
                  <a:lnTo>
                    <a:pt x="833" y="527"/>
                  </a:lnTo>
                  <a:lnTo>
                    <a:pt x="836" y="529"/>
                  </a:lnTo>
                  <a:lnTo>
                    <a:pt x="836" y="529"/>
                  </a:lnTo>
                  <a:lnTo>
                    <a:pt x="841" y="534"/>
                  </a:lnTo>
                  <a:lnTo>
                    <a:pt x="843" y="536"/>
                  </a:lnTo>
                  <a:lnTo>
                    <a:pt x="843" y="538"/>
                  </a:lnTo>
                  <a:lnTo>
                    <a:pt x="838" y="538"/>
                  </a:lnTo>
                  <a:lnTo>
                    <a:pt x="833" y="543"/>
                  </a:lnTo>
                  <a:lnTo>
                    <a:pt x="831" y="543"/>
                  </a:lnTo>
                  <a:lnTo>
                    <a:pt x="829" y="545"/>
                  </a:lnTo>
                  <a:lnTo>
                    <a:pt x="826" y="545"/>
                  </a:lnTo>
                  <a:lnTo>
                    <a:pt x="824" y="548"/>
                  </a:lnTo>
                  <a:lnTo>
                    <a:pt x="819" y="548"/>
                  </a:lnTo>
                  <a:lnTo>
                    <a:pt x="815" y="550"/>
                  </a:lnTo>
                  <a:lnTo>
                    <a:pt x="812" y="550"/>
                  </a:lnTo>
                  <a:lnTo>
                    <a:pt x="815" y="550"/>
                  </a:lnTo>
                  <a:lnTo>
                    <a:pt x="819" y="553"/>
                  </a:lnTo>
                  <a:lnTo>
                    <a:pt x="822" y="553"/>
                  </a:lnTo>
                  <a:lnTo>
                    <a:pt x="829" y="550"/>
                  </a:lnTo>
                  <a:lnTo>
                    <a:pt x="831" y="553"/>
                  </a:lnTo>
                  <a:lnTo>
                    <a:pt x="836" y="555"/>
                  </a:lnTo>
                  <a:lnTo>
                    <a:pt x="836" y="555"/>
                  </a:lnTo>
                  <a:lnTo>
                    <a:pt x="838" y="557"/>
                  </a:lnTo>
                  <a:lnTo>
                    <a:pt x="841" y="557"/>
                  </a:lnTo>
                  <a:lnTo>
                    <a:pt x="843" y="557"/>
                  </a:lnTo>
                  <a:lnTo>
                    <a:pt x="843" y="557"/>
                  </a:lnTo>
                  <a:lnTo>
                    <a:pt x="843" y="560"/>
                  </a:lnTo>
                  <a:lnTo>
                    <a:pt x="838" y="564"/>
                  </a:lnTo>
                  <a:lnTo>
                    <a:pt x="833" y="567"/>
                  </a:lnTo>
                  <a:lnTo>
                    <a:pt x="836" y="567"/>
                  </a:lnTo>
                  <a:lnTo>
                    <a:pt x="841" y="564"/>
                  </a:lnTo>
                  <a:lnTo>
                    <a:pt x="841" y="569"/>
                  </a:lnTo>
                  <a:lnTo>
                    <a:pt x="841" y="571"/>
                  </a:lnTo>
                  <a:lnTo>
                    <a:pt x="841" y="571"/>
                  </a:lnTo>
                  <a:lnTo>
                    <a:pt x="838" y="571"/>
                  </a:lnTo>
                  <a:lnTo>
                    <a:pt x="833" y="571"/>
                  </a:lnTo>
                  <a:lnTo>
                    <a:pt x="833" y="574"/>
                  </a:lnTo>
                  <a:lnTo>
                    <a:pt x="836" y="576"/>
                  </a:lnTo>
                  <a:lnTo>
                    <a:pt x="836" y="581"/>
                  </a:lnTo>
                  <a:lnTo>
                    <a:pt x="833" y="583"/>
                  </a:lnTo>
                  <a:lnTo>
                    <a:pt x="833" y="588"/>
                  </a:lnTo>
                  <a:lnTo>
                    <a:pt x="831" y="593"/>
                  </a:lnTo>
                  <a:lnTo>
                    <a:pt x="831" y="593"/>
                  </a:lnTo>
                  <a:lnTo>
                    <a:pt x="829" y="590"/>
                  </a:lnTo>
                  <a:lnTo>
                    <a:pt x="826" y="590"/>
                  </a:lnTo>
                  <a:lnTo>
                    <a:pt x="824" y="595"/>
                  </a:lnTo>
                  <a:lnTo>
                    <a:pt x="822" y="597"/>
                  </a:lnTo>
                  <a:lnTo>
                    <a:pt x="822" y="600"/>
                  </a:lnTo>
                  <a:lnTo>
                    <a:pt x="819" y="600"/>
                  </a:lnTo>
                  <a:lnTo>
                    <a:pt x="819" y="602"/>
                  </a:lnTo>
                  <a:lnTo>
                    <a:pt x="817" y="605"/>
                  </a:lnTo>
                  <a:lnTo>
                    <a:pt x="817" y="607"/>
                  </a:lnTo>
                  <a:lnTo>
                    <a:pt x="817" y="609"/>
                  </a:lnTo>
                  <a:lnTo>
                    <a:pt x="815" y="614"/>
                  </a:lnTo>
                  <a:lnTo>
                    <a:pt x="812" y="614"/>
                  </a:lnTo>
                  <a:lnTo>
                    <a:pt x="810" y="619"/>
                  </a:lnTo>
                  <a:lnTo>
                    <a:pt x="810" y="621"/>
                  </a:lnTo>
                  <a:lnTo>
                    <a:pt x="808" y="623"/>
                  </a:lnTo>
                  <a:lnTo>
                    <a:pt x="805" y="623"/>
                  </a:lnTo>
                  <a:lnTo>
                    <a:pt x="805" y="619"/>
                  </a:lnTo>
                  <a:lnTo>
                    <a:pt x="803" y="619"/>
                  </a:lnTo>
                  <a:lnTo>
                    <a:pt x="800" y="621"/>
                  </a:lnTo>
                  <a:lnTo>
                    <a:pt x="803" y="626"/>
                  </a:lnTo>
                  <a:lnTo>
                    <a:pt x="803" y="628"/>
                  </a:lnTo>
                  <a:lnTo>
                    <a:pt x="803" y="633"/>
                  </a:lnTo>
                  <a:lnTo>
                    <a:pt x="803" y="635"/>
                  </a:lnTo>
                  <a:lnTo>
                    <a:pt x="800" y="638"/>
                  </a:lnTo>
                  <a:lnTo>
                    <a:pt x="800" y="638"/>
                  </a:lnTo>
                  <a:lnTo>
                    <a:pt x="800" y="640"/>
                  </a:lnTo>
                  <a:lnTo>
                    <a:pt x="798" y="640"/>
                  </a:lnTo>
                  <a:lnTo>
                    <a:pt x="798" y="642"/>
                  </a:lnTo>
                  <a:lnTo>
                    <a:pt x="798" y="645"/>
                  </a:lnTo>
                  <a:lnTo>
                    <a:pt x="798" y="645"/>
                  </a:lnTo>
                  <a:lnTo>
                    <a:pt x="798" y="645"/>
                  </a:lnTo>
                  <a:lnTo>
                    <a:pt x="796" y="645"/>
                  </a:lnTo>
                  <a:lnTo>
                    <a:pt x="793" y="647"/>
                  </a:lnTo>
                  <a:lnTo>
                    <a:pt x="796" y="649"/>
                  </a:lnTo>
                  <a:lnTo>
                    <a:pt x="793" y="649"/>
                  </a:lnTo>
                  <a:lnTo>
                    <a:pt x="791" y="649"/>
                  </a:lnTo>
                  <a:lnTo>
                    <a:pt x="791" y="649"/>
                  </a:lnTo>
                  <a:lnTo>
                    <a:pt x="789" y="654"/>
                  </a:lnTo>
                  <a:lnTo>
                    <a:pt x="786" y="656"/>
                  </a:lnTo>
                  <a:lnTo>
                    <a:pt x="786" y="659"/>
                  </a:lnTo>
                  <a:lnTo>
                    <a:pt x="784" y="661"/>
                  </a:lnTo>
                  <a:lnTo>
                    <a:pt x="779" y="661"/>
                  </a:lnTo>
                  <a:lnTo>
                    <a:pt x="777" y="661"/>
                  </a:lnTo>
                  <a:lnTo>
                    <a:pt x="774" y="664"/>
                  </a:lnTo>
                  <a:lnTo>
                    <a:pt x="774" y="664"/>
                  </a:lnTo>
                  <a:lnTo>
                    <a:pt x="774" y="666"/>
                  </a:lnTo>
                  <a:lnTo>
                    <a:pt x="774" y="668"/>
                  </a:lnTo>
                  <a:lnTo>
                    <a:pt x="770" y="673"/>
                  </a:lnTo>
                  <a:lnTo>
                    <a:pt x="767" y="673"/>
                  </a:lnTo>
                  <a:lnTo>
                    <a:pt x="767" y="678"/>
                  </a:lnTo>
                  <a:lnTo>
                    <a:pt x="765" y="675"/>
                  </a:lnTo>
                  <a:lnTo>
                    <a:pt x="765" y="675"/>
                  </a:lnTo>
                  <a:lnTo>
                    <a:pt x="763" y="678"/>
                  </a:lnTo>
                  <a:lnTo>
                    <a:pt x="763" y="678"/>
                  </a:lnTo>
                  <a:lnTo>
                    <a:pt x="763" y="678"/>
                  </a:lnTo>
                  <a:lnTo>
                    <a:pt x="758" y="680"/>
                  </a:lnTo>
                  <a:lnTo>
                    <a:pt x="758" y="680"/>
                  </a:lnTo>
                  <a:lnTo>
                    <a:pt x="756" y="680"/>
                  </a:lnTo>
                  <a:lnTo>
                    <a:pt x="753" y="685"/>
                  </a:lnTo>
                  <a:lnTo>
                    <a:pt x="751" y="687"/>
                  </a:lnTo>
                  <a:lnTo>
                    <a:pt x="748" y="687"/>
                  </a:lnTo>
                  <a:lnTo>
                    <a:pt x="748" y="690"/>
                  </a:lnTo>
                  <a:lnTo>
                    <a:pt x="746" y="692"/>
                  </a:lnTo>
                  <a:lnTo>
                    <a:pt x="741" y="694"/>
                  </a:lnTo>
                  <a:lnTo>
                    <a:pt x="737" y="697"/>
                  </a:lnTo>
                  <a:lnTo>
                    <a:pt x="734" y="694"/>
                  </a:lnTo>
                  <a:lnTo>
                    <a:pt x="732" y="694"/>
                  </a:lnTo>
                  <a:lnTo>
                    <a:pt x="732" y="697"/>
                  </a:lnTo>
                  <a:lnTo>
                    <a:pt x="732" y="697"/>
                  </a:lnTo>
                  <a:lnTo>
                    <a:pt x="730" y="697"/>
                  </a:lnTo>
                  <a:lnTo>
                    <a:pt x="727" y="697"/>
                  </a:lnTo>
                  <a:lnTo>
                    <a:pt x="727" y="694"/>
                  </a:lnTo>
                  <a:lnTo>
                    <a:pt x="725" y="694"/>
                  </a:lnTo>
                  <a:lnTo>
                    <a:pt x="722" y="697"/>
                  </a:lnTo>
                  <a:lnTo>
                    <a:pt x="720" y="699"/>
                  </a:lnTo>
                  <a:lnTo>
                    <a:pt x="718" y="699"/>
                  </a:lnTo>
                  <a:lnTo>
                    <a:pt x="718" y="697"/>
                  </a:lnTo>
                  <a:lnTo>
                    <a:pt x="718" y="697"/>
                  </a:lnTo>
                  <a:lnTo>
                    <a:pt x="713" y="697"/>
                  </a:lnTo>
                  <a:lnTo>
                    <a:pt x="713" y="699"/>
                  </a:lnTo>
                  <a:lnTo>
                    <a:pt x="713" y="69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59" name="Freeform 953">
              <a:extLst>
                <a:ext uri="{FF2B5EF4-FFF2-40B4-BE49-F238E27FC236}">
                  <a16:creationId xmlns:a16="http://schemas.microsoft.com/office/drawing/2014/main" id="{46641169-65A5-4793-96B0-6F4D34EDD8EE}"/>
                </a:ext>
              </a:extLst>
            </p:cNvPr>
            <p:cNvSpPr>
              <a:spLocks/>
            </p:cNvSpPr>
            <p:nvPr/>
          </p:nvSpPr>
          <p:spPr bwMode="auto">
            <a:xfrm>
              <a:off x="2215402" y="4402102"/>
              <a:ext cx="222250" cy="255588"/>
            </a:xfrm>
            <a:custGeom>
              <a:avLst/>
              <a:gdLst>
                <a:gd name="T0" fmla="*/ 126 w 140"/>
                <a:gd name="T1" fmla="*/ 66 h 161"/>
                <a:gd name="T2" fmla="*/ 126 w 140"/>
                <a:gd name="T3" fmla="*/ 33 h 161"/>
                <a:gd name="T4" fmla="*/ 133 w 140"/>
                <a:gd name="T5" fmla="*/ 24 h 161"/>
                <a:gd name="T6" fmla="*/ 140 w 140"/>
                <a:gd name="T7" fmla="*/ 12 h 161"/>
                <a:gd name="T8" fmla="*/ 135 w 140"/>
                <a:gd name="T9" fmla="*/ 12 h 161"/>
                <a:gd name="T10" fmla="*/ 121 w 140"/>
                <a:gd name="T11" fmla="*/ 7 h 161"/>
                <a:gd name="T12" fmla="*/ 109 w 140"/>
                <a:gd name="T13" fmla="*/ 12 h 161"/>
                <a:gd name="T14" fmla="*/ 95 w 140"/>
                <a:gd name="T15" fmla="*/ 19 h 161"/>
                <a:gd name="T16" fmla="*/ 81 w 140"/>
                <a:gd name="T17" fmla="*/ 17 h 161"/>
                <a:gd name="T18" fmla="*/ 69 w 140"/>
                <a:gd name="T19" fmla="*/ 14 h 161"/>
                <a:gd name="T20" fmla="*/ 55 w 140"/>
                <a:gd name="T21" fmla="*/ 5 h 161"/>
                <a:gd name="T22" fmla="*/ 43 w 140"/>
                <a:gd name="T23" fmla="*/ 3 h 161"/>
                <a:gd name="T24" fmla="*/ 34 w 140"/>
                <a:gd name="T25" fmla="*/ 0 h 161"/>
                <a:gd name="T26" fmla="*/ 24 w 140"/>
                <a:gd name="T27" fmla="*/ 3 h 161"/>
                <a:gd name="T28" fmla="*/ 10 w 140"/>
                <a:gd name="T29" fmla="*/ 0 h 161"/>
                <a:gd name="T30" fmla="*/ 0 w 140"/>
                <a:gd name="T31" fmla="*/ 10 h 161"/>
                <a:gd name="T32" fmla="*/ 3 w 140"/>
                <a:gd name="T33" fmla="*/ 12 h 161"/>
                <a:gd name="T34" fmla="*/ 8 w 140"/>
                <a:gd name="T35" fmla="*/ 12 h 161"/>
                <a:gd name="T36" fmla="*/ 8 w 140"/>
                <a:gd name="T37" fmla="*/ 14 h 161"/>
                <a:gd name="T38" fmla="*/ 10 w 140"/>
                <a:gd name="T39" fmla="*/ 24 h 161"/>
                <a:gd name="T40" fmla="*/ 12 w 140"/>
                <a:gd name="T41" fmla="*/ 29 h 161"/>
                <a:gd name="T42" fmla="*/ 17 w 140"/>
                <a:gd name="T43" fmla="*/ 31 h 161"/>
                <a:gd name="T44" fmla="*/ 19 w 140"/>
                <a:gd name="T45" fmla="*/ 36 h 161"/>
                <a:gd name="T46" fmla="*/ 19 w 140"/>
                <a:gd name="T47" fmla="*/ 45 h 161"/>
                <a:gd name="T48" fmla="*/ 19 w 140"/>
                <a:gd name="T49" fmla="*/ 55 h 161"/>
                <a:gd name="T50" fmla="*/ 15 w 140"/>
                <a:gd name="T51" fmla="*/ 62 h 161"/>
                <a:gd name="T52" fmla="*/ 10 w 140"/>
                <a:gd name="T53" fmla="*/ 66 h 161"/>
                <a:gd name="T54" fmla="*/ 3 w 140"/>
                <a:gd name="T55" fmla="*/ 76 h 161"/>
                <a:gd name="T56" fmla="*/ 5 w 140"/>
                <a:gd name="T57" fmla="*/ 85 h 161"/>
                <a:gd name="T58" fmla="*/ 8 w 140"/>
                <a:gd name="T59" fmla="*/ 88 h 161"/>
                <a:gd name="T60" fmla="*/ 12 w 140"/>
                <a:gd name="T61" fmla="*/ 85 h 161"/>
                <a:gd name="T62" fmla="*/ 17 w 140"/>
                <a:gd name="T63" fmla="*/ 88 h 161"/>
                <a:gd name="T64" fmla="*/ 10 w 140"/>
                <a:gd name="T65" fmla="*/ 90 h 161"/>
                <a:gd name="T66" fmla="*/ 3 w 140"/>
                <a:gd name="T67" fmla="*/ 95 h 161"/>
                <a:gd name="T68" fmla="*/ 67 w 140"/>
                <a:gd name="T69" fmla="*/ 132 h 161"/>
                <a:gd name="T70" fmla="*/ 69 w 140"/>
                <a:gd name="T71" fmla="*/ 137 h 161"/>
                <a:gd name="T72" fmla="*/ 71 w 140"/>
                <a:gd name="T73" fmla="*/ 147 h 161"/>
                <a:gd name="T74" fmla="*/ 100 w 140"/>
                <a:gd name="T75" fmla="*/ 158 h 161"/>
                <a:gd name="T76" fmla="*/ 102 w 140"/>
                <a:gd name="T77" fmla="*/ 156 h 161"/>
                <a:gd name="T78" fmla="*/ 104 w 140"/>
                <a:gd name="T79" fmla="*/ 149 h 161"/>
                <a:gd name="T80" fmla="*/ 111 w 140"/>
                <a:gd name="T81" fmla="*/ 137 h 161"/>
                <a:gd name="T82" fmla="*/ 114 w 140"/>
                <a:gd name="T83" fmla="*/ 128 h 161"/>
                <a:gd name="T84" fmla="*/ 116 w 140"/>
                <a:gd name="T85" fmla="*/ 125 h 161"/>
                <a:gd name="T86" fmla="*/ 121 w 140"/>
                <a:gd name="T87" fmla="*/ 121 h 161"/>
                <a:gd name="T88" fmla="*/ 126 w 140"/>
                <a:gd name="T89" fmla="*/ 116 h 161"/>
                <a:gd name="T90" fmla="*/ 130 w 140"/>
                <a:gd name="T91" fmla="*/ 114 h 161"/>
                <a:gd name="T92" fmla="*/ 135 w 140"/>
                <a:gd name="T93" fmla="*/ 109 h 161"/>
                <a:gd name="T94" fmla="*/ 126 w 140"/>
                <a:gd name="T95" fmla="*/ 99 h 161"/>
                <a:gd name="T96" fmla="*/ 126 w 140"/>
                <a:gd name="T97" fmla="*/ 8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161">
                  <a:moveTo>
                    <a:pt x="126" y="83"/>
                  </a:moveTo>
                  <a:lnTo>
                    <a:pt x="126" y="66"/>
                  </a:lnTo>
                  <a:lnTo>
                    <a:pt x="126" y="50"/>
                  </a:lnTo>
                  <a:lnTo>
                    <a:pt x="126" y="33"/>
                  </a:lnTo>
                  <a:lnTo>
                    <a:pt x="126" y="31"/>
                  </a:lnTo>
                  <a:lnTo>
                    <a:pt x="133" y="24"/>
                  </a:lnTo>
                  <a:lnTo>
                    <a:pt x="140" y="14"/>
                  </a:lnTo>
                  <a:lnTo>
                    <a:pt x="140" y="12"/>
                  </a:lnTo>
                  <a:lnTo>
                    <a:pt x="137" y="12"/>
                  </a:lnTo>
                  <a:lnTo>
                    <a:pt x="135" y="12"/>
                  </a:lnTo>
                  <a:lnTo>
                    <a:pt x="130" y="12"/>
                  </a:lnTo>
                  <a:lnTo>
                    <a:pt x="121" y="7"/>
                  </a:lnTo>
                  <a:lnTo>
                    <a:pt x="114" y="10"/>
                  </a:lnTo>
                  <a:lnTo>
                    <a:pt x="109" y="12"/>
                  </a:lnTo>
                  <a:lnTo>
                    <a:pt x="104" y="17"/>
                  </a:lnTo>
                  <a:lnTo>
                    <a:pt x="95" y="19"/>
                  </a:lnTo>
                  <a:lnTo>
                    <a:pt x="88" y="19"/>
                  </a:lnTo>
                  <a:lnTo>
                    <a:pt x="81" y="17"/>
                  </a:lnTo>
                  <a:lnTo>
                    <a:pt x="76" y="17"/>
                  </a:lnTo>
                  <a:lnTo>
                    <a:pt x="69" y="14"/>
                  </a:lnTo>
                  <a:lnTo>
                    <a:pt x="67" y="12"/>
                  </a:lnTo>
                  <a:lnTo>
                    <a:pt x="55" y="5"/>
                  </a:lnTo>
                  <a:lnTo>
                    <a:pt x="48" y="3"/>
                  </a:lnTo>
                  <a:lnTo>
                    <a:pt x="43" y="3"/>
                  </a:lnTo>
                  <a:lnTo>
                    <a:pt x="38" y="3"/>
                  </a:lnTo>
                  <a:lnTo>
                    <a:pt x="34" y="0"/>
                  </a:lnTo>
                  <a:lnTo>
                    <a:pt x="29" y="3"/>
                  </a:lnTo>
                  <a:lnTo>
                    <a:pt x="24" y="3"/>
                  </a:lnTo>
                  <a:lnTo>
                    <a:pt x="15" y="0"/>
                  </a:lnTo>
                  <a:lnTo>
                    <a:pt x="10" y="0"/>
                  </a:lnTo>
                  <a:lnTo>
                    <a:pt x="8" y="3"/>
                  </a:lnTo>
                  <a:lnTo>
                    <a:pt x="0" y="10"/>
                  </a:lnTo>
                  <a:lnTo>
                    <a:pt x="3" y="10"/>
                  </a:lnTo>
                  <a:lnTo>
                    <a:pt x="3" y="12"/>
                  </a:lnTo>
                  <a:lnTo>
                    <a:pt x="8" y="12"/>
                  </a:lnTo>
                  <a:lnTo>
                    <a:pt x="8" y="12"/>
                  </a:lnTo>
                  <a:lnTo>
                    <a:pt x="8" y="14"/>
                  </a:lnTo>
                  <a:lnTo>
                    <a:pt x="8" y="14"/>
                  </a:lnTo>
                  <a:lnTo>
                    <a:pt x="10" y="17"/>
                  </a:lnTo>
                  <a:lnTo>
                    <a:pt x="10" y="24"/>
                  </a:lnTo>
                  <a:lnTo>
                    <a:pt x="12" y="26"/>
                  </a:lnTo>
                  <a:lnTo>
                    <a:pt x="12" y="29"/>
                  </a:lnTo>
                  <a:lnTo>
                    <a:pt x="15" y="29"/>
                  </a:lnTo>
                  <a:lnTo>
                    <a:pt x="17" y="31"/>
                  </a:lnTo>
                  <a:lnTo>
                    <a:pt x="19" y="33"/>
                  </a:lnTo>
                  <a:lnTo>
                    <a:pt x="19" y="36"/>
                  </a:lnTo>
                  <a:lnTo>
                    <a:pt x="19" y="40"/>
                  </a:lnTo>
                  <a:lnTo>
                    <a:pt x="19" y="45"/>
                  </a:lnTo>
                  <a:lnTo>
                    <a:pt x="19" y="50"/>
                  </a:lnTo>
                  <a:lnTo>
                    <a:pt x="19" y="55"/>
                  </a:lnTo>
                  <a:lnTo>
                    <a:pt x="17" y="59"/>
                  </a:lnTo>
                  <a:lnTo>
                    <a:pt x="15" y="62"/>
                  </a:lnTo>
                  <a:lnTo>
                    <a:pt x="12" y="64"/>
                  </a:lnTo>
                  <a:lnTo>
                    <a:pt x="10" y="66"/>
                  </a:lnTo>
                  <a:lnTo>
                    <a:pt x="5" y="76"/>
                  </a:lnTo>
                  <a:lnTo>
                    <a:pt x="3" y="76"/>
                  </a:lnTo>
                  <a:lnTo>
                    <a:pt x="3" y="81"/>
                  </a:lnTo>
                  <a:lnTo>
                    <a:pt x="5" y="85"/>
                  </a:lnTo>
                  <a:lnTo>
                    <a:pt x="5" y="88"/>
                  </a:lnTo>
                  <a:lnTo>
                    <a:pt x="8" y="88"/>
                  </a:lnTo>
                  <a:lnTo>
                    <a:pt x="10" y="85"/>
                  </a:lnTo>
                  <a:lnTo>
                    <a:pt x="12" y="85"/>
                  </a:lnTo>
                  <a:lnTo>
                    <a:pt x="17" y="85"/>
                  </a:lnTo>
                  <a:lnTo>
                    <a:pt x="17" y="88"/>
                  </a:lnTo>
                  <a:lnTo>
                    <a:pt x="12" y="88"/>
                  </a:lnTo>
                  <a:lnTo>
                    <a:pt x="10" y="90"/>
                  </a:lnTo>
                  <a:lnTo>
                    <a:pt x="5" y="90"/>
                  </a:lnTo>
                  <a:lnTo>
                    <a:pt x="3" y="95"/>
                  </a:lnTo>
                  <a:lnTo>
                    <a:pt x="8" y="97"/>
                  </a:lnTo>
                  <a:lnTo>
                    <a:pt x="67" y="132"/>
                  </a:lnTo>
                  <a:lnTo>
                    <a:pt x="69" y="135"/>
                  </a:lnTo>
                  <a:lnTo>
                    <a:pt x="69" y="137"/>
                  </a:lnTo>
                  <a:lnTo>
                    <a:pt x="69" y="142"/>
                  </a:lnTo>
                  <a:lnTo>
                    <a:pt x="71" y="147"/>
                  </a:lnTo>
                  <a:lnTo>
                    <a:pt x="95" y="161"/>
                  </a:lnTo>
                  <a:lnTo>
                    <a:pt x="100" y="158"/>
                  </a:lnTo>
                  <a:lnTo>
                    <a:pt x="100" y="158"/>
                  </a:lnTo>
                  <a:lnTo>
                    <a:pt x="102" y="156"/>
                  </a:lnTo>
                  <a:lnTo>
                    <a:pt x="102" y="154"/>
                  </a:lnTo>
                  <a:lnTo>
                    <a:pt x="104" y="149"/>
                  </a:lnTo>
                  <a:lnTo>
                    <a:pt x="107" y="144"/>
                  </a:lnTo>
                  <a:lnTo>
                    <a:pt x="111" y="137"/>
                  </a:lnTo>
                  <a:lnTo>
                    <a:pt x="111" y="132"/>
                  </a:lnTo>
                  <a:lnTo>
                    <a:pt x="114" y="128"/>
                  </a:lnTo>
                  <a:lnTo>
                    <a:pt x="116" y="125"/>
                  </a:lnTo>
                  <a:lnTo>
                    <a:pt x="116" y="125"/>
                  </a:lnTo>
                  <a:lnTo>
                    <a:pt x="121" y="123"/>
                  </a:lnTo>
                  <a:lnTo>
                    <a:pt x="121" y="121"/>
                  </a:lnTo>
                  <a:lnTo>
                    <a:pt x="123" y="118"/>
                  </a:lnTo>
                  <a:lnTo>
                    <a:pt x="126" y="116"/>
                  </a:lnTo>
                  <a:lnTo>
                    <a:pt x="128" y="114"/>
                  </a:lnTo>
                  <a:lnTo>
                    <a:pt x="130" y="114"/>
                  </a:lnTo>
                  <a:lnTo>
                    <a:pt x="133" y="111"/>
                  </a:lnTo>
                  <a:lnTo>
                    <a:pt x="135" y="109"/>
                  </a:lnTo>
                  <a:lnTo>
                    <a:pt x="135" y="109"/>
                  </a:lnTo>
                  <a:lnTo>
                    <a:pt x="126" y="99"/>
                  </a:lnTo>
                  <a:lnTo>
                    <a:pt x="126" y="97"/>
                  </a:lnTo>
                  <a:lnTo>
                    <a:pt x="126" y="8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0" name="Freeform 954">
              <a:extLst>
                <a:ext uri="{FF2B5EF4-FFF2-40B4-BE49-F238E27FC236}">
                  <a16:creationId xmlns:a16="http://schemas.microsoft.com/office/drawing/2014/main" id="{3FB88E10-7ACE-4514-8C7A-F887EE7EFF10}"/>
                </a:ext>
              </a:extLst>
            </p:cNvPr>
            <p:cNvSpPr>
              <a:spLocks/>
            </p:cNvSpPr>
            <p:nvPr/>
          </p:nvSpPr>
          <p:spPr bwMode="auto">
            <a:xfrm>
              <a:off x="2215402" y="4402102"/>
              <a:ext cx="222250" cy="255588"/>
            </a:xfrm>
            <a:custGeom>
              <a:avLst/>
              <a:gdLst>
                <a:gd name="T0" fmla="*/ 126 w 140"/>
                <a:gd name="T1" fmla="*/ 66 h 161"/>
                <a:gd name="T2" fmla="*/ 126 w 140"/>
                <a:gd name="T3" fmla="*/ 33 h 161"/>
                <a:gd name="T4" fmla="*/ 133 w 140"/>
                <a:gd name="T5" fmla="*/ 24 h 161"/>
                <a:gd name="T6" fmla="*/ 140 w 140"/>
                <a:gd name="T7" fmla="*/ 12 h 161"/>
                <a:gd name="T8" fmla="*/ 135 w 140"/>
                <a:gd name="T9" fmla="*/ 12 h 161"/>
                <a:gd name="T10" fmla="*/ 121 w 140"/>
                <a:gd name="T11" fmla="*/ 7 h 161"/>
                <a:gd name="T12" fmla="*/ 109 w 140"/>
                <a:gd name="T13" fmla="*/ 12 h 161"/>
                <a:gd name="T14" fmla="*/ 95 w 140"/>
                <a:gd name="T15" fmla="*/ 19 h 161"/>
                <a:gd name="T16" fmla="*/ 81 w 140"/>
                <a:gd name="T17" fmla="*/ 17 h 161"/>
                <a:gd name="T18" fmla="*/ 69 w 140"/>
                <a:gd name="T19" fmla="*/ 14 h 161"/>
                <a:gd name="T20" fmla="*/ 55 w 140"/>
                <a:gd name="T21" fmla="*/ 5 h 161"/>
                <a:gd name="T22" fmla="*/ 43 w 140"/>
                <a:gd name="T23" fmla="*/ 3 h 161"/>
                <a:gd name="T24" fmla="*/ 34 w 140"/>
                <a:gd name="T25" fmla="*/ 0 h 161"/>
                <a:gd name="T26" fmla="*/ 24 w 140"/>
                <a:gd name="T27" fmla="*/ 3 h 161"/>
                <a:gd name="T28" fmla="*/ 10 w 140"/>
                <a:gd name="T29" fmla="*/ 0 h 161"/>
                <a:gd name="T30" fmla="*/ 0 w 140"/>
                <a:gd name="T31" fmla="*/ 10 h 161"/>
                <a:gd name="T32" fmla="*/ 3 w 140"/>
                <a:gd name="T33" fmla="*/ 12 h 161"/>
                <a:gd name="T34" fmla="*/ 8 w 140"/>
                <a:gd name="T35" fmla="*/ 12 h 161"/>
                <a:gd name="T36" fmla="*/ 8 w 140"/>
                <a:gd name="T37" fmla="*/ 14 h 161"/>
                <a:gd name="T38" fmla="*/ 10 w 140"/>
                <a:gd name="T39" fmla="*/ 24 h 161"/>
                <a:gd name="T40" fmla="*/ 12 w 140"/>
                <a:gd name="T41" fmla="*/ 29 h 161"/>
                <a:gd name="T42" fmla="*/ 17 w 140"/>
                <a:gd name="T43" fmla="*/ 31 h 161"/>
                <a:gd name="T44" fmla="*/ 19 w 140"/>
                <a:gd name="T45" fmla="*/ 36 h 161"/>
                <a:gd name="T46" fmla="*/ 19 w 140"/>
                <a:gd name="T47" fmla="*/ 45 h 161"/>
                <a:gd name="T48" fmla="*/ 19 w 140"/>
                <a:gd name="T49" fmla="*/ 55 h 161"/>
                <a:gd name="T50" fmla="*/ 15 w 140"/>
                <a:gd name="T51" fmla="*/ 62 h 161"/>
                <a:gd name="T52" fmla="*/ 10 w 140"/>
                <a:gd name="T53" fmla="*/ 66 h 161"/>
                <a:gd name="T54" fmla="*/ 3 w 140"/>
                <a:gd name="T55" fmla="*/ 76 h 161"/>
                <a:gd name="T56" fmla="*/ 5 w 140"/>
                <a:gd name="T57" fmla="*/ 85 h 161"/>
                <a:gd name="T58" fmla="*/ 8 w 140"/>
                <a:gd name="T59" fmla="*/ 88 h 161"/>
                <a:gd name="T60" fmla="*/ 12 w 140"/>
                <a:gd name="T61" fmla="*/ 85 h 161"/>
                <a:gd name="T62" fmla="*/ 17 w 140"/>
                <a:gd name="T63" fmla="*/ 88 h 161"/>
                <a:gd name="T64" fmla="*/ 10 w 140"/>
                <a:gd name="T65" fmla="*/ 90 h 161"/>
                <a:gd name="T66" fmla="*/ 3 w 140"/>
                <a:gd name="T67" fmla="*/ 95 h 161"/>
                <a:gd name="T68" fmla="*/ 67 w 140"/>
                <a:gd name="T69" fmla="*/ 132 h 161"/>
                <a:gd name="T70" fmla="*/ 69 w 140"/>
                <a:gd name="T71" fmla="*/ 137 h 161"/>
                <a:gd name="T72" fmla="*/ 71 w 140"/>
                <a:gd name="T73" fmla="*/ 147 h 161"/>
                <a:gd name="T74" fmla="*/ 100 w 140"/>
                <a:gd name="T75" fmla="*/ 158 h 161"/>
                <a:gd name="T76" fmla="*/ 102 w 140"/>
                <a:gd name="T77" fmla="*/ 156 h 161"/>
                <a:gd name="T78" fmla="*/ 104 w 140"/>
                <a:gd name="T79" fmla="*/ 149 h 161"/>
                <a:gd name="T80" fmla="*/ 111 w 140"/>
                <a:gd name="T81" fmla="*/ 137 h 161"/>
                <a:gd name="T82" fmla="*/ 114 w 140"/>
                <a:gd name="T83" fmla="*/ 128 h 161"/>
                <a:gd name="T84" fmla="*/ 116 w 140"/>
                <a:gd name="T85" fmla="*/ 125 h 161"/>
                <a:gd name="T86" fmla="*/ 121 w 140"/>
                <a:gd name="T87" fmla="*/ 121 h 161"/>
                <a:gd name="T88" fmla="*/ 126 w 140"/>
                <a:gd name="T89" fmla="*/ 116 h 161"/>
                <a:gd name="T90" fmla="*/ 130 w 140"/>
                <a:gd name="T91" fmla="*/ 114 h 161"/>
                <a:gd name="T92" fmla="*/ 135 w 140"/>
                <a:gd name="T93" fmla="*/ 109 h 161"/>
                <a:gd name="T94" fmla="*/ 126 w 140"/>
                <a:gd name="T95" fmla="*/ 99 h 161"/>
                <a:gd name="T96" fmla="*/ 126 w 140"/>
                <a:gd name="T97" fmla="*/ 8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161">
                  <a:moveTo>
                    <a:pt x="126" y="83"/>
                  </a:moveTo>
                  <a:lnTo>
                    <a:pt x="126" y="66"/>
                  </a:lnTo>
                  <a:lnTo>
                    <a:pt x="126" y="50"/>
                  </a:lnTo>
                  <a:lnTo>
                    <a:pt x="126" y="33"/>
                  </a:lnTo>
                  <a:lnTo>
                    <a:pt x="126" y="31"/>
                  </a:lnTo>
                  <a:lnTo>
                    <a:pt x="133" y="24"/>
                  </a:lnTo>
                  <a:lnTo>
                    <a:pt x="140" y="14"/>
                  </a:lnTo>
                  <a:lnTo>
                    <a:pt x="140" y="12"/>
                  </a:lnTo>
                  <a:lnTo>
                    <a:pt x="137" y="12"/>
                  </a:lnTo>
                  <a:lnTo>
                    <a:pt x="135" y="12"/>
                  </a:lnTo>
                  <a:lnTo>
                    <a:pt x="130" y="12"/>
                  </a:lnTo>
                  <a:lnTo>
                    <a:pt x="121" y="7"/>
                  </a:lnTo>
                  <a:lnTo>
                    <a:pt x="114" y="10"/>
                  </a:lnTo>
                  <a:lnTo>
                    <a:pt x="109" y="12"/>
                  </a:lnTo>
                  <a:lnTo>
                    <a:pt x="104" y="17"/>
                  </a:lnTo>
                  <a:lnTo>
                    <a:pt x="95" y="19"/>
                  </a:lnTo>
                  <a:lnTo>
                    <a:pt x="88" y="19"/>
                  </a:lnTo>
                  <a:lnTo>
                    <a:pt x="81" y="17"/>
                  </a:lnTo>
                  <a:lnTo>
                    <a:pt x="76" y="17"/>
                  </a:lnTo>
                  <a:lnTo>
                    <a:pt x="69" y="14"/>
                  </a:lnTo>
                  <a:lnTo>
                    <a:pt x="67" y="12"/>
                  </a:lnTo>
                  <a:lnTo>
                    <a:pt x="55" y="5"/>
                  </a:lnTo>
                  <a:lnTo>
                    <a:pt x="48" y="3"/>
                  </a:lnTo>
                  <a:lnTo>
                    <a:pt x="43" y="3"/>
                  </a:lnTo>
                  <a:lnTo>
                    <a:pt x="38" y="3"/>
                  </a:lnTo>
                  <a:lnTo>
                    <a:pt x="34" y="0"/>
                  </a:lnTo>
                  <a:lnTo>
                    <a:pt x="29" y="3"/>
                  </a:lnTo>
                  <a:lnTo>
                    <a:pt x="24" y="3"/>
                  </a:lnTo>
                  <a:lnTo>
                    <a:pt x="15" y="0"/>
                  </a:lnTo>
                  <a:lnTo>
                    <a:pt x="10" y="0"/>
                  </a:lnTo>
                  <a:lnTo>
                    <a:pt x="8" y="3"/>
                  </a:lnTo>
                  <a:lnTo>
                    <a:pt x="0" y="10"/>
                  </a:lnTo>
                  <a:lnTo>
                    <a:pt x="3" y="10"/>
                  </a:lnTo>
                  <a:lnTo>
                    <a:pt x="3" y="12"/>
                  </a:lnTo>
                  <a:lnTo>
                    <a:pt x="8" y="12"/>
                  </a:lnTo>
                  <a:lnTo>
                    <a:pt x="8" y="12"/>
                  </a:lnTo>
                  <a:lnTo>
                    <a:pt x="8" y="14"/>
                  </a:lnTo>
                  <a:lnTo>
                    <a:pt x="8" y="14"/>
                  </a:lnTo>
                  <a:lnTo>
                    <a:pt x="10" y="17"/>
                  </a:lnTo>
                  <a:lnTo>
                    <a:pt x="10" y="24"/>
                  </a:lnTo>
                  <a:lnTo>
                    <a:pt x="12" y="26"/>
                  </a:lnTo>
                  <a:lnTo>
                    <a:pt x="12" y="29"/>
                  </a:lnTo>
                  <a:lnTo>
                    <a:pt x="15" y="29"/>
                  </a:lnTo>
                  <a:lnTo>
                    <a:pt x="17" y="31"/>
                  </a:lnTo>
                  <a:lnTo>
                    <a:pt x="19" y="33"/>
                  </a:lnTo>
                  <a:lnTo>
                    <a:pt x="19" y="36"/>
                  </a:lnTo>
                  <a:lnTo>
                    <a:pt x="19" y="40"/>
                  </a:lnTo>
                  <a:lnTo>
                    <a:pt x="19" y="45"/>
                  </a:lnTo>
                  <a:lnTo>
                    <a:pt x="19" y="50"/>
                  </a:lnTo>
                  <a:lnTo>
                    <a:pt x="19" y="55"/>
                  </a:lnTo>
                  <a:lnTo>
                    <a:pt x="17" y="59"/>
                  </a:lnTo>
                  <a:lnTo>
                    <a:pt x="15" y="62"/>
                  </a:lnTo>
                  <a:lnTo>
                    <a:pt x="12" y="64"/>
                  </a:lnTo>
                  <a:lnTo>
                    <a:pt x="10" y="66"/>
                  </a:lnTo>
                  <a:lnTo>
                    <a:pt x="5" y="76"/>
                  </a:lnTo>
                  <a:lnTo>
                    <a:pt x="3" y="76"/>
                  </a:lnTo>
                  <a:lnTo>
                    <a:pt x="3" y="81"/>
                  </a:lnTo>
                  <a:lnTo>
                    <a:pt x="5" y="85"/>
                  </a:lnTo>
                  <a:lnTo>
                    <a:pt x="5" y="88"/>
                  </a:lnTo>
                  <a:lnTo>
                    <a:pt x="8" y="88"/>
                  </a:lnTo>
                  <a:lnTo>
                    <a:pt x="10" y="85"/>
                  </a:lnTo>
                  <a:lnTo>
                    <a:pt x="12" y="85"/>
                  </a:lnTo>
                  <a:lnTo>
                    <a:pt x="17" y="85"/>
                  </a:lnTo>
                  <a:lnTo>
                    <a:pt x="17" y="88"/>
                  </a:lnTo>
                  <a:lnTo>
                    <a:pt x="12" y="88"/>
                  </a:lnTo>
                  <a:lnTo>
                    <a:pt x="10" y="90"/>
                  </a:lnTo>
                  <a:lnTo>
                    <a:pt x="5" y="90"/>
                  </a:lnTo>
                  <a:lnTo>
                    <a:pt x="3" y="95"/>
                  </a:lnTo>
                  <a:lnTo>
                    <a:pt x="8" y="97"/>
                  </a:lnTo>
                  <a:lnTo>
                    <a:pt x="67" y="132"/>
                  </a:lnTo>
                  <a:lnTo>
                    <a:pt x="69" y="135"/>
                  </a:lnTo>
                  <a:lnTo>
                    <a:pt x="69" y="137"/>
                  </a:lnTo>
                  <a:lnTo>
                    <a:pt x="69" y="142"/>
                  </a:lnTo>
                  <a:lnTo>
                    <a:pt x="71" y="147"/>
                  </a:lnTo>
                  <a:lnTo>
                    <a:pt x="95" y="161"/>
                  </a:lnTo>
                  <a:lnTo>
                    <a:pt x="100" y="158"/>
                  </a:lnTo>
                  <a:lnTo>
                    <a:pt x="100" y="158"/>
                  </a:lnTo>
                  <a:lnTo>
                    <a:pt x="102" y="156"/>
                  </a:lnTo>
                  <a:lnTo>
                    <a:pt x="102" y="154"/>
                  </a:lnTo>
                  <a:lnTo>
                    <a:pt x="104" y="149"/>
                  </a:lnTo>
                  <a:lnTo>
                    <a:pt x="107" y="144"/>
                  </a:lnTo>
                  <a:lnTo>
                    <a:pt x="111" y="137"/>
                  </a:lnTo>
                  <a:lnTo>
                    <a:pt x="111" y="132"/>
                  </a:lnTo>
                  <a:lnTo>
                    <a:pt x="114" y="128"/>
                  </a:lnTo>
                  <a:lnTo>
                    <a:pt x="116" y="125"/>
                  </a:lnTo>
                  <a:lnTo>
                    <a:pt x="116" y="125"/>
                  </a:lnTo>
                  <a:lnTo>
                    <a:pt x="121" y="123"/>
                  </a:lnTo>
                  <a:lnTo>
                    <a:pt x="121" y="121"/>
                  </a:lnTo>
                  <a:lnTo>
                    <a:pt x="123" y="118"/>
                  </a:lnTo>
                  <a:lnTo>
                    <a:pt x="126" y="116"/>
                  </a:lnTo>
                  <a:lnTo>
                    <a:pt x="128" y="114"/>
                  </a:lnTo>
                  <a:lnTo>
                    <a:pt x="130" y="114"/>
                  </a:lnTo>
                  <a:lnTo>
                    <a:pt x="133" y="111"/>
                  </a:lnTo>
                  <a:lnTo>
                    <a:pt x="135" y="109"/>
                  </a:lnTo>
                  <a:lnTo>
                    <a:pt x="135" y="109"/>
                  </a:lnTo>
                  <a:lnTo>
                    <a:pt x="126" y="99"/>
                  </a:lnTo>
                  <a:lnTo>
                    <a:pt x="126" y="97"/>
                  </a:lnTo>
                  <a:lnTo>
                    <a:pt x="126" y="83"/>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1" name="Freeform 955">
              <a:extLst>
                <a:ext uri="{FF2B5EF4-FFF2-40B4-BE49-F238E27FC236}">
                  <a16:creationId xmlns:a16="http://schemas.microsoft.com/office/drawing/2014/main" id="{7731786C-B990-4AEF-9B8F-DB025A84E832}"/>
                </a:ext>
              </a:extLst>
            </p:cNvPr>
            <p:cNvSpPr>
              <a:spLocks/>
            </p:cNvSpPr>
            <p:nvPr/>
          </p:nvSpPr>
          <p:spPr bwMode="auto">
            <a:xfrm>
              <a:off x="2828176" y="3116227"/>
              <a:ext cx="471487" cy="307975"/>
            </a:xfrm>
            <a:custGeom>
              <a:avLst/>
              <a:gdLst>
                <a:gd name="T0" fmla="*/ 0 w 297"/>
                <a:gd name="T1" fmla="*/ 80 h 194"/>
                <a:gd name="T2" fmla="*/ 16 w 297"/>
                <a:gd name="T3" fmla="*/ 97 h 194"/>
                <a:gd name="T4" fmla="*/ 18 w 297"/>
                <a:gd name="T5" fmla="*/ 85 h 194"/>
                <a:gd name="T6" fmla="*/ 30 w 297"/>
                <a:gd name="T7" fmla="*/ 80 h 194"/>
                <a:gd name="T8" fmla="*/ 35 w 297"/>
                <a:gd name="T9" fmla="*/ 73 h 194"/>
                <a:gd name="T10" fmla="*/ 40 w 297"/>
                <a:gd name="T11" fmla="*/ 73 h 194"/>
                <a:gd name="T12" fmla="*/ 44 w 297"/>
                <a:gd name="T13" fmla="*/ 69 h 194"/>
                <a:gd name="T14" fmla="*/ 59 w 297"/>
                <a:gd name="T15" fmla="*/ 78 h 194"/>
                <a:gd name="T16" fmla="*/ 70 w 297"/>
                <a:gd name="T17" fmla="*/ 83 h 194"/>
                <a:gd name="T18" fmla="*/ 73 w 297"/>
                <a:gd name="T19" fmla="*/ 90 h 194"/>
                <a:gd name="T20" fmla="*/ 70 w 297"/>
                <a:gd name="T21" fmla="*/ 99 h 194"/>
                <a:gd name="T22" fmla="*/ 85 w 297"/>
                <a:gd name="T23" fmla="*/ 104 h 194"/>
                <a:gd name="T24" fmla="*/ 96 w 297"/>
                <a:gd name="T25" fmla="*/ 102 h 194"/>
                <a:gd name="T26" fmla="*/ 106 w 297"/>
                <a:gd name="T27" fmla="*/ 111 h 194"/>
                <a:gd name="T28" fmla="*/ 111 w 297"/>
                <a:gd name="T29" fmla="*/ 121 h 194"/>
                <a:gd name="T30" fmla="*/ 115 w 297"/>
                <a:gd name="T31" fmla="*/ 135 h 194"/>
                <a:gd name="T32" fmla="*/ 146 w 297"/>
                <a:gd name="T33" fmla="*/ 154 h 194"/>
                <a:gd name="T34" fmla="*/ 165 w 297"/>
                <a:gd name="T35" fmla="*/ 170 h 194"/>
                <a:gd name="T36" fmla="*/ 179 w 297"/>
                <a:gd name="T37" fmla="*/ 172 h 194"/>
                <a:gd name="T38" fmla="*/ 184 w 297"/>
                <a:gd name="T39" fmla="*/ 180 h 194"/>
                <a:gd name="T40" fmla="*/ 184 w 297"/>
                <a:gd name="T41" fmla="*/ 191 h 194"/>
                <a:gd name="T42" fmla="*/ 196 w 297"/>
                <a:gd name="T43" fmla="*/ 194 h 194"/>
                <a:gd name="T44" fmla="*/ 205 w 297"/>
                <a:gd name="T45" fmla="*/ 191 h 194"/>
                <a:gd name="T46" fmla="*/ 210 w 297"/>
                <a:gd name="T47" fmla="*/ 180 h 194"/>
                <a:gd name="T48" fmla="*/ 214 w 297"/>
                <a:gd name="T49" fmla="*/ 172 h 194"/>
                <a:gd name="T50" fmla="*/ 210 w 297"/>
                <a:gd name="T51" fmla="*/ 163 h 194"/>
                <a:gd name="T52" fmla="*/ 207 w 297"/>
                <a:gd name="T53" fmla="*/ 154 h 194"/>
                <a:gd name="T54" fmla="*/ 200 w 297"/>
                <a:gd name="T55" fmla="*/ 149 h 194"/>
                <a:gd name="T56" fmla="*/ 200 w 297"/>
                <a:gd name="T57" fmla="*/ 142 h 194"/>
                <a:gd name="T58" fmla="*/ 210 w 297"/>
                <a:gd name="T59" fmla="*/ 142 h 194"/>
                <a:gd name="T60" fmla="*/ 222 w 297"/>
                <a:gd name="T61" fmla="*/ 130 h 194"/>
                <a:gd name="T62" fmla="*/ 231 w 297"/>
                <a:gd name="T63" fmla="*/ 125 h 194"/>
                <a:gd name="T64" fmla="*/ 233 w 297"/>
                <a:gd name="T65" fmla="*/ 116 h 194"/>
                <a:gd name="T66" fmla="*/ 243 w 297"/>
                <a:gd name="T67" fmla="*/ 113 h 194"/>
                <a:gd name="T68" fmla="*/ 255 w 297"/>
                <a:gd name="T69" fmla="*/ 109 h 194"/>
                <a:gd name="T70" fmla="*/ 255 w 297"/>
                <a:gd name="T71" fmla="*/ 116 h 194"/>
                <a:gd name="T72" fmla="*/ 255 w 297"/>
                <a:gd name="T73" fmla="*/ 128 h 194"/>
                <a:gd name="T74" fmla="*/ 264 w 297"/>
                <a:gd name="T75" fmla="*/ 125 h 194"/>
                <a:gd name="T76" fmla="*/ 278 w 297"/>
                <a:gd name="T77" fmla="*/ 125 h 194"/>
                <a:gd name="T78" fmla="*/ 285 w 297"/>
                <a:gd name="T79" fmla="*/ 118 h 194"/>
                <a:gd name="T80" fmla="*/ 297 w 297"/>
                <a:gd name="T81" fmla="*/ 116 h 194"/>
                <a:gd name="T82" fmla="*/ 288 w 297"/>
                <a:gd name="T83" fmla="*/ 111 h 194"/>
                <a:gd name="T84" fmla="*/ 276 w 297"/>
                <a:gd name="T85" fmla="*/ 104 h 194"/>
                <a:gd name="T86" fmla="*/ 271 w 297"/>
                <a:gd name="T87" fmla="*/ 102 h 194"/>
                <a:gd name="T88" fmla="*/ 257 w 297"/>
                <a:gd name="T89" fmla="*/ 102 h 194"/>
                <a:gd name="T90" fmla="*/ 248 w 297"/>
                <a:gd name="T91" fmla="*/ 97 h 194"/>
                <a:gd name="T92" fmla="*/ 259 w 297"/>
                <a:gd name="T93" fmla="*/ 85 h 194"/>
                <a:gd name="T94" fmla="*/ 257 w 297"/>
                <a:gd name="T95" fmla="*/ 80 h 194"/>
                <a:gd name="T96" fmla="*/ 248 w 297"/>
                <a:gd name="T97" fmla="*/ 90 h 194"/>
                <a:gd name="T98" fmla="*/ 233 w 297"/>
                <a:gd name="T99" fmla="*/ 99 h 194"/>
                <a:gd name="T100" fmla="*/ 226 w 297"/>
                <a:gd name="T101" fmla="*/ 106 h 194"/>
                <a:gd name="T102" fmla="*/ 214 w 297"/>
                <a:gd name="T103" fmla="*/ 106 h 194"/>
                <a:gd name="T104" fmla="*/ 186 w 297"/>
                <a:gd name="T105" fmla="*/ 90 h 194"/>
                <a:gd name="T106" fmla="*/ 179 w 297"/>
                <a:gd name="T107" fmla="*/ 78 h 194"/>
                <a:gd name="T108" fmla="*/ 165 w 297"/>
                <a:gd name="T109" fmla="*/ 50 h 194"/>
                <a:gd name="T110" fmla="*/ 151 w 297"/>
                <a:gd name="T111" fmla="*/ 47 h 194"/>
                <a:gd name="T112" fmla="*/ 82 w 297"/>
                <a:gd name="T113" fmla="*/ 26 h 194"/>
                <a:gd name="T114" fmla="*/ 54 w 297"/>
                <a:gd name="T115" fmla="*/ 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 h="194">
                  <a:moveTo>
                    <a:pt x="0" y="14"/>
                  </a:moveTo>
                  <a:lnTo>
                    <a:pt x="0" y="38"/>
                  </a:lnTo>
                  <a:lnTo>
                    <a:pt x="0" y="61"/>
                  </a:lnTo>
                  <a:lnTo>
                    <a:pt x="0" y="80"/>
                  </a:lnTo>
                  <a:lnTo>
                    <a:pt x="0" y="102"/>
                  </a:lnTo>
                  <a:lnTo>
                    <a:pt x="16" y="104"/>
                  </a:lnTo>
                  <a:lnTo>
                    <a:pt x="18" y="102"/>
                  </a:lnTo>
                  <a:lnTo>
                    <a:pt x="16" y="97"/>
                  </a:lnTo>
                  <a:lnTo>
                    <a:pt x="18" y="95"/>
                  </a:lnTo>
                  <a:lnTo>
                    <a:pt x="16" y="90"/>
                  </a:lnTo>
                  <a:lnTo>
                    <a:pt x="16" y="87"/>
                  </a:lnTo>
                  <a:lnTo>
                    <a:pt x="18" y="85"/>
                  </a:lnTo>
                  <a:lnTo>
                    <a:pt x="21" y="83"/>
                  </a:lnTo>
                  <a:lnTo>
                    <a:pt x="23" y="83"/>
                  </a:lnTo>
                  <a:lnTo>
                    <a:pt x="26" y="80"/>
                  </a:lnTo>
                  <a:lnTo>
                    <a:pt x="30" y="80"/>
                  </a:lnTo>
                  <a:lnTo>
                    <a:pt x="33" y="80"/>
                  </a:lnTo>
                  <a:lnTo>
                    <a:pt x="33" y="78"/>
                  </a:lnTo>
                  <a:lnTo>
                    <a:pt x="33" y="76"/>
                  </a:lnTo>
                  <a:lnTo>
                    <a:pt x="35" y="73"/>
                  </a:lnTo>
                  <a:lnTo>
                    <a:pt x="40" y="78"/>
                  </a:lnTo>
                  <a:lnTo>
                    <a:pt x="42" y="78"/>
                  </a:lnTo>
                  <a:lnTo>
                    <a:pt x="42" y="76"/>
                  </a:lnTo>
                  <a:lnTo>
                    <a:pt x="40" y="73"/>
                  </a:lnTo>
                  <a:lnTo>
                    <a:pt x="37" y="71"/>
                  </a:lnTo>
                  <a:lnTo>
                    <a:pt x="40" y="71"/>
                  </a:lnTo>
                  <a:lnTo>
                    <a:pt x="42" y="71"/>
                  </a:lnTo>
                  <a:lnTo>
                    <a:pt x="44" y="69"/>
                  </a:lnTo>
                  <a:lnTo>
                    <a:pt x="44" y="66"/>
                  </a:lnTo>
                  <a:lnTo>
                    <a:pt x="51" y="73"/>
                  </a:lnTo>
                  <a:lnTo>
                    <a:pt x="56" y="76"/>
                  </a:lnTo>
                  <a:lnTo>
                    <a:pt x="59" y="78"/>
                  </a:lnTo>
                  <a:lnTo>
                    <a:pt x="61" y="80"/>
                  </a:lnTo>
                  <a:lnTo>
                    <a:pt x="63" y="78"/>
                  </a:lnTo>
                  <a:lnTo>
                    <a:pt x="68" y="80"/>
                  </a:lnTo>
                  <a:lnTo>
                    <a:pt x="70" y="83"/>
                  </a:lnTo>
                  <a:lnTo>
                    <a:pt x="68" y="85"/>
                  </a:lnTo>
                  <a:lnTo>
                    <a:pt x="68" y="87"/>
                  </a:lnTo>
                  <a:lnTo>
                    <a:pt x="70" y="90"/>
                  </a:lnTo>
                  <a:lnTo>
                    <a:pt x="73" y="90"/>
                  </a:lnTo>
                  <a:lnTo>
                    <a:pt x="70" y="90"/>
                  </a:lnTo>
                  <a:lnTo>
                    <a:pt x="70" y="95"/>
                  </a:lnTo>
                  <a:lnTo>
                    <a:pt x="70" y="97"/>
                  </a:lnTo>
                  <a:lnTo>
                    <a:pt x="70" y="99"/>
                  </a:lnTo>
                  <a:lnTo>
                    <a:pt x="73" y="102"/>
                  </a:lnTo>
                  <a:lnTo>
                    <a:pt x="77" y="104"/>
                  </a:lnTo>
                  <a:lnTo>
                    <a:pt x="82" y="104"/>
                  </a:lnTo>
                  <a:lnTo>
                    <a:pt x="85" y="104"/>
                  </a:lnTo>
                  <a:lnTo>
                    <a:pt x="92" y="106"/>
                  </a:lnTo>
                  <a:lnTo>
                    <a:pt x="94" y="104"/>
                  </a:lnTo>
                  <a:lnTo>
                    <a:pt x="94" y="102"/>
                  </a:lnTo>
                  <a:lnTo>
                    <a:pt x="96" y="102"/>
                  </a:lnTo>
                  <a:lnTo>
                    <a:pt x="99" y="102"/>
                  </a:lnTo>
                  <a:lnTo>
                    <a:pt x="103" y="106"/>
                  </a:lnTo>
                  <a:lnTo>
                    <a:pt x="103" y="109"/>
                  </a:lnTo>
                  <a:lnTo>
                    <a:pt x="106" y="111"/>
                  </a:lnTo>
                  <a:lnTo>
                    <a:pt x="106" y="116"/>
                  </a:lnTo>
                  <a:lnTo>
                    <a:pt x="106" y="118"/>
                  </a:lnTo>
                  <a:lnTo>
                    <a:pt x="108" y="118"/>
                  </a:lnTo>
                  <a:lnTo>
                    <a:pt x="111" y="121"/>
                  </a:lnTo>
                  <a:lnTo>
                    <a:pt x="113" y="125"/>
                  </a:lnTo>
                  <a:lnTo>
                    <a:pt x="113" y="128"/>
                  </a:lnTo>
                  <a:lnTo>
                    <a:pt x="113" y="132"/>
                  </a:lnTo>
                  <a:lnTo>
                    <a:pt x="115" y="135"/>
                  </a:lnTo>
                  <a:lnTo>
                    <a:pt x="132" y="144"/>
                  </a:lnTo>
                  <a:lnTo>
                    <a:pt x="139" y="151"/>
                  </a:lnTo>
                  <a:lnTo>
                    <a:pt x="141" y="154"/>
                  </a:lnTo>
                  <a:lnTo>
                    <a:pt x="146" y="154"/>
                  </a:lnTo>
                  <a:lnTo>
                    <a:pt x="151" y="158"/>
                  </a:lnTo>
                  <a:lnTo>
                    <a:pt x="155" y="163"/>
                  </a:lnTo>
                  <a:lnTo>
                    <a:pt x="163" y="170"/>
                  </a:lnTo>
                  <a:lnTo>
                    <a:pt x="165" y="170"/>
                  </a:lnTo>
                  <a:lnTo>
                    <a:pt x="167" y="172"/>
                  </a:lnTo>
                  <a:lnTo>
                    <a:pt x="170" y="170"/>
                  </a:lnTo>
                  <a:lnTo>
                    <a:pt x="172" y="170"/>
                  </a:lnTo>
                  <a:lnTo>
                    <a:pt x="179" y="172"/>
                  </a:lnTo>
                  <a:lnTo>
                    <a:pt x="181" y="175"/>
                  </a:lnTo>
                  <a:lnTo>
                    <a:pt x="184" y="175"/>
                  </a:lnTo>
                  <a:lnTo>
                    <a:pt x="186" y="177"/>
                  </a:lnTo>
                  <a:lnTo>
                    <a:pt x="184" y="180"/>
                  </a:lnTo>
                  <a:lnTo>
                    <a:pt x="184" y="182"/>
                  </a:lnTo>
                  <a:lnTo>
                    <a:pt x="184" y="187"/>
                  </a:lnTo>
                  <a:lnTo>
                    <a:pt x="184" y="189"/>
                  </a:lnTo>
                  <a:lnTo>
                    <a:pt x="184" y="191"/>
                  </a:lnTo>
                  <a:lnTo>
                    <a:pt x="184" y="191"/>
                  </a:lnTo>
                  <a:lnTo>
                    <a:pt x="193" y="191"/>
                  </a:lnTo>
                  <a:lnTo>
                    <a:pt x="196" y="191"/>
                  </a:lnTo>
                  <a:lnTo>
                    <a:pt x="196" y="194"/>
                  </a:lnTo>
                  <a:lnTo>
                    <a:pt x="200" y="194"/>
                  </a:lnTo>
                  <a:lnTo>
                    <a:pt x="203" y="194"/>
                  </a:lnTo>
                  <a:lnTo>
                    <a:pt x="203" y="194"/>
                  </a:lnTo>
                  <a:lnTo>
                    <a:pt x="205" y="191"/>
                  </a:lnTo>
                  <a:lnTo>
                    <a:pt x="205" y="189"/>
                  </a:lnTo>
                  <a:lnTo>
                    <a:pt x="205" y="189"/>
                  </a:lnTo>
                  <a:lnTo>
                    <a:pt x="207" y="184"/>
                  </a:lnTo>
                  <a:lnTo>
                    <a:pt x="210" y="180"/>
                  </a:lnTo>
                  <a:lnTo>
                    <a:pt x="210" y="177"/>
                  </a:lnTo>
                  <a:lnTo>
                    <a:pt x="212" y="177"/>
                  </a:lnTo>
                  <a:lnTo>
                    <a:pt x="214" y="175"/>
                  </a:lnTo>
                  <a:lnTo>
                    <a:pt x="214" y="172"/>
                  </a:lnTo>
                  <a:lnTo>
                    <a:pt x="214" y="170"/>
                  </a:lnTo>
                  <a:lnTo>
                    <a:pt x="212" y="170"/>
                  </a:lnTo>
                  <a:lnTo>
                    <a:pt x="210" y="168"/>
                  </a:lnTo>
                  <a:lnTo>
                    <a:pt x="210" y="163"/>
                  </a:lnTo>
                  <a:lnTo>
                    <a:pt x="210" y="161"/>
                  </a:lnTo>
                  <a:lnTo>
                    <a:pt x="212" y="156"/>
                  </a:lnTo>
                  <a:lnTo>
                    <a:pt x="210" y="154"/>
                  </a:lnTo>
                  <a:lnTo>
                    <a:pt x="207" y="154"/>
                  </a:lnTo>
                  <a:lnTo>
                    <a:pt x="205" y="154"/>
                  </a:lnTo>
                  <a:lnTo>
                    <a:pt x="203" y="154"/>
                  </a:lnTo>
                  <a:lnTo>
                    <a:pt x="203" y="151"/>
                  </a:lnTo>
                  <a:lnTo>
                    <a:pt x="200" y="149"/>
                  </a:lnTo>
                  <a:lnTo>
                    <a:pt x="198" y="147"/>
                  </a:lnTo>
                  <a:lnTo>
                    <a:pt x="200" y="147"/>
                  </a:lnTo>
                  <a:lnTo>
                    <a:pt x="200" y="144"/>
                  </a:lnTo>
                  <a:lnTo>
                    <a:pt x="200" y="142"/>
                  </a:lnTo>
                  <a:lnTo>
                    <a:pt x="203" y="139"/>
                  </a:lnTo>
                  <a:lnTo>
                    <a:pt x="205" y="139"/>
                  </a:lnTo>
                  <a:lnTo>
                    <a:pt x="207" y="142"/>
                  </a:lnTo>
                  <a:lnTo>
                    <a:pt x="210" y="142"/>
                  </a:lnTo>
                  <a:lnTo>
                    <a:pt x="214" y="142"/>
                  </a:lnTo>
                  <a:lnTo>
                    <a:pt x="217" y="142"/>
                  </a:lnTo>
                  <a:lnTo>
                    <a:pt x="222" y="135"/>
                  </a:lnTo>
                  <a:lnTo>
                    <a:pt x="222" y="130"/>
                  </a:lnTo>
                  <a:lnTo>
                    <a:pt x="224" y="130"/>
                  </a:lnTo>
                  <a:lnTo>
                    <a:pt x="229" y="130"/>
                  </a:lnTo>
                  <a:lnTo>
                    <a:pt x="231" y="128"/>
                  </a:lnTo>
                  <a:lnTo>
                    <a:pt x="231" y="125"/>
                  </a:lnTo>
                  <a:lnTo>
                    <a:pt x="231" y="123"/>
                  </a:lnTo>
                  <a:lnTo>
                    <a:pt x="231" y="121"/>
                  </a:lnTo>
                  <a:lnTo>
                    <a:pt x="233" y="118"/>
                  </a:lnTo>
                  <a:lnTo>
                    <a:pt x="233" y="116"/>
                  </a:lnTo>
                  <a:lnTo>
                    <a:pt x="236" y="116"/>
                  </a:lnTo>
                  <a:lnTo>
                    <a:pt x="238" y="116"/>
                  </a:lnTo>
                  <a:lnTo>
                    <a:pt x="240" y="116"/>
                  </a:lnTo>
                  <a:lnTo>
                    <a:pt x="243" y="113"/>
                  </a:lnTo>
                  <a:lnTo>
                    <a:pt x="248" y="111"/>
                  </a:lnTo>
                  <a:lnTo>
                    <a:pt x="250" y="109"/>
                  </a:lnTo>
                  <a:lnTo>
                    <a:pt x="252" y="106"/>
                  </a:lnTo>
                  <a:lnTo>
                    <a:pt x="255" y="109"/>
                  </a:lnTo>
                  <a:lnTo>
                    <a:pt x="255" y="111"/>
                  </a:lnTo>
                  <a:lnTo>
                    <a:pt x="257" y="111"/>
                  </a:lnTo>
                  <a:lnTo>
                    <a:pt x="257" y="116"/>
                  </a:lnTo>
                  <a:lnTo>
                    <a:pt x="255" y="116"/>
                  </a:lnTo>
                  <a:lnTo>
                    <a:pt x="252" y="118"/>
                  </a:lnTo>
                  <a:lnTo>
                    <a:pt x="250" y="121"/>
                  </a:lnTo>
                  <a:lnTo>
                    <a:pt x="252" y="125"/>
                  </a:lnTo>
                  <a:lnTo>
                    <a:pt x="255" y="128"/>
                  </a:lnTo>
                  <a:lnTo>
                    <a:pt x="257" y="128"/>
                  </a:lnTo>
                  <a:lnTo>
                    <a:pt x="259" y="125"/>
                  </a:lnTo>
                  <a:lnTo>
                    <a:pt x="259" y="125"/>
                  </a:lnTo>
                  <a:lnTo>
                    <a:pt x="264" y="125"/>
                  </a:lnTo>
                  <a:lnTo>
                    <a:pt x="266" y="125"/>
                  </a:lnTo>
                  <a:lnTo>
                    <a:pt x="271" y="128"/>
                  </a:lnTo>
                  <a:lnTo>
                    <a:pt x="276" y="125"/>
                  </a:lnTo>
                  <a:lnTo>
                    <a:pt x="278" y="125"/>
                  </a:lnTo>
                  <a:lnTo>
                    <a:pt x="281" y="123"/>
                  </a:lnTo>
                  <a:lnTo>
                    <a:pt x="281" y="121"/>
                  </a:lnTo>
                  <a:lnTo>
                    <a:pt x="285" y="121"/>
                  </a:lnTo>
                  <a:lnTo>
                    <a:pt x="285" y="118"/>
                  </a:lnTo>
                  <a:lnTo>
                    <a:pt x="288" y="121"/>
                  </a:lnTo>
                  <a:lnTo>
                    <a:pt x="290" y="118"/>
                  </a:lnTo>
                  <a:lnTo>
                    <a:pt x="292" y="116"/>
                  </a:lnTo>
                  <a:lnTo>
                    <a:pt x="297" y="116"/>
                  </a:lnTo>
                  <a:lnTo>
                    <a:pt x="297" y="113"/>
                  </a:lnTo>
                  <a:lnTo>
                    <a:pt x="297" y="111"/>
                  </a:lnTo>
                  <a:lnTo>
                    <a:pt x="292" y="111"/>
                  </a:lnTo>
                  <a:lnTo>
                    <a:pt x="288" y="111"/>
                  </a:lnTo>
                  <a:lnTo>
                    <a:pt x="285" y="106"/>
                  </a:lnTo>
                  <a:lnTo>
                    <a:pt x="283" y="109"/>
                  </a:lnTo>
                  <a:lnTo>
                    <a:pt x="281" y="106"/>
                  </a:lnTo>
                  <a:lnTo>
                    <a:pt x="276" y="104"/>
                  </a:lnTo>
                  <a:lnTo>
                    <a:pt x="276" y="102"/>
                  </a:lnTo>
                  <a:lnTo>
                    <a:pt x="274" y="99"/>
                  </a:lnTo>
                  <a:lnTo>
                    <a:pt x="271" y="97"/>
                  </a:lnTo>
                  <a:lnTo>
                    <a:pt x="271" y="102"/>
                  </a:lnTo>
                  <a:lnTo>
                    <a:pt x="269" y="104"/>
                  </a:lnTo>
                  <a:lnTo>
                    <a:pt x="266" y="106"/>
                  </a:lnTo>
                  <a:lnTo>
                    <a:pt x="264" y="106"/>
                  </a:lnTo>
                  <a:lnTo>
                    <a:pt x="257" y="102"/>
                  </a:lnTo>
                  <a:lnTo>
                    <a:pt x="255" y="99"/>
                  </a:lnTo>
                  <a:lnTo>
                    <a:pt x="252" y="99"/>
                  </a:lnTo>
                  <a:lnTo>
                    <a:pt x="250" y="99"/>
                  </a:lnTo>
                  <a:lnTo>
                    <a:pt x="248" y="97"/>
                  </a:lnTo>
                  <a:lnTo>
                    <a:pt x="248" y="95"/>
                  </a:lnTo>
                  <a:lnTo>
                    <a:pt x="252" y="92"/>
                  </a:lnTo>
                  <a:lnTo>
                    <a:pt x="257" y="87"/>
                  </a:lnTo>
                  <a:lnTo>
                    <a:pt x="259" y="85"/>
                  </a:lnTo>
                  <a:lnTo>
                    <a:pt x="264" y="83"/>
                  </a:lnTo>
                  <a:lnTo>
                    <a:pt x="264" y="80"/>
                  </a:lnTo>
                  <a:lnTo>
                    <a:pt x="259" y="78"/>
                  </a:lnTo>
                  <a:lnTo>
                    <a:pt x="257" y="80"/>
                  </a:lnTo>
                  <a:lnTo>
                    <a:pt x="255" y="83"/>
                  </a:lnTo>
                  <a:lnTo>
                    <a:pt x="252" y="85"/>
                  </a:lnTo>
                  <a:lnTo>
                    <a:pt x="250" y="83"/>
                  </a:lnTo>
                  <a:lnTo>
                    <a:pt x="248" y="90"/>
                  </a:lnTo>
                  <a:lnTo>
                    <a:pt x="245" y="90"/>
                  </a:lnTo>
                  <a:lnTo>
                    <a:pt x="238" y="95"/>
                  </a:lnTo>
                  <a:lnTo>
                    <a:pt x="233" y="97"/>
                  </a:lnTo>
                  <a:lnTo>
                    <a:pt x="233" y="99"/>
                  </a:lnTo>
                  <a:lnTo>
                    <a:pt x="231" y="99"/>
                  </a:lnTo>
                  <a:lnTo>
                    <a:pt x="229" y="102"/>
                  </a:lnTo>
                  <a:lnTo>
                    <a:pt x="226" y="102"/>
                  </a:lnTo>
                  <a:lnTo>
                    <a:pt x="226" y="106"/>
                  </a:lnTo>
                  <a:lnTo>
                    <a:pt x="224" y="106"/>
                  </a:lnTo>
                  <a:lnTo>
                    <a:pt x="222" y="109"/>
                  </a:lnTo>
                  <a:lnTo>
                    <a:pt x="219" y="106"/>
                  </a:lnTo>
                  <a:lnTo>
                    <a:pt x="214" y="106"/>
                  </a:lnTo>
                  <a:lnTo>
                    <a:pt x="212" y="104"/>
                  </a:lnTo>
                  <a:lnTo>
                    <a:pt x="207" y="102"/>
                  </a:lnTo>
                  <a:lnTo>
                    <a:pt x="188" y="104"/>
                  </a:lnTo>
                  <a:lnTo>
                    <a:pt x="186" y="90"/>
                  </a:lnTo>
                  <a:lnTo>
                    <a:pt x="177" y="87"/>
                  </a:lnTo>
                  <a:lnTo>
                    <a:pt x="174" y="83"/>
                  </a:lnTo>
                  <a:lnTo>
                    <a:pt x="174" y="78"/>
                  </a:lnTo>
                  <a:lnTo>
                    <a:pt x="179" y="78"/>
                  </a:lnTo>
                  <a:lnTo>
                    <a:pt x="177" y="64"/>
                  </a:lnTo>
                  <a:lnTo>
                    <a:pt x="174" y="64"/>
                  </a:lnTo>
                  <a:lnTo>
                    <a:pt x="167" y="54"/>
                  </a:lnTo>
                  <a:lnTo>
                    <a:pt x="165" y="50"/>
                  </a:lnTo>
                  <a:lnTo>
                    <a:pt x="163" y="50"/>
                  </a:lnTo>
                  <a:lnTo>
                    <a:pt x="158" y="47"/>
                  </a:lnTo>
                  <a:lnTo>
                    <a:pt x="155" y="45"/>
                  </a:lnTo>
                  <a:lnTo>
                    <a:pt x="151" y="47"/>
                  </a:lnTo>
                  <a:lnTo>
                    <a:pt x="127" y="45"/>
                  </a:lnTo>
                  <a:lnTo>
                    <a:pt x="106" y="50"/>
                  </a:lnTo>
                  <a:lnTo>
                    <a:pt x="96" y="40"/>
                  </a:lnTo>
                  <a:lnTo>
                    <a:pt x="82" y="26"/>
                  </a:lnTo>
                  <a:lnTo>
                    <a:pt x="70" y="14"/>
                  </a:lnTo>
                  <a:lnTo>
                    <a:pt x="66" y="12"/>
                  </a:lnTo>
                  <a:lnTo>
                    <a:pt x="61" y="7"/>
                  </a:lnTo>
                  <a:lnTo>
                    <a:pt x="54" y="2"/>
                  </a:lnTo>
                  <a:lnTo>
                    <a:pt x="44" y="0"/>
                  </a:lnTo>
                  <a:lnTo>
                    <a:pt x="0" y="1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2" name="Freeform 956">
              <a:extLst>
                <a:ext uri="{FF2B5EF4-FFF2-40B4-BE49-F238E27FC236}">
                  <a16:creationId xmlns:a16="http://schemas.microsoft.com/office/drawing/2014/main" id="{84811A88-92BC-4288-9888-656A1363599E}"/>
                </a:ext>
              </a:extLst>
            </p:cNvPr>
            <p:cNvSpPr>
              <a:spLocks/>
            </p:cNvSpPr>
            <p:nvPr/>
          </p:nvSpPr>
          <p:spPr bwMode="auto">
            <a:xfrm>
              <a:off x="2828176" y="3116227"/>
              <a:ext cx="471487" cy="307975"/>
            </a:xfrm>
            <a:custGeom>
              <a:avLst/>
              <a:gdLst>
                <a:gd name="T0" fmla="*/ 0 w 297"/>
                <a:gd name="T1" fmla="*/ 80 h 194"/>
                <a:gd name="T2" fmla="*/ 16 w 297"/>
                <a:gd name="T3" fmla="*/ 97 h 194"/>
                <a:gd name="T4" fmla="*/ 18 w 297"/>
                <a:gd name="T5" fmla="*/ 85 h 194"/>
                <a:gd name="T6" fmla="*/ 30 w 297"/>
                <a:gd name="T7" fmla="*/ 80 h 194"/>
                <a:gd name="T8" fmla="*/ 35 w 297"/>
                <a:gd name="T9" fmla="*/ 73 h 194"/>
                <a:gd name="T10" fmla="*/ 40 w 297"/>
                <a:gd name="T11" fmla="*/ 73 h 194"/>
                <a:gd name="T12" fmla="*/ 44 w 297"/>
                <a:gd name="T13" fmla="*/ 69 h 194"/>
                <a:gd name="T14" fmla="*/ 59 w 297"/>
                <a:gd name="T15" fmla="*/ 78 h 194"/>
                <a:gd name="T16" fmla="*/ 70 w 297"/>
                <a:gd name="T17" fmla="*/ 83 h 194"/>
                <a:gd name="T18" fmla="*/ 73 w 297"/>
                <a:gd name="T19" fmla="*/ 90 h 194"/>
                <a:gd name="T20" fmla="*/ 70 w 297"/>
                <a:gd name="T21" fmla="*/ 99 h 194"/>
                <a:gd name="T22" fmla="*/ 85 w 297"/>
                <a:gd name="T23" fmla="*/ 104 h 194"/>
                <a:gd name="T24" fmla="*/ 96 w 297"/>
                <a:gd name="T25" fmla="*/ 102 h 194"/>
                <a:gd name="T26" fmla="*/ 106 w 297"/>
                <a:gd name="T27" fmla="*/ 111 h 194"/>
                <a:gd name="T28" fmla="*/ 111 w 297"/>
                <a:gd name="T29" fmla="*/ 121 h 194"/>
                <a:gd name="T30" fmla="*/ 115 w 297"/>
                <a:gd name="T31" fmla="*/ 135 h 194"/>
                <a:gd name="T32" fmla="*/ 146 w 297"/>
                <a:gd name="T33" fmla="*/ 154 h 194"/>
                <a:gd name="T34" fmla="*/ 165 w 297"/>
                <a:gd name="T35" fmla="*/ 170 h 194"/>
                <a:gd name="T36" fmla="*/ 179 w 297"/>
                <a:gd name="T37" fmla="*/ 172 h 194"/>
                <a:gd name="T38" fmla="*/ 184 w 297"/>
                <a:gd name="T39" fmla="*/ 180 h 194"/>
                <a:gd name="T40" fmla="*/ 184 w 297"/>
                <a:gd name="T41" fmla="*/ 191 h 194"/>
                <a:gd name="T42" fmla="*/ 196 w 297"/>
                <a:gd name="T43" fmla="*/ 194 h 194"/>
                <a:gd name="T44" fmla="*/ 205 w 297"/>
                <a:gd name="T45" fmla="*/ 191 h 194"/>
                <a:gd name="T46" fmla="*/ 210 w 297"/>
                <a:gd name="T47" fmla="*/ 180 h 194"/>
                <a:gd name="T48" fmla="*/ 214 w 297"/>
                <a:gd name="T49" fmla="*/ 172 h 194"/>
                <a:gd name="T50" fmla="*/ 210 w 297"/>
                <a:gd name="T51" fmla="*/ 163 h 194"/>
                <a:gd name="T52" fmla="*/ 207 w 297"/>
                <a:gd name="T53" fmla="*/ 154 h 194"/>
                <a:gd name="T54" fmla="*/ 200 w 297"/>
                <a:gd name="T55" fmla="*/ 149 h 194"/>
                <a:gd name="T56" fmla="*/ 200 w 297"/>
                <a:gd name="T57" fmla="*/ 142 h 194"/>
                <a:gd name="T58" fmla="*/ 210 w 297"/>
                <a:gd name="T59" fmla="*/ 142 h 194"/>
                <a:gd name="T60" fmla="*/ 222 w 297"/>
                <a:gd name="T61" fmla="*/ 130 h 194"/>
                <a:gd name="T62" fmla="*/ 231 w 297"/>
                <a:gd name="T63" fmla="*/ 125 h 194"/>
                <a:gd name="T64" fmla="*/ 233 w 297"/>
                <a:gd name="T65" fmla="*/ 116 h 194"/>
                <a:gd name="T66" fmla="*/ 243 w 297"/>
                <a:gd name="T67" fmla="*/ 113 h 194"/>
                <a:gd name="T68" fmla="*/ 255 w 297"/>
                <a:gd name="T69" fmla="*/ 109 h 194"/>
                <a:gd name="T70" fmla="*/ 255 w 297"/>
                <a:gd name="T71" fmla="*/ 116 h 194"/>
                <a:gd name="T72" fmla="*/ 255 w 297"/>
                <a:gd name="T73" fmla="*/ 128 h 194"/>
                <a:gd name="T74" fmla="*/ 264 w 297"/>
                <a:gd name="T75" fmla="*/ 125 h 194"/>
                <a:gd name="T76" fmla="*/ 278 w 297"/>
                <a:gd name="T77" fmla="*/ 125 h 194"/>
                <a:gd name="T78" fmla="*/ 285 w 297"/>
                <a:gd name="T79" fmla="*/ 118 h 194"/>
                <a:gd name="T80" fmla="*/ 297 w 297"/>
                <a:gd name="T81" fmla="*/ 116 h 194"/>
                <a:gd name="T82" fmla="*/ 288 w 297"/>
                <a:gd name="T83" fmla="*/ 111 h 194"/>
                <a:gd name="T84" fmla="*/ 276 w 297"/>
                <a:gd name="T85" fmla="*/ 104 h 194"/>
                <a:gd name="T86" fmla="*/ 271 w 297"/>
                <a:gd name="T87" fmla="*/ 102 h 194"/>
                <a:gd name="T88" fmla="*/ 257 w 297"/>
                <a:gd name="T89" fmla="*/ 102 h 194"/>
                <a:gd name="T90" fmla="*/ 248 w 297"/>
                <a:gd name="T91" fmla="*/ 97 h 194"/>
                <a:gd name="T92" fmla="*/ 259 w 297"/>
                <a:gd name="T93" fmla="*/ 85 h 194"/>
                <a:gd name="T94" fmla="*/ 257 w 297"/>
                <a:gd name="T95" fmla="*/ 80 h 194"/>
                <a:gd name="T96" fmla="*/ 248 w 297"/>
                <a:gd name="T97" fmla="*/ 90 h 194"/>
                <a:gd name="T98" fmla="*/ 233 w 297"/>
                <a:gd name="T99" fmla="*/ 99 h 194"/>
                <a:gd name="T100" fmla="*/ 226 w 297"/>
                <a:gd name="T101" fmla="*/ 106 h 194"/>
                <a:gd name="T102" fmla="*/ 214 w 297"/>
                <a:gd name="T103" fmla="*/ 106 h 194"/>
                <a:gd name="T104" fmla="*/ 186 w 297"/>
                <a:gd name="T105" fmla="*/ 90 h 194"/>
                <a:gd name="T106" fmla="*/ 179 w 297"/>
                <a:gd name="T107" fmla="*/ 78 h 194"/>
                <a:gd name="T108" fmla="*/ 165 w 297"/>
                <a:gd name="T109" fmla="*/ 50 h 194"/>
                <a:gd name="T110" fmla="*/ 151 w 297"/>
                <a:gd name="T111" fmla="*/ 47 h 194"/>
                <a:gd name="T112" fmla="*/ 82 w 297"/>
                <a:gd name="T113" fmla="*/ 26 h 194"/>
                <a:gd name="T114" fmla="*/ 54 w 297"/>
                <a:gd name="T115" fmla="*/ 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7" h="194">
                  <a:moveTo>
                    <a:pt x="0" y="14"/>
                  </a:moveTo>
                  <a:lnTo>
                    <a:pt x="0" y="38"/>
                  </a:lnTo>
                  <a:lnTo>
                    <a:pt x="0" y="61"/>
                  </a:lnTo>
                  <a:lnTo>
                    <a:pt x="0" y="80"/>
                  </a:lnTo>
                  <a:lnTo>
                    <a:pt x="0" y="102"/>
                  </a:lnTo>
                  <a:lnTo>
                    <a:pt x="16" y="104"/>
                  </a:lnTo>
                  <a:lnTo>
                    <a:pt x="18" y="102"/>
                  </a:lnTo>
                  <a:lnTo>
                    <a:pt x="16" y="97"/>
                  </a:lnTo>
                  <a:lnTo>
                    <a:pt x="18" y="95"/>
                  </a:lnTo>
                  <a:lnTo>
                    <a:pt x="16" y="90"/>
                  </a:lnTo>
                  <a:lnTo>
                    <a:pt x="16" y="87"/>
                  </a:lnTo>
                  <a:lnTo>
                    <a:pt x="18" y="85"/>
                  </a:lnTo>
                  <a:lnTo>
                    <a:pt x="21" y="83"/>
                  </a:lnTo>
                  <a:lnTo>
                    <a:pt x="23" y="83"/>
                  </a:lnTo>
                  <a:lnTo>
                    <a:pt x="26" y="80"/>
                  </a:lnTo>
                  <a:lnTo>
                    <a:pt x="30" y="80"/>
                  </a:lnTo>
                  <a:lnTo>
                    <a:pt x="33" y="80"/>
                  </a:lnTo>
                  <a:lnTo>
                    <a:pt x="33" y="78"/>
                  </a:lnTo>
                  <a:lnTo>
                    <a:pt x="33" y="76"/>
                  </a:lnTo>
                  <a:lnTo>
                    <a:pt x="35" y="73"/>
                  </a:lnTo>
                  <a:lnTo>
                    <a:pt x="40" y="78"/>
                  </a:lnTo>
                  <a:lnTo>
                    <a:pt x="42" y="78"/>
                  </a:lnTo>
                  <a:lnTo>
                    <a:pt x="42" y="76"/>
                  </a:lnTo>
                  <a:lnTo>
                    <a:pt x="40" y="73"/>
                  </a:lnTo>
                  <a:lnTo>
                    <a:pt x="37" y="71"/>
                  </a:lnTo>
                  <a:lnTo>
                    <a:pt x="40" y="71"/>
                  </a:lnTo>
                  <a:lnTo>
                    <a:pt x="42" y="71"/>
                  </a:lnTo>
                  <a:lnTo>
                    <a:pt x="44" y="69"/>
                  </a:lnTo>
                  <a:lnTo>
                    <a:pt x="44" y="66"/>
                  </a:lnTo>
                  <a:lnTo>
                    <a:pt x="51" y="73"/>
                  </a:lnTo>
                  <a:lnTo>
                    <a:pt x="56" y="76"/>
                  </a:lnTo>
                  <a:lnTo>
                    <a:pt x="59" y="78"/>
                  </a:lnTo>
                  <a:lnTo>
                    <a:pt x="61" y="80"/>
                  </a:lnTo>
                  <a:lnTo>
                    <a:pt x="63" y="78"/>
                  </a:lnTo>
                  <a:lnTo>
                    <a:pt x="68" y="80"/>
                  </a:lnTo>
                  <a:lnTo>
                    <a:pt x="70" y="83"/>
                  </a:lnTo>
                  <a:lnTo>
                    <a:pt x="68" y="85"/>
                  </a:lnTo>
                  <a:lnTo>
                    <a:pt x="68" y="87"/>
                  </a:lnTo>
                  <a:lnTo>
                    <a:pt x="70" y="90"/>
                  </a:lnTo>
                  <a:lnTo>
                    <a:pt x="73" y="90"/>
                  </a:lnTo>
                  <a:lnTo>
                    <a:pt x="70" y="90"/>
                  </a:lnTo>
                  <a:lnTo>
                    <a:pt x="70" y="95"/>
                  </a:lnTo>
                  <a:lnTo>
                    <a:pt x="70" y="97"/>
                  </a:lnTo>
                  <a:lnTo>
                    <a:pt x="70" y="99"/>
                  </a:lnTo>
                  <a:lnTo>
                    <a:pt x="73" y="102"/>
                  </a:lnTo>
                  <a:lnTo>
                    <a:pt x="77" y="104"/>
                  </a:lnTo>
                  <a:lnTo>
                    <a:pt x="82" y="104"/>
                  </a:lnTo>
                  <a:lnTo>
                    <a:pt x="85" y="104"/>
                  </a:lnTo>
                  <a:lnTo>
                    <a:pt x="92" y="106"/>
                  </a:lnTo>
                  <a:lnTo>
                    <a:pt x="94" y="104"/>
                  </a:lnTo>
                  <a:lnTo>
                    <a:pt x="94" y="102"/>
                  </a:lnTo>
                  <a:lnTo>
                    <a:pt x="96" y="102"/>
                  </a:lnTo>
                  <a:lnTo>
                    <a:pt x="99" y="102"/>
                  </a:lnTo>
                  <a:lnTo>
                    <a:pt x="103" y="106"/>
                  </a:lnTo>
                  <a:lnTo>
                    <a:pt x="103" y="109"/>
                  </a:lnTo>
                  <a:lnTo>
                    <a:pt x="106" y="111"/>
                  </a:lnTo>
                  <a:lnTo>
                    <a:pt x="106" y="116"/>
                  </a:lnTo>
                  <a:lnTo>
                    <a:pt x="106" y="118"/>
                  </a:lnTo>
                  <a:lnTo>
                    <a:pt x="108" y="118"/>
                  </a:lnTo>
                  <a:lnTo>
                    <a:pt x="111" y="121"/>
                  </a:lnTo>
                  <a:lnTo>
                    <a:pt x="113" y="125"/>
                  </a:lnTo>
                  <a:lnTo>
                    <a:pt x="113" y="128"/>
                  </a:lnTo>
                  <a:lnTo>
                    <a:pt x="113" y="132"/>
                  </a:lnTo>
                  <a:lnTo>
                    <a:pt x="115" y="135"/>
                  </a:lnTo>
                  <a:lnTo>
                    <a:pt x="132" y="144"/>
                  </a:lnTo>
                  <a:lnTo>
                    <a:pt x="139" y="151"/>
                  </a:lnTo>
                  <a:lnTo>
                    <a:pt x="141" y="154"/>
                  </a:lnTo>
                  <a:lnTo>
                    <a:pt x="146" y="154"/>
                  </a:lnTo>
                  <a:lnTo>
                    <a:pt x="151" y="158"/>
                  </a:lnTo>
                  <a:lnTo>
                    <a:pt x="155" y="163"/>
                  </a:lnTo>
                  <a:lnTo>
                    <a:pt x="163" y="170"/>
                  </a:lnTo>
                  <a:lnTo>
                    <a:pt x="165" y="170"/>
                  </a:lnTo>
                  <a:lnTo>
                    <a:pt x="167" y="172"/>
                  </a:lnTo>
                  <a:lnTo>
                    <a:pt x="170" y="170"/>
                  </a:lnTo>
                  <a:lnTo>
                    <a:pt x="172" y="170"/>
                  </a:lnTo>
                  <a:lnTo>
                    <a:pt x="179" y="172"/>
                  </a:lnTo>
                  <a:lnTo>
                    <a:pt x="181" y="175"/>
                  </a:lnTo>
                  <a:lnTo>
                    <a:pt x="184" y="175"/>
                  </a:lnTo>
                  <a:lnTo>
                    <a:pt x="186" y="177"/>
                  </a:lnTo>
                  <a:lnTo>
                    <a:pt x="184" y="180"/>
                  </a:lnTo>
                  <a:lnTo>
                    <a:pt x="184" y="182"/>
                  </a:lnTo>
                  <a:lnTo>
                    <a:pt x="184" y="187"/>
                  </a:lnTo>
                  <a:lnTo>
                    <a:pt x="184" y="189"/>
                  </a:lnTo>
                  <a:lnTo>
                    <a:pt x="184" y="191"/>
                  </a:lnTo>
                  <a:lnTo>
                    <a:pt x="184" y="191"/>
                  </a:lnTo>
                  <a:lnTo>
                    <a:pt x="193" y="191"/>
                  </a:lnTo>
                  <a:lnTo>
                    <a:pt x="196" y="191"/>
                  </a:lnTo>
                  <a:lnTo>
                    <a:pt x="196" y="194"/>
                  </a:lnTo>
                  <a:lnTo>
                    <a:pt x="200" y="194"/>
                  </a:lnTo>
                  <a:lnTo>
                    <a:pt x="203" y="194"/>
                  </a:lnTo>
                  <a:lnTo>
                    <a:pt x="203" y="194"/>
                  </a:lnTo>
                  <a:lnTo>
                    <a:pt x="205" y="191"/>
                  </a:lnTo>
                  <a:lnTo>
                    <a:pt x="205" y="189"/>
                  </a:lnTo>
                  <a:lnTo>
                    <a:pt x="205" y="189"/>
                  </a:lnTo>
                  <a:lnTo>
                    <a:pt x="207" y="184"/>
                  </a:lnTo>
                  <a:lnTo>
                    <a:pt x="210" y="180"/>
                  </a:lnTo>
                  <a:lnTo>
                    <a:pt x="210" y="177"/>
                  </a:lnTo>
                  <a:lnTo>
                    <a:pt x="212" y="177"/>
                  </a:lnTo>
                  <a:lnTo>
                    <a:pt x="214" y="175"/>
                  </a:lnTo>
                  <a:lnTo>
                    <a:pt x="214" y="172"/>
                  </a:lnTo>
                  <a:lnTo>
                    <a:pt x="214" y="170"/>
                  </a:lnTo>
                  <a:lnTo>
                    <a:pt x="212" y="170"/>
                  </a:lnTo>
                  <a:lnTo>
                    <a:pt x="210" y="168"/>
                  </a:lnTo>
                  <a:lnTo>
                    <a:pt x="210" y="163"/>
                  </a:lnTo>
                  <a:lnTo>
                    <a:pt x="210" y="161"/>
                  </a:lnTo>
                  <a:lnTo>
                    <a:pt x="212" y="156"/>
                  </a:lnTo>
                  <a:lnTo>
                    <a:pt x="210" y="154"/>
                  </a:lnTo>
                  <a:lnTo>
                    <a:pt x="207" y="154"/>
                  </a:lnTo>
                  <a:lnTo>
                    <a:pt x="205" y="154"/>
                  </a:lnTo>
                  <a:lnTo>
                    <a:pt x="203" y="154"/>
                  </a:lnTo>
                  <a:lnTo>
                    <a:pt x="203" y="151"/>
                  </a:lnTo>
                  <a:lnTo>
                    <a:pt x="200" y="149"/>
                  </a:lnTo>
                  <a:lnTo>
                    <a:pt x="198" y="147"/>
                  </a:lnTo>
                  <a:lnTo>
                    <a:pt x="200" y="147"/>
                  </a:lnTo>
                  <a:lnTo>
                    <a:pt x="200" y="144"/>
                  </a:lnTo>
                  <a:lnTo>
                    <a:pt x="200" y="142"/>
                  </a:lnTo>
                  <a:lnTo>
                    <a:pt x="203" y="139"/>
                  </a:lnTo>
                  <a:lnTo>
                    <a:pt x="205" y="139"/>
                  </a:lnTo>
                  <a:lnTo>
                    <a:pt x="207" y="142"/>
                  </a:lnTo>
                  <a:lnTo>
                    <a:pt x="210" y="142"/>
                  </a:lnTo>
                  <a:lnTo>
                    <a:pt x="214" y="142"/>
                  </a:lnTo>
                  <a:lnTo>
                    <a:pt x="217" y="142"/>
                  </a:lnTo>
                  <a:lnTo>
                    <a:pt x="222" y="135"/>
                  </a:lnTo>
                  <a:lnTo>
                    <a:pt x="222" y="130"/>
                  </a:lnTo>
                  <a:lnTo>
                    <a:pt x="224" y="130"/>
                  </a:lnTo>
                  <a:lnTo>
                    <a:pt x="229" y="130"/>
                  </a:lnTo>
                  <a:lnTo>
                    <a:pt x="231" y="128"/>
                  </a:lnTo>
                  <a:lnTo>
                    <a:pt x="231" y="125"/>
                  </a:lnTo>
                  <a:lnTo>
                    <a:pt x="231" y="123"/>
                  </a:lnTo>
                  <a:lnTo>
                    <a:pt x="231" y="121"/>
                  </a:lnTo>
                  <a:lnTo>
                    <a:pt x="233" y="118"/>
                  </a:lnTo>
                  <a:lnTo>
                    <a:pt x="233" y="116"/>
                  </a:lnTo>
                  <a:lnTo>
                    <a:pt x="236" y="116"/>
                  </a:lnTo>
                  <a:lnTo>
                    <a:pt x="238" y="116"/>
                  </a:lnTo>
                  <a:lnTo>
                    <a:pt x="240" y="116"/>
                  </a:lnTo>
                  <a:lnTo>
                    <a:pt x="243" y="113"/>
                  </a:lnTo>
                  <a:lnTo>
                    <a:pt x="248" y="111"/>
                  </a:lnTo>
                  <a:lnTo>
                    <a:pt x="250" y="109"/>
                  </a:lnTo>
                  <a:lnTo>
                    <a:pt x="252" y="106"/>
                  </a:lnTo>
                  <a:lnTo>
                    <a:pt x="255" y="109"/>
                  </a:lnTo>
                  <a:lnTo>
                    <a:pt x="255" y="111"/>
                  </a:lnTo>
                  <a:lnTo>
                    <a:pt x="257" y="111"/>
                  </a:lnTo>
                  <a:lnTo>
                    <a:pt x="257" y="116"/>
                  </a:lnTo>
                  <a:lnTo>
                    <a:pt x="255" y="116"/>
                  </a:lnTo>
                  <a:lnTo>
                    <a:pt x="252" y="118"/>
                  </a:lnTo>
                  <a:lnTo>
                    <a:pt x="250" y="121"/>
                  </a:lnTo>
                  <a:lnTo>
                    <a:pt x="252" y="125"/>
                  </a:lnTo>
                  <a:lnTo>
                    <a:pt x="255" y="128"/>
                  </a:lnTo>
                  <a:lnTo>
                    <a:pt x="257" y="128"/>
                  </a:lnTo>
                  <a:lnTo>
                    <a:pt x="259" y="125"/>
                  </a:lnTo>
                  <a:lnTo>
                    <a:pt x="259" y="125"/>
                  </a:lnTo>
                  <a:lnTo>
                    <a:pt x="264" y="125"/>
                  </a:lnTo>
                  <a:lnTo>
                    <a:pt x="266" y="125"/>
                  </a:lnTo>
                  <a:lnTo>
                    <a:pt x="271" y="128"/>
                  </a:lnTo>
                  <a:lnTo>
                    <a:pt x="276" y="125"/>
                  </a:lnTo>
                  <a:lnTo>
                    <a:pt x="278" y="125"/>
                  </a:lnTo>
                  <a:lnTo>
                    <a:pt x="281" y="123"/>
                  </a:lnTo>
                  <a:lnTo>
                    <a:pt x="281" y="121"/>
                  </a:lnTo>
                  <a:lnTo>
                    <a:pt x="285" y="121"/>
                  </a:lnTo>
                  <a:lnTo>
                    <a:pt x="285" y="118"/>
                  </a:lnTo>
                  <a:lnTo>
                    <a:pt x="288" y="121"/>
                  </a:lnTo>
                  <a:lnTo>
                    <a:pt x="290" y="118"/>
                  </a:lnTo>
                  <a:lnTo>
                    <a:pt x="292" y="116"/>
                  </a:lnTo>
                  <a:lnTo>
                    <a:pt x="297" y="116"/>
                  </a:lnTo>
                  <a:lnTo>
                    <a:pt x="297" y="113"/>
                  </a:lnTo>
                  <a:lnTo>
                    <a:pt x="297" y="111"/>
                  </a:lnTo>
                  <a:lnTo>
                    <a:pt x="292" y="111"/>
                  </a:lnTo>
                  <a:lnTo>
                    <a:pt x="288" y="111"/>
                  </a:lnTo>
                  <a:lnTo>
                    <a:pt x="285" y="106"/>
                  </a:lnTo>
                  <a:lnTo>
                    <a:pt x="283" y="109"/>
                  </a:lnTo>
                  <a:lnTo>
                    <a:pt x="281" y="106"/>
                  </a:lnTo>
                  <a:lnTo>
                    <a:pt x="276" y="104"/>
                  </a:lnTo>
                  <a:lnTo>
                    <a:pt x="276" y="102"/>
                  </a:lnTo>
                  <a:lnTo>
                    <a:pt x="274" y="99"/>
                  </a:lnTo>
                  <a:lnTo>
                    <a:pt x="271" y="97"/>
                  </a:lnTo>
                  <a:lnTo>
                    <a:pt x="271" y="102"/>
                  </a:lnTo>
                  <a:lnTo>
                    <a:pt x="269" y="104"/>
                  </a:lnTo>
                  <a:lnTo>
                    <a:pt x="266" y="106"/>
                  </a:lnTo>
                  <a:lnTo>
                    <a:pt x="264" y="106"/>
                  </a:lnTo>
                  <a:lnTo>
                    <a:pt x="257" y="102"/>
                  </a:lnTo>
                  <a:lnTo>
                    <a:pt x="255" y="99"/>
                  </a:lnTo>
                  <a:lnTo>
                    <a:pt x="252" y="99"/>
                  </a:lnTo>
                  <a:lnTo>
                    <a:pt x="250" y="99"/>
                  </a:lnTo>
                  <a:lnTo>
                    <a:pt x="248" y="97"/>
                  </a:lnTo>
                  <a:lnTo>
                    <a:pt x="248" y="95"/>
                  </a:lnTo>
                  <a:lnTo>
                    <a:pt x="252" y="92"/>
                  </a:lnTo>
                  <a:lnTo>
                    <a:pt x="257" y="87"/>
                  </a:lnTo>
                  <a:lnTo>
                    <a:pt x="259" y="85"/>
                  </a:lnTo>
                  <a:lnTo>
                    <a:pt x="264" y="83"/>
                  </a:lnTo>
                  <a:lnTo>
                    <a:pt x="264" y="80"/>
                  </a:lnTo>
                  <a:lnTo>
                    <a:pt x="259" y="78"/>
                  </a:lnTo>
                  <a:lnTo>
                    <a:pt x="257" y="80"/>
                  </a:lnTo>
                  <a:lnTo>
                    <a:pt x="255" y="83"/>
                  </a:lnTo>
                  <a:lnTo>
                    <a:pt x="252" y="85"/>
                  </a:lnTo>
                  <a:lnTo>
                    <a:pt x="250" y="83"/>
                  </a:lnTo>
                  <a:lnTo>
                    <a:pt x="248" y="90"/>
                  </a:lnTo>
                  <a:lnTo>
                    <a:pt x="245" y="90"/>
                  </a:lnTo>
                  <a:lnTo>
                    <a:pt x="238" y="95"/>
                  </a:lnTo>
                  <a:lnTo>
                    <a:pt x="233" y="97"/>
                  </a:lnTo>
                  <a:lnTo>
                    <a:pt x="233" y="99"/>
                  </a:lnTo>
                  <a:lnTo>
                    <a:pt x="231" y="99"/>
                  </a:lnTo>
                  <a:lnTo>
                    <a:pt x="229" y="102"/>
                  </a:lnTo>
                  <a:lnTo>
                    <a:pt x="226" y="102"/>
                  </a:lnTo>
                  <a:lnTo>
                    <a:pt x="226" y="106"/>
                  </a:lnTo>
                  <a:lnTo>
                    <a:pt x="224" y="106"/>
                  </a:lnTo>
                  <a:lnTo>
                    <a:pt x="222" y="109"/>
                  </a:lnTo>
                  <a:lnTo>
                    <a:pt x="219" y="106"/>
                  </a:lnTo>
                  <a:lnTo>
                    <a:pt x="214" y="106"/>
                  </a:lnTo>
                  <a:lnTo>
                    <a:pt x="212" y="104"/>
                  </a:lnTo>
                  <a:lnTo>
                    <a:pt x="207" y="102"/>
                  </a:lnTo>
                  <a:lnTo>
                    <a:pt x="188" y="104"/>
                  </a:lnTo>
                  <a:lnTo>
                    <a:pt x="186" y="90"/>
                  </a:lnTo>
                  <a:lnTo>
                    <a:pt x="177" y="87"/>
                  </a:lnTo>
                  <a:lnTo>
                    <a:pt x="174" y="83"/>
                  </a:lnTo>
                  <a:lnTo>
                    <a:pt x="174" y="78"/>
                  </a:lnTo>
                  <a:lnTo>
                    <a:pt x="179" y="78"/>
                  </a:lnTo>
                  <a:lnTo>
                    <a:pt x="177" y="64"/>
                  </a:lnTo>
                  <a:lnTo>
                    <a:pt x="174" y="64"/>
                  </a:lnTo>
                  <a:lnTo>
                    <a:pt x="167" y="54"/>
                  </a:lnTo>
                  <a:lnTo>
                    <a:pt x="165" y="50"/>
                  </a:lnTo>
                  <a:lnTo>
                    <a:pt x="163" y="50"/>
                  </a:lnTo>
                  <a:lnTo>
                    <a:pt x="158" y="47"/>
                  </a:lnTo>
                  <a:lnTo>
                    <a:pt x="155" y="45"/>
                  </a:lnTo>
                  <a:lnTo>
                    <a:pt x="151" y="47"/>
                  </a:lnTo>
                  <a:lnTo>
                    <a:pt x="127" y="45"/>
                  </a:lnTo>
                  <a:lnTo>
                    <a:pt x="106" y="50"/>
                  </a:lnTo>
                  <a:lnTo>
                    <a:pt x="96" y="40"/>
                  </a:lnTo>
                  <a:lnTo>
                    <a:pt x="82" y="26"/>
                  </a:lnTo>
                  <a:lnTo>
                    <a:pt x="70" y="14"/>
                  </a:lnTo>
                  <a:lnTo>
                    <a:pt x="66" y="12"/>
                  </a:lnTo>
                  <a:lnTo>
                    <a:pt x="61" y="7"/>
                  </a:lnTo>
                  <a:lnTo>
                    <a:pt x="54" y="2"/>
                  </a:lnTo>
                  <a:lnTo>
                    <a:pt x="44" y="0"/>
                  </a:lnTo>
                  <a:lnTo>
                    <a:pt x="0" y="14"/>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3" name="Freeform 959">
              <a:extLst>
                <a:ext uri="{FF2B5EF4-FFF2-40B4-BE49-F238E27FC236}">
                  <a16:creationId xmlns:a16="http://schemas.microsoft.com/office/drawing/2014/main" id="{A9B92C77-44A1-4B75-90B1-26CDCCB683FE}"/>
                </a:ext>
              </a:extLst>
            </p:cNvPr>
            <p:cNvSpPr>
              <a:spLocks/>
            </p:cNvSpPr>
            <p:nvPr/>
          </p:nvSpPr>
          <p:spPr bwMode="auto">
            <a:xfrm>
              <a:off x="1897902" y="3171790"/>
              <a:ext cx="171450" cy="109538"/>
            </a:xfrm>
            <a:custGeom>
              <a:avLst/>
              <a:gdLst>
                <a:gd name="T0" fmla="*/ 9 w 108"/>
                <a:gd name="T1" fmla="*/ 67 h 69"/>
                <a:gd name="T2" fmla="*/ 9 w 108"/>
                <a:gd name="T3" fmla="*/ 60 h 69"/>
                <a:gd name="T4" fmla="*/ 7 w 108"/>
                <a:gd name="T5" fmla="*/ 50 h 69"/>
                <a:gd name="T6" fmla="*/ 0 w 108"/>
                <a:gd name="T7" fmla="*/ 45 h 69"/>
                <a:gd name="T8" fmla="*/ 0 w 108"/>
                <a:gd name="T9" fmla="*/ 38 h 69"/>
                <a:gd name="T10" fmla="*/ 4 w 108"/>
                <a:gd name="T11" fmla="*/ 29 h 69"/>
                <a:gd name="T12" fmla="*/ 7 w 108"/>
                <a:gd name="T13" fmla="*/ 26 h 69"/>
                <a:gd name="T14" fmla="*/ 2 w 108"/>
                <a:gd name="T15" fmla="*/ 19 h 69"/>
                <a:gd name="T16" fmla="*/ 0 w 108"/>
                <a:gd name="T17" fmla="*/ 15 h 69"/>
                <a:gd name="T18" fmla="*/ 0 w 108"/>
                <a:gd name="T19" fmla="*/ 10 h 69"/>
                <a:gd name="T20" fmla="*/ 0 w 108"/>
                <a:gd name="T21" fmla="*/ 3 h 69"/>
                <a:gd name="T22" fmla="*/ 4 w 108"/>
                <a:gd name="T23" fmla="*/ 0 h 69"/>
                <a:gd name="T24" fmla="*/ 9 w 108"/>
                <a:gd name="T25" fmla="*/ 0 h 69"/>
                <a:gd name="T26" fmla="*/ 7 w 108"/>
                <a:gd name="T27" fmla="*/ 5 h 69"/>
                <a:gd name="T28" fmla="*/ 11 w 108"/>
                <a:gd name="T29" fmla="*/ 8 h 69"/>
                <a:gd name="T30" fmla="*/ 16 w 108"/>
                <a:gd name="T31" fmla="*/ 8 h 69"/>
                <a:gd name="T32" fmla="*/ 26 w 108"/>
                <a:gd name="T33" fmla="*/ 10 h 69"/>
                <a:gd name="T34" fmla="*/ 40 w 108"/>
                <a:gd name="T35" fmla="*/ 10 h 69"/>
                <a:gd name="T36" fmla="*/ 54 w 108"/>
                <a:gd name="T37" fmla="*/ 12 h 69"/>
                <a:gd name="T38" fmla="*/ 59 w 108"/>
                <a:gd name="T39" fmla="*/ 10 h 69"/>
                <a:gd name="T40" fmla="*/ 63 w 108"/>
                <a:gd name="T41" fmla="*/ 8 h 69"/>
                <a:gd name="T42" fmla="*/ 71 w 108"/>
                <a:gd name="T43" fmla="*/ 3 h 69"/>
                <a:gd name="T44" fmla="*/ 80 w 108"/>
                <a:gd name="T45" fmla="*/ 0 h 69"/>
                <a:gd name="T46" fmla="*/ 85 w 108"/>
                <a:gd name="T47" fmla="*/ 0 h 69"/>
                <a:gd name="T48" fmla="*/ 87 w 108"/>
                <a:gd name="T49" fmla="*/ 3 h 69"/>
                <a:gd name="T50" fmla="*/ 97 w 108"/>
                <a:gd name="T51" fmla="*/ 5 h 69"/>
                <a:gd name="T52" fmla="*/ 104 w 108"/>
                <a:gd name="T53" fmla="*/ 10 h 69"/>
                <a:gd name="T54" fmla="*/ 108 w 108"/>
                <a:gd name="T55" fmla="*/ 10 h 69"/>
                <a:gd name="T56" fmla="*/ 108 w 108"/>
                <a:gd name="T57" fmla="*/ 15 h 69"/>
                <a:gd name="T58" fmla="*/ 106 w 108"/>
                <a:gd name="T59" fmla="*/ 19 h 69"/>
                <a:gd name="T60" fmla="*/ 101 w 108"/>
                <a:gd name="T61" fmla="*/ 19 h 69"/>
                <a:gd name="T62" fmla="*/ 97 w 108"/>
                <a:gd name="T63" fmla="*/ 24 h 69"/>
                <a:gd name="T64" fmla="*/ 97 w 108"/>
                <a:gd name="T65" fmla="*/ 34 h 69"/>
                <a:gd name="T66" fmla="*/ 94 w 108"/>
                <a:gd name="T67" fmla="*/ 34 h 69"/>
                <a:gd name="T68" fmla="*/ 92 w 108"/>
                <a:gd name="T69" fmla="*/ 36 h 69"/>
                <a:gd name="T70" fmla="*/ 89 w 108"/>
                <a:gd name="T71" fmla="*/ 41 h 69"/>
                <a:gd name="T72" fmla="*/ 89 w 108"/>
                <a:gd name="T73" fmla="*/ 41 h 69"/>
                <a:gd name="T74" fmla="*/ 92 w 108"/>
                <a:gd name="T75" fmla="*/ 41 h 69"/>
                <a:gd name="T76" fmla="*/ 94 w 108"/>
                <a:gd name="T77" fmla="*/ 43 h 69"/>
                <a:gd name="T78" fmla="*/ 94 w 108"/>
                <a:gd name="T79" fmla="*/ 48 h 69"/>
                <a:gd name="T80" fmla="*/ 97 w 108"/>
                <a:gd name="T81" fmla="*/ 52 h 69"/>
                <a:gd name="T82" fmla="*/ 99 w 108"/>
                <a:gd name="T83" fmla="*/ 52 h 69"/>
                <a:gd name="T84" fmla="*/ 97 w 108"/>
                <a:gd name="T85" fmla="*/ 52 h 69"/>
                <a:gd name="T86" fmla="*/ 87 w 108"/>
                <a:gd name="T87" fmla="*/ 55 h 69"/>
                <a:gd name="T88" fmla="*/ 82 w 108"/>
                <a:gd name="T89" fmla="*/ 50 h 69"/>
                <a:gd name="T90" fmla="*/ 75 w 108"/>
                <a:gd name="T91" fmla="*/ 52 h 69"/>
                <a:gd name="T92" fmla="*/ 71 w 108"/>
                <a:gd name="T93" fmla="*/ 55 h 69"/>
                <a:gd name="T94" fmla="*/ 68 w 108"/>
                <a:gd name="T95" fmla="*/ 57 h 69"/>
                <a:gd name="T96" fmla="*/ 66 w 108"/>
                <a:gd name="T97" fmla="*/ 57 h 69"/>
                <a:gd name="T98" fmla="*/ 63 w 108"/>
                <a:gd name="T99" fmla="*/ 64 h 69"/>
                <a:gd name="T100" fmla="*/ 61 w 108"/>
                <a:gd name="T101" fmla="*/ 67 h 69"/>
                <a:gd name="T102" fmla="*/ 54 w 108"/>
                <a:gd name="T103" fmla="*/ 69 h 69"/>
                <a:gd name="T104" fmla="*/ 42 w 108"/>
                <a:gd name="T105" fmla="*/ 64 h 69"/>
                <a:gd name="T106" fmla="*/ 40 w 108"/>
                <a:gd name="T107" fmla="*/ 62 h 69"/>
                <a:gd name="T108" fmla="*/ 35 w 108"/>
                <a:gd name="T109" fmla="*/ 62 h 69"/>
                <a:gd name="T110" fmla="*/ 26 w 108"/>
                <a:gd name="T111" fmla="*/ 64 h 69"/>
                <a:gd name="T112" fmla="*/ 19 w 108"/>
                <a:gd name="T113" fmla="*/ 64 h 69"/>
                <a:gd name="T114" fmla="*/ 14 w 108"/>
                <a:gd name="T115" fmla="*/ 67 h 69"/>
                <a:gd name="T116" fmla="*/ 9 w 108"/>
                <a:gd name="T117"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69">
                  <a:moveTo>
                    <a:pt x="9" y="67"/>
                  </a:moveTo>
                  <a:lnTo>
                    <a:pt x="9" y="60"/>
                  </a:lnTo>
                  <a:lnTo>
                    <a:pt x="7" y="50"/>
                  </a:lnTo>
                  <a:lnTo>
                    <a:pt x="0" y="45"/>
                  </a:lnTo>
                  <a:lnTo>
                    <a:pt x="0" y="38"/>
                  </a:lnTo>
                  <a:lnTo>
                    <a:pt x="4" y="29"/>
                  </a:lnTo>
                  <a:lnTo>
                    <a:pt x="7" y="26"/>
                  </a:lnTo>
                  <a:lnTo>
                    <a:pt x="2" y="19"/>
                  </a:lnTo>
                  <a:lnTo>
                    <a:pt x="0" y="15"/>
                  </a:lnTo>
                  <a:lnTo>
                    <a:pt x="0" y="10"/>
                  </a:lnTo>
                  <a:lnTo>
                    <a:pt x="0" y="3"/>
                  </a:lnTo>
                  <a:lnTo>
                    <a:pt x="4" y="0"/>
                  </a:lnTo>
                  <a:lnTo>
                    <a:pt x="9" y="0"/>
                  </a:lnTo>
                  <a:lnTo>
                    <a:pt x="7" y="5"/>
                  </a:lnTo>
                  <a:lnTo>
                    <a:pt x="11" y="8"/>
                  </a:lnTo>
                  <a:lnTo>
                    <a:pt x="16" y="8"/>
                  </a:lnTo>
                  <a:lnTo>
                    <a:pt x="26" y="10"/>
                  </a:lnTo>
                  <a:lnTo>
                    <a:pt x="40" y="10"/>
                  </a:lnTo>
                  <a:lnTo>
                    <a:pt x="54" y="12"/>
                  </a:lnTo>
                  <a:lnTo>
                    <a:pt x="59" y="10"/>
                  </a:lnTo>
                  <a:lnTo>
                    <a:pt x="63" y="8"/>
                  </a:lnTo>
                  <a:lnTo>
                    <a:pt x="71" y="3"/>
                  </a:lnTo>
                  <a:lnTo>
                    <a:pt x="80" y="0"/>
                  </a:lnTo>
                  <a:lnTo>
                    <a:pt x="85" y="0"/>
                  </a:lnTo>
                  <a:lnTo>
                    <a:pt x="87" y="3"/>
                  </a:lnTo>
                  <a:lnTo>
                    <a:pt x="97" y="5"/>
                  </a:lnTo>
                  <a:lnTo>
                    <a:pt x="104" y="10"/>
                  </a:lnTo>
                  <a:lnTo>
                    <a:pt x="108" y="10"/>
                  </a:lnTo>
                  <a:lnTo>
                    <a:pt x="108" y="15"/>
                  </a:lnTo>
                  <a:lnTo>
                    <a:pt x="106" y="19"/>
                  </a:lnTo>
                  <a:lnTo>
                    <a:pt x="101" y="19"/>
                  </a:lnTo>
                  <a:lnTo>
                    <a:pt x="97" y="24"/>
                  </a:lnTo>
                  <a:lnTo>
                    <a:pt x="97" y="34"/>
                  </a:lnTo>
                  <a:lnTo>
                    <a:pt x="94" y="34"/>
                  </a:lnTo>
                  <a:lnTo>
                    <a:pt x="92" y="36"/>
                  </a:lnTo>
                  <a:lnTo>
                    <a:pt x="89" y="41"/>
                  </a:lnTo>
                  <a:lnTo>
                    <a:pt x="89" y="41"/>
                  </a:lnTo>
                  <a:lnTo>
                    <a:pt x="92" y="41"/>
                  </a:lnTo>
                  <a:lnTo>
                    <a:pt x="94" y="43"/>
                  </a:lnTo>
                  <a:lnTo>
                    <a:pt x="94" y="48"/>
                  </a:lnTo>
                  <a:lnTo>
                    <a:pt x="97" y="52"/>
                  </a:lnTo>
                  <a:lnTo>
                    <a:pt x="99" y="52"/>
                  </a:lnTo>
                  <a:lnTo>
                    <a:pt x="97" y="52"/>
                  </a:lnTo>
                  <a:lnTo>
                    <a:pt x="87" y="55"/>
                  </a:lnTo>
                  <a:lnTo>
                    <a:pt x="82" y="50"/>
                  </a:lnTo>
                  <a:lnTo>
                    <a:pt x="75" y="52"/>
                  </a:lnTo>
                  <a:lnTo>
                    <a:pt x="71" y="55"/>
                  </a:lnTo>
                  <a:lnTo>
                    <a:pt x="68" y="57"/>
                  </a:lnTo>
                  <a:lnTo>
                    <a:pt x="66" y="57"/>
                  </a:lnTo>
                  <a:lnTo>
                    <a:pt x="63" y="64"/>
                  </a:lnTo>
                  <a:lnTo>
                    <a:pt x="61" y="67"/>
                  </a:lnTo>
                  <a:lnTo>
                    <a:pt x="54" y="69"/>
                  </a:lnTo>
                  <a:lnTo>
                    <a:pt x="42" y="64"/>
                  </a:lnTo>
                  <a:lnTo>
                    <a:pt x="40" y="62"/>
                  </a:lnTo>
                  <a:lnTo>
                    <a:pt x="35" y="62"/>
                  </a:lnTo>
                  <a:lnTo>
                    <a:pt x="26" y="64"/>
                  </a:lnTo>
                  <a:lnTo>
                    <a:pt x="19" y="64"/>
                  </a:lnTo>
                  <a:lnTo>
                    <a:pt x="14" y="67"/>
                  </a:lnTo>
                  <a:lnTo>
                    <a:pt x="9" y="6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4" name="Freeform 960">
              <a:extLst>
                <a:ext uri="{FF2B5EF4-FFF2-40B4-BE49-F238E27FC236}">
                  <a16:creationId xmlns:a16="http://schemas.microsoft.com/office/drawing/2014/main" id="{154147C7-8C1F-4DD5-BFA8-09BCD0E47313}"/>
                </a:ext>
              </a:extLst>
            </p:cNvPr>
            <p:cNvSpPr>
              <a:spLocks/>
            </p:cNvSpPr>
            <p:nvPr/>
          </p:nvSpPr>
          <p:spPr bwMode="auto">
            <a:xfrm>
              <a:off x="1897902" y="3171790"/>
              <a:ext cx="171450" cy="109538"/>
            </a:xfrm>
            <a:custGeom>
              <a:avLst/>
              <a:gdLst>
                <a:gd name="T0" fmla="*/ 9 w 108"/>
                <a:gd name="T1" fmla="*/ 67 h 69"/>
                <a:gd name="T2" fmla="*/ 9 w 108"/>
                <a:gd name="T3" fmla="*/ 60 h 69"/>
                <a:gd name="T4" fmla="*/ 7 w 108"/>
                <a:gd name="T5" fmla="*/ 50 h 69"/>
                <a:gd name="T6" fmla="*/ 0 w 108"/>
                <a:gd name="T7" fmla="*/ 45 h 69"/>
                <a:gd name="T8" fmla="*/ 0 w 108"/>
                <a:gd name="T9" fmla="*/ 38 h 69"/>
                <a:gd name="T10" fmla="*/ 4 w 108"/>
                <a:gd name="T11" fmla="*/ 29 h 69"/>
                <a:gd name="T12" fmla="*/ 7 w 108"/>
                <a:gd name="T13" fmla="*/ 26 h 69"/>
                <a:gd name="T14" fmla="*/ 2 w 108"/>
                <a:gd name="T15" fmla="*/ 19 h 69"/>
                <a:gd name="T16" fmla="*/ 0 w 108"/>
                <a:gd name="T17" fmla="*/ 15 h 69"/>
                <a:gd name="T18" fmla="*/ 0 w 108"/>
                <a:gd name="T19" fmla="*/ 10 h 69"/>
                <a:gd name="T20" fmla="*/ 0 w 108"/>
                <a:gd name="T21" fmla="*/ 3 h 69"/>
                <a:gd name="T22" fmla="*/ 4 w 108"/>
                <a:gd name="T23" fmla="*/ 0 h 69"/>
                <a:gd name="T24" fmla="*/ 9 w 108"/>
                <a:gd name="T25" fmla="*/ 0 h 69"/>
                <a:gd name="T26" fmla="*/ 7 w 108"/>
                <a:gd name="T27" fmla="*/ 5 h 69"/>
                <a:gd name="T28" fmla="*/ 11 w 108"/>
                <a:gd name="T29" fmla="*/ 8 h 69"/>
                <a:gd name="T30" fmla="*/ 16 w 108"/>
                <a:gd name="T31" fmla="*/ 8 h 69"/>
                <a:gd name="T32" fmla="*/ 26 w 108"/>
                <a:gd name="T33" fmla="*/ 10 h 69"/>
                <a:gd name="T34" fmla="*/ 40 w 108"/>
                <a:gd name="T35" fmla="*/ 10 h 69"/>
                <a:gd name="T36" fmla="*/ 54 w 108"/>
                <a:gd name="T37" fmla="*/ 12 h 69"/>
                <a:gd name="T38" fmla="*/ 59 w 108"/>
                <a:gd name="T39" fmla="*/ 10 h 69"/>
                <a:gd name="T40" fmla="*/ 63 w 108"/>
                <a:gd name="T41" fmla="*/ 8 h 69"/>
                <a:gd name="T42" fmla="*/ 71 w 108"/>
                <a:gd name="T43" fmla="*/ 3 h 69"/>
                <a:gd name="T44" fmla="*/ 80 w 108"/>
                <a:gd name="T45" fmla="*/ 0 h 69"/>
                <a:gd name="T46" fmla="*/ 85 w 108"/>
                <a:gd name="T47" fmla="*/ 0 h 69"/>
                <a:gd name="T48" fmla="*/ 87 w 108"/>
                <a:gd name="T49" fmla="*/ 3 h 69"/>
                <a:gd name="T50" fmla="*/ 97 w 108"/>
                <a:gd name="T51" fmla="*/ 5 h 69"/>
                <a:gd name="T52" fmla="*/ 104 w 108"/>
                <a:gd name="T53" fmla="*/ 10 h 69"/>
                <a:gd name="T54" fmla="*/ 108 w 108"/>
                <a:gd name="T55" fmla="*/ 10 h 69"/>
                <a:gd name="T56" fmla="*/ 108 w 108"/>
                <a:gd name="T57" fmla="*/ 15 h 69"/>
                <a:gd name="T58" fmla="*/ 106 w 108"/>
                <a:gd name="T59" fmla="*/ 19 h 69"/>
                <a:gd name="T60" fmla="*/ 101 w 108"/>
                <a:gd name="T61" fmla="*/ 19 h 69"/>
                <a:gd name="T62" fmla="*/ 97 w 108"/>
                <a:gd name="T63" fmla="*/ 24 h 69"/>
                <a:gd name="T64" fmla="*/ 97 w 108"/>
                <a:gd name="T65" fmla="*/ 34 h 69"/>
                <a:gd name="T66" fmla="*/ 94 w 108"/>
                <a:gd name="T67" fmla="*/ 34 h 69"/>
                <a:gd name="T68" fmla="*/ 92 w 108"/>
                <a:gd name="T69" fmla="*/ 36 h 69"/>
                <a:gd name="T70" fmla="*/ 89 w 108"/>
                <a:gd name="T71" fmla="*/ 41 h 69"/>
                <a:gd name="T72" fmla="*/ 89 w 108"/>
                <a:gd name="T73" fmla="*/ 41 h 69"/>
                <a:gd name="T74" fmla="*/ 92 w 108"/>
                <a:gd name="T75" fmla="*/ 41 h 69"/>
                <a:gd name="T76" fmla="*/ 94 w 108"/>
                <a:gd name="T77" fmla="*/ 43 h 69"/>
                <a:gd name="T78" fmla="*/ 94 w 108"/>
                <a:gd name="T79" fmla="*/ 48 h 69"/>
                <a:gd name="T80" fmla="*/ 97 w 108"/>
                <a:gd name="T81" fmla="*/ 52 h 69"/>
                <a:gd name="T82" fmla="*/ 99 w 108"/>
                <a:gd name="T83" fmla="*/ 52 h 69"/>
                <a:gd name="T84" fmla="*/ 97 w 108"/>
                <a:gd name="T85" fmla="*/ 52 h 69"/>
                <a:gd name="T86" fmla="*/ 87 w 108"/>
                <a:gd name="T87" fmla="*/ 55 h 69"/>
                <a:gd name="T88" fmla="*/ 82 w 108"/>
                <a:gd name="T89" fmla="*/ 50 h 69"/>
                <a:gd name="T90" fmla="*/ 75 w 108"/>
                <a:gd name="T91" fmla="*/ 52 h 69"/>
                <a:gd name="T92" fmla="*/ 71 w 108"/>
                <a:gd name="T93" fmla="*/ 55 h 69"/>
                <a:gd name="T94" fmla="*/ 68 w 108"/>
                <a:gd name="T95" fmla="*/ 57 h 69"/>
                <a:gd name="T96" fmla="*/ 66 w 108"/>
                <a:gd name="T97" fmla="*/ 57 h 69"/>
                <a:gd name="T98" fmla="*/ 63 w 108"/>
                <a:gd name="T99" fmla="*/ 64 h 69"/>
                <a:gd name="T100" fmla="*/ 61 w 108"/>
                <a:gd name="T101" fmla="*/ 67 h 69"/>
                <a:gd name="T102" fmla="*/ 54 w 108"/>
                <a:gd name="T103" fmla="*/ 69 h 69"/>
                <a:gd name="T104" fmla="*/ 42 w 108"/>
                <a:gd name="T105" fmla="*/ 64 h 69"/>
                <a:gd name="T106" fmla="*/ 40 w 108"/>
                <a:gd name="T107" fmla="*/ 62 h 69"/>
                <a:gd name="T108" fmla="*/ 35 w 108"/>
                <a:gd name="T109" fmla="*/ 62 h 69"/>
                <a:gd name="T110" fmla="*/ 26 w 108"/>
                <a:gd name="T111" fmla="*/ 64 h 69"/>
                <a:gd name="T112" fmla="*/ 19 w 108"/>
                <a:gd name="T113" fmla="*/ 64 h 69"/>
                <a:gd name="T114" fmla="*/ 14 w 108"/>
                <a:gd name="T115" fmla="*/ 67 h 69"/>
                <a:gd name="T116" fmla="*/ 9 w 108"/>
                <a:gd name="T117"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69">
                  <a:moveTo>
                    <a:pt x="9" y="67"/>
                  </a:moveTo>
                  <a:lnTo>
                    <a:pt x="9" y="60"/>
                  </a:lnTo>
                  <a:lnTo>
                    <a:pt x="7" y="50"/>
                  </a:lnTo>
                  <a:lnTo>
                    <a:pt x="0" y="45"/>
                  </a:lnTo>
                  <a:lnTo>
                    <a:pt x="0" y="38"/>
                  </a:lnTo>
                  <a:lnTo>
                    <a:pt x="4" y="29"/>
                  </a:lnTo>
                  <a:lnTo>
                    <a:pt x="7" y="26"/>
                  </a:lnTo>
                  <a:lnTo>
                    <a:pt x="2" y="19"/>
                  </a:lnTo>
                  <a:lnTo>
                    <a:pt x="0" y="15"/>
                  </a:lnTo>
                  <a:lnTo>
                    <a:pt x="0" y="10"/>
                  </a:lnTo>
                  <a:lnTo>
                    <a:pt x="0" y="3"/>
                  </a:lnTo>
                  <a:lnTo>
                    <a:pt x="4" y="0"/>
                  </a:lnTo>
                  <a:lnTo>
                    <a:pt x="9" y="0"/>
                  </a:lnTo>
                  <a:lnTo>
                    <a:pt x="7" y="5"/>
                  </a:lnTo>
                  <a:lnTo>
                    <a:pt x="11" y="8"/>
                  </a:lnTo>
                  <a:lnTo>
                    <a:pt x="16" y="8"/>
                  </a:lnTo>
                  <a:lnTo>
                    <a:pt x="26" y="10"/>
                  </a:lnTo>
                  <a:lnTo>
                    <a:pt x="40" y="10"/>
                  </a:lnTo>
                  <a:lnTo>
                    <a:pt x="54" y="12"/>
                  </a:lnTo>
                  <a:lnTo>
                    <a:pt x="59" y="10"/>
                  </a:lnTo>
                  <a:lnTo>
                    <a:pt x="63" y="8"/>
                  </a:lnTo>
                  <a:lnTo>
                    <a:pt x="71" y="3"/>
                  </a:lnTo>
                  <a:lnTo>
                    <a:pt x="80" y="0"/>
                  </a:lnTo>
                  <a:lnTo>
                    <a:pt x="85" y="0"/>
                  </a:lnTo>
                  <a:lnTo>
                    <a:pt x="87" y="3"/>
                  </a:lnTo>
                  <a:lnTo>
                    <a:pt x="97" y="5"/>
                  </a:lnTo>
                  <a:lnTo>
                    <a:pt x="104" y="10"/>
                  </a:lnTo>
                  <a:lnTo>
                    <a:pt x="108" y="10"/>
                  </a:lnTo>
                  <a:lnTo>
                    <a:pt x="108" y="15"/>
                  </a:lnTo>
                  <a:lnTo>
                    <a:pt x="106" y="19"/>
                  </a:lnTo>
                  <a:lnTo>
                    <a:pt x="101" y="19"/>
                  </a:lnTo>
                  <a:lnTo>
                    <a:pt x="97" y="24"/>
                  </a:lnTo>
                  <a:lnTo>
                    <a:pt x="97" y="34"/>
                  </a:lnTo>
                  <a:lnTo>
                    <a:pt x="94" y="34"/>
                  </a:lnTo>
                  <a:lnTo>
                    <a:pt x="92" y="36"/>
                  </a:lnTo>
                  <a:lnTo>
                    <a:pt x="89" y="41"/>
                  </a:lnTo>
                  <a:lnTo>
                    <a:pt x="89" y="41"/>
                  </a:lnTo>
                  <a:lnTo>
                    <a:pt x="92" y="41"/>
                  </a:lnTo>
                  <a:lnTo>
                    <a:pt x="94" y="43"/>
                  </a:lnTo>
                  <a:lnTo>
                    <a:pt x="94" y="48"/>
                  </a:lnTo>
                  <a:lnTo>
                    <a:pt x="97" y="52"/>
                  </a:lnTo>
                  <a:lnTo>
                    <a:pt x="99" y="52"/>
                  </a:lnTo>
                  <a:lnTo>
                    <a:pt x="97" y="52"/>
                  </a:lnTo>
                  <a:lnTo>
                    <a:pt x="87" y="55"/>
                  </a:lnTo>
                  <a:lnTo>
                    <a:pt x="82" y="50"/>
                  </a:lnTo>
                  <a:lnTo>
                    <a:pt x="75" y="52"/>
                  </a:lnTo>
                  <a:lnTo>
                    <a:pt x="71" y="55"/>
                  </a:lnTo>
                  <a:lnTo>
                    <a:pt x="68" y="57"/>
                  </a:lnTo>
                  <a:lnTo>
                    <a:pt x="66" y="57"/>
                  </a:lnTo>
                  <a:lnTo>
                    <a:pt x="63" y="64"/>
                  </a:lnTo>
                  <a:lnTo>
                    <a:pt x="61" y="67"/>
                  </a:lnTo>
                  <a:lnTo>
                    <a:pt x="54" y="69"/>
                  </a:lnTo>
                  <a:lnTo>
                    <a:pt x="42" y="64"/>
                  </a:lnTo>
                  <a:lnTo>
                    <a:pt x="40" y="62"/>
                  </a:lnTo>
                  <a:lnTo>
                    <a:pt x="35" y="62"/>
                  </a:lnTo>
                  <a:lnTo>
                    <a:pt x="26" y="64"/>
                  </a:lnTo>
                  <a:lnTo>
                    <a:pt x="19" y="64"/>
                  </a:lnTo>
                  <a:lnTo>
                    <a:pt x="14" y="67"/>
                  </a:lnTo>
                  <a:lnTo>
                    <a:pt x="9" y="6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5" name="Freeform 961">
              <a:extLst>
                <a:ext uri="{FF2B5EF4-FFF2-40B4-BE49-F238E27FC236}">
                  <a16:creationId xmlns:a16="http://schemas.microsoft.com/office/drawing/2014/main" id="{08A8D408-0D31-4D7E-9D90-B7C356497095}"/>
                </a:ext>
              </a:extLst>
            </p:cNvPr>
            <p:cNvSpPr>
              <a:spLocks/>
            </p:cNvSpPr>
            <p:nvPr/>
          </p:nvSpPr>
          <p:spPr bwMode="auto">
            <a:xfrm>
              <a:off x="1675653" y="3132101"/>
              <a:ext cx="7938" cy="6350"/>
            </a:xfrm>
            <a:custGeom>
              <a:avLst/>
              <a:gdLst>
                <a:gd name="T0" fmla="*/ 3 w 5"/>
                <a:gd name="T1" fmla="*/ 0 h 4"/>
                <a:gd name="T2" fmla="*/ 3 w 5"/>
                <a:gd name="T3" fmla="*/ 2 h 4"/>
                <a:gd name="T4" fmla="*/ 5 w 5"/>
                <a:gd name="T5" fmla="*/ 4 h 4"/>
                <a:gd name="T6" fmla="*/ 5 w 5"/>
                <a:gd name="T7" fmla="*/ 4 h 4"/>
                <a:gd name="T8" fmla="*/ 3 w 5"/>
                <a:gd name="T9" fmla="*/ 4 h 4"/>
                <a:gd name="T10" fmla="*/ 0 w 5"/>
                <a:gd name="T11" fmla="*/ 4 h 4"/>
                <a:gd name="T12" fmla="*/ 0 w 5"/>
                <a:gd name="T13" fmla="*/ 4 h 4"/>
                <a:gd name="T14" fmla="*/ 0 w 5"/>
                <a:gd name="T15" fmla="*/ 0 h 4"/>
                <a:gd name="T16" fmla="*/ 3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3" y="0"/>
                  </a:moveTo>
                  <a:lnTo>
                    <a:pt x="3" y="2"/>
                  </a:lnTo>
                  <a:lnTo>
                    <a:pt x="5" y="4"/>
                  </a:lnTo>
                  <a:lnTo>
                    <a:pt x="5" y="4"/>
                  </a:lnTo>
                  <a:lnTo>
                    <a:pt x="3" y="4"/>
                  </a:lnTo>
                  <a:lnTo>
                    <a:pt x="0" y="4"/>
                  </a:lnTo>
                  <a:lnTo>
                    <a:pt x="0" y="4"/>
                  </a:lnTo>
                  <a:lnTo>
                    <a:pt x="0"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6" name="Freeform 962">
              <a:extLst>
                <a:ext uri="{FF2B5EF4-FFF2-40B4-BE49-F238E27FC236}">
                  <a16:creationId xmlns:a16="http://schemas.microsoft.com/office/drawing/2014/main" id="{BA8085C4-25D9-491D-BB57-61780AFCBEAF}"/>
                </a:ext>
              </a:extLst>
            </p:cNvPr>
            <p:cNvSpPr>
              <a:spLocks/>
            </p:cNvSpPr>
            <p:nvPr/>
          </p:nvSpPr>
          <p:spPr bwMode="auto">
            <a:xfrm>
              <a:off x="1675653" y="3132101"/>
              <a:ext cx="7938" cy="6350"/>
            </a:xfrm>
            <a:custGeom>
              <a:avLst/>
              <a:gdLst>
                <a:gd name="T0" fmla="*/ 3 w 5"/>
                <a:gd name="T1" fmla="*/ 0 h 4"/>
                <a:gd name="T2" fmla="*/ 3 w 5"/>
                <a:gd name="T3" fmla="*/ 2 h 4"/>
                <a:gd name="T4" fmla="*/ 5 w 5"/>
                <a:gd name="T5" fmla="*/ 4 h 4"/>
                <a:gd name="T6" fmla="*/ 5 w 5"/>
                <a:gd name="T7" fmla="*/ 4 h 4"/>
                <a:gd name="T8" fmla="*/ 3 w 5"/>
                <a:gd name="T9" fmla="*/ 4 h 4"/>
                <a:gd name="T10" fmla="*/ 0 w 5"/>
                <a:gd name="T11" fmla="*/ 4 h 4"/>
                <a:gd name="T12" fmla="*/ 0 w 5"/>
                <a:gd name="T13" fmla="*/ 4 h 4"/>
                <a:gd name="T14" fmla="*/ 0 w 5"/>
                <a:gd name="T15" fmla="*/ 0 h 4"/>
                <a:gd name="T16" fmla="*/ 3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3" y="0"/>
                  </a:moveTo>
                  <a:lnTo>
                    <a:pt x="3" y="2"/>
                  </a:lnTo>
                  <a:lnTo>
                    <a:pt x="5" y="4"/>
                  </a:lnTo>
                  <a:lnTo>
                    <a:pt x="5" y="4"/>
                  </a:lnTo>
                  <a:lnTo>
                    <a:pt x="3" y="4"/>
                  </a:lnTo>
                  <a:lnTo>
                    <a:pt x="0" y="4"/>
                  </a:lnTo>
                  <a:lnTo>
                    <a:pt x="0" y="4"/>
                  </a:lnTo>
                  <a:lnTo>
                    <a:pt x="0"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7" name="Freeform 963">
              <a:extLst>
                <a:ext uri="{FF2B5EF4-FFF2-40B4-BE49-F238E27FC236}">
                  <a16:creationId xmlns:a16="http://schemas.microsoft.com/office/drawing/2014/main" id="{27F7943D-E957-4192-8E4D-55B8EF29C54D}"/>
                </a:ext>
              </a:extLst>
            </p:cNvPr>
            <p:cNvSpPr>
              <a:spLocks/>
            </p:cNvSpPr>
            <p:nvPr/>
          </p:nvSpPr>
          <p:spPr bwMode="auto">
            <a:xfrm>
              <a:off x="1672478" y="3132101"/>
              <a:ext cx="3175" cy="22225"/>
            </a:xfrm>
            <a:custGeom>
              <a:avLst/>
              <a:gdLst>
                <a:gd name="T0" fmla="*/ 0 w 2"/>
                <a:gd name="T1" fmla="*/ 2 h 14"/>
                <a:gd name="T2" fmla="*/ 0 w 2"/>
                <a:gd name="T3" fmla="*/ 0 h 14"/>
                <a:gd name="T4" fmla="*/ 0 w 2"/>
                <a:gd name="T5" fmla="*/ 0 h 14"/>
                <a:gd name="T6" fmla="*/ 2 w 2"/>
                <a:gd name="T7" fmla="*/ 2 h 14"/>
                <a:gd name="T8" fmla="*/ 2 w 2"/>
                <a:gd name="T9" fmla="*/ 4 h 14"/>
                <a:gd name="T10" fmla="*/ 2 w 2"/>
                <a:gd name="T11" fmla="*/ 7 h 14"/>
                <a:gd name="T12" fmla="*/ 2 w 2"/>
                <a:gd name="T13" fmla="*/ 9 h 14"/>
                <a:gd name="T14" fmla="*/ 2 w 2"/>
                <a:gd name="T15" fmla="*/ 14 h 14"/>
                <a:gd name="T16" fmla="*/ 0 w 2"/>
                <a:gd name="T17" fmla="*/ 9 h 14"/>
                <a:gd name="T18" fmla="*/ 0 w 2"/>
                <a:gd name="T19" fmla="*/ 7 h 14"/>
                <a:gd name="T20" fmla="*/ 2 w 2"/>
                <a:gd name="T21" fmla="*/ 7 h 14"/>
                <a:gd name="T22" fmla="*/ 2 w 2"/>
                <a:gd name="T23" fmla="*/ 4 h 14"/>
                <a:gd name="T24" fmla="*/ 0 w 2"/>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4">
                  <a:moveTo>
                    <a:pt x="0" y="2"/>
                  </a:moveTo>
                  <a:lnTo>
                    <a:pt x="0" y="0"/>
                  </a:lnTo>
                  <a:lnTo>
                    <a:pt x="0" y="0"/>
                  </a:lnTo>
                  <a:lnTo>
                    <a:pt x="2" y="2"/>
                  </a:lnTo>
                  <a:lnTo>
                    <a:pt x="2" y="4"/>
                  </a:lnTo>
                  <a:lnTo>
                    <a:pt x="2" y="7"/>
                  </a:lnTo>
                  <a:lnTo>
                    <a:pt x="2" y="9"/>
                  </a:lnTo>
                  <a:lnTo>
                    <a:pt x="2" y="14"/>
                  </a:lnTo>
                  <a:lnTo>
                    <a:pt x="0" y="9"/>
                  </a:lnTo>
                  <a:lnTo>
                    <a:pt x="0" y="7"/>
                  </a:lnTo>
                  <a:lnTo>
                    <a:pt x="2" y="7"/>
                  </a:lnTo>
                  <a:lnTo>
                    <a:pt x="2" y="4"/>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8" name="Freeform 964">
              <a:extLst>
                <a:ext uri="{FF2B5EF4-FFF2-40B4-BE49-F238E27FC236}">
                  <a16:creationId xmlns:a16="http://schemas.microsoft.com/office/drawing/2014/main" id="{63BDF6A8-997C-459E-8DD8-7936241193A2}"/>
                </a:ext>
              </a:extLst>
            </p:cNvPr>
            <p:cNvSpPr>
              <a:spLocks/>
            </p:cNvSpPr>
            <p:nvPr/>
          </p:nvSpPr>
          <p:spPr bwMode="auto">
            <a:xfrm>
              <a:off x="1672478" y="3132101"/>
              <a:ext cx="3175" cy="22225"/>
            </a:xfrm>
            <a:custGeom>
              <a:avLst/>
              <a:gdLst>
                <a:gd name="T0" fmla="*/ 0 w 2"/>
                <a:gd name="T1" fmla="*/ 2 h 14"/>
                <a:gd name="T2" fmla="*/ 0 w 2"/>
                <a:gd name="T3" fmla="*/ 0 h 14"/>
                <a:gd name="T4" fmla="*/ 0 w 2"/>
                <a:gd name="T5" fmla="*/ 0 h 14"/>
                <a:gd name="T6" fmla="*/ 2 w 2"/>
                <a:gd name="T7" fmla="*/ 2 h 14"/>
                <a:gd name="T8" fmla="*/ 2 w 2"/>
                <a:gd name="T9" fmla="*/ 4 h 14"/>
                <a:gd name="T10" fmla="*/ 2 w 2"/>
                <a:gd name="T11" fmla="*/ 7 h 14"/>
                <a:gd name="T12" fmla="*/ 2 w 2"/>
                <a:gd name="T13" fmla="*/ 9 h 14"/>
                <a:gd name="T14" fmla="*/ 2 w 2"/>
                <a:gd name="T15" fmla="*/ 14 h 14"/>
                <a:gd name="T16" fmla="*/ 0 w 2"/>
                <a:gd name="T17" fmla="*/ 9 h 14"/>
                <a:gd name="T18" fmla="*/ 0 w 2"/>
                <a:gd name="T19" fmla="*/ 7 h 14"/>
                <a:gd name="T20" fmla="*/ 2 w 2"/>
                <a:gd name="T21" fmla="*/ 7 h 14"/>
                <a:gd name="T22" fmla="*/ 2 w 2"/>
                <a:gd name="T23" fmla="*/ 4 h 14"/>
                <a:gd name="T24" fmla="*/ 0 w 2"/>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4">
                  <a:moveTo>
                    <a:pt x="0" y="2"/>
                  </a:moveTo>
                  <a:lnTo>
                    <a:pt x="0" y="0"/>
                  </a:lnTo>
                  <a:lnTo>
                    <a:pt x="0" y="0"/>
                  </a:lnTo>
                  <a:lnTo>
                    <a:pt x="2" y="2"/>
                  </a:lnTo>
                  <a:lnTo>
                    <a:pt x="2" y="4"/>
                  </a:lnTo>
                  <a:lnTo>
                    <a:pt x="2" y="7"/>
                  </a:lnTo>
                  <a:lnTo>
                    <a:pt x="2" y="9"/>
                  </a:lnTo>
                  <a:lnTo>
                    <a:pt x="2" y="14"/>
                  </a:lnTo>
                  <a:lnTo>
                    <a:pt x="0" y="9"/>
                  </a:lnTo>
                  <a:lnTo>
                    <a:pt x="0" y="7"/>
                  </a:lnTo>
                  <a:lnTo>
                    <a:pt x="2" y="7"/>
                  </a:lnTo>
                  <a:lnTo>
                    <a:pt x="2" y="4"/>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69" name="Freeform 965">
              <a:extLst>
                <a:ext uri="{FF2B5EF4-FFF2-40B4-BE49-F238E27FC236}">
                  <a16:creationId xmlns:a16="http://schemas.microsoft.com/office/drawing/2014/main" id="{C82F9C9F-8F7D-4B65-BD63-3A30846EDE9A}"/>
                </a:ext>
              </a:extLst>
            </p:cNvPr>
            <p:cNvSpPr>
              <a:spLocks/>
            </p:cNvSpPr>
            <p:nvPr/>
          </p:nvSpPr>
          <p:spPr bwMode="auto">
            <a:xfrm>
              <a:off x="1732803" y="3201952"/>
              <a:ext cx="11113" cy="4762"/>
            </a:xfrm>
            <a:custGeom>
              <a:avLst/>
              <a:gdLst>
                <a:gd name="T0" fmla="*/ 0 w 7"/>
                <a:gd name="T1" fmla="*/ 0 h 3"/>
                <a:gd name="T2" fmla="*/ 0 w 7"/>
                <a:gd name="T3" fmla="*/ 0 h 3"/>
                <a:gd name="T4" fmla="*/ 4 w 7"/>
                <a:gd name="T5" fmla="*/ 0 h 3"/>
                <a:gd name="T6" fmla="*/ 7 w 7"/>
                <a:gd name="T7" fmla="*/ 0 h 3"/>
                <a:gd name="T8" fmla="*/ 7 w 7"/>
                <a:gd name="T9" fmla="*/ 0 h 3"/>
                <a:gd name="T10" fmla="*/ 7 w 7"/>
                <a:gd name="T11" fmla="*/ 3 h 3"/>
                <a:gd name="T12" fmla="*/ 2 w 7"/>
                <a:gd name="T13" fmla="*/ 3 h 3"/>
                <a:gd name="T14" fmla="*/ 0 w 7"/>
                <a:gd name="T15" fmla="*/ 3 h 3"/>
                <a:gd name="T16" fmla="*/ 0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0" y="0"/>
                  </a:moveTo>
                  <a:lnTo>
                    <a:pt x="0" y="0"/>
                  </a:lnTo>
                  <a:lnTo>
                    <a:pt x="4" y="0"/>
                  </a:lnTo>
                  <a:lnTo>
                    <a:pt x="7" y="0"/>
                  </a:lnTo>
                  <a:lnTo>
                    <a:pt x="7" y="0"/>
                  </a:lnTo>
                  <a:lnTo>
                    <a:pt x="7" y="3"/>
                  </a:lnTo>
                  <a:lnTo>
                    <a:pt x="2" y="3"/>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0" name="Freeform 966">
              <a:extLst>
                <a:ext uri="{FF2B5EF4-FFF2-40B4-BE49-F238E27FC236}">
                  <a16:creationId xmlns:a16="http://schemas.microsoft.com/office/drawing/2014/main" id="{F042BE5F-6433-49EE-855B-D9F846895668}"/>
                </a:ext>
              </a:extLst>
            </p:cNvPr>
            <p:cNvSpPr>
              <a:spLocks/>
            </p:cNvSpPr>
            <p:nvPr/>
          </p:nvSpPr>
          <p:spPr bwMode="auto">
            <a:xfrm>
              <a:off x="1732803" y="3201952"/>
              <a:ext cx="11113" cy="4762"/>
            </a:xfrm>
            <a:custGeom>
              <a:avLst/>
              <a:gdLst>
                <a:gd name="T0" fmla="*/ 0 w 7"/>
                <a:gd name="T1" fmla="*/ 0 h 3"/>
                <a:gd name="T2" fmla="*/ 0 w 7"/>
                <a:gd name="T3" fmla="*/ 0 h 3"/>
                <a:gd name="T4" fmla="*/ 4 w 7"/>
                <a:gd name="T5" fmla="*/ 0 h 3"/>
                <a:gd name="T6" fmla="*/ 7 w 7"/>
                <a:gd name="T7" fmla="*/ 0 h 3"/>
                <a:gd name="T8" fmla="*/ 7 w 7"/>
                <a:gd name="T9" fmla="*/ 0 h 3"/>
                <a:gd name="T10" fmla="*/ 7 w 7"/>
                <a:gd name="T11" fmla="*/ 3 h 3"/>
                <a:gd name="T12" fmla="*/ 2 w 7"/>
                <a:gd name="T13" fmla="*/ 3 h 3"/>
                <a:gd name="T14" fmla="*/ 0 w 7"/>
                <a:gd name="T15" fmla="*/ 3 h 3"/>
                <a:gd name="T16" fmla="*/ 0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0" y="0"/>
                  </a:moveTo>
                  <a:lnTo>
                    <a:pt x="0" y="0"/>
                  </a:lnTo>
                  <a:lnTo>
                    <a:pt x="4" y="0"/>
                  </a:lnTo>
                  <a:lnTo>
                    <a:pt x="7" y="0"/>
                  </a:lnTo>
                  <a:lnTo>
                    <a:pt x="7" y="0"/>
                  </a:lnTo>
                  <a:lnTo>
                    <a:pt x="7" y="3"/>
                  </a:lnTo>
                  <a:lnTo>
                    <a:pt x="2" y="3"/>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1" name="Freeform 967">
              <a:extLst>
                <a:ext uri="{FF2B5EF4-FFF2-40B4-BE49-F238E27FC236}">
                  <a16:creationId xmlns:a16="http://schemas.microsoft.com/office/drawing/2014/main" id="{4683218A-9B99-405E-8AAC-721E1CFBECEB}"/>
                </a:ext>
              </a:extLst>
            </p:cNvPr>
            <p:cNvSpPr>
              <a:spLocks/>
            </p:cNvSpPr>
            <p:nvPr/>
          </p:nvSpPr>
          <p:spPr bwMode="auto">
            <a:xfrm>
              <a:off x="1735978" y="3217827"/>
              <a:ext cx="15875" cy="0"/>
            </a:xfrm>
            <a:custGeom>
              <a:avLst/>
              <a:gdLst>
                <a:gd name="T0" fmla="*/ 0 w 10"/>
                <a:gd name="T1" fmla="*/ 2 w 10"/>
                <a:gd name="T2" fmla="*/ 7 w 10"/>
                <a:gd name="T3" fmla="*/ 10 w 10"/>
                <a:gd name="T4" fmla="*/ 10 w 10"/>
                <a:gd name="T5" fmla="*/ 2 w 10"/>
                <a:gd name="T6" fmla="*/ 0 w 10"/>
              </a:gdLst>
              <a:ahLst/>
              <a:cxnLst>
                <a:cxn ang="0">
                  <a:pos x="T0" y="0"/>
                </a:cxn>
                <a:cxn ang="0">
                  <a:pos x="T1" y="0"/>
                </a:cxn>
                <a:cxn ang="0">
                  <a:pos x="T2" y="0"/>
                </a:cxn>
                <a:cxn ang="0">
                  <a:pos x="T3" y="0"/>
                </a:cxn>
                <a:cxn ang="0">
                  <a:pos x="T4" y="0"/>
                </a:cxn>
                <a:cxn ang="0">
                  <a:pos x="T5" y="0"/>
                </a:cxn>
                <a:cxn ang="0">
                  <a:pos x="T6" y="0"/>
                </a:cxn>
              </a:cxnLst>
              <a:rect l="0" t="0" r="r" b="b"/>
              <a:pathLst>
                <a:path w="10">
                  <a:moveTo>
                    <a:pt x="0" y="0"/>
                  </a:moveTo>
                  <a:lnTo>
                    <a:pt x="2" y="0"/>
                  </a:lnTo>
                  <a:lnTo>
                    <a:pt x="7" y="0"/>
                  </a:lnTo>
                  <a:lnTo>
                    <a:pt x="10" y="0"/>
                  </a:lnTo>
                  <a:lnTo>
                    <a:pt x="10" y="0"/>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2" name="Freeform 968">
              <a:extLst>
                <a:ext uri="{FF2B5EF4-FFF2-40B4-BE49-F238E27FC236}">
                  <a16:creationId xmlns:a16="http://schemas.microsoft.com/office/drawing/2014/main" id="{CB30C68C-BAFA-4432-A00B-29637C67A038}"/>
                </a:ext>
              </a:extLst>
            </p:cNvPr>
            <p:cNvSpPr>
              <a:spLocks/>
            </p:cNvSpPr>
            <p:nvPr/>
          </p:nvSpPr>
          <p:spPr bwMode="auto">
            <a:xfrm>
              <a:off x="1735978" y="3217827"/>
              <a:ext cx="15875" cy="0"/>
            </a:xfrm>
            <a:custGeom>
              <a:avLst/>
              <a:gdLst>
                <a:gd name="T0" fmla="*/ 0 w 10"/>
                <a:gd name="T1" fmla="*/ 2 w 10"/>
                <a:gd name="T2" fmla="*/ 7 w 10"/>
                <a:gd name="T3" fmla="*/ 10 w 10"/>
                <a:gd name="T4" fmla="*/ 10 w 10"/>
                <a:gd name="T5" fmla="*/ 2 w 10"/>
                <a:gd name="T6" fmla="*/ 0 w 10"/>
              </a:gdLst>
              <a:ahLst/>
              <a:cxnLst>
                <a:cxn ang="0">
                  <a:pos x="T0" y="0"/>
                </a:cxn>
                <a:cxn ang="0">
                  <a:pos x="T1" y="0"/>
                </a:cxn>
                <a:cxn ang="0">
                  <a:pos x="T2" y="0"/>
                </a:cxn>
                <a:cxn ang="0">
                  <a:pos x="T3" y="0"/>
                </a:cxn>
                <a:cxn ang="0">
                  <a:pos x="T4" y="0"/>
                </a:cxn>
                <a:cxn ang="0">
                  <a:pos x="T5" y="0"/>
                </a:cxn>
                <a:cxn ang="0">
                  <a:pos x="T6" y="0"/>
                </a:cxn>
              </a:cxnLst>
              <a:rect l="0" t="0" r="r" b="b"/>
              <a:pathLst>
                <a:path w="10">
                  <a:moveTo>
                    <a:pt x="0" y="0"/>
                  </a:moveTo>
                  <a:lnTo>
                    <a:pt x="2" y="0"/>
                  </a:lnTo>
                  <a:lnTo>
                    <a:pt x="7" y="0"/>
                  </a:lnTo>
                  <a:lnTo>
                    <a:pt x="10" y="0"/>
                  </a:lnTo>
                  <a:lnTo>
                    <a:pt x="10" y="0"/>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3" name="Freeform 969">
              <a:extLst>
                <a:ext uri="{FF2B5EF4-FFF2-40B4-BE49-F238E27FC236}">
                  <a16:creationId xmlns:a16="http://schemas.microsoft.com/office/drawing/2014/main" id="{13C8574E-1C82-4525-BF4A-8E297310E3E5}"/>
                </a:ext>
              </a:extLst>
            </p:cNvPr>
            <p:cNvSpPr>
              <a:spLocks/>
            </p:cNvSpPr>
            <p:nvPr/>
          </p:nvSpPr>
          <p:spPr bwMode="auto">
            <a:xfrm>
              <a:off x="1751853" y="3213065"/>
              <a:ext cx="36513" cy="23812"/>
            </a:xfrm>
            <a:custGeom>
              <a:avLst/>
              <a:gdLst>
                <a:gd name="T0" fmla="*/ 23 w 23"/>
                <a:gd name="T1" fmla="*/ 15 h 15"/>
                <a:gd name="T2" fmla="*/ 14 w 23"/>
                <a:gd name="T3" fmla="*/ 8 h 15"/>
                <a:gd name="T4" fmla="*/ 9 w 23"/>
                <a:gd name="T5" fmla="*/ 5 h 15"/>
                <a:gd name="T6" fmla="*/ 2 w 23"/>
                <a:gd name="T7" fmla="*/ 3 h 15"/>
                <a:gd name="T8" fmla="*/ 0 w 23"/>
                <a:gd name="T9" fmla="*/ 3 h 15"/>
                <a:gd name="T10" fmla="*/ 0 w 23"/>
                <a:gd name="T11" fmla="*/ 0 h 15"/>
                <a:gd name="T12" fmla="*/ 4 w 23"/>
                <a:gd name="T13" fmla="*/ 0 h 15"/>
                <a:gd name="T14" fmla="*/ 4 w 23"/>
                <a:gd name="T15" fmla="*/ 3 h 15"/>
                <a:gd name="T16" fmla="*/ 7 w 23"/>
                <a:gd name="T17" fmla="*/ 3 h 15"/>
                <a:gd name="T18" fmla="*/ 9 w 23"/>
                <a:gd name="T19" fmla="*/ 3 h 15"/>
                <a:gd name="T20" fmla="*/ 11 w 23"/>
                <a:gd name="T21" fmla="*/ 3 h 15"/>
                <a:gd name="T22" fmla="*/ 11 w 23"/>
                <a:gd name="T23" fmla="*/ 3 h 15"/>
                <a:gd name="T24" fmla="*/ 14 w 23"/>
                <a:gd name="T25" fmla="*/ 5 h 15"/>
                <a:gd name="T26" fmla="*/ 16 w 23"/>
                <a:gd name="T27" fmla="*/ 5 h 15"/>
                <a:gd name="T28" fmla="*/ 18 w 23"/>
                <a:gd name="T29" fmla="*/ 10 h 15"/>
                <a:gd name="T30" fmla="*/ 21 w 23"/>
                <a:gd name="T31" fmla="*/ 10 h 15"/>
                <a:gd name="T32" fmla="*/ 21 w 23"/>
                <a:gd name="T33" fmla="*/ 12 h 15"/>
                <a:gd name="T34" fmla="*/ 23 w 23"/>
                <a:gd name="T35" fmla="*/ 12 h 15"/>
                <a:gd name="T36" fmla="*/ 23 w 23"/>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5">
                  <a:moveTo>
                    <a:pt x="23" y="15"/>
                  </a:moveTo>
                  <a:lnTo>
                    <a:pt x="14" y="8"/>
                  </a:lnTo>
                  <a:lnTo>
                    <a:pt x="9" y="5"/>
                  </a:lnTo>
                  <a:lnTo>
                    <a:pt x="2" y="3"/>
                  </a:lnTo>
                  <a:lnTo>
                    <a:pt x="0" y="3"/>
                  </a:lnTo>
                  <a:lnTo>
                    <a:pt x="0" y="0"/>
                  </a:lnTo>
                  <a:lnTo>
                    <a:pt x="4" y="0"/>
                  </a:lnTo>
                  <a:lnTo>
                    <a:pt x="4" y="3"/>
                  </a:lnTo>
                  <a:lnTo>
                    <a:pt x="7" y="3"/>
                  </a:lnTo>
                  <a:lnTo>
                    <a:pt x="9" y="3"/>
                  </a:lnTo>
                  <a:lnTo>
                    <a:pt x="11" y="3"/>
                  </a:lnTo>
                  <a:lnTo>
                    <a:pt x="11" y="3"/>
                  </a:lnTo>
                  <a:lnTo>
                    <a:pt x="14" y="5"/>
                  </a:lnTo>
                  <a:lnTo>
                    <a:pt x="16" y="5"/>
                  </a:lnTo>
                  <a:lnTo>
                    <a:pt x="18" y="10"/>
                  </a:lnTo>
                  <a:lnTo>
                    <a:pt x="21" y="10"/>
                  </a:lnTo>
                  <a:lnTo>
                    <a:pt x="21" y="12"/>
                  </a:lnTo>
                  <a:lnTo>
                    <a:pt x="23" y="12"/>
                  </a:lnTo>
                  <a:lnTo>
                    <a:pt x="23" y="1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4" name="Freeform 970">
              <a:extLst>
                <a:ext uri="{FF2B5EF4-FFF2-40B4-BE49-F238E27FC236}">
                  <a16:creationId xmlns:a16="http://schemas.microsoft.com/office/drawing/2014/main" id="{1BE224DD-16E6-4AC1-9C9A-9DF9DB0A1F75}"/>
                </a:ext>
              </a:extLst>
            </p:cNvPr>
            <p:cNvSpPr>
              <a:spLocks/>
            </p:cNvSpPr>
            <p:nvPr/>
          </p:nvSpPr>
          <p:spPr bwMode="auto">
            <a:xfrm>
              <a:off x="1751853" y="3213065"/>
              <a:ext cx="36513" cy="23812"/>
            </a:xfrm>
            <a:custGeom>
              <a:avLst/>
              <a:gdLst>
                <a:gd name="T0" fmla="*/ 23 w 23"/>
                <a:gd name="T1" fmla="*/ 15 h 15"/>
                <a:gd name="T2" fmla="*/ 14 w 23"/>
                <a:gd name="T3" fmla="*/ 8 h 15"/>
                <a:gd name="T4" fmla="*/ 9 w 23"/>
                <a:gd name="T5" fmla="*/ 5 h 15"/>
                <a:gd name="T6" fmla="*/ 2 w 23"/>
                <a:gd name="T7" fmla="*/ 3 h 15"/>
                <a:gd name="T8" fmla="*/ 0 w 23"/>
                <a:gd name="T9" fmla="*/ 3 h 15"/>
                <a:gd name="T10" fmla="*/ 0 w 23"/>
                <a:gd name="T11" fmla="*/ 0 h 15"/>
                <a:gd name="T12" fmla="*/ 4 w 23"/>
                <a:gd name="T13" fmla="*/ 0 h 15"/>
                <a:gd name="T14" fmla="*/ 4 w 23"/>
                <a:gd name="T15" fmla="*/ 3 h 15"/>
                <a:gd name="T16" fmla="*/ 7 w 23"/>
                <a:gd name="T17" fmla="*/ 3 h 15"/>
                <a:gd name="T18" fmla="*/ 9 w 23"/>
                <a:gd name="T19" fmla="*/ 3 h 15"/>
                <a:gd name="T20" fmla="*/ 11 w 23"/>
                <a:gd name="T21" fmla="*/ 3 h 15"/>
                <a:gd name="T22" fmla="*/ 11 w 23"/>
                <a:gd name="T23" fmla="*/ 3 h 15"/>
                <a:gd name="T24" fmla="*/ 14 w 23"/>
                <a:gd name="T25" fmla="*/ 5 h 15"/>
                <a:gd name="T26" fmla="*/ 16 w 23"/>
                <a:gd name="T27" fmla="*/ 5 h 15"/>
                <a:gd name="T28" fmla="*/ 18 w 23"/>
                <a:gd name="T29" fmla="*/ 10 h 15"/>
                <a:gd name="T30" fmla="*/ 21 w 23"/>
                <a:gd name="T31" fmla="*/ 10 h 15"/>
                <a:gd name="T32" fmla="*/ 21 w 23"/>
                <a:gd name="T33" fmla="*/ 12 h 15"/>
                <a:gd name="T34" fmla="*/ 23 w 23"/>
                <a:gd name="T35" fmla="*/ 12 h 15"/>
                <a:gd name="T36" fmla="*/ 23 w 23"/>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5">
                  <a:moveTo>
                    <a:pt x="23" y="15"/>
                  </a:moveTo>
                  <a:lnTo>
                    <a:pt x="14" y="8"/>
                  </a:lnTo>
                  <a:lnTo>
                    <a:pt x="9" y="5"/>
                  </a:lnTo>
                  <a:lnTo>
                    <a:pt x="2" y="3"/>
                  </a:lnTo>
                  <a:lnTo>
                    <a:pt x="0" y="3"/>
                  </a:lnTo>
                  <a:lnTo>
                    <a:pt x="0" y="0"/>
                  </a:lnTo>
                  <a:lnTo>
                    <a:pt x="4" y="0"/>
                  </a:lnTo>
                  <a:lnTo>
                    <a:pt x="4" y="3"/>
                  </a:lnTo>
                  <a:lnTo>
                    <a:pt x="7" y="3"/>
                  </a:lnTo>
                  <a:lnTo>
                    <a:pt x="9" y="3"/>
                  </a:lnTo>
                  <a:lnTo>
                    <a:pt x="11" y="3"/>
                  </a:lnTo>
                  <a:lnTo>
                    <a:pt x="11" y="3"/>
                  </a:lnTo>
                  <a:lnTo>
                    <a:pt x="14" y="5"/>
                  </a:lnTo>
                  <a:lnTo>
                    <a:pt x="16" y="5"/>
                  </a:lnTo>
                  <a:lnTo>
                    <a:pt x="18" y="10"/>
                  </a:lnTo>
                  <a:lnTo>
                    <a:pt x="21" y="10"/>
                  </a:lnTo>
                  <a:lnTo>
                    <a:pt x="21" y="12"/>
                  </a:lnTo>
                  <a:lnTo>
                    <a:pt x="23" y="12"/>
                  </a:lnTo>
                  <a:lnTo>
                    <a:pt x="23" y="1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5" name="Freeform 971">
              <a:extLst>
                <a:ext uri="{FF2B5EF4-FFF2-40B4-BE49-F238E27FC236}">
                  <a16:creationId xmlns:a16="http://schemas.microsoft.com/office/drawing/2014/main" id="{8B2D8207-6B62-4C8A-AA12-C154912CF7C7}"/>
                </a:ext>
              </a:extLst>
            </p:cNvPr>
            <p:cNvSpPr>
              <a:spLocks/>
            </p:cNvSpPr>
            <p:nvPr/>
          </p:nvSpPr>
          <p:spPr bwMode="auto">
            <a:xfrm>
              <a:off x="1650253" y="3074951"/>
              <a:ext cx="165100" cy="142876"/>
            </a:xfrm>
            <a:custGeom>
              <a:avLst/>
              <a:gdLst>
                <a:gd name="T0" fmla="*/ 82 w 104"/>
                <a:gd name="T1" fmla="*/ 21 h 90"/>
                <a:gd name="T2" fmla="*/ 68 w 104"/>
                <a:gd name="T3" fmla="*/ 17 h 90"/>
                <a:gd name="T4" fmla="*/ 59 w 104"/>
                <a:gd name="T5" fmla="*/ 5 h 90"/>
                <a:gd name="T6" fmla="*/ 52 w 104"/>
                <a:gd name="T7" fmla="*/ 2 h 90"/>
                <a:gd name="T8" fmla="*/ 47 w 104"/>
                <a:gd name="T9" fmla="*/ 2 h 90"/>
                <a:gd name="T10" fmla="*/ 47 w 104"/>
                <a:gd name="T11" fmla="*/ 7 h 90"/>
                <a:gd name="T12" fmla="*/ 45 w 104"/>
                <a:gd name="T13" fmla="*/ 7 h 90"/>
                <a:gd name="T14" fmla="*/ 35 w 104"/>
                <a:gd name="T15" fmla="*/ 12 h 90"/>
                <a:gd name="T16" fmla="*/ 38 w 104"/>
                <a:gd name="T17" fmla="*/ 19 h 90"/>
                <a:gd name="T18" fmla="*/ 30 w 104"/>
                <a:gd name="T19" fmla="*/ 24 h 90"/>
                <a:gd name="T20" fmla="*/ 30 w 104"/>
                <a:gd name="T21" fmla="*/ 31 h 90"/>
                <a:gd name="T22" fmla="*/ 26 w 104"/>
                <a:gd name="T23" fmla="*/ 31 h 90"/>
                <a:gd name="T24" fmla="*/ 23 w 104"/>
                <a:gd name="T25" fmla="*/ 31 h 90"/>
                <a:gd name="T26" fmla="*/ 19 w 104"/>
                <a:gd name="T27" fmla="*/ 26 h 90"/>
                <a:gd name="T28" fmla="*/ 9 w 104"/>
                <a:gd name="T29" fmla="*/ 31 h 90"/>
                <a:gd name="T30" fmla="*/ 2 w 104"/>
                <a:gd name="T31" fmla="*/ 31 h 90"/>
                <a:gd name="T32" fmla="*/ 7 w 104"/>
                <a:gd name="T33" fmla="*/ 45 h 90"/>
                <a:gd name="T34" fmla="*/ 14 w 104"/>
                <a:gd name="T35" fmla="*/ 38 h 90"/>
                <a:gd name="T36" fmla="*/ 21 w 104"/>
                <a:gd name="T37" fmla="*/ 38 h 90"/>
                <a:gd name="T38" fmla="*/ 26 w 104"/>
                <a:gd name="T39" fmla="*/ 43 h 90"/>
                <a:gd name="T40" fmla="*/ 33 w 104"/>
                <a:gd name="T41" fmla="*/ 57 h 90"/>
                <a:gd name="T42" fmla="*/ 30 w 104"/>
                <a:gd name="T43" fmla="*/ 61 h 90"/>
                <a:gd name="T44" fmla="*/ 38 w 104"/>
                <a:gd name="T45" fmla="*/ 71 h 90"/>
                <a:gd name="T46" fmla="*/ 45 w 104"/>
                <a:gd name="T47" fmla="*/ 76 h 90"/>
                <a:gd name="T48" fmla="*/ 59 w 104"/>
                <a:gd name="T49" fmla="*/ 80 h 90"/>
                <a:gd name="T50" fmla="*/ 71 w 104"/>
                <a:gd name="T51" fmla="*/ 90 h 90"/>
                <a:gd name="T52" fmla="*/ 66 w 104"/>
                <a:gd name="T53" fmla="*/ 76 h 90"/>
                <a:gd name="T54" fmla="*/ 56 w 104"/>
                <a:gd name="T55" fmla="*/ 69 h 90"/>
                <a:gd name="T56" fmla="*/ 49 w 104"/>
                <a:gd name="T57" fmla="*/ 61 h 90"/>
                <a:gd name="T58" fmla="*/ 47 w 104"/>
                <a:gd name="T59" fmla="*/ 54 h 90"/>
                <a:gd name="T60" fmla="*/ 47 w 104"/>
                <a:gd name="T61" fmla="*/ 52 h 90"/>
                <a:gd name="T62" fmla="*/ 42 w 104"/>
                <a:gd name="T63" fmla="*/ 45 h 90"/>
                <a:gd name="T64" fmla="*/ 40 w 104"/>
                <a:gd name="T65" fmla="*/ 40 h 90"/>
                <a:gd name="T66" fmla="*/ 42 w 104"/>
                <a:gd name="T67" fmla="*/ 33 h 90"/>
                <a:gd name="T68" fmla="*/ 49 w 104"/>
                <a:gd name="T69" fmla="*/ 38 h 90"/>
                <a:gd name="T70" fmla="*/ 59 w 104"/>
                <a:gd name="T71" fmla="*/ 33 h 90"/>
                <a:gd name="T72" fmla="*/ 64 w 104"/>
                <a:gd name="T73" fmla="*/ 36 h 90"/>
                <a:gd name="T74" fmla="*/ 68 w 104"/>
                <a:gd name="T75" fmla="*/ 36 h 90"/>
                <a:gd name="T76" fmla="*/ 73 w 104"/>
                <a:gd name="T77" fmla="*/ 36 h 90"/>
                <a:gd name="T78" fmla="*/ 78 w 104"/>
                <a:gd name="T79" fmla="*/ 36 h 90"/>
                <a:gd name="T80" fmla="*/ 82 w 104"/>
                <a:gd name="T81" fmla="*/ 38 h 90"/>
                <a:gd name="T82" fmla="*/ 87 w 104"/>
                <a:gd name="T83" fmla="*/ 38 h 90"/>
                <a:gd name="T84" fmla="*/ 90 w 104"/>
                <a:gd name="T85" fmla="*/ 36 h 90"/>
                <a:gd name="T86" fmla="*/ 92 w 104"/>
                <a:gd name="T87" fmla="*/ 40 h 90"/>
                <a:gd name="T88" fmla="*/ 99 w 104"/>
                <a:gd name="T89" fmla="*/ 40 h 90"/>
                <a:gd name="T90" fmla="*/ 99 w 104"/>
                <a:gd name="T91" fmla="*/ 36 h 90"/>
                <a:gd name="T92" fmla="*/ 99 w 104"/>
                <a:gd name="T93" fmla="*/ 33 h 90"/>
                <a:gd name="T94" fmla="*/ 104 w 104"/>
                <a:gd name="T95" fmla="*/ 33 h 90"/>
                <a:gd name="T96" fmla="*/ 101 w 104"/>
                <a:gd name="T97" fmla="*/ 33 h 90"/>
                <a:gd name="T98" fmla="*/ 97 w 104"/>
                <a:gd name="T99" fmla="*/ 31 h 90"/>
                <a:gd name="T100" fmla="*/ 94 w 104"/>
                <a:gd name="T101" fmla="*/ 31 h 90"/>
                <a:gd name="T102" fmla="*/ 94 w 104"/>
                <a:gd name="T103" fmla="*/ 28 h 90"/>
                <a:gd name="T104" fmla="*/ 97 w 104"/>
                <a:gd name="T105" fmla="*/ 26 h 90"/>
                <a:gd name="T106" fmla="*/ 94 w 104"/>
                <a:gd name="T107" fmla="*/ 26 h 90"/>
                <a:gd name="T108" fmla="*/ 94 w 104"/>
                <a:gd name="T109" fmla="*/ 24 h 90"/>
                <a:gd name="T110" fmla="*/ 94 w 104"/>
                <a:gd name="T111" fmla="*/ 21 h 90"/>
                <a:gd name="T112" fmla="*/ 92 w 104"/>
                <a:gd name="T113"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90">
                  <a:moveTo>
                    <a:pt x="92" y="17"/>
                  </a:moveTo>
                  <a:lnTo>
                    <a:pt x="87" y="19"/>
                  </a:lnTo>
                  <a:lnTo>
                    <a:pt x="82" y="21"/>
                  </a:lnTo>
                  <a:lnTo>
                    <a:pt x="78" y="21"/>
                  </a:lnTo>
                  <a:lnTo>
                    <a:pt x="73" y="19"/>
                  </a:lnTo>
                  <a:lnTo>
                    <a:pt x="68" y="17"/>
                  </a:lnTo>
                  <a:lnTo>
                    <a:pt x="66" y="12"/>
                  </a:lnTo>
                  <a:lnTo>
                    <a:pt x="61" y="10"/>
                  </a:lnTo>
                  <a:lnTo>
                    <a:pt x="59" y="5"/>
                  </a:lnTo>
                  <a:lnTo>
                    <a:pt x="54" y="2"/>
                  </a:lnTo>
                  <a:lnTo>
                    <a:pt x="54" y="2"/>
                  </a:lnTo>
                  <a:lnTo>
                    <a:pt x="52" y="2"/>
                  </a:lnTo>
                  <a:lnTo>
                    <a:pt x="49" y="2"/>
                  </a:lnTo>
                  <a:lnTo>
                    <a:pt x="49" y="0"/>
                  </a:lnTo>
                  <a:lnTo>
                    <a:pt x="47" y="2"/>
                  </a:lnTo>
                  <a:lnTo>
                    <a:pt x="47" y="5"/>
                  </a:lnTo>
                  <a:lnTo>
                    <a:pt x="47" y="5"/>
                  </a:lnTo>
                  <a:lnTo>
                    <a:pt x="47" y="7"/>
                  </a:lnTo>
                  <a:lnTo>
                    <a:pt x="47" y="5"/>
                  </a:lnTo>
                  <a:lnTo>
                    <a:pt x="45" y="5"/>
                  </a:lnTo>
                  <a:lnTo>
                    <a:pt x="45" y="7"/>
                  </a:lnTo>
                  <a:lnTo>
                    <a:pt x="42" y="7"/>
                  </a:lnTo>
                  <a:lnTo>
                    <a:pt x="38" y="10"/>
                  </a:lnTo>
                  <a:lnTo>
                    <a:pt x="35" y="12"/>
                  </a:lnTo>
                  <a:lnTo>
                    <a:pt x="35" y="14"/>
                  </a:lnTo>
                  <a:lnTo>
                    <a:pt x="38" y="14"/>
                  </a:lnTo>
                  <a:lnTo>
                    <a:pt x="38" y="19"/>
                  </a:lnTo>
                  <a:lnTo>
                    <a:pt x="38" y="21"/>
                  </a:lnTo>
                  <a:lnTo>
                    <a:pt x="35" y="21"/>
                  </a:lnTo>
                  <a:lnTo>
                    <a:pt x="30" y="24"/>
                  </a:lnTo>
                  <a:lnTo>
                    <a:pt x="33" y="26"/>
                  </a:lnTo>
                  <a:lnTo>
                    <a:pt x="30" y="28"/>
                  </a:lnTo>
                  <a:lnTo>
                    <a:pt x="30" y="31"/>
                  </a:lnTo>
                  <a:lnTo>
                    <a:pt x="28" y="33"/>
                  </a:lnTo>
                  <a:lnTo>
                    <a:pt x="28" y="33"/>
                  </a:lnTo>
                  <a:lnTo>
                    <a:pt x="26" y="31"/>
                  </a:lnTo>
                  <a:lnTo>
                    <a:pt x="26" y="31"/>
                  </a:lnTo>
                  <a:lnTo>
                    <a:pt x="26" y="31"/>
                  </a:lnTo>
                  <a:lnTo>
                    <a:pt x="23" y="31"/>
                  </a:lnTo>
                  <a:lnTo>
                    <a:pt x="23" y="31"/>
                  </a:lnTo>
                  <a:lnTo>
                    <a:pt x="23" y="31"/>
                  </a:lnTo>
                  <a:lnTo>
                    <a:pt x="19" y="26"/>
                  </a:lnTo>
                  <a:lnTo>
                    <a:pt x="19" y="26"/>
                  </a:lnTo>
                  <a:lnTo>
                    <a:pt x="16" y="31"/>
                  </a:lnTo>
                  <a:lnTo>
                    <a:pt x="9" y="31"/>
                  </a:lnTo>
                  <a:lnTo>
                    <a:pt x="9" y="28"/>
                  </a:lnTo>
                  <a:lnTo>
                    <a:pt x="7" y="31"/>
                  </a:lnTo>
                  <a:lnTo>
                    <a:pt x="2" y="31"/>
                  </a:lnTo>
                  <a:lnTo>
                    <a:pt x="0" y="28"/>
                  </a:lnTo>
                  <a:lnTo>
                    <a:pt x="2" y="36"/>
                  </a:lnTo>
                  <a:lnTo>
                    <a:pt x="7" y="45"/>
                  </a:lnTo>
                  <a:lnTo>
                    <a:pt x="7" y="45"/>
                  </a:lnTo>
                  <a:lnTo>
                    <a:pt x="9" y="45"/>
                  </a:lnTo>
                  <a:lnTo>
                    <a:pt x="14" y="38"/>
                  </a:lnTo>
                  <a:lnTo>
                    <a:pt x="14" y="33"/>
                  </a:lnTo>
                  <a:lnTo>
                    <a:pt x="19" y="33"/>
                  </a:lnTo>
                  <a:lnTo>
                    <a:pt x="21" y="38"/>
                  </a:lnTo>
                  <a:lnTo>
                    <a:pt x="23" y="38"/>
                  </a:lnTo>
                  <a:lnTo>
                    <a:pt x="23" y="38"/>
                  </a:lnTo>
                  <a:lnTo>
                    <a:pt x="26" y="43"/>
                  </a:lnTo>
                  <a:lnTo>
                    <a:pt x="26" y="47"/>
                  </a:lnTo>
                  <a:lnTo>
                    <a:pt x="28" y="52"/>
                  </a:lnTo>
                  <a:lnTo>
                    <a:pt x="33" y="57"/>
                  </a:lnTo>
                  <a:lnTo>
                    <a:pt x="30" y="57"/>
                  </a:lnTo>
                  <a:lnTo>
                    <a:pt x="30" y="59"/>
                  </a:lnTo>
                  <a:lnTo>
                    <a:pt x="30" y="61"/>
                  </a:lnTo>
                  <a:lnTo>
                    <a:pt x="33" y="66"/>
                  </a:lnTo>
                  <a:lnTo>
                    <a:pt x="38" y="69"/>
                  </a:lnTo>
                  <a:lnTo>
                    <a:pt x="38" y="71"/>
                  </a:lnTo>
                  <a:lnTo>
                    <a:pt x="42" y="71"/>
                  </a:lnTo>
                  <a:lnTo>
                    <a:pt x="42" y="73"/>
                  </a:lnTo>
                  <a:lnTo>
                    <a:pt x="45" y="76"/>
                  </a:lnTo>
                  <a:lnTo>
                    <a:pt x="49" y="76"/>
                  </a:lnTo>
                  <a:lnTo>
                    <a:pt x="54" y="78"/>
                  </a:lnTo>
                  <a:lnTo>
                    <a:pt x="59" y="80"/>
                  </a:lnTo>
                  <a:lnTo>
                    <a:pt x="64" y="83"/>
                  </a:lnTo>
                  <a:lnTo>
                    <a:pt x="68" y="87"/>
                  </a:lnTo>
                  <a:lnTo>
                    <a:pt x="71" y="90"/>
                  </a:lnTo>
                  <a:lnTo>
                    <a:pt x="73" y="87"/>
                  </a:lnTo>
                  <a:lnTo>
                    <a:pt x="66" y="80"/>
                  </a:lnTo>
                  <a:lnTo>
                    <a:pt x="66" y="76"/>
                  </a:lnTo>
                  <a:lnTo>
                    <a:pt x="64" y="76"/>
                  </a:lnTo>
                  <a:lnTo>
                    <a:pt x="61" y="76"/>
                  </a:lnTo>
                  <a:lnTo>
                    <a:pt x="56" y="69"/>
                  </a:lnTo>
                  <a:lnTo>
                    <a:pt x="56" y="66"/>
                  </a:lnTo>
                  <a:lnTo>
                    <a:pt x="52" y="61"/>
                  </a:lnTo>
                  <a:lnTo>
                    <a:pt x="49" y="61"/>
                  </a:lnTo>
                  <a:lnTo>
                    <a:pt x="47" y="57"/>
                  </a:lnTo>
                  <a:lnTo>
                    <a:pt x="47" y="57"/>
                  </a:lnTo>
                  <a:lnTo>
                    <a:pt x="47" y="54"/>
                  </a:lnTo>
                  <a:lnTo>
                    <a:pt x="47" y="54"/>
                  </a:lnTo>
                  <a:lnTo>
                    <a:pt x="47" y="52"/>
                  </a:lnTo>
                  <a:lnTo>
                    <a:pt x="47" y="52"/>
                  </a:lnTo>
                  <a:lnTo>
                    <a:pt x="45" y="50"/>
                  </a:lnTo>
                  <a:lnTo>
                    <a:pt x="42" y="45"/>
                  </a:lnTo>
                  <a:lnTo>
                    <a:pt x="42" y="45"/>
                  </a:lnTo>
                  <a:lnTo>
                    <a:pt x="40" y="43"/>
                  </a:lnTo>
                  <a:lnTo>
                    <a:pt x="40" y="43"/>
                  </a:lnTo>
                  <a:lnTo>
                    <a:pt x="40" y="40"/>
                  </a:lnTo>
                  <a:lnTo>
                    <a:pt x="40" y="40"/>
                  </a:lnTo>
                  <a:lnTo>
                    <a:pt x="40" y="33"/>
                  </a:lnTo>
                  <a:lnTo>
                    <a:pt x="42" y="33"/>
                  </a:lnTo>
                  <a:lnTo>
                    <a:pt x="45" y="33"/>
                  </a:lnTo>
                  <a:lnTo>
                    <a:pt x="45" y="33"/>
                  </a:lnTo>
                  <a:lnTo>
                    <a:pt x="49" y="38"/>
                  </a:lnTo>
                  <a:lnTo>
                    <a:pt x="49" y="38"/>
                  </a:lnTo>
                  <a:lnTo>
                    <a:pt x="52" y="33"/>
                  </a:lnTo>
                  <a:lnTo>
                    <a:pt x="59" y="33"/>
                  </a:lnTo>
                  <a:lnTo>
                    <a:pt x="59" y="31"/>
                  </a:lnTo>
                  <a:lnTo>
                    <a:pt x="61" y="31"/>
                  </a:lnTo>
                  <a:lnTo>
                    <a:pt x="64" y="36"/>
                  </a:lnTo>
                  <a:lnTo>
                    <a:pt x="66" y="36"/>
                  </a:lnTo>
                  <a:lnTo>
                    <a:pt x="66" y="33"/>
                  </a:lnTo>
                  <a:lnTo>
                    <a:pt x="68" y="36"/>
                  </a:lnTo>
                  <a:lnTo>
                    <a:pt x="73" y="36"/>
                  </a:lnTo>
                  <a:lnTo>
                    <a:pt x="73" y="36"/>
                  </a:lnTo>
                  <a:lnTo>
                    <a:pt x="73" y="36"/>
                  </a:lnTo>
                  <a:lnTo>
                    <a:pt x="75" y="38"/>
                  </a:lnTo>
                  <a:lnTo>
                    <a:pt x="78" y="38"/>
                  </a:lnTo>
                  <a:lnTo>
                    <a:pt x="78" y="36"/>
                  </a:lnTo>
                  <a:lnTo>
                    <a:pt x="80" y="36"/>
                  </a:lnTo>
                  <a:lnTo>
                    <a:pt x="80" y="38"/>
                  </a:lnTo>
                  <a:lnTo>
                    <a:pt x="82" y="38"/>
                  </a:lnTo>
                  <a:lnTo>
                    <a:pt x="82" y="36"/>
                  </a:lnTo>
                  <a:lnTo>
                    <a:pt x="87" y="36"/>
                  </a:lnTo>
                  <a:lnTo>
                    <a:pt x="87" y="38"/>
                  </a:lnTo>
                  <a:lnTo>
                    <a:pt x="90" y="38"/>
                  </a:lnTo>
                  <a:lnTo>
                    <a:pt x="90" y="36"/>
                  </a:lnTo>
                  <a:lnTo>
                    <a:pt x="90" y="36"/>
                  </a:lnTo>
                  <a:lnTo>
                    <a:pt x="92" y="40"/>
                  </a:lnTo>
                  <a:lnTo>
                    <a:pt x="92" y="40"/>
                  </a:lnTo>
                  <a:lnTo>
                    <a:pt x="92" y="40"/>
                  </a:lnTo>
                  <a:lnTo>
                    <a:pt x="94" y="43"/>
                  </a:lnTo>
                  <a:lnTo>
                    <a:pt x="97" y="43"/>
                  </a:lnTo>
                  <a:lnTo>
                    <a:pt x="99" y="40"/>
                  </a:lnTo>
                  <a:lnTo>
                    <a:pt x="99" y="40"/>
                  </a:lnTo>
                  <a:lnTo>
                    <a:pt x="99" y="38"/>
                  </a:lnTo>
                  <a:lnTo>
                    <a:pt x="99" y="36"/>
                  </a:lnTo>
                  <a:lnTo>
                    <a:pt x="99" y="36"/>
                  </a:lnTo>
                  <a:lnTo>
                    <a:pt x="99" y="33"/>
                  </a:lnTo>
                  <a:lnTo>
                    <a:pt x="99" y="33"/>
                  </a:lnTo>
                  <a:lnTo>
                    <a:pt x="101" y="33"/>
                  </a:lnTo>
                  <a:lnTo>
                    <a:pt x="101" y="33"/>
                  </a:lnTo>
                  <a:lnTo>
                    <a:pt x="104" y="33"/>
                  </a:lnTo>
                  <a:lnTo>
                    <a:pt x="104" y="33"/>
                  </a:lnTo>
                  <a:lnTo>
                    <a:pt x="101" y="33"/>
                  </a:lnTo>
                  <a:lnTo>
                    <a:pt x="101" y="33"/>
                  </a:lnTo>
                  <a:lnTo>
                    <a:pt x="99" y="31"/>
                  </a:lnTo>
                  <a:lnTo>
                    <a:pt x="99" y="31"/>
                  </a:lnTo>
                  <a:lnTo>
                    <a:pt x="97" y="31"/>
                  </a:lnTo>
                  <a:lnTo>
                    <a:pt x="97" y="31"/>
                  </a:lnTo>
                  <a:lnTo>
                    <a:pt x="97" y="31"/>
                  </a:lnTo>
                  <a:lnTo>
                    <a:pt x="94" y="31"/>
                  </a:lnTo>
                  <a:lnTo>
                    <a:pt x="97" y="28"/>
                  </a:lnTo>
                  <a:lnTo>
                    <a:pt x="97" y="28"/>
                  </a:lnTo>
                  <a:lnTo>
                    <a:pt x="94" y="28"/>
                  </a:lnTo>
                  <a:lnTo>
                    <a:pt x="97" y="26"/>
                  </a:lnTo>
                  <a:lnTo>
                    <a:pt x="97" y="26"/>
                  </a:lnTo>
                  <a:lnTo>
                    <a:pt x="97" y="26"/>
                  </a:lnTo>
                  <a:lnTo>
                    <a:pt x="97" y="26"/>
                  </a:lnTo>
                  <a:lnTo>
                    <a:pt x="97" y="26"/>
                  </a:lnTo>
                  <a:lnTo>
                    <a:pt x="94" y="26"/>
                  </a:lnTo>
                  <a:lnTo>
                    <a:pt x="94" y="26"/>
                  </a:lnTo>
                  <a:lnTo>
                    <a:pt x="94" y="26"/>
                  </a:lnTo>
                  <a:lnTo>
                    <a:pt x="94" y="24"/>
                  </a:lnTo>
                  <a:lnTo>
                    <a:pt x="94" y="24"/>
                  </a:lnTo>
                  <a:lnTo>
                    <a:pt x="94" y="21"/>
                  </a:lnTo>
                  <a:lnTo>
                    <a:pt x="94" y="21"/>
                  </a:lnTo>
                  <a:lnTo>
                    <a:pt x="94" y="21"/>
                  </a:lnTo>
                  <a:lnTo>
                    <a:pt x="94" y="19"/>
                  </a:lnTo>
                  <a:lnTo>
                    <a:pt x="92" y="1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6" name="Freeform 972">
              <a:extLst>
                <a:ext uri="{FF2B5EF4-FFF2-40B4-BE49-F238E27FC236}">
                  <a16:creationId xmlns:a16="http://schemas.microsoft.com/office/drawing/2014/main" id="{31FD06A3-A5AB-4D52-ABAB-46C966E31EE9}"/>
                </a:ext>
              </a:extLst>
            </p:cNvPr>
            <p:cNvSpPr>
              <a:spLocks/>
            </p:cNvSpPr>
            <p:nvPr/>
          </p:nvSpPr>
          <p:spPr bwMode="auto">
            <a:xfrm>
              <a:off x="1650253" y="3074951"/>
              <a:ext cx="165100" cy="142876"/>
            </a:xfrm>
            <a:custGeom>
              <a:avLst/>
              <a:gdLst>
                <a:gd name="T0" fmla="*/ 82 w 104"/>
                <a:gd name="T1" fmla="*/ 21 h 90"/>
                <a:gd name="T2" fmla="*/ 68 w 104"/>
                <a:gd name="T3" fmla="*/ 17 h 90"/>
                <a:gd name="T4" fmla="*/ 59 w 104"/>
                <a:gd name="T5" fmla="*/ 5 h 90"/>
                <a:gd name="T6" fmla="*/ 52 w 104"/>
                <a:gd name="T7" fmla="*/ 2 h 90"/>
                <a:gd name="T8" fmla="*/ 47 w 104"/>
                <a:gd name="T9" fmla="*/ 2 h 90"/>
                <a:gd name="T10" fmla="*/ 47 w 104"/>
                <a:gd name="T11" fmla="*/ 7 h 90"/>
                <a:gd name="T12" fmla="*/ 45 w 104"/>
                <a:gd name="T13" fmla="*/ 7 h 90"/>
                <a:gd name="T14" fmla="*/ 35 w 104"/>
                <a:gd name="T15" fmla="*/ 12 h 90"/>
                <a:gd name="T16" fmla="*/ 38 w 104"/>
                <a:gd name="T17" fmla="*/ 19 h 90"/>
                <a:gd name="T18" fmla="*/ 30 w 104"/>
                <a:gd name="T19" fmla="*/ 24 h 90"/>
                <a:gd name="T20" fmla="*/ 30 w 104"/>
                <a:gd name="T21" fmla="*/ 31 h 90"/>
                <a:gd name="T22" fmla="*/ 26 w 104"/>
                <a:gd name="T23" fmla="*/ 31 h 90"/>
                <a:gd name="T24" fmla="*/ 23 w 104"/>
                <a:gd name="T25" fmla="*/ 31 h 90"/>
                <a:gd name="T26" fmla="*/ 19 w 104"/>
                <a:gd name="T27" fmla="*/ 26 h 90"/>
                <a:gd name="T28" fmla="*/ 9 w 104"/>
                <a:gd name="T29" fmla="*/ 31 h 90"/>
                <a:gd name="T30" fmla="*/ 2 w 104"/>
                <a:gd name="T31" fmla="*/ 31 h 90"/>
                <a:gd name="T32" fmla="*/ 7 w 104"/>
                <a:gd name="T33" fmla="*/ 45 h 90"/>
                <a:gd name="T34" fmla="*/ 14 w 104"/>
                <a:gd name="T35" fmla="*/ 38 h 90"/>
                <a:gd name="T36" fmla="*/ 21 w 104"/>
                <a:gd name="T37" fmla="*/ 38 h 90"/>
                <a:gd name="T38" fmla="*/ 26 w 104"/>
                <a:gd name="T39" fmla="*/ 43 h 90"/>
                <a:gd name="T40" fmla="*/ 33 w 104"/>
                <a:gd name="T41" fmla="*/ 57 h 90"/>
                <a:gd name="T42" fmla="*/ 30 w 104"/>
                <a:gd name="T43" fmla="*/ 61 h 90"/>
                <a:gd name="T44" fmla="*/ 38 w 104"/>
                <a:gd name="T45" fmla="*/ 71 h 90"/>
                <a:gd name="T46" fmla="*/ 45 w 104"/>
                <a:gd name="T47" fmla="*/ 76 h 90"/>
                <a:gd name="T48" fmla="*/ 59 w 104"/>
                <a:gd name="T49" fmla="*/ 80 h 90"/>
                <a:gd name="T50" fmla="*/ 71 w 104"/>
                <a:gd name="T51" fmla="*/ 90 h 90"/>
                <a:gd name="T52" fmla="*/ 66 w 104"/>
                <a:gd name="T53" fmla="*/ 76 h 90"/>
                <a:gd name="T54" fmla="*/ 56 w 104"/>
                <a:gd name="T55" fmla="*/ 69 h 90"/>
                <a:gd name="T56" fmla="*/ 49 w 104"/>
                <a:gd name="T57" fmla="*/ 61 h 90"/>
                <a:gd name="T58" fmla="*/ 47 w 104"/>
                <a:gd name="T59" fmla="*/ 54 h 90"/>
                <a:gd name="T60" fmla="*/ 47 w 104"/>
                <a:gd name="T61" fmla="*/ 52 h 90"/>
                <a:gd name="T62" fmla="*/ 42 w 104"/>
                <a:gd name="T63" fmla="*/ 45 h 90"/>
                <a:gd name="T64" fmla="*/ 40 w 104"/>
                <a:gd name="T65" fmla="*/ 40 h 90"/>
                <a:gd name="T66" fmla="*/ 42 w 104"/>
                <a:gd name="T67" fmla="*/ 33 h 90"/>
                <a:gd name="T68" fmla="*/ 49 w 104"/>
                <a:gd name="T69" fmla="*/ 38 h 90"/>
                <a:gd name="T70" fmla="*/ 59 w 104"/>
                <a:gd name="T71" fmla="*/ 33 h 90"/>
                <a:gd name="T72" fmla="*/ 64 w 104"/>
                <a:gd name="T73" fmla="*/ 36 h 90"/>
                <a:gd name="T74" fmla="*/ 68 w 104"/>
                <a:gd name="T75" fmla="*/ 36 h 90"/>
                <a:gd name="T76" fmla="*/ 73 w 104"/>
                <a:gd name="T77" fmla="*/ 36 h 90"/>
                <a:gd name="T78" fmla="*/ 78 w 104"/>
                <a:gd name="T79" fmla="*/ 36 h 90"/>
                <a:gd name="T80" fmla="*/ 82 w 104"/>
                <a:gd name="T81" fmla="*/ 38 h 90"/>
                <a:gd name="T82" fmla="*/ 87 w 104"/>
                <a:gd name="T83" fmla="*/ 38 h 90"/>
                <a:gd name="T84" fmla="*/ 90 w 104"/>
                <a:gd name="T85" fmla="*/ 36 h 90"/>
                <a:gd name="T86" fmla="*/ 92 w 104"/>
                <a:gd name="T87" fmla="*/ 40 h 90"/>
                <a:gd name="T88" fmla="*/ 99 w 104"/>
                <a:gd name="T89" fmla="*/ 40 h 90"/>
                <a:gd name="T90" fmla="*/ 99 w 104"/>
                <a:gd name="T91" fmla="*/ 36 h 90"/>
                <a:gd name="T92" fmla="*/ 99 w 104"/>
                <a:gd name="T93" fmla="*/ 33 h 90"/>
                <a:gd name="T94" fmla="*/ 104 w 104"/>
                <a:gd name="T95" fmla="*/ 33 h 90"/>
                <a:gd name="T96" fmla="*/ 101 w 104"/>
                <a:gd name="T97" fmla="*/ 33 h 90"/>
                <a:gd name="T98" fmla="*/ 97 w 104"/>
                <a:gd name="T99" fmla="*/ 31 h 90"/>
                <a:gd name="T100" fmla="*/ 94 w 104"/>
                <a:gd name="T101" fmla="*/ 31 h 90"/>
                <a:gd name="T102" fmla="*/ 94 w 104"/>
                <a:gd name="T103" fmla="*/ 28 h 90"/>
                <a:gd name="T104" fmla="*/ 97 w 104"/>
                <a:gd name="T105" fmla="*/ 26 h 90"/>
                <a:gd name="T106" fmla="*/ 94 w 104"/>
                <a:gd name="T107" fmla="*/ 26 h 90"/>
                <a:gd name="T108" fmla="*/ 94 w 104"/>
                <a:gd name="T109" fmla="*/ 24 h 90"/>
                <a:gd name="T110" fmla="*/ 94 w 104"/>
                <a:gd name="T111" fmla="*/ 21 h 90"/>
                <a:gd name="T112" fmla="*/ 92 w 104"/>
                <a:gd name="T113" fmla="*/ 1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90">
                  <a:moveTo>
                    <a:pt x="92" y="17"/>
                  </a:moveTo>
                  <a:lnTo>
                    <a:pt x="87" y="19"/>
                  </a:lnTo>
                  <a:lnTo>
                    <a:pt x="82" y="21"/>
                  </a:lnTo>
                  <a:lnTo>
                    <a:pt x="78" y="21"/>
                  </a:lnTo>
                  <a:lnTo>
                    <a:pt x="73" y="19"/>
                  </a:lnTo>
                  <a:lnTo>
                    <a:pt x="68" y="17"/>
                  </a:lnTo>
                  <a:lnTo>
                    <a:pt x="66" y="12"/>
                  </a:lnTo>
                  <a:lnTo>
                    <a:pt x="61" y="10"/>
                  </a:lnTo>
                  <a:lnTo>
                    <a:pt x="59" y="5"/>
                  </a:lnTo>
                  <a:lnTo>
                    <a:pt x="54" y="2"/>
                  </a:lnTo>
                  <a:lnTo>
                    <a:pt x="54" y="2"/>
                  </a:lnTo>
                  <a:lnTo>
                    <a:pt x="52" y="2"/>
                  </a:lnTo>
                  <a:lnTo>
                    <a:pt x="49" y="2"/>
                  </a:lnTo>
                  <a:lnTo>
                    <a:pt x="49" y="0"/>
                  </a:lnTo>
                  <a:lnTo>
                    <a:pt x="47" y="2"/>
                  </a:lnTo>
                  <a:lnTo>
                    <a:pt x="47" y="5"/>
                  </a:lnTo>
                  <a:lnTo>
                    <a:pt x="47" y="5"/>
                  </a:lnTo>
                  <a:lnTo>
                    <a:pt x="47" y="7"/>
                  </a:lnTo>
                  <a:lnTo>
                    <a:pt x="47" y="5"/>
                  </a:lnTo>
                  <a:lnTo>
                    <a:pt x="45" y="5"/>
                  </a:lnTo>
                  <a:lnTo>
                    <a:pt x="45" y="7"/>
                  </a:lnTo>
                  <a:lnTo>
                    <a:pt x="42" y="7"/>
                  </a:lnTo>
                  <a:lnTo>
                    <a:pt x="38" y="10"/>
                  </a:lnTo>
                  <a:lnTo>
                    <a:pt x="35" y="12"/>
                  </a:lnTo>
                  <a:lnTo>
                    <a:pt x="35" y="14"/>
                  </a:lnTo>
                  <a:lnTo>
                    <a:pt x="38" y="14"/>
                  </a:lnTo>
                  <a:lnTo>
                    <a:pt x="38" y="19"/>
                  </a:lnTo>
                  <a:lnTo>
                    <a:pt x="38" y="21"/>
                  </a:lnTo>
                  <a:lnTo>
                    <a:pt x="35" y="21"/>
                  </a:lnTo>
                  <a:lnTo>
                    <a:pt x="30" y="24"/>
                  </a:lnTo>
                  <a:lnTo>
                    <a:pt x="33" y="26"/>
                  </a:lnTo>
                  <a:lnTo>
                    <a:pt x="30" y="28"/>
                  </a:lnTo>
                  <a:lnTo>
                    <a:pt x="30" y="31"/>
                  </a:lnTo>
                  <a:lnTo>
                    <a:pt x="28" y="33"/>
                  </a:lnTo>
                  <a:lnTo>
                    <a:pt x="28" y="33"/>
                  </a:lnTo>
                  <a:lnTo>
                    <a:pt x="26" y="31"/>
                  </a:lnTo>
                  <a:lnTo>
                    <a:pt x="26" y="31"/>
                  </a:lnTo>
                  <a:lnTo>
                    <a:pt x="26" y="31"/>
                  </a:lnTo>
                  <a:lnTo>
                    <a:pt x="23" y="31"/>
                  </a:lnTo>
                  <a:lnTo>
                    <a:pt x="23" y="31"/>
                  </a:lnTo>
                  <a:lnTo>
                    <a:pt x="23" y="31"/>
                  </a:lnTo>
                  <a:lnTo>
                    <a:pt x="19" y="26"/>
                  </a:lnTo>
                  <a:lnTo>
                    <a:pt x="19" y="26"/>
                  </a:lnTo>
                  <a:lnTo>
                    <a:pt x="16" y="31"/>
                  </a:lnTo>
                  <a:lnTo>
                    <a:pt x="9" y="31"/>
                  </a:lnTo>
                  <a:lnTo>
                    <a:pt x="9" y="28"/>
                  </a:lnTo>
                  <a:lnTo>
                    <a:pt x="7" y="31"/>
                  </a:lnTo>
                  <a:lnTo>
                    <a:pt x="2" y="31"/>
                  </a:lnTo>
                  <a:lnTo>
                    <a:pt x="0" y="28"/>
                  </a:lnTo>
                  <a:lnTo>
                    <a:pt x="2" y="36"/>
                  </a:lnTo>
                  <a:lnTo>
                    <a:pt x="7" y="45"/>
                  </a:lnTo>
                  <a:lnTo>
                    <a:pt x="7" y="45"/>
                  </a:lnTo>
                  <a:lnTo>
                    <a:pt x="9" y="45"/>
                  </a:lnTo>
                  <a:lnTo>
                    <a:pt x="14" y="38"/>
                  </a:lnTo>
                  <a:lnTo>
                    <a:pt x="14" y="33"/>
                  </a:lnTo>
                  <a:lnTo>
                    <a:pt x="19" y="33"/>
                  </a:lnTo>
                  <a:lnTo>
                    <a:pt x="21" y="38"/>
                  </a:lnTo>
                  <a:lnTo>
                    <a:pt x="23" y="38"/>
                  </a:lnTo>
                  <a:lnTo>
                    <a:pt x="23" y="38"/>
                  </a:lnTo>
                  <a:lnTo>
                    <a:pt x="26" y="43"/>
                  </a:lnTo>
                  <a:lnTo>
                    <a:pt x="26" y="47"/>
                  </a:lnTo>
                  <a:lnTo>
                    <a:pt x="28" y="52"/>
                  </a:lnTo>
                  <a:lnTo>
                    <a:pt x="33" y="57"/>
                  </a:lnTo>
                  <a:lnTo>
                    <a:pt x="30" y="57"/>
                  </a:lnTo>
                  <a:lnTo>
                    <a:pt x="30" y="59"/>
                  </a:lnTo>
                  <a:lnTo>
                    <a:pt x="30" y="61"/>
                  </a:lnTo>
                  <a:lnTo>
                    <a:pt x="33" y="66"/>
                  </a:lnTo>
                  <a:lnTo>
                    <a:pt x="38" y="69"/>
                  </a:lnTo>
                  <a:lnTo>
                    <a:pt x="38" y="71"/>
                  </a:lnTo>
                  <a:lnTo>
                    <a:pt x="42" y="71"/>
                  </a:lnTo>
                  <a:lnTo>
                    <a:pt x="42" y="73"/>
                  </a:lnTo>
                  <a:lnTo>
                    <a:pt x="45" y="76"/>
                  </a:lnTo>
                  <a:lnTo>
                    <a:pt x="49" y="76"/>
                  </a:lnTo>
                  <a:lnTo>
                    <a:pt x="54" y="78"/>
                  </a:lnTo>
                  <a:lnTo>
                    <a:pt x="59" y="80"/>
                  </a:lnTo>
                  <a:lnTo>
                    <a:pt x="64" y="83"/>
                  </a:lnTo>
                  <a:lnTo>
                    <a:pt x="68" y="87"/>
                  </a:lnTo>
                  <a:lnTo>
                    <a:pt x="71" y="90"/>
                  </a:lnTo>
                  <a:lnTo>
                    <a:pt x="73" y="87"/>
                  </a:lnTo>
                  <a:lnTo>
                    <a:pt x="66" y="80"/>
                  </a:lnTo>
                  <a:lnTo>
                    <a:pt x="66" y="76"/>
                  </a:lnTo>
                  <a:lnTo>
                    <a:pt x="64" y="76"/>
                  </a:lnTo>
                  <a:lnTo>
                    <a:pt x="61" y="76"/>
                  </a:lnTo>
                  <a:lnTo>
                    <a:pt x="56" y="69"/>
                  </a:lnTo>
                  <a:lnTo>
                    <a:pt x="56" y="66"/>
                  </a:lnTo>
                  <a:lnTo>
                    <a:pt x="52" y="61"/>
                  </a:lnTo>
                  <a:lnTo>
                    <a:pt x="49" y="61"/>
                  </a:lnTo>
                  <a:lnTo>
                    <a:pt x="47" y="57"/>
                  </a:lnTo>
                  <a:lnTo>
                    <a:pt x="47" y="57"/>
                  </a:lnTo>
                  <a:lnTo>
                    <a:pt x="47" y="54"/>
                  </a:lnTo>
                  <a:lnTo>
                    <a:pt x="47" y="54"/>
                  </a:lnTo>
                  <a:lnTo>
                    <a:pt x="47" y="52"/>
                  </a:lnTo>
                  <a:lnTo>
                    <a:pt x="47" y="52"/>
                  </a:lnTo>
                  <a:lnTo>
                    <a:pt x="45" y="50"/>
                  </a:lnTo>
                  <a:lnTo>
                    <a:pt x="42" y="45"/>
                  </a:lnTo>
                  <a:lnTo>
                    <a:pt x="42" y="45"/>
                  </a:lnTo>
                  <a:lnTo>
                    <a:pt x="40" y="43"/>
                  </a:lnTo>
                  <a:lnTo>
                    <a:pt x="40" y="43"/>
                  </a:lnTo>
                  <a:lnTo>
                    <a:pt x="40" y="40"/>
                  </a:lnTo>
                  <a:lnTo>
                    <a:pt x="40" y="40"/>
                  </a:lnTo>
                  <a:lnTo>
                    <a:pt x="40" y="33"/>
                  </a:lnTo>
                  <a:lnTo>
                    <a:pt x="42" y="33"/>
                  </a:lnTo>
                  <a:lnTo>
                    <a:pt x="45" y="33"/>
                  </a:lnTo>
                  <a:lnTo>
                    <a:pt x="45" y="33"/>
                  </a:lnTo>
                  <a:lnTo>
                    <a:pt x="49" y="38"/>
                  </a:lnTo>
                  <a:lnTo>
                    <a:pt x="49" y="38"/>
                  </a:lnTo>
                  <a:lnTo>
                    <a:pt x="52" y="33"/>
                  </a:lnTo>
                  <a:lnTo>
                    <a:pt x="59" y="33"/>
                  </a:lnTo>
                  <a:lnTo>
                    <a:pt x="59" y="31"/>
                  </a:lnTo>
                  <a:lnTo>
                    <a:pt x="61" y="31"/>
                  </a:lnTo>
                  <a:lnTo>
                    <a:pt x="64" y="36"/>
                  </a:lnTo>
                  <a:lnTo>
                    <a:pt x="66" y="36"/>
                  </a:lnTo>
                  <a:lnTo>
                    <a:pt x="66" y="33"/>
                  </a:lnTo>
                  <a:lnTo>
                    <a:pt x="68" y="36"/>
                  </a:lnTo>
                  <a:lnTo>
                    <a:pt x="73" y="36"/>
                  </a:lnTo>
                  <a:lnTo>
                    <a:pt x="73" y="36"/>
                  </a:lnTo>
                  <a:lnTo>
                    <a:pt x="73" y="36"/>
                  </a:lnTo>
                  <a:lnTo>
                    <a:pt x="75" y="38"/>
                  </a:lnTo>
                  <a:lnTo>
                    <a:pt x="78" y="38"/>
                  </a:lnTo>
                  <a:lnTo>
                    <a:pt x="78" y="36"/>
                  </a:lnTo>
                  <a:lnTo>
                    <a:pt x="80" y="36"/>
                  </a:lnTo>
                  <a:lnTo>
                    <a:pt x="80" y="38"/>
                  </a:lnTo>
                  <a:lnTo>
                    <a:pt x="82" y="38"/>
                  </a:lnTo>
                  <a:lnTo>
                    <a:pt x="82" y="36"/>
                  </a:lnTo>
                  <a:lnTo>
                    <a:pt x="87" y="36"/>
                  </a:lnTo>
                  <a:lnTo>
                    <a:pt x="87" y="38"/>
                  </a:lnTo>
                  <a:lnTo>
                    <a:pt x="90" y="38"/>
                  </a:lnTo>
                  <a:lnTo>
                    <a:pt x="90" y="36"/>
                  </a:lnTo>
                  <a:lnTo>
                    <a:pt x="90" y="36"/>
                  </a:lnTo>
                  <a:lnTo>
                    <a:pt x="92" y="40"/>
                  </a:lnTo>
                  <a:lnTo>
                    <a:pt x="92" y="40"/>
                  </a:lnTo>
                  <a:lnTo>
                    <a:pt x="92" y="40"/>
                  </a:lnTo>
                  <a:lnTo>
                    <a:pt x="94" y="43"/>
                  </a:lnTo>
                  <a:lnTo>
                    <a:pt x="97" y="43"/>
                  </a:lnTo>
                  <a:lnTo>
                    <a:pt x="99" y="40"/>
                  </a:lnTo>
                  <a:lnTo>
                    <a:pt x="99" y="40"/>
                  </a:lnTo>
                  <a:lnTo>
                    <a:pt x="99" y="38"/>
                  </a:lnTo>
                  <a:lnTo>
                    <a:pt x="99" y="36"/>
                  </a:lnTo>
                  <a:lnTo>
                    <a:pt x="99" y="36"/>
                  </a:lnTo>
                  <a:lnTo>
                    <a:pt x="99" y="33"/>
                  </a:lnTo>
                  <a:lnTo>
                    <a:pt x="99" y="33"/>
                  </a:lnTo>
                  <a:lnTo>
                    <a:pt x="101" y="33"/>
                  </a:lnTo>
                  <a:lnTo>
                    <a:pt x="101" y="33"/>
                  </a:lnTo>
                  <a:lnTo>
                    <a:pt x="104" y="33"/>
                  </a:lnTo>
                  <a:lnTo>
                    <a:pt x="104" y="33"/>
                  </a:lnTo>
                  <a:lnTo>
                    <a:pt x="101" y="33"/>
                  </a:lnTo>
                  <a:lnTo>
                    <a:pt x="101" y="33"/>
                  </a:lnTo>
                  <a:lnTo>
                    <a:pt x="99" y="31"/>
                  </a:lnTo>
                  <a:lnTo>
                    <a:pt x="99" y="31"/>
                  </a:lnTo>
                  <a:lnTo>
                    <a:pt x="97" y="31"/>
                  </a:lnTo>
                  <a:lnTo>
                    <a:pt x="97" y="31"/>
                  </a:lnTo>
                  <a:lnTo>
                    <a:pt x="97" y="31"/>
                  </a:lnTo>
                  <a:lnTo>
                    <a:pt x="94" y="31"/>
                  </a:lnTo>
                  <a:lnTo>
                    <a:pt x="97" y="28"/>
                  </a:lnTo>
                  <a:lnTo>
                    <a:pt x="97" y="28"/>
                  </a:lnTo>
                  <a:lnTo>
                    <a:pt x="94" y="28"/>
                  </a:lnTo>
                  <a:lnTo>
                    <a:pt x="97" y="26"/>
                  </a:lnTo>
                  <a:lnTo>
                    <a:pt x="97" y="26"/>
                  </a:lnTo>
                  <a:lnTo>
                    <a:pt x="97" y="26"/>
                  </a:lnTo>
                  <a:lnTo>
                    <a:pt x="97" y="26"/>
                  </a:lnTo>
                  <a:lnTo>
                    <a:pt x="97" y="26"/>
                  </a:lnTo>
                  <a:lnTo>
                    <a:pt x="94" y="26"/>
                  </a:lnTo>
                  <a:lnTo>
                    <a:pt x="94" y="26"/>
                  </a:lnTo>
                  <a:lnTo>
                    <a:pt x="94" y="26"/>
                  </a:lnTo>
                  <a:lnTo>
                    <a:pt x="94" y="24"/>
                  </a:lnTo>
                  <a:lnTo>
                    <a:pt x="94" y="24"/>
                  </a:lnTo>
                  <a:lnTo>
                    <a:pt x="94" y="21"/>
                  </a:lnTo>
                  <a:lnTo>
                    <a:pt x="94" y="21"/>
                  </a:lnTo>
                  <a:lnTo>
                    <a:pt x="94" y="21"/>
                  </a:lnTo>
                  <a:lnTo>
                    <a:pt x="94" y="19"/>
                  </a:lnTo>
                  <a:lnTo>
                    <a:pt x="92" y="17"/>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7" name="Freeform 973">
              <a:extLst>
                <a:ext uri="{FF2B5EF4-FFF2-40B4-BE49-F238E27FC236}">
                  <a16:creationId xmlns:a16="http://schemas.microsoft.com/office/drawing/2014/main" id="{67C1B520-96E1-4E95-BDA2-49AE3AD62FFD}"/>
                </a:ext>
              </a:extLst>
            </p:cNvPr>
            <p:cNvSpPr>
              <a:spLocks/>
            </p:cNvSpPr>
            <p:nvPr/>
          </p:nvSpPr>
          <p:spPr bwMode="auto">
            <a:xfrm>
              <a:off x="1810591" y="3228940"/>
              <a:ext cx="49213" cy="107950"/>
            </a:xfrm>
            <a:custGeom>
              <a:avLst/>
              <a:gdLst>
                <a:gd name="T0" fmla="*/ 15 w 31"/>
                <a:gd name="T1" fmla="*/ 68 h 68"/>
                <a:gd name="T2" fmla="*/ 12 w 31"/>
                <a:gd name="T3" fmla="*/ 68 h 68"/>
                <a:gd name="T4" fmla="*/ 12 w 31"/>
                <a:gd name="T5" fmla="*/ 64 h 68"/>
                <a:gd name="T6" fmla="*/ 10 w 31"/>
                <a:gd name="T7" fmla="*/ 61 h 68"/>
                <a:gd name="T8" fmla="*/ 5 w 31"/>
                <a:gd name="T9" fmla="*/ 59 h 68"/>
                <a:gd name="T10" fmla="*/ 3 w 31"/>
                <a:gd name="T11" fmla="*/ 54 h 68"/>
                <a:gd name="T12" fmla="*/ 0 w 31"/>
                <a:gd name="T13" fmla="*/ 52 h 68"/>
                <a:gd name="T14" fmla="*/ 3 w 31"/>
                <a:gd name="T15" fmla="*/ 52 h 68"/>
                <a:gd name="T16" fmla="*/ 3 w 31"/>
                <a:gd name="T17" fmla="*/ 50 h 68"/>
                <a:gd name="T18" fmla="*/ 0 w 31"/>
                <a:gd name="T19" fmla="*/ 45 h 68"/>
                <a:gd name="T20" fmla="*/ 3 w 31"/>
                <a:gd name="T21" fmla="*/ 40 h 68"/>
                <a:gd name="T22" fmla="*/ 3 w 31"/>
                <a:gd name="T23" fmla="*/ 40 h 68"/>
                <a:gd name="T24" fmla="*/ 3 w 31"/>
                <a:gd name="T25" fmla="*/ 38 h 68"/>
                <a:gd name="T26" fmla="*/ 3 w 31"/>
                <a:gd name="T27" fmla="*/ 33 h 68"/>
                <a:gd name="T28" fmla="*/ 3 w 31"/>
                <a:gd name="T29" fmla="*/ 31 h 68"/>
                <a:gd name="T30" fmla="*/ 5 w 31"/>
                <a:gd name="T31" fmla="*/ 21 h 68"/>
                <a:gd name="T32" fmla="*/ 3 w 31"/>
                <a:gd name="T33" fmla="*/ 19 h 68"/>
                <a:gd name="T34" fmla="*/ 0 w 31"/>
                <a:gd name="T35" fmla="*/ 19 h 68"/>
                <a:gd name="T36" fmla="*/ 3 w 31"/>
                <a:gd name="T37" fmla="*/ 14 h 68"/>
                <a:gd name="T38" fmla="*/ 3 w 31"/>
                <a:gd name="T39" fmla="*/ 9 h 68"/>
                <a:gd name="T40" fmla="*/ 3 w 31"/>
                <a:gd name="T41" fmla="*/ 5 h 68"/>
                <a:gd name="T42" fmla="*/ 5 w 31"/>
                <a:gd name="T43" fmla="*/ 5 h 68"/>
                <a:gd name="T44" fmla="*/ 7 w 31"/>
                <a:gd name="T45" fmla="*/ 0 h 68"/>
                <a:gd name="T46" fmla="*/ 10 w 31"/>
                <a:gd name="T47" fmla="*/ 2 h 68"/>
                <a:gd name="T48" fmla="*/ 15 w 31"/>
                <a:gd name="T49" fmla="*/ 2 h 68"/>
                <a:gd name="T50" fmla="*/ 17 w 31"/>
                <a:gd name="T51" fmla="*/ 7 h 68"/>
                <a:gd name="T52" fmla="*/ 19 w 31"/>
                <a:gd name="T53" fmla="*/ 9 h 68"/>
                <a:gd name="T54" fmla="*/ 24 w 31"/>
                <a:gd name="T55" fmla="*/ 14 h 68"/>
                <a:gd name="T56" fmla="*/ 22 w 31"/>
                <a:gd name="T57" fmla="*/ 26 h 68"/>
                <a:gd name="T58" fmla="*/ 22 w 31"/>
                <a:gd name="T59" fmla="*/ 31 h 68"/>
                <a:gd name="T60" fmla="*/ 24 w 31"/>
                <a:gd name="T61" fmla="*/ 35 h 68"/>
                <a:gd name="T62" fmla="*/ 31 w 31"/>
                <a:gd name="T63" fmla="*/ 42 h 68"/>
                <a:gd name="T64" fmla="*/ 31 w 31"/>
                <a:gd name="T65" fmla="*/ 45 h 68"/>
                <a:gd name="T66" fmla="*/ 31 w 31"/>
                <a:gd name="T67" fmla="*/ 50 h 68"/>
                <a:gd name="T68" fmla="*/ 26 w 31"/>
                <a:gd name="T69" fmla="*/ 54 h 68"/>
                <a:gd name="T70" fmla="*/ 24 w 31"/>
                <a:gd name="T71" fmla="*/ 59 h 68"/>
                <a:gd name="T72" fmla="*/ 22 w 31"/>
                <a:gd name="T73" fmla="*/ 61 h 68"/>
                <a:gd name="T74" fmla="*/ 19 w 31"/>
                <a:gd name="T75" fmla="*/ 64 h 68"/>
                <a:gd name="T76" fmla="*/ 19 w 31"/>
                <a:gd name="T77" fmla="*/ 66 h 68"/>
                <a:gd name="T78" fmla="*/ 17 w 31"/>
                <a:gd name="T79" fmla="*/ 68 h 68"/>
                <a:gd name="T80" fmla="*/ 15 w 31"/>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 h="68">
                  <a:moveTo>
                    <a:pt x="15" y="68"/>
                  </a:moveTo>
                  <a:lnTo>
                    <a:pt x="12" y="68"/>
                  </a:lnTo>
                  <a:lnTo>
                    <a:pt x="12" y="64"/>
                  </a:lnTo>
                  <a:lnTo>
                    <a:pt x="10" y="61"/>
                  </a:lnTo>
                  <a:lnTo>
                    <a:pt x="5" y="59"/>
                  </a:lnTo>
                  <a:lnTo>
                    <a:pt x="3" y="54"/>
                  </a:lnTo>
                  <a:lnTo>
                    <a:pt x="0" y="52"/>
                  </a:lnTo>
                  <a:lnTo>
                    <a:pt x="3" y="52"/>
                  </a:lnTo>
                  <a:lnTo>
                    <a:pt x="3" y="50"/>
                  </a:lnTo>
                  <a:lnTo>
                    <a:pt x="0" y="45"/>
                  </a:lnTo>
                  <a:lnTo>
                    <a:pt x="3" y="40"/>
                  </a:lnTo>
                  <a:lnTo>
                    <a:pt x="3" y="40"/>
                  </a:lnTo>
                  <a:lnTo>
                    <a:pt x="3" y="38"/>
                  </a:lnTo>
                  <a:lnTo>
                    <a:pt x="3" y="33"/>
                  </a:lnTo>
                  <a:lnTo>
                    <a:pt x="3" y="31"/>
                  </a:lnTo>
                  <a:lnTo>
                    <a:pt x="5" y="21"/>
                  </a:lnTo>
                  <a:lnTo>
                    <a:pt x="3" y="19"/>
                  </a:lnTo>
                  <a:lnTo>
                    <a:pt x="0" y="19"/>
                  </a:lnTo>
                  <a:lnTo>
                    <a:pt x="3" y="14"/>
                  </a:lnTo>
                  <a:lnTo>
                    <a:pt x="3" y="9"/>
                  </a:lnTo>
                  <a:lnTo>
                    <a:pt x="3" y="5"/>
                  </a:lnTo>
                  <a:lnTo>
                    <a:pt x="5" y="5"/>
                  </a:lnTo>
                  <a:lnTo>
                    <a:pt x="7" y="0"/>
                  </a:lnTo>
                  <a:lnTo>
                    <a:pt x="10" y="2"/>
                  </a:lnTo>
                  <a:lnTo>
                    <a:pt x="15" y="2"/>
                  </a:lnTo>
                  <a:lnTo>
                    <a:pt x="17" y="7"/>
                  </a:lnTo>
                  <a:lnTo>
                    <a:pt x="19" y="9"/>
                  </a:lnTo>
                  <a:lnTo>
                    <a:pt x="24" y="14"/>
                  </a:lnTo>
                  <a:lnTo>
                    <a:pt x="22" y="26"/>
                  </a:lnTo>
                  <a:lnTo>
                    <a:pt x="22" y="31"/>
                  </a:lnTo>
                  <a:lnTo>
                    <a:pt x="24" y="35"/>
                  </a:lnTo>
                  <a:lnTo>
                    <a:pt x="31" y="42"/>
                  </a:lnTo>
                  <a:lnTo>
                    <a:pt x="31" y="45"/>
                  </a:lnTo>
                  <a:lnTo>
                    <a:pt x="31" y="50"/>
                  </a:lnTo>
                  <a:lnTo>
                    <a:pt x="26" y="54"/>
                  </a:lnTo>
                  <a:lnTo>
                    <a:pt x="24" y="59"/>
                  </a:lnTo>
                  <a:lnTo>
                    <a:pt x="22" y="61"/>
                  </a:lnTo>
                  <a:lnTo>
                    <a:pt x="19" y="64"/>
                  </a:lnTo>
                  <a:lnTo>
                    <a:pt x="19" y="66"/>
                  </a:lnTo>
                  <a:lnTo>
                    <a:pt x="17" y="68"/>
                  </a:lnTo>
                  <a:lnTo>
                    <a:pt x="15" y="68"/>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8" name="Freeform 974">
              <a:extLst>
                <a:ext uri="{FF2B5EF4-FFF2-40B4-BE49-F238E27FC236}">
                  <a16:creationId xmlns:a16="http://schemas.microsoft.com/office/drawing/2014/main" id="{C27FDB1B-3579-461B-8459-81E1378555B7}"/>
                </a:ext>
              </a:extLst>
            </p:cNvPr>
            <p:cNvSpPr>
              <a:spLocks/>
            </p:cNvSpPr>
            <p:nvPr/>
          </p:nvSpPr>
          <p:spPr bwMode="auto">
            <a:xfrm>
              <a:off x="1810591" y="3228940"/>
              <a:ext cx="49213" cy="107950"/>
            </a:xfrm>
            <a:custGeom>
              <a:avLst/>
              <a:gdLst>
                <a:gd name="T0" fmla="*/ 15 w 31"/>
                <a:gd name="T1" fmla="*/ 68 h 68"/>
                <a:gd name="T2" fmla="*/ 12 w 31"/>
                <a:gd name="T3" fmla="*/ 68 h 68"/>
                <a:gd name="T4" fmla="*/ 12 w 31"/>
                <a:gd name="T5" fmla="*/ 64 h 68"/>
                <a:gd name="T6" fmla="*/ 10 w 31"/>
                <a:gd name="T7" fmla="*/ 61 h 68"/>
                <a:gd name="T8" fmla="*/ 5 w 31"/>
                <a:gd name="T9" fmla="*/ 59 h 68"/>
                <a:gd name="T10" fmla="*/ 3 w 31"/>
                <a:gd name="T11" fmla="*/ 54 h 68"/>
                <a:gd name="T12" fmla="*/ 0 w 31"/>
                <a:gd name="T13" fmla="*/ 52 h 68"/>
                <a:gd name="T14" fmla="*/ 3 w 31"/>
                <a:gd name="T15" fmla="*/ 52 h 68"/>
                <a:gd name="T16" fmla="*/ 3 w 31"/>
                <a:gd name="T17" fmla="*/ 50 h 68"/>
                <a:gd name="T18" fmla="*/ 0 w 31"/>
                <a:gd name="T19" fmla="*/ 45 h 68"/>
                <a:gd name="T20" fmla="*/ 3 w 31"/>
                <a:gd name="T21" fmla="*/ 40 h 68"/>
                <a:gd name="T22" fmla="*/ 3 w 31"/>
                <a:gd name="T23" fmla="*/ 40 h 68"/>
                <a:gd name="T24" fmla="*/ 3 w 31"/>
                <a:gd name="T25" fmla="*/ 38 h 68"/>
                <a:gd name="T26" fmla="*/ 3 w 31"/>
                <a:gd name="T27" fmla="*/ 33 h 68"/>
                <a:gd name="T28" fmla="*/ 3 w 31"/>
                <a:gd name="T29" fmla="*/ 31 h 68"/>
                <a:gd name="T30" fmla="*/ 5 w 31"/>
                <a:gd name="T31" fmla="*/ 21 h 68"/>
                <a:gd name="T32" fmla="*/ 3 w 31"/>
                <a:gd name="T33" fmla="*/ 19 h 68"/>
                <a:gd name="T34" fmla="*/ 0 w 31"/>
                <a:gd name="T35" fmla="*/ 19 h 68"/>
                <a:gd name="T36" fmla="*/ 3 w 31"/>
                <a:gd name="T37" fmla="*/ 14 h 68"/>
                <a:gd name="T38" fmla="*/ 3 w 31"/>
                <a:gd name="T39" fmla="*/ 9 h 68"/>
                <a:gd name="T40" fmla="*/ 3 w 31"/>
                <a:gd name="T41" fmla="*/ 5 h 68"/>
                <a:gd name="T42" fmla="*/ 5 w 31"/>
                <a:gd name="T43" fmla="*/ 5 h 68"/>
                <a:gd name="T44" fmla="*/ 7 w 31"/>
                <a:gd name="T45" fmla="*/ 0 h 68"/>
                <a:gd name="T46" fmla="*/ 10 w 31"/>
                <a:gd name="T47" fmla="*/ 2 h 68"/>
                <a:gd name="T48" fmla="*/ 15 w 31"/>
                <a:gd name="T49" fmla="*/ 2 h 68"/>
                <a:gd name="T50" fmla="*/ 17 w 31"/>
                <a:gd name="T51" fmla="*/ 7 h 68"/>
                <a:gd name="T52" fmla="*/ 19 w 31"/>
                <a:gd name="T53" fmla="*/ 9 h 68"/>
                <a:gd name="T54" fmla="*/ 24 w 31"/>
                <a:gd name="T55" fmla="*/ 14 h 68"/>
                <a:gd name="T56" fmla="*/ 22 w 31"/>
                <a:gd name="T57" fmla="*/ 26 h 68"/>
                <a:gd name="T58" fmla="*/ 22 w 31"/>
                <a:gd name="T59" fmla="*/ 31 h 68"/>
                <a:gd name="T60" fmla="*/ 24 w 31"/>
                <a:gd name="T61" fmla="*/ 35 h 68"/>
                <a:gd name="T62" fmla="*/ 31 w 31"/>
                <a:gd name="T63" fmla="*/ 42 h 68"/>
                <a:gd name="T64" fmla="*/ 31 w 31"/>
                <a:gd name="T65" fmla="*/ 45 h 68"/>
                <a:gd name="T66" fmla="*/ 31 w 31"/>
                <a:gd name="T67" fmla="*/ 50 h 68"/>
                <a:gd name="T68" fmla="*/ 26 w 31"/>
                <a:gd name="T69" fmla="*/ 54 h 68"/>
                <a:gd name="T70" fmla="*/ 24 w 31"/>
                <a:gd name="T71" fmla="*/ 59 h 68"/>
                <a:gd name="T72" fmla="*/ 22 w 31"/>
                <a:gd name="T73" fmla="*/ 61 h 68"/>
                <a:gd name="T74" fmla="*/ 19 w 31"/>
                <a:gd name="T75" fmla="*/ 64 h 68"/>
                <a:gd name="T76" fmla="*/ 19 w 31"/>
                <a:gd name="T77" fmla="*/ 66 h 68"/>
                <a:gd name="T78" fmla="*/ 17 w 31"/>
                <a:gd name="T79" fmla="*/ 68 h 68"/>
                <a:gd name="T80" fmla="*/ 15 w 31"/>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 h="68">
                  <a:moveTo>
                    <a:pt x="15" y="68"/>
                  </a:moveTo>
                  <a:lnTo>
                    <a:pt x="12" y="68"/>
                  </a:lnTo>
                  <a:lnTo>
                    <a:pt x="12" y="64"/>
                  </a:lnTo>
                  <a:lnTo>
                    <a:pt x="10" y="61"/>
                  </a:lnTo>
                  <a:lnTo>
                    <a:pt x="5" y="59"/>
                  </a:lnTo>
                  <a:lnTo>
                    <a:pt x="3" y="54"/>
                  </a:lnTo>
                  <a:lnTo>
                    <a:pt x="0" y="52"/>
                  </a:lnTo>
                  <a:lnTo>
                    <a:pt x="3" y="52"/>
                  </a:lnTo>
                  <a:lnTo>
                    <a:pt x="3" y="50"/>
                  </a:lnTo>
                  <a:lnTo>
                    <a:pt x="0" y="45"/>
                  </a:lnTo>
                  <a:lnTo>
                    <a:pt x="3" y="40"/>
                  </a:lnTo>
                  <a:lnTo>
                    <a:pt x="3" y="40"/>
                  </a:lnTo>
                  <a:lnTo>
                    <a:pt x="3" y="38"/>
                  </a:lnTo>
                  <a:lnTo>
                    <a:pt x="3" y="33"/>
                  </a:lnTo>
                  <a:lnTo>
                    <a:pt x="3" y="31"/>
                  </a:lnTo>
                  <a:lnTo>
                    <a:pt x="5" y="21"/>
                  </a:lnTo>
                  <a:lnTo>
                    <a:pt x="3" y="19"/>
                  </a:lnTo>
                  <a:lnTo>
                    <a:pt x="0" y="19"/>
                  </a:lnTo>
                  <a:lnTo>
                    <a:pt x="3" y="14"/>
                  </a:lnTo>
                  <a:lnTo>
                    <a:pt x="3" y="9"/>
                  </a:lnTo>
                  <a:lnTo>
                    <a:pt x="3" y="5"/>
                  </a:lnTo>
                  <a:lnTo>
                    <a:pt x="5" y="5"/>
                  </a:lnTo>
                  <a:lnTo>
                    <a:pt x="7" y="0"/>
                  </a:lnTo>
                  <a:lnTo>
                    <a:pt x="10" y="2"/>
                  </a:lnTo>
                  <a:lnTo>
                    <a:pt x="15" y="2"/>
                  </a:lnTo>
                  <a:lnTo>
                    <a:pt x="17" y="7"/>
                  </a:lnTo>
                  <a:lnTo>
                    <a:pt x="19" y="9"/>
                  </a:lnTo>
                  <a:lnTo>
                    <a:pt x="24" y="14"/>
                  </a:lnTo>
                  <a:lnTo>
                    <a:pt x="22" y="26"/>
                  </a:lnTo>
                  <a:lnTo>
                    <a:pt x="22" y="31"/>
                  </a:lnTo>
                  <a:lnTo>
                    <a:pt x="24" y="35"/>
                  </a:lnTo>
                  <a:lnTo>
                    <a:pt x="31" y="42"/>
                  </a:lnTo>
                  <a:lnTo>
                    <a:pt x="31" y="45"/>
                  </a:lnTo>
                  <a:lnTo>
                    <a:pt x="31" y="50"/>
                  </a:lnTo>
                  <a:lnTo>
                    <a:pt x="26" y="54"/>
                  </a:lnTo>
                  <a:lnTo>
                    <a:pt x="24" y="59"/>
                  </a:lnTo>
                  <a:lnTo>
                    <a:pt x="22" y="61"/>
                  </a:lnTo>
                  <a:lnTo>
                    <a:pt x="19" y="64"/>
                  </a:lnTo>
                  <a:lnTo>
                    <a:pt x="19" y="66"/>
                  </a:lnTo>
                  <a:lnTo>
                    <a:pt x="17" y="68"/>
                  </a:lnTo>
                  <a:lnTo>
                    <a:pt x="15" y="68"/>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79" name="Freeform 979">
              <a:extLst>
                <a:ext uri="{FF2B5EF4-FFF2-40B4-BE49-F238E27FC236}">
                  <a16:creationId xmlns:a16="http://schemas.microsoft.com/office/drawing/2014/main" id="{F259D19D-8096-4BE5-9F6A-F75AB89B9CA6}"/>
                </a:ext>
              </a:extLst>
            </p:cNvPr>
            <p:cNvSpPr>
              <a:spLocks/>
            </p:cNvSpPr>
            <p:nvPr/>
          </p:nvSpPr>
          <p:spPr bwMode="auto">
            <a:xfrm>
              <a:off x="1856628" y="2632039"/>
              <a:ext cx="160338" cy="123825"/>
            </a:xfrm>
            <a:custGeom>
              <a:avLst/>
              <a:gdLst>
                <a:gd name="T0" fmla="*/ 2 w 101"/>
                <a:gd name="T1" fmla="*/ 19 h 78"/>
                <a:gd name="T2" fmla="*/ 2 w 101"/>
                <a:gd name="T3" fmla="*/ 26 h 78"/>
                <a:gd name="T4" fmla="*/ 2 w 101"/>
                <a:gd name="T5" fmla="*/ 22 h 78"/>
                <a:gd name="T6" fmla="*/ 4 w 101"/>
                <a:gd name="T7" fmla="*/ 31 h 78"/>
                <a:gd name="T8" fmla="*/ 4 w 101"/>
                <a:gd name="T9" fmla="*/ 36 h 78"/>
                <a:gd name="T10" fmla="*/ 7 w 101"/>
                <a:gd name="T11" fmla="*/ 38 h 78"/>
                <a:gd name="T12" fmla="*/ 12 w 101"/>
                <a:gd name="T13" fmla="*/ 41 h 78"/>
                <a:gd name="T14" fmla="*/ 16 w 101"/>
                <a:gd name="T15" fmla="*/ 43 h 78"/>
                <a:gd name="T16" fmla="*/ 23 w 101"/>
                <a:gd name="T17" fmla="*/ 45 h 78"/>
                <a:gd name="T18" fmla="*/ 30 w 101"/>
                <a:gd name="T19" fmla="*/ 45 h 78"/>
                <a:gd name="T20" fmla="*/ 30 w 101"/>
                <a:gd name="T21" fmla="*/ 57 h 78"/>
                <a:gd name="T22" fmla="*/ 33 w 101"/>
                <a:gd name="T23" fmla="*/ 66 h 78"/>
                <a:gd name="T24" fmla="*/ 42 w 101"/>
                <a:gd name="T25" fmla="*/ 71 h 78"/>
                <a:gd name="T26" fmla="*/ 45 w 101"/>
                <a:gd name="T27" fmla="*/ 78 h 78"/>
                <a:gd name="T28" fmla="*/ 54 w 101"/>
                <a:gd name="T29" fmla="*/ 78 h 78"/>
                <a:gd name="T30" fmla="*/ 61 w 101"/>
                <a:gd name="T31" fmla="*/ 78 h 78"/>
                <a:gd name="T32" fmla="*/ 66 w 101"/>
                <a:gd name="T33" fmla="*/ 78 h 78"/>
                <a:gd name="T34" fmla="*/ 68 w 101"/>
                <a:gd name="T35" fmla="*/ 74 h 78"/>
                <a:gd name="T36" fmla="*/ 73 w 101"/>
                <a:gd name="T37" fmla="*/ 71 h 78"/>
                <a:gd name="T38" fmla="*/ 75 w 101"/>
                <a:gd name="T39" fmla="*/ 69 h 78"/>
                <a:gd name="T40" fmla="*/ 80 w 101"/>
                <a:gd name="T41" fmla="*/ 71 h 78"/>
                <a:gd name="T42" fmla="*/ 85 w 101"/>
                <a:gd name="T43" fmla="*/ 71 h 78"/>
                <a:gd name="T44" fmla="*/ 82 w 101"/>
                <a:gd name="T45" fmla="*/ 66 h 78"/>
                <a:gd name="T46" fmla="*/ 82 w 101"/>
                <a:gd name="T47" fmla="*/ 62 h 78"/>
                <a:gd name="T48" fmla="*/ 85 w 101"/>
                <a:gd name="T49" fmla="*/ 55 h 78"/>
                <a:gd name="T50" fmla="*/ 85 w 101"/>
                <a:gd name="T51" fmla="*/ 50 h 78"/>
                <a:gd name="T52" fmla="*/ 87 w 101"/>
                <a:gd name="T53" fmla="*/ 45 h 78"/>
                <a:gd name="T54" fmla="*/ 92 w 101"/>
                <a:gd name="T55" fmla="*/ 43 h 78"/>
                <a:gd name="T56" fmla="*/ 99 w 101"/>
                <a:gd name="T57" fmla="*/ 43 h 78"/>
                <a:gd name="T58" fmla="*/ 99 w 101"/>
                <a:gd name="T59" fmla="*/ 36 h 78"/>
                <a:gd name="T60" fmla="*/ 97 w 101"/>
                <a:gd name="T61" fmla="*/ 33 h 78"/>
                <a:gd name="T62" fmla="*/ 99 w 101"/>
                <a:gd name="T63" fmla="*/ 29 h 78"/>
                <a:gd name="T64" fmla="*/ 101 w 101"/>
                <a:gd name="T65" fmla="*/ 26 h 78"/>
                <a:gd name="T66" fmla="*/ 99 w 101"/>
                <a:gd name="T67" fmla="*/ 24 h 78"/>
                <a:gd name="T68" fmla="*/ 89 w 101"/>
                <a:gd name="T69" fmla="*/ 17 h 78"/>
                <a:gd name="T70" fmla="*/ 78 w 101"/>
                <a:gd name="T71" fmla="*/ 12 h 78"/>
                <a:gd name="T72" fmla="*/ 71 w 101"/>
                <a:gd name="T73" fmla="*/ 3 h 78"/>
                <a:gd name="T74" fmla="*/ 66 w 101"/>
                <a:gd name="T75" fmla="*/ 3 h 78"/>
                <a:gd name="T76" fmla="*/ 59 w 101"/>
                <a:gd name="T77" fmla="*/ 7 h 78"/>
                <a:gd name="T78" fmla="*/ 47 w 101"/>
                <a:gd name="T79" fmla="*/ 3 h 78"/>
                <a:gd name="T80" fmla="*/ 37 w 101"/>
                <a:gd name="T81" fmla="*/ 3 h 78"/>
                <a:gd name="T82" fmla="*/ 33 w 101"/>
                <a:gd name="T83" fmla="*/ 5 h 78"/>
                <a:gd name="T84" fmla="*/ 28 w 101"/>
                <a:gd name="T85" fmla="*/ 3 h 78"/>
                <a:gd name="T86" fmla="*/ 21 w 101"/>
                <a:gd name="T87" fmla="*/ 3 h 78"/>
                <a:gd name="T88" fmla="*/ 9 w 101"/>
                <a:gd name="T89" fmla="*/ 7 h 78"/>
                <a:gd name="T90" fmla="*/ 4 w 101"/>
                <a:gd name="T91" fmla="*/ 1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1" h="78">
                  <a:moveTo>
                    <a:pt x="0" y="12"/>
                  </a:moveTo>
                  <a:lnTo>
                    <a:pt x="2" y="19"/>
                  </a:lnTo>
                  <a:lnTo>
                    <a:pt x="2" y="24"/>
                  </a:lnTo>
                  <a:lnTo>
                    <a:pt x="2" y="26"/>
                  </a:lnTo>
                  <a:lnTo>
                    <a:pt x="2" y="19"/>
                  </a:lnTo>
                  <a:lnTo>
                    <a:pt x="2" y="22"/>
                  </a:lnTo>
                  <a:lnTo>
                    <a:pt x="2" y="24"/>
                  </a:lnTo>
                  <a:lnTo>
                    <a:pt x="4" y="31"/>
                  </a:lnTo>
                  <a:lnTo>
                    <a:pt x="4" y="33"/>
                  </a:lnTo>
                  <a:lnTo>
                    <a:pt x="4" y="36"/>
                  </a:lnTo>
                  <a:lnTo>
                    <a:pt x="4" y="36"/>
                  </a:lnTo>
                  <a:lnTo>
                    <a:pt x="7" y="38"/>
                  </a:lnTo>
                  <a:lnTo>
                    <a:pt x="9" y="38"/>
                  </a:lnTo>
                  <a:lnTo>
                    <a:pt x="12" y="41"/>
                  </a:lnTo>
                  <a:lnTo>
                    <a:pt x="14" y="41"/>
                  </a:lnTo>
                  <a:lnTo>
                    <a:pt x="16" y="43"/>
                  </a:lnTo>
                  <a:lnTo>
                    <a:pt x="19" y="43"/>
                  </a:lnTo>
                  <a:lnTo>
                    <a:pt x="23" y="45"/>
                  </a:lnTo>
                  <a:lnTo>
                    <a:pt x="28" y="43"/>
                  </a:lnTo>
                  <a:lnTo>
                    <a:pt x="30" y="45"/>
                  </a:lnTo>
                  <a:lnTo>
                    <a:pt x="33" y="52"/>
                  </a:lnTo>
                  <a:lnTo>
                    <a:pt x="30" y="57"/>
                  </a:lnTo>
                  <a:lnTo>
                    <a:pt x="30" y="62"/>
                  </a:lnTo>
                  <a:lnTo>
                    <a:pt x="33" y="66"/>
                  </a:lnTo>
                  <a:lnTo>
                    <a:pt x="37" y="69"/>
                  </a:lnTo>
                  <a:lnTo>
                    <a:pt x="42" y="71"/>
                  </a:lnTo>
                  <a:lnTo>
                    <a:pt x="45" y="76"/>
                  </a:lnTo>
                  <a:lnTo>
                    <a:pt x="45" y="78"/>
                  </a:lnTo>
                  <a:lnTo>
                    <a:pt x="49" y="78"/>
                  </a:lnTo>
                  <a:lnTo>
                    <a:pt x="54" y="78"/>
                  </a:lnTo>
                  <a:lnTo>
                    <a:pt x="59" y="78"/>
                  </a:lnTo>
                  <a:lnTo>
                    <a:pt x="61" y="78"/>
                  </a:lnTo>
                  <a:lnTo>
                    <a:pt x="63" y="76"/>
                  </a:lnTo>
                  <a:lnTo>
                    <a:pt x="66" y="78"/>
                  </a:lnTo>
                  <a:lnTo>
                    <a:pt x="68" y="76"/>
                  </a:lnTo>
                  <a:lnTo>
                    <a:pt x="68" y="74"/>
                  </a:lnTo>
                  <a:lnTo>
                    <a:pt x="71" y="71"/>
                  </a:lnTo>
                  <a:lnTo>
                    <a:pt x="73" y="71"/>
                  </a:lnTo>
                  <a:lnTo>
                    <a:pt x="73" y="69"/>
                  </a:lnTo>
                  <a:lnTo>
                    <a:pt x="75" y="69"/>
                  </a:lnTo>
                  <a:lnTo>
                    <a:pt x="78" y="69"/>
                  </a:lnTo>
                  <a:lnTo>
                    <a:pt x="80" y="71"/>
                  </a:lnTo>
                  <a:lnTo>
                    <a:pt x="82" y="71"/>
                  </a:lnTo>
                  <a:lnTo>
                    <a:pt x="85" y="71"/>
                  </a:lnTo>
                  <a:lnTo>
                    <a:pt x="85" y="69"/>
                  </a:lnTo>
                  <a:lnTo>
                    <a:pt x="82" y="66"/>
                  </a:lnTo>
                  <a:lnTo>
                    <a:pt x="82" y="64"/>
                  </a:lnTo>
                  <a:lnTo>
                    <a:pt x="82" y="62"/>
                  </a:lnTo>
                  <a:lnTo>
                    <a:pt x="85" y="57"/>
                  </a:lnTo>
                  <a:lnTo>
                    <a:pt x="85" y="55"/>
                  </a:lnTo>
                  <a:lnTo>
                    <a:pt x="85" y="52"/>
                  </a:lnTo>
                  <a:lnTo>
                    <a:pt x="85" y="50"/>
                  </a:lnTo>
                  <a:lnTo>
                    <a:pt x="85" y="48"/>
                  </a:lnTo>
                  <a:lnTo>
                    <a:pt x="87" y="45"/>
                  </a:lnTo>
                  <a:lnTo>
                    <a:pt x="92" y="45"/>
                  </a:lnTo>
                  <a:lnTo>
                    <a:pt x="92" y="43"/>
                  </a:lnTo>
                  <a:lnTo>
                    <a:pt x="94" y="43"/>
                  </a:lnTo>
                  <a:lnTo>
                    <a:pt x="99" y="43"/>
                  </a:lnTo>
                  <a:lnTo>
                    <a:pt x="101" y="36"/>
                  </a:lnTo>
                  <a:lnTo>
                    <a:pt x="99" y="36"/>
                  </a:lnTo>
                  <a:lnTo>
                    <a:pt x="97" y="36"/>
                  </a:lnTo>
                  <a:lnTo>
                    <a:pt x="97" y="33"/>
                  </a:lnTo>
                  <a:lnTo>
                    <a:pt x="97" y="31"/>
                  </a:lnTo>
                  <a:lnTo>
                    <a:pt x="99" y="29"/>
                  </a:lnTo>
                  <a:lnTo>
                    <a:pt x="101" y="29"/>
                  </a:lnTo>
                  <a:lnTo>
                    <a:pt x="101" y="26"/>
                  </a:lnTo>
                  <a:lnTo>
                    <a:pt x="101" y="26"/>
                  </a:lnTo>
                  <a:lnTo>
                    <a:pt x="99" y="24"/>
                  </a:lnTo>
                  <a:lnTo>
                    <a:pt x="97" y="24"/>
                  </a:lnTo>
                  <a:lnTo>
                    <a:pt x="89" y="17"/>
                  </a:lnTo>
                  <a:lnTo>
                    <a:pt x="82" y="12"/>
                  </a:lnTo>
                  <a:lnTo>
                    <a:pt x="78" y="12"/>
                  </a:lnTo>
                  <a:lnTo>
                    <a:pt x="75" y="10"/>
                  </a:lnTo>
                  <a:lnTo>
                    <a:pt x="71" y="3"/>
                  </a:lnTo>
                  <a:lnTo>
                    <a:pt x="71" y="0"/>
                  </a:lnTo>
                  <a:lnTo>
                    <a:pt x="66" y="3"/>
                  </a:lnTo>
                  <a:lnTo>
                    <a:pt x="63" y="5"/>
                  </a:lnTo>
                  <a:lnTo>
                    <a:pt x="59" y="7"/>
                  </a:lnTo>
                  <a:lnTo>
                    <a:pt x="49" y="3"/>
                  </a:lnTo>
                  <a:lnTo>
                    <a:pt x="47" y="3"/>
                  </a:lnTo>
                  <a:lnTo>
                    <a:pt x="40" y="3"/>
                  </a:lnTo>
                  <a:lnTo>
                    <a:pt x="37" y="3"/>
                  </a:lnTo>
                  <a:lnTo>
                    <a:pt x="35" y="3"/>
                  </a:lnTo>
                  <a:lnTo>
                    <a:pt x="33" y="5"/>
                  </a:lnTo>
                  <a:lnTo>
                    <a:pt x="30" y="5"/>
                  </a:lnTo>
                  <a:lnTo>
                    <a:pt x="28" y="3"/>
                  </a:lnTo>
                  <a:lnTo>
                    <a:pt x="26" y="3"/>
                  </a:lnTo>
                  <a:lnTo>
                    <a:pt x="21" y="3"/>
                  </a:lnTo>
                  <a:lnTo>
                    <a:pt x="14" y="5"/>
                  </a:lnTo>
                  <a:lnTo>
                    <a:pt x="9" y="7"/>
                  </a:lnTo>
                  <a:lnTo>
                    <a:pt x="7" y="12"/>
                  </a:lnTo>
                  <a:lnTo>
                    <a:pt x="4" y="15"/>
                  </a:lnTo>
                  <a:lnTo>
                    <a:pt x="0"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0" name="Freeform 980">
              <a:extLst>
                <a:ext uri="{FF2B5EF4-FFF2-40B4-BE49-F238E27FC236}">
                  <a16:creationId xmlns:a16="http://schemas.microsoft.com/office/drawing/2014/main" id="{C02C7C2A-383F-4620-B57D-6D28732693DC}"/>
                </a:ext>
              </a:extLst>
            </p:cNvPr>
            <p:cNvSpPr>
              <a:spLocks/>
            </p:cNvSpPr>
            <p:nvPr/>
          </p:nvSpPr>
          <p:spPr bwMode="auto">
            <a:xfrm>
              <a:off x="1856628" y="2632039"/>
              <a:ext cx="160338" cy="123825"/>
            </a:xfrm>
            <a:custGeom>
              <a:avLst/>
              <a:gdLst>
                <a:gd name="T0" fmla="*/ 2 w 101"/>
                <a:gd name="T1" fmla="*/ 19 h 78"/>
                <a:gd name="T2" fmla="*/ 2 w 101"/>
                <a:gd name="T3" fmla="*/ 26 h 78"/>
                <a:gd name="T4" fmla="*/ 2 w 101"/>
                <a:gd name="T5" fmla="*/ 22 h 78"/>
                <a:gd name="T6" fmla="*/ 4 w 101"/>
                <a:gd name="T7" fmla="*/ 31 h 78"/>
                <a:gd name="T8" fmla="*/ 4 w 101"/>
                <a:gd name="T9" fmla="*/ 36 h 78"/>
                <a:gd name="T10" fmla="*/ 7 w 101"/>
                <a:gd name="T11" fmla="*/ 38 h 78"/>
                <a:gd name="T12" fmla="*/ 12 w 101"/>
                <a:gd name="T13" fmla="*/ 41 h 78"/>
                <a:gd name="T14" fmla="*/ 16 w 101"/>
                <a:gd name="T15" fmla="*/ 43 h 78"/>
                <a:gd name="T16" fmla="*/ 23 w 101"/>
                <a:gd name="T17" fmla="*/ 45 h 78"/>
                <a:gd name="T18" fmla="*/ 30 w 101"/>
                <a:gd name="T19" fmla="*/ 45 h 78"/>
                <a:gd name="T20" fmla="*/ 30 w 101"/>
                <a:gd name="T21" fmla="*/ 57 h 78"/>
                <a:gd name="T22" fmla="*/ 33 w 101"/>
                <a:gd name="T23" fmla="*/ 66 h 78"/>
                <a:gd name="T24" fmla="*/ 42 w 101"/>
                <a:gd name="T25" fmla="*/ 71 h 78"/>
                <a:gd name="T26" fmla="*/ 45 w 101"/>
                <a:gd name="T27" fmla="*/ 78 h 78"/>
                <a:gd name="T28" fmla="*/ 54 w 101"/>
                <a:gd name="T29" fmla="*/ 78 h 78"/>
                <a:gd name="T30" fmla="*/ 61 w 101"/>
                <a:gd name="T31" fmla="*/ 78 h 78"/>
                <a:gd name="T32" fmla="*/ 66 w 101"/>
                <a:gd name="T33" fmla="*/ 78 h 78"/>
                <a:gd name="T34" fmla="*/ 68 w 101"/>
                <a:gd name="T35" fmla="*/ 74 h 78"/>
                <a:gd name="T36" fmla="*/ 73 w 101"/>
                <a:gd name="T37" fmla="*/ 71 h 78"/>
                <a:gd name="T38" fmla="*/ 75 w 101"/>
                <a:gd name="T39" fmla="*/ 69 h 78"/>
                <a:gd name="T40" fmla="*/ 80 w 101"/>
                <a:gd name="T41" fmla="*/ 71 h 78"/>
                <a:gd name="T42" fmla="*/ 85 w 101"/>
                <a:gd name="T43" fmla="*/ 71 h 78"/>
                <a:gd name="T44" fmla="*/ 82 w 101"/>
                <a:gd name="T45" fmla="*/ 66 h 78"/>
                <a:gd name="T46" fmla="*/ 82 w 101"/>
                <a:gd name="T47" fmla="*/ 62 h 78"/>
                <a:gd name="T48" fmla="*/ 85 w 101"/>
                <a:gd name="T49" fmla="*/ 55 h 78"/>
                <a:gd name="T50" fmla="*/ 85 w 101"/>
                <a:gd name="T51" fmla="*/ 50 h 78"/>
                <a:gd name="T52" fmla="*/ 87 w 101"/>
                <a:gd name="T53" fmla="*/ 45 h 78"/>
                <a:gd name="T54" fmla="*/ 92 w 101"/>
                <a:gd name="T55" fmla="*/ 43 h 78"/>
                <a:gd name="T56" fmla="*/ 99 w 101"/>
                <a:gd name="T57" fmla="*/ 43 h 78"/>
                <a:gd name="T58" fmla="*/ 99 w 101"/>
                <a:gd name="T59" fmla="*/ 36 h 78"/>
                <a:gd name="T60" fmla="*/ 97 w 101"/>
                <a:gd name="T61" fmla="*/ 33 h 78"/>
                <a:gd name="T62" fmla="*/ 99 w 101"/>
                <a:gd name="T63" fmla="*/ 29 h 78"/>
                <a:gd name="T64" fmla="*/ 101 w 101"/>
                <a:gd name="T65" fmla="*/ 26 h 78"/>
                <a:gd name="T66" fmla="*/ 99 w 101"/>
                <a:gd name="T67" fmla="*/ 24 h 78"/>
                <a:gd name="T68" fmla="*/ 89 w 101"/>
                <a:gd name="T69" fmla="*/ 17 h 78"/>
                <a:gd name="T70" fmla="*/ 78 w 101"/>
                <a:gd name="T71" fmla="*/ 12 h 78"/>
                <a:gd name="T72" fmla="*/ 71 w 101"/>
                <a:gd name="T73" fmla="*/ 3 h 78"/>
                <a:gd name="T74" fmla="*/ 66 w 101"/>
                <a:gd name="T75" fmla="*/ 3 h 78"/>
                <a:gd name="T76" fmla="*/ 59 w 101"/>
                <a:gd name="T77" fmla="*/ 7 h 78"/>
                <a:gd name="T78" fmla="*/ 47 w 101"/>
                <a:gd name="T79" fmla="*/ 3 h 78"/>
                <a:gd name="T80" fmla="*/ 37 w 101"/>
                <a:gd name="T81" fmla="*/ 3 h 78"/>
                <a:gd name="T82" fmla="*/ 33 w 101"/>
                <a:gd name="T83" fmla="*/ 5 h 78"/>
                <a:gd name="T84" fmla="*/ 28 w 101"/>
                <a:gd name="T85" fmla="*/ 3 h 78"/>
                <a:gd name="T86" fmla="*/ 21 w 101"/>
                <a:gd name="T87" fmla="*/ 3 h 78"/>
                <a:gd name="T88" fmla="*/ 9 w 101"/>
                <a:gd name="T89" fmla="*/ 7 h 78"/>
                <a:gd name="T90" fmla="*/ 4 w 101"/>
                <a:gd name="T91" fmla="*/ 1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1" h="78">
                  <a:moveTo>
                    <a:pt x="0" y="12"/>
                  </a:moveTo>
                  <a:lnTo>
                    <a:pt x="2" y="19"/>
                  </a:lnTo>
                  <a:lnTo>
                    <a:pt x="2" y="24"/>
                  </a:lnTo>
                  <a:lnTo>
                    <a:pt x="2" y="26"/>
                  </a:lnTo>
                  <a:lnTo>
                    <a:pt x="2" y="19"/>
                  </a:lnTo>
                  <a:lnTo>
                    <a:pt x="2" y="22"/>
                  </a:lnTo>
                  <a:lnTo>
                    <a:pt x="2" y="24"/>
                  </a:lnTo>
                  <a:lnTo>
                    <a:pt x="4" y="31"/>
                  </a:lnTo>
                  <a:lnTo>
                    <a:pt x="4" y="33"/>
                  </a:lnTo>
                  <a:lnTo>
                    <a:pt x="4" y="36"/>
                  </a:lnTo>
                  <a:lnTo>
                    <a:pt x="4" y="36"/>
                  </a:lnTo>
                  <a:lnTo>
                    <a:pt x="7" y="38"/>
                  </a:lnTo>
                  <a:lnTo>
                    <a:pt x="9" y="38"/>
                  </a:lnTo>
                  <a:lnTo>
                    <a:pt x="12" y="41"/>
                  </a:lnTo>
                  <a:lnTo>
                    <a:pt x="14" y="41"/>
                  </a:lnTo>
                  <a:lnTo>
                    <a:pt x="16" y="43"/>
                  </a:lnTo>
                  <a:lnTo>
                    <a:pt x="19" y="43"/>
                  </a:lnTo>
                  <a:lnTo>
                    <a:pt x="23" y="45"/>
                  </a:lnTo>
                  <a:lnTo>
                    <a:pt x="28" y="43"/>
                  </a:lnTo>
                  <a:lnTo>
                    <a:pt x="30" y="45"/>
                  </a:lnTo>
                  <a:lnTo>
                    <a:pt x="33" y="52"/>
                  </a:lnTo>
                  <a:lnTo>
                    <a:pt x="30" y="57"/>
                  </a:lnTo>
                  <a:lnTo>
                    <a:pt x="30" y="62"/>
                  </a:lnTo>
                  <a:lnTo>
                    <a:pt x="33" y="66"/>
                  </a:lnTo>
                  <a:lnTo>
                    <a:pt x="37" y="69"/>
                  </a:lnTo>
                  <a:lnTo>
                    <a:pt x="42" y="71"/>
                  </a:lnTo>
                  <a:lnTo>
                    <a:pt x="45" y="76"/>
                  </a:lnTo>
                  <a:lnTo>
                    <a:pt x="45" y="78"/>
                  </a:lnTo>
                  <a:lnTo>
                    <a:pt x="49" y="78"/>
                  </a:lnTo>
                  <a:lnTo>
                    <a:pt x="54" y="78"/>
                  </a:lnTo>
                  <a:lnTo>
                    <a:pt x="59" y="78"/>
                  </a:lnTo>
                  <a:lnTo>
                    <a:pt x="61" y="78"/>
                  </a:lnTo>
                  <a:lnTo>
                    <a:pt x="63" y="76"/>
                  </a:lnTo>
                  <a:lnTo>
                    <a:pt x="66" y="78"/>
                  </a:lnTo>
                  <a:lnTo>
                    <a:pt x="68" y="76"/>
                  </a:lnTo>
                  <a:lnTo>
                    <a:pt x="68" y="74"/>
                  </a:lnTo>
                  <a:lnTo>
                    <a:pt x="71" y="71"/>
                  </a:lnTo>
                  <a:lnTo>
                    <a:pt x="73" y="71"/>
                  </a:lnTo>
                  <a:lnTo>
                    <a:pt x="73" y="69"/>
                  </a:lnTo>
                  <a:lnTo>
                    <a:pt x="75" y="69"/>
                  </a:lnTo>
                  <a:lnTo>
                    <a:pt x="78" y="69"/>
                  </a:lnTo>
                  <a:lnTo>
                    <a:pt x="80" y="71"/>
                  </a:lnTo>
                  <a:lnTo>
                    <a:pt x="82" y="71"/>
                  </a:lnTo>
                  <a:lnTo>
                    <a:pt x="85" y="71"/>
                  </a:lnTo>
                  <a:lnTo>
                    <a:pt x="85" y="69"/>
                  </a:lnTo>
                  <a:lnTo>
                    <a:pt x="82" y="66"/>
                  </a:lnTo>
                  <a:lnTo>
                    <a:pt x="82" y="64"/>
                  </a:lnTo>
                  <a:lnTo>
                    <a:pt x="82" y="62"/>
                  </a:lnTo>
                  <a:lnTo>
                    <a:pt x="85" y="57"/>
                  </a:lnTo>
                  <a:lnTo>
                    <a:pt x="85" y="55"/>
                  </a:lnTo>
                  <a:lnTo>
                    <a:pt x="85" y="52"/>
                  </a:lnTo>
                  <a:lnTo>
                    <a:pt x="85" y="50"/>
                  </a:lnTo>
                  <a:lnTo>
                    <a:pt x="85" y="48"/>
                  </a:lnTo>
                  <a:lnTo>
                    <a:pt x="87" y="45"/>
                  </a:lnTo>
                  <a:lnTo>
                    <a:pt x="92" y="45"/>
                  </a:lnTo>
                  <a:lnTo>
                    <a:pt x="92" y="43"/>
                  </a:lnTo>
                  <a:lnTo>
                    <a:pt x="94" y="43"/>
                  </a:lnTo>
                  <a:lnTo>
                    <a:pt x="99" y="43"/>
                  </a:lnTo>
                  <a:lnTo>
                    <a:pt x="101" y="36"/>
                  </a:lnTo>
                  <a:lnTo>
                    <a:pt x="99" y="36"/>
                  </a:lnTo>
                  <a:lnTo>
                    <a:pt x="97" y="36"/>
                  </a:lnTo>
                  <a:lnTo>
                    <a:pt x="97" y="33"/>
                  </a:lnTo>
                  <a:lnTo>
                    <a:pt x="97" y="31"/>
                  </a:lnTo>
                  <a:lnTo>
                    <a:pt x="99" y="29"/>
                  </a:lnTo>
                  <a:lnTo>
                    <a:pt x="101" y="29"/>
                  </a:lnTo>
                  <a:lnTo>
                    <a:pt x="101" y="26"/>
                  </a:lnTo>
                  <a:lnTo>
                    <a:pt x="101" y="26"/>
                  </a:lnTo>
                  <a:lnTo>
                    <a:pt x="99" y="24"/>
                  </a:lnTo>
                  <a:lnTo>
                    <a:pt x="97" y="24"/>
                  </a:lnTo>
                  <a:lnTo>
                    <a:pt x="89" y="17"/>
                  </a:lnTo>
                  <a:lnTo>
                    <a:pt x="82" y="12"/>
                  </a:lnTo>
                  <a:lnTo>
                    <a:pt x="78" y="12"/>
                  </a:lnTo>
                  <a:lnTo>
                    <a:pt x="75" y="10"/>
                  </a:lnTo>
                  <a:lnTo>
                    <a:pt x="71" y="3"/>
                  </a:lnTo>
                  <a:lnTo>
                    <a:pt x="71" y="0"/>
                  </a:lnTo>
                  <a:lnTo>
                    <a:pt x="66" y="3"/>
                  </a:lnTo>
                  <a:lnTo>
                    <a:pt x="63" y="5"/>
                  </a:lnTo>
                  <a:lnTo>
                    <a:pt x="59" y="7"/>
                  </a:lnTo>
                  <a:lnTo>
                    <a:pt x="49" y="3"/>
                  </a:lnTo>
                  <a:lnTo>
                    <a:pt x="47" y="3"/>
                  </a:lnTo>
                  <a:lnTo>
                    <a:pt x="40" y="3"/>
                  </a:lnTo>
                  <a:lnTo>
                    <a:pt x="37" y="3"/>
                  </a:lnTo>
                  <a:lnTo>
                    <a:pt x="35" y="3"/>
                  </a:lnTo>
                  <a:lnTo>
                    <a:pt x="33" y="5"/>
                  </a:lnTo>
                  <a:lnTo>
                    <a:pt x="30" y="5"/>
                  </a:lnTo>
                  <a:lnTo>
                    <a:pt x="28" y="3"/>
                  </a:lnTo>
                  <a:lnTo>
                    <a:pt x="26" y="3"/>
                  </a:lnTo>
                  <a:lnTo>
                    <a:pt x="21" y="3"/>
                  </a:lnTo>
                  <a:lnTo>
                    <a:pt x="14" y="5"/>
                  </a:lnTo>
                  <a:lnTo>
                    <a:pt x="9" y="7"/>
                  </a:lnTo>
                  <a:lnTo>
                    <a:pt x="7" y="12"/>
                  </a:lnTo>
                  <a:lnTo>
                    <a:pt x="4" y="15"/>
                  </a:lnTo>
                  <a:lnTo>
                    <a:pt x="0" y="1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1" name="Freeform 1074">
              <a:extLst>
                <a:ext uri="{FF2B5EF4-FFF2-40B4-BE49-F238E27FC236}">
                  <a16:creationId xmlns:a16="http://schemas.microsoft.com/office/drawing/2014/main" id="{52DC832E-A2B7-40CC-B431-DC3B05C22F70}"/>
                </a:ext>
              </a:extLst>
            </p:cNvPr>
            <p:cNvSpPr>
              <a:spLocks/>
            </p:cNvSpPr>
            <p:nvPr/>
          </p:nvSpPr>
          <p:spPr bwMode="auto">
            <a:xfrm>
              <a:off x="2432889" y="4060790"/>
              <a:ext cx="4763" cy="4763"/>
            </a:xfrm>
            <a:custGeom>
              <a:avLst/>
              <a:gdLst>
                <a:gd name="T0" fmla="*/ 3 w 3"/>
                <a:gd name="T1" fmla="*/ 3 h 3"/>
                <a:gd name="T2" fmla="*/ 3 w 3"/>
                <a:gd name="T3" fmla="*/ 3 h 3"/>
                <a:gd name="T4" fmla="*/ 3 w 3"/>
                <a:gd name="T5" fmla="*/ 3 h 3"/>
                <a:gd name="T6" fmla="*/ 3 w 3"/>
                <a:gd name="T7" fmla="*/ 3 h 3"/>
                <a:gd name="T8" fmla="*/ 0 w 3"/>
                <a:gd name="T9" fmla="*/ 0 h 3"/>
                <a:gd name="T10" fmla="*/ 0 w 3"/>
                <a:gd name="T11" fmla="*/ 0 h 3"/>
                <a:gd name="T12" fmla="*/ 0 w 3"/>
                <a:gd name="T13" fmla="*/ 0 h 3"/>
                <a:gd name="T14" fmla="*/ 3 w 3"/>
                <a:gd name="T15" fmla="*/ 3 h 3"/>
                <a:gd name="T16" fmla="*/ 3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3"/>
                  </a:moveTo>
                  <a:lnTo>
                    <a:pt x="3" y="3"/>
                  </a:lnTo>
                  <a:lnTo>
                    <a:pt x="3" y="3"/>
                  </a:lnTo>
                  <a:lnTo>
                    <a:pt x="3" y="3"/>
                  </a:lnTo>
                  <a:lnTo>
                    <a:pt x="0" y="0"/>
                  </a:lnTo>
                  <a:lnTo>
                    <a:pt x="0" y="0"/>
                  </a:lnTo>
                  <a:lnTo>
                    <a:pt x="0" y="0"/>
                  </a:lnTo>
                  <a:lnTo>
                    <a:pt x="3" y="3"/>
                  </a:lnTo>
                  <a:lnTo>
                    <a:pt x="3"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2" name="Freeform 1075">
              <a:extLst>
                <a:ext uri="{FF2B5EF4-FFF2-40B4-BE49-F238E27FC236}">
                  <a16:creationId xmlns:a16="http://schemas.microsoft.com/office/drawing/2014/main" id="{7C8BF920-61CF-409D-B902-403F981DCD83}"/>
                </a:ext>
              </a:extLst>
            </p:cNvPr>
            <p:cNvSpPr>
              <a:spLocks/>
            </p:cNvSpPr>
            <p:nvPr/>
          </p:nvSpPr>
          <p:spPr bwMode="auto">
            <a:xfrm>
              <a:off x="2432889" y="4060790"/>
              <a:ext cx="4763" cy="4763"/>
            </a:xfrm>
            <a:custGeom>
              <a:avLst/>
              <a:gdLst>
                <a:gd name="T0" fmla="*/ 3 w 3"/>
                <a:gd name="T1" fmla="*/ 3 h 3"/>
                <a:gd name="T2" fmla="*/ 3 w 3"/>
                <a:gd name="T3" fmla="*/ 3 h 3"/>
                <a:gd name="T4" fmla="*/ 3 w 3"/>
                <a:gd name="T5" fmla="*/ 3 h 3"/>
                <a:gd name="T6" fmla="*/ 3 w 3"/>
                <a:gd name="T7" fmla="*/ 3 h 3"/>
                <a:gd name="T8" fmla="*/ 0 w 3"/>
                <a:gd name="T9" fmla="*/ 0 h 3"/>
                <a:gd name="T10" fmla="*/ 0 w 3"/>
                <a:gd name="T11" fmla="*/ 0 h 3"/>
                <a:gd name="T12" fmla="*/ 0 w 3"/>
                <a:gd name="T13" fmla="*/ 0 h 3"/>
                <a:gd name="T14" fmla="*/ 3 w 3"/>
                <a:gd name="T15" fmla="*/ 3 h 3"/>
                <a:gd name="T16" fmla="*/ 3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3"/>
                  </a:moveTo>
                  <a:lnTo>
                    <a:pt x="3" y="3"/>
                  </a:lnTo>
                  <a:lnTo>
                    <a:pt x="3" y="3"/>
                  </a:lnTo>
                  <a:lnTo>
                    <a:pt x="3" y="3"/>
                  </a:lnTo>
                  <a:lnTo>
                    <a:pt x="0" y="0"/>
                  </a:lnTo>
                  <a:lnTo>
                    <a:pt x="0" y="0"/>
                  </a:lnTo>
                  <a:lnTo>
                    <a:pt x="0" y="0"/>
                  </a:lnTo>
                  <a:lnTo>
                    <a:pt x="3" y="3"/>
                  </a:lnTo>
                  <a:lnTo>
                    <a:pt x="3"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3" name="Freeform 1076">
              <a:extLst>
                <a:ext uri="{FF2B5EF4-FFF2-40B4-BE49-F238E27FC236}">
                  <a16:creationId xmlns:a16="http://schemas.microsoft.com/office/drawing/2014/main" id="{CC7D3049-1E37-4955-929B-2C52F03CF00F}"/>
                </a:ext>
              </a:extLst>
            </p:cNvPr>
            <p:cNvSpPr>
              <a:spLocks/>
            </p:cNvSpPr>
            <p:nvPr/>
          </p:nvSpPr>
          <p:spPr bwMode="auto">
            <a:xfrm>
              <a:off x="2432889" y="4057616"/>
              <a:ext cx="4763" cy="3175"/>
            </a:xfrm>
            <a:custGeom>
              <a:avLst/>
              <a:gdLst>
                <a:gd name="T0" fmla="*/ 0 w 3"/>
                <a:gd name="T1" fmla="*/ 0 h 2"/>
                <a:gd name="T2" fmla="*/ 0 w 3"/>
                <a:gd name="T3" fmla="*/ 0 h 2"/>
                <a:gd name="T4" fmla="*/ 0 w 3"/>
                <a:gd name="T5" fmla="*/ 2 h 2"/>
                <a:gd name="T6" fmla="*/ 0 w 3"/>
                <a:gd name="T7" fmla="*/ 2 h 2"/>
                <a:gd name="T8" fmla="*/ 3 w 3"/>
                <a:gd name="T9" fmla="*/ 2 h 2"/>
                <a:gd name="T10" fmla="*/ 3 w 3"/>
                <a:gd name="T11" fmla="*/ 2 h 2"/>
                <a:gd name="T12" fmla="*/ 3 w 3"/>
                <a:gd name="T13" fmla="*/ 2 h 2"/>
                <a:gd name="T14" fmla="*/ 3 w 3"/>
                <a:gd name="T15" fmla="*/ 2 h 2"/>
                <a:gd name="T16" fmla="*/ 3 w 3"/>
                <a:gd name="T17" fmla="*/ 2 h 2"/>
                <a:gd name="T18" fmla="*/ 3 w 3"/>
                <a:gd name="T19" fmla="*/ 0 h 2"/>
                <a:gd name="T20" fmla="*/ 0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0" y="0"/>
                  </a:moveTo>
                  <a:lnTo>
                    <a:pt x="0" y="0"/>
                  </a:lnTo>
                  <a:lnTo>
                    <a:pt x="0" y="2"/>
                  </a:lnTo>
                  <a:lnTo>
                    <a:pt x="0" y="2"/>
                  </a:lnTo>
                  <a:lnTo>
                    <a:pt x="3" y="2"/>
                  </a:lnTo>
                  <a:lnTo>
                    <a:pt x="3" y="2"/>
                  </a:lnTo>
                  <a:lnTo>
                    <a:pt x="3" y="2"/>
                  </a:lnTo>
                  <a:lnTo>
                    <a:pt x="3" y="2"/>
                  </a:lnTo>
                  <a:lnTo>
                    <a:pt x="3" y="2"/>
                  </a:lnTo>
                  <a:lnTo>
                    <a:pt x="3"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4" name="Freeform 1077">
              <a:extLst>
                <a:ext uri="{FF2B5EF4-FFF2-40B4-BE49-F238E27FC236}">
                  <a16:creationId xmlns:a16="http://schemas.microsoft.com/office/drawing/2014/main" id="{CB12A688-307D-4769-B04E-4466360221AB}"/>
                </a:ext>
              </a:extLst>
            </p:cNvPr>
            <p:cNvSpPr>
              <a:spLocks/>
            </p:cNvSpPr>
            <p:nvPr/>
          </p:nvSpPr>
          <p:spPr bwMode="auto">
            <a:xfrm>
              <a:off x="2432889" y="4057616"/>
              <a:ext cx="4763" cy="3175"/>
            </a:xfrm>
            <a:custGeom>
              <a:avLst/>
              <a:gdLst>
                <a:gd name="T0" fmla="*/ 0 w 3"/>
                <a:gd name="T1" fmla="*/ 0 h 2"/>
                <a:gd name="T2" fmla="*/ 0 w 3"/>
                <a:gd name="T3" fmla="*/ 0 h 2"/>
                <a:gd name="T4" fmla="*/ 0 w 3"/>
                <a:gd name="T5" fmla="*/ 2 h 2"/>
                <a:gd name="T6" fmla="*/ 0 w 3"/>
                <a:gd name="T7" fmla="*/ 2 h 2"/>
                <a:gd name="T8" fmla="*/ 3 w 3"/>
                <a:gd name="T9" fmla="*/ 2 h 2"/>
                <a:gd name="T10" fmla="*/ 3 w 3"/>
                <a:gd name="T11" fmla="*/ 2 h 2"/>
                <a:gd name="T12" fmla="*/ 3 w 3"/>
                <a:gd name="T13" fmla="*/ 2 h 2"/>
                <a:gd name="T14" fmla="*/ 3 w 3"/>
                <a:gd name="T15" fmla="*/ 2 h 2"/>
                <a:gd name="T16" fmla="*/ 3 w 3"/>
                <a:gd name="T17" fmla="*/ 2 h 2"/>
                <a:gd name="T18" fmla="*/ 3 w 3"/>
                <a:gd name="T19" fmla="*/ 0 h 2"/>
                <a:gd name="T20" fmla="*/ 0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0" y="0"/>
                  </a:moveTo>
                  <a:lnTo>
                    <a:pt x="0" y="0"/>
                  </a:lnTo>
                  <a:lnTo>
                    <a:pt x="0" y="2"/>
                  </a:lnTo>
                  <a:lnTo>
                    <a:pt x="0" y="2"/>
                  </a:lnTo>
                  <a:lnTo>
                    <a:pt x="3" y="2"/>
                  </a:lnTo>
                  <a:lnTo>
                    <a:pt x="3" y="2"/>
                  </a:lnTo>
                  <a:lnTo>
                    <a:pt x="3" y="2"/>
                  </a:lnTo>
                  <a:lnTo>
                    <a:pt x="3" y="2"/>
                  </a:lnTo>
                  <a:lnTo>
                    <a:pt x="3" y="2"/>
                  </a:lnTo>
                  <a:lnTo>
                    <a:pt x="3"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5" name="Freeform 1078">
              <a:extLst>
                <a:ext uri="{FF2B5EF4-FFF2-40B4-BE49-F238E27FC236}">
                  <a16:creationId xmlns:a16="http://schemas.microsoft.com/office/drawing/2014/main" id="{BCE6314C-4381-44BF-8343-D9BE4F45B8BD}"/>
                </a:ext>
              </a:extLst>
            </p:cNvPr>
            <p:cNvSpPr>
              <a:spLocks/>
            </p:cNvSpPr>
            <p:nvPr/>
          </p:nvSpPr>
          <p:spPr bwMode="auto">
            <a:xfrm>
              <a:off x="2437653" y="4060790"/>
              <a:ext cx="3175" cy="7938"/>
            </a:xfrm>
            <a:custGeom>
              <a:avLst/>
              <a:gdLst>
                <a:gd name="T0" fmla="*/ 2 w 2"/>
                <a:gd name="T1" fmla="*/ 5 h 5"/>
                <a:gd name="T2" fmla="*/ 2 w 2"/>
                <a:gd name="T3" fmla="*/ 3 h 5"/>
                <a:gd name="T4" fmla="*/ 2 w 2"/>
                <a:gd name="T5" fmla="*/ 3 h 5"/>
                <a:gd name="T6" fmla="*/ 2 w 2"/>
                <a:gd name="T7" fmla="*/ 0 h 5"/>
                <a:gd name="T8" fmla="*/ 2 w 2"/>
                <a:gd name="T9" fmla="*/ 0 h 5"/>
                <a:gd name="T10" fmla="*/ 0 w 2"/>
                <a:gd name="T11" fmla="*/ 3 h 5"/>
                <a:gd name="T12" fmla="*/ 2 w 2"/>
                <a:gd name="T13" fmla="*/ 3 h 5"/>
                <a:gd name="T14" fmla="*/ 2 w 2"/>
                <a:gd name="T15" fmla="*/ 3 h 5"/>
                <a:gd name="T16" fmla="*/ 2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5"/>
                  </a:moveTo>
                  <a:lnTo>
                    <a:pt x="2" y="3"/>
                  </a:lnTo>
                  <a:lnTo>
                    <a:pt x="2" y="3"/>
                  </a:lnTo>
                  <a:lnTo>
                    <a:pt x="2" y="0"/>
                  </a:lnTo>
                  <a:lnTo>
                    <a:pt x="2" y="0"/>
                  </a:lnTo>
                  <a:lnTo>
                    <a:pt x="0" y="3"/>
                  </a:lnTo>
                  <a:lnTo>
                    <a:pt x="2" y="3"/>
                  </a:lnTo>
                  <a:lnTo>
                    <a:pt x="2" y="3"/>
                  </a:lnTo>
                  <a:lnTo>
                    <a:pt x="2"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6" name="Freeform 1079">
              <a:extLst>
                <a:ext uri="{FF2B5EF4-FFF2-40B4-BE49-F238E27FC236}">
                  <a16:creationId xmlns:a16="http://schemas.microsoft.com/office/drawing/2014/main" id="{E5D61FD7-5A4D-4753-A7C5-3545FC534DB9}"/>
                </a:ext>
              </a:extLst>
            </p:cNvPr>
            <p:cNvSpPr>
              <a:spLocks/>
            </p:cNvSpPr>
            <p:nvPr/>
          </p:nvSpPr>
          <p:spPr bwMode="auto">
            <a:xfrm>
              <a:off x="2437653" y="4060790"/>
              <a:ext cx="3175" cy="7938"/>
            </a:xfrm>
            <a:custGeom>
              <a:avLst/>
              <a:gdLst>
                <a:gd name="T0" fmla="*/ 2 w 2"/>
                <a:gd name="T1" fmla="*/ 5 h 5"/>
                <a:gd name="T2" fmla="*/ 2 w 2"/>
                <a:gd name="T3" fmla="*/ 3 h 5"/>
                <a:gd name="T4" fmla="*/ 2 w 2"/>
                <a:gd name="T5" fmla="*/ 3 h 5"/>
                <a:gd name="T6" fmla="*/ 2 w 2"/>
                <a:gd name="T7" fmla="*/ 0 h 5"/>
                <a:gd name="T8" fmla="*/ 2 w 2"/>
                <a:gd name="T9" fmla="*/ 0 h 5"/>
                <a:gd name="T10" fmla="*/ 0 w 2"/>
                <a:gd name="T11" fmla="*/ 3 h 5"/>
                <a:gd name="T12" fmla="*/ 2 w 2"/>
                <a:gd name="T13" fmla="*/ 3 h 5"/>
                <a:gd name="T14" fmla="*/ 2 w 2"/>
                <a:gd name="T15" fmla="*/ 3 h 5"/>
                <a:gd name="T16" fmla="*/ 2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5"/>
                  </a:moveTo>
                  <a:lnTo>
                    <a:pt x="2" y="3"/>
                  </a:lnTo>
                  <a:lnTo>
                    <a:pt x="2" y="3"/>
                  </a:lnTo>
                  <a:lnTo>
                    <a:pt x="2" y="0"/>
                  </a:lnTo>
                  <a:lnTo>
                    <a:pt x="2" y="0"/>
                  </a:lnTo>
                  <a:lnTo>
                    <a:pt x="0" y="3"/>
                  </a:lnTo>
                  <a:lnTo>
                    <a:pt x="2" y="3"/>
                  </a:lnTo>
                  <a:lnTo>
                    <a:pt x="2" y="3"/>
                  </a:lnTo>
                  <a:lnTo>
                    <a:pt x="2"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7" name="Freeform 1080">
              <a:extLst>
                <a:ext uri="{FF2B5EF4-FFF2-40B4-BE49-F238E27FC236}">
                  <a16:creationId xmlns:a16="http://schemas.microsoft.com/office/drawing/2014/main" id="{7748ED9D-7477-4AC8-B758-B3DFA7D26F8E}"/>
                </a:ext>
              </a:extLst>
            </p:cNvPr>
            <p:cNvSpPr>
              <a:spLocks/>
            </p:cNvSpPr>
            <p:nvPr/>
          </p:nvSpPr>
          <p:spPr bwMode="auto">
            <a:xfrm>
              <a:off x="3783850" y="3889341"/>
              <a:ext cx="7938" cy="11113"/>
            </a:xfrm>
            <a:custGeom>
              <a:avLst/>
              <a:gdLst>
                <a:gd name="T0" fmla="*/ 0 w 5"/>
                <a:gd name="T1" fmla="*/ 0 h 7"/>
                <a:gd name="T2" fmla="*/ 2 w 5"/>
                <a:gd name="T3" fmla="*/ 7 h 7"/>
                <a:gd name="T4" fmla="*/ 5 w 5"/>
                <a:gd name="T5" fmla="*/ 7 h 7"/>
                <a:gd name="T6" fmla="*/ 5 w 5"/>
                <a:gd name="T7" fmla="*/ 4 h 7"/>
                <a:gd name="T8" fmla="*/ 5 w 5"/>
                <a:gd name="T9" fmla="*/ 2 h 7"/>
                <a:gd name="T10" fmla="*/ 5 w 5"/>
                <a:gd name="T11" fmla="*/ 0 h 7"/>
                <a:gd name="T12" fmla="*/ 2 w 5"/>
                <a:gd name="T13" fmla="*/ 0 h 7"/>
                <a:gd name="T14" fmla="*/ 0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0"/>
                  </a:moveTo>
                  <a:lnTo>
                    <a:pt x="2" y="7"/>
                  </a:lnTo>
                  <a:lnTo>
                    <a:pt x="5" y="7"/>
                  </a:lnTo>
                  <a:lnTo>
                    <a:pt x="5" y="4"/>
                  </a:lnTo>
                  <a:lnTo>
                    <a:pt x="5" y="2"/>
                  </a:lnTo>
                  <a:lnTo>
                    <a:pt x="5" y="0"/>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8" name="Freeform 1081">
              <a:extLst>
                <a:ext uri="{FF2B5EF4-FFF2-40B4-BE49-F238E27FC236}">
                  <a16:creationId xmlns:a16="http://schemas.microsoft.com/office/drawing/2014/main" id="{0BC7D9EA-E455-4886-9BC3-76363A05311F}"/>
                </a:ext>
              </a:extLst>
            </p:cNvPr>
            <p:cNvSpPr>
              <a:spLocks/>
            </p:cNvSpPr>
            <p:nvPr/>
          </p:nvSpPr>
          <p:spPr bwMode="auto">
            <a:xfrm>
              <a:off x="3783850" y="3889341"/>
              <a:ext cx="7938" cy="11113"/>
            </a:xfrm>
            <a:custGeom>
              <a:avLst/>
              <a:gdLst>
                <a:gd name="T0" fmla="*/ 0 w 5"/>
                <a:gd name="T1" fmla="*/ 0 h 7"/>
                <a:gd name="T2" fmla="*/ 2 w 5"/>
                <a:gd name="T3" fmla="*/ 7 h 7"/>
                <a:gd name="T4" fmla="*/ 5 w 5"/>
                <a:gd name="T5" fmla="*/ 7 h 7"/>
                <a:gd name="T6" fmla="*/ 5 w 5"/>
                <a:gd name="T7" fmla="*/ 4 h 7"/>
                <a:gd name="T8" fmla="*/ 5 w 5"/>
                <a:gd name="T9" fmla="*/ 2 h 7"/>
                <a:gd name="T10" fmla="*/ 5 w 5"/>
                <a:gd name="T11" fmla="*/ 0 h 7"/>
                <a:gd name="T12" fmla="*/ 2 w 5"/>
                <a:gd name="T13" fmla="*/ 0 h 7"/>
                <a:gd name="T14" fmla="*/ 0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0"/>
                  </a:moveTo>
                  <a:lnTo>
                    <a:pt x="2" y="7"/>
                  </a:lnTo>
                  <a:lnTo>
                    <a:pt x="5" y="7"/>
                  </a:lnTo>
                  <a:lnTo>
                    <a:pt x="5" y="4"/>
                  </a:lnTo>
                  <a:lnTo>
                    <a:pt x="5" y="2"/>
                  </a:lnTo>
                  <a:lnTo>
                    <a:pt x="5" y="0"/>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89" name="Freeform 1098">
              <a:extLst>
                <a:ext uri="{FF2B5EF4-FFF2-40B4-BE49-F238E27FC236}">
                  <a16:creationId xmlns:a16="http://schemas.microsoft.com/office/drawing/2014/main" id="{29303746-F846-4258-B270-A5980FC9E887}"/>
                </a:ext>
              </a:extLst>
            </p:cNvPr>
            <p:cNvSpPr>
              <a:spLocks/>
            </p:cNvSpPr>
            <p:nvPr/>
          </p:nvSpPr>
          <p:spPr bwMode="auto">
            <a:xfrm>
              <a:off x="1915365" y="2651089"/>
              <a:ext cx="271463" cy="228600"/>
            </a:xfrm>
            <a:custGeom>
              <a:avLst/>
              <a:gdLst>
                <a:gd name="T0" fmla="*/ 3 w 171"/>
                <a:gd name="T1" fmla="*/ 118 h 144"/>
                <a:gd name="T2" fmla="*/ 10 w 171"/>
                <a:gd name="T3" fmla="*/ 109 h 144"/>
                <a:gd name="T4" fmla="*/ 12 w 171"/>
                <a:gd name="T5" fmla="*/ 92 h 144"/>
                <a:gd name="T6" fmla="*/ 12 w 171"/>
                <a:gd name="T7" fmla="*/ 66 h 144"/>
                <a:gd name="T8" fmla="*/ 24 w 171"/>
                <a:gd name="T9" fmla="*/ 66 h 144"/>
                <a:gd name="T10" fmla="*/ 31 w 171"/>
                <a:gd name="T11" fmla="*/ 66 h 144"/>
                <a:gd name="T12" fmla="*/ 36 w 171"/>
                <a:gd name="T13" fmla="*/ 59 h 144"/>
                <a:gd name="T14" fmla="*/ 41 w 171"/>
                <a:gd name="T15" fmla="*/ 57 h 144"/>
                <a:gd name="T16" fmla="*/ 48 w 171"/>
                <a:gd name="T17" fmla="*/ 59 h 144"/>
                <a:gd name="T18" fmla="*/ 45 w 171"/>
                <a:gd name="T19" fmla="*/ 52 h 144"/>
                <a:gd name="T20" fmla="*/ 48 w 171"/>
                <a:gd name="T21" fmla="*/ 43 h 144"/>
                <a:gd name="T22" fmla="*/ 48 w 171"/>
                <a:gd name="T23" fmla="*/ 36 h 144"/>
                <a:gd name="T24" fmla="*/ 55 w 171"/>
                <a:gd name="T25" fmla="*/ 31 h 144"/>
                <a:gd name="T26" fmla="*/ 64 w 171"/>
                <a:gd name="T27" fmla="*/ 24 h 144"/>
                <a:gd name="T28" fmla="*/ 60 w 171"/>
                <a:gd name="T29" fmla="*/ 21 h 144"/>
                <a:gd name="T30" fmla="*/ 64 w 171"/>
                <a:gd name="T31" fmla="*/ 17 h 144"/>
                <a:gd name="T32" fmla="*/ 67 w 171"/>
                <a:gd name="T33" fmla="*/ 14 h 144"/>
                <a:gd name="T34" fmla="*/ 71 w 171"/>
                <a:gd name="T35" fmla="*/ 10 h 144"/>
                <a:gd name="T36" fmla="*/ 81 w 171"/>
                <a:gd name="T37" fmla="*/ 7 h 144"/>
                <a:gd name="T38" fmla="*/ 88 w 171"/>
                <a:gd name="T39" fmla="*/ 0 h 144"/>
                <a:gd name="T40" fmla="*/ 97 w 171"/>
                <a:gd name="T41" fmla="*/ 0 h 144"/>
                <a:gd name="T42" fmla="*/ 107 w 171"/>
                <a:gd name="T43" fmla="*/ 3 h 144"/>
                <a:gd name="T44" fmla="*/ 112 w 171"/>
                <a:gd name="T45" fmla="*/ 12 h 144"/>
                <a:gd name="T46" fmla="*/ 121 w 171"/>
                <a:gd name="T47" fmla="*/ 7 h 144"/>
                <a:gd name="T48" fmla="*/ 130 w 171"/>
                <a:gd name="T49" fmla="*/ 10 h 144"/>
                <a:gd name="T50" fmla="*/ 137 w 171"/>
                <a:gd name="T51" fmla="*/ 17 h 144"/>
                <a:gd name="T52" fmla="*/ 137 w 171"/>
                <a:gd name="T53" fmla="*/ 24 h 144"/>
                <a:gd name="T54" fmla="*/ 140 w 171"/>
                <a:gd name="T55" fmla="*/ 31 h 144"/>
                <a:gd name="T56" fmla="*/ 135 w 171"/>
                <a:gd name="T57" fmla="*/ 38 h 144"/>
                <a:gd name="T58" fmla="*/ 142 w 171"/>
                <a:gd name="T59" fmla="*/ 50 h 144"/>
                <a:gd name="T60" fmla="*/ 152 w 171"/>
                <a:gd name="T61" fmla="*/ 62 h 144"/>
                <a:gd name="T62" fmla="*/ 154 w 171"/>
                <a:gd name="T63" fmla="*/ 69 h 144"/>
                <a:gd name="T64" fmla="*/ 163 w 171"/>
                <a:gd name="T65" fmla="*/ 71 h 144"/>
                <a:gd name="T66" fmla="*/ 168 w 171"/>
                <a:gd name="T67" fmla="*/ 76 h 144"/>
                <a:gd name="T68" fmla="*/ 168 w 171"/>
                <a:gd name="T69" fmla="*/ 83 h 144"/>
                <a:gd name="T70" fmla="*/ 161 w 171"/>
                <a:gd name="T71" fmla="*/ 90 h 144"/>
                <a:gd name="T72" fmla="*/ 149 w 171"/>
                <a:gd name="T73" fmla="*/ 85 h 144"/>
                <a:gd name="T74" fmla="*/ 145 w 171"/>
                <a:gd name="T75" fmla="*/ 90 h 144"/>
                <a:gd name="T76" fmla="*/ 149 w 171"/>
                <a:gd name="T77" fmla="*/ 99 h 144"/>
                <a:gd name="T78" fmla="*/ 149 w 171"/>
                <a:gd name="T79" fmla="*/ 104 h 144"/>
                <a:gd name="T80" fmla="*/ 152 w 171"/>
                <a:gd name="T81" fmla="*/ 111 h 144"/>
                <a:gd name="T82" fmla="*/ 145 w 171"/>
                <a:gd name="T83" fmla="*/ 121 h 144"/>
                <a:gd name="T84" fmla="*/ 133 w 171"/>
                <a:gd name="T85" fmla="*/ 128 h 144"/>
                <a:gd name="T86" fmla="*/ 133 w 171"/>
                <a:gd name="T87" fmla="*/ 135 h 144"/>
                <a:gd name="T88" fmla="*/ 128 w 171"/>
                <a:gd name="T89" fmla="*/ 144 h 144"/>
                <a:gd name="T90" fmla="*/ 123 w 171"/>
                <a:gd name="T91" fmla="*/ 140 h 144"/>
                <a:gd name="T92" fmla="*/ 112 w 171"/>
                <a:gd name="T93" fmla="*/ 142 h 144"/>
                <a:gd name="T94" fmla="*/ 104 w 171"/>
                <a:gd name="T95" fmla="*/ 135 h 144"/>
                <a:gd name="T96" fmla="*/ 95 w 171"/>
                <a:gd name="T97" fmla="*/ 137 h 144"/>
                <a:gd name="T98" fmla="*/ 88 w 171"/>
                <a:gd name="T99" fmla="*/ 135 h 144"/>
                <a:gd name="T100" fmla="*/ 81 w 171"/>
                <a:gd name="T101" fmla="*/ 137 h 144"/>
                <a:gd name="T102" fmla="*/ 78 w 171"/>
                <a:gd name="T103" fmla="*/ 135 h 144"/>
                <a:gd name="T104" fmla="*/ 69 w 171"/>
                <a:gd name="T105" fmla="*/ 132 h 144"/>
                <a:gd name="T106" fmla="*/ 62 w 171"/>
                <a:gd name="T107" fmla="*/ 128 h 144"/>
                <a:gd name="T108" fmla="*/ 52 w 171"/>
                <a:gd name="T109" fmla="*/ 128 h 144"/>
                <a:gd name="T110" fmla="*/ 41 w 171"/>
                <a:gd name="T111" fmla="*/ 125 h 144"/>
                <a:gd name="T112" fmla="*/ 22 w 171"/>
                <a:gd name="T113" fmla="*/ 128 h 144"/>
                <a:gd name="T114" fmla="*/ 15 w 171"/>
                <a:gd name="T115" fmla="*/ 132 h 144"/>
                <a:gd name="T116" fmla="*/ 8 w 171"/>
                <a:gd name="T117" fmla="*/ 13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44">
                  <a:moveTo>
                    <a:pt x="8" y="135"/>
                  </a:moveTo>
                  <a:lnTo>
                    <a:pt x="8" y="123"/>
                  </a:lnTo>
                  <a:lnTo>
                    <a:pt x="3" y="118"/>
                  </a:lnTo>
                  <a:lnTo>
                    <a:pt x="0" y="114"/>
                  </a:lnTo>
                  <a:lnTo>
                    <a:pt x="5" y="111"/>
                  </a:lnTo>
                  <a:lnTo>
                    <a:pt x="10" y="109"/>
                  </a:lnTo>
                  <a:lnTo>
                    <a:pt x="12" y="102"/>
                  </a:lnTo>
                  <a:lnTo>
                    <a:pt x="15" y="97"/>
                  </a:lnTo>
                  <a:lnTo>
                    <a:pt x="12" y="92"/>
                  </a:lnTo>
                  <a:lnTo>
                    <a:pt x="8" y="69"/>
                  </a:lnTo>
                  <a:lnTo>
                    <a:pt x="8" y="66"/>
                  </a:lnTo>
                  <a:lnTo>
                    <a:pt x="12" y="66"/>
                  </a:lnTo>
                  <a:lnTo>
                    <a:pt x="17" y="66"/>
                  </a:lnTo>
                  <a:lnTo>
                    <a:pt x="22" y="66"/>
                  </a:lnTo>
                  <a:lnTo>
                    <a:pt x="24" y="66"/>
                  </a:lnTo>
                  <a:lnTo>
                    <a:pt x="26" y="64"/>
                  </a:lnTo>
                  <a:lnTo>
                    <a:pt x="29" y="66"/>
                  </a:lnTo>
                  <a:lnTo>
                    <a:pt x="31" y="66"/>
                  </a:lnTo>
                  <a:lnTo>
                    <a:pt x="31" y="62"/>
                  </a:lnTo>
                  <a:lnTo>
                    <a:pt x="34" y="59"/>
                  </a:lnTo>
                  <a:lnTo>
                    <a:pt x="36" y="59"/>
                  </a:lnTo>
                  <a:lnTo>
                    <a:pt x="36" y="57"/>
                  </a:lnTo>
                  <a:lnTo>
                    <a:pt x="38" y="57"/>
                  </a:lnTo>
                  <a:lnTo>
                    <a:pt x="41" y="57"/>
                  </a:lnTo>
                  <a:lnTo>
                    <a:pt x="43" y="59"/>
                  </a:lnTo>
                  <a:lnTo>
                    <a:pt x="45" y="59"/>
                  </a:lnTo>
                  <a:lnTo>
                    <a:pt x="48" y="59"/>
                  </a:lnTo>
                  <a:lnTo>
                    <a:pt x="48" y="57"/>
                  </a:lnTo>
                  <a:lnTo>
                    <a:pt x="45" y="54"/>
                  </a:lnTo>
                  <a:lnTo>
                    <a:pt x="45" y="52"/>
                  </a:lnTo>
                  <a:lnTo>
                    <a:pt x="45" y="50"/>
                  </a:lnTo>
                  <a:lnTo>
                    <a:pt x="48" y="45"/>
                  </a:lnTo>
                  <a:lnTo>
                    <a:pt x="48" y="43"/>
                  </a:lnTo>
                  <a:lnTo>
                    <a:pt x="48" y="40"/>
                  </a:lnTo>
                  <a:lnTo>
                    <a:pt x="48" y="38"/>
                  </a:lnTo>
                  <a:lnTo>
                    <a:pt x="48" y="36"/>
                  </a:lnTo>
                  <a:lnTo>
                    <a:pt x="50" y="33"/>
                  </a:lnTo>
                  <a:lnTo>
                    <a:pt x="55" y="33"/>
                  </a:lnTo>
                  <a:lnTo>
                    <a:pt x="55" y="31"/>
                  </a:lnTo>
                  <a:lnTo>
                    <a:pt x="57" y="31"/>
                  </a:lnTo>
                  <a:lnTo>
                    <a:pt x="62" y="31"/>
                  </a:lnTo>
                  <a:lnTo>
                    <a:pt x="64" y="24"/>
                  </a:lnTo>
                  <a:lnTo>
                    <a:pt x="62" y="24"/>
                  </a:lnTo>
                  <a:lnTo>
                    <a:pt x="60" y="24"/>
                  </a:lnTo>
                  <a:lnTo>
                    <a:pt x="60" y="21"/>
                  </a:lnTo>
                  <a:lnTo>
                    <a:pt x="60" y="19"/>
                  </a:lnTo>
                  <a:lnTo>
                    <a:pt x="62" y="17"/>
                  </a:lnTo>
                  <a:lnTo>
                    <a:pt x="64" y="17"/>
                  </a:lnTo>
                  <a:lnTo>
                    <a:pt x="64" y="14"/>
                  </a:lnTo>
                  <a:lnTo>
                    <a:pt x="64" y="14"/>
                  </a:lnTo>
                  <a:lnTo>
                    <a:pt x="67" y="14"/>
                  </a:lnTo>
                  <a:lnTo>
                    <a:pt x="69" y="14"/>
                  </a:lnTo>
                  <a:lnTo>
                    <a:pt x="69" y="12"/>
                  </a:lnTo>
                  <a:lnTo>
                    <a:pt x="71" y="10"/>
                  </a:lnTo>
                  <a:lnTo>
                    <a:pt x="76" y="12"/>
                  </a:lnTo>
                  <a:lnTo>
                    <a:pt x="78" y="12"/>
                  </a:lnTo>
                  <a:lnTo>
                    <a:pt x="81" y="7"/>
                  </a:lnTo>
                  <a:lnTo>
                    <a:pt x="83" y="5"/>
                  </a:lnTo>
                  <a:lnTo>
                    <a:pt x="86" y="0"/>
                  </a:lnTo>
                  <a:lnTo>
                    <a:pt x="88" y="0"/>
                  </a:lnTo>
                  <a:lnTo>
                    <a:pt x="93" y="0"/>
                  </a:lnTo>
                  <a:lnTo>
                    <a:pt x="93" y="3"/>
                  </a:lnTo>
                  <a:lnTo>
                    <a:pt x="97" y="0"/>
                  </a:lnTo>
                  <a:lnTo>
                    <a:pt x="100" y="3"/>
                  </a:lnTo>
                  <a:lnTo>
                    <a:pt x="102" y="5"/>
                  </a:lnTo>
                  <a:lnTo>
                    <a:pt x="107" y="3"/>
                  </a:lnTo>
                  <a:lnTo>
                    <a:pt x="109" y="5"/>
                  </a:lnTo>
                  <a:lnTo>
                    <a:pt x="112" y="7"/>
                  </a:lnTo>
                  <a:lnTo>
                    <a:pt x="112" y="12"/>
                  </a:lnTo>
                  <a:lnTo>
                    <a:pt x="116" y="10"/>
                  </a:lnTo>
                  <a:lnTo>
                    <a:pt x="119" y="10"/>
                  </a:lnTo>
                  <a:lnTo>
                    <a:pt x="121" y="7"/>
                  </a:lnTo>
                  <a:lnTo>
                    <a:pt x="126" y="7"/>
                  </a:lnTo>
                  <a:lnTo>
                    <a:pt x="128" y="7"/>
                  </a:lnTo>
                  <a:lnTo>
                    <a:pt x="130" y="10"/>
                  </a:lnTo>
                  <a:lnTo>
                    <a:pt x="133" y="12"/>
                  </a:lnTo>
                  <a:lnTo>
                    <a:pt x="135" y="17"/>
                  </a:lnTo>
                  <a:lnTo>
                    <a:pt x="137" y="17"/>
                  </a:lnTo>
                  <a:lnTo>
                    <a:pt x="137" y="19"/>
                  </a:lnTo>
                  <a:lnTo>
                    <a:pt x="137" y="21"/>
                  </a:lnTo>
                  <a:lnTo>
                    <a:pt x="137" y="24"/>
                  </a:lnTo>
                  <a:lnTo>
                    <a:pt x="140" y="26"/>
                  </a:lnTo>
                  <a:lnTo>
                    <a:pt x="140" y="29"/>
                  </a:lnTo>
                  <a:lnTo>
                    <a:pt x="140" y="31"/>
                  </a:lnTo>
                  <a:lnTo>
                    <a:pt x="140" y="33"/>
                  </a:lnTo>
                  <a:lnTo>
                    <a:pt x="137" y="36"/>
                  </a:lnTo>
                  <a:lnTo>
                    <a:pt x="135" y="38"/>
                  </a:lnTo>
                  <a:lnTo>
                    <a:pt x="137" y="40"/>
                  </a:lnTo>
                  <a:lnTo>
                    <a:pt x="140" y="45"/>
                  </a:lnTo>
                  <a:lnTo>
                    <a:pt x="142" y="50"/>
                  </a:lnTo>
                  <a:lnTo>
                    <a:pt x="145" y="57"/>
                  </a:lnTo>
                  <a:lnTo>
                    <a:pt x="147" y="59"/>
                  </a:lnTo>
                  <a:lnTo>
                    <a:pt x="152" y="62"/>
                  </a:lnTo>
                  <a:lnTo>
                    <a:pt x="154" y="64"/>
                  </a:lnTo>
                  <a:lnTo>
                    <a:pt x="154" y="66"/>
                  </a:lnTo>
                  <a:lnTo>
                    <a:pt x="154" y="69"/>
                  </a:lnTo>
                  <a:lnTo>
                    <a:pt x="154" y="71"/>
                  </a:lnTo>
                  <a:lnTo>
                    <a:pt x="161" y="69"/>
                  </a:lnTo>
                  <a:lnTo>
                    <a:pt x="163" y="71"/>
                  </a:lnTo>
                  <a:lnTo>
                    <a:pt x="166" y="71"/>
                  </a:lnTo>
                  <a:lnTo>
                    <a:pt x="166" y="73"/>
                  </a:lnTo>
                  <a:lnTo>
                    <a:pt x="168" y="76"/>
                  </a:lnTo>
                  <a:lnTo>
                    <a:pt x="171" y="76"/>
                  </a:lnTo>
                  <a:lnTo>
                    <a:pt x="171" y="80"/>
                  </a:lnTo>
                  <a:lnTo>
                    <a:pt x="168" y="83"/>
                  </a:lnTo>
                  <a:lnTo>
                    <a:pt x="166" y="85"/>
                  </a:lnTo>
                  <a:lnTo>
                    <a:pt x="163" y="88"/>
                  </a:lnTo>
                  <a:lnTo>
                    <a:pt x="161" y="90"/>
                  </a:lnTo>
                  <a:lnTo>
                    <a:pt x="156" y="90"/>
                  </a:lnTo>
                  <a:lnTo>
                    <a:pt x="152" y="85"/>
                  </a:lnTo>
                  <a:lnTo>
                    <a:pt x="149" y="85"/>
                  </a:lnTo>
                  <a:lnTo>
                    <a:pt x="147" y="85"/>
                  </a:lnTo>
                  <a:lnTo>
                    <a:pt x="147" y="90"/>
                  </a:lnTo>
                  <a:lnTo>
                    <a:pt x="145" y="90"/>
                  </a:lnTo>
                  <a:lnTo>
                    <a:pt x="145" y="92"/>
                  </a:lnTo>
                  <a:lnTo>
                    <a:pt x="147" y="97"/>
                  </a:lnTo>
                  <a:lnTo>
                    <a:pt x="149" y="99"/>
                  </a:lnTo>
                  <a:lnTo>
                    <a:pt x="147" y="102"/>
                  </a:lnTo>
                  <a:lnTo>
                    <a:pt x="149" y="102"/>
                  </a:lnTo>
                  <a:lnTo>
                    <a:pt x="149" y="104"/>
                  </a:lnTo>
                  <a:lnTo>
                    <a:pt x="152" y="106"/>
                  </a:lnTo>
                  <a:lnTo>
                    <a:pt x="152" y="109"/>
                  </a:lnTo>
                  <a:lnTo>
                    <a:pt x="152" y="111"/>
                  </a:lnTo>
                  <a:lnTo>
                    <a:pt x="154" y="118"/>
                  </a:lnTo>
                  <a:lnTo>
                    <a:pt x="147" y="118"/>
                  </a:lnTo>
                  <a:lnTo>
                    <a:pt x="145" y="121"/>
                  </a:lnTo>
                  <a:lnTo>
                    <a:pt x="142" y="121"/>
                  </a:lnTo>
                  <a:lnTo>
                    <a:pt x="140" y="121"/>
                  </a:lnTo>
                  <a:lnTo>
                    <a:pt x="133" y="128"/>
                  </a:lnTo>
                  <a:lnTo>
                    <a:pt x="133" y="130"/>
                  </a:lnTo>
                  <a:lnTo>
                    <a:pt x="133" y="132"/>
                  </a:lnTo>
                  <a:lnTo>
                    <a:pt x="133" y="135"/>
                  </a:lnTo>
                  <a:lnTo>
                    <a:pt x="133" y="140"/>
                  </a:lnTo>
                  <a:lnTo>
                    <a:pt x="133" y="142"/>
                  </a:lnTo>
                  <a:lnTo>
                    <a:pt x="128" y="144"/>
                  </a:lnTo>
                  <a:lnTo>
                    <a:pt x="128" y="142"/>
                  </a:lnTo>
                  <a:lnTo>
                    <a:pt x="126" y="140"/>
                  </a:lnTo>
                  <a:lnTo>
                    <a:pt x="123" y="140"/>
                  </a:lnTo>
                  <a:lnTo>
                    <a:pt x="116" y="142"/>
                  </a:lnTo>
                  <a:lnTo>
                    <a:pt x="114" y="140"/>
                  </a:lnTo>
                  <a:lnTo>
                    <a:pt x="112" y="142"/>
                  </a:lnTo>
                  <a:lnTo>
                    <a:pt x="109" y="140"/>
                  </a:lnTo>
                  <a:lnTo>
                    <a:pt x="109" y="137"/>
                  </a:lnTo>
                  <a:lnTo>
                    <a:pt x="104" y="135"/>
                  </a:lnTo>
                  <a:lnTo>
                    <a:pt x="100" y="140"/>
                  </a:lnTo>
                  <a:lnTo>
                    <a:pt x="97" y="140"/>
                  </a:lnTo>
                  <a:lnTo>
                    <a:pt x="95" y="137"/>
                  </a:lnTo>
                  <a:lnTo>
                    <a:pt x="93" y="137"/>
                  </a:lnTo>
                  <a:lnTo>
                    <a:pt x="90" y="137"/>
                  </a:lnTo>
                  <a:lnTo>
                    <a:pt x="88" y="135"/>
                  </a:lnTo>
                  <a:lnTo>
                    <a:pt x="88" y="137"/>
                  </a:lnTo>
                  <a:lnTo>
                    <a:pt x="83" y="137"/>
                  </a:lnTo>
                  <a:lnTo>
                    <a:pt x="81" y="137"/>
                  </a:lnTo>
                  <a:lnTo>
                    <a:pt x="81" y="140"/>
                  </a:lnTo>
                  <a:lnTo>
                    <a:pt x="78" y="137"/>
                  </a:lnTo>
                  <a:lnTo>
                    <a:pt x="78" y="135"/>
                  </a:lnTo>
                  <a:lnTo>
                    <a:pt x="71" y="135"/>
                  </a:lnTo>
                  <a:lnTo>
                    <a:pt x="71" y="135"/>
                  </a:lnTo>
                  <a:lnTo>
                    <a:pt x="69" y="132"/>
                  </a:lnTo>
                  <a:lnTo>
                    <a:pt x="67" y="130"/>
                  </a:lnTo>
                  <a:lnTo>
                    <a:pt x="64" y="130"/>
                  </a:lnTo>
                  <a:lnTo>
                    <a:pt x="62" y="128"/>
                  </a:lnTo>
                  <a:lnTo>
                    <a:pt x="60" y="128"/>
                  </a:lnTo>
                  <a:lnTo>
                    <a:pt x="57" y="128"/>
                  </a:lnTo>
                  <a:lnTo>
                    <a:pt x="52" y="128"/>
                  </a:lnTo>
                  <a:lnTo>
                    <a:pt x="48" y="123"/>
                  </a:lnTo>
                  <a:lnTo>
                    <a:pt x="45" y="125"/>
                  </a:lnTo>
                  <a:lnTo>
                    <a:pt x="41" y="125"/>
                  </a:lnTo>
                  <a:lnTo>
                    <a:pt x="38" y="123"/>
                  </a:lnTo>
                  <a:lnTo>
                    <a:pt x="24" y="125"/>
                  </a:lnTo>
                  <a:lnTo>
                    <a:pt x="22" y="128"/>
                  </a:lnTo>
                  <a:lnTo>
                    <a:pt x="22" y="130"/>
                  </a:lnTo>
                  <a:lnTo>
                    <a:pt x="19" y="130"/>
                  </a:lnTo>
                  <a:lnTo>
                    <a:pt x="15" y="132"/>
                  </a:lnTo>
                  <a:lnTo>
                    <a:pt x="12" y="132"/>
                  </a:lnTo>
                  <a:lnTo>
                    <a:pt x="10" y="132"/>
                  </a:lnTo>
                  <a:lnTo>
                    <a:pt x="8" y="135"/>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0" name="Freeform 1099">
              <a:extLst>
                <a:ext uri="{FF2B5EF4-FFF2-40B4-BE49-F238E27FC236}">
                  <a16:creationId xmlns:a16="http://schemas.microsoft.com/office/drawing/2014/main" id="{533F03EC-3928-493A-A0ED-A588857BBFA3}"/>
                </a:ext>
              </a:extLst>
            </p:cNvPr>
            <p:cNvSpPr>
              <a:spLocks/>
            </p:cNvSpPr>
            <p:nvPr/>
          </p:nvSpPr>
          <p:spPr bwMode="auto">
            <a:xfrm>
              <a:off x="1915365" y="2651089"/>
              <a:ext cx="271463" cy="228600"/>
            </a:xfrm>
            <a:custGeom>
              <a:avLst/>
              <a:gdLst>
                <a:gd name="T0" fmla="*/ 3 w 171"/>
                <a:gd name="T1" fmla="*/ 118 h 144"/>
                <a:gd name="T2" fmla="*/ 10 w 171"/>
                <a:gd name="T3" fmla="*/ 109 h 144"/>
                <a:gd name="T4" fmla="*/ 12 w 171"/>
                <a:gd name="T5" fmla="*/ 92 h 144"/>
                <a:gd name="T6" fmla="*/ 12 w 171"/>
                <a:gd name="T7" fmla="*/ 66 h 144"/>
                <a:gd name="T8" fmla="*/ 24 w 171"/>
                <a:gd name="T9" fmla="*/ 66 h 144"/>
                <a:gd name="T10" fmla="*/ 31 w 171"/>
                <a:gd name="T11" fmla="*/ 66 h 144"/>
                <a:gd name="T12" fmla="*/ 36 w 171"/>
                <a:gd name="T13" fmla="*/ 59 h 144"/>
                <a:gd name="T14" fmla="*/ 41 w 171"/>
                <a:gd name="T15" fmla="*/ 57 h 144"/>
                <a:gd name="T16" fmla="*/ 48 w 171"/>
                <a:gd name="T17" fmla="*/ 59 h 144"/>
                <a:gd name="T18" fmla="*/ 45 w 171"/>
                <a:gd name="T19" fmla="*/ 52 h 144"/>
                <a:gd name="T20" fmla="*/ 48 w 171"/>
                <a:gd name="T21" fmla="*/ 43 h 144"/>
                <a:gd name="T22" fmla="*/ 48 w 171"/>
                <a:gd name="T23" fmla="*/ 36 h 144"/>
                <a:gd name="T24" fmla="*/ 55 w 171"/>
                <a:gd name="T25" fmla="*/ 31 h 144"/>
                <a:gd name="T26" fmla="*/ 64 w 171"/>
                <a:gd name="T27" fmla="*/ 24 h 144"/>
                <a:gd name="T28" fmla="*/ 60 w 171"/>
                <a:gd name="T29" fmla="*/ 21 h 144"/>
                <a:gd name="T30" fmla="*/ 64 w 171"/>
                <a:gd name="T31" fmla="*/ 17 h 144"/>
                <a:gd name="T32" fmla="*/ 67 w 171"/>
                <a:gd name="T33" fmla="*/ 14 h 144"/>
                <a:gd name="T34" fmla="*/ 71 w 171"/>
                <a:gd name="T35" fmla="*/ 10 h 144"/>
                <a:gd name="T36" fmla="*/ 81 w 171"/>
                <a:gd name="T37" fmla="*/ 7 h 144"/>
                <a:gd name="T38" fmla="*/ 88 w 171"/>
                <a:gd name="T39" fmla="*/ 0 h 144"/>
                <a:gd name="T40" fmla="*/ 97 w 171"/>
                <a:gd name="T41" fmla="*/ 0 h 144"/>
                <a:gd name="T42" fmla="*/ 107 w 171"/>
                <a:gd name="T43" fmla="*/ 3 h 144"/>
                <a:gd name="T44" fmla="*/ 112 w 171"/>
                <a:gd name="T45" fmla="*/ 12 h 144"/>
                <a:gd name="T46" fmla="*/ 121 w 171"/>
                <a:gd name="T47" fmla="*/ 7 h 144"/>
                <a:gd name="T48" fmla="*/ 130 w 171"/>
                <a:gd name="T49" fmla="*/ 10 h 144"/>
                <a:gd name="T50" fmla="*/ 137 w 171"/>
                <a:gd name="T51" fmla="*/ 17 h 144"/>
                <a:gd name="T52" fmla="*/ 137 w 171"/>
                <a:gd name="T53" fmla="*/ 24 h 144"/>
                <a:gd name="T54" fmla="*/ 140 w 171"/>
                <a:gd name="T55" fmla="*/ 31 h 144"/>
                <a:gd name="T56" fmla="*/ 135 w 171"/>
                <a:gd name="T57" fmla="*/ 38 h 144"/>
                <a:gd name="T58" fmla="*/ 142 w 171"/>
                <a:gd name="T59" fmla="*/ 50 h 144"/>
                <a:gd name="T60" fmla="*/ 152 w 171"/>
                <a:gd name="T61" fmla="*/ 62 h 144"/>
                <a:gd name="T62" fmla="*/ 154 w 171"/>
                <a:gd name="T63" fmla="*/ 69 h 144"/>
                <a:gd name="T64" fmla="*/ 163 w 171"/>
                <a:gd name="T65" fmla="*/ 71 h 144"/>
                <a:gd name="T66" fmla="*/ 168 w 171"/>
                <a:gd name="T67" fmla="*/ 76 h 144"/>
                <a:gd name="T68" fmla="*/ 168 w 171"/>
                <a:gd name="T69" fmla="*/ 83 h 144"/>
                <a:gd name="T70" fmla="*/ 161 w 171"/>
                <a:gd name="T71" fmla="*/ 90 h 144"/>
                <a:gd name="T72" fmla="*/ 149 w 171"/>
                <a:gd name="T73" fmla="*/ 85 h 144"/>
                <a:gd name="T74" fmla="*/ 145 w 171"/>
                <a:gd name="T75" fmla="*/ 90 h 144"/>
                <a:gd name="T76" fmla="*/ 149 w 171"/>
                <a:gd name="T77" fmla="*/ 99 h 144"/>
                <a:gd name="T78" fmla="*/ 149 w 171"/>
                <a:gd name="T79" fmla="*/ 104 h 144"/>
                <a:gd name="T80" fmla="*/ 152 w 171"/>
                <a:gd name="T81" fmla="*/ 111 h 144"/>
                <a:gd name="T82" fmla="*/ 145 w 171"/>
                <a:gd name="T83" fmla="*/ 121 h 144"/>
                <a:gd name="T84" fmla="*/ 133 w 171"/>
                <a:gd name="T85" fmla="*/ 128 h 144"/>
                <a:gd name="T86" fmla="*/ 133 w 171"/>
                <a:gd name="T87" fmla="*/ 135 h 144"/>
                <a:gd name="T88" fmla="*/ 128 w 171"/>
                <a:gd name="T89" fmla="*/ 144 h 144"/>
                <a:gd name="T90" fmla="*/ 123 w 171"/>
                <a:gd name="T91" fmla="*/ 140 h 144"/>
                <a:gd name="T92" fmla="*/ 112 w 171"/>
                <a:gd name="T93" fmla="*/ 142 h 144"/>
                <a:gd name="T94" fmla="*/ 104 w 171"/>
                <a:gd name="T95" fmla="*/ 135 h 144"/>
                <a:gd name="T96" fmla="*/ 95 w 171"/>
                <a:gd name="T97" fmla="*/ 137 h 144"/>
                <a:gd name="T98" fmla="*/ 88 w 171"/>
                <a:gd name="T99" fmla="*/ 135 h 144"/>
                <a:gd name="T100" fmla="*/ 81 w 171"/>
                <a:gd name="T101" fmla="*/ 137 h 144"/>
                <a:gd name="T102" fmla="*/ 78 w 171"/>
                <a:gd name="T103" fmla="*/ 135 h 144"/>
                <a:gd name="T104" fmla="*/ 69 w 171"/>
                <a:gd name="T105" fmla="*/ 132 h 144"/>
                <a:gd name="T106" fmla="*/ 62 w 171"/>
                <a:gd name="T107" fmla="*/ 128 h 144"/>
                <a:gd name="T108" fmla="*/ 52 w 171"/>
                <a:gd name="T109" fmla="*/ 128 h 144"/>
                <a:gd name="T110" fmla="*/ 41 w 171"/>
                <a:gd name="T111" fmla="*/ 125 h 144"/>
                <a:gd name="T112" fmla="*/ 22 w 171"/>
                <a:gd name="T113" fmla="*/ 128 h 144"/>
                <a:gd name="T114" fmla="*/ 15 w 171"/>
                <a:gd name="T115" fmla="*/ 132 h 144"/>
                <a:gd name="T116" fmla="*/ 8 w 171"/>
                <a:gd name="T117" fmla="*/ 13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44">
                  <a:moveTo>
                    <a:pt x="8" y="135"/>
                  </a:moveTo>
                  <a:lnTo>
                    <a:pt x="8" y="123"/>
                  </a:lnTo>
                  <a:lnTo>
                    <a:pt x="3" y="118"/>
                  </a:lnTo>
                  <a:lnTo>
                    <a:pt x="0" y="114"/>
                  </a:lnTo>
                  <a:lnTo>
                    <a:pt x="5" y="111"/>
                  </a:lnTo>
                  <a:lnTo>
                    <a:pt x="10" y="109"/>
                  </a:lnTo>
                  <a:lnTo>
                    <a:pt x="12" y="102"/>
                  </a:lnTo>
                  <a:lnTo>
                    <a:pt x="15" y="97"/>
                  </a:lnTo>
                  <a:lnTo>
                    <a:pt x="12" y="92"/>
                  </a:lnTo>
                  <a:lnTo>
                    <a:pt x="8" y="69"/>
                  </a:lnTo>
                  <a:lnTo>
                    <a:pt x="8" y="66"/>
                  </a:lnTo>
                  <a:lnTo>
                    <a:pt x="12" y="66"/>
                  </a:lnTo>
                  <a:lnTo>
                    <a:pt x="17" y="66"/>
                  </a:lnTo>
                  <a:lnTo>
                    <a:pt x="22" y="66"/>
                  </a:lnTo>
                  <a:lnTo>
                    <a:pt x="24" y="66"/>
                  </a:lnTo>
                  <a:lnTo>
                    <a:pt x="26" y="64"/>
                  </a:lnTo>
                  <a:lnTo>
                    <a:pt x="29" y="66"/>
                  </a:lnTo>
                  <a:lnTo>
                    <a:pt x="31" y="66"/>
                  </a:lnTo>
                  <a:lnTo>
                    <a:pt x="31" y="62"/>
                  </a:lnTo>
                  <a:lnTo>
                    <a:pt x="34" y="59"/>
                  </a:lnTo>
                  <a:lnTo>
                    <a:pt x="36" y="59"/>
                  </a:lnTo>
                  <a:lnTo>
                    <a:pt x="36" y="57"/>
                  </a:lnTo>
                  <a:lnTo>
                    <a:pt x="38" y="57"/>
                  </a:lnTo>
                  <a:lnTo>
                    <a:pt x="41" y="57"/>
                  </a:lnTo>
                  <a:lnTo>
                    <a:pt x="43" y="59"/>
                  </a:lnTo>
                  <a:lnTo>
                    <a:pt x="45" y="59"/>
                  </a:lnTo>
                  <a:lnTo>
                    <a:pt x="48" y="59"/>
                  </a:lnTo>
                  <a:lnTo>
                    <a:pt x="48" y="57"/>
                  </a:lnTo>
                  <a:lnTo>
                    <a:pt x="45" y="54"/>
                  </a:lnTo>
                  <a:lnTo>
                    <a:pt x="45" y="52"/>
                  </a:lnTo>
                  <a:lnTo>
                    <a:pt x="45" y="50"/>
                  </a:lnTo>
                  <a:lnTo>
                    <a:pt x="48" y="45"/>
                  </a:lnTo>
                  <a:lnTo>
                    <a:pt x="48" y="43"/>
                  </a:lnTo>
                  <a:lnTo>
                    <a:pt x="48" y="40"/>
                  </a:lnTo>
                  <a:lnTo>
                    <a:pt x="48" y="38"/>
                  </a:lnTo>
                  <a:lnTo>
                    <a:pt x="48" y="36"/>
                  </a:lnTo>
                  <a:lnTo>
                    <a:pt x="50" y="33"/>
                  </a:lnTo>
                  <a:lnTo>
                    <a:pt x="55" y="33"/>
                  </a:lnTo>
                  <a:lnTo>
                    <a:pt x="55" y="31"/>
                  </a:lnTo>
                  <a:lnTo>
                    <a:pt x="57" y="31"/>
                  </a:lnTo>
                  <a:lnTo>
                    <a:pt x="62" y="31"/>
                  </a:lnTo>
                  <a:lnTo>
                    <a:pt x="64" y="24"/>
                  </a:lnTo>
                  <a:lnTo>
                    <a:pt x="62" y="24"/>
                  </a:lnTo>
                  <a:lnTo>
                    <a:pt x="60" y="24"/>
                  </a:lnTo>
                  <a:lnTo>
                    <a:pt x="60" y="21"/>
                  </a:lnTo>
                  <a:lnTo>
                    <a:pt x="60" y="19"/>
                  </a:lnTo>
                  <a:lnTo>
                    <a:pt x="62" y="17"/>
                  </a:lnTo>
                  <a:lnTo>
                    <a:pt x="64" y="17"/>
                  </a:lnTo>
                  <a:lnTo>
                    <a:pt x="64" y="14"/>
                  </a:lnTo>
                  <a:lnTo>
                    <a:pt x="64" y="14"/>
                  </a:lnTo>
                  <a:lnTo>
                    <a:pt x="67" y="14"/>
                  </a:lnTo>
                  <a:lnTo>
                    <a:pt x="69" y="14"/>
                  </a:lnTo>
                  <a:lnTo>
                    <a:pt x="69" y="12"/>
                  </a:lnTo>
                  <a:lnTo>
                    <a:pt x="71" y="10"/>
                  </a:lnTo>
                  <a:lnTo>
                    <a:pt x="76" y="12"/>
                  </a:lnTo>
                  <a:lnTo>
                    <a:pt x="78" y="12"/>
                  </a:lnTo>
                  <a:lnTo>
                    <a:pt x="81" y="7"/>
                  </a:lnTo>
                  <a:lnTo>
                    <a:pt x="83" y="5"/>
                  </a:lnTo>
                  <a:lnTo>
                    <a:pt x="86" y="0"/>
                  </a:lnTo>
                  <a:lnTo>
                    <a:pt x="88" y="0"/>
                  </a:lnTo>
                  <a:lnTo>
                    <a:pt x="93" y="0"/>
                  </a:lnTo>
                  <a:lnTo>
                    <a:pt x="93" y="3"/>
                  </a:lnTo>
                  <a:lnTo>
                    <a:pt x="97" y="0"/>
                  </a:lnTo>
                  <a:lnTo>
                    <a:pt x="100" y="3"/>
                  </a:lnTo>
                  <a:lnTo>
                    <a:pt x="102" y="5"/>
                  </a:lnTo>
                  <a:lnTo>
                    <a:pt x="107" y="3"/>
                  </a:lnTo>
                  <a:lnTo>
                    <a:pt x="109" y="5"/>
                  </a:lnTo>
                  <a:lnTo>
                    <a:pt x="112" y="7"/>
                  </a:lnTo>
                  <a:lnTo>
                    <a:pt x="112" y="12"/>
                  </a:lnTo>
                  <a:lnTo>
                    <a:pt x="116" y="10"/>
                  </a:lnTo>
                  <a:lnTo>
                    <a:pt x="119" y="10"/>
                  </a:lnTo>
                  <a:lnTo>
                    <a:pt x="121" y="7"/>
                  </a:lnTo>
                  <a:lnTo>
                    <a:pt x="126" y="7"/>
                  </a:lnTo>
                  <a:lnTo>
                    <a:pt x="128" y="7"/>
                  </a:lnTo>
                  <a:lnTo>
                    <a:pt x="130" y="10"/>
                  </a:lnTo>
                  <a:lnTo>
                    <a:pt x="133" y="12"/>
                  </a:lnTo>
                  <a:lnTo>
                    <a:pt x="135" y="17"/>
                  </a:lnTo>
                  <a:lnTo>
                    <a:pt x="137" y="17"/>
                  </a:lnTo>
                  <a:lnTo>
                    <a:pt x="137" y="19"/>
                  </a:lnTo>
                  <a:lnTo>
                    <a:pt x="137" y="21"/>
                  </a:lnTo>
                  <a:lnTo>
                    <a:pt x="137" y="24"/>
                  </a:lnTo>
                  <a:lnTo>
                    <a:pt x="140" y="26"/>
                  </a:lnTo>
                  <a:lnTo>
                    <a:pt x="140" y="29"/>
                  </a:lnTo>
                  <a:lnTo>
                    <a:pt x="140" y="31"/>
                  </a:lnTo>
                  <a:lnTo>
                    <a:pt x="140" y="33"/>
                  </a:lnTo>
                  <a:lnTo>
                    <a:pt x="137" y="36"/>
                  </a:lnTo>
                  <a:lnTo>
                    <a:pt x="135" y="38"/>
                  </a:lnTo>
                  <a:lnTo>
                    <a:pt x="137" y="40"/>
                  </a:lnTo>
                  <a:lnTo>
                    <a:pt x="140" y="45"/>
                  </a:lnTo>
                  <a:lnTo>
                    <a:pt x="142" y="50"/>
                  </a:lnTo>
                  <a:lnTo>
                    <a:pt x="145" y="57"/>
                  </a:lnTo>
                  <a:lnTo>
                    <a:pt x="147" y="59"/>
                  </a:lnTo>
                  <a:lnTo>
                    <a:pt x="152" y="62"/>
                  </a:lnTo>
                  <a:lnTo>
                    <a:pt x="154" y="64"/>
                  </a:lnTo>
                  <a:lnTo>
                    <a:pt x="154" y="66"/>
                  </a:lnTo>
                  <a:lnTo>
                    <a:pt x="154" y="69"/>
                  </a:lnTo>
                  <a:lnTo>
                    <a:pt x="154" y="71"/>
                  </a:lnTo>
                  <a:lnTo>
                    <a:pt x="161" y="69"/>
                  </a:lnTo>
                  <a:lnTo>
                    <a:pt x="163" y="71"/>
                  </a:lnTo>
                  <a:lnTo>
                    <a:pt x="166" y="71"/>
                  </a:lnTo>
                  <a:lnTo>
                    <a:pt x="166" y="73"/>
                  </a:lnTo>
                  <a:lnTo>
                    <a:pt x="168" y="76"/>
                  </a:lnTo>
                  <a:lnTo>
                    <a:pt x="171" y="76"/>
                  </a:lnTo>
                  <a:lnTo>
                    <a:pt x="171" y="80"/>
                  </a:lnTo>
                  <a:lnTo>
                    <a:pt x="168" y="83"/>
                  </a:lnTo>
                  <a:lnTo>
                    <a:pt x="166" y="85"/>
                  </a:lnTo>
                  <a:lnTo>
                    <a:pt x="163" y="88"/>
                  </a:lnTo>
                  <a:lnTo>
                    <a:pt x="161" y="90"/>
                  </a:lnTo>
                  <a:lnTo>
                    <a:pt x="156" y="90"/>
                  </a:lnTo>
                  <a:lnTo>
                    <a:pt x="152" y="85"/>
                  </a:lnTo>
                  <a:lnTo>
                    <a:pt x="149" y="85"/>
                  </a:lnTo>
                  <a:lnTo>
                    <a:pt x="147" y="85"/>
                  </a:lnTo>
                  <a:lnTo>
                    <a:pt x="147" y="90"/>
                  </a:lnTo>
                  <a:lnTo>
                    <a:pt x="145" y="90"/>
                  </a:lnTo>
                  <a:lnTo>
                    <a:pt x="145" y="92"/>
                  </a:lnTo>
                  <a:lnTo>
                    <a:pt x="147" y="97"/>
                  </a:lnTo>
                  <a:lnTo>
                    <a:pt x="149" y="99"/>
                  </a:lnTo>
                  <a:lnTo>
                    <a:pt x="147" y="102"/>
                  </a:lnTo>
                  <a:lnTo>
                    <a:pt x="149" y="102"/>
                  </a:lnTo>
                  <a:lnTo>
                    <a:pt x="149" y="104"/>
                  </a:lnTo>
                  <a:lnTo>
                    <a:pt x="152" y="106"/>
                  </a:lnTo>
                  <a:lnTo>
                    <a:pt x="152" y="109"/>
                  </a:lnTo>
                  <a:lnTo>
                    <a:pt x="152" y="111"/>
                  </a:lnTo>
                  <a:lnTo>
                    <a:pt x="154" y="118"/>
                  </a:lnTo>
                  <a:lnTo>
                    <a:pt x="147" y="118"/>
                  </a:lnTo>
                  <a:lnTo>
                    <a:pt x="145" y="121"/>
                  </a:lnTo>
                  <a:lnTo>
                    <a:pt x="142" y="121"/>
                  </a:lnTo>
                  <a:lnTo>
                    <a:pt x="140" y="121"/>
                  </a:lnTo>
                  <a:lnTo>
                    <a:pt x="133" y="128"/>
                  </a:lnTo>
                  <a:lnTo>
                    <a:pt x="133" y="130"/>
                  </a:lnTo>
                  <a:lnTo>
                    <a:pt x="133" y="132"/>
                  </a:lnTo>
                  <a:lnTo>
                    <a:pt x="133" y="135"/>
                  </a:lnTo>
                  <a:lnTo>
                    <a:pt x="133" y="140"/>
                  </a:lnTo>
                  <a:lnTo>
                    <a:pt x="133" y="142"/>
                  </a:lnTo>
                  <a:lnTo>
                    <a:pt x="128" y="144"/>
                  </a:lnTo>
                  <a:lnTo>
                    <a:pt x="128" y="142"/>
                  </a:lnTo>
                  <a:lnTo>
                    <a:pt x="126" y="140"/>
                  </a:lnTo>
                  <a:lnTo>
                    <a:pt x="123" y="140"/>
                  </a:lnTo>
                  <a:lnTo>
                    <a:pt x="116" y="142"/>
                  </a:lnTo>
                  <a:lnTo>
                    <a:pt x="114" y="140"/>
                  </a:lnTo>
                  <a:lnTo>
                    <a:pt x="112" y="142"/>
                  </a:lnTo>
                  <a:lnTo>
                    <a:pt x="109" y="140"/>
                  </a:lnTo>
                  <a:lnTo>
                    <a:pt x="109" y="137"/>
                  </a:lnTo>
                  <a:lnTo>
                    <a:pt x="104" y="135"/>
                  </a:lnTo>
                  <a:lnTo>
                    <a:pt x="100" y="140"/>
                  </a:lnTo>
                  <a:lnTo>
                    <a:pt x="97" y="140"/>
                  </a:lnTo>
                  <a:lnTo>
                    <a:pt x="95" y="137"/>
                  </a:lnTo>
                  <a:lnTo>
                    <a:pt x="93" y="137"/>
                  </a:lnTo>
                  <a:lnTo>
                    <a:pt x="90" y="137"/>
                  </a:lnTo>
                  <a:lnTo>
                    <a:pt x="88" y="135"/>
                  </a:lnTo>
                  <a:lnTo>
                    <a:pt x="88" y="137"/>
                  </a:lnTo>
                  <a:lnTo>
                    <a:pt x="83" y="137"/>
                  </a:lnTo>
                  <a:lnTo>
                    <a:pt x="81" y="137"/>
                  </a:lnTo>
                  <a:lnTo>
                    <a:pt x="81" y="140"/>
                  </a:lnTo>
                  <a:lnTo>
                    <a:pt x="78" y="137"/>
                  </a:lnTo>
                  <a:lnTo>
                    <a:pt x="78" y="135"/>
                  </a:lnTo>
                  <a:lnTo>
                    <a:pt x="71" y="135"/>
                  </a:lnTo>
                  <a:lnTo>
                    <a:pt x="71" y="135"/>
                  </a:lnTo>
                  <a:lnTo>
                    <a:pt x="69" y="132"/>
                  </a:lnTo>
                  <a:lnTo>
                    <a:pt x="67" y="130"/>
                  </a:lnTo>
                  <a:lnTo>
                    <a:pt x="64" y="130"/>
                  </a:lnTo>
                  <a:lnTo>
                    <a:pt x="62" y="128"/>
                  </a:lnTo>
                  <a:lnTo>
                    <a:pt x="60" y="128"/>
                  </a:lnTo>
                  <a:lnTo>
                    <a:pt x="57" y="128"/>
                  </a:lnTo>
                  <a:lnTo>
                    <a:pt x="52" y="128"/>
                  </a:lnTo>
                  <a:lnTo>
                    <a:pt x="48" y="123"/>
                  </a:lnTo>
                  <a:lnTo>
                    <a:pt x="45" y="125"/>
                  </a:lnTo>
                  <a:lnTo>
                    <a:pt x="41" y="125"/>
                  </a:lnTo>
                  <a:lnTo>
                    <a:pt x="38" y="123"/>
                  </a:lnTo>
                  <a:lnTo>
                    <a:pt x="24" y="125"/>
                  </a:lnTo>
                  <a:lnTo>
                    <a:pt x="22" y="128"/>
                  </a:lnTo>
                  <a:lnTo>
                    <a:pt x="22" y="130"/>
                  </a:lnTo>
                  <a:lnTo>
                    <a:pt x="19" y="130"/>
                  </a:lnTo>
                  <a:lnTo>
                    <a:pt x="15" y="132"/>
                  </a:lnTo>
                  <a:lnTo>
                    <a:pt x="12" y="132"/>
                  </a:lnTo>
                  <a:lnTo>
                    <a:pt x="10" y="132"/>
                  </a:lnTo>
                  <a:lnTo>
                    <a:pt x="8" y="13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1" name="Freeform 1100">
              <a:extLst>
                <a:ext uri="{FF2B5EF4-FFF2-40B4-BE49-F238E27FC236}">
                  <a16:creationId xmlns:a16="http://schemas.microsoft.com/office/drawing/2014/main" id="{1EE42ABA-9349-47DB-BD78-1290030AA1BC}"/>
                </a:ext>
              </a:extLst>
            </p:cNvPr>
            <p:cNvSpPr>
              <a:spLocks/>
            </p:cNvSpPr>
            <p:nvPr/>
          </p:nvSpPr>
          <p:spPr bwMode="auto">
            <a:xfrm>
              <a:off x="1743916" y="2954303"/>
              <a:ext cx="153988" cy="76200"/>
            </a:xfrm>
            <a:custGeom>
              <a:avLst/>
              <a:gdLst>
                <a:gd name="T0" fmla="*/ 90 w 97"/>
                <a:gd name="T1" fmla="*/ 31 h 48"/>
                <a:gd name="T2" fmla="*/ 87 w 97"/>
                <a:gd name="T3" fmla="*/ 31 h 48"/>
                <a:gd name="T4" fmla="*/ 83 w 97"/>
                <a:gd name="T5" fmla="*/ 29 h 48"/>
                <a:gd name="T6" fmla="*/ 75 w 97"/>
                <a:gd name="T7" fmla="*/ 26 h 48"/>
                <a:gd name="T8" fmla="*/ 73 w 97"/>
                <a:gd name="T9" fmla="*/ 26 h 48"/>
                <a:gd name="T10" fmla="*/ 68 w 97"/>
                <a:gd name="T11" fmla="*/ 26 h 48"/>
                <a:gd name="T12" fmla="*/ 61 w 97"/>
                <a:gd name="T13" fmla="*/ 29 h 48"/>
                <a:gd name="T14" fmla="*/ 61 w 97"/>
                <a:gd name="T15" fmla="*/ 34 h 48"/>
                <a:gd name="T16" fmla="*/ 57 w 97"/>
                <a:gd name="T17" fmla="*/ 34 h 48"/>
                <a:gd name="T18" fmla="*/ 52 w 97"/>
                <a:gd name="T19" fmla="*/ 36 h 48"/>
                <a:gd name="T20" fmla="*/ 47 w 97"/>
                <a:gd name="T21" fmla="*/ 34 h 48"/>
                <a:gd name="T22" fmla="*/ 42 w 97"/>
                <a:gd name="T23" fmla="*/ 38 h 48"/>
                <a:gd name="T24" fmla="*/ 33 w 97"/>
                <a:gd name="T25" fmla="*/ 41 h 48"/>
                <a:gd name="T26" fmla="*/ 28 w 97"/>
                <a:gd name="T27" fmla="*/ 48 h 48"/>
                <a:gd name="T28" fmla="*/ 26 w 97"/>
                <a:gd name="T29" fmla="*/ 48 h 48"/>
                <a:gd name="T30" fmla="*/ 16 w 97"/>
                <a:gd name="T31" fmla="*/ 48 h 48"/>
                <a:gd name="T32" fmla="*/ 9 w 97"/>
                <a:gd name="T33" fmla="*/ 41 h 48"/>
                <a:gd name="T34" fmla="*/ 5 w 97"/>
                <a:gd name="T35" fmla="*/ 38 h 48"/>
                <a:gd name="T36" fmla="*/ 2 w 97"/>
                <a:gd name="T37" fmla="*/ 34 h 48"/>
                <a:gd name="T38" fmla="*/ 0 w 97"/>
                <a:gd name="T39" fmla="*/ 26 h 48"/>
                <a:gd name="T40" fmla="*/ 2 w 97"/>
                <a:gd name="T41" fmla="*/ 24 h 48"/>
                <a:gd name="T42" fmla="*/ 5 w 97"/>
                <a:gd name="T43" fmla="*/ 22 h 48"/>
                <a:gd name="T44" fmla="*/ 7 w 97"/>
                <a:gd name="T45" fmla="*/ 22 h 48"/>
                <a:gd name="T46" fmla="*/ 7 w 97"/>
                <a:gd name="T47" fmla="*/ 22 h 48"/>
                <a:gd name="T48" fmla="*/ 12 w 97"/>
                <a:gd name="T49" fmla="*/ 22 h 48"/>
                <a:gd name="T50" fmla="*/ 16 w 97"/>
                <a:gd name="T51" fmla="*/ 19 h 48"/>
                <a:gd name="T52" fmla="*/ 16 w 97"/>
                <a:gd name="T53" fmla="*/ 17 h 48"/>
                <a:gd name="T54" fmla="*/ 19 w 97"/>
                <a:gd name="T55" fmla="*/ 17 h 48"/>
                <a:gd name="T56" fmla="*/ 21 w 97"/>
                <a:gd name="T57" fmla="*/ 12 h 48"/>
                <a:gd name="T58" fmla="*/ 21 w 97"/>
                <a:gd name="T59" fmla="*/ 10 h 48"/>
                <a:gd name="T60" fmla="*/ 21 w 97"/>
                <a:gd name="T61" fmla="*/ 8 h 48"/>
                <a:gd name="T62" fmla="*/ 26 w 97"/>
                <a:gd name="T63" fmla="*/ 8 h 48"/>
                <a:gd name="T64" fmla="*/ 26 w 97"/>
                <a:gd name="T65" fmla="*/ 5 h 48"/>
                <a:gd name="T66" fmla="*/ 28 w 97"/>
                <a:gd name="T67" fmla="*/ 3 h 48"/>
                <a:gd name="T68" fmla="*/ 33 w 97"/>
                <a:gd name="T69" fmla="*/ 3 h 48"/>
                <a:gd name="T70" fmla="*/ 33 w 97"/>
                <a:gd name="T71" fmla="*/ 0 h 48"/>
                <a:gd name="T72" fmla="*/ 38 w 97"/>
                <a:gd name="T73" fmla="*/ 3 h 48"/>
                <a:gd name="T74" fmla="*/ 40 w 97"/>
                <a:gd name="T75" fmla="*/ 0 h 48"/>
                <a:gd name="T76" fmla="*/ 45 w 97"/>
                <a:gd name="T77" fmla="*/ 0 h 48"/>
                <a:gd name="T78" fmla="*/ 47 w 97"/>
                <a:gd name="T79" fmla="*/ 0 h 48"/>
                <a:gd name="T80" fmla="*/ 49 w 97"/>
                <a:gd name="T81" fmla="*/ 5 h 48"/>
                <a:gd name="T82" fmla="*/ 52 w 97"/>
                <a:gd name="T83" fmla="*/ 8 h 48"/>
                <a:gd name="T84" fmla="*/ 54 w 97"/>
                <a:gd name="T85" fmla="*/ 8 h 48"/>
                <a:gd name="T86" fmla="*/ 59 w 97"/>
                <a:gd name="T87" fmla="*/ 8 h 48"/>
                <a:gd name="T88" fmla="*/ 61 w 97"/>
                <a:gd name="T89" fmla="*/ 3 h 48"/>
                <a:gd name="T90" fmla="*/ 66 w 97"/>
                <a:gd name="T91" fmla="*/ 3 h 48"/>
                <a:gd name="T92" fmla="*/ 71 w 97"/>
                <a:gd name="T93" fmla="*/ 5 h 48"/>
                <a:gd name="T94" fmla="*/ 73 w 97"/>
                <a:gd name="T95" fmla="*/ 5 h 48"/>
                <a:gd name="T96" fmla="*/ 75 w 97"/>
                <a:gd name="T97" fmla="*/ 3 h 48"/>
                <a:gd name="T98" fmla="*/ 80 w 97"/>
                <a:gd name="T99" fmla="*/ 3 h 48"/>
                <a:gd name="T100" fmla="*/ 85 w 97"/>
                <a:gd name="T101" fmla="*/ 3 h 48"/>
                <a:gd name="T102" fmla="*/ 87 w 97"/>
                <a:gd name="T103" fmla="*/ 5 h 48"/>
                <a:gd name="T104" fmla="*/ 90 w 97"/>
                <a:gd name="T105" fmla="*/ 8 h 48"/>
                <a:gd name="T106" fmla="*/ 94 w 97"/>
                <a:gd name="T107" fmla="*/ 10 h 48"/>
                <a:gd name="T108" fmla="*/ 97 w 97"/>
                <a:gd name="T109" fmla="*/ 12 h 48"/>
                <a:gd name="T110" fmla="*/ 97 w 97"/>
                <a:gd name="T111" fmla="*/ 15 h 48"/>
                <a:gd name="T112" fmla="*/ 92 w 97"/>
                <a:gd name="T113" fmla="*/ 22 h 48"/>
                <a:gd name="T114" fmla="*/ 90 w 97"/>
                <a:gd name="T115" fmla="*/ 3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7" h="48">
                  <a:moveTo>
                    <a:pt x="90" y="31"/>
                  </a:moveTo>
                  <a:lnTo>
                    <a:pt x="87" y="31"/>
                  </a:lnTo>
                  <a:lnTo>
                    <a:pt x="83" y="29"/>
                  </a:lnTo>
                  <a:lnTo>
                    <a:pt x="75" y="26"/>
                  </a:lnTo>
                  <a:lnTo>
                    <a:pt x="73" y="26"/>
                  </a:lnTo>
                  <a:lnTo>
                    <a:pt x="68" y="26"/>
                  </a:lnTo>
                  <a:lnTo>
                    <a:pt x="61" y="29"/>
                  </a:lnTo>
                  <a:lnTo>
                    <a:pt x="61" y="34"/>
                  </a:lnTo>
                  <a:lnTo>
                    <a:pt x="57" y="34"/>
                  </a:lnTo>
                  <a:lnTo>
                    <a:pt x="52" y="36"/>
                  </a:lnTo>
                  <a:lnTo>
                    <a:pt x="47" y="34"/>
                  </a:lnTo>
                  <a:lnTo>
                    <a:pt x="42" y="38"/>
                  </a:lnTo>
                  <a:lnTo>
                    <a:pt x="33" y="41"/>
                  </a:lnTo>
                  <a:lnTo>
                    <a:pt x="28" y="48"/>
                  </a:lnTo>
                  <a:lnTo>
                    <a:pt x="26" y="48"/>
                  </a:lnTo>
                  <a:lnTo>
                    <a:pt x="16" y="48"/>
                  </a:lnTo>
                  <a:lnTo>
                    <a:pt x="9" y="41"/>
                  </a:lnTo>
                  <a:lnTo>
                    <a:pt x="5" y="38"/>
                  </a:lnTo>
                  <a:lnTo>
                    <a:pt x="2" y="34"/>
                  </a:lnTo>
                  <a:lnTo>
                    <a:pt x="0" y="26"/>
                  </a:lnTo>
                  <a:lnTo>
                    <a:pt x="2" y="24"/>
                  </a:lnTo>
                  <a:lnTo>
                    <a:pt x="5" y="22"/>
                  </a:lnTo>
                  <a:lnTo>
                    <a:pt x="7" y="22"/>
                  </a:lnTo>
                  <a:lnTo>
                    <a:pt x="7" y="22"/>
                  </a:lnTo>
                  <a:lnTo>
                    <a:pt x="12" y="22"/>
                  </a:lnTo>
                  <a:lnTo>
                    <a:pt x="16" y="19"/>
                  </a:lnTo>
                  <a:lnTo>
                    <a:pt x="16" y="17"/>
                  </a:lnTo>
                  <a:lnTo>
                    <a:pt x="19" y="17"/>
                  </a:lnTo>
                  <a:lnTo>
                    <a:pt x="21" y="12"/>
                  </a:lnTo>
                  <a:lnTo>
                    <a:pt x="21" y="10"/>
                  </a:lnTo>
                  <a:lnTo>
                    <a:pt x="21" y="8"/>
                  </a:lnTo>
                  <a:lnTo>
                    <a:pt x="26" y="8"/>
                  </a:lnTo>
                  <a:lnTo>
                    <a:pt x="26" y="5"/>
                  </a:lnTo>
                  <a:lnTo>
                    <a:pt x="28" y="3"/>
                  </a:lnTo>
                  <a:lnTo>
                    <a:pt x="33" y="3"/>
                  </a:lnTo>
                  <a:lnTo>
                    <a:pt x="33" y="0"/>
                  </a:lnTo>
                  <a:lnTo>
                    <a:pt x="38" y="3"/>
                  </a:lnTo>
                  <a:lnTo>
                    <a:pt x="40" y="0"/>
                  </a:lnTo>
                  <a:lnTo>
                    <a:pt x="45" y="0"/>
                  </a:lnTo>
                  <a:lnTo>
                    <a:pt x="47" y="0"/>
                  </a:lnTo>
                  <a:lnTo>
                    <a:pt x="49" y="5"/>
                  </a:lnTo>
                  <a:lnTo>
                    <a:pt x="52" y="8"/>
                  </a:lnTo>
                  <a:lnTo>
                    <a:pt x="54" y="8"/>
                  </a:lnTo>
                  <a:lnTo>
                    <a:pt x="59" y="8"/>
                  </a:lnTo>
                  <a:lnTo>
                    <a:pt x="61" y="3"/>
                  </a:lnTo>
                  <a:lnTo>
                    <a:pt x="66" y="3"/>
                  </a:lnTo>
                  <a:lnTo>
                    <a:pt x="71" y="5"/>
                  </a:lnTo>
                  <a:lnTo>
                    <a:pt x="73" y="5"/>
                  </a:lnTo>
                  <a:lnTo>
                    <a:pt x="75" y="3"/>
                  </a:lnTo>
                  <a:lnTo>
                    <a:pt x="80" y="3"/>
                  </a:lnTo>
                  <a:lnTo>
                    <a:pt x="85" y="3"/>
                  </a:lnTo>
                  <a:lnTo>
                    <a:pt x="87" y="5"/>
                  </a:lnTo>
                  <a:lnTo>
                    <a:pt x="90" y="8"/>
                  </a:lnTo>
                  <a:lnTo>
                    <a:pt x="94" y="10"/>
                  </a:lnTo>
                  <a:lnTo>
                    <a:pt x="97" y="12"/>
                  </a:lnTo>
                  <a:lnTo>
                    <a:pt x="97" y="15"/>
                  </a:lnTo>
                  <a:lnTo>
                    <a:pt x="92" y="22"/>
                  </a:lnTo>
                  <a:lnTo>
                    <a:pt x="90" y="3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2" name="Freeform 1101">
              <a:extLst>
                <a:ext uri="{FF2B5EF4-FFF2-40B4-BE49-F238E27FC236}">
                  <a16:creationId xmlns:a16="http://schemas.microsoft.com/office/drawing/2014/main" id="{A8173933-06F8-44E5-BDEF-093CE47F7CDF}"/>
                </a:ext>
              </a:extLst>
            </p:cNvPr>
            <p:cNvSpPr>
              <a:spLocks/>
            </p:cNvSpPr>
            <p:nvPr/>
          </p:nvSpPr>
          <p:spPr bwMode="auto">
            <a:xfrm>
              <a:off x="1743916" y="2954303"/>
              <a:ext cx="153988" cy="76200"/>
            </a:xfrm>
            <a:custGeom>
              <a:avLst/>
              <a:gdLst>
                <a:gd name="T0" fmla="*/ 90 w 97"/>
                <a:gd name="T1" fmla="*/ 31 h 48"/>
                <a:gd name="T2" fmla="*/ 87 w 97"/>
                <a:gd name="T3" fmla="*/ 31 h 48"/>
                <a:gd name="T4" fmla="*/ 83 w 97"/>
                <a:gd name="T5" fmla="*/ 29 h 48"/>
                <a:gd name="T6" fmla="*/ 75 w 97"/>
                <a:gd name="T7" fmla="*/ 26 h 48"/>
                <a:gd name="T8" fmla="*/ 73 w 97"/>
                <a:gd name="T9" fmla="*/ 26 h 48"/>
                <a:gd name="T10" fmla="*/ 68 w 97"/>
                <a:gd name="T11" fmla="*/ 26 h 48"/>
                <a:gd name="T12" fmla="*/ 61 w 97"/>
                <a:gd name="T13" fmla="*/ 29 h 48"/>
                <a:gd name="T14" fmla="*/ 61 w 97"/>
                <a:gd name="T15" fmla="*/ 34 h 48"/>
                <a:gd name="T16" fmla="*/ 57 w 97"/>
                <a:gd name="T17" fmla="*/ 34 h 48"/>
                <a:gd name="T18" fmla="*/ 52 w 97"/>
                <a:gd name="T19" fmla="*/ 36 h 48"/>
                <a:gd name="T20" fmla="*/ 47 w 97"/>
                <a:gd name="T21" fmla="*/ 34 h 48"/>
                <a:gd name="T22" fmla="*/ 42 w 97"/>
                <a:gd name="T23" fmla="*/ 38 h 48"/>
                <a:gd name="T24" fmla="*/ 33 w 97"/>
                <a:gd name="T25" fmla="*/ 41 h 48"/>
                <a:gd name="T26" fmla="*/ 28 w 97"/>
                <a:gd name="T27" fmla="*/ 48 h 48"/>
                <a:gd name="T28" fmla="*/ 26 w 97"/>
                <a:gd name="T29" fmla="*/ 48 h 48"/>
                <a:gd name="T30" fmla="*/ 16 w 97"/>
                <a:gd name="T31" fmla="*/ 48 h 48"/>
                <a:gd name="T32" fmla="*/ 9 w 97"/>
                <a:gd name="T33" fmla="*/ 41 h 48"/>
                <a:gd name="T34" fmla="*/ 5 w 97"/>
                <a:gd name="T35" fmla="*/ 38 h 48"/>
                <a:gd name="T36" fmla="*/ 2 w 97"/>
                <a:gd name="T37" fmla="*/ 34 h 48"/>
                <a:gd name="T38" fmla="*/ 0 w 97"/>
                <a:gd name="T39" fmla="*/ 26 h 48"/>
                <a:gd name="T40" fmla="*/ 2 w 97"/>
                <a:gd name="T41" fmla="*/ 24 h 48"/>
                <a:gd name="T42" fmla="*/ 5 w 97"/>
                <a:gd name="T43" fmla="*/ 22 h 48"/>
                <a:gd name="T44" fmla="*/ 7 w 97"/>
                <a:gd name="T45" fmla="*/ 22 h 48"/>
                <a:gd name="T46" fmla="*/ 7 w 97"/>
                <a:gd name="T47" fmla="*/ 22 h 48"/>
                <a:gd name="T48" fmla="*/ 12 w 97"/>
                <a:gd name="T49" fmla="*/ 22 h 48"/>
                <a:gd name="T50" fmla="*/ 16 w 97"/>
                <a:gd name="T51" fmla="*/ 19 h 48"/>
                <a:gd name="T52" fmla="*/ 16 w 97"/>
                <a:gd name="T53" fmla="*/ 17 h 48"/>
                <a:gd name="T54" fmla="*/ 19 w 97"/>
                <a:gd name="T55" fmla="*/ 17 h 48"/>
                <a:gd name="T56" fmla="*/ 21 w 97"/>
                <a:gd name="T57" fmla="*/ 12 h 48"/>
                <a:gd name="T58" fmla="*/ 21 w 97"/>
                <a:gd name="T59" fmla="*/ 10 h 48"/>
                <a:gd name="T60" fmla="*/ 21 w 97"/>
                <a:gd name="T61" fmla="*/ 8 h 48"/>
                <a:gd name="T62" fmla="*/ 26 w 97"/>
                <a:gd name="T63" fmla="*/ 8 h 48"/>
                <a:gd name="T64" fmla="*/ 26 w 97"/>
                <a:gd name="T65" fmla="*/ 5 h 48"/>
                <a:gd name="T66" fmla="*/ 28 w 97"/>
                <a:gd name="T67" fmla="*/ 3 h 48"/>
                <a:gd name="T68" fmla="*/ 33 w 97"/>
                <a:gd name="T69" fmla="*/ 3 h 48"/>
                <a:gd name="T70" fmla="*/ 33 w 97"/>
                <a:gd name="T71" fmla="*/ 0 h 48"/>
                <a:gd name="T72" fmla="*/ 38 w 97"/>
                <a:gd name="T73" fmla="*/ 3 h 48"/>
                <a:gd name="T74" fmla="*/ 40 w 97"/>
                <a:gd name="T75" fmla="*/ 0 h 48"/>
                <a:gd name="T76" fmla="*/ 45 w 97"/>
                <a:gd name="T77" fmla="*/ 0 h 48"/>
                <a:gd name="T78" fmla="*/ 47 w 97"/>
                <a:gd name="T79" fmla="*/ 0 h 48"/>
                <a:gd name="T80" fmla="*/ 49 w 97"/>
                <a:gd name="T81" fmla="*/ 5 h 48"/>
                <a:gd name="T82" fmla="*/ 52 w 97"/>
                <a:gd name="T83" fmla="*/ 8 h 48"/>
                <a:gd name="T84" fmla="*/ 54 w 97"/>
                <a:gd name="T85" fmla="*/ 8 h 48"/>
                <a:gd name="T86" fmla="*/ 59 w 97"/>
                <a:gd name="T87" fmla="*/ 8 h 48"/>
                <a:gd name="T88" fmla="*/ 61 w 97"/>
                <a:gd name="T89" fmla="*/ 3 h 48"/>
                <a:gd name="T90" fmla="*/ 66 w 97"/>
                <a:gd name="T91" fmla="*/ 3 h 48"/>
                <a:gd name="T92" fmla="*/ 71 w 97"/>
                <a:gd name="T93" fmla="*/ 5 h 48"/>
                <a:gd name="T94" fmla="*/ 73 w 97"/>
                <a:gd name="T95" fmla="*/ 5 h 48"/>
                <a:gd name="T96" fmla="*/ 75 w 97"/>
                <a:gd name="T97" fmla="*/ 3 h 48"/>
                <a:gd name="T98" fmla="*/ 80 w 97"/>
                <a:gd name="T99" fmla="*/ 3 h 48"/>
                <a:gd name="T100" fmla="*/ 85 w 97"/>
                <a:gd name="T101" fmla="*/ 3 h 48"/>
                <a:gd name="T102" fmla="*/ 87 w 97"/>
                <a:gd name="T103" fmla="*/ 5 h 48"/>
                <a:gd name="T104" fmla="*/ 90 w 97"/>
                <a:gd name="T105" fmla="*/ 8 h 48"/>
                <a:gd name="T106" fmla="*/ 94 w 97"/>
                <a:gd name="T107" fmla="*/ 10 h 48"/>
                <a:gd name="T108" fmla="*/ 97 w 97"/>
                <a:gd name="T109" fmla="*/ 12 h 48"/>
                <a:gd name="T110" fmla="*/ 97 w 97"/>
                <a:gd name="T111" fmla="*/ 15 h 48"/>
                <a:gd name="T112" fmla="*/ 92 w 97"/>
                <a:gd name="T113" fmla="*/ 22 h 48"/>
                <a:gd name="T114" fmla="*/ 90 w 97"/>
                <a:gd name="T115" fmla="*/ 3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7" h="48">
                  <a:moveTo>
                    <a:pt x="90" y="31"/>
                  </a:moveTo>
                  <a:lnTo>
                    <a:pt x="87" y="31"/>
                  </a:lnTo>
                  <a:lnTo>
                    <a:pt x="83" y="29"/>
                  </a:lnTo>
                  <a:lnTo>
                    <a:pt x="75" y="26"/>
                  </a:lnTo>
                  <a:lnTo>
                    <a:pt x="73" y="26"/>
                  </a:lnTo>
                  <a:lnTo>
                    <a:pt x="68" y="26"/>
                  </a:lnTo>
                  <a:lnTo>
                    <a:pt x="61" y="29"/>
                  </a:lnTo>
                  <a:lnTo>
                    <a:pt x="61" y="34"/>
                  </a:lnTo>
                  <a:lnTo>
                    <a:pt x="57" y="34"/>
                  </a:lnTo>
                  <a:lnTo>
                    <a:pt x="52" y="36"/>
                  </a:lnTo>
                  <a:lnTo>
                    <a:pt x="47" y="34"/>
                  </a:lnTo>
                  <a:lnTo>
                    <a:pt x="42" y="38"/>
                  </a:lnTo>
                  <a:lnTo>
                    <a:pt x="33" y="41"/>
                  </a:lnTo>
                  <a:lnTo>
                    <a:pt x="28" y="48"/>
                  </a:lnTo>
                  <a:lnTo>
                    <a:pt x="26" y="48"/>
                  </a:lnTo>
                  <a:lnTo>
                    <a:pt x="16" y="48"/>
                  </a:lnTo>
                  <a:lnTo>
                    <a:pt x="9" y="41"/>
                  </a:lnTo>
                  <a:lnTo>
                    <a:pt x="5" y="38"/>
                  </a:lnTo>
                  <a:lnTo>
                    <a:pt x="2" y="34"/>
                  </a:lnTo>
                  <a:lnTo>
                    <a:pt x="0" y="26"/>
                  </a:lnTo>
                  <a:lnTo>
                    <a:pt x="2" y="24"/>
                  </a:lnTo>
                  <a:lnTo>
                    <a:pt x="5" y="22"/>
                  </a:lnTo>
                  <a:lnTo>
                    <a:pt x="7" y="22"/>
                  </a:lnTo>
                  <a:lnTo>
                    <a:pt x="7" y="22"/>
                  </a:lnTo>
                  <a:lnTo>
                    <a:pt x="12" y="22"/>
                  </a:lnTo>
                  <a:lnTo>
                    <a:pt x="16" y="19"/>
                  </a:lnTo>
                  <a:lnTo>
                    <a:pt x="16" y="17"/>
                  </a:lnTo>
                  <a:lnTo>
                    <a:pt x="19" y="17"/>
                  </a:lnTo>
                  <a:lnTo>
                    <a:pt x="21" y="12"/>
                  </a:lnTo>
                  <a:lnTo>
                    <a:pt x="21" y="10"/>
                  </a:lnTo>
                  <a:lnTo>
                    <a:pt x="21" y="8"/>
                  </a:lnTo>
                  <a:lnTo>
                    <a:pt x="26" y="8"/>
                  </a:lnTo>
                  <a:lnTo>
                    <a:pt x="26" y="5"/>
                  </a:lnTo>
                  <a:lnTo>
                    <a:pt x="28" y="3"/>
                  </a:lnTo>
                  <a:lnTo>
                    <a:pt x="33" y="3"/>
                  </a:lnTo>
                  <a:lnTo>
                    <a:pt x="33" y="0"/>
                  </a:lnTo>
                  <a:lnTo>
                    <a:pt x="38" y="3"/>
                  </a:lnTo>
                  <a:lnTo>
                    <a:pt x="40" y="0"/>
                  </a:lnTo>
                  <a:lnTo>
                    <a:pt x="45" y="0"/>
                  </a:lnTo>
                  <a:lnTo>
                    <a:pt x="47" y="0"/>
                  </a:lnTo>
                  <a:lnTo>
                    <a:pt x="49" y="5"/>
                  </a:lnTo>
                  <a:lnTo>
                    <a:pt x="52" y="8"/>
                  </a:lnTo>
                  <a:lnTo>
                    <a:pt x="54" y="8"/>
                  </a:lnTo>
                  <a:lnTo>
                    <a:pt x="59" y="8"/>
                  </a:lnTo>
                  <a:lnTo>
                    <a:pt x="61" y="3"/>
                  </a:lnTo>
                  <a:lnTo>
                    <a:pt x="66" y="3"/>
                  </a:lnTo>
                  <a:lnTo>
                    <a:pt x="71" y="5"/>
                  </a:lnTo>
                  <a:lnTo>
                    <a:pt x="73" y="5"/>
                  </a:lnTo>
                  <a:lnTo>
                    <a:pt x="75" y="3"/>
                  </a:lnTo>
                  <a:lnTo>
                    <a:pt x="80" y="3"/>
                  </a:lnTo>
                  <a:lnTo>
                    <a:pt x="85" y="3"/>
                  </a:lnTo>
                  <a:lnTo>
                    <a:pt x="87" y="5"/>
                  </a:lnTo>
                  <a:lnTo>
                    <a:pt x="90" y="8"/>
                  </a:lnTo>
                  <a:lnTo>
                    <a:pt x="94" y="10"/>
                  </a:lnTo>
                  <a:lnTo>
                    <a:pt x="97" y="12"/>
                  </a:lnTo>
                  <a:lnTo>
                    <a:pt x="97" y="15"/>
                  </a:lnTo>
                  <a:lnTo>
                    <a:pt x="92" y="22"/>
                  </a:lnTo>
                  <a:lnTo>
                    <a:pt x="90" y="3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3" name="Freeform 1102">
              <a:extLst>
                <a:ext uri="{FF2B5EF4-FFF2-40B4-BE49-F238E27FC236}">
                  <a16:creationId xmlns:a16="http://schemas.microsoft.com/office/drawing/2014/main" id="{14A47F60-51F4-45C4-BBC4-3E3C7753E082}"/>
                </a:ext>
              </a:extLst>
            </p:cNvPr>
            <p:cNvSpPr>
              <a:spLocks/>
            </p:cNvSpPr>
            <p:nvPr/>
          </p:nvSpPr>
          <p:spPr bwMode="auto">
            <a:xfrm>
              <a:off x="1540716" y="3044790"/>
              <a:ext cx="7938" cy="15875"/>
            </a:xfrm>
            <a:custGeom>
              <a:avLst/>
              <a:gdLst>
                <a:gd name="T0" fmla="*/ 3 w 5"/>
                <a:gd name="T1" fmla="*/ 10 h 10"/>
                <a:gd name="T2" fmla="*/ 5 w 5"/>
                <a:gd name="T3" fmla="*/ 7 h 10"/>
                <a:gd name="T4" fmla="*/ 5 w 5"/>
                <a:gd name="T5" fmla="*/ 3 h 10"/>
                <a:gd name="T6" fmla="*/ 3 w 5"/>
                <a:gd name="T7" fmla="*/ 0 h 10"/>
                <a:gd name="T8" fmla="*/ 0 w 5"/>
                <a:gd name="T9" fmla="*/ 0 h 10"/>
                <a:gd name="T10" fmla="*/ 0 w 5"/>
                <a:gd name="T11" fmla="*/ 3 h 10"/>
                <a:gd name="T12" fmla="*/ 0 w 5"/>
                <a:gd name="T13" fmla="*/ 5 h 10"/>
                <a:gd name="T14" fmla="*/ 3 w 5"/>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10"/>
                  </a:moveTo>
                  <a:lnTo>
                    <a:pt x="5" y="7"/>
                  </a:lnTo>
                  <a:lnTo>
                    <a:pt x="5" y="3"/>
                  </a:lnTo>
                  <a:lnTo>
                    <a:pt x="3" y="0"/>
                  </a:lnTo>
                  <a:lnTo>
                    <a:pt x="0" y="0"/>
                  </a:lnTo>
                  <a:lnTo>
                    <a:pt x="0" y="3"/>
                  </a:lnTo>
                  <a:lnTo>
                    <a:pt x="0" y="5"/>
                  </a:lnTo>
                  <a:lnTo>
                    <a:pt x="3"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4" name="Freeform 1103">
              <a:extLst>
                <a:ext uri="{FF2B5EF4-FFF2-40B4-BE49-F238E27FC236}">
                  <a16:creationId xmlns:a16="http://schemas.microsoft.com/office/drawing/2014/main" id="{AF8C1155-961B-4E1A-85CF-18866541C9ED}"/>
                </a:ext>
              </a:extLst>
            </p:cNvPr>
            <p:cNvSpPr>
              <a:spLocks/>
            </p:cNvSpPr>
            <p:nvPr/>
          </p:nvSpPr>
          <p:spPr bwMode="auto">
            <a:xfrm>
              <a:off x="1540716" y="3044790"/>
              <a:ext cx="7938" cy="15875"/>
            </a:xfrm>
            <a:custGeom>
              <a:avLst/>
              <a:gdLst>
                <a:gd name="T0" fmla="*/ 3 w 5"/>
                <a:gd name="T1" fmla="*/ 10 h 10"/>
                <a:gd name="T2" fmla="*/ 5 w 5"/>
                <a:gd name="T3" fmla="*/ 7 h 10"/>
                <a:gd name="T4" fmla="*/ 5 w 5"/>
                <a:gd name="T5" fmla="*/ 3 h 10"/>
                <a:gd name="T6" fmla="*/ 3 w 5"/>
                <a:gd name="T7" fmla="*/ 0 h 10"/>
                <a:gd name="T8" fmla="*/ 0 w 5"/>
                <a:gd name="T9" fmla="*/ 0 h 10"/>
                <a:gd name="T10" fmla="*/ 0 w 5"/>
                <a:gd name="T11" fmla="*/ 3 h 10"/>
                <a:gd name="T12" fmla="*/ 0 w 5"/>
                <a:gd name="T13" fmla="*/ 5 h 10"/>
                <a:gd name="T14" fmla="*/ 3 w 5"/>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3" y="10"/>
                  </a:moveTo>
                  <a:lnTo>
                    <a:pt x="5" y="7"/>
                  </a:lnTo>
                  <a:lnTo>
                    <a:pt x="5" y="3"/>
                  </a:lnTo>
                  <a:lnTo>
                    <a:pt x="3" y="0"/>
                  </a:lnTo>
                  <a:lnTo>
                    <a:pt x="0" y="0"/>
                  </a:lnTo>
                  <a:lnTo>
                    <a:pt x="0" y="3"/>
                  </a:lnTo>
                  <a:lnTo>
                    <a:pt x="0" y="5"/>
                  </a:lnTo>
                  <a:lnTo>
                    <a:pt x="3"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5" name="Freeform 1104">
              <a:extLst>
                <a:ext uri="{FF2B5EF4-FFF2-40B4-BE49-F238E27FC236}">
                  <a16:creationId xmlns:a16="http://schemas.microsoft.com/office/drawing/2014/main" id="{8155C514-980E-4375-8C67-F599BB2B4EB8}"/>
                </a:ext>
              </a:extLst>
            </p:cNvPr>
            <p:cNvSpPr>
              <a:spLocks/>
            </p:cNvSpPr>
            <p:nvPr/>
          </p:nvSpPr>
          <p:spPr bwMode="auto">
            <a:xfrm>
              <a:off x="2261440" y="3419440"/>
              <a:ext cx="195262" cy="169863"/>
            </a:xfrm>
            <a:custGeom>
              <a:avLst/>
              <a:gdLst>
                <a:gd name="T0" fmla="*/ 75 w 123"/>
                <a:gd name="T1" fmla="*/ 74 h 107"/>
                <a:gd name="T2" fmla="*/ 92 w 123"/>
                <a:gd name="T3" fmla="*/ 64 h 107"/>
                <a:gd name="T4" fmla="*/ 99 w 123"/>
                <a:gd name="T5" fmla="*/ 55 h 107"/>
                <a:gd name="T6" fmla="*/ 111 w 123"/>
                <a:gd name="T7" fmla="*/ 17 h 107"/>
                <a:gd name="T8" fmla="*/ 118 w 123"/>
                <a:gd name="T9" fmla="*/ 5 h 107"/>
                <a:gd name="T10" fmla="*/ 118 w 123"/>
                <a:gd name="T11" fmla="*/ 0 h 107"/>
                <a:gd name="T12" fmla="*/ 108 w 123"/>
                <a:gd name="T13" fmla="*/ 5 h 107"/>
                <a:gd name="T14" fmla="*/ 92 w 123"/>
                <a:gd name="T15" fmla="*/ 5 h 107"/>
                <a:gd name="T16" fmla="*/ 80 w 123"/>
                <a:gd name="T17" fmla="*/ 10 h 107"/>
                <a:gd name="T18" fmla="*/ 64 w 123"/>
                <a:gd name="T19" fmla="*/ 15 h 107"/>
                <a:gd name="T20" fmla="*/ 49 w 123"/>
                <a:gd name="T21" fmla="*/ 10 h 107"/>
                <a:gd name="T22" fmla="*/ 38 w 123"/>
                <a:gd name="T23" fmla="*/ 15 h 107"/>
                <a:gd name="T24" fmla="*/ 31 w 123"/>
                <a:gd name="T25" fmla="*/ 15 h 107"/>
                <a:gd name="T26" fmla="*/ 26 w 123"/>
                <a:gd name="T27" fmla="*/ 15 h 107"/>
                <a:gd name="T28" fmla="*/ 26 w 123"/>
                <a:gd name="T29" fmla="*/ 12 h 107"/>
                <a:gd name="T30" fmla="*/ 19 w 123"/>
                <a:gd name="T31" fmla="*/ 15 h 107"/>
                <a:gd name="T32" fmla="*/ 16 w 123"/>
                <a:gd name="T33" fmla="*/ 19 h 107"/>
                <a:gd name="T34" fmla="*/ 19 w 123"/>
                <a:gd name="T35" fmla="*/ 24 h 107"/>
                <a:gd name="T36" fmla="*/ 14 w 123"/>
                <a:gd name="T37" fmla="*/ 26 h 107"/>
                <a:gd name="T38" fmla="*/ 12 w 123"/>
                <a:gd name="T39" fmla="*/ 31 h 107"/>
                <a:gd name="T40" fmla="*/ 9 w 123"/>
                <a:gd name="T41" fmla="*/ 31 h 107"/>
                <a:gd name="T42" fmla="*/ 5 w 123"/>
                <a:gd name="T43" fmla="*/ 38 h 107"/>
                <a:gd name="T44" fmla="*/ 7 w 123"/>
                <a:gd name="T45" fmla="*/ 50 h 107"/>
                <a:gd name="T46" fmla="*/ 14 w 123"/>
                <a:gd name="T47" fmla="*/ 57 h 107"/>
                <a:gd name="T48" fmla="*/ 14 w 123"/>
                <a:gd name="T49" fmla="*/ 57 h 107"/>
                <a:gd name="T50" fmla="*/ 16 w 123"/>
                <a:gd name="T51" fmla="*/ 59 h 107"/>
                <a:gd name="T52" fmla="*/ 14 w 123"/>
                <a:gd name="T53" fmla="*/ 59 h 107"/>
                <a:gd name="T54" fmla="*/ 16 w 123"/>
                <a:gd name="T55" fmla="*/ 62 h 107"/>
                <a:gd name="T56" fmla="*/ 19 w 123"/>
                <a:gd name="T57" fmla="*/ 64 h 107"/>
                <a:gd name="T58" fmla="*/ 19 w 123"/>
                <a:gd name="T59" fmla="*/ 69 h 107"/>
                <a:gd name="T60" fmla="*/ 16 w 123"/>
                <a:gd name="T61" fmla="*/ 71 h 107"/>
                <a:gd name="T62" fmla="*/ 14 w 123"/>
                <a:gd name="T63" fmla="*/ 74 h 107"/>
                <a:gd name="T64" fmla="*/ 16 w 123"/>
                <a:gd name="T65" fmla="*/ 76 h 107"/>
                <a:gd name="T66" fmla="*/ 14 w 123"/>
                <a:gd name="T67" fmla="*/ 76 h 107"/>
                <a:gd name="T68" fmla="*/ 7 w 123"/>
                <a:gd name="T69" fmla="*/ 78 h 107"/>
                <a:gd name="T70" fmla="*/ 9 w 123"/>
                <a:gd name="T71" fmla="*/ 81 h 107"/>
                <a:gd name="T72" fmla="*/ 7 w 123"/>
                <a:gd name="T73" fmla="*/ 83 h 107"/>
                <a:gd name="T74" fmla="*/ 2 w 123"/>
                <a:gd name="T75" fmla="*/ 85 h 107"/>
                <a:gd name="T76" fmla="*/ 0 w 123"/>
                <a:gd name="T77" fmla="*/ 92 h 107"/>
                <a:gd name="T78" fmla="*/ 0 w 123"/>
                <a:gd name="T79" fmla="*/ 97 h 107"/>
                <a:gd name="T80" fmla="*/ 5 w 123"/>
                <a:gd name="T81" fmla="*/ 100 h 107"/>
                <a:gd name="T82" fmla="*/ 12 w 123"/>
                <a:gd name="T83" fmla="*/ 107 h 107"/>
                <a:gd name="T84" fmla="*/ 19 w 123"/>
                <a:gd name="T85" fmla="*/ 107 h 107"/>
                <a:gd name="T86" fmla="*/ 57 w 123"/>
                <a:gd name="T87" fmla="*/ 8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07">
                  <a:moveTo>
                    <a:pt x="57" y="85"/>
                  </a:moveTo>
                  <a:lnTo>
                    <a:pt x="71" y="76"/>
                  </a:lnTo>
                  <a:lnTo>
                    <a:pt x="75" y="74"/>
                  </a:lnTo>
                  <a:lnTo>
                    <a:pt x="80" y="71"/>
                  </a:lnTo>
                  <a:lnTo>
                    <a:pt x="87" y="67"/>
                  </a:lnTo>
                  <a:lnTo>
                    <a:pt x="92" y="64"/>
                  </a:lnTo>
                  <a:lnTo>
                    <a:pt x="92" y="64"/>
                  </a:lnTo>
                  <a:lnTo>
                    <a:pt x="97" y="62"/>
                  </a:lnTo>
                  <a:lnTo>
                    <a:pt x="99" y="55"/>
                  </a:lnTo>
                  <a:lnTo>
                    <a:pt x="101" y="43"/>
                  </a:lnTo>
                  <a:lnTo>
                    <a:pt x="101" y="19"/>
                  </a:lnTo>
                  <a:lnTo>
                    <a:pt x="111" y="17"/>
                  </a:lnTo>
                  <a:lnTo>
                    <a:pt x="118" y="7"/>
                  </a:lnTo>
                  <a:lnTo>
                    <a:pt x="123" y="5"/>
                  </a:lnTo>
                  <a:lnTo>
                    <a:pt x="118" y="5"/>
                  </a:lnTo>
                  <a:lnTo>
                    <a:pt x="118" y="3"/>
                  </a:lnTo>
                  <a:lnTo>
                    <a:pt x="118" y="3"/>
                  </a:lnTo>
                  <a:lnTo>
                    <a:pt x="118" y="0"/>
                  </a:lnTo>
                  <a:lnTo>
                    <a:pt x="116" y="0"/>
                  </a:lnTo>
                  <a:lnTo>
                    <a:pt x="113" y="3"/>
                  </a:lnTo>
                  <a:lnTo>
                    <a:pt x="108" y="5"/>
                  </a:lnTo>
                  <a:lnTo>
                    <a:pt x="97" y="5"/>
                  </a:lnTo>
                  <a:lnTo>
                    <a:pt x="94" y="5"/>
                  </a:lnTo>
                  <a:lnTo>
                    <a:pt x="92" y="5"/>
                  </a:lnTo>
                  <a:lnTo>
                    <a:pt x="87" y="7"/>
                  </a:lnTo>
                  <a:lnTo>
                    <a:pt x="82" y="10"/>
                  </a:lnTo>
                  <a:lnTo>
                    <a:pt x="80" y="10"/>
                  </a:lnTo>
                  <a:lnTo>
                    <a:pt x="75" y="12"/>
                  </a:lnTo>
                  <a:lnTo>
                    <a:pt x="75" y="12"/>
                  </a:lnTo>
                  <a:lnTo>
                    <a:pt x="64" y="15"/>
                  </a:lnTo>
                  <a:lnTo>
                    <a:pt x="57" y="12"/>
                  </a:lnTo>
                  <a:lnTo>
                    <a:pt x="52" y="10"/>
                  </a:lnTo>
                  <a:lnTo>
                    <a:pt x="49" y="10"/>
                  </a:lnTo>
                  <a:lnTo>
                    <a:pt x="45" y="10"/>
                  </a:lnTo>
                  <a:lnTo>
                    <a:pt x="42" y="12"/>
                  </a:lnTo>
                  <a:lnTo>
                    <a:pt x="38" y="15"/>
                  </a:lnTo>
                  <a:lnTo>
                    <a:pt x="35" y="15"/>
                  </a:lnTo>
                  <a:lnTo>
                    <a:pt x="35" y="15"/>
                  </a:lnTo>
                  <a:lnTo>
                    <a:pt x="31" y="15"/>
                  </a:lnTo>
                  <a:lnTo>
                    <a:pt x="26" y="15"/>
                  </a:lnTo>
                  <a:lnTo>
                    <a:pt x="26" y="15"/>
                  </a:lnTo>
                  <a:lnTo>
                    <a:pt x="26" y="15"/>
                  </a:lnTo>
                  <a:lnTo>
                    <a:pt x="26" y="15"/>
                  </a:lnTo>
                  <a:lnTo>
                    <a:pt x="26" y="12"/>
                  </a:lnTo>
                  <a:lnTo>
                    <a:pt x="26" y="12"/>
                  </a:lnTo>
                  <a:lnTo>
                    <a:pt x="21" y="12"/>
                  </a:lnTo>
                  <a:lnTo>
                    <a:pt x="21" y="12"/>
                  </a:lnTo>
                  <a:lnTo>
                    <a:pt x="19" y="15"/>
                  </a:lnTo>
                  <a:lnTo>
                    <a:pt x="19" y="15"/>
                  </a:lnTo>
                  <a:lnTo>
                    <a:pt x="19" y="17"/>
                  </a:lnTo>
                  <a:lnTo>
                    <a:pt x="16" y="19"/>
                  </a:lnTo>
                  <a:lnTo>
                    <a:pt x="21" y="24"/>
                  </a:lnTo>
                  <a:lnTo>
                    <a:pt x="21" y="24"/>
                  </a:lnTo>
                  <a:lnTo>
                    <a:pt x="19" y="24"/>
                  </a:lnTo>
                  <a:lnTo>
                    <a:pt x="16" y="24"/>
                  </a:lnTo>
                  <a:lnTo>
                    <a:pt x="14" y="26"/>
                  </a:lnTo>
                  <a:lnTo>
                    <a:pt x="14" y="26"/>
                  </a:lnTo>
                  <a:lnTo>
                    <a:pt x="14" y="29"/>
                  </a:lnTo>
                  <a:lnTo>
                    <a:pt x="14" y="31"/>
                  </a:lnTo>
                  <a:lnTo>
                    <a:pt x="12" y="31"/>
                  </a:lnTo>
                  <a:lnTo>
                    <a:pt x="12" y="33"/>
                  </a:lnTo>
                  <a:lnTo>
                    <a:pt x="9" y="31"/>
                  </a:lnTo>
                  <a:lnTo>
                    <a:pt x="9" y="31"/>
                  </a:lnTo>
                  <a:lnTo>
                    <a:pt x="7" y="31"/>
                  </a:lnTo>
                  <a:lnTo>
                    <a:pt x="7" y="33"/>
                  </a:lnTo>
                  <a:lnTo>
                    <a:pt x="5" y="38"/>
                  </a:lnTo>
                  <a:lnTo>
                    <a:pt x="7" y="41"/>
                  </a:lnTo>
                  <a:lnTo>
                    <a:pt x="7" y="43"/>
                  </a:lnTo>
                  <a:lnTo>
                    <a:pt x="7" y="50"/>
                  </a:lnTo>
                  <a:lnTo>
                    <a:pt x="7" y="55"/>
                  </a:lnTo>
                  <a:lnTo>
                    <a:pt x="7" y="57"/>
                  </a:lnTo>
                  <a:lnTo>
                    <a:pt x="14" y="57"/>
                  </a:lnTo>
                  <a:lnTo>
                    <a:pt x="14" y="57"/>
                  </a:lnTo>
                  <a:lnTo>
                    <a:pt x="14" y="55"/>
                  </a:lnTo>
                  <a:lnTo>
                    <a:pt x="14" y="57"/>
                  </a:lnTo>
                  <a:lnTo>
                    <a:pt x="16" y="57"/>
                  </a:lnTo>
                  <a:lnTo>
                    <a:pt x="16" y="57"/>
                  </a:lnTo>
                  <a:lnTo>
                    <a:pt x="16" y="59"/>
                  </a:lnTo>
                  <a:lnTo>
                    <a:pt x="16" y="59"/>
                  </a:lnTo>
                  <a:lnTo>
                    <a:pt x="16" y="59"/>
                  </a:lnTo>
                  <a:lnTo>
                    <a:pt x="14" y="59"/>
                  </a:lnTo>
                  <a:lnTo>
                    <a:pt x="14" y="59"/>
                  </a:lnTo>
                  <a:lnTo>
                    <a:pt x="16" y="59"/>
                  </a:lnTo>
                  <a:lnTo>
                    <a:pt x="16" y="62"/>
                  </a:lnTo>
                  <a:lnTo>
                    <a:pt x="19" y="62"/>
                  </a:lnTo>
                  <a:lnTo>
                    <a:pt x="19" y="64"/>
                  </a:lnTo>
                  <a:lnTo>
                    <a:pt x="19" y="64"/>
                  </a:lnTo>
                  <a:lnTo>
                    <a:pt x="19" y="67"/>
                  </a:lnTo>
                  <a:lnTo>
                    <a:pt x="21" y="67"/>
                  </a:lnTo>
                  <a:lnTo>
                    <a:pt x="19" y="69"/>
                  </a:lnTo>
                  <a:lnTo>
                    <a:pt x="19" y="69"/>
                  </a:lnTo>
                  <a:lnTo>
                    <a:pt x="19" y="69"/>
                  </a:lnTo>
                  <a:lnTo>
                    <a:pt x="16" y="71"/>
                  </a:lnTo>
                  <a:lnTo>
                    <a:pt x="14" y="71"/>
                  </a:lnTo>
                  <a:lnTo>
                    <a:pt x="14" y="71"/>
                  </a:lnTo>
                  <a:lnTo>
                    <a:pt x="14" y="74"/>
                  </a:lnTo>
                  <a:lnTo>
                    <a:pt x="14" y="74"/>
                  </a:lnTo>
                  <a:lnTo>
                    <a:pt x="14" y="74"/>
                  </a:lnTo>
                  <a:lnTo>
                    <a:pt x="16" y="76"/>
                  </a:lnTo>
                  <a:lnTo>
                    <a:pt x="14" y="76"/>
                  </a:lnTo>
                  <a:lnTo>
                    <a:pt x="14" y="76"/>
                  </a:lnTo>
                  <a:lnTo>
                    <a:pt x="14" y="76"/>
                  </a:lnTo>
                  <a:lnTo>
                    <a:pt x="9" y="76"/>
                  </a:lnTo>
                  <a:lnTo>
                    <a:pt x="9" y="78"/>
                  </a:lnTo>
                  <a:lnTo>
                    <a:pt x="7" y="78"/>
                  </a:lnTo>
                  <a:lnTo>
                    <a:pt x="7" y="81"/>
                  </a:lnTo>
                  <a:lnTo>
                    <a:pt x="7" y="81"/>
                  </a:lnTo>
                  <a:lnTo>
                    <a:pt x="9" y="81"/>
                  </a:lnTo>
                  <a:lnTo>
                    <a:pt x="9" y="83"/>
                  </a:lnTo>
                  <a:lnTo>
                    <a:pt x="7" y="83"/>
                  </a:lnTo>
                  <a:lnTo>
                    <a:pt x="7" y="83"/>
                  </a:lnTo>
                  <a:lnTo>
                    <a:pt x="5" y="85"/>
                  </a:lnTo>
                  <a:lnTo>
                    <a:pt x="5" y="85"/>
                  </a:lnTo>
                  <a:lnTo>
                    <a:pt x="2" y="85"/>
                  </a:lnTo>
                  <a:lnTo>
                    <a:pt x="0" y="88"/>
                  </a:lnTo>
                  <a:lnTo>
                    <a:pt x="0" y="92"/>
                  </a:lnTo>
                  <a:lnTo>
                    <a:pt x="0" y="92"/>
                  </a:lnTo>
                  <a:lnTo>
                    <a:pt x="0" y="95"/>
                  </a:lnTo>
                  <a:lnTo>
                    <a:pt x="0" y="95"/>
                  </a:lnTo>
                  <a:lnTo>
                    <a:pt x="0" y="97"/>
                  </a:lnTo>
                  <a:lnTo>
                    <a:pt x="0" y="100"/>
                  </a:lnTo>
                  <a:lnTo>
                    <a:pt x="2" y="100"/>
                  </a:lnTo>
                  <a:lnTo>
                    <a:pt x="5" y="100"/>
                  </a:lnTo>
                  <a:lnTo>
                    <a:pt x="5" y="102"/>
                  </a:lnTo>
                  <a:lnTo>
                    <a:pt x="7" y="104"/>
                  </a:lnTo>
                  <a:lnTo>
                    <a:pt x="12" y="107"/>
                  </a:lnTo>
                  <a:lnTo>
                    <a:pt x="12" y="107"/>
                  </a:lnTo>
                  <a:lnTo>
                    <a:pt x="16" y="107"/>
                  </a:lnTo>
                  <a:lnTo>
                    <a:pt x="19" y="107"/>
                  </a:lnTo>
                  <a:lnTo>
                    <a:pt x="33" y="97"/>
                  </a:lnTo>
                  <a:lnTo>
                    <a:pt x="40" y="95"/>
                  </a:lnTo>
                  <a:lnTo>
                    <a:pt x="57" y="8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6" name="Freeform 1105">
              <a:extLst>
                <a:ext uri="{FF2B5EF4-FFF2-40B4-BE49-F238E27FC236}">
                  <a16:creationId xmlns:a16="http://schemas.microsoft.com/office/drawing/2014/main" id="{487A8F41-3BAE-4403-8E57-04603C1C4462}"/>
                </a:ext>
              </a:extLst>
            </p:cNvPr>
            <p:cNvSpPr>
              <a:spLocks/>
            </p:cNvSpPr>
            <p:nvPr/>
          </p:nvSpPr>
          <p:spPr bwMode="auto">
            <a:xfrm>
              <a:off x="2261440" y="3419440"/>
              <a:ext cx="195262" cy="169863"/>
            </a:xfrm>
            <a:custGeom>
              <a:avLst/>
              <a:gdLst>
                <a:gd name="T0" fmla="*/ 75 w 123"/>
                <a:gd name="T1" fmla="*/ 74 h 107"/>
                <a:gd name="T2" fmla="*/ 92 w 123"/>
                <a:gd name="T3" fmla="*/ 64 h 107"/>
                <a:gd name="T4" fmla="*/ 99 w 123"/>
                <a:gd name="T5" fmla="*/ 55 h 107"/>
                <a:gd name="T6" fmla="*/ 111 w 123"/>
                <a:gd name="T7" fmla="*/ 17 h 107"/>
                <a:gd name="T8" fmla="*/ 118 w 123"/>
                <a:gd name="T9" fmla="*/ 5 h 107"/>
                <a:gd name="T10" fmla="*/ 118 w 123"/>
                <a:gd name="T11" fmla="*/ 0 h 107"/>
                <a:gd name="T12" fmla="*/ 108 w 123"/>
                <a:gd name="T13" fmla="*/ 5 h 107"/>
                <a:gd name="T14" fmla="*/ 92 w 123"/>
                <a:gd name="T15" fmla="*/ 5 h 107"/>
                <a:gd name="T16" fmla="*/ 80 w 123"/>
                <a:gd name="T17" fmla="*/ 10 h 107"/>
                <a:gd name="T18" fmla="*/ 64 w 123"/>
                <a:gd name="T19" fmla="*/ 15 h 107"/>
                <a:gd name="T20" fmla="*/ 49 w 123"/>
                <a:gd name="T21" fmla="*/ 10 h 107"/>
                <a:gd name="T22" fmla="*/ 38 w 123"/>
                <a:gd name="T23" fmla="*/ 15 h 107"/>
                <a:gd name="T24" fmla="*/ 31 w 123"/>
                <a:gd name="T25" fmla="*/ 15 h 107"/>
                <a:gd name="T26" fmla="*/ 26 w 123"/>
                <a:gd name="T27" fmla="*/ 15 h 107"/>
                <a:gd name="T28" fmla="*/ 26 w 123"/>
                <a:gd name="T29" fmla="*/ 12 h 107"/>
                <a:gd name="T30" fmla="*/ 19 w 123"/>
                <a:gd name="T31" fmla="*/ 15 h 107"/>
                <a:gd name="T32" fmla="*/ 16 w 123"/>
                <a:gd name="T33" fmla="*/ 19 h 107"/>
                <a:gd name="T34" fmla="*/ 19 w 123"/>
                <a:gd name="T35" fmla="*/ 24 h 107"/>
                <a:gd name="T36" fmla="*/ 14 w 123"/>
                <a:gd name="T37" fmla="*/ 26 h 107"/>
                <a:gd name="T38" fmla="*/ 12 w 123"/>
                <a:gd name="T39" fmla="*/ 31 h 107"/>
                <a:gd name="T40" fmla="*/ 9 w 123"/>
                <a:gd name="T41" fmla="*/ 31 h 107"/>
                <a:gd name="T42" fmla="*/ 5 w 123"/>
                <a:gd name="T43" fmla="*/ 38 h 107"/>
                <a:gd name="T44" fmla="*/ 7 w 123"/>
                <a:gd name="T45" fmla="*/ 50 h 107"/>
                <a:gd name="T46" fmla="*/ 14 w 123"/>
                <a:gd name="T47" fmla="*/ 57 h 107"/>
                <a:gd name="T48" fmla="*/ 14 w 123"/>
                <a:gd name="T49" fmla="*/ 57 h 107"/>
                <a:gd name="T50" fmla="*/ 16 w 123"/>
                <a:gd name="T51" fmla="*/ 59 h 107"/>
                <a:gd name="T52" fmla="*/ 14 w 123"/>
                <a:gd name="T53" fmla="*/ 59 h 107"/>
                <a:gd name="T54" fmla="*/ 16 w 123"/>
                <a:gd name="T55" fmla="*/ 62 h 107"/>
                <a:gd name="T56" fmla="*/ 19 w 123"/>
                <a:gd name="T57" fmla="*/ 64 h 107"/>
                <a:gd name="T58" fmla="*/ 19 w 123"/>
                <a:gd name="T59" fmla="*/ 69 h 107"/>
                <a:gd name="T60" fmla="*/ 16 w 123"/>
                <a:gd name="T61" fmla="*/ 71 h 107"/>
                <a:gd name="T62" fmla="*/ 14 w 123"/>
                <a:gd name="T63" fmla="*/ 74 h 107"/>
                <a:gd name="T64" fmla="*/ 16 w 123"/>
                <a:gd name="T65" fmla="*/ 76 h 107"/>
                <a:gd name="T66" fmla="*/ 14 w 123"/>
                <a:gd name="T67" fmla="*/ 76 h 107"/>
                <a:gd name="T68" fmla="*/ 7 w 123"/>
                <a:gd name="T69" fmla="*/ 78 h 107"/>
                <a:gd name="T70" fmla="*/ 9 w 123"/>
                <a:gd name="T71" fmla="*/ 81 h 107"/>
                <a:gd name="T72" fmla="*/ 7 w 123"/>
                <a:gd name="T73" fmla="*/ 83 h 107"/>
                <a:gd name="T74" fmla="*/ 2 w 123"/>
                <a:gd name="T75" fmla="*/ 85 h 107"/>
                <a:gd name="T76" fmla="*/ 0 w 123"/>
                <a:gd name="T77" fmla="*/ 92 h 107"/>
                <a:gd name="T78" fmla="*/ 0 w 123"/>
                <a:gd name="T79" fmla="*/ 97 h 107"/>
                <a:gd name="T80" fmla="*/ 5 w 123"/>
                <a:gd name="T81" fmla="*/ 100 h 107"/>
                <a:gd name="T82" fmla="*/ 12 w 123"/>
                <a:gd name="T83" fmla="*/ 107 h 107"/>
                <a:gd name="T84" fmla="*/ 19 w 123"/>
                <a:gd name="T85" fmla="*/ 107 h 107"/>
                <a:gd name="T86" fmla="*/ 57 w 123"/>
                <a:gd name="T87" fmla="*/ 8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07">
                  <a:moveTo>
                    <a:pt x="57" y="85"/>
                  </a:moveTo>
                  <a:lnTo>
                    <a:pt x="71" y="76"/>
                  </a:lnTo>
                  <a:lnTo>
                    <a:pt x="75" y="74"/>
                  </a:lnTo>
                  <a:lnTo>
                    <a:pt x="80" y="71"/>
                  </a:lnTo>
                  <a:lnTo>
                    <a:pt x="87" y="67"/>
                  </a:lnTo>
                  <a:lnTo>
                    <a:pt x="92" y="64"/>
                  </a:lnTo>
                  <a:lnTo>
                    <a:pt x="92" y="64"/>
                  </a:lnTo>
                  <a:lnTo>
                    <a:pt x="97" y="62"/>
                  </a:lnTo>
                  <a:lnTo>
                    <a:pt x="99" y="55"/>
                  </a:lnTo>
                  <a:lnTo>
                    <a:pt x="101" y="43"/>
                  </a:lnTo>
                  <a:lnTo>
                    <a:pt x="101" y="19"/>
                  </a:lnTo>
                  <a:lnTo>
                    <a:pt x="111" y="17"/>
                  </a:lnTo>
                  <a:lnTo>
                    <a:pt x="118" y="7"/>
                  </a:lnTo>
                  <a:lnTo>
                    <a:pt x="123" y="5"/>
                  </a:lnTo>
                  <a:lnTo>
                    <a:pt x="118" y="5"/>
                  </a:lnTo>
                  <a:lnTo>
                    <a:pt x="118" y="3"/>
                  </a:lnTo>
                  <a:lnTo>
                    <a:pt x="118" y="3"/>
                  </a:lnTo>
                  <a:lnTo>
                    <a:pt x="118" y="0"/>
                  </a:lnTo>
                  <a:lnTo>
                    <a:pt x="116" y="0"/>
                  </a:lnTo>
                  <a:lnTo>
                    <a:pt x="113" y="3"/>
                  </a:lnTo>
                  <a:lnTo>
                    <a:pt x="108" y="5"/>
                  </a:lnTo>
                  <a:lnTo>
                    <a:pt x="97" y="5"/>
                  </a:lnTo>
                  <a:lnTo>
                    <a:pt x="94" y="5"/>
                  </a:lnTo>
                  <a:lnTo>
                    <a:pt x="92" y="5"/>
                  </a:lnTo>
                  <a:lnTo>
                    <a:pt x="87" y="7"/>
                  </a:lnTo>
                  <a:lnTo>
                    <a:pt x="82" y="10"/>
                  </a:lnTo>
                  <a:lnTo>
                    <a:pt x="80" y="10"/>
                  </a:lnTo>
                  <a:lnTo>
                    <a:pt x="75" y="12"/>
                  </a:lnTo>
                  <a:lnTo>
                    <a:pt x="75" y="12"/>
                  </a:lnTo>
                  <a:lnTo>
                    <a:pt x="64" y="15"/>
                  </a:lnTo>
                  <a:lnTo>
                    <a:pt x="57" y="12"/>
                  </a:lnTo>
                  <a:lnTo>
                    <a:pt x="52" y="10"/>
                  </a:lnTo>
                  <a:lnTo>
                    <a:pt x="49" y="10"/>
                  </a:lnTo>
                  <a:lnTo>
                    <a:pt x="45" y="10"/>
                  </a:lnTo>
                  <a:lnTo>
                    <a:pt x="42" y="12"/>
                  </a:lnTo>
                  <a:lnTo>
                    <a:pt x="38" y="15"/>
                  </a:lnTo>
                  <a:lnTo>
                    <a:pt x="35" y="15"/>
                  </a:lnTo>
                  <a:lnTo>
                    <a:pt x="35" y="15"/>
                  </a:lnTo>
                  <a:lnTo>
                    <a:pt x="31" y="15"/>
                  </a:lnTo>
                  <a:lnTo>
                    <a:pt x="26" y="15"/>
                  </a:lnTo>
                  <a:lnTo>
                    <a:pt x="26" y="15"/>
                  </a:lnTo>
                  <a:lnTo>
                    <a:pt x="26" y="15"/>
                  </a:lnTo>
                  <a:lnTo>
                    <a:pt x="26" y="15"/>
                  </a:lnTo>
                  <a:lnTo>
                    <a:pt x="26" y="12"/>
                  </a:lnTo>
                  <a:lnTo>
                    <a:pt x="26" y="12"/>
                  </a:lnTo>
                  <a:lnTo>
                    <a:pt x="21" y="12"/>
                  </a:lnTo>
                  <a:lnTo>
                    <a:pt x="21" y="12"/>
                  </a:lnTo>
                  <a:lnTo>
                    <a:pt x="19" y="15"/>
                  </a:lnTo>
                  <a:lnTo>
                    <a:pt x="19" y="15"/>
                  </a:lnTo>
                  <a:lnTo>
                    <a:pt x="19" y="17"/>
                  </a:lnTo>
                  <a:lnTo>
                    <a:pt x="16" y="19"/>
                  </a:lnTo>
                  <a:lnTo>
                    <a:pt x="21" y="24"/>
                  </a:lnTo>
                  <a:lnTo>
                    <a:pt x="21" y="24"/>
                  </a:lnTo>
                  <a:lnTo>
                    <a:pt x="19" y="24"/>
                  </a:lnTo>
                  <a:lnTo>
                    <a:pt x="16" y="24"/>
                  </a:lnTo>
                  <a:lnTo>
                    <a:pt x="14" y="26"/>
                  </a:lnTo>
                  <a:lnTo>
                    <a:pt x="14" y="26"/>
                  </a:lnTo>
                  <a:lnTo>
                    <a:pt x="14" y="29"/>
                  </a:lnTo>
                  <a:lnTo>
                    <a:pt x="14" y="31"/>
                  </a:lnTo>
                  <a:lnTo>
                    <a:pt x="12" y="31"/>
                  </a:lnTo>
                  <a:lnTo>
                    <a:pt x="12" y="33"/>
                  </a:lnTo>
                  <a:lnTo>
                    <a:pt x="9" y="31"/>
                  </a:lnTo>
                  <a:lnTo>
                    <a:pt x="9" y="31"/>
                  </a:lnTo>
                  <a:lnTo>
                    <a:pt x="7" y="31"/>
                  </a:lnTo>
                  <a:lnTo>
                    <a:pt x="7" y="33"/>
                  </a:lnTo>
                  <a:lnTo>
                    <a:pt x="5" y="38"/>
                  </a:lnTo>
                  <a:lnTo>
                    <a:pt x="7" y="41"/>
                  </a:lnTo>
                  <a:lnTo>
                    <a:pt x="7" y="43"/>
                  </a:lnTo>
                  <a:lnTo>
                    <a:pt x="7" y="50"/>
                  </a:lnTo>
                  <a:lnTo>
                    <a:pt x="7" y="55"/>
                  </a:lnTo>
                  <a:lnTo>
                    <a:pt x="7" y="57"/>
                  </a:lnTo>
                  <a:lnTo>
                    <a:pt x="14" y="57"/>
                  </a:lnTo>
                  <a:lnTo>
                    <a:pt x="14" y="57"/>
                  </a:lnTo>
                  <a:lnTo>
                    <a:pt x="14" y="55"/>
                  </a:lnTo>
                  <a:lnTo>
                    <a:pt x="14" y="57"/>
                  </a:lnTo>
                  <a:lnTo>
                    <a:pt x="16" y="57"/>
                  </a:lnTo>
                  <a:lnTo>
                    <a:pt x="16" y="57"/>
                  </a:lnTo>
                  <a:lnTo>
                    <a:pt x="16" y="59"/>
                  </a:lnTo>
                  <a:lnTo>
                    <a:pt x="16" y="59"/>
                  </a:lnTo>
                  <a:lnTo>
                    <a:pt x="16" y="59"/>
                  </a:lnTo>
                  <a:lnTo>
                    <a:pt x="14" y="59"/>
                  </a:lnTo>
                  <a:lnTo>
                    <a:pt x="14" y="59"/>
                  </a:lnTo>
                  <a:lnTo>
                    <a:pt x="16" y="59"/>
                  </a:lnTo>
                  <a:lnTo>
                    <a:pt x="16" y="62"/>
                  </a:lnTo>
                  <a:lnTo>
                    <a:pt x="19" y="62"/>
                  </a:lnTo>
                  <a:lnTo>
                    <a:pt x="19" y="64"/>
                  </a:lnTo>
                  <a:lnTo>
                    <a:pt x="19" y="64"/>
                  </a:lnTo>
                  <a:lnTo>
                    <a:pt x="19" y="67"/>
                  </a:lnTo>
                  <a:lnTo>
                    <a:pt x="21" y="67"/>
                  </a:lnTo>
                  <a:lnTo>
                    <a:pt x="19" y="69"/>
                  </a:lnTo>
                  <a:lnTo>
                    <a:pt x="19" y="69"/>
                  </a:lnTo>
                  <a:lnTo>
                    <a:pt x="19" y="69"/>
                  </a:lnTo>
                  <a:lnTo>
                    <a:pt x="16" y="71"/>
                  </a:lnTo>
                  <a:lnTo>
                    <a:pt x="14" y="71"/>
                  </a:lnTo>
                  <a:lnTo>
                    <a:pt x="14" y="71"/>
                  </a:lnTo>
                  <a:lnTo>
                    <a:pt x="14" y="74"/>
                  </a:lnTo>
                  <a:lnTo>
                    <a:pt x="14" y="74"/>
                  </a:lnTo>
                  <a:lnTo>
                    <a:pt x="14" y="74"/>
                  </a:lnTo>
                  <a:lnTo>
                    <a:pt x="16" y="76"/>
                  </a:lnTo>
                  <a:lnTo>
                    <a:pt x="14" y="76"/>
                  </a:lnTo>
                  <a:lnTo>
                    <a:pt x="14" y="76"/>
                  </a:lnTo>
                  <a:lnTo>
                    <a:pt x="14" y="76"/>
                  </a:lnTo>
                  <a:lnTo>
                    <a:pt x="9" y="76"/>
                  </a:lnTo>
                  <a:lnTo>
                    <a:pt x="9" y="78"/>
                  </a:lnTo>
                  <a:lnTo>
                    <a:pt x="7" y="78"/>
                  </a:lnTo>
                  <a:lnTo>
                    <a:pt x="7" y="81"/>
                  </a:lnTo>
                  <a:lnTo>
                    <a:pt x="7" y="81"/>
                  </a:lnTo>
                  <a:lnTo>
                    <a:pt x="9" y="81"/>
                  </a:lnTo>
                  <a:lnTo>
                    <a:pt x="9" y="83"/>
                  </a:lnTo>
                  <a:lnTo>
                    <a:pt x="7" y="83"/>
                  </a:lnTo>
                  <a:lnTo>
                    <a:pt x="7" y="83"/>
                  </a:lnTo>
                  <a:lnTo>
                    <a:pt x="5" y="85"/>
                  </a:lnTo>
                  <a:lnTo>
                    <a:pt x="5" y="85"/>
                  </a:lnTo>
                  <a:lnTo>
                    <a:pt x="2" y="85"/>
                  </a:lnTo>
                  <a:lnTo>
                    <a:pt x="0" y="88"/>
                  </a:lnTo>
                  <a:lnTo>
                    <a:pt x="0" y="92"/>
                  </a:lnTo>
                  <a:lnTo>
                    <a:pt x="0" y="92"/>
                  </a:lnTo>
                  <a:lnTo>
                    <a:pt x="0" y="95"/>
                  </a:lnTo>
                  <a:lnTo>
                    <a:pt x="0" y="95"/>
                  </a:lnTo>
                  <a:lnTo>
                    <a:pt x="0" y="97"/>
                  </a:lnTo>
                  <a:lnTo>
                    <a:pt x="0" y="100"/>
                  </a:lnTo>
                  <a:lnTo>
                    <a:pt x="2" y="100"/>
                  </a:lnTo>
                  <a:lnTo>
                    <a:pt x="5" y="100"/>
                  </a:lnTo>
                  <a:lnTo>
                    <a:pt x="5" y="102"/>
                  </a:lnTo>
                  <a:lnTo>
                    <a:pt x="7" y="104"/>
                  </a:lnTo>
                  <a:lnTo>
                    <a:pt x="12" y="107"/>
                  </a:lnTo>
                  <a:lnTo>
                    <a:pt x="12" y="107"/>
                  </a:lnTo>
                  <a:lnTo>
                    <a:pt x="16" y="107"/>
                  </a:lnTo>
                  <a:lnTo>
                    <a:pt x="19" y="107"/>
                  </a:lnTo>
                  <a:lnTo>
                    <a:pt x="33" y="97"/>
                  </a:lnTo>
                  <a:lnTo>
                    <a:pt x="40" y="95"/>
                  </a:lnTo>
                  <a:lnTo>
                    <a:pt x="57" y="85"/>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7" name="Freeform 1106">
              <a:extLst>
                <a:ext uri="{FF2B5EF4-FFF2-40B4-BE49-F238E27FC236}">
                  <a16:creationId xmlns:a16="http://schemas.microsoft.com/office/drawing/2014/main" id="{29C6DE9A-F0BE-45CA-8595-FC1369B7C51C}"/>
                </a:ext>
              </a:extLst>
            </p:cNvPr>
            <p:cNvSpPr>
              <a:spLocks/>
            </p:cNvSpPr>
            <p:nvPr/>
          </p:nvSpPr>
          <p:spPr bwMode="auto">
            <a:xfrm>
              <a:off x="2234454" y="3592478"/>
              <a:ext cx="585787" cy="503238"/>
            </a:xfrm>
            <a:custGeom>
              <a:avLst/>
              <a:gdLst>
                <a:gd name="T0" fmla="*/ 218 w 369"/>
                <a:gd name="T1" fmla="*/ 64 h 317"/>
                <a:gd name="T2" fmla="*/ 229 w 369"/>
                <a:gd name="T3" fmla="*/ 73 h 317"/>
                <a:gd name="T4" fmla="*/ 241 w 369"/>
                <a:gd name="T5" fmla="*/ 78 h 317"/>
                <a:gd name="T6" fmla="*/ 246 w 369"/>
                <a:gd name="T7" fmla="*/ 87 h 317"/>
                <a:gd name="T8" fmla="*/ 255 w 369"/>
                <a:gd name="T9" fmla="*/ 97 h 317"/>
                <a:gd name="T10" fmla="*/ 255 w 369"/>
                <a:gd name="T11" fmla="*/ 99 h 317"/>
                <a:gd name="T12" fmla="*/ 260 w 369"/>
                <a:gd name="T13" fmla="*/ 104 h 317"/>
                <a:gd name="T14" fmla="*/ 270 w 369"/>
                <a:gd name="T15" fmla="*/ 111 h 317"/>
                <a:gd name="T16" fmla="*/ 272 w 369"/>
                <a:gd name="T17" fmla="*/ 118 h 317"/>
                <a:gd name="T18" fmla="*/ 270 w 369"/>
                <a:gd name="T19" fmla="*/ 123 h 317"/>
                <a:gd name="T20" fmla="*/ 277 w 369"/>
                <a:gd name="T21" fmla="*/ 135 h 317"/>
                <a:gd name="T22" fmla="*/ 279 w 369"/>
                <a:gd name="T23" fmla="*/ 144 h 317"/>
                <a:gd name="T24" fmla="*/ 281 w 369"/>
                <a:gd name="T25" fmla="*/ 149 h 317"/>
                <a:gd name="T26" fmla="*/ 288 w 369"/>
                <a:gd name="T27" fmla="*/ 156 h 317"/>
                <a:gd name="T28" fmla="*/ 357 w 369"/>
                <a:gd name="T29" fmla="*/ 191 h 317"/>
                <a:gd name="T30" fmla="*/ 355 w 369"/>
                <a:gd name="T31" fmla="*/ 236 h 317"/>
                <a:gd name="T32" fmla="*/ 203 w 369"/>
                <a:gd name="T33" fmla="*/ 317 h 317"/>
                <a:gd name="T34" fmla="*/ 161 w 369"/>
                <a:gd name="T35" fmla="*/ 291 h 317"/>
                <a:gd name="T36" fmla="*/ 151 w 369"/>
                <a:gd name="T37" fmla="*/ 295 h 317"/>
                <a:gd name="T38" fmla="*/ 147 w 369"/>
                <a:gd name="T39" fmla="*/ 300 h 317"/>
                <a:gd name="T40" fmla="*/ 140 w 369"/>
                <a:gd name="T41" fmla="*/ 300 h 317"/>
                <a:gd name="T42" fmla="*/ 135 w 369"/>
                <a:gd name="T43" fmla="*/ 291 h 317"/>
                <a:gd name="T44" fmla="*/ 128 w 369"/>
                <a:gd name="T45" fmla="*/ 276 h 317"/>
                <a:gd name="T46" fmla="*/ 118 w 369"/>
                <a:gd name="T47" fmla="*/ 269 h 317"/>
                <a:gd name="T48" fmla="*/ 114 w 369"/>
                <a:gd name="T49" fmla="*/ 260 h 317"/>
                <a:gd name="T50" fmla="*/ 111 w 369"/>
                <a:gd name="T51" fmla="*/ 250 h 317"/>
                <a:gd name="T52" fmla="*/ 107 w 369"/>
                <a:gd name="T53" fmla="*/ 243 h 317"/>
                <a:gd name="T54" fmla="*/ 99 w 369"/>
                <a:gd name="T55" fmla="*/ 236 h 317"/>
                <a:gd name="T56" fmla="*/ 92 w 369"/>
                <a:gd name="T57" fmla="*/ 232 h 317"/>
                <a:gd name="T58" fmla="*/ 83 w 369"/>
                <a:gd name="T59" fmla="*/ 227 h 317"/>
                <a:gd name="T60" fmla="*/ 81 w 369"/>
                <a:gd name="T61" fmla="*/ 217 h 317"/>
                <a:gd name="T62" fmla="*/ 76 w 369"/>
                <a:gd name="T63" fmla="*/ 201 h 317"/>
                <a:gd name="T64" fmla="*/ 78 w 369"/>
                <a:gd name="T65" fmla="*/ 194 h 317"/>
                <a:gd name="T66" fmla="*/ 74 w 369"/>
                <a:gd name="T67" fmla="*/ 184 h 317"/>
                <a:gd name="T68" fmla="*/ 71 w 369"/>
                <a:gd name="T69" fmla="*/ 177 h 317"/>
                <a:gd name="T70" fmla="*/ 62 w 369"/>
                <a:gd name="T71" fmla="*/ 161 h 317"/>
                <a:gd name="T72" fmla="*/ 57 w 369"/>
                <a:gd name="T73" fmla="*/ 158 h 317"/>
                <a:gd name="T74" fmla="*/ 52 w 369"/>
                <a:gd name="T75" fmla="*/ 156 h 317"/>
                <a:gd name="T76" fmla="*/ 48 w 369"/>
                <a:gd name="T77" fmla="*/ 154 h 317"/>
                <a:gd name="T78" fmla="*/ 45 w 369"/>
                <a:gd name="T79" fmla="*/ 144 h 317"/>
                <a:gd name="T80" fmla="*/ 40 w 369"/>
                <a:gd name="T81" fmla="*/ 132 h 317"/>
                <a:gd name="T82" fmla="*/ 36 w 369"/>
                <a:gd name="T83" fmla="*/ 125 h 317"/>
                <a:gd name="T84" fmla="*/ 29 w 369"/>
                <a:gd name="T85" fmla="*/ 111 h 317"/>
                <a:gd name="T86" fmla="*/ 19 w 369"/>
                <a:gd name="T87" fmla="*/ 102 h 317"/>
                <a:gd name="T88" fmla="*/ 14 w 369"/>
                <a:gd name="T89" fmla="*/ 92 h 317"/>
                <a:gd name="T90" fmla="*/ 5 w 369"/>
                <a:gd name="T91" fmla="*/ 83 h 317"/>
                <a:gd name="T92" fmla="*/ 0 w 369"/>
                <a:gd name="T93" fmla="*/ 83 h 317"/>
                <a:gd name="T94" fmla="*/ 5 w 369"/>
                <a:gd name="T95" fmla="*/ 69 h 317"/>
                <a:gd name="T96" fmla="*/ 5 w 369"/>
                <a:gd name="T97" fmla="*/ 57 h 317"/>
                <a:gd name="T98" fmla="*/ 31 w 369"/>
                <a:gd name="T99" fmla="*/ 57 h 317"/>
                <a:gd name="T100" fmla="*/ 50 w 369"/>
                <a:gd name="T101" fmla="*/ 45 h 317"/>
                <a:gd name="T102" fmla="*/ 59 w 369"/>
                <a:gd name="T103" fmla="*/ 33 h 317"/>
                <a:gd name="T104" fmla="*/ 40 w 369"/>
                <a:gd name="T105" fmla="*/ 14 h 317"/>
                <a:gd name="T106" fmla="*/ 78 w 369"/>
                <a:gd name="T107" fmla="*/ 0 h 317"/>
                <a:gd name="T108" fmla="*/ 142 w 369"/>
                <a:gd name="T109" fmla="*/ 28 h 317"/>
                <a:gd name="T110" fmla="*/ 156 w 369"/>
                <a:gd name="T111" fmla="*/ 38 h 317"/>
                <a:gd name="T112" fmla="*/ 159 w 369"/>
                <a:gd name="T113" fmla="*/ 5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317">
                  <a:moveTo>
                    <a:pt x="208" y="64"/>
                  </a:moveTo>
                  <a:lnTo>
                    <a:pt x="211" y="64"/>
                  </a:lnTo>
                  <a:lnTo>
                    <a:pt x="218" y="64"/>
                  </a:lnTo>
                  <a:lnTo>
                    <a:pt x="225" y="66"/>
                  </a:lnTo>
                  <a:lnTo>
                    <a:pt x="227" y="69"/>
                  </a:lnTo>
                  <a:lnTo>
                    <a:pt x="229" y="73"/>
                  </a:lnTo>
                  <a:lnTo>
                    <a:pt x="239" y="73"/>
                  </a:lnTo>
                  <a:lnTo>
                    <a:pt x="241" y="76"/>
                  </a:lnTo>
                  <a:lnTo>
                    <a:pt x="241" y="78"/>
                  </a:lnTo>
                  <a:lnTo>
                    <a:pt x="244" y="80"/>
                  </a:lnTo>
                  <a:lnTo>
                    <a:pt x="244" y="83"/>
                  </a:lnTo>
                  <a:lnTo>
                    <a:pt x="246" y="87"/>
                  </a:lnTo>
                  <a:lnTo>
                    <a:pt x="251" y="90"/>
                  </a:lnTo>
                  <a:lnTo>
                    <a:pt x="251" y="92"/>
                  </a:lnTo>
                  <a:lnTo>
                    <a:pt x="255" y="97"/>
                  </a:lnTo>
                  <a:lnTo>
                    <a:pt x="255" y="97"/>
                  </a:lnTo>
                  <a:lnTo>
                    <a:pt x="255" y="97"/>
                  </a:lnTo>
                  <a:lnTo>
                    <a:pt x="255" y="99"/>
                  </a:lnTo>
                  <a:lnTo>
                    <a:pt x="258" y="102"/>
                  </a:lnTo>
                  <a:lnTo>
                    <a:pt x="260" y="102"/>
                  </a:lnTo>
                  <a:lnTo>
                    <a:pt x="260" y="104"/>
                  </a:lnTo>
                  <a:lnTo>
                    <a:pt x="267" y="106"/>
                  </a:lnTo>
                  <a:lnTo>
                    <a:pt x="267" y="109"/>
                  </a:lnTo>
                  <a:lnTo>
                    <a:pt x="270" y="111"/>
                  </a:lnTo>
                  <a:lnTo>
                    <a:pt x="270" y="111"/>
                  </a:lnTo>
                  <a:lnTo>
                    <a:pt x="270" y="113"/>
                  </a:lnTo>
                  <a:lnTo>
                    <a:pt x="272" y="118"/>
                  </a:lnTo>
                  <a:lnTo>
                    <a:pt x="272" y="120"/>
                  </a:lnTo>
                  <a:lnTo>
                    <a:pt x="272" y="120"/>
                  </a:lnTo>
                  <a:lnTo>
                    <a:pt x="270" y="123"/>
                  </a:lnTo>
                  <a:lnTo>
                    <a:pt x="270" y="128"/>
                  </a:lnTo>
                  <a:lnTo>
                    <a:pt x="272" y="130"/>
                  </a:lnTo>
                  <a:lnTo>
                    <a:pt x="277" y="135"/>
                  </a:lnTo>
                  <a:lnTo>
                    <a:pt x="279" y="142"/>
                  </a:lnTo>
                  <a:lnTo>
                    <a:pt x="279" y="144"/>
                  </a:lnTo>
                  <a:lnTo>
                    <a:pt x="279" y="144"/>
                  </a:lnTo>
                  <a:lnTo>
                    <a:pt x="281" y="146"/>
                  </a:lnTo>
                  <a:lnTo>
                    <a:pt x="281" y="149"/>
                  </a:lnTo>
                  <a:lnTo>
                    <a:pt x="281" y="149"/>
                  </a:lnTo>
                  <a:lnTo>
                    <a:pt x="284" y="151"/>
                  </a:lnTo>
                  <a:lnTo>
                    <a:pt x="286" y="151"/>
                  </a:lnTo>
                  <a:lnTo>
                    <a:pt x="288" y="156"/>
                  </a:lnTo>
                  <a:lnTo>
                    <a:pt x="298" y="165"/>
                  </a:lnTo>
                  <a:lnTo>
                    <a:pt x="303" y="182"/>
                  </a:lnTo>
                  <a:lnTo>
                    <a:pt x="357" y="191"/>
                  </a:lnTo>
                  <a:lnTo>
                    <a:pt x="359" y="187"/>
                  </a:lnTo>
                  <a:lnTo>
                    <a:pt x="369" y="201"/>
                  </a:lnTo>
                  <a:lnTo>
                    <a:pt x="355" y="236"/>
                  </a:lnTo>
                  <a:lnTo>
                    <a:pt x="303" y="255"/>
                  </a:lnTo>
                  <a:lnTo>
                    <a:pt x="248" y="269"/>
                  </a:lnTo>
                  <a:lnTo>
                    <a:pt x="203" y="317"/>
                  </a:lnTo>
                  <a:lnTo>
                    <a:pt x="203" y="298"/>
                  </a:lnTo>
                  <a:lnTo>
                    <a:pt x="173" y="286"/>
                  </a:lnTo>
                  <a:lnTo>
                    <a:pt x="161" y="291"/>
                  </a:lnTo>
                  <a:lnTo>
                    <a:pt x="154" y="291"/>
                  </a:lnTo>
                  <a:lnTo>
                    <a:pt x="154" y="293"/>
                  </a:lnTo>
                  <a:lnTo>
                    <a:pt x="151" y="295"/>
                  </a:lnTo>
                  <a:lnTo>
                    <a:pt x="149" y="295"/>
                  </a:lnTo>
                  <a:lnTo>
                    <a:pt x="147" y="298"/>
                  </a:lnTo>
                  <a:lnTo>
                    <a:pt x="147" y="300"/>
                  </a:lnTo>
                  <a:lnTo>
                    <a:pt x="144" y="302"/>
                  </a:lnTo>
                  <a:lnTo>
                    <a:pt x="142" y="302"/>
                  </a:lnTo>
                  <a:lnTo>
                    <a:pt x="140" y="300"/>
                  </a:lnTo>
                  <a:lnTo>
                    <a:pt x="140" y="298"/>
                  </a:lnTo>
                  <a:lnTo>
                    <a:pt x="137" y="291"/>
                  </a:lnTo>
                  <a:lnTo>
                    <a:pt x="135" y="291"/>
                  </a:lnTo>
                  <a:lnTo>
                    <a:pt x="135" y="288"/>
                  </a:lnTo>
                  <a:lnTo>
                    <a:pt x="133" y="283"/>
                  </a:lnTo>
                  <a:lnTo>
                    <a:pt x="128" y="276"/>
                  </a:lnTo>
                  <a:lnTo>
                    <a:pt x="125" y="276"/>
                  </a:lnTo>
                  <a:lnTo>
                    <a:pt x="123" y="274"/>
                  </a:lnTo>
                  <a:lnTo>
                    <a:pt x="118" y="269"/>
                  </a:lnTo>
                  <a:lnTo>
                    <a:pt x="116" y="262"/>
                  </a:lnTo>
                  <a:lnTo>
                    <a:pt x="114" y="260"/>
                  </a:lnTo>
                  <a:lnTo>
                    <a:pt x="114" y="260"/>
                  </a:lnTo>
                  <a:lnTo>
                    <a:pt x="114" y="255"/>
                  </a:lnTo>
                  <a:lnTo>
                    <a:pt x="114" y="253"/>
                  </a:lnTo>
                  <a:lnTo>
                    <a:pt x="111" y="250"/>
                  </a:lnTo>
                  <a:lnTo>
                    <a:pt x="109" y="246"/>
                  </a:lnTo>
                  <a:lnTo>
                    <a:pt x="107" y="243"/>
                  </a:lnTo>
                  <a:lnTo>
                    <a:pt x="107" y="243"/>
                  </a:lnTo>
                  <a:lnTo>
                    <a:pt x="104" y="241"/>
                  </a:lnTo>
                  <a:lnTo>
                    <a:pt x="102" y="236"/>
                  </a:lnTo>
                  <a:lnTo>
                    <a:pt x="99" y="236"/>
                  </a:lnTo>
                  <a:lnTo>
                    <a:pt x="95" y="232"/>
                  </a:lnTo>
                  <a:lnTo>
                    <a:pt x="92" y="232"/>
                  </a:lnTo>
                  <a:lnTo>
                    <a:pt x="92" y="232"/>
                  </a:lnTo>
                  <a:lnTo>
                    <a:pt x="90" y="232"/>
                  </a:lnTo>
                  <a:lnTo>
                    <a:pt x="85" y="227"/>
                  </a:lnTo>
                  <a:lnTo>
                    <a:pt x="83" y="227"/>
                  </a:lnTo>
                  <a:lnTo>
                    <a:pt x="83" y="224"/>
                  </a:lnTo>
                  <a:lnTo>
                    <a:pt x="81" y="220"/>
                  </a:lnTo>
                  <a:lnTo>
                    <a:pt x="81" y="217"/>
                  </a:lnTo>
                  <a:lnTo>
                    <a:pt x="78" y="203"/>
                  </a:lnTo>
                  <a:lnTo>
                    <a:pt x="76" y="201"/>
                  </a:lnTo>
                  <a:lnTo>
                    <a:pt x="76" y="201"/>
                  </a:lnTo>
                  <a:lnTo>
                    <a:pt x="76" y="198"/>
                  </a:lnTo>
                  <a:lnTo>
                    <a:pt x="78" y="196"/>
                  </a:lnTo>
                  <a:lnTo>
                    <a:pt x="78" y="194"/>
                  </a:lnTo>
                  <a:lnTo>
                    <a:pt x="76" y="189"/>
                  </a:lnTo>
                  <a:lnTo>
                    <a:pt x="76" y="187"/>
                  </a:lnTo>
                  <a:lnTo>
                    <a:pt x="74" y="184"/>
                  </a:lnTo>
                  <a:lnTo>
                    <a:pt x="74" y="182"/>
                  </a:lnTo>
                  <a:lnTo>
                    <a:pt x="74" y="177"/>
                  </a:lnTo>
                  <a:lnTo>
                    <a:pt x="71" y="177"/>
                  </a:lnTo>
                  <a:lnTo>
                    <a:pt x="71" y="172"/>
                  </a:lnTo>
                  <a:lnTo>
                    <a:pt x="66" y="165"/>
                  </a:lnTo>
                  <a:lnTo>
                    <a:pt x="62" y="161"/>
                  </a:lnTo>
                  <a:lnTo>
                    <a:pt x="57" y="158"/>
                  </a:lnTo>
                  <a:lnTo>
                    <a:pt x="57" y="158"/>
                  </a:lnTo>
                  <a:lnTo>
                    <a:pt x="57" y="158"/>
                  </a:lnTo>
                  <a:lnTo>
                    <a:pt x="57" y="158"/>
                  </a:lnTo>
                  <a:lnTo>
                    <a:pt x="55" y="156"/>
                  </a:lnTo>
                  <a:lnTo>
                    <a:pt x="52" y="156"/>
                  </a:lnTo>
                  <a:lnTo>
                    <a:pt x="50" y="156"/>
                  </a:lnTo>
                  <a:lnTo>
                    <a:pt x="50" y="156"/>
                  </a:lnTo>
                  <a:lnTo>
                    <a:pt x="48" y="154"/>
                  </a:lnTo>
                  <a:lnTo>
                    <a:pt x="48" y="151"/>
                  </a:lnTo>
                  <a:lnTo>
                    <a:pt x="45" y="149"/>
                  </a:lnTo>
                  <a:lnTo>
                    <a:pt x="45" y="144"/>
                  </a:lnTo>
                  <a:lnTo>
                    <a:pt x="45" y="144"/>
                  </a:lnTo>
                  <a:lnTo>
                    <a:pt x="43" y="135"/>
                  </a:lnTo>
                  <a:lnTo>
                    <a:pt x="40" y="132"/>
                  </a:lnTo>
                  <a:lnTo>
                    <a:pt x="38" y="130"/>
                  </a:lnTo>
                  <a:lnTo>
                    <a:pt x="36" y="128"/>
                  </a:lnTo>
                  <a:lnTo>
                    <a:pt x="36" y="125"/>
                  </a:lnTo>
                  <a:lnTo>
                    <a:pt x="33" y="123"/>
                  </a:lnTo>
                  <a:lnTo>
                    <a:pt x="31" y="120"/>
                  </a:lnTo>
                  <a:lnTo>
                    <a:pt x="29" y="111"/>
                  </a:lnTo>
                  <a:lnTo>
                    <a:pt x="26" y="109"/>
                  </a:lnTo>
                  <a:lnTo>
                    <a:pt x="24" y="106"/>
                  </a:lnTo>
                  <a:lnTo>
                    <a:pt x="19" y="102"/>
                  </a:lnTo>
                  <a:lnTo>
                    <a:pt x="19" y="99"/>
                  </a:lnTo>
                  <a:lnTo>
                    <a:pt x="17" y="97"/>
                  </a:lnTo>
                  <a:lnTo>
                    <a:pt x="14" y="92"/>
                  </a:lnTo>
                  <a:lnTo>
                    <a:pt x="10" y="85"/>
                  </a:lnTo>
                  <a:lnTo>
                    <a:pt x="7" y="83"/>
                  </a:lnTo>
                  <a:lnTo>
                    <a:pt x="5" y="83"/>
                  </a:lnTo>
                  <a:lnTo>
                    <a:pt x="3" y="83"/>
                  </a:lnTo>
                  <a:lnTo>
                    <a:pt x="3" y="83"/>
                  </a:lnTo>
                  <a:lnTo>
                    <a:pt x="0" y="83"/>
                  </a:lnTo>
                  <a:lnTo>
                    <a:pt x="0" y="83"/>
                  </a:lnTo>
                  <a:lnTo>
                    <a:pt x="3" y="76"/>
                  </a:lnTo>
                  <a:lnTo>
                    <a:pt x="5" y="69"/>
                  </a:lnTo>
                  <a:lnTo>
                    <a:pt x="5" y="66"/>
                  </a:lnTo>
                  <a:lnTo>
                    <a:pt x="5" y="61"/>
                  </a:lnTo>
                  <a:lnTo>
                    <a:pt x="5" y="57"/>
                  </a:lnTo>
                  <a:lnTo>
                    <a:pt x="7" y="59"/>
                  </a:lnTo>
                  <a:lnTo>
                    <a:pt x="26" y="61"/>
                  </a:lnTo>
                  <a:lnTo>
                    <a:pt x="31" y="57"/>
                  </a:lnTo>
                  <a:lnTo>
                    <a:pt x="31" y="57"/>
                  </a:lnTo>
                  <a:lnTo>
                    <a:pt x="36" y="47"/>
                  </a:lnTo>
                  <a:lnTo>
                    <a:pt x="50" y="45"/>
                  </a:lnTo>
                  <a:lnTo>
                    <a:pt x="50" y="43"/>
                  </a:lnTo>
                  <a:lnTo>
                    <a:pt x="52" y="38"/>
                  </a:lnTo>
                  <a:lnTo>
                    <a:pt x="59" y="33"/>
                  </a:lnTo>
                  <a:lnTo>
                    <a:pt x="59" y="33"/>
                  </a:lnTo>
                  <a:lnTo>
                    <a:pt x="43" y="17"/>
                  </a:lnTo>
                  <a:lnTo>
                    <a:pt x="40" y="14"/>
                  </a:lnTo>
                  <a:lnTo>
                    <a:pt x="52" y="12"/>
                  </a:lnTo>
                  <a:lnTo>
                    <a:pt x="74" y="7"/>
                  </a:lnTo>
                  <a:lnTo>
                    <a:pt x="78" y="0"/>
                  </a:lnTo>
                  <a:lnTo>
                    <a:pt x="107" y="7"/>
                  </a:lnTo>
                  <a:lnTo>
                    <a:pt x="125" y="24"/>
                  </a:lnTo>
                  <a:lnTo>
                    <a:pt x="142" y="28"/>
                  </a:lnTo>
                  <a:lnTo>
                    <a:pt x="144" y="31"/>
                  </a:lnTo>
                  <a:lnTo>
                    <a:pt x="147" y="38"/>
                  </a:lnTo>
                  <a:lnTo>
                    <a:pt x="156" y="38"/>
                  </a:lnTo>
                  <a:lnTo>
                    <a:pt x="159" y="38"/>
                  </a:lnTo>
                  <a:lnTo>
                    <a:pt x="159" y="52"/>
                  </a:lnTo>
                  <a:lnTo>
                    <a:pt x="159" y="52"/>
                  </a:lnTo>
                  <a:lnTo>
                    <a:pt x="177" y="61"/>
                  </a:lnTo>
                  <a:lnTo>
                    <a:pt x="208" y="6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8" name="Freeform 1107">
              <a:extLst>
                <a:ext uri="{FF2B5EF4-FFF2-40B4-BE49-F238E27FC236}">
                  <a16:creationId xmlns:a16="http://schemas.microsoft.com/office/drawing/2014/main" id="{F89423E5-0785-4AD7-B493-6B6A1E271F63}"/>
                </a:ext>
              </a:extLst>
            </p:cNvPr>
            <p:cNvSpPr>
              <a:spLocks/>
            </p:cNvSpPr>
            <p:nvPr/>
          </p:nvSpPr>
          <p:spPr bwMode="auto">
            <a:xfrm>
              <a:off x="2234454" y="3592478"/>
              <a:ext cx="585787" cy="503238"/>
            </a:xfrm>
            <a:custGeom>
              <a:avLst/>
              <a:gdLst>
                <a:gd name="T0" fmla="*/ 218 w 369"/>
                <a:gd name="T1" fmla="*/ 64 h 317"/>
                <a:gd name="T2" fmla="*/ 229 w 369"/>
                <a:gd name="T3" fmla="*/ 73 h 317"/>
                <a:gd name="T4" fmla="*/ 241 w 369"/>
                <a:gd name="T5" fmla="*/ 78 h 317"/>
                <a:gd name="T6" fmla="*/ 246 w 369"/>
                <a:gd name="T7" fmla="*/ 87 h 317"/>
                <a:gd name="T8" fmla="*/ 255 w 369"/>
                <a:gd name="T9" fmla="*/ 97 h 317"/>
                <a:gd name="T10" fmla="*/ 255 w 369"/>
                <a:gd name="T11" fmla="*/ 99 h 317"/>
                <a:gd name="T12" fmla="*/ 260 w 369"/>
                <a:gd name="T13" fmla="*/ 104 h 317"/>
                <a:gd name="T14" fmla="*/ 270 w 369"/>
                <a:gd name="T15" fmla="*/ 111 h 317"/>
                <a:gd name="T16" fmla="*/ 272 w 369"/>
                <a:gd name="T17" fmla="*/ 118 h 317"/>
                <a:gd name="T18" fmla="*/ 270 w 369"/>
                <a:gd name="T19" fmla="*/ 123 h 317"/>
                <a:gd name="T20" fmla="*/ 277 w 369"/>
                <a:gd name="T21" fmla="*/ 135 h 317"/>
                <a:gd name="T22" fmla="*/ 279 w 369"/>
                <a:gd name="T23" fmla="*/ 144 h 317"/>
                <a:gd name="T24" fmla="*/ 281 w 369"/>
                <a:gd name="T25" fmla="*/ 149 h 317"/>
                <a:gd name="T26" fmla="*/ 288 w 369"/>
                <a:gd name="T27" fmla="*/ 156 h 317"/>
                <a:gd name="T28" fmla="*/ 357 w 369"/>
                <a:gd name="T29" fmla="*/ 191 h 317"/>
                <a:gd name="T30" fmla="*/ 355 w 369"/>
                <a:gd name="T31" fmla="*/ 236 h 317"/>
                <a:gd name="T32" fmla="*/ 203 w 369"/>
                <a:gd name="T33" fmla="*/ 317 h 317"/>
                <a:gd name="T34" fmla="*/ 161 w 369"/>
                <a:gd name="T35" fmla="*/ 291 h 317"/>
                <a:gd name="T36" fmla="*/ 151 w 369"/>
                <a:gd name="T37" fmla="*/ 295 h 317"/>
                <a:gd name="T38" fmla="*/ 147 w 369"/>
                <a:gd name="T39" fmla="*/ 300 h 317"/>
                <a:gd name="T40" fmla="*/ 140 w 369"/>
                <a:gd name="T41" fmla="*/ 300 h 317"/>
                <a:gd name="T42" fmla="*/ 135 w 369"/>
                <a:gd name="T43" fmla="*/ 291 h 317"/>
                <a:gd name="T44" fmla="*/ 128 w 369"/>
                <a:gd name="T45" fmla="*/ 276 h 317"/>
                <a:gd name="T46" fmla="*/ 118 w 369"/>
                <a:gd name="T47" fmla="*/ 269 h 317"/>
                <a:gd name="T48" fmla="*/ 114 w 369"/>
                <a:gd name="T49" fmla="*/ 260 h 317"/>
                <a:gd name="T50" fmla="*/ 111 w 369"/>
                <a:gd name="T51" fmla="*/ 250 h 317"/>
                <a:gd name="T52" fmla="*/ 107 w 369"/>
                <a:gd name="T53" fmla="*/ 243 h 317"/>
                <a:gd name="T54" fmla="*/ 99 w 369"/>
                <a:gd name="T55" fmla="*/ 236 h 317"/>
                <a:gd name="T56" fmla="*/ 92 w 369"/>
                <a:gd name="T57" fmla="*/ 232 h 317"/>
                <a:gd name="T58" fmla="*/ 83 w 369"/>
                <a:gd name="T59" fmla="*/ 227 h 317"/>
                <a:gd name="T60" fmla="*/ 81 w 369"/>
                <a:gd name="T61" fmla="*/ 217 h 317"/>
                <a:gd name="T62" fmla="*/ 76 w 369"/>
                <a:gd name="T63" fmla="*/ 201 h 317"/>
                <a:gd name="T64" fmla="*/ 78 w 369"/>
                <a:gd name="T65" fmla="*/ 194 h 317"/>
                <a:gd name="T66" fmla="*/ 74 w 369"/>
                <a:gd name="T67" fmla="*/ 184 h 317"/>
                <a:gd name="T68" fmla="*/ 71 w 369"/>
                <a:gd name="T69" fmla="*/ 177 h 317"/>
                <a:gd name="T70" fmla="*/ 62 w 369"/>
                <a:gd name="T71" fmla="*/ 161 h 317"/>
                <a:gd name="T72" fmla="*/ 57 w 369"/>
                <a:gd name="T73" fmla="*/ 158 h 317"/>
                <a:gd name="T74" fmla="*/ 52 w 369"/>
                <a:gd name="T75" fmla="*/ 156 h 317"/>
                <a:gd name="T76" fmla="*/ 48 w 369"/>
                <a:gd name="T77" fmla="*/ 154 h 317"/>
                <a:gd name="T78" fmla="*/ 45 w 369"/>
                <a:gd name="T79" fmla="*/ 144 h 317"/>
                <a:gd name="T80" fmla="*/ 40 w 369"/>
                <a:gd name="T81" fmla="*/ 132 h 317"/>
                <a:gd name="T82" fmla="*/ 36 w 369"/>
                <a:gd name="T83" fmla="*/ 125 h 317"/>
                <a:gd name="T84" fmla="*/ 29 w 369"/>
                <a:gd name="T85" fmla="*/ 111 h 317"/>
                <a:gd name="T86" fmla="*/ 19 w 369"/>
                <a:gd name="T87" fmla="*/ 102 h 317"/>
                <a:gd name="T88" fmla="*/ 14 w 369"/>
                <a:gd name="T89" fmla="*/ 92 h 317"/>
                <a:gd name="T90" fmla="*/ 5 w 369"/>
                <a:gd name="T91" fmla="*/ 83 h 317"/>
                <a:gd name="T92" fmla="*/ 0 w 369"/>
                <a:gd name="T93" fmla="*/ 83 h 317"/>
                <a:gd name="T94" fmla="*/ 5 w 369"/>
                <a:gd name="T95" fmla="*/ 69 h 317"/>
                <a:gd name="T96" fmla="*/ 5 w 369"/>
                <a:gd name="T97" fmla="*/ 57 h 317"/>
                <a:gd name="T98" fmla="*/ 31 w 369"/>
                <a:gd name="T99" fmla="*/ 57 h 317"/>
                <a:gd name="T100" fmla="*/ 50 w 369"/>
                <a:gd name="T101" fmla="*/ 45 h 317"/>
                <a:gd name="T102" fmla="*/ 59 w 369"/>
                <a:gd name="T103" fmla="*/ 33 h 317"/>
                <a:gd name="T104" fmla="*/ 40 w 369"/>
                <a:gd name="T105" fmla="*/ 14 h 317"/>
                <a:gd name="T106" fmla="*/ 78 w 369"/>
                <a:gd name="T107" fmla="*/ 0 h 317"/>
                <a:gd name="T108" fmla="*/ 142 w 369"/>
                <a:gd name="T109" fmla="*/ 28 h 317"/>
                <a:gd name="T110" fmla="*/ 156 w 369"/>
                <a:gd name="T111" fmla="*/ 38 h 317"/>
                <a:gd name="T112" fmla="*/ 159 w 369"/>
                <a:gd name="T113" fmla="*/ 5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317">
                  <a:moveTo>
                    <a:pt x="208" y="64"/>
                  </a:moveTo>
                  <a:lnTo>
                    <a:pt x="211" y="64"/>
                  </a:lnTo>
                  <a:lnTo>
                    <a:pt x="218" y="64"/>
                  </a:lnTo>
                  <a:lnTo>
                    <a:pt x="225" y="66"/>
                  </a:lnTo>
                  <a:lnTo>
                    <a:pt x="227" y="69"/>
                  </a:lnTo>
                  <a:lnTo>
                    <a:pt x="229" y="73"/>
                  </a:lnTo>
                  <a:lnTo>
                    <a:pt x="239" y="73"/>
                  </a:lnTo>
                  <a:lnTo>
                    <a:pt x="241" y="76"/>
                  </a:lnTo>
                  <a:lnTo>
                    <a:pt x="241" y="78"/>
                  </a:lnTo>
                  <a:lnTo>
                    <a:pt x="244" y="80"/>
                  </a:lnTo>
                  <a:lnTo>
                    <a:pt x="244" y="83"/>
                  </a:lnTo>
                  <a:lnTo>
                    <a:pt x="246" y="87"/>
                  </a:lnTo>
                  <a:lnTo>
                    <a:pt x="251" y="90"/>
                  </a:lnTo>
                  <a:lnTo>
                    <a:pt x="251" y="92"/>
                  </a:lnTo>
                  <a:lnTo>
                    <a:pt x="255" y="97"/>
                  </a:lnTo>
                  <a:lnTo>
                    <a:pt x="255" y="97"/>
                  </a:lnTo>
                  <a:lnTo>
                    <a:pt x="255" y="97"/>
                  </a:lnTo>
                  <a:lnTo>
                    <a:pt x="255" y="99"/>
                  </a:lnTo>
                  <a:lnTo>
                    <a:pt x="258" y="102"/>
                  </a:lnTo>
                  <a:lnTo>
                    <a:pt x="260" y="102"/>
                  </a:lnTo>
                  <a:lnTo>
                    <a:pt x="260" y="104"/>
                  </a:lnTo>
                  <a:lnTo>
                    <a:pt x="267" y="106"/>
                  </a:lnTo>
                  <a:lnTo>
                    <a:pt x="267" y="109"/>
                  </a:lnTo>
                  <a:lnTo>
                    <a:pt x="270" y="111"/>
                  </a:lnTo>
                  <a:lnTo>
                    <a:pt x="270" y="111"/>
                  </a:lnTo>
                  <a:lnTo>
                    <a:pt x="270" y="113"/>
                  </a:lnTo>
                  <a:lnTo>
                    <a:pt x="272" y="118"/>
                  </a:lnTo>
                  <a:lnTo>
                    <a:pt x="272" y="120"/>
                  </a:lnTo>
                  <a:lnTo>
                    <a:pt x="272" y="120"/>
                  </a:lnTo>
                  <a:lnTo>
                    <a:pt x="270" y="123"/>
                  </a:lnTo>
                  <a:lnTo>
                    <a:pt x="270" y="128"/>
                  </a:lnTo>
                  <a:lnTo>
                    <a:pt x="272" y="130"/>
                  </a:lnTo>
                  <a:lnTo>
                    <a:pt x="277" y="135"/>
                  </a:lnTo>
                  <a:lnTo>
                    <a:pt x="279" y="142"/>
                  </a:lnTo>
                  <a:lnTo>
                    <a:pt x="279" y="144"/>
                  </a:lnTo>
                  <a:lnTo>
                    <a:pt x="279" y="144"/>
                  </a:lnTo>
                  <a:lnTo>
                    <a:pt x="281" y="146"/>
                  </a:lnTo>
                  <a:lnTo>
                    <a:pt x="281" y="149"/>
                  </a:lnTo>
                  <a:lnTo>
                    <a:pt x="281" y="149"/>
                  </a:lnTo>
                  <a:lnTo>
                    <a:pt x="284" y="151"/>
                  </a:lnTo>
                  <a:lnTo>
                    <a:pt x="286" y="151"/>
                  </a:lnTo>
                  <a:lnTo>
                    <a:pt x="288" y="156"/>
                  </a:lnTo>
                  <a:lnTo>
                    <a:pt x="298" y="165"/>
                  </a:lnTo>
                  <a:lnTo>
                    <a:pt x="303" y="182"/>
                  </a:lnTo>
                  <a:lnTo>
                    <a:pt x="357" y="191"/>
                  </a:lnTo>
                  <a:lnTo>
                    <a:pt x="359" y="187"/>
                  </a:lnTo>
                  <a:lnTo>
                    <a:pt x="369" y="201"/>
                  </a:lnTo>
                  <a:lnTo>
                    <a:pt x="355" y="236"/>
                  </a:lnTo>
                  <a:lnTo>
                    <a:pt x="303" y="255"/>
                  </a:lnTo>
                  <a:lnTo>
                    <a:pt x="248" y="269"/>
                  </a:lnTo>
                  <a:lnTo>
                    <a:pt x="203" y="317"/>
                  </a:lnTo>
                  <a:lnTo>
                    <a:pt x="203" y="298"/>
                  </a:lnTo>
                  <a:lnTo>
                    <a:pt x="173" y="286"/>
                  </a:lnTo>
                  <a:lnTo>
                    <a:pt x="161" y="291"/>
                  </a:lnTo>
                  <a:lnTo>
                    <a:pt x="154" y="291"/>
                  </a:lnTo>
                  <a:lnTo>
                    <a:pt x="154" y="293"/>
                  </a:lnTo>
                  <a:lnTo>
                    <a:pt x="151" y="295"/>
                  </a:lnTo>
                  <a:lnTo>
                    <a:pt x="149" y="295"/>
                  </a:lnTo>
                  <a:lnTo>
                    <a:pt x="147" y="298"/>
                  </a:lnTo>
                  <a:lnTo>
                    <a:pt x="147" y="300"/>
                  </a:lnTo>
                  <a:lnTo>
                    <a:pt x="144" y="302"/>
                  </a:lnTo>
                  <a:lnTo>
                    <a:pt x="142" y="302"/>
                  </a:lnTo>
                  <a:lnTo>
                    <a:pt x="140" y="300"/>
                  </a:lnTo>
                  <a:lnTo>
                    <a:pt x="140" y="298"/>
                  </a:lnTo>
                  <a:lnTo>
                    <a:pt x="137" y="291"/>
                  </a:lnTo>
                  <a:lnTo>
                    <a:pt x="135" y="291"/>
                  </a:lnTo>
                  <a:lnTo>
                    <a:pt x="135" y="288"/>
                  </a:lnTo>
                  <a:lnTo>
                    <a:pt x="133" y="283"/>
                  </a:lnTo>
                  <a:lnTo>
                    <a:pt x="128" y="276"/>
                  </a:lnTo>
                  <a:lnTo>
                    <a:pt x="125" y="276"/>
                  </a:lnTo>
                  <a:lnTo>
                    <a:pt x="123" y="274"/>
                  </a:lnTo>
                  <a:lnTo>
                    <a:pt x="118" y="269"/>
                  </a:lnTo>
                  <a:lnTo>
                    <a:pt x="116" y="262"/>
                  </a:lnTo>
                  <a:lnTo>
                    <a:pt x="114" y="260"/>
                  </a:lnTo>
                  <a:lnTo>
                    <a:pt x="114" y="260"/>
                  </a:lnTo>
                  <a:lnTo>
                    <a:pt x="114" y="255"/>
                  </a:lnTo>
                  <a:lnTo>
                    <a:pt x="114" y="253"/>
                  </a:lnTo>
                  <a:lnTo>
                    <a:pt x="111" y="250"/>
                  </a:lnTo>
                  <a:lnTo>
                    <a:pt x="109" y="246"/>
                  </a:lnTo>
                  <a:lnTo>
                    <a:pt x="107" y="243"/>
                  </a:lnTo>
                  <a:lnTo>
                    <a:pt x="107" y="243"/>
                  </a:lnTo>
                  <a:lnTo>
                    <a:pt x="104" y="241"/>
                  </a:lnTo>
                  <a:lnTo>
                    <a:pt x="102" y="236"/>
                  </a:lnTo>
                  <a:lnTo>
                    <a:pt x="99" y="236"/>
                  </a:lnTo>
                  <a:lnTo>
                    <a:pt x="95" y="232"/>
                  </a:lnTo>
                  <a:lnTo>
                    <a:pt x="92" y="232"/>
                  </a:lnTo>
                  <a:lnTo>
                    <a:pt x="92" y="232"/>
                  </a:lnTo>
                  <a:lnTo>
                    <a:pt x="90" y="232"/>
                  </a:lnTo>
                  <a:lnTo>
                    <a:pt x="85" y="227"/>
                  </a:lnTo>
                  <a:lnTo>
                    <a:pt x="83" y="227"/>
                  </a:lnTo>
                  <a:lnTo>
                    <a:pt x="83" y="224"/>
                  </a:lnTo>
                  <a:lnTo>
                    <a:pt x="81" y="220"/>
                  </a:lnTo>
                  <a:lnTo>
                    <a:pt x="81" y="217"/>
                  </a:lnTo>
                  <a:lnTo>
                    <a:pt x="78" y="203"/>
                  </a:lnTo>
                  <a:lnTo>
                    <a:pt x="76" y="201"/>
                  </a:lnTo>
                  <a:lnTo>
                    <a:pt x="76" y="201"/>
                  </a:lnTo>
                  <a:lnTo>
                    <a:pt x="76" y="198"/>
                  </a:lnTo>
                  <a:lnTo>
                    <a:pt x="78" y="196"/>
                  </a:lnTo>
                  <a:lnTo>
                    <a:pt x="78" y="194"/>
                  </a:lnTo>
                  <a:lnTo>
                    <a:pt x="76" y="189"/>
                  </a:lnTo>
                  <a:lnTo>
                    <a:pt x="76" y="187"/>
                  </a:lnTo>
                  <a:lnTo>
                    <a:pt x="74" y="184"/>
                  </a:lnTo>
                  <a:lnTo>
                    <a:pt x="74" y="182"/>
                  </a:lnTo>
                  <a:lnTo>
                    <a:pt x="74" y="177"/>
                  </a:lnTo>
                  <a:lnTo>
                    <a:pt x="71" y="177"/>
                  </a:lnTo>
                  <a:lnTo>
                    <a:pt x="71" y="172"/>
                  </a:lnTo>
                  <a:lnTo>
                    <a:pt x="66" y="165"/>
                  </a:lnTo>
                  <a:lnTo>
                    <a:pt x="62" y="161"/>
                  </a:lnTo>
                  <a:lnTo>
                    <a:pt x="57" y="158"/>
                  </a:lnTo>
                  <a:lnTo>
                    <a:pt x="57" y="158"/>
                  </a:lnTo>
                  <a:lnTo>
                    <a:pt x="57" y="158"/>
                  </a:lnTo>
                  <a:lnTo>
                    <a:pt x="57" y="158"/>
                  </a:lnTo>
                  <a:lnTo>
                    <a:pt x="55" y="156"/>
                  </a:lnTo>
                  <a:lnTo>
                    <a:pt x="52" y="156"/>
                  </a:lnTo>
                  <a:lnTo>
                    <a:pt x="50" y="156"/>
                  </a:lnTo>
                  <a:lnTo>
                    <a:pt x="50" y="156"/>
                  </a:lnTo>
                  <a:lnTo>
                    <a:pt x="48" y="154"/>
                  </a:lnTo>
                  <a:lnTo>
                    <a:pt x="48" y="151"/>
                  </a:lnTo>
                  <a:lnTo>
                    <a:pt x="45" y="149"/>
                  </a:lnTo>
                  <a:lnTo>
                    <a:pt x="45" y="144"/>
                  </a:lnTo>
                  <a:lnTo>
                    <a:pt x="45" y="144"/>
                  </a:lnTo>
                  <a:lnTo>
                    <a:pt x="43" y="135"/>
                  </a:lnTo>
                  <a:lnTo>
                    <a:pt x="40" y="132"/>
                  </a:lnTo>
                  <a:lnTo>
                    <a:pt x="38" y="130"/>
                  </a:lnTo>
                  <a:lnTo>
                    <a:pt x="36" y="128"/>
                  </a:lnTo>
                  <a:lnTo>
                    <a:pt x="36" y="125"/>
                  </a:lnTo>
                  <a:lnTo>
                    <a:pt x="33" y="123"/>
                  </a:lnTo>
                  <a:lnTo>
                    <a:pt x="31" y="120"/>
                  </a:lnTo>
                  <a:lnTo>
                    <a:pt x="29" y="111"/>
                  </a:lnTo>
                  <a:lnTo>
                    <a:pt x="26" y="109"/>
                  </a:lnTo>
                  <a:lnTo>
                    <a:pt x="24" y="106"/>
                  </a:lnTo>
                  <a:lnTo>
                    <a:pt x="19" y="102"/>
                  </a:lnTo>
                  <a:lnTo>
                    <a:pt x="19" y="99"/>
                  </a:lnTo>
                  <a:lnTo>
                    <a:pt x="17" y="97"/>
                  </a:lnTo>
                  <a:lnTo>
                    <a:pt x="14" y="92"/>
                  </a:lnTo>
                  <a:lnTo>
                    <a:pt x="10" y="85"/>
                  </a:lnTo>
                  <a:lnTo>
                    <a:pt x="7" y="83"/>
                  </a:lnTo>
                  <a:lnTo>
                    <a:pt x="5" y="83"/>
                  </a:lnTo>
                  <a:lnTo>
                    <a:pt x="3" y="83"/>
                  </a:lnTo>
                  <a:lnTo>
                    <a:pt x="3" y="83"/>
                  </a:lnTo>
                  <a:lnTo>
                    <a:pt x="0" y="83"/>
                  </a:lnTo>
                  <a:lnTo>
                    <a:pt x="0" y="83"/>
                  </a:lnTo>
                  <a:lnTo>
                    <a:pt x="3" y="76"/>
                  </a:lnTo>
                  <a:lnTo>
                    <a:pt x="5" y="69"/>
                  </a:lnTo>
                  <a:lnTo>
                    <a:pt x="5" y="66"/>
                  </a:lnTo>
                  <a:lnTo>
                    <a:pt x="5" y="61"/>
                  </a:lnTo>
                  <a:lnTo>
                    <a:pt x="5" y="57"/>
                  </a:lnTo>
                  <a:lnTo>
                    <a:pt x="7" y="59"/>
                  </a:lnTo>
                  <a:lnTo>
                    <a:pt x="26" y="61"/>
                  </a:lnTo>
                  <a:lnTo>
                    <a:pt x="31" y="57"/>
                  </a:lnTo>
                  <a:lnTo>
                    <a:pt x="31" y="57"/>
                  </a:lnTo>
                  <a:lnTo>
                    <a:pt x="36" y="47"/>
                  </a:lnTo>
                  <a:lnTo>
                    <a:pt x="50" y="45"/>
                  </a:lnTo>
                  <a:lnTo>
                    <a:pt x="50" y="43"/>
                  </a:lnTo>
                  <a:lnTo>
                    <a:pt x="52" y="38"/>
                  </a:lnTo>
                  <a:lnTo>
                    <a:pt x="59" y="33"/>
                  </a:lnTo>
                  <a:lnTo>
                    <a:pt x="59" y="33"/>
                  </a:lnTo>
                  <a:lnTo>
                    <a:pt x="43" y="17"/>
                  </a:lnTo>
                  <a:lnTo>
                    <a:pt x="40" y="14"/>
                  </a:lnTo>
                  <a:lnTo>
                    <a:pt x="52" y="12"/>
                  </a:lnTo>
                  <a:lnTo>
                    <a:pt x="74" y="7"/>
                  </a:lnTo>
                  <a:lnTo>
                    <a:pt x="78" y="0"/>
                  </a:lnTo>
                  <a:lnTo>
                    <a:pt x="107" y="7"/>
                  </a:lnTo>
                  <a:lnTo>
                    <a:pt x="125" y="24"/>
                  </a:lnTo>
                  <a:lnTo>
                    <a:pt x="142" y="28"/>
                  </a:lnTo>
                  <a:lnTo>
                    <a:pt x="144" y="31"/>
                  </a:lnTo>
                  <a:lnTo>
                    <a:pt x="147" y="38"/>
                  </a:lnTo>
                  <a:lnTo>
                    <a:pt x="156" y="38"/>
                  </a:lnTo>
                  <a:lnTo>
                    <a:pt x="159" y="38"/>
                  </a:lnTo>
                  <a:lnTo>
                    <a:pt x="159" y="52"/>
                  </a:lnTo>
                  <a:lnTo>
                    <a:pt x="159" y="52"/>
                  </a:lnTo>
                  <a:lnTo>
                    <a:pt x="177" y="61"/>
                  </a:lnTo>
                  <a:lnTo>
                    <a:pt x="208" y="64"/>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5999" name="Freeform 1108">
              <a:extLst>
                <a:ext uri="{FF2B5EF4-FFF2-40B4-BE49-F238E27FC236}">
                  <a16:creationId xmlns:a16="http://schemas.microsoft.com/office/drawing/2014/main" id="{132096C0-FBBB-49BD-8170-6C59CFB0113A}"/>
                </a:ext>
              </a:extLst>
            </p:cNvPr>
            <p:cNvSpPr>
              <a:spLocks/>
            </p:cNvSpPr>
            <p:nvPr/>
          </p:nvSpPr>
          <p:spPr bwMode="auto">
            <a:xfrm>
              <a:off x="2950414" y="3382928"/>
              <a:ext cx="398462" cy="300039"/>
            </a:xfrm>
            <a:custGeom>
              <a:avLst/>
              <a:gdLst>
                <a:gd name="T0" fmla="*/ 22 w 251"/>
                <a:gd name="T1" fmla="*/ 153 h 189"/>
                <a:gd name="T2" fmla="*/ 5 w 251"/>
                <a:gd name="T3" fmla="*/ 141 h 189"/>
                <a:gd name="T4" fmla="*/ 3 w 251"/>
                <a:gd name="T5" fmla="*/ 118 h 189"/>
                <a:gd name="T6" fmla="*/ 0 w 251"/>
                <a:gd name="T7" fmla="*/ 94 h 189"/>
                <a:gd name="T8" fmla="*/ 12 w 251"/>
                <a:gd name="T9" fmla="*/ 71 h 189"/>
                <a:gd name="T10" fmla="*/ 19 w 251"/>
                <a:gd name="T11" fmla="*/ 64 h 189"/>
                <a:gd name="T12" fmla="*/ 31 w 251"/>
                <a:gd name="T13" fmla="*/ 68 h 189"/>
                <a:gd name="T14" fmla="*/ 45 w 251"/>
                <a:gd name="T15" fmla="*/ 66 h 189"/>
                <a:gd name="T16" fmla="*/ 48 w 251"/>
                <a:gd name="T17" fmla="*/ 56 h 189"/>
                <a:gd name="T18" fmla="*/ 60 w 251"/>
                <a:gd name="T19" fmla="*/ 52 h 189"/>
                <a:gd name="T20" fmla="*/ 71 w 251"/>
                <a:gd name="T21" fmla="*/ 45 h 189"/>
                <a:gd name="T22" fmla="*/ 76 w 251"/>
                <a:gd name="T23" fmla="*/ 30 h 189"/>
                <a:gd name="T24" fmla="*/ 83 w 251"/>
                <a:gd name="T25" fmla="*/ 26 h 189"/>
                <a:gd name="T26" fmla="*/ 90 w 251"/>
                <a:gd name="T27" fmla="*/ 19 h 189"/>
                <a:gd name="T28" fmla="*/ 107 w 251"/>
                <a:gd name="T29" fmla="*/ 23 h 189"/>
                <a:gd name="T30" fmla="*/ 126 w 251"/>
                <a:gd name="T31" fmla="*/ 26 h 189"/>
                <a:gd name="T32" fmla="*/ 137 w 251"/>
                <a:gd name="T33" fmla="*/ 28 h 189"/>
                <a:gd name="T34" fmla="*/ 147 w 251"/>
                <a:gd name="T35" fmla="*/ 26 h 189"/>
                <a:gd name="T36" fmla="*/ 156 w 251"/>
                <a:gd name="T37" fmla="*/ 26 h 189"/>
                <a:gd name="T38" fmla="*/ 159 w 251"/>
                <a:gd name="T39" fmla="*/ 19 h 189"/>
                <a:gd name="T40" fmla="*/ 168 w 251"/>
                <a:gd name="T41" fmla="*/ 19 h 189"/>
                <a:gd name="T42" fmla="*/ 173 w 251"/>
                <a:gd name="T43" fmla="*/ 7 h 189"/>
                <a:gd name="T44" fmla="*/ 180 w 251"/>
                <a:gd name="T45" fmla="*/ 0 h 189"/>
                <a:gd name="T46" fmla="*/ 189 w 251"/>
                <a:gd name="T47" fmla="*/ 7 h 189"/>
                <a:gd name="T48" fmla="*/ 194 w 251"/>
                <a:gd name="T49" fmla="*/ 12 h 189"/>
                <a:gd name="T50" fmla="*/ 194 w 251"/>
                <a:gd name="T51" fmla="*/ 19 h 189"/>
                <a:gd name="T52" fmla="*/ 192 w 251"/>
                <a:gd name="T53" fmla="*/ 30 h 189"/>
                <a:gd name="T54" fmla="*/ 199 w 251"/>
                <a:gd name="T55" fmla="*/ 38 h 189"/>
                <a:gd name="T56" fmla="*/ 215 w 251"/>
                <a:gd name="T57" fmla="*/ 28 h 189"/>
                <a:gd name="T58" fmla="*/ 225 w 251"/>
                <a:gd name="T59" fmla="*/ 23 h 189"/>
                <a:gd name="T60" fmla="*/ 232 w 251"/>
                <a:gd name="T61" fmla="*/ 21 h 189"/>
                <a:gd name="T62" fmla="*/ 237 w 251"/>
                <a:gd name="T63" fmla="*/ 26 h 189"/>
                <a:gd name="T64" fmla="*/ 249 w 251"/>
                <a:gd name="T65" fmla="*/ 23 h 189"/>
                <a:gd name="T66" fmla="*/ 251 w 251"/>
                <a:gd name="T67" fmla="*/ 26 h 189"/>
                <a:gd name="T68" fmla="*/ 246 w 251"/>
                <a:gd name="T69" fmla="*/ 28 h 189"/>
                <a:gd name="T70" fmla="*/ 241 w 251"/>
                <a:gd name="T71" fmla="*/ 33 h 189"/>
                <a:gd name="T72" fmla="*/ 232 w 251"/>
                <a:gd name="T73" fmla="*/ 33 h 189"/>
                <a:gd name="T74" fmla="*/ 213 w 251"/>
                <a:gd name="T75" fmla="*/ 35 h 189"/>
                <a:gd name="T76" fmla="*/ 204 w 251"/>
                <a:gd name="T77" fmla="*/ 40 h 189"/>
                <a:gd name="T78" fmla="*/ 199 w 251"/>
                <a:gd name="T79" fmla="*/ 45 h 189"/>
                <a:gd name="T80" fmla="*/ 189 w 251"/>
                <a:gd name="T81" fmla="*/ 49 h 189"/>
                <a:gd name="T82" fmla="*/ 194 w 251"/>
                <a:gd name="T83" fmla="*/ 56 h 189"/>
                <a:gd name="T84" fmla="*/ 194 w 251"/>
                <a:gd name="T85" fmla="*/ 68 h 189"/>
                <a:gd name="T86" fmla="*/ 189 w 251"/>
                <a:gd name="T87" fmla="*/ 78 h 189"/>
                <a:gd name="T88" fmla="*/ 187 w 251"/>
                <a:gd name="T89" fmla="*/ 87 h 189"/>
                <a:gd name="T90" fmla="*/ 182 w 251"/>
                <a:gd name="T91" fmla="*/ 97 h 189"/>
                <a:gd name="T92" fmla="*/ 166 w 251"/>
                <a:gd name="T93" fmla="*/ 94 h 189"/>
                <a:gd name="T94" fmla="*/ 171 w 251"/>
                <a:gd name="T95" fmla="*/ 106 h 189"/>
                <a:gd name="T96" fmla="*/ 166 w 251"/>
                <a:gd name="T97" fmla="*/ 113 h 189"/>
                <a:gd name="T98" fmla="*/ 156 w 251"/>
                <a:gd name="T99" fmla="*/ 120 h 189"/>
                <a:gd name="T100" fmla="*/ 154 w 251"/>
                <a:gd name="T101" fmla="*/ 127 h 189"/>
                <a:gd name="T102" fmla="*/ 149 w 251"/>
                <a:gd name="T103" fmla="*/ 146 h 189"/>
                <a:gd name="T104" fmla="*/ 142 w 251"/>
                <a:gd name="T105" fmla="*/ 141 h 189"/>
                <a:gd name="T106" fmla="*/ 135 w 251"/>
                <a:gd name="T107" fmla="*/ 141 h 189"/>
                <a:gd name="T108" fmla="*/ 126 w 251"/>
                <a:gd name="T109" fmla="*/ 149 h 189"/>
                <a:gd name="T110" fmla="*/ 126 w 251"/>
                <a:gd name="T111" fmla="*/ 151 h 189"/>
                <a:gd name="T112" fmla="*/ 114 w 251"/>
                <a:gd name="T113" fmla="*/ 151 h 189"/>
                <a:gd name="T114" fmla="*/ 102 w 251"/>
                <a:gd name="T115" fmla="*/ 165 h 189"/>
                <a:gd name="T116" fmla="*/ 102 w 251"/>
                <a:gd name="T117" fmla="*/ 179 h 189"/>
                <a:gd name="T118" fmla="*/ 74 w 251"/>
                <a:gd name="T119" fmla="*/ 186 h 189"/>
                <a:gd name="T120" fmla="*/ 64 w 251"/>
                <a:gd name="T121" fmla="*/ 189 h 189"/>
                <a:gd name="T122" fmla="*/ 43 w 251"/>
                <a:gd name="T123" fmla="*/ 189 h 189"/>
                <a:gd name="T124" fmla="*/ 34 w 251"/>
                <a:gd name="T125"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189">
                  <a:moveTo>
                    <a:pt x="8" y="182"/>
                  </a:moveTo>
                  <a:lnTo>
                    <a:pt x="12" y="172"/>
                  </a:lnTo>
                  <a:lnTo>
                    <a:pt x="19" y="165"/>
                  </a:lnTo>
                  <a:lnTo>
                    <a:pt x="22" y="158"/>
                  </a:lnTo>
                  <a:lnTo>
                    <a:pt x="22" y="153"/>
                  </a:lnTo>
                  <a:lnTo>
                    <a:pt x="19" y="149"/>
                  </a:lnTo>
                  <a:lnTo>
                    <a:pt x="17" y="146"/>
                  </a:lnTo>
                  <a:lnTo>
                    <a:pt x="12" y="146"/>
                  </a:lnTo>
                  <a:lnTo>
                    <a:pt x="8" y="144"/>
                  </a:lnTo>
                  <a:lnTo>
                    <a:pt x="5" y="141"/>
                  </a:lnTo>
                  <a:lnTo>
                    <a:pt x="5" y="137"/>
                  </a:lnTo>
                  <a:lnTo>
                    <a:pt x="5" y="132"/>
                  </a:lnTo>
                  <a:lnTo>
                    <a:pt x="5" y="125"/>
                  </a:lnTo>
                  <a:lnTo>
                    <a:pt x="3" y="120"/>
                  </a:lnTo>
                  <a:lnTo>
                    <a:pt x="3" y="118"/>
                  </a:lnTo>
                  <a:lnTo>
                    <a:pt x="3" y="111"/>
                  </a:lnTo>
                  <a:lnTo>
                    <a:pt x="5" y="106"/>
                  </a:lnTo>
                  <a:lnTo>
                    <a:pt x="5" y="101"/>
                  </a:lnTo>
                  <a:lnTo>
                    <a:pt x="0" y="101"/>
                  </a:lnTo>
                  <a:lnTo>
                    <a:pt x="0" y="94"/>
                  </a:lnTo>
                  <a:lnTo>
                    <a:pt x="0" y="92"/>
                  </a:lnTo>
                  <a:lnTo>
                    <a:pt x="8" y="87"/>
                  </a:lnTo>
                  <a:lnTo>
                    <a:pt x="8" y="82"/>
                  </a:lnTo>
                  <a:lnTo>
                    <a:pt x="12" y="78"/>
                  </a:lnTo>
                  <a:lnTo>
                    <a:pt x="12" y="71"/>
                  </a:lnTo>
                  <a:lnTo>
                    <a:pt x="12" y="64"/>
                  </a:lnTo>
                  <a:lnTo>
                    <a:pt x="15" y="61"/>
                  </a:lnTo>
                  <a:lnTo>
                    <a:pt x="17" y="61"/>
                  </a:lnTo>
                  <a:lnTo>
                    <a:pt x="19" y="64"/>
                  </a:lnTo>
                  <a:lnTo>
                    <a:pt x="19" y="64"/>
                  </a:lnTo>
                  <a:lnTo>
                    <a:pt x="22" y="66"/>
                  </a:lnTo>
                  <a:lnTo>
                    <a:pt x="26" y="64"/>
                  </a:lnTo>
                  <a:lnTo>
                    <a:pt x="29" y="66"/>
                  </a:lnTo>
                  <a:lnTo>
                    <a:pt x="31" y="66"/>
                  </a:lnTo>
                  <a:lnTo>
                    <a:pt x="31" y="68"/>
                  </a:lnTo>
                  <a:lnTo>
                    <a:pt x="34" y="68"/>
                  </a:lnTo>
                  <a:lnTo>
                    <a:pt x="36" y="68"/>
                  </a:lnTo>
                  <a:lnTo>
                    <a:pt x="41" y="68"/>
                  </a:lnTo>
                  <a:lnTo>
                    <a:pt x="43" y="66"/>
                  </a:lnTo>
                  <a:lnTo>
                    <a:pt x="45" y="66"/>
                  </a:lnTo>
                  <a:lnTo>
                    <a:pt x="45" y="66"/>
                  </a:lnTo>
                  <a:lnTo>
                    <a:pt x="48" y="61"/>
                  </a:lnTo>
                  <a:lnTo>
                    <a:pt x="48" y="61"/>
                  </a:lnTo>
                  <a:lnTo>
                    <a:pt x="50" y="59"/>
                  </a:lnTo>
                  <a:lnTo>
                    <a:pt x="48" y="56"/>
                  </a:lnTo>
                  <a:lnTo>
                    <a:pt x="48" y="56"/>
                  </a:lnTo>
                  <a:lnTo>
                    <a:pt x="50" y="56"/>
                  </a:lnTo>
                  <a:lnTo>
                    <a:pt x="52" y="54"/>
                  </a:lnTo>
                  <a:lnTo>
                    <a:pt x="57" y="54"/>
                  </a:lnTo>
                  <a:lnTo>
                    <a:pt x="60" y="52"/>
                  </a:lnTo>
                  <a:lnTo>
                    <a:pt x="62" y="52"/>
                  </a:lnTo>
                  <a:lnTo>
                    <a:pt x="64" y="49"/>
                  </a:lnTo>
                  <a:lnTo>
                    <a:pt x="67" y="49"/>
                  </a:lnTo>
                  <a:lnTo>
                    <a:pt x="71" y="45"/>
                  </a:lnTo>
                  <a:lnTo>
                    <a:pt x="71" y="45"/>
                  </a:lnTo>
                  <a:lnTo>
                    <a:pt x="71" y="42"/>
                  </a:lnTo>
                  <a:lnTo>
                    <a:pt x="74" y="38"/>
                  </a:lnTo>
                  <a:lnTo>
                    <a:pt x="74" y="38"/>
                  </a:lnTo>
                  <a:lnTo>
                    <a:pt x="76" y="30"/>
                  </a:lnTo>
                  <a:lnTo>
                    <a:pt x="76" y="30"/>
                  </a:lnTo>
                  <a:lnTo>
                    <a:pt x="76" y="28"/>
                  </a:lnTo>
                  <a:lnTo>
                    <a:pt x="76" y="28"/>
                  </a:lnTo>
                  <a:lnTo>
                    <a:pt x="78" y="26"/>
                  </a:lnTo>
                  <a:lnTo>
                    <a:pt x="81" y="26"/>
                  </a:lnTo>
                  <a:lnTo>
                    <a:pt x="83" y="26"/>
                  </a:lnTo>
                  <a:lnTo>
                    <a:pt x="88" y="26"/>
                  </a:lnTo>
                  <a:lnTo>
                    <a:pt x="88" y="26"/>
                  </a:lnTo>
                  <a:lnTo>
                    <a:pt x="90" y="23"/>
                  </a:lnTo>
                  <a:lnTo>
                    <a:pt x="90" y="21"/>
                  </a:lnTo>
                  <a:lnTo>
                    <a:pt x="90" y="19"/>
                  </a:lnTo>
                  <a:lnTo>
                    <a:pt x="93" y="19"/>
                  </a:lnTo>
                  <a:lnTo>
                    <a:pt x="95" y="19"/>
                  </a:lnTo>
                  <a:lnTo>
                    <a:pt x="97" y="23"/>
                  </a:lnTo>
                  <a:lnTo>
                    <a:pt x="102" y="23"/>
                  </a:lnTo>
                  <a:lnTo>
                    <a:pt x="107" y="23"/>
                  </a:lnTo>
                  <a:lnTo>
                    <a:pt x="116" y="23"/>
                  </a:lnTo>
                  <a:lnTo>
                    <a:pt x="119" y="23"/>
                  </a:lnTo>
                  <a:lnTo>
                    <a:pt x="119" y="26"/>
                  </a:lnTo>
                  <a:lnTo>
                    <a:pt x="123" y="26"/>
                  </a:lnTo>
                  <a:lnTo>
                    <a:pt x="126" y="26"/>
                  </a:lnTo>
                  <a:lnTo>
                    <a:pt x="128" y="26"/>
                  </a:lnTo>
                  <a:lnTo>
                    <a:pt x="133" y="30"/>
                  </a:lnTo>
                  <a:lnTo>
                    <a:pt x="135" y="30"/>
                  </a:lnTo>
                  <a:lnTo>
                    <a:pt x="137" y="30"/>
                  </a:lnTo>
                  <a:lnTo>
                    <a:pt x="137" y="28"/>
                  </a:lnTo>
                  <a:lnTo>
                    <a:pt x="142" y="26"/>
                  </a:lnTo>
                  <a:lnTo>
                    <a:pt x="145" y="26"/>
                  </a:lnTo>
                  <a:lnTo>
                    <a:pt x="145" y="26"/>
                  </a:lnTo>
                  <a:lnTo>
                    <a:pt x="147" y="26"/>
                  </a:lnTo>
                  <a:lnTo>
                    <a:pt x="147" y="26"/>
                  </a:lnTo>
                  <a:lnTo>
                    <a:pt x="149" y="26"/>
                  </a:lnTo>
                  <a:lnTo>
                    <a:pt x="152" y="26"/>
                  </a:lnTo>
                  <a:lnTo>
                    <a:pt x="154" y="28"/>
                  </a:lnTo>
                  <a:lnTo>
                    <a:pt x="156" y="28"/>
                  </a:lnTo>
                  <a:lnTo>
                    <a:pt x="156" y="26"/>
                  </a:lnTo>
                  <a:lnTo>
                    <a:pt x="156" y="26"/>
                  </a:lnTo>
                  <a:lnTo>
                    <a:pt x="156" y="23"/>
                  </a:lnTo>
                  <a:lnTo>
                    <a:pt x="156" y="21"/>
                  </a:lnTo>
                  <a:lnTo>
                    <a:pt x="159" y="19"/>
                  </a:lnTo>
                  <a:lnTo>
                    <a:pt x="159" y="19"/>
                  </a:lnTo>
                  <a:lnTo>
                    <a:pt x="161" y="19"/>
                  </a:lnTo>
                  <a:lnTo>
                    <a:pt x="163" y="19"/>
                  </a:lnTo>
                  <a:lnTo>
                    <a:pt x="168" y="19"/>
                  </a:lnTo>
                  <a:lnTo>
                    <a:pt x="168" y="19"/>
                  </a:lnTo>
                  <a:lnTo>
                    <a:pt x="168" y="19"/>
                  </a:lnTo>
                  <a:lnTo>
                    <a:pt x="171" y="16"/>
                  </a:lnTo>
                  <a:lnTo>
                    <a:pt x="173" y="16"/>
                  </a:lnTo>
                  <a:lnTo>
                    <a:pt x="171" y="14"/>
                  </a:lnTo>
                  <a:lnTo>
                    <a:pt x="171" y="12"/>
                  </a:lnTo>
                  <a:lnTo>
                    <a:pt x="173" y="7"/>
                  </a:lnTo>
                  <a:lnTo>
                    <a:pt x="178" y="2"/>
                  </a:lnTo>
                  <a:lnTo>
                    <a:pt x="178" y="2"/>
                  </a:lnTo>
                  <a:lnTo>
                    <a:pt x="178" y="0"/>
                  </a:lnTo>
                  <a:lnTo>
                    <a:pt x="180" y="0"/>
                  </a:lnTo>
                  <a:lnTo>
                    <a:pt x="180" y="0"/>
                  </a:lnTo>
                  <a:lnTo>
                    <a:pt x="182" y="0"/>
                  </a:lnTo>
                  <a:lnTo>
                    <a:pt x="185" y="0"/>
                  </a:lnTo>
                  <a:lnTo>
                    <a:pt x="189" y="4"/>
                  </a:lnTo>
                  <a:lnTo>
                    <a:pt x="189" y="4"/>
                  </a:lnTo>
                  <a:lnTo>
                    <a:pt x="189" y="7"/>
                  </a:lnTo>
                  <a:lnTo>
                    <a:pt x="189" y="9"/>
                  </a:lnTo>
                  <a:lnTo>
                    <a:pt x="189" y="9"/>
                  </a:lnTo>
                  <a:lnTo>
                    <a:pt x="189" y="12"/>
                  </a:lnTo>
                  <a:lnTo>
                    <a:pt x="192" y="12"/>
                  </a:lnTo>
                  <a:lnTo>
                    <a:pt x="194" y="12"/>
                  </a:lnTo>
                  <a:lnTo>
                    <a:pt x="194" y="12"/>
                  </a:lnTo>
                  <a:lnTo>
                    <a:pt x="194" y="14"/>
                  </a:lnTo>
                  <a:lnTo>
                    <a:pt x="192" y="14"/>
                  </a:lnTo>
                  <a:lnTo>
                    <a:pt x="192" y="16"/>
                  </a:lnTo>
                  <a:lnTo>
                    <a:pt x="194" y="19"/>
                  </a:lnTo>
                  <a:lnTo>
                    <a:pt x="192" y="21"/>
                  </a:lnTo>
                  <a:lnTo>
                    <a:pt x="192" y="21"/>
                  </a:lnTo>
                  <a:lnTo>
                    <a:pt x="192" y="26"/>
                  </a:lnTo>
                  <a:lnTo>
                    <a:pt x="192" y="28"/>
                  </a:lnTo>
                  <a:lnTo>
                    <a:pt x="192" y="30"/>
                  </a:lnTo>
                  <a:lnTo>
                    <a:pt x="194" y="35"/>
                  </a:lnTo>
                  <a:lnTo>
                    <a:pt x="197" y="38"/>
                  </a:lnTo>
                  <a:lnTo>
                    <a:pt x="197" y="38"/>
                  </a:lnTo>
                  <a:lnTo>
                    <a:pt x="197" y="38"/>
                  </a:lnTo>
                  <a:lnTo>
                    <a:pt x="199" y="38"/>
                  </a:lnTo>
                  <a:lnTo>
                    <a:pt x="204" y="35"/>
                  </a:lnTo>
                  <a:lnTo>
                    <a:pt x="206" y="33"/>
                  </a:lnTo>
                  <a:lnTo>
                    <a:pt x="213" y="30"/>
                  </a:lnTo>
                  <a:lnTo>
                    <a:pt x="215" y="30"/>
                  </a:lnTo>
                  <a:lnTo>
                    <a:pt x="215" y="28"/>
                  </a:lnTo>
                  <a:lnTo>
                    <a:pt x="218" y="26"/>
                  </a:lnTo>
                  <a:lnTo>
                    <a:pt x="218" y="26"/>
                  </a:lnTo>
                  <a:lnTo>
                    <a:pt x="220" y="26"/>
                  </a:lnTo>
                  <a:lnTo>
                    <a:pt x="223" y="23"/>
                  </a:lnTo>
                  <a:lnTo>
                    <a:pt x="225" y="23"/>
                  </a:lnTo>
                  <a:lnTo>
                    <a:pt x="227" y="21"/>
                  </a:lnTo>
                  <a:lnTo>
                    <a:pt x="230" y="21"/>
                  </a:lnTo>
                  <a:lnTo>
                    <a:pt x="230" y="21"/>
                  </a:lnTo>
                  <a:lnTo>
                    <a:pt x="230" y="23"/>
                  </a:lnTo>
                  <a:lnTo>
                    <a:pt x="232" y="21"/>
                  </a:lnTo>
                  <a:lnTo>
                    <a:pt x="232" y="26"/>
                  </a:lnTo>
                  <a:lnTo>
                    <a:pt x="234" y="26"/>
                  </a:lnTo>
                  <a:lnTo>
                    <a:pt x="234" y="26"/>
                  </a:lnTo>
                  <a:lnTo>
                    <a:pt x="237" y="23"/>
                  </a:lnTo>
                  <a:lnTo>
                    <a:pt x="237" y="26"/>
                  </a:lnTo>
                  <a:lnTo>
                    <a:pt x="237" y="26"/>
                  </a:lnTo>
                  <a:lnTo>
                    <a:pt x="241" y="23"/>
                  </a:lnTo>
                  <a:lnTo>
                    <a:pt x="244" y="23"/>
                  </a:lnTo>
                  <a:lnTo>
                    <a:pt x="246" y="23"/>
                  </a:lnTo>
                  <a:lnTo>
                    <a:pt x="249" y="23"/>
                  </a:lnTo>
                  <a:lnTo>
                    <a:pt x="251" y="23"/>
                  </a:lnTo>
                  <a:lnTo>
                    <a:pt x="251" y="26"/>
                  </a:lnTo>
                  <a:lnTo>
                    <a:pt x="251" y="26"/>
                  </a:lnTo>
                  <a:lnTo>
                    <a:pt x="251" y="26"/>
                  </a:lnTo>
                  <a:lnTo>
                    <a:pt x="251" y="26"/>
                  </a:lnTo>
                  <a:lnTo>
                    <a:pt x="251" y="26"/>
                  </a:lnTo>
                  <a:lnTo>
                    <a:pt x="249" y="26"/>
                  </a:lnTo>
                  <a:lnTo>
                    <a:pt x="246" y="26"/>
                  </a:lnTo>
                  <a:lnTo>
                    <a:pt x="244" y="28"/>
                  </a:lnTo>
                  <a:lnTo>
                    <a:pt x="246" y="28"/>
                  </a:lnTo>
                  <a:lnTo>
                    <a:pt x="246" y="30"/>
                  </a:lnTo>
                  <a:lnTo>
                    <a:pt x="249" y="30"/>
                  </a:lnTo>
                  <a:lnTo>
                    <a:pt x="249" y="33"/>
                  </a:lnTo>
                  <a:lnTo>
                    <a:pt x="244" y="33"/>
                  </a:lnTo>
                  <a:lnTo>
                    <a:pt x="241" y="33"/>
                  </a:lnTo>
                  <a:lnTo>
                    <a:pt x="241" y="33"/>
                  </a:lnTo>
                  <a:lnTo>
                    <a:pt x="239" y="35"/>
                  </a:lnTo>
                  <a:lnTo>
                    <a:pt x="239" y="35"/>
                  </a:lnTo>
                  <a:lnTo>
                    <a:pt x="234" y="33"/>
                  </a:lnTo>
                  <a:lnTo>
                    <a:pt x="232" y="33"/>
                  </a:lnTo>
                  <a:lnTo>
                    <a:pt x="230" y="33"/>
                  </a:lnTo>
                  <a:lnTo>
                    <a:pt x="218" y="35"/>
                  </a:lnTo>
                  <a:lnTo>
                    <a:pt x="218" y="33"/>
                  </a:lnTo>
                  <a:lnTo>
                    <a:pt x="215" y="35"/>
                  </a:lnTo>
                  <a:lnTo>
                    <a:pt x="213" y="35"/>
                  </a:lnTo>
                  <a:lnTo>
                    <a:pt x="211" y="38"/>
                  </a:lnTo>
                  <a:lnTo>
                    <a:pt x="206" y="38"/>
                  </a:lnTo>
                  <a:lnTo>
                    <a:pt x="206" y="38"/>
                  </a:lnTo>
                  <a:lnTo>
                    <a:pt x="204" y="38"/>
                  </a:lnTo>
                  <a:lnTo>
                    <a:pt x="204" y="40"/>
                  </a:lnTo>
                  <a:lnTo>
                    <a:pt x="204" y="40"/>
                  </a:lnTo>
                  <a:lnTo>
                    <a:pt x="199" y="42"/>
                  </a:lnTo>
                  <a:lnTo>
                    <a:pt x="199" y="42"/>
                  </a:lnTo>
                  <a:lnTo>
                    <a:pt x="199" y="45"/>
                  </a:lnTo>
                  <a:lnTo>
                    <a:pt x="199" y="45"/>
                  </a:lnTo>
                  <a:lnTo>
                    <a:pt x="197" y="42"/>
                  </a:lnTo>
                  <a:lnTo>
                    <a:pt x="197" y="42"/>
                  </a:lnTo>
                  <a:lnTo>
                    <a:pt x="194" y="45"/>
                  </a:lnTo>
                  <a:lnTo>
                    <a:pt x="194" y="45"/>
                  </a:lnTo>
                  <a:lnTo>
                    <a:pt x="189" y="49"/>
                  </a:lnTo>
                  <a:lnTo>
                    <a:pt x="189" y="49"/>
                  </a:lnTo>
                  <a:lnTo>
                    <a:pt x="187" y="52"/>
                  </a:lnTo>
                  <a:lnTo>
                    <a:pt x="189" y="54"/>
                  </a:lnTo>
                  <a:lnTo>
                    <a:pt x="192" y="54"/>
                  </a:lnTo>
                  <a:lnTo>
                    <a:pt x="194" y="56"/>
                  </a:lnTo>
                  <a:lnTo>
                    <a:pt x="194" y="61"/>
                  </a:lnTo>
                  <a:lnTo>
                    <a:pt x="197" y="64"/>
                  </a:lnTo>
                  <a:lnTo>
                    <a:pt x="197" y="66"/>
                  </a:lnTo>
                  <a:lnTo>
                    <a:pt x="194" y="68"/>
                  </a:lnTo>
                  <a:lnTo>
                    <a:pt x="194" y="68"/>
                  </a:lnTo>
                  <a:lnTo>
                    <a:pt x="194" y="71"/>
                  </a:lnTo>
                  <a:lnTo>
                    <a:pt x="194" y="71"/>
                  </a:lnTo>
                  <a:lnTo>
                    <a:pt x="194" y="73"/>
                  </a:lnTo>
                  <a:lnTo>
                    <a:pt x="192" y="75"/>
                  </a:lnTo>
                  <a:lnTo>
                    <a:pt x="189" y="78"/>
                  </a:lnTo>
                  <a:lnTo>
                    <a:pt x="187" y="80"/>
                  </a:lnTo>
                  <a:lnTo>
                    <a:pt x="185" y="82"/>
                  </a:lnTo>
                  <a:lnTo>
                    <a:pt x="185" y="85"/>
                  </a:lnTo>
                  <a:lnTo>
                    <a:pt x="185" y="87"/>
                  </a:lnTo>
                  <a:lnTo>
                    <a:pt x="187" y="87"/>
                  </a:lnTo>
                  <a:lnTo>
                    <a:pt x="187" y="87"/>
                  </a:lnTo>
                  <a:lnTo>
                    <a:pt x="187" y="90"/>
                  </a:lnTo>
                  <a:lnTo>
                    <a:pt x="187" y="92"/>
                  </a:lnTo>
                  <a:lnTo>
                    <a:pt x="185" y="94"/>
                  </a:lnTo>
                  <a:lnTo>
                    <a:pt x="182" y="97"/>
                  </a:lnTo>
                  <a:lnTo>
                    <a:pt x="178" y="97"/>
                  </a:lnTo>
                  <a:lnTo>
                    <a:pt x="175" y="97"/>
                  </a:lnTo>
                  <a:lnTo>
                    <a:pt x="168" y="94"/>
                  </a:lnTo>
                  <a:lnTo>
                    <a:pt x="168" y="94"/>
                  </a:lnTo>
                  <a:lnTo>
                    <a:pt x="166" y="94"/>
                  </a:lnTo>
                  <a:lnTo>
                    <a:pt x="166" y="97"/>
                  </a:lnTo>
                  <a:lnTo>
                    <a:pt x="166" y="97"/>
                  </a:lnTo>
                  <a:lnTo>
                    <a:pt x="168" y="101"/>
                  </a:lnTo>
                  <a:lnTo>
                    <a:pt x="168" y="101"/>
                  </a:lnTo>
                  <a:lnTo>
                    <a:pt x="171" y="106"/>
                  </a:lnTo>
                  <a:lnTo>
                    <a:pt x="173" y="108"/>
                  </a:lnTo>
                  <a:lnTo>
                    <a:pt x="173" y="108"/>
                  </a:lnTo>
                  <a:lnTo>
                    <a:pt x="171" y="111"/>
                  </a:lnTo>
                  <a:lnTo>
                    <a:pt x="168" y="111"/>
                  </a:lnTo>
                  <a:lnTo>
                    <a:pt x="166" y="113"/>
                  </a:lnTo>
                  <a:lnTo>
                    <a:pt x="163" y="113"/>
                  </a:lnTo>
                  <a:lnTo>
                    <a:pt x="159" y="115"/>
                  </a:lnTo>
                  <a:lnTo>
                    <a:pt x="159" y="118"/>
                  </a:lnTo>
                  <a:lnTo>
                    <a:pt x="156" y="120"/>
                  </a:lnTo>
                  <a:lnTo>
                    <a:pt x="156" y="120"/>
                  </a:lnTo>
                  <a:lnTo>
                    <a:pt x="156" y="123"/>
                  </a:lnTo>
                  <a:lnTo>
                    <a:pt x="156" y="125"/>
                  </a:lnTo>
                  <a:lnTo>
                    <a:pt x="156" y="125"/>
                  </a:lnTo>
                  <a:lnTo>
                    <a:pt x="154" y="125"/>
                  </a:lnTo>
                  <a:lnTo>
                    <a:pt x="154" y="127"/>
                  </a:lnTo>
                  <a:lnTo>
                    <a:pt x="154" y="130"/>
                  </a:lnTo>
                  <a:lnTo>
                    <a:pt x="154" y="134"/>
                  </a:lnTo>
                  <a:lnTo>
                    <a:pt x="154" y="137"/>
                  </a:lnTo>
                  <a:lnTo>
                    <a:pt x="154" y="139"/>
                  </a:lnTo>
                  <a:lnTo>
                    <a:pt x="149" y="146"/>
                  </a:lnTo>
                  <a:lnTo>
                    <a:pt x="147" y="146"/>
                  </a:lnTo>
                  <a:lnTo>
                    <a:pt x="145" y="144"/>
                  </a:lnTo>
                  <a:lnTo>
                    <a:pt x="145" y="144"/>
                  </a:lnTo>
                  <a:lnTo>
                    <a:pt x="145" y="141"/>
                  </a:lnTo>
                  <a:lnTo>
                    <a:pt x="142" y="141"/>
                  </a:lnTo>
                  <a:lnTo>
                    <a:pt x="140" y="141"/>
                  </a:lnTo>
                  <a:lnTo>
                    <a:pt x="140" y="141"/>
                  </a:lnTo>
                  <a:lnTo>
                    <a:pt x="142" y="141"/>
                  </a:lnTo>
                  <a:lnTo>
                    <a:pt x="142" y="144"/>
                  </a:lnTo>
                  <a:lnTo>
                    <a:pt x="135" y="141"/>
                  </a:lnTo>
                  <a:lnTo>
                    <a:pt x="135" y="141"/>
                  </a:lnTo>
                  <a:lnTo>
                    <a:pt x="133" y="141"/>
                  </a:lnTo>
                  <a:lnTo>
                    <a:pt x="133" y="144"/>
                  </a:lnTo>
                  <a:lnTo>
                    <a:pt x="126" y="146"/>
                  </a:lnTo>
                  <a:lnTo>
                    <a:pt x="126" y="149"/>
                  </a:lnTo>
                  <a:lnTo>
                    <a:pt x="126" y="149"/>
                  </a:lnTo>
                  <a:lnTo>
                    <a:pt x="128" y="149"/>
                  </a:lnTo>
                  <a:lnTo>
                    <a:pt x="128" y="151"/>
                  </a:lnTo>
                  <a:lnTo>
                    <a:pt x="128" y="151"/>
                  </a:lnTo>
                  <a:lnTo>
                    <a:pt x="126" y="151"/>
                  </a:lnTo>
                  <a:lnTo>
                    <a:pt x="121" y="151"/>
                  </a:lnTo>
                  <a:lnTo>
                    <a:pt x="119" y="153"/>
                  </a:lnTo>
                  <a:lnTo>
                    <a:pt x="114" y="153"/>
                  </a:lnTo>
                  <a:lnTo>
                    <a:pt x="114" y="151"/>
                  </a:lnTo>
                  <a:lnTo>
                    <a:pt x="114" y="151"/>
                  </a:lnTo>
                  <a:lnTo>
                    <a:pt x="111" y="151"/>
                  </a:lnTo>
                  <a:lnTo>
                    <a:pt x="109" y="156"/>
                  </a:lnTo>
                  <a:lnTo>
                    <a:pt x="104" y="158"/>
                  </a:lnTo>
                  <a:lnTo>
                    <a:pt x="104" y="160"/>
                  </a:lnTo>
                  <a:lnTo>
                    <a:pt x="102" y="165"/>
                  </a:lnTo>
                  <a:lnTo>
                    <a:pt x="104" y="167"/>
                  </a:lnTo>
                  <a:lnTo>
                    <a:pt x="102" y="175"/>
                  </a:lnTo>
                  <a:lnTo>
                    <a:pt x="102" y="177"/>
                  </a:lnTo>
                  <a:lnTo>
                    <a:pt x="104" y="177"/>
                  </a:lnTo>
                  <a:lnTo>
                    <a:pt x="102" y="179"/>
                  </a:lnTo>
                  <a:lnTo>
                    <a:pt x="100" y="182"/>
                  </a:lnTo>
                  <a:lnTo>
                    <a:pt x="93" y="182"/>
                  </a:lnTo>
                  <a:lnTo>
                    <a:pt x="86" y="184"/>
                  </a:lnTo>
                  <a:lnTo>
                    <a:pt x="81" y="186"/>
                  </a:lnTo>
                  <a:lnTo>
                    <a:pt x="74" y="186"/>
                  </a:lnTo>
                  <a:lnTo>
                    <a:pt x="69" y="186"/>
                  </a:lnTo>
                  <a:lnTo>
                    <a:pt x="67" y="186"/>
                  </a:lnTo>
                  <a:lnTo>
                    <a:pt x="67" y="186"/>
                  </a:lnTo>
                  <a:lnTo>
                    <a:pt x="64" y="189"/>
                  </a:lnTo>
                  <a:lnTo>
                    <a:pt x="64" y="189"/>
                  </a:lnTo>
                  <a:lnTo>
                    <a:pt x="60" y="186"/>
                  </a:lnTo>
                  <a:lnTo>
                    <a:pt x="52" y="186"/>
                  </a:lnTo>
                  <a:lnTo>
                    <a:pt x="48" y="189"/>
                  </a:lnTo>
                  <a:lnTo>
                    <a:pt x="45" y="186"/>
                  </a:lnTo>
                  <a:lnTo>
                    <a:pt x="43" y="189"/>
                  </a:lnTo>
                  <a:lnTo>
                    <a:pt x="38" y="189"/>
                  </a:lnTo>
                  <a:lnTo>
                    <a:pt x="38" y="189"/>
                  </a:lnTo>
                  <a:lnTo>
                    <a:pt x="36" y="189"/>
                  </a:lnTo>
                  <a:lnTo>
                    <a:pt x="36" y="189"/>
                  </a:lnTo>
                  <a:lnTo>
                    <a:pt x="34" y="189"/>
                  </a:lnTo>
                  <a:lnTo>
                    <a:pt x="26" y="186"/>
                  </a:lnTo>
                  <a:lnTo>
                    <a:pt x="8" y="182"/>
                  </a:lnTo>
                  <a:lnTo>
                    <a:pt x="8" y="18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0" name="Freeform 1109">
              <a:extLst>
                <a:ext uri="{FF2B5EF4-FFF2-40B4-BE49-F238E27FC236}">
                  <a16:creationId xmlns:a16="http://schemas.microsoft.com/office/drawing/2014/main" id="{CAB9B34F-8C04-45C7-AC27-87B803348A35}"/>
                </a:ext>
              </a:extLst>
            </p:cNvPr>
            <p:cNvSpPr>
              <a:spLocks/>
            </p:cNvSpPr>
            <p:nvPr/>
          </p:nvSpPr>
          <p:spPr bwMode="auto">
            <a:xfrm>
              <a:off x="2950414" y="3382928"/>
              <a:ext cx="398462" cy="300039"/>
            </a:xfrm>
            <a:custGeom>
              <a:avLst/>
              <a:gdLst>
                <a:gd name="T0" fmla="*/ 22 w 251"/>
                <a:gd name="T1" fmla="*/ 153 h 189"/>
                <a:gd name="T2" fmla="*/ 5 w 251"/>
                <a:gd name="T3" fmla="*/ 141 h 189"/>
                <a:gd name="T4" fmla="*/ 3 w 251"/>
                <a:gd name="T5" fmla="*/ 118 h 189"/>
                <a:gd name="T6" fmla="*/ 0 w 251"/>
                <a:gd name="T7" fmla="*/ 94 h 189"/>
                <a:gd name="T8" fmla="*/ 12 w 251"/>
                <a:gd name="T9" fmla="*/ 71 h 189"/>
                <a:gd name="T10" fmla="*/ 19 w 251"/>
                <a:gd name="T11" fmla="*/ 64 h 189"/>
                <a:gd name="T12" fmla="*/ 31 w 251"/>
                <a:gd name="T13" fmla="*/ 68 h 189"/>
                <a:gd name="T14" fmla="*/ 45 w 251"/>
                <a:gd name="T15" fmla="*/ 66 h 189"/>
                <a:gd name="T16" fmla="*/ 48 w 251"/>
                <a:gd name="T17" fmla="*/ 56 h 189"/>
                <a:gd name="T18" fmla="*/ 60 w 251"/>
                <a:gd name="T19" fmla="*/ 52 h 189"/>
                <a:gd name="T20" fmla="*/ 71 w 251"/>
                <a:gd name="T21" fmla="*/ 45 h 189"/>
                <a:gd name="T22" fmla="*/ 76 w 251"/>
                <a:gd name="T23" fmla="*/ 30 h 189"/>
                <a:gd name="T24" fmla="*/ 83 w 251"/>
                <a:gd name="T25" fmla="*/ 26 h 189"/>
                <a:gd name="T26" fmla="*/ 90 w 251"/>
                <a:gd name="T27" fmla="*/ 19 h 189"/>
                <a:gd name="T28" fmla="*/ 107 w 251"/>
                <a:gd name="T29" fmla="*/ 23 h 189"/>
                <a:gd name="T30" fmla="*/ 126 w 251"/>
                <a:gd name="T31" fmla="*/ 26 h 189"/>
                <a:gd name="T32" fmla="*/ 137 w 251"/>
                <a:gd name="T33" fmla="*/ 28 h 189"/>
                <a:gd name="T34" fmla="*/ 147 w 251"/>
                <a:gd name="T35" fmla="*/ 26 h 189"/>
                <a:gd name="T36" fmla="*/ 156 w 251"/>
                <a:gd name="T37" fmla="*/ 26 h 189"/>
                <a:gd name="T38" fmla="*/ 159 w 251"/>
                <a:gd name="T39" fmla="*/ 19 h 189"/>
                <a:gd name="T40" fmla="*/ 168 w 251"/>
                <a:gd name="T41" fmla="*/ 19 h 189"/>
                <a:gd name="T42" fmla="*/ 173 w 251"/>
                <a:gd name="T43" fmla="*/ 7 h 189"/>
                <a:gd name="T44" fmla="*/ 180 w 251"/>
                <a:gd name="T45" fmla="*/ 0 h 189"/>
                <a:gd name="T46" fmla="*/ 189 w 251"/>
                <a:gd name="T47" fmla="*/ 7 h 189"/>
                <a:gd name="T48" fmla="*/ 194 w 251"/>
                <a:gd name="T49" fmla="*/ 12 h 189"/>
                <a:gd name="T50" fmla="*/ 194 w 251"/>
                <a:gd name="T51" fmla="*/ 19 h 189"/>
                <a:gd name="T52" fmla="*/ 192 w 251"/>
                <a:gd name="T53" fmla="*/ 30 h 189"/>
                <a:gd name="T54" fmla="*/ 199 w 251"/>
                <a:gd name="T55" fmla="*/ 38 h 189"/>
                <a:gd name="T56" fmla="*/ 215 w 251"/>
                <a:gd name="T57" fmla="*/ 28 h 189"/>
                <a:gd name="T58" fmla="*/ 225 w 251"/>
                <a:gd name="T59" fmla="*/ 23 h 189"/>
                <a:gd name="T60" fmla="*/ 232 w 251"/>
                <a:gd name="T61" fmla="*/ 21 h 189"/>
                <a:gd name="T62" fmla="*/ 237 w 251"/>
                <a:gd name="T63" fmla="*/ 26 h 189"/>
                <a:gd name="T64" fmla="*/ 249 w 251"/>
                <a:gd name="T65" fmla="*/ 23 h 189"/>
                <a:gd name="T66" fmla="*/ 251 w 251"/>
                <a:gd name="T67" fmla="*/ 26 h 189"/>
                <a:gd name="T68" fmla="*/ 246 w 251"/>
                <a:gd name="T69" fmla="*/ 28 h 189"/>
                <a:gd name="T70" fmla="*/ 241 w 251"/>
                <a:gd name="T71" fmla="*/ 33 h 189"/>
                <a:gd name="T72" fmla="*/ 232 w 251"/>
                <a:gd name="T73" fmla="*/ 33 h 189"/>
                <a:gd name="T74" fmla="*/ 213 w 251"/>
                <a:gd name="T75" fmla="*/ 35 h 189"/>
                <a:gd name="T76" fmla="*/ 204 w 251"/>
                <a:gd name="T77" fmla="*/ 40 h 189"/>
                <a:gd name="T78" fmla="*/ 199 w 251"/>
                <a:gd name="T79" fmla="*/ 45 h 189"/>
                <a:gd name="T80" fmla="*/ 189 w 251"/>
                <a:gd name="T81" fmla="*/ 49 h 189"/>
                <a:gd name="T82" fmla="*/ 194 w 251"/>
                <a:gd name="T83" fmla="*/ 56 h 189"/>
                <a:gd name="T84" fmla="*/ 194 w 251"/>
                <a:gd name="T85" fmla="*/ 68 h 189"/>
                <a:gd name="T86" fmla="*/ 189 w 251"/>
                <a:gd name="T87" fmla="*/ 78 h 189"/>
                <a:gd name="T88" fmla="*/ 187 w 251"/>
                <a:gd name="T89" fmla="*/ 87 h 189"/>
                <a:gd name="T90" fmla="*/ 182 w 251"/>
                <a:gd name="T91" fmla="*/ 97 h 189"/>
                <a:gd name="T92" fmla="*/ 166 w 251"/>
                <a:gd name="T93" fmla="*/ 94 h 189"/>
                <a:gd name="T94" fmla="*/ 171 w 251"/>
                <a:gd name="T95" fmla="*/ 106 h 189"/>
                <a:gd name="T96" fmla="*/ 166 w 251"/>
                <a:gd name="T97" fmla="*/ 113 h 189"/>
                <a:gd name="T98" fmla="*/ 156 w 251"/>
                <a:gd name="T99" fmla="*/ 120 h 189"/>
                <a:gd name="T100" fmla="*/ 154 w 251"/>
                <a:gd name="T101" fmla="*/ 127 h 189"/>
                <a:gd name="T102" fmla="*/ 149 w 251"/>
                <a:gd name="T103" fmla="*/ 146 h 189"/>
                <a:gd name="T104" fmla="*/ 142 w 251"/>
                <a:gd name="T105" fmla="*/ 141 h 189"/>
                <a:gd name="T106" fmla="*/ 135 w 251"/>
                <a:gd name="T107" fmla="*/ 141 h 189"/>
                <a:gd name="T108" fmla="*/ 126 w 251"/>
                <a:gd name="T109" fmla="*/ 149 h 189"/>
                <a:gd name="T110" fmla="*/ 126 w 251"/>
                <a:gd name="T111" fmla="*/ 151 h 189"/>
                <a:gd name="T112" fmla="*/ 114 w 251"/>
                <a:gd name="T113" fmla="*/ 151 h 189"/>
                <a:gd name="T114" fmla="*/ 102 w 251"/>
                <a:gd name="T115" fmla="*/ 165 h 189"/>
                <a:gd name="T116" fmla="*/ 102 w 251"/>
                <a:gd name="T117" fmla="*/ 179 h 189"/>
                <a:gd name="T118" fmla="*/ 74 w 251"/>
                <a:gd name="T119" fmla="*/ 186 h 189"/>
                <a:gd name="T120" fmla="*/ 64 w 251"/>
                <a:gd name="T121" fmla="*/ 189 h 189"/>
                <a:gd name="T122" fmla="*/ 43 w 251"/>
                <a:gd name="T123" fmla="*/ 189 h 189"/>
                <a:gd name="T124" fmla="*/ 34 w 251"/>
                <a:gd name="T125"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189">
                  <a:moveTo>
                    <a:pt x="8" y="182"/>
                  </a:moveTo>
                  <a:lnTo>
                    <a:pt x="12" y="172"/>
                  </a:lnTo>
                  <a:lnTo>
                    <a:pt x="19" y="165"/>
                  </a:lnTo>
                  <a:lnTo>
                    <a:pt x="22" y="158"/>
                  </a:lnTo>
                  <a:lnTo>
                    <a:pt x="22" y="153"/>
                  </a:lnTo>
                  <a:lnTo>
                    <a:pt x="19" y="149"/>
                  </a:lnTo>
                  <a:lnTo>
                    <a:pt x="17" y="146"/>
                  </a:lnTo>
                  <a:lnTo>
                    <a:pt x="12" y="146"/>
                  </a:lnTo>
                  <a:lnTo>
                    <a:pt x="8" y="144"/>
                  </a:lnTo>
                  <a:lnTo>
                    <a:pt x="5" y="141"/>
                  </a:lnTo>
                  <a:lnTo>
                    <a:pt x="5" y="137"/>
                  </a:lnTo>
                  <a:lnTo>
                    <a:pt x="5" y="132"/>
                  </a:lnTo>
                  <a:lnTo>
                    <a:pt x="5" y="125"/>
                  </a:lnTo>
                  <a:lnTo>
                    <a:pt x="3" y="120"/>
                  </a:lnTo>
                  <a:lnTo>
                    <a:pt x="3" y="118"/>
                  </a:lnTo>
                  <a:lnTo>
                    <a:pt x="3" y="111"/>
                  </a:lnTo>
                  <a:lnTo>
                    <a:pt x="5" y="106"/>
                  </a:lnTo>
                  <a:lnTo>
                    <a:pt x="5" y="101"/>
                  </a:lnTo>
                  <a:lnTo>
                    <a:pt x="0" y="101"/>
                  </a:lnTo>
                  <a:lnTo>
                    <a:pt x="0" y="94"/>
                  </a:lnTo>
                  <a:lnTo>
                    <a:pt x="0" y="92"/>
                  </a:lnTo>
                  <a:lnTo>
                    <a:pt x="8" y="87"/>
                  </a:lnTo>
                  <a:lnTo>
                    <a:pt x="8" y="82"/>
                  </a:lnTo>
                  <a:lnTo>
                    <a:pt x="12" y="78"/>
                  </a:lnTo>
                  <a:lnTo>
                    <a:pt x="12" y="71"/>
                  </a:lnTo>
                  <a:lnTo>
                    <a:pt x="12" y="64"/>
                  </a:lnTo>
                  <a:lnTo>
                    <a:pt x="15" y="61"/>
                  </a:lnTo>
                  <a:lnTo>
                    <a:pt x="17" y="61"/>
                  </a:lnTo>
                  <a:lnTo>
                    <a:pt x="19" y="64"/>
                  </a:lnTo>
                  <a:lnTo>
                    <a:pt x="19" y="64"/>
                  </a:lnTo>
                  <a:lnTo>
                    <a:pt x="22" y="66"/>
                  </a:lnTo>
                  <a:lnTo>
                    <a:pt x="26" y="64"/>
                  </a:lnTo>
                  <a:lnTo>
                    <a:pt x="29" y="66"/>
                  </a:lnTo>
                  <a:lnTo>
                    <a:pt x="31" y="66"/>
                  </a:lnTo>
                  <a:lnTo>
                    <a:pt x="31" y="68"/>
                  </a:lnTo>
                  <a:lnTo>
                    <a:pt x="34" y="68"/>
                  </a:lnTo>
                  <a:lnTo>
                    <a:pt x="36" y="68"/>
                  </a:lnTo>
                  <a:lnTo>
                    <a:pt x="41" y="68"/>
                  </a:lnTo>
                  <a:lnTo>
                    <a:pt x="43" y="66"/>
                  </a:lnTo>
                  <a:lnTo>
                    <a:pt x="45" y="66"/>
                  </a:lnTo>
                  <a:lnTo>
                    <a:pt x="45" y="66"/>
                  </a:lnTo>
                  <a:lnTo>
                    <a:pt x="48" y="61"/>
                  </a:lnTo>
                  <a:lnTo>
                    <a:pt x="48" y="61"/>
                  </a:lnTo>
                  <a:lnTo>
                    <a:pt x="50" y="59"/>
                  </a:lnTo>
                  <a:lnTo>
                    <a:pt x="48" y="56"/>
                  </a:lnTo>
                  <a:lnTo>
                    <a:pt x="48" y="56"/>
                  </a:lnTo>
                  <a:lnTo>
                    <a:pt x="50" y="56"/>
                  </a:lnTo>
                  <a:lnTo>
                    <a:pt x="52" y="54"/>
                  </a:lnTo>
                  <a:lnTo>
                    <a:pt x="57" y="54"/>
                  </a:lnTo>
                  <a:lnTo>
                    <a:pt x="60" y="52"/>
                  </a:lnTo>
                  <a:lnTo>
                    <a:pt x="62" y="52"/>
                  </a:lnTo>
                  <a:lnTo>
                    <a:pt x="64" y="49"/>
                  </a:lnTo>
                  <a:lnTo>
                    <a:pt x="67" y="49"/>
                  </a:lnTo>
                  <a:lnTo>
                    <a:pt x="71" y="45"/>
                  </a:lnTo>
                  <a:lnTo>
                    <a:pt x="71" y="45"/>
                  </a:lnTo>
                  <a:lnTo>
                    <a:pt x="71" y="42"/>
                  </a:lnTo>
                  <a:lnTo>
                    <a:pt x="74" y="38"/>
                  </a:lnTo>
                  <a:lnTo>
                    <a:pt x="74" y="38"/>
                  </a:lnTo>
                  <a:lnTo>
                    <a:pt x="76" y="30"/>
                  </a:lnTo>
                  <a:lnTo>
                    <a:pt x="76" y="30"/>
                  </a:lnTo>
                  <a:lnTo>
                    <a:pt x="76" y="28"/>
                  </a:lnTo>
                  <a:lnTo>
                    <a:pt x="76" y="28"/>
                  </a:lnTo>
                  <a:lnTo>
                    <a:pt x="78" y="26"/>
                  </a:lnTo>
                  <a:lnTo>
                    <a:pt x="81" y="26"/>
                  </a:lnTo>
                  <a:lnTo>
                    <a:pt x="83" y="26"/>
                  </a:lnTo>
                  <a:lnTo>
                    <a:pt x="88" y="26"/>
                  </a:lnTo>
                  <a:lnTo>
                    <a:pt x="88" y="26"/>
                  </a:lnTo>
                  <a:lnTo>
                    <a:pt x="90" y="23"/>
                  </a:lnTo>
                  <a:lnTo>
                    <a:pt x="90" y="21"/>
                  </a:lnTo>
                  <a:lnTo>
                    <a:pt x="90" y="19"/>
                  </a:lnTo>
                  <a:lnTo>
                    <a:pt x="93" y="19"/>
                  </a:lnTo>
                  <a:lnTo>
                    <a:pt x="95" y="19"/>
                  </a:lnTo>
                  <a:lnTo>
                    <a:pt x="97" y="23"/>
                  </a:lnTo>
                  <a:lnTo>
                    <a:pt x="102" y="23"/>
                  </a:lnTo>
                  <a:lnTo>
                    <a:pt x="107" y="23"/>
                  </a:lnTo>
                  <a:lnTo>
                    <a:pt x="116" y="23"/>
                  </a:lnTo>
                  <a:lnTo>
                    <a:pt x="119" y="23"/>
                  </a:lnTo>
                  <a:lnTo>
                    <a:pt x="119" y="26"/>
                  </a:lnTo>
                  <a:lnTo>
                    <a:pt x="123" y="26"/>
                  </a:lnTo>
                  <a:lnTo>
                    <a:pt x="126" y="26"/>
                  </a:lnTo>
                  <a:lnTo>
                    <a:pt x="128" y="26"/>
                  </a:lnTo>
                  <a:lnTo>
                    <a:pt x="133" y="30"/>
                  </a:lnTo>
                  <a:lnTo>
                    <a:pt x="135" y="30"/>
                  </a:lnTo>
                  <a:lnTo>
                    <a:pt x="137" y="30"/>
                  </a:lnTo>
                  <a:lnTo>
                    <a:pt x="137" y="28"/>
                  </a:lnTo>
                  <a:lnTo>
                    <a:pt x="142" y="26"/>
                  </a:lnTo>
                  <a:lnTo>
                    <a:pt x="145" y="26"/>
                  </a:lnTo>
                  <a:lnTo>
                    <a:pt x="145" y="26"/>
                  </a:lnTo>
                  <a:lnTo>
                    <a:pt x="147" y="26"/>
                  </a:lnTo>
                  <a:lnTo>
                    <a:pt x="147" y="26"/>
                  </a:lnTo>
                  <a:lnTo>
                    <a:pt x="149" y="26"/>
                  </a:lnTo>
                  <a:lnTo>
                    <a:pt x="152" y="26"/>
                  </a:lnTo>
                  <a:lnTo>
                    <a:pt x="154" y="28"/>
                  </a:lnTo>
                  <a:lnTo>
                    <a:pt x="156" y="28"/>
                  </a:lnTo>
                  <a:lnTo>
                    <a:pt x="156" y="26"/>
                  </a:lnTo>
                  <a:lnTo>
                    <a:pt x="156" y="26"/>
                  </a:lnTo>
                  <a:lnTo>
                    <a:pt x="156" y="23"/>
                  </a:lnTo>
                  <a:lnTo>
                    <a:pt x="156" y="21"/>
                  </a:lnTo>
                  <a:lnTo>
                    <a:pt x="159" y="19"/>
                  </a:lnTo>
                  <a:lnTo>
                    <a:pt x="159" y="19"/>
                  </a:lnTo>
                  <a:lnTo>
                    <a:pt x="161" y="19"/>
                  </a:lnTo>
                  <a:lnTo>
                    <a:pt x="163" y="19"/>
                  </a:lnTo>
                  <a:lnTo>
                    <a:pt x="168" y="19"/>
                  </a:lnTo>
                  <a:lnTo>
                    <a:pt x="168" y="19"/>
                  </a:lnTo>
                  <a:lnTo>
                    <a:pt x="168" y="19"/>
                  </a:lnTo>
                  <a:lnTo>
                    <a:pt x="171" y="16"/>
                  </a:lnTo>
                  <a:lnTo>
                    <a:pt x="173" y="16"/>
                  </a:lnTo>
                  <a:lnTo>
                    <a:pt x="171" y="14"/>
                  </a:lnTo>
                  <a:lnTo>
                    <a:pt x="171" y="12"/>
                  </a:lnTo>
                  <a:lnTo>
                    <a:pt x="173" y="7"/>
                  </a:lnTo>
                  <a:lnTo>
                    <a:pt x="178" y="2"/>
                  </a:lnTo>
                  <a:lnTo>
                    <a:pt x="178" y="2"/>
                  </a:lnTo>
                  <a:lnTo>
                    <a:pt x="178" y="0"/>
                  </a:lnTo>
                  <a:lnTo>
                    <a:pt x="180" y="0"/>
                  </a:lnTo>
                  <a:lnTo>
                    <a:pt x="180" y="0"/>
                  </a:lnTo>
                  <a:lnTo>
                    <a:pt x="182" y="0"/>
                  </a:lnTo>
                  <a:lnTo>
                    <a:pt x="185" y="0"/>
                  </a:lnTo>
                  <a:lnTo>
                    <a:pt x="189" y="4"/>
                  </a:lnTo>
                  <a:lnTo>
                    <a:pt x="189" y="4"/>
                  </a:lnTo>
                  <a:lnTo>
                    <a:pt x="189" y="7"/>
                  </a:lnTo>
                  <a:lnTo>
                    <a:pt x="189" y="9"/>
                  </a:lnTo>
                  <a:lnTo>
                    <a:pt x="189" y="9"/>
                  </a:lnTo>
                  <a:lnTo>
                    <a:pt x="189" y="12"/>
                  </a:lnTo>
                  <a:lnTo>
                    <a:pt x="192" y="12"/>
                  </a:lnTo>
                  <a:lnTo>
                    <a:pt x="194" y="12"/>
                  </a:lnTo>
                  <a:lnTo>
                    <a:pt x="194" y="12"/>
                  </a:lnTo>
                  <a:lnTo>
                    <a:pt x="194" y="14"/>
                  </a:lnTo>
                  <a:lnTo>
                    <a:pt x="192" y="14"/>
                  </a:lnTo>
                  <a:lnTo>
                    <a:pt x="192" y="16"/>
                  </a:lnTo>
                  <a:lnTo>
                    <a:pt x="194" y="19"/>
                  </a:lnTo>
                  <a:lnTo>
                    <a:pt x="192" y="21"/>
                  </a:lnTo>
                  <a:lnTo>
                    <a:pt x="192" y="21"/>
                  </a:lnTo>
                  <a:lnTo>
                    <a:pt x="192" y="26"/>
                  </a:lnTo>
                  <a:lnTo>
                    <a:pt x="192" y="28"/>
                  </a:lnTo>
                  <a:lnTo>
                    <a:pt x="192" y="30"/>
                  </a:lnTo>
                  <a:lnTo>
                    <a:pt x="194" y="35"/>
                  </a:lnTo>
                  <a:lnTo>
                    <a:pt x="197" y="38"/>
                  </a:lnTo>
                  <a:lnTo>
                    <a:pt x="197" y="38"/>
                  </a:lnTo>
                  <a:lnTo>
                    <a:pt x="197" y="38"/>
                  </a:lnTo>
                  <a:lnTo>
                    <a:pt x="199" y="38"/>
                  </a:lnTo>
                  <a:lnTo>
                    <a:pt x="204" y="35"/>
                  </a:lnTo>
                  <a:lnTo>
                    <a:pt x="206" y="33"/>
                  </a:lnTo>
                  <a:lnTo>
                    <a:pt x="213" y="30"/>
                  </a:lnTo>
                  <a:lnTo>
                    <a:pt x="215" y="30"/>
                  </a:lnTo>
                  <a:lnTo>
                    <a:pt x="215" y="28"/>
                  </a:lnTo>
                  <a:lnTo>
                    <a:pt x="218" y="26"/>
                  </a:lnTo>
                  <a:lnTo>
                    <a:pt x="218" y="26"/>
                  </a:lnTo>
                  <a:lnTo>
                    <a:pt x="220" y="26"/>
                  </a:lnTo>
                  <a:lnTo>
                    <a:pt x="223" y="23"/>
                  </a:lnTo>
                  <a:lnTo>
                    <a:pt x="225" y="23"/>
                  </a:lnTo>
                  <a:lnTo>
                    <a:pt x="227" y="21"/>
                  </a:lnTo>
                  <a:lnTo>
                    <a:pt x="230" y="21"/>
                  </a:lnTo>
                  <a:lnTo>
                    <a:pt x="230" y="21"/>
                  </a:lnTo>
                  <a:lnTo>
                    <a:pt x="230" y="23"/>
                  </a:lnTo>
                  <a:lnTo>
                    <a:pt x="232" y="21"/>
                  </a:lnTo>
                  <a:lnTo>
                    <a:pt x="232" y="26"/>
                  </a:lnTo>
                  <a:lnTo>
                    <a:pt x="234" y="26"/>
                  </a:lnTo>
                  <a:lnTo>
                    <a:pt x="234" y="26"/>
                  </a:lnTo>
                  <a:lnTo>
                    <a:pt x="237" y="23"/>
                  </a:lnTo>
                  <a:lnTo>
                    <a:pt x="237" y="26"/>
                  </a:lnTo>
                  <a:lnTo>
                    <a:pt x="237" y="26"/>
                  </a:lnTo>
                  <a:lnTo>
                    <a:pt x="241" y="23"/>
                  </a:lnTo>
                  <a:lnTo>
                    <a:pt x="244" y="23"/>
                  </a:lnTo>
                  <a:lnTo>
                    <a:pt x="246" y="23"/>
                  </a:lnTo>
                  <a:lnTo>
                    <a:pt x="249" y="23"/>
                  </a:lnTo>
                  <a:lnTo>
                    <a:pt x="251" y="23"/>
                  </a:lnTo>
                  <a:lnTo>
                    <a:pt x="251" y="26"/>
                  </a:lnTo>
                  <a:lnTo>
                    <a:pt x="251" y="26"/>
                  </a:lnTo>
                  <a:lnTo>
                    <a:pt x="251" y="26"/>
                  </a:lnTo>
                  <a:lnTo>
                    <a:pt x="251" y="26"/>
                  </a:lnTo>
                  <a:lnTo>
                    <a:pt x="251" y="26"/>
                  </a:lnTo>
                  <a:lnTo>
                    <a:pt x="249" y="26"/>
                  </a:lnTo>
                  <a:lnTo>
                    <a:pt x="246" y="26"/>
                  </a:lnTo>
                  <a:lnTo>
                    <a:pt x="244" y="28"/>
                  </a:lnTo>
                  <a:lnTo>
                    <a:pt x="246" y="28"/>
                  </a:lnTo>
                  <a:lnTo>
                    <a:pt x="246" y="30"/>
                  </a:lnTo>
                  <a:lnTo>
                    <a:pt x="249" y="30"/>
                  </a:lnTo>
                  <a:lnTo>
                    <a:pt x="249" y="33"/>
                  </a:lnTo>
                  <a:lnTo>
                    <a:pt x="244" y="33"/>
                  </a:lnTo>
                  <a:lnTo>
                    <a:pt x="241" y="33"/>
                  </a:lnTo>
                  <a:lnTo>
                    <a:pt x="241" y="33"/>
                  </a:lnTo>
                  <a:lnTo>
                    <a:pt x="239" y="35"/>
                  </a:lnTo>
                  <a:lnTo>
                    <a:pt x="239" y="35"/>
                  </a:lnTo>
                  <a:lnTo>
                    <a:pt x="234" y="33"/>
                  </a:lnTo>
                  <a:lnTo>
                    <a:pt x="232" y="33"/>
                  </a:lnTo>
                  <a:lnTo>
                    <a:pt x="230" y="33"/>
                  </a:lnTo>
                  <a:lnTo>
                    <a:pt x="218" y="35"/>
                  </a:lnTo>
                  <a:lnTo>
                    <a:pt x="218" y="33"/>
                  </a:lnTo>
                  <a:lnTo>
                    <a:pt x="215" y="35"/>
                  </a:lnTo>
                  <a:lnTo>
                    <a:pt x="213" y="35"/>
                  </a:lnTo>
                  <a:lnTo>
                    <a:pt x="211" y="38"/>
                  </a:lnTo>
                  <a:lnTo>
                    <a:pt x="206" y="38"/>
                  </a:lnTo>
                  <a:lnTo>
                    <a:pt x="206" y="38"/>
                  </a:lnTo>
                  <a:lnTo>
                    <a:pt x="204" y="38"/>
                  </a:lnTo>
                  <a:lnTo>
                    <a:pt x="204" y="40"/>
                  </a:lnTo>
                  <a:lnTo>
                    <a:pt x="204" y="40"/>
                  </a:lnTo>
                  <a:lnTo>
                    <a:pt x="199" y="42"/>
                  </a:lnTo>
                  <a:lnTo>
                    <a:pt x="199" y="42"/>
                  </a:lnTo>
                  <a:lnTo>
                    <a:pt x="199" y="45"/>
                  </a:lnTo>
                  <a:lnTo>
                    <a:pt x="199" y="45"/>
                  </a:lnTo>
                  <a:lnTo>
                    <a:pt x="197" y="42"/>
                  </a:lnTo>
                  <a:lnTo>
                    <a:pt x="197" y="42"/>
                  </a:lnTo>
                  <a:lnTo>
                    <a:pt x="194" y="45"/>
                  </a:lnTo>
                  <a:lnTo>
                    <a:pt x="194" y="45"/>
                  </a:lnTo>
                  <a:lnTo>
                    <a:pt x="189" y="49"/>
                  </a:lnTo>
                  <a:lnTo>
                    <a:pt x="189" y="49"/>
                  </a:lnTo>
                  <a:lnTo>
                    <a:pt x="187" y="52"/>
                  </a:lnTo>
                  <a:lnTo>
                    <a:pt x="189" y="54"/>
                  </a:lnTo>
                  <a:lnTo>
                    <a:pt x="192" y="54"/>
                  </a:lnTo>
                  <a:lnTo>
                    <a:pt x="194" y="56"/>
                  </a:lnTo>
                  <a:lnTo>
                    <a:pt x="194" y="61"/>
                  </a:lnTo>
                  <a:lnTo>
                    <a:pt x="197" y="64"/>
                  </a:lnTo>
                  <a:lnTo>
                    <a:pt x="197" y="66"/>
                  </a:lnTo>
                  <a:lnTo>
                    <a:pt x="194" y="68"/>
                  </a:lnTo>
                  <a:lnTo>
                    <a:pt x="194" y="68"/>
                  </a:lnTo>
                  <a:lnTo>
                    <a:pt x="194" y="71"/>
                  </a:lnTo>
                  <a:lnTo>
                    <a:pt x="194" y="71"/>
                  </a:lnTo>
                  <a:lnTo>
                    <a:pt x="194" y="73"/>
                  </a:lnTo>
                  <a:lnTo>
                    <a:pt x="192" y="75"/>
                  </a:lnTo>
                  <a:lnTo>
                    <a:pt x="189" y="78"/>
                  </a:lnTo>
                  <a:lnTo>
                    <a:pt x="187" y="80"/>
                  </a:lnTo>
                  <a:lnTo>
                    <a:pt x="185" y="82"/>
                  </a:lnTo>
                  <a:lnTo>
                    <a:pt x="185" y="85"/>
                  </a:lnTo>
                  <a:lnTo>
                    <a:pt x="185" y="87"/>
                  </a:lnTo>
                  <a:lnTo>
                    <a:pt x="187" y="87"/>
                  </a:lnTo>
                  <a:lnTo>
                    <a:pt x="187" y="87"/>
                  </a:lnTo>
                  <a:lnTo>
                    <a:pt x="187" y="90"/>
                  </a:lnTo>
                  <a:lnTo>
                    <a:pt x="187" y="92"/>
                  </a:lnTo>
                  <a:lnTo>
                    <a:pt x="185" y="94"/>
                  </a:lnTo>
                  <a:lnTo>
                    <a:pt x="182" y="97"/>
                  </a:lnTo>
                  <a:lnTo>
                    <a:pt x="178" y="97"/>
                  </a:lnTo>
                  <a:lnTo>
                    <a:pt x="175" y="97"/>
                  </a:lnTo>
                  <a:lnTo>
                    <a:pt x="168" y="94"/>
                  </a:lnTo>
                  <a:lnTo>
                    <a:pt x="168" y="94"/>
                  </a:lnTo>
                  <a:lnTo>
                    <a:pt x="166" y="94"/>
                  </a:lnTo>
                  <a:lnTo>
                    <a:pt x="166" y="97"/>
                  </a:lnTo>
                  <a:lnTo>
                    <a:pt x="166" y="97"/>
                  </a:lnTo>
                  <a:lnTo>
                    <a:pt x="168" y="101"/>
                  </a:lnTo>
                  <a:lnTo>
                    <a:pt x="168" y="101"/>
                  </a:lnTo>
                  <a:lnTo>
                    <a:pt x="171" y="106"/>
                  </a:lnTo>
                  <a:lnTo>
                    <a:pt x="173" y="108"/>
                  </a:lnTo>
                  <a:lnTo>
                    <a:pt x="173" y="108"/>
                  </a:lnTo>
                  <a:lnTo>
                    <a:pt x="171" y="111"/>
                  </a:lnTo>
                  <a:lnTo>
                    <a:pt x="168" y="111"/>
                  </a:lnTo>
                  <a:lnTo>
                    <a:pt x="166" y="113"/>
                  </a:lnTo>
                  <a:lnTo>
                    <a:pt x="163" y="113"/>
                  </a:lnTo>
                  <a:lnTo>
                    <a:pt x="159" y="115"/>
                  </a:lnTo>
                  <a:lnTo>
                    <a:pt x="159" y="118"/>
                  </a:lnTo>
                  <a:lnTo>
                    <a:pt x="156" y="120"/>
                  </a:lnTo>
                  <a:lnTo>
                    <a:pt x="156" y="120"/>
                  </a:lnTo>
                  <a:lnTo>
                    <a:pt x="156" y="123"/>
                  </a:lnTo>
                  <a:lnTo>
                    <a:pt x="156" y="125"/>
                  </a:lnTo>
                  <a:lnTo>
                    <a:pt x="156" y="125"/>
                  </a:lnTo>
                  <a:lnTo>
                    <a:pt x="154" y="125"/>
                  </a:lnTo>
                  <a:lnTo>
                    <a:pt x="154" y="127"/>
                  </a:lnTo>
                  <a:lnTo>
                    <a:pt x="154" y="130"/>
                  </a:lnTo>
                  <a:lnTo>
                    <a:pt x="154" y="134"/>
                  </a:lnTo>
                  <a:lnTo>
                    <a:pt x="154" y="137"/>
                  </a:lnTo>
                  <a:lnTo>
                    <a:pt x="154" y="139"/>
                  </a:lnTo>
                  <a:lnTo>
                    <a:pt x="149" y="146"/>
                  </a:lnTo>
                  <a:lnTo>
                    <a:pt x="147" y="146"/>
                  </a:lnTo>
                  <a:lnTo>
                    <a:pt x="145" y="144"/>
                  </a:lnTo>
                  <a:lnTo>
                    <a:pt x="145" y="144"/>
                  </a:lnTo>
                  <a:lnTo>
                    <a:pt x="145" y="141"/>
                  </a:lnTo>
                  <a:lnTo>
                    <a:pt x="142" y="141"/>
                  </a:lnTo>
                  <a:lnTo>
                    <a:pt x="140" y="141"/>
                  </a:lnTo>
                  <a:lnTo>
                    <a:pt x="140" y="141"/>
                  </a:lnTo>
                  <a:lnTo>
                    <a:pt x="142" y="141"/>
                  </a:lnTo>
                  <a:lnTo>
                    <a:pt x="142" y="144"/>
                  </a:lnTo>
                  <a:lnTo>
                    <a:pt x="135" y="141"/>
                  </a:lnTo>
                  <a:lnTo>
                    <a:pt x="135" y="141"/>
                  </a:lnTo>
                  <a:lnTo>
                    <a:pt x="133" y="141"/>
                  </a:lnTo>
                  <a:lnTo>
                    <a:pt x="133" y="144"/>
                  </a:lnTo>
                  <a:lnTo>
                    <a:pt x="126" y="146"/>
                  </a:lnTo>
                  <a:lnTo>
                    <a:pt x="126" y="149"/>
                  </a:lnTo>
                  <a:lnTo>
                    <a:pt x="126" y="149"/>
                  </a:lnTo>
                  <a:lnTo>
                    <a:pt x="128" y="149"/>
                  </a:lnTo>
                  <a:lnTo>
                    <a:pt x="128" y="151"/>
                  </a:lnTo>
                  <a:lnTo>
                    <a:pt x="128" y="151"/>
                  </a:lnTo>
                  <a:lnTo>
                    <a:pt x="126" y="151"/>
                  </a:lnTo>
                  <a:lnTo>
                    <a:pt x="121" y="151"/>
                  </a:lnTo>
                  <a:lnTo>
                    <a:pt x="119" y="153"/>
                  </a:lnTo>
                  <a:lnTo>
                    <a:pt x="114" y="153"/>
                  </a:lnTo>
                  <a:lnTo>
                    <a:pt x="114" y="151"/>
                  </a:lnTo>
                  <a:lnTo>
                    <a:pt x="114" y="151"/>
                  </a:lnTo>
                  <a:lnTo>
                    <a:pt x="111" y="151"/>
                  </a:lnTo>
                  <a:lnTo>
                    <a:pt x="109" y="156"/>
                  </a:lnTo>
                  <a:lnTo>
                    <a:pt x="104" y="158"/>
                  </a:lnTo>
                  <a:lnTo>
                    <a:pt x="104" y="160"/>
                  </a:lnTo>
                  <a:lnTo>
                    <a:pt x="102" y="165"/>
                  </a:lnTo>
                  <a:lnTo>
                    <a:pt x="104" y="167"/>
                  </a:lnTo>
                  <a:lnTo>
                    <a:pt x="102" y="175"/>
                  </a:lnTo>
                  <a:lnTo>
                    <a:pt x="102" y="177"/>
                  </a:lnTo>
                  <a:lnTo>
                    <a:pt x="104" y="177"/>
                  </a:lnTo>
                  <a:lnTo>
                    <a:pt x="102" y="179"/>
                  </a:lnTo>
                  <a:lnTo>
                    <a:pt x="100" y="182"/>
                  </a:lnTo>
                  <a:lnTo>
                    <a:pt x="93" y="182"/>
                  </a:lnTo>
                  <a:lnTo>
                    <a:pt x="86" y="184"/>
                  </a:lnTo>
                  <a:lnTo>
                    <a:pt x="81" y="186"/>
                  </a:lnTo>
                  <a:lnTo>
                    <a:pt x="74" y="186"/>
                  </a:lnTo>
                  <a:lnTo>
                    <a:pt x="69" y="186"/>
                  </a:lnTo>
                  <a:lnTo>
                    <a:pt x="67" y="186"/>
                  </a:lnTo>
                  <a:lnTo>
                    <a:pt x="67" y="186"/>
                  </a:lnTo>
                  <a:lnTo>
                    <a:pt x="64" y="189"/>
                  </a:lnTo>
                  <a:lnTo>
                    <a:pt x="64" y="189"/>
                  </a:lnTo>
                  <a:lnTo>
                    <a:pt x="60" y="186"/>
                  </a:lnTo>
                  <a:lnTo>
                    <a:pt x="52" y="186"/>
                  </a:lnTo>
                  <a:lnTo>
                    <a:pt x="48" y="189"/>
                  </a:lnTo>
                  <a:lnTo>
                    <a:pt x="45" y="186"/>
                  </a:lnTo>
                  <a:lnTo>
                    <a:pt x="43" y="189"/>
                  </a:lnTo>
                  <a:lnTo>
                    <a:pt x="38" y="189"/>
                  </a:lnTo>
                  <a:lnTo>
                    <a:pt x="38" y="189"/>
                  </a:lnTo>
                  <a:lnTo>
                    <a:pt x="36" y="189"/>
                  </a:lnTo>
                  <a:lnTo>
                    <a:pt x="36" y="189"/>
                  </a:lnTo>
                  <a:lnTo>
                    <a:pt x="34" y="189"/>
                  </a:lnTo>
                  <a:lnTo>
                    <a:pt x="26" y="186"/>
                  </a:lnTo>
                  <a:lnTo>
                    <a:pt x="8" y="182"/>
                  </a:lnTo>
                  <a:lnTo>
                    <a:pt x="8" y="18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1" name="Freeform 1110">
              <a:extLst>
                <a:ext uri="{FF2B5EF4-FFF2-40B4-BE49-F238E27FC236}">
                  <a16:creationId xmlns:a16="http://schemas.microsoft.com/office/drawing/2014/main" id="{D50207E1-82ED-4B03-8499-10062F8AC460}"/>
                </a:ext>
              </a:extLst>
            </p:cNvPr>
            <p:cNvSpPr>
              <a:spLocks/>
            </p:cNvSpPr>
            <p:nvPr/>
          </p:nvSpPr>
          <p:spPr bwMode="auto">
            <a:xfrm>
              <a:off x="3494926" y="3655978"/>
              <a:ext cx="220663" cy="123825"/>
            </a:xfrm>
            <a:custGeom>
              <a:avLst/>
              <a:gdLst>
                <a:gd name="T0" fmla="*/ 137 w 139"/>
                <a:gd name="T1" fmla="*/ 55 h 78"/>
                <a:gd name="T2" fmla="*/ 135 w 139"/>
                <a:gd name="T3" fmla="*/ 64 h 78"/>
                <a:gd name="T4" fmla="*/ 139 w 139"/>
                <a:gd name="T5" fmla="*/ 69 h 78"/>
                <a:gd name="T6" fmla="*/ 137 w 139"/>
                <a:gd name="T7" fmla="*/ 76 h 78"/>
                <a:gd name="T8" fmla="*/ 125 w 139"/>
                <a:gd name="T9" fmla="*/ 76 h 78"/>
                <a:gd name="T10" fmla="*/ 116 w 139"/>
                <a:gd name="T11" fmla="*/ 76 h 78"/>
                <a:gd name="T12" fmla="*/ 97 w 139"/>
                <a:gd name="T13" fmla="*/ 71 h 78"/>
                <a:gd name="T14" fmla="*/ 85 w 139"/>
                <a:gd name="T15" fmla="*/ 69 h 78"/>
                <a:gd name="T16" fmla="*/ 76 w 139"/>
                <a:gd name="T17" fmla="*/ 59 h 78"/>
                <a:gd name="T18" fmla="*/ 66 w 139"/>
                <a:gd name="T19" fmla="*/ 59 h 78"/>
                <a:gd name="T20" fmla="*/ 61 w 139"/>
                <a:gd name="T21" fmla="*/ 57 h 78"/>
                <a:gd name="T22" fmla="*/ 52 w 139"/>
                <a:gd name="T23" fmla="*/ 59 h 78"/>
                <a:gd name="T24" fmla="*/ 43 w 139"/>
                <a:gd name="T25" fmla="*/ 52 h 78"/>
                <a:gd name="T26" fmla="*/ 35 w 139"/>
                <a:gd name="T27" fmla="*/ 50 h 78"/>
                <a:gd name="T28" fmla="*/ 26 w 139"/>
                <a:gd name="T29" fmla="*/ 47 h 78"/>
                <a:gd name="T30" fmla="*/ 17 w 139"/>
                <a:gd name="T31" fmla="*/ 38 h 78"/>
                <a:gd name="T32" fmla="*/ 9 w 139"/>
                <a:gd name="T33" fmla="*/ 33 h 78"/>
                <a:gd name="T34" fmla="*/ 7 w 139"/>
                <a:gd name="T35" fmla="*/ 36 h 78"/>
                <a:gd name="T36" fmla="*/ 2 w 139"/>
                <a:gd name="T37" fmla="*/ 31 h 78"/>
                <a:gd name="T38" fmla="*/ 0 w 139"/>
                <a:gd name="T39" fmla="*/ 26 h 78"/>
                <a:gd name="T40" fmla="*/ 2 w 139"/>
                <a:gd name="T41" fmla="*/ 21 h 78"/>
                <a:gd name="T42" fmla="*/ 5 w 139"/>
                <a:gd name="T43" fmla="*/ 17 h 78"/>
                <a:gd name="T44" fmla="*/ 5 w 139"/>
                <a:gd name="T45" fmla="*/ 10 h 78"/>
                <a:gd name="T46" fmla="*/ 9 w 139"/>
                <a:gd name="T47" fmla="*/ 7 h 78"/>
                <a:gd name="T48" fmla="*/ 12 w 139"/>
                <a:gd name="T49" fmla="*/ 3 h 78"/>
                <a:gd name="T50" fmla="*/ 17 w 139"/>
                <a:gd name="T51" fmla="*/ 0 h 78"/>
                <a:gd name="T52" fmla="*/ 21 w 139"/>
                <a:gd name="T53" fmla="*/ 5 h 78"/>
                <a:gd name="T54" fmla="*/ 21 w 139"/>
                <a:gd name="T55" fmla="*/ 3 h 78"/>
                <a:gd name="T56" fmla="*/ 21 w 139"/>
                <a:gd name="T57" fmla="*/ 0 h 78"/>
                <a:gd name="T58" fmla="*/ 33 w 139"/>
                <a:gd name="T59" fmla="*/ 3 h 78"/>
                <a:gd name="T60" fmla="*/ 45 w 139"/>
                <a:gd name="T61" fmla="*/ 7 h 78"/>
                <a:gd name="T62" fmla="*/ 54 w 139"/>
                <a:gd name="T63" fmla="*/ 14 h 78"/>
                <a:gd name="T64" fmla="*/ 59 w 139"/>
                <a:gd name="T65" fmla="*/ 24 h 78"/>
                <a:gd name="T66" fmla="*/ 64 w 139"/>
                <a:gd name="T67" fmla="*/ 24 h 78"/>
                <a:gd name="T68" fmla="*/ 66 w 139"/>
                <a:gd name="T69" fmla="*/ 21 h 78"/>
                <a:gd name="T70" fmla="*/ 69 w 139"/>
                <a:gd name="T71" fmla="*/ 19 h 78"/>
                <a:gd name="T72" fmla="*/ 71 w 139"/>
                <a:gd name="T73" fmla="*/ 24 h 78"/>
                <a:gd name="T74" fmla="*/ 71 w 139"/>
                <a:gd name="T75" fmla="*/ 31 h 78"/>
                <a:gd name="T76" fmla="*/ 73 w 139"/>
                <a:gd name="T77" fmla="*/ 31 h 78"/>
                <a:gd name="T78" fmla="*/ 80 w 139"/>
                <a:gd name="T79" fmla="*/ 33 h 78"/>
                <a:gd name="T80" fmla="*/ 85 w 139"/>
                <a:gd name="T81" fmla="*/ 33 h 78"/>
                <a:gd name="T82" fmla="*/ 87 w 139"/>
                <a:gd name="T83" fmla="*/ 38 h 78"/>
                <a:gd name="T84" fmla="*/ 94 w 139"/>
                <a:gd name="T85" fmla="*/ 40 h 78"/>
                <a:gd name="T86" fmla="*/ 99 w 139"/>
                <a:gd name="T87" fmla="*/ 45 h 78"/>
                <a:gd name="T88" fmla="*/ 104 w 139"/>
                <a:gd name="T89" fmla="*/ 47 h 78"/>
                <a:gd name="T90" fmla="*/ 109 w 139"/>
                <a:gd name="T91" fmla="*/ 47 h 78"/>
                <a:gd name="T92" fmla="*/ 113 w 139"/>
                <a:gd name="T93" fmla="*/ 45 h 78"/>
                <a:gd name="T94" fmla="*/ 118 w 139"/>
                <a:gd name="T95" fmla="*/ 47 h 78"/>
                <a:gd name="T96" fmla="*/ 125 w 139"/>
                <a:gd name="T97" fmla="*/ 50 h 78"/>
                <a:gd name="T98" fmla="*/ 132 w 139"/>
                <a:gd name="T99" fmla="*/ 50 h 78"/>
                <a:gd name="T100" fmla="*/ 139 w 139"/>
                <a:gd name="T101"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9" h="78">
                  <a:moveTo>
                    <a:pt x="139" y="47"/>
                  </a:moveTo>
                  <a:lnTo>
                    <a:pt x="137" y="50"/>
                  </a:lnTo>
                  <a:lnTo>
                    <a:pt x="137" y="55"/>
                  </a:lnTo>
                  <a:lnTo>
                    <a:pt x="137" y="59"/>
                  </a:lnTo>
                  <a:lnTo>
                    <a:pt x="137" y="62"/>
                  </a:lnTo>
                  <a:lnTo>
                    <a:pt x="135" y="64"/>
                  </a:lnTo>
                  <a:lnTo>
                    <a:pt x="135" y="66"/>
                  </a:lnTo>
                  <a:lnTo>
                    <a:pt x="137" y="66"/>
                  </a:lnTo>
                  <a:lnTo>
                    <a:pt x="139" y="69"/>
                  </a:lnTo>
                  <a:lnTo>
                    <a:pt x="139" y="71"/>
                  </a:lnTo>
                  <a:lnTo>
                    <a:pt x="137" y="76"/>
                  </a:lnTo>
                  <a:lnTo>
                    <a:pt x="137" y="76"/>
                  </a:lnTo>
                  <a:lnTo>
                    <a:pt x="132" y="76"/>
                  </a:lnTo>
                  <a:lnTo>
                    <a:pt x="130" y="76"/>
                  </a:lnTo>
                  <a:lnTo>
                    <a:pt x="125" y="76"/>
                  </a:lnTo>
                  <a:lnTo>
                    <a:pt x="123" y="78"/>
                  </a:lnTo>
                  <a:lnTo>
                    <a:pt x="120" y="76"/>
                  </a:lnTo>
                  <a:lnTo>
                    <a:pt x="116" y="76"/>
                  </a:lnTo>
                  <a:lnTo>
                    <a:pt x="113" y="76"/>
                  </a:lnTo>
                  <a:lnTo>
                    <a:pt x="99" y="73"/>
                  </a:lnTo>
                  <a:lnTo>
                    <a:pt x="97" y="71"/>
                  </a:lnTo>
                  <a:lnTo>
                    <a:pt x="94" y="71"/>
                  </a:lnTo>
                  <a:lnTo>
                    <a:pt x="90" y="71"/>
                  </a:lnTo>
                  <a:lnTo>
                    <a:pt x="85" y="69"/>
                  </a:lnTo>
                  <a:lnTo>
                    <a:pt x="80" y="66"/>
                  </a:lnTo>
                  <a:lnTo>
                    <a:pt x="78" y="64"/>
                  </a:lnTo>
                  <a:lnTo>
                    <a:pt x="76" y="59"/>
                  </a:lnTo>
                  <a:lnTo>
                    <a:pt x="73" y="59"/>
                  </a:lnTo>
                  <a:lnTo>
                    <a:pt x="66" y="59"/>
                  </a:lnTo>
                  <a:lnTo>
                    <a:pt x="66" y="59"/>
                  </a:lnTo>
                  <a:lnTo>
                    <a:pt x="66" y="59"/>
                  </a:lnTo>
                  <a:lnTo>
                    <a:pt x="64" y="59"/>
                  </a:lnTo>
                  <a:lnTo>
                    <a:pt x="61" y="57"/>
                  </a:lnTo>
                  <a:lnTo>
                    <a:pt x="57" y="57"/>
                  </a:lnTo>
                  <a:lnTo>
                    <a:pt x="54" y="59"/>
                  </a:lnTo>
                  <a:lnTo>
                    <a:pt x="52" y="59"/>
                  </a:lnTo>
                  <a:lnTo>
                    <a:pt x="47" y="57"/>
                  </a:lnTo>
                  <a:lnTo>
                    <a:pt x="43" y="55"/>
                  </a:lnTo>
                  <a:lnTo>
                    <a:pt x="43" y="52"/>
                  </a:lnTo>
                  <a:lnTo>
                    <a:pt x="40" y="52"/>
                  </a:lnTo>
                  <a:lnTo>
                    <a:pt x="38" y="52"/>
                  </a:lnTo>
                  <a:lnTo>
                    <a:pt x="35" y="50"/>
                  </a:lnTo>
                  <a:lnTo>
                    <a:pt x="33" y="50"/>
                  </a:lnTo>
                  <a:lnTo>
                    <a:pt x="28" y="47"/>
                  </a:lnTo>
                  <a:lnTo>
                    <a:pt x="26" y="47"/>
                  </a:lnTo>
                  <a:lnTo>
                    <a:pt x="24" y="45"/>
                  </a:lnTo>
                  <a:lnTo>
                    <a:pt x="19" y="40"/>
                  </a:lnTo>
                  <a:lnTo>
                    <a:pt x="17" y="38"/>
                  </a:lnTo>
                  <a:lnTo>
                    <a:pt x="14" y="38"/>
                  </a:lnTo>
                  <a:lnTo>
                    <a:pt x="14" y="36"/>
                  </a:lnTo>
                  <a:lnTo>
                    <a:pt x="9" y="33"/>
                  </a:lnTo>
                  <a:lnTo>
                    <a:pt x="7" y="33"/>
                  </a:lnTo>
                  <a:lnTo>
                    <a:pt x="7" y="36"/>
                  </a:lnTo>
                  <a:lnTo>
                    <a:pt x="7" y="36"/>
                  </a:lnTo>
                  <a:lnTo>
                    <a:pt x="5" y="33"/>
                  </a:lnTo>
                  <a:lnTo>
                    <a:pt x="5" y="33"/>
                  </a:lnTo>
                  <a:lnTo>
                    <a:pt x="2" y="31"/>
                  </a:lnTo>
                  <a:lnTo>
                    <a:pt x="0" y="31"/>
                  </a:lnTo>
                  <a:lnTo>
                    <a:pt x="0" y="29"/>
                  </a:lnTo>
                  <a:lnTo>
                    <a:pt x="0" y="26"/>
                  </a:lnTo>
                  <a:lnTo>
                    <a:pt x="0" y="24"/>
                  </a:lnTo>
                  <a:lnTo>
                    <a:pt x="2" y="24"/>
                  </a:lnTo>
                  <a:lnTo>
                    <a:pt x="2" y="21"/>
                  </a:lnTo>
                  <a:lnTo>
                    <a:pt x="5" y="21"/>
                  </a:lnTo>
                  <a:lnTo>
                    <a:pt x="2" y="19"/>
                  </a:lnTo>
                  <a:lnTo>
                    <a:pt x="5" y="17"/>
                  </a:lnTo>
                  <a:lnTo>
                    <a:pt x="5" y="14"/>
                  </a:lnTo>
                  <a:lnTo>
                    <a:pt x="5" y="12"/>
                  </a:lnTo>
                  <a:lnTo>
                    <a:pt x="5" y="10"/>
                  </a:lnTo>
                  <a:lnTo>
                    <a:pt x="5" y="10"/>
                  </a:lnTo>
                  <a:lnTo>
                    <a:pt x="7" y="10"/>
                  </a:lnTo>
                  <a:lnTo>
                    <a:pt x="9" y="7"/>
                  </a:lnTo>
                  <a:lnTo>
                    <a:pt x="12" y="5"/>
                  </a:lnTo>
                  <a:lnTo>
                    <a:pt x="12" y="3"/>
                  </a:lnTo>
                  <a:lnTo>
                    <a:pt x="12" y="3"/>
                  </a:lnTo>
                  <a:lnTo>
                    <a:pt x="14" y="0"/>
                  </a:lnTo>
                  <a:lnTo>
                    <a:pt x="14" y="3"/>
                  </a:lnTo>
                  <a:lnTo>
                    <a:pt x="17" y="0"/>
                  </a:lnTo>
                  <a:lnTo>
                    <a:pt x="17" y="3"/>
                  </a:lnTo>
                  <a:lnTo>
                    <a:pt x="19" y="3"/>
                  </a:lnTo>
                  <a:lnTo>
                    <a:pt x="21" y="5"/>
                  </a:lnTo>
                  <a:lnTo>
                    <a:pt x="21" y="5"/>
                  </a:lnTo>
                  <a:lnTo>
                    <a:pt x="21" y="3"/>
                  </a:lnTo>
                  <a:lnTo>
                    <a:pt x="21" y="3"/>
                  </a:lnTo>
                  <a:lnTo>
                    <a:pt x="21" y="0"/>
                  </a:lnTo>
                  <a:lnTo>
                    <a:pt x="21" y="0"/>
                  </a:lnTo>
                  <a:lnTo>
                    <a:pt x="21" y="0"/>
                  </a:lnTo>
                  <a:lnTo>
                    <a:pt x="28" y="0"/>
                  </a:lnTo>
                  <a:lnTo>
                    <a:pt x="28" y="0"/>
                  </a:lnTo>
                  <a:lnTo>
                    <a:pt x="33" y="3"/>
                  </a:lnTo>
                  <a:lnTo>
                    <a:pt x="40" y="5"/>
                  </a:lnTo>
                  <a:lnTo>
                    <a:pt x="43" y="5"/>
                  </a:lnTo>
                  <a:lnTo>
                    <a:pt x="45" y="7"/>
                  </a:lnTo>
                  <a:lnTo>
                    <a:pt x="47" y="10"/>
                  </a:lnTo>
                  <a:lnTo>
                    <a:pt x="52" y="12"/>
                  </a:lnTo>
                  <a:lnTo>
                    <a:pt x="54" y="14"/>
                  </a:lnTo>
                  <a:lnTo>
                    <a:pt x="57" y="17"/>
                  </a:lnTo>
                  <a:lnTo>
                    <a:pt x="57" y="24"/>
                  </a:lnTo>
                  <a:lnTo>
                    <a:pt x="59" y="24"/>
                  </a:lnTo>
                  <a:lnTo>
                    <a:pt x="59" y="24"/>
                  </a:lnTo>
                  <a:lnTo>
                    <a:pt x="61" y="24"/>
                  </a:lnTo>
                  <a:lnTo>
                    <a:pt x="64" y="24"/>
                  </a:lnTo>
                  <a:lnTo>
                    <a:pt x="64" y="24"/>
                  </a:lnTo>
                  <a:lnTo>
                    <a:pt x="66" y="21"/>
                  </a:lnTo>
                  <a:lnTo>
                    <a:pt x="66" y="21"/>
                  </a:lnTo>
                  <a:lnTo>
                    <a:pt x="66" y="19"/>
                  </a:lnTo>
                  <a:lnTo>
                    <a:pt x="69" y="19"/>
                  </a:lnTo>
                  <a:lnTo>
                    <a:pt x="69" y="19"/>
                  </a:lnTo>
                  <a:lnTo>
                    <a:pt x="71" y="21"/>
                  </a:lnTo>
                  <a:lnTo>
                    <a:pt x="71" y="21"/>
                  </a:lnTo>
                  <a:lnTo>
                    <a:pt x="71" y="24"/>
                  </a:lnTo>
                  <a:lnTo>
                    <a:pt x="71" y="24"/>
                  </a:lnTo>
                  <a:lnTo>
                    <a:pt x="71" y="29"/>
                  </a:lnTo>
                  <a:lnTo>
                    <a:pt x="71" y="31"/>
                  </a:lnTo>
                  <a:lnTo>
                    <a:pt x="73" y="29"/>
                  </a:lnTo>
                  <a:lnTo>
                    <a:pt x="73" y="31"/>
                  </a:lnTo>
                  <a:lnTo>
                    <a:pt x="73" y="31"/>
                  </a:lnTo>
                  <a:lnTo>
                    <a:pt x="76" y="31"/>
                  </a:lnTo>
                  <a:lnTo>
                    <a:pt x="78" y="33"/>
                  </a:lnTo>
                  <a:lnTo>
                    <a:pt x="80" y="33"/>
                  </a:lnTo>
                  <a:lnTo>
                    <a:pt x="80" y="33"/>
                  </a:lnTo>
                  <a:lnTo>
                    <a:pt x="85" y="33"/>
                  </a:lnTo>
                  <a:lnTo>
                    <a:pt x="85" y="33"/>
                  </a:lnTo>
                  <a:lnTo>
                    <a:pt x="87" y="33"/>
                  </a:lnTo>
                  <a:lnTo>
                    <a:pt x="87" y="33"/>
                  </a:lnTo>
                  <a:lnTo>
                    <a:pt x="87" y="38"/>
                  </a:lnTo>
                  <a:lnTo>
                    <a:pt x="87" y="38"/>
                  </a:lnTo>
                  <a:lnTo>
                    <a:pt x="92" y="43"/>
                  </a:lnTo>
                  <a:lnTo>
                    <a:pt x="94" y="40"/>
                  </a:lnTo>
                  <a:lnTo>
                    <a:pt x="97" y="43"/>
                  </a:lnTo>
                  <a:lnTo>
                    <a:pt x="99" y="43"/>
                  </a:lnTo>
                  <a:lnTo>
                    <a:pt x="99" y="45"/>
                  </a:lnTo>
                  <a:lnTo>
                    <a:pt x="102" y="47"/>
                  </a:lnTo>
                  <a:lnTo>
                    <a:pt x="102" y="47"/>
                  </a:lnTo>
                  <a:lnTo>
                    <a:pt x="104" y="47"/>
                  </a:lnTo>
                  <a:lnTo>
                    <a:pt x="104" y="45"/>
                  </a:lnTo>
                  <a:lnTo>
                    <a:pt x="106" y="47"/>
                  </a:lnTo>
                  <a:lnTo>
                    <a:pt x="109" y="47"/>
                  </a:lnTo>
                  <a:lnTo>
                    <a:pt x="111" y="47"/>
                  </a:lnTo>
                  <a:lnTo>
                    <a:pt x="111" y="47"/>
                  </a:lnTo>
                  <a:lnTo>
                    <a:pt x="113" y="45"/>
                  </a:lnTo>
                  <a:lnTo>
                    <a:pt x="113" y="45"/>
                  </a:lnTo>
                  <a:lnTo>
                    <a:pt x="116" y="45"/>
                  </a:lnTo>
                  <a:lnTo>
                    <a:pt x="118" y="47"/>
                  </a:lnTo>
                  <a:lnTo>
                    <a:pt x="123" y="47"/>
                  </a:lnTo>
                  <a:lnTo>
                    <a:pt x="125" y="50"/>
                  </a:lnTo>
                  <a:lnTo>
                    <a:pt x="125" y="50"/>
                  </a:lnTo>
                  <a:lnTo>
                    <a:pt x="128" y="50"/>
                  </a:lnTo>
                  <a:lnTo>
                    <a:pt x="132" y="50"/>
                  </a:lnTo>
                  <a:lnTo>
                    <a:pt x="132" y="50"/>
                  </a:lnTo>
                  <a:lnTo>
                    <a:pt x="135" y="47"/>
                  </a:lnTo>
                  <a:lnTo>
                    <a:pt x="137" y="47"/>
                  </a:lnTo>
                  <a:lnTo>
                    <a:pt x="139" y="4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2" name="Freeform 1111">
              <a:extLst>
                <a:ext uri="{FF2B5EF4-FFF2-40B4-BE49-F238E27FC236}">
                  <a16:creationId xmlns:a16="http://schemas.microsoft.com/office/drawing/2014/main" id="{2B26A87D-43CA-40E8-8630-D8CBE4963F9F}"/>
                </a:ext>
              </a:extLst>
            </p:cNvPr>
            <p:cNvSpPr>
              <a:spLocks/>
            </p:cNvSpPr>
            <p:nvPr/>
          </p:nvSpPr>
          <p:spPr bwMode="auto">
            <a:xfrm>
              <a:off x="3494926" y="3655978"/>
              <a:ext cx="220663" cy="123825"/>
            </a:xfrm>
            <a:custGeom>
              <a:avLst/>
              <a:gdLst>
                <a:gd name="T0" fmla="*/ 137 w 139"/>
                <a:gd name="T1" fmla="*/ 55 h 78"/>
                <a:gd name="T2" fmla="*/ 135 w 139"/>
                <a:gd name="T3" fmla="*/ 64 h 78"/>
                <a:gd name="T4" fmla="*/ 139 w 139"/>
                <a:gd name="T5" fmla="*/ 69 h 78"/>
                <a:gd name="T6" fmla="*/ 137 w 139"/>
                <a:gd name="T7" fmla="*/ 76 h 78"/>
                <a:gd name="T8" fmla="*/ 125 w 139"/>
                <a:gd name="T9" fmla="*/ 76 h 78"/>
                <a:gd name="T10" fmla="*/ 116 w 139"/>
                <a:gd name="T11" fmla="*/ 76 h 78"/>
                <a:gd name="T12" fmla="*/ 97 w 139"/>
                <a:gd name="T13" fmla="*/ 71 h 78"/>
                <a:gd name="T14" fmla="*/ 85 w 139"/>
                <a:gd name="T15" fmla="*/ 69 h 78"/>
                <a:gd name="T16" fmla="*/ 76 w 139"/>
                <a:gd name="T17" fmla="*/ 59 h 78"/>
                <a:gd name="T18" fmla="*/ 66 w 139"/>
                <a:gd name="T19" fmla="*/ 59 h 78"/>
                <a:gd name="T20" fmla="*/ 61 w 139"/>
                <a:gd name="T21" fmla="*/ 57 h 78"/>
                <a:gd name="T22" fmla="*/ 52 w 139"/>
                <a:gd name="T23" fmla="*/ 59 h 78"/>
                <a:gd name="T24" fmla="*/ 43 w 139"/>
                <a:gd name="T25" fmla="*/ 52 h 78"/>
                <a:gd name="T26" fmla="*/ 35 w 139"/>
                <a:gd name="T27" fmla="*/ 50 h 78"/>
                <a:gd name="T28" fmla="*/ 26 w 139"/>
                <a:gd name="T29" fmla="*/ 47 h 78"/>
                <a:gd name="T30" fmla="*/ 17 w 139"/>
                <a:gd name="T31" fmla="*/ 38 h 78"/>
                <a:gd name="T32" fmla="*/ 9 w 139"/>
                <a:gd name="T33" fmla="*/ 33 h 78"/>
                <a:gd name="T34" fmla="*/ 7 w 139"/>
                <a:gd name="T35" fmla="*/ 36 h 78"/>
                <a:gd name="T36" fmla="*/ 2 w 139"/>
                <a:gd name="T37" fmla="*/ 31 h 78"/>
                <a:gd name="T38" fmla="*/ 0 w 139"/>
                <a:gd name="T39" fmla="*/ 26 h 78"/>
                <a:gd name="T40" fmla="*/ 2 w 139"/>
                <a:gd name="T41" fmla="*/ 21 h 78"/>
                <a:gd name="T42" fmla="*/ 5 w 139"/>
                <a:gd name="T43" fmla="*/ 17 h 78"/>
                <a:gd name="T44" fmla="*/ 5 w 139"/>
                <a:gd name="T45" fmla="*/ 10 h 78"/>
                <a:gd name="T46" fmla="*/ 9 w 139"/>
                <a:gd name="T47" fmla="*/ 7 h 78"/>
                <a:gd name="T48" fmla="*/ 12 w 139"/>
                <a:gd name="T49" fmla="*/ 3 h 78"/>
                <a:gd name="T50" fmla="*/ 17 w 139"/>
                <a:gd name="T51" fmla="*/ 0 h 78"/>
                <a:gd name="T52" fmla="*/ 21 w 139"/>
                <a:gd name="T53" fmla="*/ 5 h 78"/>
                <a:gd name="T54" fmla="*/ 21 w 139"/>
                <a:gd name="T55" fmla="*/ 3 h 78"/>
                <a:gd name="T56" fmla="*/ 21 w 139"/>
                <a:gd name="T57" fmla="*/ 0 h 78"/>
                <a:gd name="T58" fmla="*/ 33 w 139"/>
                <a:gd name="T59" fmla="*/ 3 h 78"/>
                <a:gd name="T60" fmla="*/ 45 w 139"/>
                <a:gd name="T61" fmla="*/ 7 h 78"/>
                <a:gd name="T62" fmla="*/ 54 w 139"/>
                <a:gd name="T63" fmla="*/ 14 h 78"/>
                <a:gd name="T64" fmla="*/ 59 w 139"/>
                <a:gd name="T65" fmla="*/ 24 h 78"/>
                <a:gd name="T66" fmla="*/ 64 w 139"/>
                <a:gd name="T67" fmla="*/ 24 h 78"/>
                <a:gd name="T68" fmla="*/ 66 w 139"/>
                <a:gd name="T69" fmla="*/ 21 h 78"/>
                <a:gd name="T70" fmla="*/ 69 w 139"/>
                <a:gd name="T71" fmla="*/ 19 h 78"/>
                <a:gd name="T72" fmla="*/ 71 w 139"/>
                <a:gd name="T73" fmla="*/ 24 h 78"/>
                <a:gd name="T74" fmla="*/ 71 w 139"/>
                <a:gd name="T75" fmla="*/ 31 h 78"/>
                <a:gd name="T76" fmla="*/ 73 w 139"/>
                <a:gd name="T77" fmla="*/ 31 h 78"/>
                <a:gd name="T78" fmla="*/ 80 w 139"/>
                <a:gd name="T79" fmla="*/ 33 h 78"/>
                <a:gd name="T80" fmla="*/ 85 w 139"/>
                <a:gd name="T81" fmla="*/ 33 h 78"/>
                <a:gd name="T82" fmla="*/ 87 w 139"/>
                <a:gd name="T83" fmla="*/ 38 h 78"/>
                <a:gd name="T84" fmla="*/ 94 w 139"/>
                <a:gd name="T85" fmla="*/ 40 h 78"/>
                <a:gd name="T86" fmla="*/ 99 w 139"/>
                <a:gd name="T87" fmla="*/ 45 h 78"/>
                <a:gd name="T88" fmla="*/ 104 w 139"/>
                <a:gd name="T89" fmla="*/ 47 h 78"/>
                <a:gd name="T90" fmla="*/ 109 w 139"/>
                <a:gd name="T91" fmla="*/ 47 h 78"/>
                <a:gd name="T92" fmla="*/ 113 w 139"/>
                <a:gd name="T93" fmla="*/ 45 h 78"/>
                <a:gd name="T94" fmla="*/ 118 w 139"/>
                <a:gd name="T95" fmla="*/ 47 h 78"/>
                <a:gd name="T96" fmla="*/ 125 w 139"/>
                <a:gd name="T97" fmla="*/ 50 h 78"/>
                <a:gd name="T98" fmla="*/ 132 w 139"/>
                <a:gd name="T99" fmla="*/ 50 h 78"/>
                <a:gd name="T100" fmla="*/ 139 w 139"/>
                <a:gd name="T101"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9" h="78">
                  <a:moveTo>
                    <a:pt x="139" y="47"/>
                  </a:moveTo>
                  <a:lnTo>
                    <a:pt x="137" y="50"/>
                  </a:lnTo>
                  <a:lnTo>
                    <a:pt x="137" y="55"/>
                  </a:lnTo>
                  <a:lnTo>
                    <a:pt x="137" y="59"/>
                  </a:lnTo>
                  <a:lnTo>
                    <a:pt x="137" y="62"/>
                  </a:lnTo>
                  <a:lnTo>
                    <a:pt x="135" y="64"/>
                  </a:lnTo>
                  <a:lnTo>
                    <a:pt x="135" y="66"/>
                  </a:lnTo>
                  <a:lnTo>
                    <a:pt x="137" y="66"/>
                  </a:lnTo>
                  <a:lnTo>
                    <a:pt x="139" y="69"/>
                  </a:lnTo>
                  <a:lnTo>
                    <a:pt x="139" y="71"/>
                  </a:lnTo>
                  <a:lnTo>
                    <a:pt x="137" y="76"/>
                  </a:lnTo>
                  <a:lnTo>
                    <a:pt x="137" y="76"/>
                  </a:lnTo>
                  <a:lnTo>
                    <a:pt x="132" y="76"/>
                  </a:lnTo>
                  <a:lnTo>
                    <a:pt x="130" y="76"/>
                  </a:lnTo>
                  <a:lnTo>
                    <a:pt x="125" y="76"/>
                  </a:lnTo>
                  <a:lnTo>
                    <a:pt x="123" y="78"/>
                  </a:lnTo>
                  <a:lnTo>
                    <a:pt x="120" y="76"/>
                  </a:lnTo>
                  <a:lnTo>
                    <a:pt x="116" y="76"/>
                  </a:lnTo>
                  <a:lnTo>
                    <a:pt x="113" y="76"/>
                  </a:lnTo>
                  <a:lnTo>
                    <a:pt x="99" y="73"/>
                  </a:lnTo>
                  <a:lnTo>
                    <a:pt x="97" y="71"/>
                  </a:lnTo>
                  <a:lnTo>
                    <a:pt x="94" y="71"/>
                  </a:lnTo>
                  <a:lnTo>
                    <a:pt x="90" y="71"/>
                  </a:lnTo>
                  <a:lnTo>
                    <a:pt x="85" y="69"/>
                  </a:lnTo>
                  <a:lnTo>
                    <a:pt x="80" y="66"/>
                  </a:lnTo>
                  <a:lnTo>
                    <a:pt x="78" y="64"/>
                  </a:lnTo>
                  <a:lnTo>
                    <a:pt x="76" y="59"/>
                  </a:lnTo>
                  <a:lnTo>
                    <a:pt x="73" y="59"/>
                  </a:lnTo>
                  <a:lnTo>
                    <a:pt x="66" y="59"/>
                  </a:lnTo>
                  <a:lnTo>
                    <a:pt x="66" y="59"/>
                  </a:lnTo>
                  <a:lnTo>
                    <a:pt x="66" y="59"/>
                  </a:lnTo>
                  <a:lnTo>
                    <a:pt x="64" y="59"/>
                  </a:lnTo>
                  <a:lnTo>
                    <a:pt x="61" y="57"/>
                  </a:lnTo>
                  <a:lnTo>
                    <a:pt x="57" y="57"/>
                  </a:lnTo>
                  <a:lnTo>
                    <a:pt x="54" y="59"/>
                  </a:lnTo>
                  <a:lnTo>
                    <a:pt x="52" y="59"/>
                  </a:lnTo>
                  <a:lnTo>
                    <a:pt x="47" y="57"/>
                  </a:lnTo>
                  <a:lnTo>
                    <a:pt x="43" y="55"/>
                  </a:lnTo>
                  <a:lnTo>
                    <a:pt x="43" y="52"/>
                  </a:lnTo>
                  <a:lnTo>
                    <a:pt x="40" y="52"/>
                  </a:lnTo>
                  <a:lnTo>
                    <a:pt x="38" y="52"/>
                  </a:lnTo>
                  <a:lnTo>
                    <a:pt x="35" y="50"/>
                  </a:lnTo>
                  <a:lnTo>
                    <a:pt x="33" y="50"/>
                  </a:lnTo>
                  <a:lnTo>
                    <a:pt x="28" y="47"/>
                  </a:lnTo>
                  <a:lnTo>
                    <a:pt x="26" y="47"/>
                  </a:lnTo>
                  <a:lnTo>
                    <a:pt x="24" y="45"/>
                  </a:lnTo>
                  <a:lnTo>
                    <a:pt x="19" y="40"/>
                  </a:lnTo>
                  <a:lnTo>
                    <a:pt x="17" y="38"/>
                  </a:lnTo>
                  <a:lnTo>
                    <a:pt x="14" y="38"/>
                  </a:lnTo>
                  <a:lnTo>
                    <a:pt x="14" y="36"/>
                  </a:lnTo>
                  <a:lnTo>
                    <a:pt x="9" y="33"/>
                  </a:lnTo>
                  <a:lnTo>
                    <a:pt x="7" y="33"/>
                  </a:lnTo>
                  <a:lnTo>
                    <a:pt x="7" y="36"/>
                  </a:lnTo>
                  <a:lnTo>
                    <a:pt x="7" y="36"/>
                  </a:lnTo>
                  <a:lnTo>
                    <a:pt x="5" y="33"/>
                  </a:lnTo>
                  <a:lnTo>
                    <a:pt x="5" y="33"/>
                  </a:lnTo>
                  <a:lnTo>
                    <a:pt x="2" y="31"/>
                  </a:lnTo>
                  <a:lnTo>
                    <a:pt x="0" y="31"/>
                  </a:lnTo>
                  <a:lnTo>
                    <a:pt x="0" y="29"/>
                  </a:lnTo>
                  <a:lnTo>
                    <a:pt x="0" y="26"/>
                  </a:lnTo>
                  <a:lnTo>
                    <a:pt x="0" y="24"/>
                  </a:lnTo>
                  <a:lnTo>
                    <a:pt x="2" y="24"/>
                  </a:lnTo>
                  <a:lnTo>
                    <a:pt x="2" y="21"/>
                  </a:lnTo>
                  <a:lnTo>
                    <a:pt x="5" y="21"/>
                  </a:lnTo>
                  <a:lnTo>
                    <a:pt x="2" y="19"/>
                  </a:lnTo>
                  <a:lnTo>
                    <a:pt x="5" y="17"/>
                  </a:lnTo>
                  <a:lnTo>
                    <a:pt x="5" y="14"/>
                  </a:lnTo>
                  <a:lnTo>
                    <a:pt x="5" y="12"/>
                  </a:lnTo>
                  <a:lnTo>
                    <a:pt x="5" y="10"/>
                  </a:lnTo>
                  <a:lnTo>
                    <a:pt x="5" y="10"/>
                  </a:lnTo>
                  <a:lnTo>
                    <a:pt x="7" y="10"/>
                  </a:lnTo>
                  <a:lnTo>
                    <a:pt x="9" y="7"/>
                  </a:lnTo>
                  <a:lnTo>
                    <a:pt x="12" y="5"/>
                  </a:lnTo>
                  <a:lnTo>
                    <a:pt x="12" y="3"/>
                  </a:lnTo>
                  <a:lnTo>
                    <a:pt x="12" y="3"/>
                  </a:lnTo>
                  <a:lnTo>
                    <a:pt x="14" y="0"/>
                  </a:lnTo>
                  <a:lnTo>
                    <a:pt x="14" y="3"/>
                  </a:lnTo>
                  <a:lnTo>
                    <a:pt x="17" y="0"/>
                  </a:lnTo>
                  <a:lnTo>
                    <a:pt x="17" y="3"/>
                  </a:lnTo>
                  <a:lnTo>
                    <a:pt x="19" y="3"/>
                  </a:lnTo>
                  <a:lnTo>
                    <a:pt x="21" y="5"/>
                  </a:lnTo>
                  <a:lnTo>
                    <a:pt x="21" y="5"/>
                  </a:lnTo>
                  <a:lnTo>
                    <a:pt x="21" y="3"/>
                  </a:lnTo>
                  <a:lnTo>
                    <a:pt x="21" y="3"/>
                  </a:lnTo>
                  <a:lnTo>
                    <a:pt x="21" y="0"/>
                  </a:lnTo>
                  <a:lnTo>
                    <a:pt x="21" y="0"/>
                  </a:lnTo>
                  <a:lnTo>
                    <a:pt x="21" y="0"/>
                  </a:lnTo>
                  <a:lnTo>
                    <a:pt x="28" y="0"/>
                  </a:lnTo>
                  <a:lnTo>
                    <a:pt x="28" y="0"/>
                  </a:lnTo>
                  <a:lnTo>
                    <a:pt x="33" y="3"/>
                  </a:lnTo>
                  <a:lnTo>
                    <a:pt x="40" y="5"/>
                  </a:lnTo>
                  <a:lnTo>
                    <a:pt x="43" y="5"/>
                  </a:lnTo>
                  <a:lnTo>
                    <a:pt x="45" y="7"/>
                  </a:lnTo>
                  <a:lnTo>
                    <a:pt x="47" y="10"/>
                  </a:lnTo>
                  <a:lnTo>
                    <a:pt x="52" y="12"/>
                  </a:lnTo>
                  <a:lnTo>
                    <a:pt x="54" y="14"/>
                  </a:lnTo>
                  <a:lnTo>
                    <a:pt x="57" y="17"/>
                  </a:lnTo>
                  <a:lnTo>
                    <a:pt x="57" y="24"/>
                  </a:lnTo>
                  <a:lnTo>
                    <a:pt x="59" y="24"/>
                  </a:lnTo>
                  <a:lnTo>
                    <a:pt x="59" y="24"/>
                  </a:lnTo>
                  <a:lnTo>
                    <a:pt x="61" y="24"/>
                  </a:lnTo>
                  <a:lnTo>
                    <a:pt x="64" y="24"/>
                  </a:lnTo>
                  <a:lnTo>
                    <a:pt x="64" y="24"/>
                  </a:lnTo>
                  <a:lnTo>
                    <a:pt x="66" y="21"/>
                  </a:lnTo>
                  <a:lnTo>
                    <a:pt x="66" y="21"/>
                  </a:lnTo>
                  <a:lnTo>
                    <a:pt x="66" y="19"/>
                  </a:lnTo>
                  <a:lnTo>
                    <a:pt x="69" y="19"/>
                  </a:lnTo>
                  <a:lnTo>
                    <a:pt x="69" y="19"/>
                  </a:lnTo>
                  <a:lnTo>
                    <a:pt x="71" y="21"/>
                  </a:lnTo>
                  <a:lnTo>
                    <a:pt x="71" y="21"/>
                  </a:lnTo>
                  <a:lnTo>
                    <a:pt x="71" y="24"/>
                  </a:lnTo>
                  <a:lnTo>
                    <a:pt x="71" y="24"/>
                  </a:lnTo>
                  <a:lnTo>
                    <a:pt x="71" y="29"/>
                  </a:lnTo>
                  <a:lnTo>
                    <a:pt x="71" y="31"/>
                  </a:lnTo>
                  <a:lnTo>
                    <a:pt x="73" y="29"/>
                  </a:lnTo>
                  <a:lnTo>
                    <a:pt x="73" y="31"/>
                  </a:lnTo>
                  <a:lnTo>
                    <a:pt x="73" y="31"/>
                  </a:lnTo>
                  <a:lnTo>
                    <a:pt x="76" y="31"/>
                  </a:lnTo>
                  <a:lnTo>
                    <a:pt x="78" y="33"/>
                  </a:lnTo>
                  <a:lnTo>
                    <a:pt x="80" y="33"/>
                  </a:lnTo>
                  <a:lnTo>
                    <a:pt x="80" y="33"/>
                  </a:lnTo>
                  <a:lnTo>
                    <a:pt x="85" y="33"/>
                  </a:lnTo>
                  <a:lnTo>
                    <a:pt x="85" y="33"/>
                  </a:lnTo>
                  <a:lnTo>
                    <a:pt x="87" y="33"/>
                  </a:lnTo>
                  <a:lnTo>
                    <a:pt x="87" y="33"/>
                  </a:lnTo>
                  <a:lnTo>
                    <a:pt x="87" y="38"/>
                  </a:lnTo>
                  <a:lnTo>
                    <a:pt x="87" y="38"/>
                  </a:lnTo>
                  <a:lnTo>
                    <a:pt x="92" y="43"/>
                  </a:lnTo>
                  <a:lnTo>
                    <a:pt x="94" y="40"/>
                  </a:lnTo>
                  <a:lnTo>
                    <a:pt x="97" y="43"/>
                  </a:lnTo>
                  <a:lnTo>
                    <a:pt x="99" y="43"/>
                  </a:lnTo>
                  <a:lnTo>
                    <a:pt x="99" y="45"/>
                  </a:lnTo>
                  <a:lnTo>
                    <a:pt x="102" y="47"/>
                  </a:lnTo>
                  <a:lnTo>
                    <a:pt x="102" y="47"/>
                  </a:lnTo>
                  <a:lnTo>
                    <a:pt x="104" y="47"/>
                  </a:lnTo>
                  <a:lnTo>
                    <a:pt x="104" y="45"/>
                  </a:lnTo>
                  <a:lnTo>
                    <a:pt x="106" y="47"/>
                  </a:lnTo>
                  <a:lnTo>
                    <a:pt x="109" y="47"/>
                  </a:lnTo>
                  <a:lnTo>
                    <a:pt x="111" y="47"/>
                  </a:lnTo>
                  <a:lnTo>
                    <a:pt x="111" y="47"/>
                  </a:lnTo>
                  <a:lnTo>
                    <a:pt x="113" y="45"/>
                  </a:lnTo>
                  <a:lnTo>
                    <a:pt x="113" y="45"/>
                  </a:lnTo>
                  <a:lnTo>
                    <a:pt x="116" y="45"/>
                  </a:lnTo>
                  <a:lnTo>
                    <a:pt x="118" y="47"/>
                  </a:lnTo>
                  <a:lnTo>
                    <a:pt x="123" y="47"/>
                  </a:lnTo>
                  <a:lnTo>
                    <a:pt x="125" y="50"/>
                  </a:lnTo>
                  <a:lnTo>
                    <a:pt x="125" y="50"/>
                  </a:lnTo>
                  <a:lnTo>
                    <a:pt x="128" y="50"/>
                  </a:lnTo>
                  <a:lnTo>
                    <a:pt x="132" y="50"/>
                  </a:lnTo>
                  <a:lnTo>
                    <a:pt x="132" y="50"/>
                  </a:lnTo>
                  <a:lnTo>
                    <a:pt x="135" y="47"/>
                  </a:lnTo>
                  <a:lnTo>
                    <a:pt x="137" y="47"/>
                  </a:lnTo>
                  <a:lnTo>
                    <a:pt x="139" y="47"/>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3" name="Freeform 1112">
              <a:extLst>
                <a:ext uri="{FF2B5EF4-FFF2-40B4-BE49-F238E27FC236}">
                  <a16:creationId xmlns:a16="http://schemas.microsoft.com/office/drawing/2014/main" id="{41B5C818-5E7C-4429-99B1-166D203EAAD0}"/>
                </a:ext>
              </a:extLst>
            </p:cNvPr>
            <p:cNvSpPr>
              <a:spLocks/>
            </p:cNvSpPr>
            <p:nvPr/>
          </p:nvSpPr>
          <p:spPr bwMode="auto">
            <a:xfrm>
              <a:off x="3709238" y="3771865"/>
              <a:ext cx="130175" cy="173038"/>
            </a:xfrm>
            <a:custGeom>
              <a:avLst/>
              <a:gdLst>
                <a:gd name="T0" fmla="*/ 75 w 82"/>
                <a:gd name="T1" fmla="*/ 109 h 109"/>
                <a:gd name="T2" fmla="*/ 71 w 82"/>
                <a:gd name="T3" fmla="*/ 93 h 109"/>
                <a:gd name="T4" fmla="*/ 71 w 82"/>
                <a:gd name="T5" fmla="*/ 83 h 109"/>
                <a:gd name="T6" fmla="*/ 63 w 82"/>
                <a:gd name="T7" fmla="*/ 74 h 109"/>
                <a:gd name="T8" fmla="*/ 54 w 82"/>
                <a:gd name="T9" fmla="*/ 74 h 109"/>
                <a:gd name="T10" fmla="*/ 52 w 82"/>
                <a:gd name="T11" fmla="*/ 69 h 109"/>
                <a:gd name="T12" fmla="*/ 49 w 82"/>
                <a:gd name="T13" fmla="*/ 74 h 109"/>
                <a:gd name="T14" fmla="*/ 47 w 82"/>
                <a:gd name="T15" fmla="*/ 78 h 109"/>
                <a:gd name="T16" fmla="*/ 40 w 82"/>
                <a:gd name="T17" fmla="*/ 90 h 109"/>
                <a:gd name="T18" fmla="*/ 35 w 82"/>
                <a:gd name="T19" fmla="*/ 85 h 109"/>
                <a:gd name="T20" fmla="*/ 35 w 82"/>
                <a:gd name="T21" fmla="*/ 90 h 109"/>
                <a:gd name="T22" fmla="*/ 30 w 82"/>
                <a:gd name="T23" fmla="*/ 90 h 109"/>
                <a:gd name="T24" fmla="*/ 26 w 82"/>
                <a:gd name="T25" fmla="*/ 90 h 109"/>
                <a:gd name="T26" fmla="*/ 23 w 82"/>
                <a:gd name="T27" fmla="*/ 93 h 109"/>
                <a:gd name="T28" fmla="*/ 21 w 82"/>
                <a:gd name="T29" fmla="*/ 95 h 109"/>
                <a:gd name="T30" fmla="*/ 19 w 82"/>
                <a:gd name="T31" fmla="*/ 95 h 109"/>
                <a:gd name="T32" fmla="*/ 16 w 82"/>
                <a:gd name="T33" fmla="*/ 88 h 109"/>
                <a:gd name="T34" fmla="*/ 16 w 82"/>
                <a:gd name="T35" fmla="*/ 83 h 109"/>
                <a:gd name="T36" fmla="*/ 14 w 82"/>
                <a:gd name="T37" fmla="*/ 78 h 109"/>
                <a:gd name="T38" fmla="*/ 11 w 82"/>
                <a:gd name="T39" fmla="*/ 74 h 109"/>
                <a:gd name="T40" fmla="*/ 14 w 82"/>
                <a:gd name="T41" fmla="*/ 69 h 109"/>
                <a:gd name="T42" fmla="*/ 14 w 82"/>
                <a:gd name="T43" fmla="*/ 64 h 109"/>
                <a:gd name="T44" fmla="*/ 11 w 82"/>
                <a:gd name="T45" fmla="*/ 57 h 109"/>
                <a:gd name="T46" fmla="*/ 9 w 82"/>
                <a:gd name="T47" fmla="*/ 52 h 109"/>
                <a:gd name="T48" fmla="*/ 11 w 82"/>
                <a:gd name="T49" fmla="*/ 43 h 109"/>
                <a:gd name="T50" fmla="*/ 7 w 82"/>
                <a:gd name="T51" fmla="*/ 38 h 109"/>
                <a:gd name="T52" fmla="*/ 0 w 82"/>
                <a:gd name="T53" fmla="*/ 36 h 109"/>
                <a:gd name="T54" fmla="*/ 0 w 82"/>
                <a:gd name="T55" fmla="*/ 31 h 109"/>
                <a:gd name="T56" fmla="*/ 4 w 82"/>
                <a:gd name="T57" fmla="*/ 29 h 109"/>
                <a:gd name="T58" fmla="*/ 7 w 82"/>
                <a:gd name="T59" fmla="*/ 26 h 109"/>
                <a:gd name="T60" fmla="*/ 14 w 82"/>
                <a:gd name="T61" fmla="*/ 22 h 109"/>
                <a:gd name="T62" fmla="*/ 11 w 82"/>
                <a:gd name="T63" fmla="*/ 19 h 109"/>
                <a:gd name="T64" fmla="*/ 4 w 82"/>
                <a:gd name="T65" fmla="*/ 19 h 109"/>
                <a:gd name="T66" fmla="*/ 2 w 82"/>
                <a:gd name="T67" fmla="*/ 15 h 109"/>
                <a:gd name="T68" fmla="*/ 9 w 82"/>
                <a:gd name="T69" fmla="*/ 3 h 109"/>
                <a:gd name="T70" fmla="*/ 14 w 82"/>
                <a:gd name="T71" fmla="*/ 7 h 109"/>
                <a:gd name="T72" fmla="*/ 16 w 82"/>
                <a:gd name="T73" fmla="*/ 7 h 109"/>
                <a:gd name="T74" fmla="*/ 19 w 82"/>
                <a:gd name="T75" fmla="*/ 3 h 109"/>
                <a:gd name="T76" fmla="*/ 21 w 82"/>
                <a:gd name="T77" fmla="*/ 10 h 109"/>
                <a:gd name="T78" fmla="*/ 26 w 82"/>
                <a:gd name="T79" fmla="*/ 12 h 109"/>
                <a:gd name="T80" fmla="*/ 28 w 82"/>
                <a:gd name="T81" fmla="*/ 7 h 109"/>
                <a:gd name="T82" fmla="*/ 33 w 82"/>
                <a:gd name="T83" fmla="*/ 19 h 109"/>
                <a:gd name="T84" fmla="*/ 37 w 82"/>
                <a:gd name="T85" fmla="*/ 24 h 109"/>
                <a:gd name="T86" fmla="*/ 52 w 82"/>
                <a:gd name="T87" fmla="*/ 24 h 109"/>
                <a:gd name="T88" fmla="*/ 63 w 82"/>
                <a:gd name="T89" fmla="*/ 24 h 109"/>
                <a:gd name="T90" fmla="*/ 78 w 82"/>
                <a:gd name="T91" fmla="*/ 29 h 109"/>
                <a:gd name="T92" fmla="*/ 73 w 82"/>
                <a:gd name="T93" fmla="*/ 31 h 109"/>
                <a:gd name="T94" fmla="*/ 68 w 82"/>
                <a:gd name="T95" fmla="*/ 41 h 109"/>
                <a:gd name="T96" fmla="*/ 61 w 82"/>
                <a:gd name="T97" fmla="*/ 45 h 109"/>
                <a:gd name="T98" fmla="*/ 56 w 82"/>
                <a:gd name="T99" fmla="*/ 50 h 109"/>
                <a:gd name="T100" fmla="*/ 59 w 82"/>
                <a:gd name="T101" fmla="*/ 62 h 109"/>
                <a:gd name="T102" fmla="*/ 63 w 82"/>
                <a:gd name="T103" fmla="*/ 67 h 109"/>
                <a:gd name="T104" fmla="*/ 66 w 82"/>
                <a:gd name="T105" fmla="*/ 64 h 109"/>
                <a:gd name="T106" fmla="*/ 73 w 82"/>
                <a:gd name="T107" fmla="*/ 55 h 109"/>
                <a:gd name="T108" fmla="*/ 75 w 82"/>
                <a:gd name="T109" fmla="*/ 59 h 109"/>
                <a:gd name="T110" fmla="*/ 80 w 82"/>
                <a:gd name="T111" fmla="*/ 67 h 109"/>
                <a:gd name="T112" fmla="*/ 82 w 82"/>
                <a:gd name="T113" fmla="*/ 78 h 109"/>
                <a:gd name="T114" fmla="*/ 82 w 82"/>
                <a:gd name="T115" fmla="*/ 90 h 109"/>
                <a:gd name="T116" fmla="*/ 80 w 82"/>
                <a:gd name="T117" fmla="*/ 97 h 109"/>
                <a:gd name="T118" fmla="*/ 78 w 82"/>
                <a:gd name="T119" fmla="*/ 10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109">
                  <a:moveTo>
                    <a:pt x="78" y="107"/>
                  </a:moveTo>
                  <a:lnTo>
                    <a:pt x="75" y="109"/>
                  </a:lnTo>
                  <a:lnTo>
                    <a:pt x="73" y="102"/>
                  </a:lnTo>
                  <a:lnTo>
                    <a:pt x="71" y="93"/>
                  </a:lnTo>
                  <a:lnTo>
                    <a:pt x="71" y="90"/>
                  </a:lnTo>
                  <a:lnTo>
                    <a:pt x="71" y="83"/>
                  </a:lnTo>
                  <a:lnTo>
                    <a:pt x="63" y="74"/>
                  </a:lnTo>
                  <a:lnTo>
                    <a:pt x="63" y="74"/>
                  </a:lnTo>
                  <a:lnTo>
                    <a:pt x="59" y="74"/>
                  </a:lnTo>
                  <a:lnTo>
                    <a:pt x="54" y="74"/>
                  </a:lnTo>
                  <a:lnTo>
                    <a:pt x="52" y="74"/>
                  </a:lnTo>
                  <a:lnTo>
                    <a:pt x="52" y="69"/>
                  </a:lnTo>
                  <a:lnTo>
                    <a:pt x="49" y="71"/>
                  </a:lnTo>
                  <a:lnTo>
                    <a:pt x="49" y="74"/>
                  </a:lnTo>
                  <a:lnTo>
                    <a:pt x="47" y="76"/>
                  </a:lnTo>
                  <a:lnTo>
                    <a:pt x="47" y="78"/>
                  </a:lnTo>
                  <a:lnTo>
                    <a:pt x="47" y="83"/>
                  </a:lnTo>
                  <a:lnTo>
                    <a:pt x="40" y="90"/>
                  </a:lnTo>
                  <a:lnTo>
                    <a:pt x="40" y="90"/>
                  </a:lnTo>
                  <a:lnTo>
                    <a:pt x="35" y="85"/>
                  </a:lnTo>
                  <a:lnTo>
                    <a:pt x="35" y="88"/>
                  </a:lnTo>
                  <a:lnTo>
                    <a:pt x="35" y="90"/>
                  </a:lnTo>
                  <a:lnTo>
                    <a:pt x="30" y="93"/>
                  </a:lnTo>
                  <a:lnTo>
                    <a:pt x="30" y="90"/>
                  </a:lnTo>
                  <a:lnTo>
                    <a:pt x="28" y="93"/>
                  </a:lnTo>
                  <a:lnTo>
                    <a:pt x="26" y="90"/>
                  </a:lnTo>
                  <a:lnTo>
                    <a:pt x="26" y="93"/>
                  </a:lnTo>
                  <a:lnTo>
                    <a:pt x="23" y="93"/>
                  </a:lnTo>
                  <a:lnTo>
                    <a:pt x="23" y="93"/>
                  </a:lnTo>
                  <a:lnTo>
                    <a:pt x="21" y="95"/>
                  </a:lnTo>
                  <a:lnTo>
                    <a:pt x="21" y="95"/>
                  </a:lnTo>
                  <a:lnTo>
                    <a:pt x="19" y="95"/>
                  </a:lnTo>
                  <a:lnTo>
                    <a:pt x="16" y="90"/>
                  </a:lnTo>
                  <a:lnTo>
                    <a:pt x="16" y="88"/>
                  </a:lnTo>
                  <a:lnTo>
                    <a:pt x="16" y="85"/>
                  </a:lnTo>
                  <a:lnTo>
                    <a:pt x="16" y="83"/>
                  </a:lnTo>
                  <a:lnTo>
                    <a:pt x="16" y="81"/>
                  </a:lnTo>
                  <a:lnTo>
                    <a:pt x="14" y="78"/>
                  </a:lnTo>
                  <a:lnTo>
                    <a:pt x="14" y="76"/>
                  </a:lnTo>
                  <a:lnTo>
                    <a:pt x="11" y="74"/>
                  </a:lnTo>
                  <a:lnTo>
                    <a:pt x="11" y="69"/>
                  </a:lnTo>
                  <a:lnTo>
                    <a:pt x="14" y="69"/>
                  </a:lnTo>
                  <a:lnTo>
                    <a:pt x="14" y="64"/>
                  </a:lnTo>
                  <a:lnTo>
                    <a:pt x="14" y="64"/>
                  </a:lnTo>
                  <a:lnTo>
                    <a:pt x="11" y="62"/>
                  </a:lnTo>
                  <a:lnTo>
                    <a:pt x="11" y="57"/>
                  </a:lnTo>
                  <a:lnTo>
                    <a:pt x="9" y="57"/>
                  </a:lnTo>
                  <a:lnTo>
                    <a:pt x="9" y="52"/>
                  </a:lnTo>
                  <a:lnTo>
                    <a:pt x="11" y="50"/>
                  </a:lnTo>
                  <a:lnTo>
                    <a:pt x="11" y="43"/>
                  </a:lnTo>
                  <a:lnTo>
                    <a:pt x="9" y="41"/>
                  </a:lnTo>
                  <a:lnTo>
                    <a:pt x="7" y="38"/>
                  </a:lnTo>
                  <a:lnTo>
                    <a:pt x="2" y="38"/>
                  </a:lnTo>
                  <a:lnTo>
                    <a:pt x="0" y="36"/>
                  </a:lnTo>
                  <a:lnTo>
                    <a:pt x="0" y="33"/>
                  </a:lnTo>
                  <a:lnTo>
                    <a:pt x="0" y="31"/>
                  </a:lnTo>
                  <a:lnTo>
                    <a:pt x="2" y="29"/>
                  </a:lnTo>
                  <a:lnTo>
                    <a:pt x="4" y="29"/>
                  </a:lnTo>
                  <a:lnTo>
                    <a:pt x="7" y="29"/>
                  </a:lnTo>
                  <a:lnTo>
                    <a:pt x="7" y="26"/>
                  </a:lnTo>
                  <a:lnTo>
                    <a:pt x="14" y="24"/>
                  </a:lnTo>
                  <a:lnTo>
                    <a:pt x="14" y="22"/>
                  </a:lnTo>
                  <a:lnTo>
                    <a:pt x="11" y="22"/>
                  </a:lnTo>
                  <a:lnTo>
                    <a:pt x="11" y="19"/>
                  </a:lnTo>
                  <a:lnTo>
                    <a:pt x="7" y="19"/>
                  </a:lnTo>
                  <a:lnTo>
                    <a:pt x="4" y="19"/>
                  </a:lnTo>
                  <a:lnTo>
                    <a:pt x="4" y="15"/>
                  </a:lnTo>
                  <a:lnTo>
                    <a:pt x="2" y="15"/>
                  </a:lnTo>
                  <a:lnTo>
                    <a:pt x="7" y="5"/>
                  </a:lnTo>
                  <a:lnTo>
                    <a:pt x="9" y="3"/>
                  </a:lnTo>
                  <a:lnTo>
                    <a:pt x="9" y="0"/>
                  </a:lnTo>
                  <a:lnTo>
                    <a:pt x="14" y="7"/>
                  </a:lnTo>
                  <a:lnTo>
                    <a:pt x="14" y="10"/>
                  </a:lnTo>
                  <a:lnTo>
                    <a:pt x="16" y="7"/>
                  </a:lnTo>
                  <a:lnTo>
                    <a:pt x="16" y="3"/>
                  </a:lnTo>
                  <a:lnTo>
                    <a:pt x="19" y="3"/>
                  </a:lnTo>
                  <a:lnTo>
                    <a:pt x="19" y="7"/>
                  </a:lnTo>
                  <a:lnTo>
                    <a:pt x="21" y="10"/>
                  </a:lnTo>
                  <a:lnTo>
                    <a:pt x="23" y="10"/>
                  </a:lnTo>
                  <a:lnTo>
                    <a:pt x="26" y="12"/>
                  </a:lnTo>
                  <a:lnTo>
                    <a:pt x="28" y="7"/>
                  </a:lnTo>
                  <a:lnTo>
                    <a:pt x="28" y="7"/>
                  </a:lnTo>
                  <a:lnTo>
                    <a:pt x="30" y="15"/>
                  </a:lnTo>
                  <a:lnTo>
                    <a:pt x="33" y="19"/>
                  </a:lnTo>
                  <a:lnTo>
                    <a:pt x="33" y="24"/>
                  </a:lnTo>
                  <a:lnTo>
                    <a:pt x="37" y="24"/>
                  </a:lnTo>
                  <a:lnTo>
                    <a:pt x="52" y="26"/>
                  </a:lnTo>
                  <a:lnTo>
                    <a:pt x="52" y="24"/>
                  </a:lnTo>
                  <a:lnTo>
                    <a:pt x="56" y="24"/>
                  </a:lnTo>
                  <a:lnTo>
                    <a:pt x="63" y="24"/>
                  </a:lnTo>
                  <a:lnTo>
                    <a:pt x="71" y="26"/>
                  </a:lnTo>
                  <a:lnTo>
                    <a:pt x="78" y="29"/>
                  </a:lnTo>
                  <a:lnTo>
                    <a:pt x="75" y="31"/>
                  </a:lnTo>
                  <a:lnTo>
                    <a:pt x="73" y="31"/>
                  </a:lnTo>
                  <a:lnTo>
                    <a:pt x="71" y="36"/>
                  </a:lnTo>
                  <a:lnTo>
                    <a:pt x="68" y="41"/>
                  </a:lnTo>
                  <a:lnTo>
                    <a:pt x="63" y="43"/>
                  </a:lnTo>
                  <a:lnTo>
                    <a:pt x="61" y="45"/>
                  </a:lnTo>
                  <a:lnTo>
                    <a:pt x="56" y="48"/>
                  </a:lnTo>
                  <a:lnTo>
                    <a:pt x="56" y="50"/>
                  </a:lnTo>
                  <a:lnTo>
                    <a:pt x="56" y="57"/>
                  </a:lnTo>
                  <a:lnTo>
                    <a:pt x="59" y="62"/>
                  </a:lnTo>
                  <a:lnTo>
                    <a:pt x="61" y="62"/>
                  </a:lnTo>
                  <a:lnTo>
                    <a:pt x="63" y="67"/>
                  </a:lnTo>
                  <a:lnTo>
                    <a:pt x="66" y="67"/>
                  </a:lnTo>
                  <a:lnTo>
                    <a:pt x="66" y="64"/>
                  </a:lnTo>
                  <a:lnTo>
                    <a:pt x="68" y="59"/>
                  </a:lnTo>
                  <a:lnTo>
                    <a:pt x="73" y="55"/>
                  </a:lnTo>
                  <a:lnTo>
                    <a:pt x="73" y="55"/>
                  </a:lnTo>
                  <a:lnTo>
                    <a:pt x="75" y="59"/>
                  </a:lnTo>
                  <a:lnTo>
                    <a:pt x="78" y="64"/>
                  </a:lnTo>
                  <a:lnTo>
                    <a:pt x="80" y="67"/>
                  </a:lnTo>
                  <a:lnTo>
                    <a:pt x="80" y="69"/>
                  </a:lnTo>
                  <a:lnTo>
                    <a:pt x="82" y="78"/>
                  </a:lnTo>
                  <a:lnTo>
                    <a:pt x="82" y="88"/>
                  </a:lnTo>
                  <a:lnTo>
                    <a:pt x="82" y="90"/>
                  </a:lnTo>
                  <a:lnTo>
                    <a:pt x="82" y="100"/>
                  </a:lnTo>
                  <a:lnTo>
                    <a:pt x="80" y="97"/>
                  </a:lnTo>
                  <a:lnTo>
                    <a:pt x="78" y="100"/>
                  </a:lnTo>
                  <a:lnTo>
                    <a:pt x="78" y="102"/>
                  </a:lnTo>
                  <a:lnTo>
                    <a:pt x="78" y="10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4" name="Freeform 1113">
              <a:extLst>
                <a:ext uri="{FF2B5EF4-FFF2-40B4-BE49-F238E27FC236}">
                  <a16:creationId xmlns:a16="http://schemas.microsoft.com/office/drawing/2014/main" id="{E80969E0-4B6F-47F1-8BAE-CBE8D8748268}"/>
                </a:ext>
              </a:extLst>
            </p:cNvPr>
            <p:cNvSpPr>
              <a:spLocks/>
            </p:cNvSpPr>
            <p:nvPr/>
          </p:nvSpPr>
          <p:spPr bwMode="auto">
            <a:xfrm>
              <a:off x="3709238" y="3771865"/>
              <a:ext cx="130175" cy="173038"/>
            </a:xfrm>
            <a:custGeom>
              <a:avLst/>
              <a:gdLst>
                <a:gd name="T0" fmla="*/ 75 w 82"/>
                <a:gd name="T1" fmla="*/ 109 h 109"/>
                <a:gd name="T2" fmla="*/ 71 w 82"/>
                <a:gd name="T3" fmla="*/ 93 h 109"/>
                <a:gd name="T4" fmla="*/ 71 w 82"/>
                <a:gd name="T5" fmla="*/ 83 h 109"/>
                <a:gd name="T6" fmla="*/ 63 w 82"/>
                <a:gd name="T7" fmla="*/ 74 h 109"/>
                <a:gd name="T8" fmla="*/ 54 w 82"/>
                <a:gd name="T9" fmla="*/ 74 h 109"/>
                <a:gd name="T10" fmla="*/ 52 w 82"/>
                <a:gd name="T11" fmla="*/ 69 h 109"/>
                <a:gd name="T12" fmla="*/ 49 w 82"/>
                <a:gd name="T13" fmla="*/ 74 h 109"/>
                <a:gd name="T14" fmla="*/ 47 w 82"/>
                <a:gd name="T15" fmla="*/ 78 h 109"/>
                <a:gd name="T16" fmla="*/ 40 w 82"/>
                <a:gd name="T17" fmla="*/ 90 h 109"/>
                <a:gd name="T18" fmla="*/ 35 w 82"/>
                <a:gd name="T19" fmla="*/ 85 h 109"/>
                <a:gd name="T20" fmla="*/ 35 w 82"/>
                <a:gd name="T21" fmla="*/ 90 h 109"/>
                <a:gd name="T22" fmla="*/ 30 w 82"/>
                <a:gd name="T23" fmla="*/ 90 h 109"/>
                <a:gd name="T24" fmla="*/ 26 w 82"/>
                <a:gd name="T25" fmla="*/ 90 h 109"/>
                <a:gd name="T26" fmla="*/ 23 w 82"/>
                <a:gd name="T27" fmla="*/ 93 h 109"/>
                <a:gd name="T28" fmla="*/ 21 w 82"/>
                <a:gd name="T29" fmla="*/ 95 h 109"/>
                <a:gd name="T30" fmla="*/ 19 w 82"/>
                <a:gd name="T31" fmla="*/ 95 h 109"/>
                <a:gd name="T32" fmla="*/ 16 w 82"/>
                <a:gd name="T33" fmla="*/ 88 h 109"/>
                <a:gd name="T34" fmla="*/ 16 w 82"/>
                <a:gd name="T35" fmla="*/ 83 h 109"/>
                <a:gd name="T36" fmla="*/ 14 w 82"/>
                <a:gd name="T37" fmla="*/ 78 h 109"/>
                <a:gd name="T38" fmla="*/ 11 w 82"/>
                <a:gd name="T39" fmla="*/ 74 h 109"/>
                <a:gd name="T40" fmla="*/ 14 w 82"/>
                <a:gd name="T41" fmla="*/ 69 h 109"/>
                <a:gd name="T42" fmla="*/ 14 w 82"/>
                <a:gd name="T43" fmla="*/ 64 h 109"/>
                <a:gd name="T44" fmla="*/ 11 w 82"/>
                <a:gd name="T45" fmla="*/ 57 h 109"/>
                <a:gd name="T46" fmla="*/ 9 w 82"/>
                <a:gd name="T47" fmla="*/ 52 h 109"/>
                <a:gd name="T48" fmla="*/ 11 w 82"/>
                <a:gd name="T49" fmla="*/ 43 h 109"/>
                <a:gd name="T50" fmla="*/ 7 w 82"/>
                <a:gd name="T51" fmla="*/ 38 h 109"/>
                <a:gd name="T52" fmla="*/ 0 w 82"/>
                <a:gd name="T53" fmla="*/ 36 h 109"/>
                <a:gd name="T54" fmla="*/ 0 w 82"/>
                <a:gd name="T55" fmla="*/ 31 h 109"/>
                <a:gd name="T56" fmla="*/ 4 w 82"/>
                <a:gd name="T57" fmla="*/ 29 h 109"/>
                <a:gd name="T58" fmla="*/ 7 w 82"/>
                <a:gd name="T59" fmla="*/ 26 h 109"/>
                <a:gd name="T60" fmla="*/ 14 w 82"/>
                <a:gd name="T61" fmla="*/ 22 h 109"/>
                <a:gd name="T62" fmla="*/ 11 w 82"/>
                <a:gd name="T63" fmla="*/ 19 h 109"/>
                <a:gd name="T64" fmla="*/ 4 w 82"/>
                <a:gd name="T65" fmla="*/ 19 h 109"/>
                <a:gd name="T66" fmla="*/ 2 w 82"/>
                <a:gd name="T67" fmla="*/ 15 h 109"/>
                <a:gd name="T68" fmla="*/ 9 w 82"/>
                <a:gd name="T69" fmla="*/ 3 h 109"/>
                <a:gd name="T70" fmla="*/ 14 w 82"/>
                <a:gd name="T71" fmla="*/ 7 h 109"/>
                <a:gd name="T72" fmla="*/ 16 w 82"/>
                <a:gd name="T73" fmla="*/ 7 h 109"/>
                <a:gd name="T74" fmla="*/ 19 w 82"/>
                <a:gd name="T75" fmla="*/ 3 h 109"/>
                <a:gd name="T76" fmla="*/ 21 w 82"/>
                <a:gd name="T77" fmla="*/ 10 h 109"/>
                <a:gd name="T78" fmla="*/ 26 w 82"/>
                <a:gd name="T79" fmla="*/ 12 h 109"/>
                <a:gd name="T80" fmla="*/ 28 w 82"/>
                <a:gd name="T81" fmla="*/ 7 h 109"/>
                <a:gd name="T82" fmla="*/ 33 w 82"/>
                <a:gd name="T83" fmla="*/ 19 h 109"/>
                <a:gd name="T84" fmla="*/ 37 w 82"/>
                <a:gd name="T85" fmla="*/ 24 h 109"/>
                <a:gd name="T86" fmla="*/ 52 w 82"/>
                <a:gd name="T87" fmla="*/ 24 h 109"/>
                <a:gd name="T88" fmla="*/ 63 w 82"/>
                <a:gd name="T89" fmla="*/ 24 h 109"/>
                <a:gd name="T90" fmla="*/ 78 w 82"/>
                <a:gd name="T91" fmla="*/ 29 h 109"/>
                <a:gd name="T92" fmla="*/ 73 w 82"/>
                <a:gd name="T93" fmla="*/ 31 h 109"/>
                <a:gd name="T94" fmla="*/ 68 w 82"/>
                <a:gd name="T95" fmla="*/ 41 h 109"/>
                <a:gd name="T96" fmla="*/ 61 w 82"/>
                <a:gd name="T97" fmla="*/ 45 h 109"/>
                <a:gd name="T98" fmla="*/ 56 w 82"/>
                <a:gd name="T99" fmla="*/ 50 h 109"/>
                <a:gd name="T100" fmla="*/ 59 w 82"/>
                <a:gd name="T101" fmla="*/ 62 h 109"/>
                <a:gd name="T102" fmla="*/ 63 w 82"/>
                <a:gd name="T103" fmla="*/ 67 h 109"/>
                <a:gd name="T104" fmla="*/ 66 w 82"/>
                <a:gd name="T105" fmla="*/ 64 h 109"/>
                <a:gd name="T106" fmla="*/ 73 w 82"/>
                <a:gd name="T107" fmla="*/ 55 h 109"/>
                <a:gd name="T108" fmla="*/ 75 w 82"/>
                <a:gd name="T109" fmla="*/ 59 h 109"/>
                <a:gd name="T110" fmla="*/ 80 w 82"/>
                <a:gd name="T111" fmla="*/ 67 h 109"/>
                <a:gd name="T112" fmla="*/ 82 w 82"/>
                <a:gd name="T113" fmla="*/ 78 h 109"/>
                <a:gd name="T114" fmla="*/ 82 w 82"/>
                <a:gd name="T115" fmla="*/ 90 h 109"/>
                <a:gd name="T116" fmla="*/ 80 w 82"/>
                <a:gd name="T117" fmla="*/ 97 h 109"/>
                <a:gd name="T118" fmla="*/ 78 w 82"/>
                <a:gd name="T119" fmla="*/ 10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109">
                  <a:moveTo>
                    <a:pt x="78" y="107"/>
                  </a:moveTo>
                  <a:lnTo>
                    <a:pt x="75" y="109"/>
                  </a:lnTo>
                  <a:lnTo>
                    <a:pt x="73" y="102"/>
                  </a:lnTo>
                  <a:lnTo>
                    <a:pt x="71" y="93"/>
                  </a:lnTo>
                  <a:lnTo>
                    <a:pt x="71" y="90"/>
                  </a:lnTo>
                  <a:lnTo>
                    <a:pt x="71" y="83"/>
                  </a:lnTo>
                  <a:lnTo>
                    <a:pt x="63" y="74"/>
                  </a:lnTo>
                  <a:lnTo>
                    <a:pt x="63" y="74"/>
                  </a:lnTo>
                  <a:lnTo>
                    <a:pt x="59" y="74"/>
                  </a:lnTo>
                  <a:lnTo>
                    <a:pt x="54" y="74"/>
                  </a:lnTo>
                  <a:lnTo>
                    <a:pt x="52" y="74"/>
                  </a:lnTo>
                  <a:lnTo>
                    <a:pt x="52" y="69"/>
                  </a:lnTo>
                  <a:lnTo>
                    <a:pt x="49" y="71"/>
                  </a:lnTo>
                  <a:lnTo>
                    <a:pt x="49" y="74"/>
                  </a:lnTo>
                  <a:lnTo>
                    <a:pt x="47" y="76"/>
                  </a:lnTo>
                  <a:lnTo>
                    <a:pt x="47" y="78"/>
                  </a:lnTo>
                  <a:lnTo>
                    <a:pt x="47" y="83"/>
                  </a:lnTo>
                  <a:lnTo>
                    <a:pt x="40" y="90"/>
                  </a:lnTo>
                  <a:lnTo>
                    <a:pt x="40" y="90"/>
                  </a:lnTo>
                  <a:lnTo>
                    <a:pt x="35" y="85"/>
                  </a:lnTo>
                  <a:lnTo>
                    <a:pt x="35" y="88"/>
                  </a:lnTo>
                  <a:lnTo>
                    <a:pt x="35" y="90"/>
                  </a:lnTo>
                  <a:lnTo>
                    <a:pt x="30" y="93"/>
                  </a:lnTo>
                  <a:lnTo>
                    <a:pt x="30" y="90"/>
                  </a:lnTo>
                  <a:lnTo>
                    <a:pt x="28" y="93"/>
                  </a:lnTo>
                  <a:lnTo>
                    <a:pt x="26" y="90"/>
                  </a:lnTo>
                  <a:lnTo>
                    <a:pt x="26" y="93"/>
                  </a:lnTo>
                  <a:lnTo>
                    <a:pt x="23" y="93"/>
                  </a:lnTo>
                  <a:lnTo>
                    <a:pt x="23" y="93"/>
                  </a:lnTo>
                  <a:lnTo>
                    <a:pt x="21" y="95"/>
                  </a:lnTo>
                  <a:lnTo>
                    <a:pt x="21" y="95"/>
                  </a:lnTo>
                  <a:lnTo>
                    <a:pt x="19" y="95"/>
                  </a:lnTo>
                  <a:lnTo>
                    <a:pt x="16" y="90"/>
                  </a:lnTo>
                  <a:lnTo>
                    <a:pt x="16" y="88"/>
                  </a:lnTo>
                  <a:lnTo>
                    <a:pt x="16" y="85"/>
                  </a:lnTo>
                  <a:lnTo>
                    <a:pt x="16" y="83"/>
                  </a:lnTo>
                  <a:lnTo>
                    <a:pt x="16" y="81"/>
                  </a:lnTo>
                  <a:lnTo>
                    <a:pt x="14" y="78"/>
                  </a:lnTo>
                  <a:lnTo>
                    <a:pt x="14" y="76"/>
                  </a:lnTo>
                  <a:lnTo>
                    <a:pt x="11" y="74"/>
                  </a:lnTo>
                  <a:lnTo>
                    <a:pt x="11" y="69"/>
                  </a:lnTo>
                  <a:lnTo>
                    <a:pt x="14" y="69"/>
                  </a:lnTo>
                  <a:lnTo>
                    <a:pt x="14" y="64"/>
                  </a:lnTo>
                  <a:lnTo>
                    <a:pt x="14" y="64"/>
                  </a:lnTo>
                  <a:lnTo>
                    <a:pt x="11" y="62"/>
                  </a:lnTo>
                  <a:lnTo>
                    <a:pt x="11" y="57"/>
                  </a:lnTo>
                  <a:lnTo>
                    <a:pt x="9" y="57"/>
                  </a:lnTo>
                  <a:lnTo>
                    <a:pt x="9" y="52"/>
                  </a:lnTo>
                  <a:lnTo>
                    <a:pt x="11" y="50"/>
                  </a:lnTo>
                  <a:lnTo>
                    <a:pt x="11" y="43"/>
                  </a:lnTo>
                  <a:lnTo>
                    <a:pt x="9" y="41"/>
                  </a:lnTo>
                  <a:lnTo>
                    <a:pt x="7" y="38"/>
                  </a:lnTo>
                  <a:lnTo>
                    <a:pt x="2" y="38"/>
                  </a:lnTo>
                  <a:lnTo>
                    <a:pt x="0" y="36"/>
                  </a:lnTo>
                  <a:lnTo>
                    <a:pt x="0" y="33"/>
                  </a:lnTo>
                  <a:lnTo>
                    <a:pt x="0" y="31"/>
                  </a:lnTo>
                  <a:lnTo>
                    <a:pt x="2" y="29"/>
                  </a:lnTo>
                  <a:lnTo>
                    <a:pt x="4" y="29"/>
                  </a:lnTo>
                  <a:lnTo>
                    <a:pt x="7" y="29"/>
                  </a:lnTo>
                  <a:lnTo>
                    <a:pt x="7" y="26"/>
                  </a:lnTo>
                  <a:lnTo>
                    <a:pt x="14" y="24"/>
                  </a:lnTo>
                  <a:lnTo>
                    <a:pt x="14" y="22"/>
                  </a:lnTo>
                  <a:lnTo>
                    <a:pt x="11" y="22"/>
                  </a:lnTo>
                  <a:lnTo>
                    <a:pt x="11" y="19"/>
                  </a:lnTo>
                  <a:lnTo>
                    <a:pt x="7" y="19"/>
                  </a:lnTo>
                  <a:lnTo>
                    <a:pt x="4" y="19"/>
                  </a:lnTo>
                  <a:lnTo>
                    <a:pt x="4" y="15"/>
                  </a:lnTo>
                  <a:lnTo>
                    <a:pt x="2" y="15"/>
                  </a:lnTo>
                  <a:lnTo>
                    <a:pt x="7" y="5"/>
                  </a:lnTo>
                  <a:lnTo>
                    <a:pt x="9" y="3"/>
                  </a:lnTo>
                  <a:lnTo>
                    <a:pt x="9" y="0"/>
                  </a:lnTo>
                  <a:lnTo>
                    <a:pt x="14" y="7"/>
                  </a:lnTo>
                  <a:lnTo>
                    <a:pt x="14" y="10"/>
                  </a:lnTo>
                  <a:lnTo>
                    <a:pt x="16" y="7"/>
                  </a:lnTo>
                  <a:lnTo>
                    <a:pt x="16" y="3"/>
                  </a:lnTo>
                  <a:lnTo>
                    <a:pt x="19" y="3"/>
                  </a:lnTo>
                  <a:lnTo>
                    <a:pt x="19" y="7"/>
                  </a:lnTo>
                  <a:lnTo>
                    <a:pt x="21" y="10"/>
                  </a:lnTo>
                  <a:lnTo>
                    <a:pt x="23" y="10"/>
                  </a:lnTo>
                  <a:lnTo>
                    <a:pt x="26" y="12"/>
                  </a:lnTo>
                  <a:lnTo>
                    <a:pt x="28" y="7"/>
                  </a:lnTo>
                  <a:lnTo>
                    <a:pt x="28" y="7"/>
                  </a:lnTo>
                  <a:lnTo>
                    <a:pt x="30" y="15"/>
                  </a:lnTo>
                  <a:lnTo>
                    <a:pt x="33" y="19"/>
                  </a:lnTo>
                  <a:lnTo>
                    <a:pt x="33" y="24"/>
                  </a:lnTo>
                  <a:lnTo>
                    <a:pt x="37" y="24"/>
                  </a:lnTo>
                  <a:lnTo>
                    <a:pt x="52" y="26"/>
                  </a:lnTo>
                  <a:lnTo>
                    <a:pt x="52" y="24"/>
                  </a:lnTo>
                  <a:lnTo>
                    <a:pt x="56" y="24"/>
                  </a:lnTo>
                  <a:lnTo>
                    <a:pt x="63" y="24"/>
                  </a:lnTo>
                  <a:lnTo>
                    <a:pt x="71" y="26"/>
                  </a:lnTo>
                  <a:lnTo>
                    <a:pt x="78" y="29"/>
                  </a:lnTo>
                  <a:lnTo>
                    <a:pt x="75" y="31"/>
                  </a:lnTo>
                  <a:lnTo>
                    <a:pt x="73" y="31"/>
                  </a:lnTo>
                  <a:lnTo>
                    <a:pt x="71" y="36"/>
                  </a:lnTo>
                  <a:lnTo>
                    <a:pt x="68" y="41"/>
                  </a:lnTo>
                  <a:lnTo>
                    <a:pt x="63" y="43"/>
                  </a:lnTo>
                  <a:lnTo>
                    <a:pt x="61" y="45"/>
                  </a:lnTo>
                  <a:lnTo>
                    <a:pt x="56" y="48"/>
                  </a:lnTo>
                  <a:lnTo>
                    <a:pt x="56" y="50"/>
                  </a:lnTo>
                  <a:lnTo>
                    <a:pt x="56" y="57"/>
                  </a:lnTo>
                  <a:lnTo>
                    <a:pt x="59" y="62"/>
                  </a:lnTo>
                  <a:lnTo>
                    <a:pt x="61" y="62"/>
                  </a:lnTo>
                  <a:lnTo>
                    <a:pt x="63" y="67"/>
                  </a:lnTo>
                  <a:lnTo>
                    <a:pt x="66" y="67"/>
                  </a:lnTo>
                  <a:lnTo>
                    <a:pt x="66" y="64"/>
                  </a:lnTo>
                  <a:lnTo>
                    <a:pt x="68" y="59"/>
                  </a:lnTo>
                  <a:lnTo>
                    <a:pt x="73" y="55"/>
                  </a:lnTo>
                  <a:lnTo>
                    <a:pt x="73" y="55"/>
                  </a:lnTo>
                  <a:lnTo>
                    <a:pt x="75" y="59"/>
                  </a:lnTo>
                  <a:lnTo>
                    <a:pt x="78" y="64"/>
                  </a:lnTo>
                  <a:lnTo>
                    <a:pt x="80" y="67"/>
                  </a:lnTo>
                  <a:lnTo>
                    <a:pt x="80" y="69"/>
                  </a:lnTo>
                  <a:lnTo>
                    <a:pt x="82" y="78"/>
                  </a:lnTo>
                  <a:lnTo>
                    <a:pt x="82" y="88"/>
                  </a:lnTo>
                  <a:lnTo>
                    <a:pt x="82" y="90"/>
                  </a:lnTo>
                  <a:lnTo>
                    <a:pt x="82" y="100"/>
                  </a:lnTo>
                  <a:lnTo>
                    <a:pt x="80" y="97"/>
                  </a:lnTo>
                  <a:lnTo>
                    <a:pt x="78" y="100"/>
                  </a:lnTo>
                  <a:lnTo>
                    <a:pt x="78" y="102"/>
                  </a:lnTo>
                  <a:lnTo>
                    <a:pt x="78" y="10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5" name="Freeform 1114">
              <a:extLst>
                <a:ext uri="{FF2B5EF4-FFF2-40B4-BE49-F238E27FC236}">
                  <a16:creationId xmlns:a16="http://schemas.microsoft.com/office/drawing/2014/main" id="{0E71EB1D-DE8C-4F76-892E-2BD6746D4065}"/>
                </a:ext>
              </a:extLst>
            </p:cNvPr>
            <p:cNvSpPr>
              <a:spLocks/>
            </p:cNvSpPr>
            <p:nvPr/>
          </p:nvSpPr>
          <p:spPr bwMode="auto">
            <a:xfrm>
              <a:off x="1297830" y="4184616"/>
              <a:ext cx="82550" cy="173038"/>
            </a:xfrm>
            <a:custGeom>
              <a:avLst/>
              <a:gdLst>
                <a:gd name="T0" fmla="*/ 47 w 52"/>
                <a:gd name="T1" fmla="*/ 10 h 109"/>
                <a:gd name="T2" fmla="*/ 40 w 52"/>
                <a:gd name="T3" fmla="*/ 5 h 109"/>
                <a:gd name="T4" fmla="*/ 38 w 52"/>
                <a:gd name="T5" fmla="*/ 0 h 109"/>
                <a:gd name="T6" fmla="*/ 33 w 52"/>
                <a:gd name="T7" fmla="*/ 3 h 109"/>
                <a:gd name="T8" fmla="*/ 28 w 52"/>
                <a:gd name="T9" fmla="*/ 5 h 109"/>
                <a:gd name="T10" fmla="*/ 28 w 52"/>
                <a:gd name="T11" fmla="*/ 10 h 109"/>
                <a:gd name="T12" fmla="*/ 28 w 52"/>
                <a:gd name="T13" fmla="*/ 10 h 109"/>
                <a:gd name="T14" fmla="*/ 28 w 52"/>
                <a:gd name="T15" fmla="*/ 12 h 109"/>
                <a:gd name="T16" fmla="*/ 26 w 52"/>
                <a:gd name="T17" fmla="*/ 14 h 109"/>
                <a:gd name="T18" fmla="*/ 21 w 52"/>
                <a:gd name="T19" fmla="*/ 19 h 109"/>
                <a:gd name="T20" fmla="*/ 16 w 52"/>
                <a:gd name="T21" fmla="*/ 17 h 109"/>
                <a:gd name="T22" fmla="*/ 12 w 52"/>
                <a:gd name="T23" fmla="*/ 17 h 109"/>
                <a:gd name="T24" fmla="*/ 9 w 52"/>
                <a:gd name="T25" fmla="*/ 21 h 109"/>
                <a:gd name="T26" fmla="*/ 7 w 52"/>
                <a:gd name="T27" fmla="*/ 21 h 109"/>
                <a:gd name="T28" fmla="*/ 4 w 52"/>
                <a:gd name="T29" fmla="*/ 24 h 109"/>
                <a:gd name="T30" fmla="*/ 4 w 52"/>
                <a:gd name="T31" fmla="*/ 24 h 109"/>
                <a:gd name="T32" fmla="*/ 2 w 52"/>
                <a:gd name="T33" fmla="*/ 26 h 109"/>
                <a:gd name="T34" fmla="*/ 0 w 52"/>
                <a:gd name="T35" fmla="*/ 31 h 109"/>
                <a:gd name="T36" fmla="*/ 0 w 52"/>
                <a:gd name="T37" fmla="*/ 38 h 109"/>
                <a:gd name="T38" fmla="*/ 4 w 52"/>
                <a:gd name="T39" fmla="*/ 40 h 109"/>
                <a:gd name="T40" fmla="*/ 7 w 52"/>
                <a:gd name="T41" fmla="*/ 40 h 109"/>
                <a:gd name="T42" fmla="*/ 14 w 52"/>
                <a:gd name="T43" fmla="*/ 52 h 109"/>
                <a:gd name="T44" fmla="*/ 16 w 52"/>
                <a:gd name="T45" fmla="*/ 62 h 109"/>
                <a:gd name="T46" fmla="*/ 16 w 52"/>
                <a:gd name="T47" fmla="*/ 66 h 109"/>
                <a:gd name="T48" fmla="*/ 19 w 52"/>
                <a:gd name="T49" fmla="*/ 76 h 109"/>
                <a:gd name="T50" fmla="*/ 16 w 52"/>
                <a:gd name="T51" fmla="*/ 99 h 109"/>
                <a:gd name="T52" fmla="*/ 19 w 52"/>
                <a:gd name="T53" fmla="*/ 107 h 109"/>
                <a:gd name="T54" fmla="*/ 19 w 52"/>
                <a:gd name="T55" fmla="*/ 109 h 109"/>
                <a:gd name="T56" fmla="*/ 35 w 52"/>
                <a:gd name="T57" fmla="*/ 109 h 109"/>
                <a:gd name="T58" fmla="*/ 35 w 52"/>
                <a:gd name="T59" fmla="*/ 95 h 109"/>
                <a:gd name="T60" fmla="*/ 35 w 52"/>
                <a:gd name="T61" fmla="*/ 85 h 109"/>
                <a:gd name="T62" fmla="*/ 35 w 52"/>
                <a:gd name="T63" fmla="*/ 69 h 109"/>
                <a:gd name="T64" fmla="*/ 42 w 52"/>
                <a:gd name="T65" fmla="*/ 59 h 109"/>
                <a:gd name="T66" fmla="*/ 42 w 52"/>
                <a:gd name="T67" fmla="*/ 52 h 109"/>
                <a:gd name="T68" fmla="*/ 49 w 52"/>
                <a:gd name="T69" fmla="*/ 45 h 109"/>
                <a:gd name="T70" fmla="*/ 52 w 52"/>
                <a:gd name="T71" fmla="*/ 43 h 109"/>
                <a:gd name="T72" fmla="*/ 52 w 52"/>
                <a:gd name="T73" fmla="*/ 40 h 109"/>
                <a:gd name="T74" fmla="*/ 49 w 52"/>
                <a:gd name="T75" fmla="*/ 38 h 109"/>
                <a:gd name="T76" fmla="*/ 52 w 52"/>
                <a:gd name="T77" fmla="*/ 36 h 109"/>
                <a:gd name="T78" fmla="*/ 52 w 52"/>
                <a:gd name="T79" fmla="*/ 36 h 109"/>
                <a:gd name="T80" fmla="*/ 52 w 52"/>
                <a:gd name="T81" fmla="*/ 24 h 109"/>
                <a:gd name="T82" fmla="*/ 49 w 52"/>
                <a:gd name="T83" fmla="*/ 19 h 109"/>
                <a:gd name="T84" fmla="*/ 49 w 52"/>
                <a:gd name="T85"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109">
                  <a:moveTo>
                    <a:pt x="49" y="12"/>
                  </a:moveTo>
                  <a:lnTo>
                    <a:pt x="47" y="10"/>
                  </a:lnTo>
                  <a:lnTo>
                    <a:pt x="45" y="10"/>
                  </a:lnTo>
                  <a:lnTo>
                    <a:pt x="40" y="5"/>
                  </a:lnTo>
                  <a:lnTo>
                    <a:pt x="38" y="3"/>
                  </a:lnTo>
                  <a:lnTo>
                    <a:pt x="38" y="0"/>
                  </a:lnTo>
                  <a:lnTo>
                    <a:pt x="33" y="3"/>
                  </a:lnTo>
                  <a:lnTo>
                    <a:pt x="33" y="3"/>
                  </a:lnTo>
                  <a:lnTo>
                    <a:pt x="28" y="3"/>
                  </a:lnTo>
                  <a:lnTo>
                    <a:pt x="28" y="5"/>
                  </a:lnTo>
                  <a:lnTo>
                    <a:pt x="30" y="7"/>
                  </a:lnTo>
                  <a:lnTo>
                    <a:pt x="28" y="10"/>
                  </a:lnTo>
                  <a:lnTo>
                    <a:pt x="28" y="10"/>
                  </a:lnTo>
                  <a:lnTo>
                    <a:pt x="28" y="10"/>
                  </a:lnTo>
                  <a:lnTo>
                    <a:pt x="28" y="12"/>
                  </a:lnTo>
                  <a:lnTo>
                    <a:pt x="28" y="12"/>
                  </a:lnTo>
                  <a:lnTo>
                    <a:pt x="28" y="12"/>
                  </a:lnTo>
                  <a:lnTo>
                    <a:pt x="26" y="14"/>
                  </a:lnTo>
                  <a:lnTo>
                    <a:pt x="23" y="17"/>
                  </a:lnTo>
                  <a:lnTo>
                    <a:pt x="21" y="19"/>
                  </a:lnTo>
                  <a:lnTo>
                    <a:pt x="19" y="17"/>
                  </a:lnTo>
                  <a:lnTo>
                    <a:pt x="16" y="17"/>
                  </a:lnTo>
                  <a:lnTo>
                    <a:pt x="14" y="17"/>
                  </a:lnTo>
                  <a:lnTo>
                    <a:pt x="12" y="17"/>
                  </a:lnTo>
                  <a:lnTo>
                    <a:pt x="12" y="17"/>
                  </a:lnTo>
                  <a:lnTo>
                    <a:pt x="9" y="21"/>
                  </a:lnTo>
                  <a:lnTo>
                    <a:pt x="7" y="21"/>
                  </a:lnTo>
                  <a:lnTo>
                    <a:pt x="7" y="21"/>
                  </a:lnTo>
                  <a:lnTo>
                    <a:pt x="7" y="21"/>
                  </a:lnTo>
                  <a:lnTo>
                    <a:pt x="4" y="24"/>
                  </a:lnTo>
                  <a:lnTo>
                    <a:pt x="4" y="24"/>
                  </a:lnTo>
                  <a:lnTo>
                    <a:pt x="4" y="24"/>
                  </a:lnTo>
                  <a:lnTo>
                    <a:pt x="2" y="26"/>
                  </a:lnTo>
                  <a:lnTo>
                    <a:pt x="2" y="26"/>
                  </a:lnTo>
                  <a:lnTo>
                    <a:pt x="2" y="29"/>
                  </a:lnTo>
                  <a:lnTo>
                    <a:pt x="0" y="31"/>
                  </a:lnTo>
                  <a:lnTo>
                    <a:pt x="0" y="36"/>
                  </a:lnTo>
                  <a:lnTo>
                    <a:pt x="0" y="38"/>
                  </a:lnTo>
                  <a:lnTo>
                    <a:pt x="2" y="38"/>
                  </a:lnTo>
                  <a:lnTo>
                    <a:pt x="4" y="40"/>
                  </a:lnTo>
                  <a:lnTo>
                    <a:pt x="4" y="40"/>
                  </a:lnTo>
                  <a:lnTo>
                    <a:pt x="7" y="40"/>
                  </a:lnTo>
                  <a:lnTo>
                    <a:pt x="12" y="45"/>
                  </a:lnTo>
                  <a:lnTo>
                    <a:pt x="14" y="52"/>
                  </a:lnTo>
                  <a:lnTo>
                    <a:pt x="14" y="59"/>
                  </a:lnTo>
                  <a:lnTo>
                    <a:pt x="16" y="62"/>
                  </a:lnTo>
                  <a:lnTo>
                    <a:pt x="16" y="64"/>
                  </a:lnTo>
                  <a:lnTo>
                    <a:pt x="16" y="66"/>
                  </a:lnTo>
                  <a:lnTo>
                    <a:pt x="19" y="69"/>
                  </a:lnTo>
                  <a:lnTo>
                    <a:pt x="19" y="76"/>
                  </a:lnTo>
                  <a:lnTo>
                    <a:pt x="19" y="92"/>
                  </a:lnTo>
                  <a:lnTo>
                    <a:pt x="16" y="99"/>
                  </a:lnTo>
                  <a:lnTo>
                    <a:pt x="16" y="102"/>
                  </a:lnTo>
                  <a:lnTo>
                    <a:pt x="19" y="107"/>
                  </a:lnTo>
                  <a:lnTo>
                    <a:pt x="19" y="109"/>
                  </a:lnTo>
                  <a:lnTo>
                    <a:pt x="19" y="109"/>
                  </a:lnTo>
                  <a:lnTo>
                    <a:pt x="21" y="109"/>
                  </a:lnTo>
                  <a:lnTo>
                    <a:pt x="35" y="109"/>
                  </a:lnTo>
                  <a:lnTo>
                    <a:pt x="35" y="107"/>
                  </a:lnTo>
                  <a:lnTo>
                    <a:pt x="35" y="95"/>
                  </a:lnTo>
                  <a:lnTo>
                    <a:pt x="35" y="92"/>
                  </a:lnTo>
                  <a:lnTo>
                    <a:pt x="35" y="85"/>
                  </a:lnTo>
                  <a:lnTo>
                    <a:pt x="35" y="76"/>
                  </a:lnTo>
                  <a:lnTo>
                    <a:pt x="35" y="69"/>
                  </a:lnTo>
                  <a:lnTo>
                    <a:pt x="38" y="66"/>
                  </a:lnTo>
                  <a:lnTo>
                    <a:pt x="42" y="59"/>
                  </a:lnTo>
                  <a:lnTo>
                    <a:pt x="42" y="55"/>
                  </a:lnTo>
                  <a:lnTo>
                    <a:pt x="42" y="52"/>
                  </a:lnTo>
                  <a:lnTo>
                    <a:pt x="45" y="47"/>
                  </a:lnTo>
                  <a:lnTo>
                    <a:pt x="49" y="45"/>
                  </a:lnTo>
                  <a:lnTo>
                    <a:pt x="49" y="43"/>
                  </a:lnTo>
                  <a:lnTo>
                    <a:pt x="52" y="43"/>
                  </a:lnTo>
                  <a:lnTo>
                    <a:pt x="52" y="43"/>
                  </a:lnTo>
                  <a:lnTo>
                    <a:pt x="52" y="40"/>
                  </a:lnTo>
                  <a:lnTo>
                    <a:pt x="49" y="40"/>
                  </a:lnTo>
                  <a:lnTo>
                    <a:pt x="49" y="38"/>
                  </a:lnTo>
                  <a:lnTo>
                    <a:pt x="49" y="36"/>
                  </a:lnTo>
                  <a:lnTo>
                    <a:pt x="52" y="36"/>
                  </a:lnTo>
                  <a:lnTo>
                    <a:pt x="52" y="36"/>
                  </a:lnTo>
                  <a:lnTo>
                    <a:pt x="52" y="36"/>
                  </a:lnTo>
                  <a:lnTo>
                    <a:pt x="52" y="29"/>
                  </a:lnTo>
                  <a:lnTo>
                    <a:pt x="52" y="24"/>
                  </a:lnTo>
                  <a:lnTo>
                    <a:pt x="52" y="24"/>
                  </a:lnTo>
                  <a:lnTo>
                    <a:pt x="49" y="19"/>
                  </a:lnTo>
                  <a:lnTo>
                    <a:pt x="47" y="19"/>
                  </a:lnTo>
                  <a:lnTo>
                    <a:pt x="49" y="14"/>
                  </a:lnTo>
                  <a:lnTo>
                    <a:pt x="49"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6" name="Freeform 1115">
              <a:extLst>
                <a:ext uri="{FF2B5EF4-FFF2-40B4-BE49-F238E27FC236}">
                  <a16:creationId xmlns:a16="http://schemas.microsoft.com/office/drawing/2014/main" id="{2CF74E56-87A0-40CF-AD99-D6D5966CB40F}"/>
                </a:ext>
              </a:extLst>
            </p:cNvPr>
            <p:cNvSpPr>
              <a:spLocks/>
            </p:cNvSpPr>
            <p:nvPr/>
          </p:nvSpPr>
          <p:spPr bwMode="auto">
            <a:xfrm>
              <a:off x="1297830" y="4184616"/>
              <a:ext cx="82550" cy="173038"/>
            </a:xfrm>
            <a:custGeom>
              <a:avLst/>
              <a:gdLst>
                <a:gd name="T0" fmla="*/ 47 w 52"/>
                <a:gd name="T1" fmla="*/ 10 h 109"/>
                <a:gd name="T2" fmla="*/ 40 w 52"/>
                <a:gd name="T3" fmla="*/ 5 h 109"/>
                <a:gd name="T4" fmla="*/ 38 w 52"/>
                <a:gd name="T5" fmla="*/ 0 h 109"/>
                <a:gd name="T6" fmla="*/ 33 w 52"/>
                <a:gd name="T7" fmla="*/ 3 h 109"/>
                <a:gd name="T8" fmla="*/ 28 w 52"/>
                <a:gd name="T9" fmla="*/ 5 h 109"/>
                <a:gd name="T10" fmla="*/ 28 w 52"/>
                <a:gd name="T11" fmla="*/ 10 h 109"/>
                <a:gd name="T12" fmla="*/ 28 w 52"/>
                <a:gd name="T13" fmla="*/ 10 h 109"/>
                <a:gd name="T14" fmla="*/ 28 w 52"/>
                <a:gd name="T15" fmla="*/ 12 h 109"/>
                <a:gd name="T16" fmla="*/ 26 w 52"/>
                <a:gd name="T17" fmla="*/ 14 h 109"/>
                <a:gd name="T18" fmla="*/ 21 w 52"/>
                <a:gd name="T19" fmla="*/ 19 h 109"/>
                <a:gd name="T20" fmla="*/ 16 w 52"/>
                <a:gd name="T21" fmla="*/ 17 h 109"/>
                <a:gd name="T22" fmla="*/ 12 w 52"/>
                <a:gd name="T23" fmla="*/ 17 h 109"/>
                <a:gd name="T24" fmla="*/ 9 w 52"/>
                <a:gd name="T25" fmla="*/ 21 h 109"/>
                <a:gd name="T26" fmla="*/ 7 w 52"/>
                <a:gd name="T27" fmla="*/ 21 h 109"/>
                <a:gd name="T28" fmla="*/ 4 w 52"/>
                <a:gd name="T29" fmla="*/ 24 h 109"/>
                <a:gd name="T30" fmla="*/ 4 w 52"/>
                <a:gd name="T31" fmla="*/ 24 h 109"/>
                <a:gd name="T32" fmla="*/ 2 w 52"/>
                <a:gd name="T33" fmla="*/ 26 h 109"/>
                <a:gd name="T34" fmla="*/ 0 w 52"/>
                <a:gd name="T35" fmla="*/ 31 h 109"/>
                <a:gd name="T36" fmla="*/ 0 w 52"/>
                <a:gd name="T37" fmla="*/ 38 h 109"/>
                <a:gd name="T38" fmla="*/ 4 w 52"/>
                <a:gd name="T39" fmla="*/ 40 h 109"/>
                <a:gd name="T40" fmla="*/ 7 w 52"/>
                <a:gd name="T41" fmla="*/ 40 h 109"/>
                <a:gd name="T42" fmla="*/ 14 w 52"/>
                <a:gd name="T43" fmla="*/ 52 h 109"/>
                <a:gd name="T44" fmla="*/ 16 w 52"/>
                <a:gd name="T45" fmla="*/ 62 h 109"/>
                <a:gd name="T46" fmla="*/ 16 w 52"/>
                <a:gd name="T47" fmla="*/ 66 h 109"/>
                <a:gd name="T48" fmla="*/ 19 w 52"/>
                <a:gd name="T49" fmla="*/ 76 h 109"/>
                <a:gd name="T50" fmla="*/ 16 w 52"/>
                <a:gd name="T51" fmla="*/ 99 h 109"/>
                <a:gd name="T52" fmla="*/ 19 w 52"/>
                <a:gd name="T53" fmla="*/ 107 h 109"/>
                <a:gd name="T54" fmla="*/ 19 w 52"/>
                <a:gd name="T55" fmla="*/ 109 h 109"/>
                <a:gd name="T56" fmla="*/ 35 w 52"/>
                <a:gd name="T57" fmla="*/ 109 h 109"/>
                <a:gd name="T58" fmla="*/ 35 w 52"/>
                <a:gd name="T59" fmla="*/ 95 h 109"/>
                <a:gd name="T60" fmla="*/ 35 w 52"/>
                <a:gd name="T61" fmla="*/ 85 h 109"/>
                <a:gd name="T62" fmla="*/ 35 w 52"/>
                <a:gd name="T63" fmla="*/ 69 h 109"/>
                <a:gd name="T64" fmla="*/ 42 w 52"/>
                <a:gd name="T65" fmla="*/ 59 h 109"/>
                <a:gd name="T66" fmla="*/ 42 w 52"/>
                <a:gd name="T67" fmla="*/ 52 h 109"/>
                <a:gd name="T68" fmla="*/ 49 w 52"/>
                <a:gd name="T69" fmla="*/ 45 h 109"/>
                <a:gd name="T70" fmla="*/ 52 w 52"/>
                <a:gd name="T71" fmla="*/ 43 h 109"/>
                <a:gd name="T72" fmla="*/ 52 w 52"/>
                <a:gd name="T73" fmla="*/ 40 h 109"/>
                <a:gd name="T74" fmla="*/ 49 w 52"/>
                <a:gd name="T75" fmla="*/ 38 h 109"/>
                <a:gd name="T76" fmla="*/ 52 w 52"/>
                <a:gd name="T77" fmla="*/ 36 h 109"/>
                <a:gd name="T78" fmla="*/ 52 w 52"/>
                <a:gd name="T79" fmla="*/ 36 h 109"/>
                <a:gd name="T80" fmla="*/ 52 w 52"/>
                <a:gd name="T81" fmla="*/ 24 h 109"/>
                <a:gd name="T82" fmla="*/ 49 w 52"/>
                <a:gd name="T83" fmla="*/ 19 h 109"/>
                <a:gd name="T84" fmla="*/ 49 w 52"/>
                <a:gd name="T85" fmla="*/ 1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109">
                  <a:moveTo>
                    <a:pt x="49" y="12"/>
                  </a:moveTo>
                  <a:lnTo>
                    <a:pt x="47" y="10"/>
                  </a:lnTo>
                  <a:lnTo>
                    <a:pt x="45" y="10"/>
                  </a:lnTo>
                  <a:lnTo>
                    <a:pt x="40" y="5"/>
                  </a:lnTo>
                  <a:lnTo>
                    <a:pt x="38" y="3"/>
                  </a:lnTo>
                  <a:lnTo>
                    <a:pt x="38" y="0"/>
                  </a:lnTo>
                  <a:lnTo>
                    <a:pt x="33" y="3"/>
                  </a:lnTo>
                  <a:lnTo>
                    <a:pt x="33" y="3"/>
                  </a:lnTo>
                  <a:lnTo>
                    <a:pt x="28" y="3"/>
                  </a:lnTo>
                  <a:lnTo>
                    <a:pt x="28" y="5"/>
                  </a:lnTo>
                  <a:lnTo>
                    <a:pt x="30" y="7"/>
                  </a:lnTo>
                  <a:lnTo>
                    <a:pt x="28" y="10"/>
                  </a:lnTo>
                  <a:lnTo>
                    <a:pt x="28" y="10"/>
                  </a:lnTo>
                  <a:lnTo>
                    <a:pt x="28" y="10"/>
                  </a:lnTo>
                  <a:lnTo>
                    <a:pt x="28" y="12"/>
                  </a:lnTo>
                  <a:lnTo>
                    <a:pt x="28" y="12"/>
                  </a:lnTo>
                  <a:lnTo>
                    <a:pt x="28" y="12"/>
                  </a:lnTo>
                  <a:lnTo>
                    <a:pt x="26" y="14"/>
                  </a:lnTo>
                  <a:lnTo>
                    <a:pt x="23" y="17"/>
                  </a:lnTo>
                  <a:lnTo>
                    <a:pt x="21" y="19"/>
                  </a:lnTo>
                  <a:lnTo>
                    <a:pt x="19" y="17"/>
                  </a:lnTo>
                  <a:lnTo>
                    <a:pt x="16" y="17"/>
                  </a:lnTo>
                  <a:lnTo>
                    <a:pt x="14" y="17"/>
                  </a:lnTo>
                  <a:lnTo>
                    <a:pt x="12" y="17"/>
                  </a:lnTo>
                  <a:lnTo>
                    <a:pt x="12" y="17"/>
                  </a:lnTo>
                  <a:lnTo>
                    <a:pt x="9" y="21"/>
                  </a:lnTo>
                  <a:lnTo>
                    <a:pt x="7" y="21"/>
                  </a:lnTo>
                  <a:lnTo>
                    <a:pt x="7" y="21"/>
                  </a:lnTo>
                  <a:lnTo>
                    <a:pt x="7" y="21"/>
                  </a:lnTo>
                  <a:lnTo>
                    <a:pt x="4" y="24"/>
                  </a:lnTo>
                  <a:lnTo>
                    <a:pt x="4" y="24"/>
                  </a:lnTo>
                  <a:lnTo>
                    <a:pt x="4" y="24"/>
                  </a:lnTo>
                  <a:lnTo>
                    <a:pt x="2" y="26"/>
                  </a:lnTo>
                  <a:lnTo>
                    <a:pt x="2" y="26"/>
                  </a:lnTo>
                  <a:lnTo>
                    <a:pt x="2" y="29"/>
                  </a:lnTo>
                  <a:lnTo>
                    <a:pt x="0" y="31"/>
                  </a:lnTo>
                  <a:lnTo>
                    <a:pt x="0" y="36"/>
                  </a:lnTo>
                  <a:lnTo>
                    <a:pt x="0" y="38"/>
                  </a:lnTo>
                  <a:lnTo>
                    <a:pt x="2" y="38"/>
                  </a:lnTo>
                  <a:lnTo>
                    <a:pt x="4" y="40"/>
                  </a:lnTo>
                  <a:lnTo>
                    <a:pt x="4" y="40"/>
                  </a:lnTo>
                  <a:lnTo>
                    <a:pt x="7" y="40"/>
                  </a:lnTo>
                  <a:lnTo>
                    <a:pt x="12" y="45"/>
                  </a:lnTo>
                  <a:lnTo>
                    <a:pt x="14" y="52"/>
                  </a:lnTo>
                  <a:lnTo>
                    <a:pt x="14" y="59"/>
                  </a:lnTo>
                  <a:lnTo>
                    <a:pt x="16" y="62"/>
                  </a:lnTo>
                  <a:lnTo>
                    <a:pt x="16" y="64"/>
                  </a:lnTo>
                  <a:lnTo>
                    <a:pt x="16" y="66"/>
                  </a:lnTo>
                  <a:lnTo>
                    <a:pt x="19" y="69"/>
                  </a:lnTo>
                  <a:lnTo>
                    <a:pt x="19" y="76"/>
                  </a:lnTo>
                  <a:lnTo>
                    <a:pt x="19" y="92"/>
                  </a:lnTo>
                  <a:lnTo>
                    <a:pt x="16" y="99"/>
                  </a:lnTo>
                  <a:lnTo>
                    <a:pt x="16" y="102"/>
                  </a:lnTo>
                  <a:lnTo>
                    <a:pt x="19" y="107"/>
                  </a:lnTo>
                  <a:lnTo>
                    <a:pt x="19" y="109"/>
                  </a:lnTo>
                  <a:lnTo>
                    <a:pt x="19" y="109"/>
                  </a:lnTo>
                  <a:lnTo>
                    <a:pt x="21" y="109"/>
                  </a:lnTo>
                  <a:lnTo>
                    <a:pt x="35" y="109"/>
                  </a:lnTo>
                  <a:lnTo>
                    <a:pt x="35" y="107"/>
                  </a:lnTo>
                  <a:lnTo>
                    <a:pt x="35" y="95"/>
                  </a:lnTo>
                  <a:lnTo>
                    <a:pt x="35" y="92"/>
                  </a:lnTo>
                  <a:lnTo>
                    <a:pt x="35" y="85"/>
                  </a:lnTo>
                  <a:lnTo>
                    <a:pt x="35" y="76"/>
                  </a:lnTo>
                  <a:lnTo>
                    <a:pt x="35" y="69"/>
                  </a:lnTo>
                  <a:lnTo>
                    <a:pt x="38" y="66"/>
                  </a:lnTo>
                  <a:lnTo>
                    <a:pt x="42" y="59"/>
                  </a:lnTo>
                  <a:lnTo>
                    <a:pt x="42" y="55"/>
                  </a:lnTo>
                  <a:lnTo>
                    <a:pt x="42" y="52"/>
                  </a:lnTo>
                  <a:lnTo>
                    <a:pt x="45" y="47"/>
                  </a:lnTo>
                  <a:lnTo>
                    <a:pt x="49" y="45"/>
                  </a:lnTo>
                  <a:lnTo>
                    <a:pt x="49" y="43"/>
                  </a:lnTo>
                  <a:lnTo>
                    <a:pt x="52" y="43"/>
                  </a:lnTo>
                  <a:lnTo>
                    <a:pt x="52" y="43"/>
                  </a:lnTo>
                  <a:lnTo>
                    <a:pt x="52" y="40"/>
                  </a:lnTo>
                  <a:lnTo>
                    <a:pt x="49" y="40"/>
                  </a:lnTo>
                  <a:lnTo>
                    <a:pt x="49" y="38"/>
                  </a:lnTo>
                  <a:lnTo>
                    <a:pt x="49" y="36"/>
                  </a:lnTo>
                  <a:lnTo>
                    <a:pt x="52" y="36"/>
                  </a:lnTo>
                  <a:lnTo>
                    <a:pt x="52" y="36"/>
                  </a:lnTo>
                  <a:lnTo>
                    <a:pt x="52" y="36"/>
                  </a:lnTo>
                  <a:lnTo>
                    <a:pt x="52" y="29"/>
                  </a:lnTo>
                  <a:lnTo>
                    <a:pt x="52" y="24"/>
                  </a:lnTo>
                  <a:lnTo>
                    <a:pt x="52" y="24"/>
                  </a:lnTo>
                  <a:lnTo>
                    <a:pt x="49" y="19"/>
                  </a:lnTo>
                  <a:lnTo>
                    <a:pt x="47" y="19"/>
                  </a:lnTo>
                  <a:lnTo>
                    <a:pt x="49" y="14"/>
                  </a:lnTo>
                  <a:lnTo>
                    <a:pt x="49" y="12"/>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7" name="Freeform 1116">
              <a:extLst>
                <a:ext uri="{FF2B5EF4-FFF2-40B4-BE49-F238E27FC236}">
                  <a16:creationId xmlns:a16="http://schemas.microsoft.com/office/drawing/2014/main" id="{D712837D-0D20-4AAC-B912-08532AF26AC3}"/>
                </a:ext>
              </a:extLst>
            </p:cNvPr>
            <p:cNvSpPr>
              <a:spLocks/>
            </p:cNvSpPr>
            <p:nvPr/>
          </p:nvSpPr>
          <p:spPr bwMode="auto">
            <a:xfrm>
              <a:off x="1518492" y="4465604"/>
              <a:ext cx="153988" cy="173038"/>
            </a:xfrm>
            <a:custGeom>
              <a:avLst/>
              <a:gdLst>
                <a:gd name="T0" fmla="*/ 40 w 97"/>
                <a:gd name="T1" fmla="*/ 104 h 109"/>
                <a:gd name="T2" fmla="*/ 31 w 97"/>
                <a:gd name="T3" fmla="*/ 97 h 109"/>
                <a:gd name="T4" fmla="*/ 17 w 97"/>
                <a:gd name="T5" fmla="*/ 83 h 109"/>
                <a:gd name="T6" fmla="*/ 12 w 97"/>
                <a:gd name="T7" fmla="*/ 76 h 109"/>
                <a:gd name="T8" fmla="*/ 7 w 97"/>
                <a:gd name="T9" fmla="*/ 67 h 109"/>
                <a:gd name="T10" fmla="*/ 2 w 97"/>
                <a:gd name="T11" fmla="*/ 57 h 109"/>
                <a:gd name="T12" fmla="*/ 2 w 97"/>
                <a:gd name="T13" fmla="*/ 55 h 109"/>
                <a:gd name="T14" fmla="*/ 7 w 97"/>
                <a:gd name="T15" fmla="*/ 50 h 109"/>
                <a:gd name="T16" fmla="*/ 10 w 97"/>
                <a:gd name="T17" fmla="*/ 45 h 109"/>
                <a:gd name="T18" fmla="*/ 12 w 97"/>
                <a:gd name="T19" fmla="*/ 36 h 109"/>
                <a:gd name="T20" fmla="*/ 14 w 97"/>
                <a:gd name="T21" fmla="*/ 41 h 109"/>
                <a:gd name="T22" fmla="*/ 19 w 97"/>
                <a:gd name="T23" fmla="*/ 38 h 109"/>
                <a:gd name="T24" fmla="*/ 17 w 97"/>
                <a:gd name="T25" fmla="*/ 38 h 109"/>
                <a:gd name="T26" fmla="*/ 12 w 97"/>
                <a:gd name="T27" fmla="*/ 33 h 109"/>
                <a:gd name="T28" fmla="*/ 12 w 97"/>
                <a:gd name="T29" fmla="*/ 31 h 109"/>
                <a:gd name="T30" fmla="*/ 14 w 97"/>
                <a:gd name="T31" fmla="*/ 29 h 109"/>
                <a:gd name="T32" fmla="*/ 21 w 97"/>
                <a:gd name="T33" fmla="*/ 22 h 109"/>
                <a:gd name="T34" fmla="*/ 43 w 97"/>
                <a:gd name="T35" fmla="*/ 22 h 109"/>
                <a:gd name="T36" fmla="*/ 43 w 97"/>
                <a:gd name="T37" fmla="*/ 7 h 109"/>
                <a:gd name="T38" fmla="*/ 50 w 97"/>
                <a:gd name="T39" fmla="*/ 0 h 109"/>
                <a:gd name="T40" fmla="*/ 59 w 97"/>
                <a:gd name="T41" fmla="*/ 0 h 109"/>
                <a:gd name="T42" fmla="*/ 76 w 97"/>
                <a:gd name="T43" fmla="*/ 3 h 109"/>
                <a:gd name="T44" fmla="*/ 76 w 97"/>
                <a:gd name="T45" fmla="*/ 7 h 109"/>
                <a:gd name="T46" fmla="*/ 76 w 97"/>
                <a:gd name="T47" fmla="*/ 19 h 109"/>
                <a:gd name="T48" fmla="*/ 85 w 97"/>
                <a:gd name="T49" fmla="*/ 15 h 109"/>
                <a:gd name="T50" fmla="*/ 97 w 97"/>
                <a:gd name="T51" fmla="*/ 19 h 109"/>
                <a:gd name="T52" fmla="*/ 92 w 97"/>
                <a:gd name="T53" fmla="*/ 36 h 109"/>
                <a:gd name="T54" fmla="*/ 92 w 97"/>
                <a:gd name="T55" fmla="*/ 45 h 109"/>
                <a:gd name="T56" fmla="*/ 97 w 97"/>
                <a:gd name="T57" fmla="*/ 59 h 109"/>
                <a:gd name="T58" fmla="*/ 95 w 97"/>
                <a:gd name="T59" fmla="*/ 76 h 109"/>
                <a:gd name="T60" fmla="*/ 87 w 97"/>
                <a:gd name="T61" fmla="*/ 83 h 109"/>
                <a:gd name="T62" fmla="*/ 73 w 97"/>
                <a:gd name="T63" fmla="*/ 78 h 109"/>
                <a:gd name="T64" fmla="*/ 69 w 97"/>
                <a:gd name="T65" fmla="*/ 74 h 109"/>
                <a:gd name="T66" fmla="*/ 62 w 97"/>
                <a:gd name="T67" fmla="*/ 78 h 109"/>
                <a:gd name="T68" fmla="*/ 52 w 97"/>
                <a:gd name="T69" fmla="*/ 85 h 109"/>
                <a:gd name="T70" fmla="*/ 50 w 97"/>
                <a:gd name="T71" fmla="*/ 92 h 109"/>
                <a:gd name="T72" fmla="*/ 52 w 97"/>
                <a:gd name="T73" fmla="*/ 100 h 109"/>
                <a:gd name="T74" fmla="*/ 47 w 97"/>
                <a:gd name="T75" fmla="*/ 102 h 109"/>
                <a:gd name="T76" fmla="*/ 43 w 97"/>
                <a:gd name="T77"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109">
                  <a:moveTo>
                    <a:pt x="40" y="109"/>
                  </a:moveTo>
                  <a:lnTo>
                    <a:pt x="40" y="104"/>
                  </a:lnTo>
                  <a:lnTo>
                    <a:pt x="36" y="102"/>
                  </a:lnTo>
                  <a:lnTo>
                    <a:pt x="31" y="97"/>
                  </a:lnTo>
                  <a:lnTo>
                    <a:pt x="21" y="88"/>
                  </a:lnTo>
                  <a:lnTo>
                    <a:pt x="17" y="83"/>
                  </a:lnTo>
                  <a:lnTo>
                    <a:pt x="14" y="81"/>
                  </a:lnTo>
                  <a:lnTo>
                    <a:pt x="12" y="76"/>
                  </a:lnTo>
                  <a:lnTo>
                    <a:pt x="10" y="74"/>
                  </a:lnTo>
                  <a:lnTo>
                    <a:pt x="7" y="67"/>
                  </a:lnTo>
                  <a:lnTo>
                    <a:pt x="5" y="62"/>
                  </a:lnTo>
                  <a:lnTo>
                    <a:pt x="2" y="57"/>
                  </a:lnTo>
                  <a:lnTo>
                    <a:pt x="0" y="55"/>
                  </a:lnTo>
                  <a:lnTo>
                    <a:pt x="2" y="55"/>
                  </a:lnTo>
                  <a:lnTo>
                    <a:pt x="5" y="52"/>
                  </a:lnTo>
                  <a:lnTo>
                    <a:pt x="7" y="50"/>
                  </a:lnTo>
                  <a:lnTo>
                    <a:pt x="10" y="48"/>
                  </a:lnTo>
                  <a:lnTo>
                    <a:pt x="10" y="45"/>
                  </a:lnTo>
                  <a:lnTo>
                    <a:pt x="10" y="36"/>
                  </a:lnTo>
                  <a:lnTo>
                    <a:pt x="12" y="36"/>
                  </a:lnTo>
                  <a:lnTo>
                    <a:pt x="12" y="38"/>
                  </a:lnTo>
                  <a:lnTo>
                    <a:pt x="14" y="41"/>
                  </a:lnTo>
                  <a:lnTo>
                    <a:pt x="19" y="41"/>
                  </a:lnTo>
                  <a:lnTo>
                    <a:pt x="19" y="38"/>
                  </a:lnTo>
                  <a:lnTo>
                    <a:pt x="19" y="38"/>
                  </a:lnTo>
                  <a:lnTo>
                    <a:pt x="17" y="38"/>
                  </a:lnTo>
                  <a:lnTo>
                    <a:pt x="14" y="36"/>
                  </a:lnTo>
                  <a:lnTo>
                    <a:pt x="12" y="33"/>
                  </a:lnTo>
                  <a:lnTo>
                    <a:pt x="10" y="31"/>
                  </a:lnTo>
                  <a:lnTo>
                    <a:pt x="12" y="31"/>
                  </a:lnTo>
                  <a:lnTo>
                    <a:pt x="14" y="31"/>
                  </a:lnTo>
                  <a:lnTo>
                    <a:pt x="14" y="29"/>
                  </a:lnTo>
                  <a:lnTo>
                    <a:pt x="14" y="24"/>
                  </a:lnTo>
                  <a:lnTo>
                    <a:pt x="21" y="22"/>
                  </a:lnTo>
                  <a:lnTo>
                    <a:pt x="45" y="22"/>
                  </a:lnTo>
                  <a:lnTo>
                    <a:pt x="43" y="22"/>
                  </a:lnTo>
                  <a:lnTo>
                    <a:pt x="43" y="15"/>
                  </a:lnTo>
                  <a:lnTo>
                    <a:pt x="43" y="7"/>
                  </a:lnTo>
                  <a:lnTo>
                    <a:pt x="45" y="3"/>
                  </a:lnTo>
                  <a:lnTo>
                    <a:pt x="50" y="0"/>
                  </a:lnTo>
                  <a:lnTo>
                    <a:pt x="54" y="3"/>
                  </a:lnTo>
                  <a:lnTo>
                    <a:pt x="59" y="0"/>
                  </a:lnTo>
                  <a:lnTo>
                    <a:pt x="64" y="3"/>
                  </a:lnTo>
                  <a:lnTo>
                    <a:pt x="76" y="3"/>
                  </a:lnTo>
                  <a:lnTo>
                    <a:pt x="78" y="3"/>
                  </a:lnTo>
                  <a:lnTo>
                    <a:pt x="76" y="7"/>
                  </a:lnTo>
                  <a:lnTo>
                    <a:pt x="76" y="15"/>
                  </a:lnTo>
                  <a:lnTo>
                    <a:pt x="76" y="19"/>
                  </a:lnTo>
                  <a:lnTo>
                    <a:pt x="80" y="22"/>
                  </a:lnTo>
                  <a:lnTo>
                    <a:pt x="85" y="15"/>
                  </a:lnTo>
                  <a:lnTo>
                    <a:pt x="95" y="17"/>
                  </a:lnTo>
                  <a:lnTo>
                    <a:pt x="97" y="19"/>
                  </a:lnTo>
                  <a:lnTo>
                    <a:pt x="97" y="26"/>
                  </a:lnTo>
                  <a:lnTo>
                    <a:pt x="92" y="36"/>
                  </a:lnTo>
                  <a:lnTo>
                    <a:pt x="92" y="41"/>
                  </a:lnTo>
                  <a:lnTo>
                    <a:pt x="92" y="45"/>
                  </a:lnTo>
                  <a:lnTo>
                    <a:pt x="97" y="55"/>
                  </a:lnTo>
                  <a:lnTo>
                    <a:pt x="97" y="59"/>
                  </a:lnTo>
                  <a:lnTo>
                    <a:pt x="95" y="64"/>
                  </a:lnTo>
                  <a:lnTo>
                    <a:pt x="95" y="76"/>
                  </a:lnTo>
                  <a:lnTo>
                    <a:pt x="92" y="81"/>
                  </a:lnTo>
                  <a:lnTo>
                    <a:pt x="87" y="83"/>
                  </a:lnTo>
                  <a:lnTo>
                    <a:pt x="80" y="78"/>
                  </a:lnTo>
                  <a:lnTo>
                    <a:pt x="73" y="78"/>
                  </a:lnTo>
                  <a:lnTo>
                    <a:pt x="71" y="76"/>
                  </a:lnTo>
                  <a:lnTo>
                    <a:pt x="69" y="74"/>
                  </a:lnTo>
                  <a:lnTo>
                    <a:pt x="64" y="76"/>
                  </a:lnTo>
                  <a:lnTo>
                    <a:pt x="62" y="78"/>
                  </a:lnTo>
                  <a:lnTo>
                    <a:pt x="54" y="83"/>
                  </a:lnTo>
                  <a:lnTo>
                    <a:pt x="52" y="85"/>
                  </a:lnTo>
                  <a:lnTo>
                    <a:pt x="50" y="88"/>
                  </a:lnTo>
                  <a:lnTo>
                    <a:pt x="50" y="92"/>
                  </a:lnTo>
                  <a:lnTo>
                    <a:pt x="50" y="95"/>
                  </a:lnTo>
                  <a:lnTo>
                    <a:pt x="52" y="100"/>
                  </a:lnTo>
                  <a:lnTo>
                    <a:pt x="50" y="102"/>
                  </a:lnTo>
                  <a:lnTo>
                    <a:pt x="47" y="102"/>
                  </a:lnTo>
                  <a:lnTo>
                    <a:pt x="43" y="102"/>
                  </a:lnTo>
                  <a:lnTo>
                    <a:pt x="43" y="104"/>
                  </a:lnTo>
                  <a:lnTo>
                    <a:pt x="40" y="10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8" name="Freeform 1117">
              <a:extLst>
                <a:ext uri="{FF2B5EF4-FFF2-40B4-BE49-F238E27FC236}">
                  <a16:creationId xmlns:a16="http://schemas.microsoft.com/office/drawing/2014/main" id="{A8828E89-27D7-4CC8-8D08-BBFB91A205A8}"/>
                </a:ext>
              </a:extLst>
            </p:cNvPr>
            <p:cNvSpPr>
              <a:spLocks/>
            </p:cNvSpPr>
            <p:nvPr/>
          </p:nvSpPr>
          <p:spPr bwMode="auto">
            <a:xfrm>
              <a:off x="1518492" y="4465604"/>
              <a:ext cx="153988" cy="173038"/>
            </a:xfrm>
            <a:custGeom>
              <a:avLst/>
              <a:gdLst>
                <a:gd name="T0" fmla="*/ 40 w 97"/>
                <a:gd name="T1" fmla="*/ 104 h 109"/>
                <a:gd name="T2" fmla="*/ 31 w 97"/>
                <a:gd name="T3" fmla="*/ 97 h 109"/>
                <a:gd name="T4" fmla="*/ 17 w 97"/>
                <a:gd name="T5" fmla="*/ 83 h 109"/>
                <a:gd name="T6" fmla="*/ 12 w 97"/>
                <a:gd name="T7" fmla="*/ 76 h 109"/>
                <a:gd name="T8" fmla="*/ 7 w 97"/>
                <a:gd name="T9" fmla="*/ 67 h 109"/>
                <a:gd name="T10" fmla="*/ 2 w 97"/>
                <a:gd name="T11" fmla="*/ 57 h 109"/>
                <a:gd name="T12" fmla="*/ 2 w 97"/>
                <a:gd name="T13" fmla="*/ 55 h 109"/>
                <a:gd name="T14" fmla="*/ 7 w 97"/>
                <a:gd name="T15" fmla="*/ 50 h 109"/>
                <a:gd name="T16" fmla="*/ 10 w 97"/>
                <a:gd name="T17" fmla="*/ 45 h 109"/>
                <a:gd name="T18" fmla="*/ 12 w 97"/>
                <a:gd name="T19" fmla="*/ 36 h 109"/>
                <a:gd name="T20" fmla="*/ 14 w 97"/>
                <a:gd name="T21" fmla="*/ 41 h 109"/>
                <a:gd name="T22" fmla="*/ 19 w 97"/>
                <a:gd name="T23" fmla="*/ 38 h 109"/>
                <a:gd name="T24" fmla="*/ 17 w 97"/>
                <a:gd name="T25" fmla="*/ 38 h 109"/>
                <a:gd name="T26" fmla="*/ 12 w 97"/>
                <a:gd name="T27" fmla="*/ 33 h 109"/>
                <a:gd name="T28" fmla="*/ 12 w 97"/>
                <a:gd name="T29" fmla="*/ 31 h 109"/>
                <a:gd name="T30" fmla="*/ 14 w 97"/>
                <a:gd name="T31" fmla="*/ 29 h 109"/>
                <a:gd name="T32" fmla="*/ 21 w 97"/>
                <a:gd name="T33" fmla="*/ 22 h 109"/>
                <a:gd name="T34" fmla="*/ 43 w 97"/>
                <a:gd name="T35" fmla="*/ 22 h 109"/>
                <a:gd name="T36" fmla="*/ 43 w 97"/>
                <a:gd name="T37" fmla="*/ 7 h 109"/>
                <a:gd name="T38" fmla="*/ 50 w 97"/>
                <a:gd name="T39" fmla="*/ 0 h 109"/>
                <a:gd name="T40" fmla="*/ 59 w 97"/>
                <a:gd name="T41" fmla="*/ 0 h 109"/>
                <a:gd name="T42" fmla="*/ 76 w 97"/>
                <a:gd name="T43" fmla="*/ 3 h 109"/>
                <a:gd name="T44" fmla="*/ 76 w 97"/>
                <a:gd name="T45" fmla="*/ 7 h 109"/>
                <a:gd name="T46" fmla="*/ 76 w 97"/>
                <a:gd name="T47" fmla="*/ 19 h 109"/>
                <a:gd name="T48" fmla="*/ 85 w 97"/>
                <a:gd name="T49" fmla="*/ 15 h 109"/>
                <a:gd name="T50" fmla="*/ 97 w 97"/>
                <a:gd name="T51" fmla="*/ 19 h 109"/>
                <a:gd name="T52" fmla="*/ 92 w 97"/>
                <a:gd name="T53" fmla="*/ 36 h 109"/>
                <a:gd name="T54" fmla="*/ 92 w 97"/>
                <a:gd name="T55" fmla="*/ 45 h 109"/>
                <a:gd name="T56" fmla="*/ 97 w 97"/>
                <a:gd name="T57" fmla="*/ 59 h 109"/>
                <a:gd name="T58" fmla="*/ 95 w 97"/>
                <a:gd name="T59" fmla="*/ 76 h 109"/>
                <a:gd name="T60" fmla="*/ 87 w 97"/>
                <a:gd name="T61" fmla="*/ 83 h 109"/>
                <a:gd name="T62" fmla="*/ 73 w 97"/>
                <a:gd name="T63" fmla="*/ 78 h 109"/>
                <a:gd name="T64" fmla="*/ 69 w 97"/>
                <a:gd name="T65" fmla="*/ 74 h 109"/>
                <a:gd name="T66" fmla="*/ 62 w 97"/>
                <a:gd name="T67" fmla="*/ 78 h 109"/>
                <a:gd name="T68" fmla="*/ 52 w 97"/>
                <a:gd name="T69" fmla="*/ 85 h 109"/>
                <a:gd name="T70" fmla="*/ 50 w 97"/>
                <a:gd name="T71" fmla="*/ 92 h 109"/>
                <a:gd name="T72" fmla="*/ 52 w 97"/>
                <a:gd name="T73" fmla="*/ 100 h 109"/>
                <a:gd name="T74" fmla="*/ 47 w 97"/>
                <a:gd name="T75" fmla="*/ 102 h 109"/>
                <a:gd name="T76" fmla="*/ 43 w 97"/>
                <a:gd name="T77"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109">
                  <a:moveTo>
                    <a:pt x="40" y="109"/>
                  </a:moveTo>
                  <a:lnTo>
                    <a:pt x="40" y="104"/>
                  </a:lnTo>
                  <a:lnTo>
                    <a:pt x="36" y="102"/>
                  </a:lnTo>
                  <a:lnTo>
                    <a:pt x="31" y="97"/>
                  </a:lnTo>
                  <a:lnTo>
                    <a:pt x="21" y="88"/>
                  </a:lnTo>
                  <a:lnTo>
                    <a:pt x="17" y="83"/>
                  </a:lnTo>
                  <a:lnTo>
                    <a:pt x="14" y="81"/>
                  </a:lnTo>
                  <a:lnTo>
                    <a:pt x="12" y="76"/>
                  </a:lnTo>
                  <a:lnTo>
                    <a:pt x="10" y="74"/>
                  </a:lnTo>
                  <a:lnTo>
                    <a:pt x="7" y="67"/>
                  </a:lnTo>
                  <a:lnTo>
                    <a:pt x="5" y="62"/>
                  </a:lnTo>
                  <a:lnTo>
                    <a:pt x="2" y="57"/>
                  </a:lnTo>
                  <a:lnTo>
                    <a:pt x="0" y="55"/>
                  </a:lnTo>
                  <a:lnTo>
                    <a:pt x="2" y="55"/>
                  </a:lnTo>
                  <a:lnTo>
                    <a:pt x="5" y="52"/>
                  </a:lnTo>
                  <a:lnTo>
                    <a:pt x="7" y="50"/>
                  </a:lnTo>
                  <a:lnTo>
                    <a:pt x="10" y="48"/>
                  </a:lnTo>
                  <a:lnTo>
                    <a:pt x="10" y="45"/>
                  </a:lnTo>
                  <a:lnTo>
                    <a:pt x="10" y="36"/>
                  </a:lnTo>
                  <a:lnTo>
                    <a:pt x="12" y="36"/>
                  </a:lnTo>
                  <a:lnTo>
                    <a:pt x="12" y="38"/>
                  </a:lnTo>
                  <a:lnTo>
                    <a:pt x="14" y="41"/>
                  </a:lnTo>
                  <a:lnTo>
                    <a:pt x="19" y="41"/>
                  </a:lnTo>
                  <a:lnTo>
                    <a:pt x="19" y="38"/>
                  </a:lnTo>
                  <a:lnTo>
                    <a:pt x="19" y="38"/>
                  </a:lnTo>
                  <a:lnTo>
                    <a:pt x="17" y="38"/>
                  </a:lnTo>
                  <a:lnTo>
                    <a:pt x="14" y="36"/>
                  </a:lnTo>
                  <a:lnTo>
                    <a:pt x="12" y="33"/>
                  </a:lnTo>
                  <a:lnTo>
                    <a:pt x="10" y="31"/>
                  </a:lnTo>
                  <a:lnTo>
                    <a:pt x="12" y="31"/>
                  </a:lnTo>
                  <a:lnTo>
                    <a:pt x="14" y="31"/>
                  </a:lnTo>
                  <a:lnTo>
                    <a:pt x="14" y="29"/>
                  </a:lnTo>
                  <a:lnTo>
                    <a:pt x="14" y="24"/>
                  </a:lnTo>
                  <a:lnTo>
                    <a:pt x="21" y="22"/>
                  </a:lnTo>
                  <a:lnTo>
                    <a:pt x="45" y="22"/>
                  </a:lnTo>
                  <a:lnTo>
                    <a:pt x="43" y="22"/>
                  </a:lnTo>
                  <a:lnTo>
                    <a:pt x="43" y="15"/>
                  </a:lnTo>
                  <a:lnTo>
                    <a:pt x="43" y="7"/>
                  </a:lnTo>
                  <a:lnTo>
                    <a:pt x="45" y="3"/>
                  </a:lnTo>
                  <a:lnTo>
                    <a:pt x="50" y="0"/>
                  </a:lnTo>
                  <a:lnTo>
                    <a:pt x="54" y="3"/>
                  </a:lnTo>
                  <a:lnTo>
                    <a:pt x="59" y="0"/>
                  </a:lnTo>
                  <a:lnTo>
                    <a:pt x="64" y="3"/>
                  </a:lnTo>
                  <a:lnTo>
                    <a:pt x="76" y="3"/>
                  </a:lnTo>
                  <a:lnTo>
                    <a:pt x="78" y="3"/>
                  </a:lnTo>
                  <a:lnTo>
                    <a:pt x="76" y="7"/>
                  </a:lnTo>
                  <a:lnTo>
                    <a:pt x="76" y="15"/>
                  </a:lnTo>
                  <a:lnTo>
                    <a:pt x="76" y="19"/>
                  </a:lnTo>
                  <a:lnTo>
                    <a:pt x="80" y="22"/>
                  </a:lnTo>
                  <a:lnTo>
                    <a:pt x="85" y="15"/>
                  </a:lnTo>
                  <a:lnTo>
                    <a:pt x="95" y="17"/>
                  </a:lnTo>
                  <a:lnTo>
                    <a:pt x="97" y="19"/>
                  </a:lnTo>
                  <a:lnTo>
                    <a:pt x="97" y="26"/>
                  </a:lnTo>
                  <a:lnTo>
                    <a:pt x="92" y="36"/>
                  </a:lnTo>
                  <a:lnTo>
                    <a:pt x="92" y="41"/>
                  </a:lnTo>
                  <a:lnTo>
                    <a:pt x="92" y="45"/>
                  </a:lnTo>
                  <a:lnTo>
                    <a:pt x="97" y="55"/>
                  </a:lnTo>
                  <a:lnTo>
                    <a:pt x="97" y="59"/>
                  </a:lnTo>
                  <a:lnTo>
                    <a:pt x="95" y="64"/>
                  </a:lnTo>
                  <a:lnTo>
                    <a:pt x="95" y="76"/>
                  </a:lnTo>
                  <a:lnTo>
                    <a:pt x="92" y="81"/>
                  </a:lnTo>
                  <a:lnTo>
                    <a:pt x="87" y="83"/>
                  </a:lnTo>
                  <a:lnTo>
                    <a:pt x="80" y="78"/>
                  </a:lnTo>
                  <a:lnTo>
                    <a:pt x="73" y="78"/>
                  </a:lnTo>
                  <a:lnTo>
                    <a:pt x="71" y="76"/>
                  </a:lnTo>
                  <a:lnTo>
                    <a:pt x="69" y="74"/>
                  </a:lnTo>
                  <a:lnTo>
                    <a:pt x="64" y="76"/>
                  </a:lnTo>
                  <a:lnTo>
                    <a:pt x="62" y="78"/>
                  </a:lnTo>
                  <a:lnTo>
                    <a:pt x="54" y="83"/>
                  </a:lnTo>
                  <a:lnTo>
                    <a:pt x="52" y="85"/>
                  </a:lnTo>
                  <a:lnTo>
                    <a:pt x="50" y="88"/>
                  </a:lnTo>
                  <a:lnTo>
                    <a:pt x="50" y="92"/>
                  </a:lnTo>
                  <a:lnTo>
                    <a:pt x="50" y="95"/>
                  </a:lnTo>
                  <a:lnTo>
                    <a:pt x="52" y="100"/>
                  </a:lnTo>
                  <a:lnTo>
                    <a:pt x="50" y="102"/>
                  </a:lnTo>
                  <a:lnTo>
                    <a:pt x="47" y="102"/>
                  </a:lnTo>
                  <a:lnTo>
                    <a:pt x="43" y="102"/>
                  </a:lnTo>
                  <a:lnTo>
                    <a:pt x="43" y="104"/>
                  </a:lnTo>
                  <a:lnTo>
                    <a:pt x="40" y="109"/>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09" name="Freeform 1118">
              <a:extLst>
                <a:ext uri="{FF2B5EF4-FFF2-40B4-BE49-F238E27FC236}">
                  <a16:creationId xmlns:a16="http://schemas.microsoft.com/office/drawing/2014/main" id="{D088D7C5-EBC4-46FA-A743-FE88778E9366}"/>
                </a:ext>
              </a:extLst>
            </p:cNvPr>
            <p:cNvSpPr>
              <a:spLocks/>
            </p:cNvSpPr>
            <p:nvPr/>
          </p:nvSpPr>
          <p:spPr bwMode="auto">
            <a:xfrm>
              <a:off x="2190004" y="4117941"/>
              <a:ext cx="415924" cy="314325"/>
            </a:xfrm>
            <a:custGeom>
              <a:avLst/>
              <a:gdLst>
                <a:gd name="T0" fmla="*/ 57 w 262"/>
                <a:gd name="T1" fmla="*/ 33 h 198"/>
                <a:gd name="T2" fmla="*/ 47 w 262"/>
                <a:gd name="T3" fmla="*/ 40 h 198"/>
                <a:gd name="T4" fmla="*/ 33 w 262"/>
                <a:gd name="T5" fmla="*/ 68 h 198"/>
                <a:gd name="T6" fmla="*/ 26 w 262"/>
                <a:gd name="T7" fmla="*/ 71 h 198"/>
                <a:gd name="T8" fmla="*/ 21 w 262"/>
                <a:gd name="T9" fmla="*/ 78 h 198"/>
                <a:gd name="T10" fmla="*/ 21 w 262"/>
                <a:gd name="T11" fmla="*/ 87 h 198"/>
                <a:gd name="T12" fmla="*/ 21 w 262"/>
                <a:gd name="T13" fmla="*/ 111 h 198"/>
                <a:gd name="T14" fmla="*/ 7 w 262"/>
                <a:gd name="T15" fmla="*/ 113 h 198"/>
                <a:gd name="T16" fmla="*/ 2 w 262"/>
                <a:gd name="T17" fmla="*/ 120 h 198"/>
                <a:gd name="T18" fmla="*/ 5 w 262"/>
                <a:gd name="T19" fmla="*/ 125 h 198"/>
                <a:gd name="T20" fmla="*/ 14 w 262"/>
                <a:gd name="T21" fmla="*/ 127 h 198"/>
                <a:gd name="T22" fmla="*/ 19 w 262"/>
                <a:gd name="T23" fmla="*/ 134 h 198"/>
                <a:gd name="T24" fmla="*/ 31 w 262"/>
                <a:gd name="T25" fmla="*/ 144 h 198"/>
                <a:gd name="T26" fmla="*/ 38 w 262"/>
                <a:gd name="T27" fmla="*/ 160 h 198"/>
                <a:gd name="T28" fmla="*/ 50 w 262"/>
                <a:gd name="T29" fmla="*/ 165 h 198"/>
                <a:gd name="T30" fmla="*/ 50 w 262"/>
                <a:gd name="T31" fmla="*/ 172 h 198"/>
                <a:gd name="T32" fmla="*/ 59 w 262"/>
                <a:gd name="T33" fmla="*/ 182 h 198"/>
                <a:gd name="T34" fmla="*/ 83 w 262"/>
                <a:gd name="T35" fmla="*/ 191 h 198"/>
                <a:gd name="T36" fmla="*/ 97 w 262"/>
                <a:gd name="T37" fmla="*/ 196 h 198"/>
                <a:gd name="T38" fmla="*/ 120 w 262"/>
                <a:gd name="T39" fmla="*/ 196 h 198"/>
                <a:gd name="T40" fmla="*/ 137 w 262"/>
                <a:gd name="T41" fmla="*/ 186 h 198"/>
                <a:gd name="T42" fmla="*/ 153 w 262"/>
                <a:gd name="T43" fmla="*/ 191 h 198"/>
                <a:gd name="T44" fmla="*/ 161 w 262"/>
                <a:gd name="T45" fmla="*/ 189 h 198"/>
                <a:gd name="T46" fmla="*/ 182 w 262"/>
                <a:gd name="T47" fmla="*/ 177 h 198"/>
                <a:gd name="T48" fmla="*/ 210 w 262"/>
                <a:gd name="T49" fmla="*/ 172 h 198"/>
                <a:gd name="T50" fmla="*/ 262 w 262"/>
                <a:gd name="T51" fmla="*/ 120 h 198"/>
                <a:gd name="T52" fmla="*/ 217 w 262"/>
                <a:gd name="T53" fmla="*/ 111 h 198"/>
                <a:gd name="T54" fmla="*/ 184 w 262"/>
                <a:gd name="T55" fmla="*/ 94 h 198"/>
                <a:gd name="T56" fmla="*/ 179 w 262"/>
                <a:gd name="T57" fmla="*/ 87 h 198"/>
                <a:gd name="T58" fmla="*/ 175 w 262"/>
                <a:gd name="T59" fmla="*/ 82 h 198"/>
                <a:gd name="T60" fmla="*/ 172 w 262"/>
                <a:gd name="T61" fmla="*/ 73 h 198"/>
                <a:gd name="T62" fmla="*/ 170 w 262"/>
                <a:gd name="T63" fmla="*/ 68 h 198"/>
                <a:gd name="T64" fmla="*/ 165 w 262"/>
                <a:gd name="T65" fmla="*/ 71 h 198"/>
                <a:gd name="T66" fmla="*/ 161 w 262"/>
                <a:gd name="T67" fmla="*/ 71 h 198"/>
                <a:gd name="T68" fmla="*/ 153 w 262"/>
                <a:gd name="T69" fmla="*/ 63 h 198"/>
                <a:gd name="T70" fmla="*/ 158 w 262"/>
                <a:gd name="T71" fmla="*/ 56 h 198"/>
                <a:gd name="T72" fmla="*/ 163 w 262"/>
                <a:gd name="T73" fmla="*/ 45 h 198"/>
                <a:gd name="T74" fmla="*/ 158 w 262"/>
                <a:gd name="T75" fmla="*/ 38 h 198"/>
                <a:gd name="T76" fmla="*/ 153 w 262"/>
                <a:gd name="T77" fmla="*/ 30 h 198"/>
                <a:gd name="T78" fmla="*/ 142 w 262"/>
                <a:gd name="T79" fmla="*/ 23 h 198"/>
                <a:gd name="T80" fmla="*/ 135 w 262"/>
                <a:gd name="T81" fmla="*/ 12 h 198"/>
                <a:gd name="T82" fmla="*/ 125 w 262"/>
                <a:gd name="T83" fmla="*/ 7 h 198"/>
                <a:gd name="T84" fmla="*/ 118 w 262"/>
                <a:gd name="T85" fmla="*/ 7 h 198"/>
                <a:gd name="T86" fmla="*/ 113 w 262"/>
                <a:gd name="T87" fmla="*/ 7 h 198"/>
                <a:gd name="T88" fmla="*/ 109 w 262"/>
                <a:gd name="T89" fmla="*/ 7 h 198"/>
                <a:gd name="T90" fmla="*/ 106 w 262"/>
                <a:gd name="T91" fmla="*/ 7 h 198"/>
                <a:gd name="T92" fmla="*/ 104 w 262"/>
                <a:gd name="T93" fmla="*/ 4 h 198"/>
                <a:gd name="T94" fmla="*/ 97 w 262"/>
                <a:gd name="T95" fmla="*/ 9 h 198"/>
                <a:gd name="T96" fmla="*/ 92 w 262"/>
                <a:gd name="T97" fmla="*/ 4 h 198"/>
                <a:gd name="T98" fmla="*/ 85 w 262"/>
                <a:gd name="T99" fmla="*/ 2 h 198"/>
                <a:gd name="T100" fmla="*/ 76 w 262"/>
                <a:gd name="T101" fmla="*/ 12 h 198"/>
                <a:gd name="T102" fmla="*/ 71 w 262"/>
                <a:gd name="T103" fmla="*/ 7 h 198"/>
                <a:gd name="T104" fmla="*/ 68 w 262"/>
                <a:gd name="T105" fmla="*/ 12 h 198"/>
                <a:gd name="T106" fmla="*/ 61 w 262"/>
                <a:gd name="T107"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 h="198">
                  <a:moveTo>
                    <a:pt x="61" y="9"/>
                  </a:moveTo>
                  <a:lnTo>
                    <a:pt x="61" y="14"/>
                  </a:lnTo>
                  <a:lnTo>
                    <a:pt x="57" y="33"/>
                  </a:lnTo>
                  <a:lnTo>
                    <a:pt x="54" y="35"/>
                  </a:lnTo>
                  <a:lnTo>
                    <a:pt x="52" y="38"/>
                  </a:lnTo>
                  <a:lnTo>
                    <a:pt x="47" y="40"/>
                  </a:lnTo>
                  <a:lnTo>
                    <a:pt x="38" y="56"/>
                  </a:lnTo>
                  <a:lnTo>
                    <a:pt x="35" y="59"/>
                  </a:lnTo>
                  <a:lnTo>
                    <a:pt x="33" y="68"/>
                  </a:lnTo>
                  <a:lnTo>
                    <a:pt x="33" y="71"/>
                  </a:lnTo>
                  <a:lnTo>
                    <a:pt x="28" y="71"/>
                  </a:lnTo>
                  <a:lnTo>
                    <a:pt x="26" y="71"/>
                  </a:lnTo>
                  <a:lnTo>
                    <a:pt x="24" y="75"/>
                  </a:lnTo>
                  <a:lnTo>
                    <a:pt x="24" y="78"/>
                  </a:lnTo>
                  <a:lnTo>
                    <a:pt x="21" y="78"/>
                  </a:lnTo>
                  <a:lnTo>
                    <a:pt x="21" y="80"/>
                  </a:lnTo>
                  <a:lnTo>
                    <a:pt x="24" y="82"/>
                  </a:lnTo>
                  <a:lnTo>
                    <a:pt x="21" y="87"/>
                  </a:lnTo>
                  <a:lnTo>
                    <a:pt x="21" y="92"/>
                  </a:lnTo>
                  <a:lnTo>
                    <a:pt x="21" y="106"/>
                  </a:lnTo>
                  <a:lnTo>
                    <a:pt x="21" y="111"/>
                  </a:lnTo>
                  <a:lnTo>
                    <a:pt x="19" y="113"/>
                  </a:lnTo>
                  <a:lnTo>
                    <a:pt x="14" y="113"/>
                  </a:lnTo>
                  <a:lnTo>
                    <a:pt x="7" y="113"/>
                  </a:lnTo>
                  <a:lnTo>
                    <a:pt x="5" y="113"/>
                  </a:lnTo>
                  <a:lnTo>
                    <a:pt x="5" y="118"/>
                  </a:lnTo>
                  <a:lnTo>
                    <a:pt x="2" y="120"/>
                  </a:lnTo>
                  <a:lnTo>
                    <a:pt x="0" y="123"/>
                  </a:lnTo>
                  <a:lnTo>
                    <a:pt x="2" y="125"/>
                  </a:lnTo>
                  <a:lnTo>
                    <a:pt x="5" y="125"/>
                  </a:lnTo>
                  <a:lnTo>
                    <a:pt x="7" y="125"/>
                  </a:lnTo>
                  <a:lnTo>
                    <a:pt x="9" y="125"/>
                  </a:lnTo>
                  <a:lnTo>
                    <a:pt x="14" y="127"/>
                  </a:lnTo>
                  <a:lnTo>
                    <a:pt x="16" y="127"/>
                  </a:lnTo>
                  <a:lnTo>
                    <a:pt x="19" y="132"/>
                  </a:lnTo>
                  <a:lnTo>
                    <a:pt x="19" y="134"/>
                  </a:lnTo>
                  <a:lnTo>
                    <a:pt x="21" y="137"/>
                  </a:lnTo>
                  <a:lnTo>
                    <a:pt x="24" y="139"/>
                  </a:lnTo>
                  <a:lnTo>
                    <a:pt x="31" y="144"/>
                  </a:lnTo>
                  <a:lnTo>
                    <a:pt x="33" y="146"/>
                  </a:lnTo>
                  <a:lnTo>
                    <a:pt x="33" y="151"/>
                  </a:lnTo>
                  <a:lnTo>
                    <a:pt x="38" y="160"/>
                  </a:lnTo>
                  <a:lnTo>
                    <a:pt x="38" y="163"/>
                  </a:lnTo>
                  <a:lnTo>
                    <a:pt x="40" y="165"/>
                  </a:lnTo>
                  <a:lnTo>
                    <a:pt x="50" y="165"/>
                  </a:lnTo>
                  <a:lnTo>
                    <a:pt x="50" y="167"/>
                  </a:lnTo>
                  <a:lnTo>
                    <a:pt x="52" y="170"/>
                  </a:lnTo>
                  <a:lnTo>
                    <a:pt x="50" y="172"/>
                  </a:lnTo>
                  <a:lnTo>
                    <a:pt x="50" y="179"/>
                  </a:lnTo>
                  <a:lnTo>
                    <a:pt x="54" y="182"/>
                  </a:lnTo>
                  <a:lnTo>
                    <a:pt x="59" y="182"/>
                  </a:lnTo>
                  <a:lnTo>
                    <a:pt x="64" y="182"/>
                  </a:lnTo>
                  <a:lnTo>
                    <a:pt x="71" y="184"/>
                  </a:lnTo>
                  <a:lnTo>
                    <a:pt x="83" y="191"/>
                  </a:lnTo>
                  <a:lnTo>
                    <a:pt x="85" y="193"/>
                  </a:lnTo>
                  <a:lnTo>
                    <a:pt x="92" y="196"/>
                  </a:lnTo>
                  <a:lnTo>
                    <a:pt x="97" y="196"/>
                  </a:lnTo>
                  <a:lnTo>
                    <a:pt x="104" y="198"/>
                  </a:lnTo>
                  <a:lnTo>
                    <a:pt x="111" y="198"/>
                  </a:lnTo>
                  <a:lnTo>
                    <a:pt x="120" y="196"/>
                  </a:lnTo>
                  <a:lnTo>
                    <a:pt x="125" y="191"/>
                  </a:lnTo>
                  <a:lnTo>
                    <a:pt x="130" y="189"/>
                  </a:lnTo>
                  <a:lnTo>
                    <a:pt x="137" y="186"/>
                  </a:lnTo>
                  <a:lnTo>
                    <a:pt x="146" y="191"/>
                  </a:lnTo>
                  <a:lnTo>
                    <a:pt x="151" y="191"/>
                  </a:lnTo>
                  <a:lnTo>
                    <a:pt x="153" y="191"/>
                  </a:lnTo>
                  <a:lnTo>
                    <a:pt x="156" y="191"/>
                  </a:lnTo>
                  <a:lnTo>
                    <a:pt x="156" y="191"/>
                  </a:lnTo>
                  <a:lnTo>
                    <a:pt x="161" y="189"/>
                  </a:lnTo>
                  <a:lnTo>
                    <a:pt x="172" y="184"/>
                  </a:lnTo>
                  <a:lnTo>
                    <a:pt x="177" y="179"/>
                  </a:lnTo>
                  <a:lnTo>
                    <a:pt x="182" y="177"/>
                  </a:lnTo>
                  <a:lnTo>
                    <a:pt x="189" y="175"/>
                  </a:lnTo>
                  <a:lnTo>
                    <a:pt x="191" y="175"/>
                  </a:lnTo>
                  <a:lnTo>
                    <a:pt x="210" y="172"/>
                  </a:lnTo>
                  <a:lnTo>
                    <a:pt x="236" y="146"/>
                  </a:lnTo>
                  <a:lnTo>
                    <a:pt x="260" y="125"/>
                  </a:lnTo>
                  <a:lnTo>
                    <a:pt x="262" y="120"/>
                  </a:lnTo>
                  <a:lnTo>
                    <a:pt x="262" y="120"/>
                  </a:lnTo>
                  <a:lnTo>
                    <a:pt x="246" y="120"/>
                  </a:lnTo>
                  <a:lnTo>
                    <a:pt x="217" y="111"/>
                  </a:lnTo>
                  <a:lnTo>
                    <a:pt x="194" y="101"/>
                  </a:lnTo>
                  <a:lnTo>
                    <a:pt x="191" y="99"/>
                  </a:lnTo>
                  <a:lnTo>
                    <a:pt x="184" y="94"/>
                  </a:lnTo>
                  <a:lnTo>
                    <a:pt x="182" y="92"/>
                  </a:lnTo>
                  <a:lnTo>
                    <a:pt x="179" y="89"/>
                  </a:lnTo>
                  <a:lnTo>
                    <a:pt x="179" y="87"/>
                  </a:lnTo>
                  <a:lnTo>
                    <a:pt x="179" y="87"/>
                  </a:lnTo>
                  <a:lnTo>
                    <a:pt x="177" y="85"/>
                  </a:lnTo>
                  <a:lnTo>
                    <a:pt x="175" y="82"/>
                  </a:lnTo>
                  <a:lnTo>
                    <a:pt x="172" y="80"/>
                  </a:lnTo>
                  <a:lnTo>
                    <a:pt x="172" y="73"/>
                  </a:lnTo>
                  <a:lnTo>
                    <a:pt x="172" y="73"/>
                  </a:lnTo>
                  <a:lnTo>
                    <a:pt x="172" y="71"/>
                  </a:lnTo>
                  <a:lnTo>
                    <a:pt x="172" y="71"/>
                  </a:lnTo>
                  <a:lnTo>
                    <a:pt x="170" y="68"/>
                  </a:lnTo>
                  <a:lnTo>
                    <a:pt x="170" y="66"/>
                  </a:lnTo>
                  <a:lnTo>
                    <a:pt x="165" y="68"/>
                  </a:lnTo>
                  <a:lnTo>
                    <a:pt x="165" y="71"/>
                  </a:lnTo>
                  <a:lnTo>
                    <a:pt x="165" y="71"/>
                  </a:lnTo>
                  <a:lnTo>
                    <a:pt x="163" y="68"/>
                  </a:lnTo>
                  <a:lnTo>
                    <a:pt x="161" y="71"/>
                  </a:lnTo>
                  <a:lnTo>
                    <a:pt x="156" y="68"/>
                  </a:lnTo>
                  <a:lnTo>
                    <a:pt x="156" y="68"/>
                  </a:lnTo>
                  <a:lnTo>
                    <a:pt x="153" y="63"/>
                  </a:lnTo>
                  <a:lnTo>
                    <a:pt x="156" y="63"/>
                  </a:lnTo>
                  <a:lnTo>
                    <a:pt x="158" y="61"/>
                  </a:lnTo>
                  <a:lnTo>
                    <a:pt x="158" y="56"/>
                  </a:lnTo>
                  <a:lnTo>
                    <a:pt x="161" y="52"/>
                  </a:lnTo>
                  <a:lnTo>
                    <a:pt x="161" y="45"/>
                  </a:lnTo>
                  <a:lnTo>
                    <a:pt x="163" y="45"/>
                  </a:lnTo>
                  <a:lnTo>
                    <a:pt x="161" y="42"/>
                  </a:lnTo>
                  <a:lnTo>
                    <a:pt x="161" y="40"/>
                  </a:lnTo>
                  <a:lnTo>
                    <a:pt x="158" y="38"/>
                  </a:lnTo>
                  <a:lnTo>
                    <a:pt x="156" y="38"/>
                  </a:lnTo>
                  <a:lnTo>
                    <a:pt x="153" y="35"/>
                  </a:lnTo>
                  <a:lnTo>
                    <a:pt x="153" y="30"/>
                  </a:lnTo>
                  <a:lnTo>
                    <a:pt x="151" y="30"/>
                  </a:lnTo>
                  <a:lnTo>
                    <a:pt x="146" y="26"/>
                  </a:lnTo>
                  <a:lnTo>
                    <a:pt x="142" y="23"/>
                  </a:lnTo>
                  <a:lnTo>
                    <a:pt x="142" y="19"/>
                  </a:lnTo>
                  <a:lnTo>
                    <a:pt x="139" y="16"/>
                  </a:lnTo>
                  <a:lnTo>
                    <a:pt x="135" y="12"/>
                  </a:lnTo>
                  <a:lnTo>
                    <a:pt x="132" y="12"/>
                  </a:lnTo>
                  <a:lnTo>
                    <a:pt x="130" y="12"/>
                  </a:lnTo>
                  <a:lnTo>
                    <a:pt x="125" y="7"/>
                  </a:lnTo>
                  <a:lnTo>
                    <a:pt x="120" y="7"/>
                  </a:lnTo>
                  <a:lnTo>
                    <a:pt x="120" y="7"/>
                  </a:lnTo>
                  <a:lnTo>
                    <a:pt x="118" y="7"/>
                  </a:lnTo>
                  <a:lnTo>
                    <a:pt x="118" y="7"/>
                  </a:lnTo>
                  <a:lnTo>
                    <a:pt x="116" y="7"/>
                  </a:lnTo>
                  <a:lnTo>
                    <a:pt x="113" y="7"/>
                  </a:lnTo>
                  <a:lnTo>
                    <a:pt x="113" y="4"/>
                  </a:lnTo>
                  <a:lnTo>
                    <a:pt x="111" y="7"/>
                  </a:lnTo>
                  <a:lnTo>
                    <a:pt x="109" y="7"/>
                  </a:lnTo>
                  <a:lnTo>
                    <a:pt x="109" y="7"/>
                  </a:lnTo>
                  <a:lnTo>
                    <a:pt x="109" y="7"/>
                  </a:lnTo>
                  <a:lnTo>
                    <a:pt x="106" y="7"/>
                  </a:lnTo>
                  <a:lnTo>
                    <a:pt x="106" y="4"/>
                  </a:lnTo>
                  <a:lnTo>
                    <a:pt x="104" y="4"/>
                  </a:lnTo>
                  <a:lnTo>
                    <a:pt x="104" y="4"/>
                  </a:lnTo>
                  <a:lnTo>
                    <a:pt x="102" y="7"/>
                  </a:lnTo>
                  <a:lnTo>
                    <a:pt x="97" y="7"/>
                  </a:lnTo>
                  <a:lnTo>
                    <a:pt x="97" y="9"/>
                  </a:lnTo>
                  <a:lnTo>
                    <a:pt x="94" y="9"/>
                  </a:lnTo>
                  <a:lnTo>
                    <a:pt x="92" y="4"/>
                  </a:lnTo>
                  <a:lnTo>
                    <a:pt x="92" y="4"/>
                  </a:lnTo>
                  <a:lnTo>
                    <a:pt x="90" y="4"/>
                  </a:lnTo>
                  <a:lnTo>
                    <a:pt x="87" y="4"/>
                  </a:lnTo>
                  <a:lnTo>
                    <a:pt x="85" y="2"/>
                  </a:lnTo>
                  <a:lnTo>
                    <a:pt x="85" y="0"/>
                  </a:lnTo>
                  <a:lnTo>
                    <a:pt x="78" y="14"/>
                  </a:lnTo>
                  <a:lnTo>
                    <a:pt x="76" y="12"/>
                  </a:lnTo>
                  <a:lnTo>
                    <a:pt x="76" y="9"/>
                  </a:lnTo>
                  <a:lnTo>
                    <a:pt x="73" y="7"/>
                  </a:lnTo>
                  <a:lnTo>
                    <a:pt x="71" y="7"/>
                  </a:lnTo>
                  <a:lnTo>
                    <a:pt x="71" y="9"/>
                  </a:lnTo>
                  <a:lnTo>
                    <a:pt x="71" y="9"/>
                  </a:lnTo>
                  <a:lnTo>
                    <a:pt x="68" y="12"/>
                  </a:lnTo>
                  <a:lnTo>
                    <a:pt x="68" y="12"/>
                  </a:lnTo>
                  <a:lnTo>
                    <a:pt x="66" y="12"/>
                  </a:lnTo>
                  <a:lnTo>
                    <a:pt x="61" y="12"/>
                  </a:lnTo>
                  <a:lnTo>
                    <a:pt x="61"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0" name="Freeform 1119">
              <a:extLst>
                <a:ext uri="{FF2B5EF4-FFF2-40B4-BE49-F238E27FC236}">
                  <a16:creationId xmlns:a16="http://schemas.microsoft.com/office/drawing/2014/main" id="{B04B886D-8963-4A2A-89A4-9AA532778463}"/>
                </a:ext>
              </a:extLst>
            </p:cNvPr>
            <p:cNvSpPr>
              <a:spLocks/>
            </p:cNvSpPr>
            <p:nvPr/>
          </p:nvSpPr>
          <p:spPr bwMode="auto">
            <a:xfrm>
              <a:off x="2190004" y="4117941"/>
              <a:ext cx="415924" cy="314325"/>
            </a:xfrm>
            <a:custGeom>
              <a:avLst/>
              <a:gdLst>
                <a:gd name="T0" fmla="*/ 57 w 262"/>
                <a:gd name="T1" fmla="*/ 33 h 198"/>
                <a:gd name="T2" fmla="*/ 47 w 262"/>
                <a:gd name="T3" fmla="*/ 40 h 198"/>
                <a:gd name="T4" fmla="*/ 33 w 262"/>
                <a:gd name="T5" fmla="*/ 68 h 198"/>
                <a:gd name="T6" fmla="*/ 26 w 262"/>
                <a:gd name="T7" fmla="*/ 71 h 198"/>
                <a:gd name="T8" fmla="*/ 21 w 262"/>
                <a:gd name="T9" fmla="*/ 78 h 198"/>
                <a:gd name="T10" fmla="*/ 21 w 262"/>
                <a:gd name="T11" fmla="*/ 87 h 198"/>
                <a:gd name="T12" fmla="*/ 21 w 262"/>
                <a:gd name="T13" fmla="*/ 111 h 198"/>
                <a:gd name="T14" fmla="*/ 7 w 262"/>
                <a:gd name="T15" fmla="*/ 113 h 198"/>
                <a:gd name="T16" fmla="*/ 2 w 262"/>
                <a:gd name="T17" fmla="*/ 120 h 198"/>
                <a:gd name="T18" fmla="*/ 5 w 262"/>
                <a:gd name="T19" fmla="*/ 125 h 198"/>
                <a:gd name="T20" fmla="*/ 14 w 262"/>
                <a:gd name="T21" fmla="*/ 127 h 198"/>
                <a:gd name="T22" fmla="*/ 19 w 262"/>
                <a:gd name="T23" fmla="*/ 134 h 198"/>
                <a:gd name="T24" fmla="*/ 31 w 262"/>
                <a:gd name="T25" fmla="*/ 144 h 198"/>
                <a:gd name="T26" fmla="*/ 38 w 262"/>
                <a:gd name="T27" fmla="*/ 160 h 198"/>
                <a:gd name="T28" fmla="*/ 50 w 262"/>
                <a:gd name="T29" fmla="*/ 165 h 198"/>
                <a:gd name="T30" fmla="*/ 50 w 262"/>
                <a:gd name="T31" fmla="*/ 172 h 198"/>
                <a:gd name="T32" fmla="*/ 59 w 262"/>
                <a:gd name="T33" fmla="*/ 182 h 198"/>
                <a:gd name="T34" fmla="*/ 83 w 262"/>
                <a:gd name="T35" fmla="*/ 191 h 198"/>
                <a:gd name="T36" fmla="*/ 97 w 262"/>
                <a:gd name="T37" fmla="*/ 196 h 198"/>
                <a:gd name="T38" fmla="*/ 120 w 262"/>
                <a:gd name="T39" fmla="*/ 196 h 198"/>
                <a:gd name="T40" fmla="*/ 137 w 262"/>
                <a:gd name="T41" fmla="*/ 186 h 198"/>
                <a:gd name="T42" fmla="*/ 153 w 262"/>
                <a:gd name="T43" fmla="*/ 191 h 198"/>
                <a:gd name="T44" fmla="*/ 161 w 262"/>
                <a:gd name="T45" fmla="*/ 189 h 198"/>
                <a:gd name="T46" fmla="*/ 182 w 262"/>
                <a:gd name="T47" fmla="*/ 177 h 198"/>
                <a:gd name="T48" fmla="*/ 210 w 262"/>
                <a:gd name="T49" fmla="*/ 172 h 198"/>
                <a:gd name="T50" fmla="*/ 262 w 262"/>
                <a:gd name="T51" fmla="*/ 120 h 198"/>
                <a:gd name="T52" fmla="*/ 217 w 262"/>
                <a:gd name="T53" fmla="*/ 111 h 198"/>
                <a:gd name="T54" fmla="*/ 184 w 262"/>
                <a:gd name="T55" fmla="*/ 94 h 198"/>
                <a:gd name="T56" fmla="*/ 179 w 262"/>
                <a:gd name="T57" fmla="*/ 87 h 198"/>
                <a:gd name="T58" fmla="*/ 175 w 262"/>
                <a:gd name="T59" fmla="*/ 82 h 198"/>
                <a:gd name="T60" fmla="*/ 172 w 262"/>
                <a:gd name="T61" fmla="*/ 73 h 198"/>
                <a:gd name="T62" fmla="*/ 170 w 262"/>
                <a:gd name="T63" fmla="*/ 68 h 198"/>
                <a:gd name="T64" fmla="*/ 165 w 262"/>
                <a:gd name="T65" fmla="*/ 71 h 198"/>
                <a:gd name="T66" fmla="*/ 161 w 262"/>
                <a:gd name="T67" fmla="*/ 71 h 198"/>
                <a:gd name="T68" fmla="*/ 153 w 262"/>
                <a:gd name="T69" fmla="*/ 63 h 198"/>
                <a:gd name="T70" fmla="*/ 158 w 262"/>
                <a:gd name="T71" fmla="*/ 56 h 198"/>
                <a:gd name="T72" fmla="*/ 163 w 262"/>
                <a:gd name="T73" fmla="*/ 45 h 198"/>
                <a:gd name="T74" fmla="*/ 158 w 262"/>
                <a:gd name="T75" fmla="*/ 38 h 198"/>
                <a:gd name="T76" fmla="*/ 153 w 262"/>
                <a:gd name="T77" fmla="*/ 30 h 198"/>
                <a:gd name="T78" fmla="*/ 142 w 262"/>
                <a:gd name="T79" fmla="*/ 23 h 198"/>
                <a:gd name="T80" fmla="*/ 135 w 262"/>
                <a:gd name="T81" fmla="*/ 12 h 198"/>
                <a:gd name="T82" fmla="*/ 125 w 262"/>
                <a:gd name="T83" fmla="*/ 7 h 198"/>
                <a:gd name="T84" fmla="*/ 118 w 262"/>
                <a:gd name="T85" fmla="*/ 7 h 198"/>
                <a:gd name="T86" fmla="*/ 113 w 262"/>
                <a:gd name="T87" fmla="*/ 7 h 198"/>
                <a:gd name="T88" fmla="*/ 109 w 262"/>
                <a:gd name="T89" fmla="*/ 7 h 198"/>
                <a:gd name="T90" fmla="*/ 106 w 262"/>
                <a:gd name="T91" fmla="*/ 7 h 198"/>
                <a:gd name="T92" fmla="*/ 104 w 262"/>
                <a:gd name="T93" fmla="*/ 4 h 198"/>
                <a:gd name="T94" fmla="*/ 97 w 262"/>
                <a:gd name="T95" fmla="*/ 9 h 198"/>
                <a:gd name="T96" fmla="*/ 92 w 262"/>
                <a:gd name="T97" fmla="*/ 4 h 198"/>
                <a:gd name="T98" fmla="*/ 85 w 262"/>
                <a:gd name="T99" fmla="*/ 2 h 198"/>
                <a:gd name="T100" fmla="*/ 76 w 262"/>
                <a:gd name="T101" fmla="*/ 12 h 198"/>
                <a:gd name="T102" fmla="*/ 71 w 262"/>
                <a:gd name="T103" fmla="*/ 7 h 198"/>
                <a:gd name="T104" fmla="*/ 68 w 262"/>
                <a:gd name="T105" fmla="*/ 12 h 198"/>
                <a:gd name="T106" fmla="*/ 61 w 262"/>
                <a:gd name="T107"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 h="198">
                  <a:moveTo>
                    <a:pt x="61" y="9"/>
                  </a:moveTo>
                  <a:lnTo>
                    <a:pt x="61" y="14"/>
                  </a:lnTo>
                  <a:lnTo>
                    <a:pt x="57" y="33"/>
                  </a:lnTo>
                  <a:lnTo>
                    <a:pt x="54" y="35"/>
                  </a:lnTo>
                  <a:lnTo>
                    <a:pt x="52" y="38"/>
                  </a:lnTo>
                  <a:lnTo>
                    <a:pt x="47" y="40"/>
                  </a:lnTo>
                  <a:lnTo>
                    <a:pt x="38" y="56"/>
                  </a:lnTo>
                  <a:lnTo>
                    <a:pt x="35" y="59"/>
                  </a:lnTo>
                  <a:lnTo>
                    <a:pt x="33" y="68"/>
                  </a:lnTo>
                  <a:lnTo>
                    <a:pt x="33" y="71"/>
                  </a:lnTo>
                  <a:lnTo>
                    <a:pt x="28" y="71"/>
                  </a:lnTo>
                  <a:lnTo>
                    <a:pt x="26" y="71"/>
                  </a:lnTo>
                  <a:lnTo>
                    <a:pt x="24" y="75"/>
                  </a:lnTo>
                  <a:lnTo>
                    <a:pt x="24" y="78"/>
                  </a:lnTo>
                  <a:lnTo>
                    <a:pt x="21" y="78"/>
                  </a:lnTo>
                  <a:lnTo>
                    <a:pt x="21" y="80"/>
                  </a:lnTo>
                  <a:lnTo>
                    <a:pt x="24" y="82"/>
                  </a:lnTo>
                  <a:lnTo>
                    <a:pt x="21" y="87"/>
                  </a:lnTo>
                  <a:lnTo>
                    <a:pt x="21" y="92"/>
                  </a:lnTo>
                  <a:lnTo>
                    <a:pt x="21" y="106"/>
                  </a:lnTo>
                  <a:lnTo>
                    <a:pt x="21" y="111"/>
                  </a:lnTo>
                  <a:lnTo>
                    <a:pt x="19" y="113"/>
                  </a:lnTo>
                  <a:lnTo>
                    <a:pt x="14" y="113"/>
                  </a:lnTo>
                  <a:lnTo>
                    <a:pt x="7" y="113"/>
                  </a:lnTo>
                  <a:lnTo>
                    <a:pt x="5" y="113"/>
                  </a:lnTo>
                  <a:lnTo>
                    <a:pt x="5" y="118"/>
                  </a:lnTo>
                  <a:lnTo>
                    <a:pt x="2" y="120"/>
                  </a:lnTo>
                  <a:lnTo>
                    <a:pt x="0" y="123"/>
                  </a:lnTo>
                  <a:lnTo>
                    <a:pt x="2" y="125"/>
                  </a:lnTo>
                  <a:lnTo>
                    <a:pt x="5" y="125"/>
                  </a:lnTo>
                  <a:lnTo>
                    <a:pt x="7" y="125"/>
                  </a:lnTo>
                  <a:lnTo>
                    <a:pt x="9" y="125"/>
                  </a:lnTo>
                  <a:lnTo>
                    <a:pt x="14" y="127"/>
                  </a:lnTo>
                  <a:lnTo>
                    <a:pt x="16" y="127"/>
                  </a:lnTo>
                  <a:lnTo>
                    <a:pt x="19" y="132"/>
                  </a:lnTo>
                  <a:lnTo>
                    <a:pt x="19" y="134"/>
                  </a:lnTo>
                  <a:lnTo>
                    <a:pt x="21" y="137"/>
                  </a:lnTo>
                  <a:lnTo>
                    <a:pt x="24" y="139"/>
                  </a:lnTo>
                  <a:lnTo>
                    <a:pt x="31" y="144"/>
                  </a:lnTo>
                  <a:lnTo>
                    <a:pt x="33" y="146"/>
                  </a:lnTo>
                  <a:lnTo>
                    <a:pt x="33" y="151"/>
                  </a:lnTo>
                  <a:lnTo>
                    <a:pt x="38" y="160"/>
                  </a:lnTo>
                  <a:lnTo>
                    <a:pt x="38" y="163"/>
                  </a:lnTo>
                  <a:lnTo>
                    <a:pt x="40" y="165"/>
                  </a:lnTo>
                  <a:lnTo>
                    <a:pt x="50" y="165"/>
                  </a:lnTo>
                  <a:lnTo>
                    <a:pt x="50" y="167"/>
                  </a:lnTo>
                  <a:lnTo>
                    <a:pt x="52" y="170"/>
                  </a:lnTo>
                  <a:lnTo>
                    <a:pt x="50" y="172"/>
                  </a:lnTo>
                  <a:lnTo>
                    <a:pt x="50" y="179"/>
                  </a:lnTo>
                  <a:lnTo>
                    <a:pt x="54" y="182"/>
                  </a:lnTo>
                  <a:lnTo>
                    <a:pt x="59" y="182"/>
                  </a:lnTo>
                  <a:lnTo>
                    <a:pt x="64" y="182"/>
                  </a:lnTo>
                  <a:lnTo>
                    <a:pt x="71" y="184"/>
                  </a:lnTo>
                  <a:lnTo>
                    <a:pt x="83" y="191"/>
                  </a:lnTo>
                  <a:lnTo>
                    <a:pt x="85" y="193"/>
                  </a:lnTo>
                  <a:lnTo>
                    <a:pt x="92" y="196"/>
                  </a:lnTo>
                  <a:lnTo>
                    <a:pt x="97" y="196"/>
                  </a:lnTo>
                  <a:lnTo>
                    <a:pt x="104" y="198"/>
                  </a:lnTo>
                  <a:lnTo>
                    <a:pt x="111" y="198"/>
                  </a:lnTo>
                  <a:lnTo>
                    <a:pt x="120" y="196"/>
                  </a:lnTo>
                  <a:lnTo>
                    <a:pt x="125" y="191"/>
                  </a:lnTo>
                  <a:lnTo>
                    <a:pt x="130" y="189"/>
                  </a:lnTo>
                  <a:lnTo>
                    <a:pt x="137" y="186"/>
                  </a:lnTo>
                  <a:lnTo>
                    <a:pt x="146" y="191"/>
                  </a:lnTo>
                  <a:lnTo>
                    <a:pt x="151" y="191"/>
                  </a:lnTo>
                  <a:lnTo>
                    <a:pt x="153" y="191"/>
                  </a:lnTo>
                  <a:lnTo>
                    <a:pt x="156" y="191"/>
                  </a:lnTo>
                  <a:lnTo>
                    <a:pt x="156" y="191"/>
                  </a:lnTo>
                  <a:lnTo>
                    <a:pt x="161" y="189"/>
                  </a:lnTo>
                  <a:lnTo>
                    <a:pt x="172" y="184"/>
                  </a:lnTo>
                  <a:lnTo>
                    <a:pt x="177" y="179"/>
                  </a:lnTo>
                  <a:lnTo>
                    <a:pt x="182" y="177"/>
                  </a:lnTo>
                  <a:lnTo>
                    <a:pt x="189" y="175"/>
                  </a:lnTo>
                  <a:lnTo>
                    <a:pt x="191" y="175"/>
                  </a:lnTo>
                  <a:lnTo>
                    <a:pt x="210" y="172"/>
                  </a:lnTo>
                  <a:lnTo>
                    <a:pt x="236" y="146"/>
                  </a:lnTo>
                  <a:lnTo>
                    <a:pt x="260" y="125"/>
                  </a:lnTo>
                  <a:lnTo>
                    <a:pt x="262" y="120"/>
                  </a:lnTo>
                  <a:lnTo>
                    <a:pt x="262" y="120"/>
                  </a:lnTo>
                  <a:lnTo>
                    <a:pt x="246" y="120"/>
                  </a:lnTo>
                  <a:lnTo>
                    <a:pt x="217" y="111"/>
                  </a:lnTo>
                  <a:lnTo>
                    <a:pt x="194" y="101"/>
                  </a:lnTo>
                  <a:lnTo>
                    <a:pt x="191" y="99"/>
                  </a:lnTo>
                  <a:lnTo>
                    <a:pt x="184" y="94"/>
                  </a:lnTo>
                  <a:lnTo>
                    <a:pt x="182" y="92"/>
                  </a:lnTo>
                  <a:lnTo>
                    <a:pt x="179" y="89"/>
                  </a:lnTo>
                  <a:lnTo>
                    <a:pt x="179" y="87"/>
                  </a:lnTo>
                  <a:lnTo>
                    <a:pt x="179" y="87"/>
                  </a:lnTo>
                  <a:lnTo>
                    <a:pt x="177" y="85"/>
                  </a:lnTo>
                  <a:lnTo>
                    <a:pt x="175" y="82"/>
                  </a:lnTo>
                  <a:lnTo>
                    <a:pt x="172" y="80"/>
                  </a:lnTo>
                  <a:lnTo>
                    <a:pt x="172" y="73"/>
                  </a:lnTo>
                  <a:lnTo>
                    <a:pt x="172" y="73"/>
                  </a:lnTo>
                  <a:lnTo>
                    <a:pt x="172" y="71"/>
                  </a:lnTo>
                  <a:lnTo>
                    <a:pt x="172" y="71"/>
                  </a:lnTo>
                  <a:lnTo>
                    <a:pt x="170" y="68"/>
                  </a:lnTo>
                  <a:lnTo>
                    <a:pt x="170" y="66"/>
                  </a:lnTo>
                  <a:lnTo>
                    <a:pt x="165" y="68"/>
                  </a:lnTo>
                  <a:lnTo>
                    <a:pt x="165" y="71"/>
                  </a:lnTo>
                  <a:lnTo>
                    <a:pt x="165" y="71"/>
                  </a:lnTo>
                  <a:lnTo>
                    <a:pt x="163" y="68"/>
                  </a:lnTo>
                  <a:lnTo>
                    <a:pt x="161" y="71"/>
                  </a:lnTo>
                  <a:lnTo>
                    <a:pt x="156" y="68"/>
                  </a:lnTo>
                  <a:lnTo>
                    <a:pt x="156" y="68"/>
                  </a:lnTo>
                  <a:lnTo>
                    <a:pt x="153" y="63"/>
                  </a:lnTo>
                  <a:lnTo>
                    <a:pt x="156" y="63"/>
                  </a:lnTo>
                  <a:lnTo>
                    <a:pt x="158" y="61"/>
                  </a:lnTo>
                  <a:lnTo>
                    <a:pt x="158" y="56"/>
                  </a:lnTo>
                  <a:lnTo>
                    <a:pt x="161" y="52"/>
                  </a:lnTo>
                  <a:lnTo>
                    <a:pt x="161" y="45"/>
                  </a:lnTo>
                  <a:lnTo>
                    <a:pt x="163" y="45"/>
                  </a:lnTo>
                  <a:lnTo>
                    <a:pt x="161" y="42"/>
                  </a:lnTo>
                  <a:lnTo>
                    <a:pt x="161" y="40"/>
                  </a:lnTo>
                  <a:lnTo>
                    <a:pt x="158" y="38"/>
                  </a:lnTo>
                  <a:lnTo>
                    <a:pt x="156" y="38"/>
                  </a:lnTo>
                  <a:lnTo>
                    <a:pt x="153" y="35"/>
                  </a:lnTo>
                  <a:lnTo>
                    <a:pt x="153" y="30"/>
                  </a:lnTo>
                  <a:lnTo>
                    <a:pt x="151" y="30"/>
                  </a:lnTo>
                  <a:lnTo>
                    <a:pt x="146" y="26"/>
                  </a:lnTo>
                  <a:lnTo>
                    <a:pt x="142" y="23"/>
                  </a:lnTo>
                  <a:lnTo>
                    <a:pt x="142" y="19"/>
                  </a:lnTo>
                  <a:lnTo>
                    <a:pt x="139" y="16"/>
                  </a:lnTo>
                  <a:lnTo>
                    <a:pt x="135" y="12"/>
                  </a:lnTo>
                  <a:lnTo>
                    <a:pt x="132" y="12"/>
                  </a:lnTo>
                  <a:lnTo>
                    <a:pt x="130" y="12"/>
                  </a:lnTo>
                  <a:lnTo>
                    <a:pt x="125" y="7"/>
                  </a:lnTo>
                  <a:lnTo>
                    <a:pt x="120" y="7"/>
                  </a:lnTo>
                  <a:lnTo>
                    <a:pt x="120" y="7"/>
                  </a:lnTo>
                  <a:lnTo>
                    <a:pt x="118" y="7"/>
                  </a:lnTo>
                  <a:lnTo>
                    <a:pt x="118" y="7"/>
                  </a:lnTo>
                  <a:lnTo>
                    <a:pt x="116" y="7"/>
                  </a:lnTo>
                  <a:lnTo>
                    <a:pt x="113" y="7"/>
                  </a:lnTo>
                  <a:lnTo>
                    <a:pt x="113" y="4"/>
                  </a:lnTo>
                  <a:lnTo>
                    <a:pt x="111" y="7"/>
                  </a:lnTo>
                  <a:lnTo>
                    <a:pt x="109" y="7"/>
                  </a:lnTo>
                  <a:lnTo>
                    <a:pt x="109" y="7"/>
                  </a:lnTo>
                  <a:lnTo>
                    <a:pt x="109" y="7"/>
                  </a:lnTo>
                  <a:lnTo>
                    <a:pt x="106" y="7"/>
                  </a:lnTo>
                  <a:lnTo>
                    <a:pt x="106" y="4"/>
                  </a:lnTo>
                  <a:lnTo>
                    <a:pt x="104" y="4"/>
                  </a:lnTo>
                  <a:lnTo>
                    <a:pt x="104" y="4"/>
                  </a:lnTo>
                  <a:lnTo>
                    <a:pt x="102" y="7"/>
                  </a:lnTo>
                  <a:lnTo>
                    <a:pt x="97" y="7"/>
                  </a:lnTo>
                  <a:lnTo>
                    <a:pt x="97" y="9"/>
                  </a:lnTo>
                  <a:lnTo>
                    <a:pt x="94" y="9"/>
                  </a:lnTo>
                  <a:lnTo>
                    <a:pt x="92" y="4"/>
                  </a:lnTo>
                  <a:lnTo>
                    <a:pt x="92" y="4"/>
                  </a:lnTo>
                  <a:lnTo>
                    <a:pt x="90" y="4"/>
                  </a:lnTo>
                  <a:lnTo>
                    <a:pt x="87" y="4"/>
                  </a:lnTo>
                  <a:lnTo>
                    <a:pt x="85" y="2"/>
                  </a:lnTo>
                  <a:lnTo>
                    <a:pt x="85" y="0"/>
                  </a:lnTo>
                  <a:lnTo>
                    <a:pt x="78" y="14"/>
                  </a:lnTo>
                  <a:lnTo>
                    <a:pt x="76" y="12"/>
                  </a:lnTo>
                  <a:lnTo>
                    <a:pt x="76" y="9"/>
                  </a:lnTo>
                  <a:lnTo>
                    <a:pt x="73" y="7"/>
                  </a:lnTo>
                  <a:lnTo>
                    <a:pt x="71" y="7"/>
                  </a:lnTo>
                  <a:lnTo>
                    <a:pt x="71" y="9"/>
                  </a:lnTo>
                  <a:lnTo>
                    <a:pt x="71" y="9"/>
                  </a:lnTo>
                  <a:lnTo>
                    <a:pt x="68" y="12"/>
                  </a:lnTo>
                  <a:lnTo>
                    <a:pt x="68" y="12"/>
                  </a:lnTo>
                  <a:lnTo>
                    <a:pt x="66" y="12"/>
                  </a:lnTo>
                  <a:lnTo>
                    <a:pt x="61" y="12"/>
                  </a:lnTo>
                  <a:lnTo>
                    <a:pt x="61" y="9"/>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0000"/>
                </a:solidFill>
                <a:effectLst/>
                <a:uLnTx/>
                <a:uFillTx/>
                <a:latin typeface="Arial"/>
              </a:endParaRPr>
            </a:p>
          </p:txBody>
        </p:sp>
        <p:sp>
          <p:nvSpPr>
            <p:cNvPr id="6011" name="Freeform 1120">
              <a:extLst>
                <a:ext uri="{FF2B5EF4-FFF2-40B4-BE49-F238E27FC236}">
                  <a16:creationId xmlns:a16="http://schemas.microsoft.com/office/drawing/2014/main" id="{B2EBF563-0F09-4DA2-82BA-92CAAEA5BE84}"/>
                </a:ext>
              </a:extLst>
            </p:cNvPr>
            <p:cNvSpPr>
              <a:spLocks/>
            </p:cNvSpPr>
            <p:nvPr/>
          </p:nvSpPr>
          <p:spPr bwMode="auto">
            <a:xfrm>
              <a:off x="2107453" y="4822791"/>
              <a:ext cx="296862" cy="471488"/>
            </a:xfrm>
            <a:custGeom>
              <a:avLst/>
              <a:gdLst>
                <a:gd name="T0" fmla="*/ 187 w 187"/>
                <a:gd name="T1" fmla="*/ 2 h 297"/>
                <a:gd name="T2" fmla="*/ 182 w 187"/>
                <a:gd name="T3" fmla="*/ 16 h 297"/>
                <a:gd name="T4" fmla="*/ 182 w 187"/>
                <a:gd name="T5" fmla="*/ 40 h 297"/>
                <a:gd name="T6" fmla="*/ 182 w 187"/>
                <a:gd name="T7" fmla="*/ 54 h 297"/>
                <a:gd name="T8" fmla="*/ 184 w 187"/>
                <a:gd name="T9" fmla="*/ 64 h 297"/>
                <a:gd name="T10" fmla="*/ 187 w 187"/>
                <a:gd name="T11" fmla="*/ 71 h 297"/>
                <a:gd name="T12" fmla="*/ 179 w 187"/>
                <a:gd name="T13" fmla="*/ 82 h 297"/>
                <a:gd name="T14" fmla="*/ 179 w 187"/>
                <a:gd name="T15" fmla="*/ 90 h 297"/>
                <a:gd name="T16" fmla="*/ 170 w 187"/>
                <a:gd name="T17" fmla="*/ 104 h 297"/>
                <a:gd name="T18" fmla="*/ 158 w 187"/>
                <a:gd name="T19" fmla="*/ 113 h 297"/>
                <a:gd name="T20" fmla="*/ 142 w 187"/>
                <a:gd name="T21" fmla="*/ 120 h 297"/>
                <a:gd name="T22" fmla="*/ 118 w 187"/>
                <a:gd name="T23" fmla="*/ 137 h 297"/>
                <a:gd name="T24" fmla="*/ 111 w 187"/>
                <a:gd name="T25" fmla="*/ 146 h 297"/>
                <a:gd name="T26" fmla="*/ 104 w 187"/>
                <a:gd name="T27" fmla="*/ 151 h 297"/>
                <a:gd name="T28" fmla="*/ 87 w 187"/>
                <a:gd name="T29" fmla="*/ 165 h 297"/>
                <a:gd name="T30" fmla="*/ 80 w 187"/>
                <a:gd name="T31" fmla="*/ 182 h 297"/>
                <a:gd name="T32" fmla="*/ 87 w 187"/>
                <a:gd name="T33" fmla="*/ 189 h 297"/>
                <a:gd name="T34" fmla="*/ 92 w 187"/>
                <a:gd name="T35" fmla="*/ 210 h 297"/>
                <a:gd name="T36" fmla="*/ 94 w 187"/>
                <a:gd name="T37" fmla="*/ 229 h 297"/>
                <a:gd name="T38" fmla="*/ 94 w 187"/>
                <a:gd name="T39" fmla="*/ 243 h 297"/>
                <a:gd name="T40" fmla="*/ 87 w 187"/>
                <a:gd name="T41" fmla="*/ 257 h 297"/>
                <a:gd name="T42" fmla="*/ 61 w 187"/>
                <a:gd name="T43" fmla="*/ 267 h 297"/>
                <a:gd name="T44" fmla="*/ 50 w 187"/>
                <a:gd name="T45" fmla="*/ 274 h 297"/>
                <a:gd name="T46" fmla="*/ 42 w 187"/>
                <a:gd name="T47" fmla="*/ 283 h 297"/>
                <a:gd name="T48" fmla="*/ 50 w 187"/>
                <a:gd name="T49" fmla="*/ 286 h 297"/>
                <a:gd name="T50" fmla="*/ 35 w 187"/>
                <a:gd name="T51" fmla="*/ 288 h 297"/>
                <a:gd name="T52" fmla="*/ 31 w 187"/>
                <a:gd name="T53" fmla="*/ 236 h 297"/>
                <a:gd name="T54" fmla="*/ 26 w 187"/>
                <a:gd name="T55" fmla="*/ 212 h 297"/>
                <a:gd name="T56" fmla="*/ 35 w 187"/>
                <a:gd name="T57" fmla="*/ 201 h 297"/>
                <a:gd name="T58" fmla="*/ 50 w 187"/>
                <a:gd name="T59" fmla="*/ 160 h 297"/>
                <a:gd name="T60" fmla="*/ 50 w 187"/>
                <a:gd name="T61" fmla="*/ 141 h 297"/>
                <a:gd name="T62" fmla="*/ 50 w 187"/>
                <a:gd name="T63" fmla="*/ 116 h 297"/>
                <a:gd name="T64" fmla="*/ 35 w 187"/>
                <a:gd name="T65" fmla="*/ 101 h 297"/>
                <a:gd name="T66" fmla="*/ 12 w 187"/>
                <a:gd name="T67" fmla="*/ 97 h 297"/>
                <a:gd name="T68" fmla="*/ 2 w 187"/>
                <a:gd name="T69" fmla="*/ 85 h 297"/>
                <a:gd name="T70" fmla="*/ 57 w 187"/>
                <a:gd name="T71" fmla="*/ 61 h 297"/>
                <a:gd name="T72" fmla="*/ 64 w 187"/>
                <a:gd name="T73" fmla="*/ 71 h 297"/>
                <a:gd name="T74" fmla="*/ 78 w 187"/>
                <a:gd name="T75" fmla="*/ 71 h 297"/>
                <a:gd name="T76" fmla="*/ 80 w 187"/>
                <a:gd name="T77" fmla="*/ 85 h 297"/>
                <a:gd name="T78" fmla="*/ 76 w 187"/>
                <a:gd name="T79" fmla="*/ 94 h 297"/>
                <a:gd name="T80" fmla="*/ 80 w 187"/>
                <a:gd name="T81" fmla="*/ 104 h 297"/>
                <a:gd name="T82" fmla="*/ 87 w 187"/>
                <a:gd name="T83" fmla="*/ 111 h 297"/>
                <a:gd name="T84" fmla="*/ 90 w 187"/>
                <a:gd name="T85" fmla="*/ 116 h 297"/>
                <a:gd name="T86" fmla="*/ 92 w 187"/>
                <a:gd name="T87" fmla="*/ 113 h 297"/>
                <a:gd name="T88" fmla="*/ 92 w 187"/>
                <a:gd name="T89" fmla="*/ 106 h 297"/>
                <a:gd name="T90" fmla="*/ 97 w 187"/>
                <a:gd name="T91" fmla="*/ 99 h 297"/>
                <a:gd name="T92" fmla="*/ 102 w 187"/>
                <a:gd name="T93" fmla="*/ 90 h 297"/>
                <a:gd name="T94" fmla="*/ 104 w 187"/>
                <a:gd name="T95" fmla="*/ 78 h 297"/>
                <a:gd name="T96" fmla="*/ 94 w 187"/>
                <a:gd name="T97" fmla="*/ 64 h 297"/>
                <a:gd name="T98" fmla="*/ 85 w 187"/>
                <a:gd name="T99" fmla="*/ 52 h 297"/>
                <a:gd name="T100" fmla="*/ 83 w 187"/>
                <a:gd name="T101" fmla="*/ 38 h 297"/>
                <a:gd name="T102" fmla="*/ 85 w 187"/>
                <a:gd name="T103" fmla="*/ 23 h 297"/>
                <a:gd name="T104" fmla="*/ 104 w 187"/>
                <a:gd name="T105" fmla="*/ 16 h 297"/>
                <a:gd name="T106" fmla="*/ 111 w 187"/>
                <a:gd name="T107" fmla="*/ 21 h 297"/>
                <a:gd name="T108" fmla="*/ 120 w 187"/>
                <a:gd name="T109" fmla="*/ 16 h 297"/>
                <a:gd name="T110" fmla="*/ 139 w 187"/>
                <a:gd name="T111" fmla="*/ 14 h 297"/>
                <a:gd name="T112" fmla="*/ 154 w 187"/>
                <a:gd name="T113" fmla="*/ 14 h 297"/>
                <a:gd name="T114" fmla="*/ 175 w 187"/>
                <a:gd name="T115" fmla="*/ 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7" h="297">
                  <a:moveTo>
                    <a:pt x="184" y="0"/>
                  </a:moveTo>
                  <a:lnTo>
                    <a:pt x="187" y="0"/>
                  </a:lnTo>
                  <a:lnTo>
                    <a:pt x="187" y="2"/>
                  </a:lnTo>
                  <a:lnTo>
                    <a:pt x="187" y="2"/>
                  </a:lnTo>
                  <a:lnTo>
                    <a:pt x="187" y="7"/>
                  </a:lnTo>
                  <a:lnTo>
                    <a:pt x="187" y="9"/>
                  </a:lnTo>
                  <a:lnTo>
                    <a:pt x="184" y="12"/>
                  </a:lnTo>
                  <a:lnTo>
                    <a:pt x="182" y="16"/>
                  </a:lnTo>
                  <a:lnTo>
                    <a:pt x="179" y="21"/>
                  </a:lnTo>
                  <a:lnTo>
                    <a:pt x="182" y="28"/>
                  </a:lnTo>
                  <a:lnTo>
                    <a:pt x="182" y="35"/>
                  </a:lnTo>
                  <a:lnTo>
                    <a:pt x="182" y="40"/>
                  </a:lnTo>
                  <a:lnTo>
                    <a:pt x="179" y="42"/>
                  </a:lnTo>
                  <a:lnTo>
                    <a:pt x="179" y="45"/>
                  </a:lnTo>
                  <a:lnTo>
                    <a:pt x="182" y="45"/>
                  </a:lnTo>
                  <a:lnTo>
                    <a:pt x="182" y="54"/>
                  </a:lnTo>
                  <a:lnTo>
                    <a:pt x="182" y="61"/>
                  </a:lnTo>
                  <a:lnTo>
                    <a:pt x="182" y="64"/>
                  </a:lnTo>
                  <a:lnTo>
                    <a:pt x="182" y="66"/>
                  </a:lnTo>
                  <a:lnTo>
                    <a:pt x="184" y="64"/>
                  </a:lnTo>
                  <a:lnTo>
                    <a:pt x="184" y="66"/>
                  </a:lnTo>
                  <a:lnTo>
                    <a:pt x="184" y="68"/>
                  </a:lnTo>
                  <a:lnTo>
                    <a:pt x="184" y="68"/>
                  </a:lnTo>
                  <a:lnTo>
                    <a:pt x="187" y="71"/>
                  </a:lnTo>
                  <a:lnTo>
                    <a:pt x="187" y="73"/>
                  </a:lnTo>
                  <a:lnTo>
                    <a:pt x="184" y="75"/>
                  </a:lnTo>
                  <a:lnTo>
                    <a:pt x="184" y="80"/>
                  </a:lnTo>
                  <a:lnTo>
                    <a:pt x="179" y="82"/>
                  </a:lnTo>
                  <a:lnTo>
                    <a:pt x="184" y="82"/>
                  </a:lnTo>
                  <a:lnTo>
                    <a:pt x="182" y="87"/>
                  </a:lnTo>
                  <a:lnTo>
                    <a:pt x="182" y="87"/>
                  </a:lnTo>
                  <a:lnTo>
                    <a:pt x="179" y="90"/>
                  </a:lnTo>
                  <a:lnTo>
                    <a:pt x="175" y="97"/>
                  </a:lnTo>
                  <a:lnTo>
                    <a:pt x="172" y="99"/>
                  </a:lnTo>
                  <a:lnTo>
                    <a:pt x="168" y="101"/>
                  </a:lnTo>
                  <a:lnTo>
                    <a:pt x="170" y="104"/>
                  </a:lnTo>
                  <a:lnTo>
                    <a:pt x="168" y="106"/>
                  </a:lnTo>
                  <a:lnTo>
                    <a:pt x="165" y="108"/>
                  </a:lnTo>
                  <a:lnTo>
                    <a:pt x="161" y="111"/>
                  </a:lnTo>
                  <a:lnTo>
                    <a:pt x="158" y="113"/>
                  </a:lnTo>
                  <a:lnTo>
                    <a:pt x="156" y="116"/>
                  </a:lnTo>
                  <a:lnTo>
                    <a:pt x="151" y="118"/>
                  </a:lnTo>
                  <a:lnTo>
                    <a:pt x="146" y="118"/>
                  </a:lnTo>
                  <a:lnTo>
                    <a:pt x="142" y="120"/>
                  </a:lnTo>
                  <a:lnTo>
                    <a:pt x="128" y="125"/>
                  </a:lnTo>
                  <a:lnTo>
                    <a:pt x="120" y="132"/>
                  </a:lnTo>
                  <a:lnTo>
                    <a:pt x="118" y="137"/>
                  </a:lnTo>
                  <a:lnTo>
                    <a:pt x="118" y="137"/>
                  </a:lnTo>
                  <a:lnTo>
                    <a:pt x="116" y="137"/>
                  </a:lnTo>
                  <a:lnTo>
                    <a:pt x="113" y="137"/>
                  </a:lnTo>
                  <a:lnTo>
                    <a:pt x="116" y="139"/>
                  </a:lnTo>
                  <a:lnTo>
                    <a:pt x="111" y="146"/>
                  </a:lnTo>
                  <a:lnTo>
                    <a:pt x="109" y="149"/>
                  </a:lnTo>
                  <a:lnTo>
                    <a:pt x="106" y="149"/>
                  </a:lnTo>
                  <a:lnTo>
                    <a:pt x="106" y="146"/>
                  </a:lnTo>
                  <a:lnTo>
                    <a:pt x="104" y="151"/>
                  </a:lnTo>
                  <a:lnTo>
                    <a:pt x="102" y="151"/>
                  </a:lnTo>
                  <a:lnTo>
                    <a:pt x="97" y="156"/>
                  </a:lnTo>
                  <a:lnTo>
                    <a:pt x="92" y="163"/>
                  </a:lnTo>
                  <a:lnTo>
                    <a:pt x="87" y="165"/>
                  </a:lnTo>
                  <a:lnTo>
                    <a:pt x="85" y="167"/>
                  </a:lnTo>
                  <a:lnTo>
                    <a:pt x="80" y="167"/>
                  </a:lnTo>
                  <a:lnTo>
                    <a:pt x="80" y="177"/>
                  </a:lnTo>
                  <a:lnTo>
                    <a:pt x="80" y="182"/>
                  </a:lnTo>
                  <a:lnTo>
                    <a:pt x="85" y="184"/>
                  </a:lnTo>
                  <a:lnTo>
                    <a:pt x="87" y="186"/>
                  </a:lnTo>
                  <a:lnTo>
                    <a:pt x="87" y="189"/>
                  </a:lnTo>
                  <a:lnTo>
                    <a:pt x="87" y="189"/>
                  </a:lnTo>
                  <a:lnTo>
                    <a:pt x="87" y="193"/>
                  </a:lnTo>
                  <a:lnTo>
                    <a:pt x="92" y="203"/>
                  </a:lnTo>
                  <a:lnTo>
                    <a:pt x="92" y="210"/>
                  </a:lnTo>
                  <a:lnTo>
                    <a:pt x="92" y="210"/>
                  </a:lnTo>
                  <a:lnTo>
                    <a:pt x="94" y="210"/>
                  </a:lnTo>
                  <a:lnTo>
                    <a:pt x="94" y="210"/>
                  </a:lnTo>
                  <a:lnTo>
                    <a:pt x="94" y="217"/>
                  </a:lnTo>
                  <a:lnTo>
                    <a:pt x="94" y="229"/>
                  </a:lnTo>
                  <a:lnTo>
                    <a:pt x="90" y="245"/>
                  </a:lnTo>
                  <a:lnTo>
                    <a:pt x="90" y="248"/>
                  </a:lnTo>
                  <a:lnTo>
                    <a:pt x="92" y="245"/>
                  </a:lnTo>
                  <a:lnTo>
                    <a:pt x="94" y="243"/>
                  </a:lnTo>
                  <a:lnTo>
                    <a:pt x="94" y="243"/>
                  </a:lnTo>
                  <a:lnTo>
                    <a:pt x="94" y="248"/>
                  </a:lnTo>
                  <a:lnTo>
                    <a:pt x="92" y="250"/>
                  </a:lnTo>
                  <a:lnTo>
                    <a:pt x="87" y="257"/>
                  </a:lnTo>
                  <a:lnTo>
                    <a:pt x="83" y="260"/>
                  </a:lnTo>
                  <a:lnTo>
                    <a:pt x="76" y="262"/>
                  </a:lnTo>
                  <a:lnTo>
                    <a:pt x="73" y="262"/>
                  </a:lnTo>
                  <a:lnTo>
                    <a:pt x="61" y="267"/>
                  </a:lnTo>
                  <a:lnTo>
                    <a:pt x="59" y="269"/>
                  </a:lnTo>
                  <a:lnTo>
                    <a:pt x="57" y="271"/>
                  </a:lnTo>
                  <a:lnTo>
                    <a:pt x="52" y="274"/>
                  </a:lnTo>
                  <a:lnTo>
                    <a:pt x="50" y="274"/>
                  </a:lnTo>
                  <a:lnTo>
                    <a:pt x="50" y="276"/>
                  </a:lnTo>
                  <a:lnTo>
                    <a:pt x="47" y="278"/>
                  </a:lnTo>
                  <a:lnTo>
                    <a:pt x="42" y="283"/>
                  </a:lnTo>
                  <a:lnTo>
                    <a:pt x="42" y="283"/>
                  </a:lnTo>
                  <a:lnTo>
                    <a:pt x="45" y="286"/>
                  </a:lnTo>
                  <a:lnTo>
                    <a:pt x="47" y="288"/>
                  </a:lnTo>
                  <a:lnTo>
                    <a:pt x="50" y="288"/>
                  </a:lnTo>
                  <a:lnTo>
                    <a:pt x="50" y="286"/>
                  </a:lnTo>
                  <a:lnTo>
                    <a:pt x="50" y="297"/>
                  </a:lnTo>
                  <a:lnTo>
                    <a:pt x="47" y="297"/>
                  </a:lnTo>
                  <a:lnTo>
                    <a:pt x="35" y="297"/>
                  </a:lnTo>
                  <a:lnTo>
                    <a:pt x="35" y="288"/>
                  </a:lnTo>
                  <a:lnTo>
                    <a:pt x="35" y="281"/>
                  </a:lnTo>
                  <a:lnTo>
                    <a:pt x="35" y="278"/>
                  </a:lnTo>
                  <a:lnTo>
                    <a:pt x="33" y="250"/>
                  </a:lnTo>
                  <a:lnTo>
                    <a:pt x="31" y="236"/>
                  </a:lnTo>
                  <a:lnTo>
                    <a:pt x="28" y="224"/>
                  </a:lnTo>
                  <a:lnTo>
                    <a:pt x="26" y="219"/>
                  </a:lnTo>
                  <a:lnTo>
                    <a:pt x="28" y="217"/>
                  </a:lnTo>
                  <a:lnTo>
                    <a:pt x="26" y="212"/>
                  </a:lnTo>
                  <a:lnTo>
                    <a:pt x="28" y="210"/>
                  </a:lnTo>
                  <a:lnTo>
                    <a:pt x="31" y="205"/>
                  </a:lnTo>
                  <a:lnTo>
                    <a:pt x="33" y="203"/>
                  </a:lnTo>
                  <a:lnTo>
                    <a:pt x="35" y="201"/>
                  </a:lnTo>
                  <a:lnTo>
                    <a:pt x="42" y="191"/>
                  </a:lnTo>
                  <a:lnTo>
                    <a:pt x="45" y="182"/>
                  </a:lnTo>
                  <a:lnTo>
                    <a:pt x="50" y="170"/>
                  </a:lnTo>
                  <a:lnTo>
                    <a:pt x="50" y="160"/>
                  </a:lnTo>
                  <a:lnTo>
                    <a:pt x="47" y="156"/>
                  </a:lnTo>
                  <a:lnTo>
                    <a:pt x="47" y="151"/>
                  </a:lnTo>
                  <a:lnTo>
                    <a:pt x="50" y="146"/>
                  </a:lnTo>
                  <a:lnTo>
                    <a:pt x="50" y="141"/>
                  </a:lnTo>
                  <a:lnTo>
                    <a:pt x="52" y="137"/>
                  </a:lnTo>
                  <a:lnTo>
                    <a:pt x="52" y="134"/>
                  </a:lnTo>
                  <a:lnTo>
                    <a:pt x="52" y="123"/>
                  </a:lnTo>
                  <a:lnTo>
                    <a:pt x="50" y="116"/>
                  </a:lnTo>
                  <a:lnTo>
                    <a:pt x="50" y="113"/>
                  </a:lnTo>
                  <a:lnTo>
                    <a:pt x="50" y="108"/>
                  </a:lnTo>
                  <a:lnTo>
                    <a:pt x="47" y="106"/>
                  </a:lnTo>
                  <a:lnTo>
                    <a:pt x="35" y="101"/>
                  </a:lnTo>
                  <a:lnTo>
                    <a:pt x="28" y="99"/>
                  </a:lnTo>
                  <a:lnTo>
                    <a:pt x="24" y="97"/>
                  </a:lnTo>
                  <a:lnTo>
                    <a:pt x="19" y="97"/>
                  </a:lnTo>
                  <a:lnTo>
                    <a:pt x="12" y="97"/>
                  </a:lnTo>
                  <a:lnTo>
                    <a:pt x="5" y="97"/>
                  </a:lnTo>
                  <a:lnTo>
                    <a:pt x="5" y="90"/>
                  </a:lnTo>
                  <a:lnTo>
                    <a:pt x="2" y="90"/>
                  </a:lnTo>
                  <a:lnTo>
                    <a:pt x="2" y="85"/>
                  </a:lnTo>
                  <a:lnTo>
                    <a:pt x="0" y="80"/>
                  </a:lnTo>
                  <a:lnTo>
                    <a:pt x="52" y="61"/>
                  </a:lnTo>
                  <a:lnTo>
                    <a:pt x="54" y="61"/>
                  </a:lnTo>
                  <a:lnTo>
                    <a:pt x="57" y="61"/>
                  </a:lnTo>
                  <a:lnTo>
                    <a:pt x="57" y="64"/>
                  </a:lnTo>
                  <a:lnTo>
                    <a:pt x="61" y="68"/>
                  </a:lnTo>
                  <a:lnTo>
                    <a:pt x="64" y="71"/>
                  </a:lnTo>
                  <a:lnTo>
                    <a:pt x="64" y="71"/>
                  </a:lnTo>
                  <a:lnTo>
                    <a:pt x="66" y="71"/>
                  </a:lnTo>
                  <a:lnTo>
                    <a:pt x="76" y="68"/>
                  </a:lnTo>
                  <a:lnTo>
                    <a:pt x="78" y="68"/>
                  </a:lnTo>
                  <a:lnTo>
                    <a:pt x="78" y="71"/>
                  </a:lnTo>
                  <a:lnTo>
                    <a:pt x="80" y="75"/>
                  </a:lnTo>
                  <a:lnTo>
                    <a:pt x="80" y="78"/>
                  </a:lnTo>
                  <a:lnTo>
                    <a:pt x="80" y="82"/>
                  </a:lnTo>
                  <a:lnTo>
                    <a:pt x="80" y="85"/>
                  </a:lnTo>
                  <a:lnTo>
                    <a:pt x="78" y="87"/>
                  </a:lnTo>
                  <a:lnTo>
                    <a:pt x="78" y="90"/>
                  </a:lnTo>
                  <a:lnTo>
                    <a:pt x="76" y="92"/>
                  </a:lnTo>
                  <a:lnTo>
                    <a:pt x="76" y="94"/>
                  </a:lnTo>
                  <a:lnTo>
                    <a:pt x="76" y="97"/>
                  </a:lnTo>
                  <a:lnTo>
                    <a:pt x="78" y="101"/>
                  </a:lnTo>
                  <a:lnTo>
                    <a:pt x="80" y="104"/>
                  </a:lnTo>
                  <a:lnTo>
                    <a:pt x="80" y="104"/>
                  </a:lnTo>
                  <a:lnTo>
                    <a:pt x="80" y="104"/>
                  </a:lnTo>
                  <a:lnTo>
                    <a:pt x="85" y="108"/>
                  </a:lnTo>
                  <a:lnTo>
                    <a:pt x="85" y="108"/>
                  </a:lnTo>
                  <a:lnTo>
                    <a:pt x="87" y="111"/>
                  </a:lnTo>
                  <a:lnTo>
                    <a:pt x="90" y="111"/>
                  </a:lnTo>
                  <a:lnTo>
                    <a:pt x="90" y="113"/>
                  </a:lnTo>
                  <a:lnTo>
                    <a:pt x="90" y="113"/>
                  </a:lnTo>
                  <a:lnTo>
                    <a:pt x="90" y="116"/>
                  </a:lnTo>
                  <a:lnTo>
                    <a:pt x="90" y="116"/>
                  </a:lnTo>
                  <a:lnTo>
                    <a:pt x="92" y="116"/>
                  </a:lnTo>
                  <a:lnTo>
                    <a:pt x="92" y="116"/>
                  </a:lnTo>
                  <a:lnTo>
                    <a:pt x="92" y="113"/>
                  </a:lnTo>
                  <a:lnTo>
                    <a:pt x="92" y="111"/>
                  </a:lnTo>
                  <a:lnTo>
                    <a:pt x="92" y="108"/>
                  </a:lnTo>
                  <a:lnTo>
                    <a:pt x="92" y="108"/>
                  </a:lnTo>
                  <a:lnTo>
                    <a:pt x="92" y="106"/>
                  </a:lnTo>
                  <a:lnTo>
                    <a:pt x="92" y="104"/>
                  </a:lnTo>
                  <a:lnTo>
                    <a:pt x="92" y="104"/>
                  </a:lnTo>
                  <a:lnTo>
                    <a:pt x="92" y="101"/>
                  </a:lnTo>
                  <a:lnTo>
                    <a:pt x="97" y="99"/>
                  </a:lnTo>
                  <a:lnTo>
                    <a:pt x="99" y="99"/>
                  </a:lnTo>
                  <a:lnTo>
                    <a:pt x="102" y="97"/>
                  </a:lnTo>
                  <a:lnTo>
                    <a:pt x="102" y="97"/>
                  </a:lnTo>
                  <a:lnTo>
                    <a:pt x="102" y="90"/>
                  </a:lnTo>
                  <a:lnTo>
                    <a:pt x="104" y="87"/>
                  </a:lnTo>
                  <a:lnTo>
                    <a:pt x="102" y="82"/>
                  </a:lnTo>
                  <a:lnTo>
                    <a:pt x="104" y="80"/>
                  </a:lnTo>
                  <a:lnTo>
                    <a:pt x="104" y="78"/>
                  </a:lnTo>
                  <a:lnTo>
                    <a:pt x="104" y="73"/>
                  </a:lnTo>
                  <a:lnTo>
                    <a:pt x="102" y="71"/>
                  </a:lnTo>
                  <a:lnTo>
                    <a:pt x="97" y="66"/>
                  </a:lnTo>
                  <a:lnTo>
                    <a:pt x="94" y="64"/>
                  </a:lnTo>
                  <a:lnTo>
                    <a:pt x="90" y="59"/>
                  </a:lnTo>
                  <a:lnTo>
                    <a:pt x="87" y="56"/>
                  </a:lnTo>
                  <a:lnTo>
                    <a:pt x="85" y="52"/>
                  </a:lnTo>
                  <a:lnTo>
                    <a:pt x="85" y="52"/>
                  </a:lnTo>
                  <a:lnTo>
                    <a:pt x="85" y="49"/>
                  </a:lnTo>
                  <a:lnTo>
                    <a:pt x="85" y="45"/>
                  </a:lnTo>
                  <a:lnTo>
                    <a:pt x="83" y="42"/>
                  </a:lnTo>
                  <a:lnTo>
                    <a:pt x="83" y="38"/>
                  </a:lnTo>
                  <a:lnTo>
                    <a:pt x="83" y="35"/>
                  </a:lnTo>
                  <a:lnTo>
                    <a:pt x="83" y="33"/>
                  </a:lnTo>
                  <a:lnTo>
                    <a:pt x="83" y="28"/>
                  </a:lnTo>
                  <a:lnTo>
                    <a:pt x="85" y="23"/>
                  </a:lnTo>
                  <a:lnTo>
                    <a:pt x="87" y="19"/>
                  </a:lnTo>
                  <a:lnTo>
                    <a:pt x="99" y="19"/>
                  </a:lnTo>
                  <a:lnTo>
                    <a:pt x="102" y="19"/>
                  </a:lnTo>
                  <a:lnTo>
                    <a:pt x="104" y="16"/>
                  </a:lnTo>
                  <a:lnTo>
                    <a:pt x="106" y="16"/>
                  </a:lnTo>
                  <a:lnTo>
                    <a:pt x="109" y="16"/>
                  </a:lnTo>
                  <a:lnTo>
                    <a:pt x="109" y="19"/>
                  </a:lnTo>
                  <a:lnTo>
                    <a:pt x="111" y="21"/>
                  </a:lnTo>
                  <a:lnTo>
                    <a:pt x="113" y="21"/>
                  </a:lnTo>
                  <a:lnTo>
                    <a:pt x="116" y="19"/>
                  </a:lnTo>
                  <a:lnTo>
                    <a:pt x="118" y="19"/>
                  </a:lnTo>
                  <a:lnTo>
                    <a:pt x="120" y="16"/>
                  </a:lnTo>
                  <a:lnTo>
                    <a:pt x="132" y="19"/>
                  </a:lnTo>
                  <a:lnTo>
                    <a:pt x="135" y="16"/>
                  </a:lnTo>
                  <a:lnTo>
                    <a:pt x="135" y="16"/>
                  </a:lnTo>
                  <a:lnTo>
                    <a:pt x="139" y="14"/>
                  </a:lnTo>
                  <a:lnTo>
                    <a:pt x="144" y="12"/>
                  </a:lnTo>
                  <a:lnTo>
                    <a:pt x="146" y="12"/>
                  </a:lnTo>
                  <a:lnTo>
                    <a:pt x="151" y="14"/>
                  </a:lnTo>
                  <a:lnTo>
                    <a:pt x="154" y="14"/>
                  </a:lnTo>
                  <a:lnTo>
                    <a:pt x="156" y="14"/>
                  </a:lnTo>
                  <a:lnTo>
                    <a:pt x="168" y="9"/>
                  </a:lnTo>
                  <a:lnTo>
                    <a:pt x="172" y="7"/>
                  </a:lnTo>
                  <a:lnTo>
                    <a:pt x="175" y="7"/>
                  </a:lnTo>
                  <a:lnTo>
                    <a:pt x="179" y="2"/>
                  </a:lnTo>
                  <a:lnTo>
                    <a:pt x="184" y="0"/>
                  </a:lnTo>
                  <a:lnTo>
                    <a:pt x="18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2" name="Freeform 1121">
              <a:extLst>
                <a:ext uri="{FF2B5EF4-FFF2-40B4-BE49-F238E27FC236}">
                  <a16:creationId xmlns:a16="http://schemas.microsoft.com/office/drawing/2014/main" id="{8426CFB8-D65E-4F09-AB24-4104B59E6D66}"/>
                </a:ext>
              </a:extLst>
            </p:cNvPr>
            <p:cNvSpPr>
              <a:spLocks/>
            </p:cNvSpPr>
            <p:nvPr/>
          </p:nvSpPr>
          <p:spPr bwMode="auto">
            <a:xfrm>
              <a:off x="2107453" y="4822791"/>
              <a:ext cx="296862" cy="471488"/>
            </a:xfrm>
            <a:custGeom>
              <a:avLst/>
              <a:gdLst>
                <a:gd name="T0" fmla="*/ 187 w 187"/>
                <a:gd name="T1" fmla="*/ 2 h 297"/>
                <a:gd name="T2" fmla="*/ 182 w 187"/>
                <a:gd name="T3" fmla="*/ 16 h 297"/>
                <a:gd name="T4" fmla="*/ 182 w 187"/>
                <a:gd name="T5" fmla="*/ 40 h 297"/>
                <a:gd name="T6" fmla="*/ 182 w 187"/>
                <a:gd name="T7" fmla="*/ 54 h 297"/>
                <a:gd name="T8" fmla="*/ 184 w 187"/>
                <a:gd name="T9" fmla="*/ 64 h 297"/>
                <a:gd name="T10" fmla="*/ 187 w 187"/>
                <a:gd name="T11" fmla="*/ 71 h 297"/>
                <a:gd name="T12" fmla="*/ 179 w 187"/>
                <a:gd name="T13" fmla="*/ 82 h 297"/>
                <a:gd name="T14" fmla="*/ 179 w 187"/>
                <a:gd name="T15" fmla="*/ 90 h 297"/>
                <a:gd name="T16" fmla="*/ 170 w 187"/>
                <a:gd name="T17" fmla="*/ 104 h 297"/>
                <a:gd name="T18" fmla="*/ 158 w 187"/>
                <a:gd name="T19" fmla="*/ 113 h 297"/>
                <a:gd name="T20" fmla="*/ 142 w 187"/>
                <a:gd name="T21" fmla="*/ 120 h 297"/>
                <a:gd name="T22" fmla="*/ 118 w 187"/>
                <a:gd name="T23" fmla="*/ 137 h 297"/>
                <a:gd name="T24" fmla="*/ 111 w 187"/>
                <a:gd name="T25" fmla="*/ 146 h 297"/>
                <a:gd name="T26" fmla="*/ 104 w 187"/>
                <a:gd name="T27" fmla="*/ 151 h 297"/>
                <a:gd name="T28" fmla="*/ 87 w 187"/>
                <a:gd name="T29" fmla="*/ 165 h 297"/>
                <a:gd name="T30" fmla="*/ 80 w 187"/>
                <a:gd name="T31" fmla="*/ 182 h 297"/>
                <a:gd name="T32" fmla="*/ 87 w 187"/>
                <a:gd name="T33" fmla="*/ 189 h 297"/>
                <a:gd name="T34" fmla="*/ 92 w 187"/>
                <a:gd name="T35" fmla="*/ 210 h 297"/>
                <a:gd name="T36" fmla="*/ 94 w 187"/>
                <a:gd name="T37" fmla="*/ 229 h 297"/>
                <a:gd name="T38" fmla="*/ 94 w 187"/>
                <a:gd name="T39" fmla="*/ 243 h 297"/>
                <a:gd name="T40" fmla="*/ 87 w 187"/>
                <a:gd name="T41" fmla="*/ 257 h 297"/>
                <a:gd name="T42" fmla="*/ 61 w 187"/>
                <a:gd name="T43" fmla="*/ 267 h 297"/>
                <a:gd name="T44" fmla="*/ 50 w 187"/>
                <a:gd name="T45" fmla="*/ 274 h 297"/>
                <a:gd name="T46" fmla="*/ 42 w 187"/>
                <a:gd name="T47" fmla="*/ 283 h 297"/>
                <a:gd name="T48" fmla="*/ 50 w 187"/>
                <a:gd name="T49" fmla="*/ 286 h 297"/>
                <a:gd name="T50" fmla="*/ 35 w 187"/>
                <a:gd name="T51" fmla="*/ 288 h 297"/>
                <a:gd name="T52" fmla="*/ 31 w 187"/>
                <a:gd name="T53" fmla="*/ 236 h 297"/>
                <a:gd name="T54" fmla="*/ 26 w 187"/>
                <a:gd name="T55" fmla="*/ 212 h 297"/>
                <a:gd name="T56" fmla="*/ 35 w 187"/>
                <a:gd name="T57" fmla="*/ 201 h 297"/>
                <a:gd name="T58" fmla="*/ 50 w 187"/>
                <a:gd name="T59" fmla="*/ 160 h 297"/>
                <a:gd name="T60" fmla="*/ 50 w 187"/>
                <a:gd name="T61" fmla="*/ 141 h 297"/>
                <a:gd name="T62" fmla="*/ 50 w 187"/>
                <a:gd name="T63" fmla="*/ 116 h 297"/>
                <a:gd name="T64" fmla="*/ 35 w 187"/>
                <a:gd name="T65" fmla="*/ 101 h 297"/>
                <a:gd name="T66" fmla="*/ 12 w 187"/>
                <a:gd name="T67" fmla="*/ 97 h 297"/>
                <a:gd name="T68" fmla="*/ 2 w 187"/>
                <a:gd name="T69" fmla="*/ 85 h 297"/>
                <a:gd name="T70" fmla="*/ 57 w 187"/>
                <a:gd name="T71" fmla="*/ 61 h 297"/>
                <a:gd name="T72" fmla="*/ 64 w 187"/>
                <a:gd name="T73" fmla="*/ 71 h 297"/>
                <a:gd name="T74" fmla="*/ 78 w 187"/>
                <a:gd name="T75" fmla="*/ 71 h 297"/>
                <a:gd name="T76" fmla="*/ 80 w 187"/>
                <a:gd name="T77" fmla="*/ 85 h 297"/>
                <a:gd name="T78" fmla="*/ 76 w 187"/>
                <a:gd name="T79" fmla="*/ 94 h 297"/>
                <a:gd name="T80" fmla="*/ 80 w 187"/>
                <a:gd name="T81" fmla="*/ 104 h 297"/>
                <a:gd name="T82" fmla="*/ 87 w 187"/>
                <a:gd name="T83" fmla="*/ 111 h 297"/>
                <a:gd name="T84" fmla="*/ 90 w 187"/>
                <a:gd name="T85" fmla="*/ 116 h 297"/>
                <a:gd name="T86" fmla="*/ 92 w 187"/>
                <a:gd name="T87" fmla="*/ 113 h 297"/>
                <a:gd name="T88" fmla="*/ 92 w 187"/>
                <a:gd name="T89" fmla="*/ 106 h 297"/>
                <a:gd name="T90" fmla="*/ 97 w 187"/>
                <a:gd name="T91" fmla="*/ 99 h 297"/>
                <a:gd name="T92" fmla="*/ 102 w 187"/>
                <a:gd name="T93" fmla="*/ 90 h 297"/>
                <a:gd name="T94" fmla="*/ 104 w 187"/>
                <a:gd name="T95" fmla="*/ 78 h 297"/>
                <a:gd name="T96" fmla="*/ 94 w 187"/>
                <a:gd name="T97" fmla="*/ 64 h 297"/>
                <a:gd name="T98" fmla="*/ 85 w 187"/>
                <a:gd name="T99" fmla="*/ 52 h 297"/>
                <a:gd name="T100" fmla="*/ 83 w 187"/>
                <a:gd name="T101" fmla="*/ 38 h 297"/>
                <a:gd name="T102" fmla="*/ 85 w 187"/>
                <a:gd name="T103" fmla="*/ 23 h 297"/>
                <a:gd name="T104" fmla="*/ 104 w 187"/>
                <a:gd name="T105" fmla="*/ 16 h 297"/>
                <a:gd name="T106" fmla="*/ 111 w 187"/>
                <a:gd name="T107" fmla="*/ 21 h 297"/>
                <a:gd name="T108" fmla="*/ 120 w 187"/>
                <a:gd name="T109" fmla="*/ 16 h 297"/>
                <a:gd name="T110" fmla="*/ 139 w 187"/>
                <a:gd name="T111" fmla="*/ 14 h 297"/>
                <a:gd name="T112" fmla="*/ 154 w 187"/>
                <a:gd name="T113" fmla="*/ 14 h 297"/>
                <a:gd name="T114" fmla="*/ 175 w 187"/>
                <a:gd name="T115" fmla="*/ 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7" h="297">
                  <a:moveTo>
                    <a:pt x="184" y="0"/>
                  </a:moveTo>
                  <a:lnTo>
                    <a:pt x="187" y="0"/>
                  </a:lnTo>
                  <a:lnTo>
                    <a:pt x="187" y="2"/>
                  </a:lnTo>
                  <a:lnTo>
                    <a:pt x="187" y="2"/>
                  </a:lnTo>
                  <a:lnTo>
                    <a:pt x="187" y="7"/>
                  </a:lnTo>
                  <a:lnTo>
                    <a:pt x="187" y="9"/>
                  </a:lnTo>
                  <a:lnTo>
                    <a:pt x="184" y="12"/>
                  </a:lnTo>
                  <a:lnTo>
                    <a:pt x="182" y="16"/>
                  </a:lnTo>
                  <a:lnTo>
                    <a:pt x="179" y="21"/>
                  </a:lnTo>
                  <a:lnTo>
                    <a:pt x="182" y="28"/>
                  </a:lnTo>
                  <a:lnTo>
                    <a:pt x="182" y="35"/>
                  </a:lnTo>
                  <a:lnTo>
                    <a:pt x="182" y="40"/>
                  </a:lnTo>
                  <a:lnTo>
                    <a:pt x="179" y="42"/>
                  </a:lnTo>
                  <a:lnTo>
                    <a:pt x="179" y="45"/>
                  </a:lnTo>
                  <a:lnTo>
                    <a:pt x="182" y="45"/>
                  </a:lnTo>
                  <a:lnTo>
                    <a:pt x="182" y="54"/>
                  </a:lnTo>
                  <a:lnTo>
                    <a:pt x="182" y="61"/>
                  </a:lnTo>
                  <a:lnTo>
                    <a:pt x="182" y="64"/>
                  </a:lnTo>
                  <a:lnTo>
                    <a:pt x="182" y="66"/>
                  </a:lnTo>
                  <a:lnTo>
                    <a:pt x="184" y="64"/>
                  </a:lnTo>
                  <a:lnTo>
                    <a:pt x="184" y="66"/>
                  </a:lnTo>
                  <a:lnTo>
                    <a:pt x="184" y="68"/>
                  </a:lnTo>
                  <a:lnTo>
                    <a:pt x="184" y="68"/>
                  </a:lnTo>
                  <a:lnTo>
                    <a:pt x="187" y="71"/>
                  </a:lnTo>
                  <a:lnTo>
                    <a:pt x="187" y="73"/>
                  </a:lnTo>
                  <a:lnTo>
                    <a:pt x="184" y="75"/>
                  </a:lnTo>
                  <a:lnTo>
                    <a:pt x="184" y="80"/>
                  </a:lnTo>
                  <a:lnTo>
                    <a:pt x="179" y="82"/>
                  </a:lnTo>
                  <a:lnTo>
                    <a:pt x="184" y="82"/>
                  </a:lnTo>
                  <a:lnTo>
                    <a:pt x="182" y="87"/>
                  </a:lnTo>
                  <a:lnTo>
                    <a:pt x="182" y="87"/>
                  </a:lnTo>
                  <a:lnTo>
                    <a:pt x="179" y="90"/>
                  </a:lnTo>
                  <a:lnTo>
                    <a:pt x="175" y="97"/>
                  </a:lnTo>
                  <a:lnTo>
                    <a:pt x="172" y="99"/>
                  </a:lnTo>
                  <a:lnTo>
                    <a:pt x="168" y="101"/>
                  </a:lnTo>
                  <a:lnTo>
                    <a:pt x="170" y="104"/>
                  </a:lnTo>
                  <a:lnTo>
                    <a:pt x="168" y="106"/>
                  </a:lnTo>
                  <a:lnTo>
                    <a:pt x="165" y="108"/>
                  </a:lnTo>
                  <a:lnTo>
                    <a:pt x="161" y="111"/>
                  </a:lnTo>
                  <a:lnTo>
                    <a:pt x="158" y="113"/>
                  </a:lnTo>
                  <a:lnTo>
                    <a:pt x="156" y="116"/>
                  </a:lnTo>
                  <a:lnTo>
                    <a:pt x="151" y="118"/>
                  </a:lnTo>
                  <a:lnTo>
                    <a:pt x="146" y="118"/>
                  </a:lnTo>
                  <a:lnTo>
                    <a:pt x="142" y="120"/>
                  </a:lnTo>
                  <a:lnTo>
                    <a:pt x="128" y="125"/>
                  </a:lnTo>
                  <a:lnTo>
                    <a:pt x="120" y="132"/>
                  </a:lnTo>
                  <a:lnTo>
                    <a:pt x="118" y="137"/>
                  </a:lnTo>
                  <a:lnTo>
                    <a:pt x="118" y="137"/>
                  </a:lnTo>
                  <a:lnTo>
                    <a:pt x="116" y="137"/>
                  </a:lnTo>
                  <a:lnTo>
                    <a:pt x="113" y="137"/>
                  </a:lnTo>
                  <a:lnTo>
                    <a:pt x="116" y="139"/>
                  </a:lnTo>
                  <a:lnTo>
                    <a:pt x="111" y="146"/>
                  </a:lnTo>
                  <a:lnTo>
                    <a:pt x="109" y="149"/>
                  </a:lnTo>
                  <a:lnTo>
                    <a:pt x="106" y="149"/>
                  </a:lnTo>
                  <a:lnTo>
                    <a:pt x="106" y="146"/>
                  </a:lnTo>
                  <a:lnTo>
                    <a:pt x="104" y="151"/>
                  </a:lnTo>
                  <a:lnTo>
                    <a:pt x="102" y="151"/>
                  </a:lnTo>
                  <a:lnTo>
                    <a:pt x="97" y="156"/>
                  </a:lnTo>
                  <a:lnTo>
                    <a:pt x="92" y="163"/>
                  </a:lnTo>
                  <a:lnTo>
                    <a:pt x="87" y="165"/>
                  </a:lnTo>
                  <a:lnTo>
                    <a:pt x="85" y="167"/>
                  </a:lnTo>
                  <a:lnTo>
                    <a:pt x="80" y="167"/>
                  </a:lnTo>
                  <a:lnTo>
                    <a:pt x="80" y="177"/>
                  </a:lnTo>
                  <a:lnTo>
                    <a:pt x="80" y="182"/>
                  </a:lnTo>
                  <a:lnTo>
                    <a:pt x="85" y="184"/>
                  </a:lnTo>
                  <a:lnTo>
                    <a:pt x="87" y="186"/>
                  </a:lnTo>
                  <a:lnTo>
                    <a:pt x="87" y="189"/>
                  </a:lnTo>
                  <a:lnTo>
                    <a:pt x="87" y="189"/>
                  </a:lnTo>
                  <a:lnTo>
                    <a:pt x="87" y="193"/>
                  </a:lnTo>
                  <a:lnTo>
                    <a:pt x="92" y="203"/>
                  </a:lnTo>
                  <a:lnTo>
                    <a:pt x="92" y="210"/>
                  </a:lnTo>
                  <a:lnTo>
                    <a:pt x="92" y="210"/>
                  </a:lnTo>
                  <a:lnTo>
                    <a:pt x="94" y="210"/>
                  </a:lnTo>
                  <a:lnTo>
                    <a:pt x="94" y="210"/>
                  </a:lnTo>
                  <a:lnTo>
                    <a:pt x="94" y="217"/>
                  </a:lnTo>
                  <a:lnTo>
                    <a:pt x="94" y="229"/>
                  </a:lnTo>
                  <a:lnTo>
                    <a:pt x="90" y="245"/>
                  </a:lnTo>
                  <a:lnTo>
                    <a:pt x="90" y="248"/>
                  </a:lnTo>
                  <a:lnTo>
                    <a:pt x="92" y="245"/>
                  </a:lnTo>
                  <a:lnTo>
                    <a:pt x="94" y="243"/>
                  </a:lnTo>
                  <a:lnTo>
                    <a:pt x="94" y="243"/>
                  </a:lnTo>
                  <a:lnTo>
                    <a:pt x="94" y="248"/>
                  </a:lnTo>
                  <a:lnTo>
                    <a:pt x="92" y="250"/>
                  </a:lnTo>
                  <a:lnTo>
                    <a:pt x="87" y="257"/>
                  </a:lnTo>
                  <a:lnTo>
                    <a:pt x="83" y="260"/>
                  </a:lnTo>
                  <a:lnTo>
                    <a:pt x="76" y="262"/>
                  </a:lnTo>
                  <a:lnTo>
                    <a:pt x="73" y="262"/>
                  </a:lnTo>
                  <a:lnTo>
                    <a:pt x="61" y="267"/>
                  </a:lnTo>
                  <a:lnTo>
                    <a:pt x="59" y="269"/>
                  </a:lnTo>
                  <a:lnTo>
                    <a:pt x="57" y="271"/>
                  </a:lnTo>
                  <a:lnTo>
                    <a:pt x="52" y="274"/>
                  </a:lnTo>
                  <a:lnTo>
                    <a:pt x="50" y="274"/>
                  </a:lnTo>
                  <a:lnTo>
                    <a:pt x="50" y="276"/>
                  </a:lnTo>
                  <a:lnTo>
                    <a:pt x="47" y="278"/>
                  </a:lnTo>
                  <a:lnTo>
                    <a:pt x="42" y="283"/>
                  </a:lnTo>
                  <a:lnTo>
                    <a:pt x="42" y="283"/>
                  </a:lnTo>
                  <a:lnTo>
                    <a:pt x="45" y="286"/>
                  </a:lnTo>
                  <a:lnTo>
                    <a:pt x="47" y="288"/>
                  </a:lnTo>
                  <a:lnTo>
                    <a:pt x="50" y="288"/>
                  </a:lnTo>
                  <a:lnTo>
                    <a:pt x="50" y="286"/>
                  </a:lnTo>
                  <a:lnTo>
                    <a:pt x="50" y="297"/>
                  </a:lnTo>
                  <a:lnTo>
                    <a:pt x="47" y="297"/>
                  </a:lnTo>
                  <a:lnTo>
                    <a:pt x="35" y="297"/>
                  </a:lnTo>
                  <a:lnTo>
                    <a:pt x="35" y="288"/>
                  </a:lnTo>
                  <a:lnTo>
                    <a:pt x="35" y="281"/>
                  </a:lnTo>
                  <a:lnTo>
                    <a:pt x="35" y="278"/>
                  </a:lnTo>
                  <a:lnTo>
                    <a:pt x="33" y="250"/>
                  </a:lnTo>
                  <a:lnTo>
                    <a:pt x="31" y="236"/>
                  </a:lnTo>
                  <a:lnTo>
                    <a:pt x="28" y="224"/>
                  </a:lnTo>
                  <a:lnTo>
                    <a:pt x="26" y="219"/>
                  </a:lnTo>
                  <a:lnTo>
                    <a:pt x="28" y="217"/>
                  </a:lnTo>
                  <a:lnTo>
                    <a:pt x="26" y="212"/>
                  </a:lnTo>
                  <a:lnTo>
                    <a:pt x="28" y="210"/>
                  </a:lnTo>
                  <a:lnTo>
                    <a:pt x="31" y="205"/>
                  </a:lnTo>
                  <a:lnTo>
                    <a:pt x="33" y="203"/>
                  </a:lnTo>
                  <a:lnTo>
                    <a:pt x="35" y="201"/>
                  </a:lnTo>
                  <a:lnTo>
                    <a:pt x="42" y="191"/>
                  </a:lnTo>
                  <a:lnTo>
                    <a:pt x="45" y="182"/>
                  </a:lnTo>
                  <a:lnTo>
                    <a:pt x="50" y="170"/>
                  </a:lnTo>
                  <a:lnTo>
                    <a:pt x="50" y="160"/>
                  </a:lnTo>
                  <a:lnTo>
                    <a:pt x="47" y="156"/>
                  </a:lnTo>
                  <a:lnTo>
                    <a:pt x="47" y="151"/>
                  </a:lnTo>
                  <a:lnTo>
                    <a:pt x="50" y="146"/>
                  </a:lnTo>
                  <a:lnTo>
                    <a:pt x="50" y="141"/>
                  </a:lnTo>
                  <a:lnTo>
                    <a:pt x="52" y="137"/>
                  </a:lnTo>
                  <a:lnTo>
                    <a:pt x="52" y="134"/>
                  </a:lnTo>
                  <a:lnTo>
                    <a:pt x="52" y="123"/>
                  </a:lnTo>
                  <a:lnTo>
                    <a:pt x="50" y="116"/>
                  </a:lnTo>
                  <a:lnTo>
                    <a:pt x="50" y="113"/>
                  </a:lnTo>
                  <a:lnTo>
                    <a:pt x="50" y="108"/>
                  </a:lnTo>
                  <a:lnTo>
                    <a:pt x="47" y="106"/>
                  </a:lnTo>
                  <a:lnTo>
                    <a:pt x="35" y="101"/>
                  </a:lnTo>
                  <a:lnTo>
                    <a:pt x="28" y="99"/>
                  </a:lnTo>
                  <a:lnTo>
                    <a:pt x="24" y="97"/>
                  </a:lnTo>
                  <a:lnTo>
                    <a:pt x="19" y="97"/>
                  </a:lnTo>
                  <a:lnTo>
                    <a:pt x="12" y="97"/>
                  </a:lnTo>
                  <a:lnTo>
                    <a:pt x="5" y="97"/>
                  </a:lnTo>
                  <a:lnTo>
                    <a:pt x="5" y="90"/>
                  </a:lnTo>
                  <a:lnTo>
                    <a:pt x="2" y="90"/>
                  </a:lnTo>
                  <a:lnTo>
                    <a:pt x="2" y="85"/>
                  </a:lnTo>
                  <a:lnTo>
                    <a:pt x="0" y="80"/>
                  </a:lnTo>
                  <a:lnTo>
                    <a:pt x="52" y="61"/>
                  </a:lnTo>
                  <a:lnTo>
                    <a:pt x="54" y="61"/>
                  </a:lnTo>
                  <a:lnTo>
                    <a:pt x="57" y="61"/>
                  </a:lnTo>
                  <a:lnTo>
                    <a:pt x="57" y="64"/>
                  </a:lnTo>
                  <a:lnTo>
                    <a:pt x="61" y="68"/>
                  </a:lnTo>
                  <a:lnTo>
                    <a:pt x="64" y="71"/>
                  </a:lnTo>
                  <a:lnTo>
                    <a:pt x="64" y="71"/>
                  </a:lnTo>
                  <a:lnTo>
                    <a:pt x="66" y="71"/>
                  </a:lnTo>
                  <a:lnTo>
                    <a:pt x="76" y="68"/>
                  </a:lnTo>
                  <a:lnTo>
                    <a:pt x="78" y="68"/>
                  </a:lnTo>
                  <a:lnTo>
                    <a:pt x="78" y="71"/>
                  </a:lnTo>
                  <a:lnTo>
                    <a:pt x="80" y="75"/>
                  </a:lnTo>
                  <a:lnTo>
                    <a:pt x="80" y="78"/>
                  </a:lnTo>
                  <a:lnTo>
                    <a:pt x="80" y="82"/>
                  </a:lnTo>
                  <a:lnTo>
                    <a:pt x="80" y="85"/>
                  </a:lnTo>
                  <a:lnTo>
                    <a:pt x="78" y="87"/>
                  </a:lnTo>
                  <a:lnTo>
                    <a:pt x="78" y="90"/>
                  </a:lnTo>
                  <a:lnTo>
                    <a:pt x="76" y="92"/>
                  </a:lnTo>
                  <a:lnTo>
                    <a:pt x="76" y="94"/>
                  </a:lnTo>
                  <a:lnTo>
                    <a:pt x="76" y="97"/>
                  </a:lnTo>
                  <a:lnTo>
                    <a:pt x="78" y="101"/>
                  </a:lnTo>
                  <a:lnTo>
                    <a:pt x="80" y="104"/>
                  </a:lnTo>
                  <a:lnTo>
                    <a:pt x="80" y="104"/>
                  </a:lnTo>
                  <a:lnTo>
                    <a:pt x="80" y="104"/>
                  </a:lnTo>
                  <a:lnTo>
                    <a:pt x="85" y="108"/>
                  </a:lnTo>
                  <a:lnTo>
                    <a:pt x="85" y="108"/>
                  </a:lnTo>
                  <a:lnTo>
                    <a:pt x="87" y="111"/>
                  </a:lnTo>
                  <a:lnTo>
                    <a:pt x="90" y="111"/>
                  </a:lnTo>
                  <a:lnTo>
                    <a:pt x="90" y="113"/>
                  </a:lnTo>
                  <a:lnTo>
                    <a:pt x="90" y="113"/>
                  </a:lnTo>
                  <a:lnTo>
                    <a:pt x="90" y="116"/>
                  </a:lnTo>
                  <a:lnTo>
                    <a:pt x="90" y="116"/>
                  </a:lnTo>
                  <a:lnTo>
                    <a:pt x="92" y="116"/>
                  </a:lnTo>
                  <a:lnTo>
                    <a:pt x="92" y="116"/>
                  </a:lnTo>
                  <a:lnTo>
                    <a:pt x="92" y="113"/>
                  </a:lnTo>
                  <a:lnTo>
                    <a:pt x="92" y="111"/>
                  </a:lnTo>
                  <a:lnTo>
                    <a:pt x="92" y="108"/>
                  </a:lnTo>
                  <a:lnTo>
                    <a:pt x="92" y="108"/>
                  </a:lnTo>
                  <a:lnTo>
                    <a:pt x="92" y="106"/>
                  </a:lnTo>
                  <a:lnTo>
                    <a:pt x="92" y="104"/>
                  </a:lnTo>
                  <a:lnTo>
                    <a:pt x="92" y="104"/>
                  </a:lnTo>
                  <a:lnTo>
                    <a:pt x="92" y="101"/>
                  </a:lnTo>
                  <a:lnTo>
                    <a:pt x="97" y="99"/>
                  </a:lnTo>
                  <a:lnTo>
                    <a:pt x="99" y="99"/>
                  </a:lnTo>
                  <a:lnTo>
                    <a:pt x="102" y="97"/>
                  </a:lnTo>
                  <a:lnTo>
                    <a:pt x="102" y="97"/>
                  </a:lnTo>
                  <a:lnTo>
                    <a:pt x="102" y="90"/>
                  </a:lnTo>
                  <a:lnTo>
                    <a:pt x="104" y="87"/>
                  </a:lnTo>
                  <a:lnTo>
                    <a:pt x="102" y="82"/>
                  </a:lnTo>
                  <a:lnTo>
                    <a:pt x="104" y="80"/>
                  </a:lnTo>
                  <a:lnTo>
                    <a:pt x="104" y="78"/>
                  </a:lnTo>
                  <a:lnTo>
                    <a:pt x="104" y="73"/>
                  </a:lnTo>
                  <a:lnTo>
                    <a:pt x="102" y="71"/>
                  </a:lnTo>
                  <a:lnTo>
                    <a:pt x="97" y="66"/>
                  </a:lnTo>
                  <a:lnTo>
                    <a:pt x="94" y="64"/>
                  </a:lnTo>
                  <a:lnTo>
                    <a:pt x="90" y="59"/>
                  </a:lnTo>
                  <a:lnTo>
                    <a:pt x="87" y="56"/>
                  </a:lnTo>
                  <a:lnTo>
                    <a:pt x="85" y="52"/>
                  </a:lnTo>
                  <a:lnTo>
                    <a:pt x="85" y="52"/>
                  </a:lnTo>
                  <a:lnTo>
                    <a:pt x="85" y="49"/>
                  </a:lnTo>
                  <a:lnTo>
                    <a:pt x="85" y="45"/>
                  </a:lnTo>
                  <a:lnTo>
                    <a:pt x="83" y="42"/>
                  </a:lnTo>
                  <a:lnTo>
                    <a:pt x="83" y="38"/>
                  </a:lnTo>
                  <a:lnTo>
                    <a:pt x="83" y="35"/>
                  </a:lnTo>
                  <a:lnTo>
                    <a:pt x="83" y="33"/>
                  </a:lnTo>
                  <a:lnTo>
                    <a:pt x="83" y="28"/>
                  </a:lnTo>
                  <a:lnTo>
                    <a:pt x="85" y="23"/>
                  </a:lnTo>
                  <a:lnTo>
                    <a:pt x="87" y="19"/>
                  </a:lnTo>
                  <a:lnTo>
                    <a:pt x="99" y="19"/>
                  </a:lnTo>
                  <a:lnTo>
                    <a:pt x="102" y="19"/>
                  </a:lnTo>
                  <a:lnTo>
                    <a:pt x="104" y="16"/>
                  </a:lnTo>
                  <a:lnTo>
                    <a:pt x="106" y="16"/>
                  </a:lnTo>
                  <a:lnTo>
                    <a:pt x="109" y="16"/>
                  </a:lnTo>
                  <a:lnTo>
                    <a:pt x="109" y="19"/>
                  </a:lnTo>
                  <a:lnTo>
                    <a:pt x="111" y="21"/>
                  </a:lnTo>
                  <a:lnTo>
                    <a:pt x="113" y="21"/>
                  </a:lnTo>
                  <a:lnTo>
                    <a:pt x="116" y="19"/>
                  </a:lnTo>
                  <a:lnTo>
                    <a:pt x="118" y="19"/>
                  </a:lnTo>
                  <a:lnTo>
                    <a:pt x="120" y="16"/>
                  </a:lnTo>
                  <a:lnTo>
                    <a:pt x="132" y="19"/>
                  </a:lnTo>
                  <a:lnTo>
                    <a:pt x="135" y="16"/>
                  </a:lnTo>
                  <a:lnTo>
                    <a:pt x="135" y="16"/>
                  </a:lnTo>
                  <a:lnTo>
                    <a:pt x="139" y="14"/>
                  </a:lnTo>
                  <a:lnTo>
                    <a:pt x="144" y="12"/>
                  </a:lnTo>
                  <a:lnTo>
                    <a:pt x="146" y="12"/>
                  </a:lnTo>
                  <a:lnTo>
                    <a:pt x="151" y="14"/>
                  </a:lnTo>
                  <a:lnTo>
                    <a:pt x="154" y="14"/>
                  </a:lnTo>
                  <a:lnTo>
                    <a:pt x="156" y="14"/>
                  </a:lnTo>
                  <a:lnTo>
                    <a:pt x="168" y="9"/>
                  </a:lnTo>
                  <a:lnTo>
                    <a:pt x="172" y="7"/>
                  </a:lnTo>
                  <a:lnTo>
                    <a:pt x="175" y="7"/>
                  </a:lnTo>
                  <a:lnTo>
                    <a:pt x="179" y="2"/>
                  </a:lnTo>
                  <a:lnTo>
                    <a:pt x="184" y="0"/>
                  </a:lnTo>
                  <a:lnTo>
                    <a:pt x="184" y="0"/>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3" name="Freeform 1122">
              <a:extLst>
                <a:ext uri="{FF2B5EF4-FFF2-40B4-BE49-F238E27FC236}">
                  <a16:creationId xmlns:a16="http://schemas.microsoft.com/office/drawing/2014/main" id="{ED94BA9E-CD27-4930-8D9D-99D270EE34D7}"/>
                </a:ext>
              </a:extLst>
            </p:cNvPr>
            <p:cNvSpPr>
              <a:spLocks/>
            </p:cNvSpPr>
            <p:nvPr/>
          </p:nvSpPr>
          <p:spPr bwMode="auto">
            <a:xfrm>
              <a:off x="2515440" y="3333714"/>
              <a:ext cx="34925" cy="30163"/>
            </a:xfrm>
            <a:custGeom>
              <a:avLst/>
              <a:gdLst>
                <a:gd name="T0" fmla="*/ 22 w 22"/>
                <a:gd name="T1" fmla="*/ 19 h 19"/>
                <a:gd name="T2" fmla="*/ 17 w 22"/>
                <a:gd name="T3" fmla="*/ 19 h 19"/>
                <a:gd name="T4" fmla="*/ 12 w 22"/>
                <a:gd name="T5" fmla="*/ 19 h 19"/>
                <a:gd name="T6" fmla="*/ 3 w 22"/>
                <a:gd name="T7" fmla="*/ 5 h 19"/>
                <a:gd name="T8" fmla="*/ 0 w 22"/>
                <a:gd name="T9" fmla="*/ 2 h 19"/>
                <a:gd name="T10" fmla="*/ 5 w 22"/>
                <a:gd name="T11" fmla="*/ 0 h 19"/>
                <a:gd name="T12" fmla="*/ 8 w 22"/>
                <a:gd name="T13" fmla="*/ 2 h 19"/>
                <a:gd name="T14" fmla="*/ 8 w 22"/>
                <a:gd name="T15" fmla="*/ 5 h 19"/>
                <a:gd name="T16" fmla="*/ 10 w 22"/>
                <a:gd name="T17" fmla="*/ 5 h 19"/>
                <a:gd name="T18" fmla="*/ 12 w 22"/>
                <a:gd name="T19" fmla="*/ 5 h 19"/>
                <a:gd name="T20" fmla="*/ 15 w 22"/>
                <a:gd name="T21" fmla="*/ 5 h 19"/>
                <a:gd name="T22" fmla="*/ 17 w 22"/>
                <a:gd name="T23" fmla="*/ 5 h 19"/>
                <a:gd name="T24" fmla="*/ 19 w 22"/>
                <a:gd name="T25" fmla="*/ 7 h 19"/>
                <a:gd name="T26" fmla="*/ 19 w 22"/>
                <a:gd name="T27" fmla="*/ 10 h 19"/>
                <a:gd name="T28" fmla="*/ 22 w 22"/>
                <a:gd name="T29" fmla="*/ 12 h 19"/>
                <a:gd name="T30" fmla="*/ 22 w 22"/>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9">
                  <a:moveTo>
                    <a:pt x="22" y="19"/>
                  </a:moveTo>
                  <a:lnTo>
                    <a:pt x="17" y="19"/>
                  </a:lnTo>
                  <a:lnTo>
                    <a:pt x="12" y="19"/>
                  </a:lnTo>
                  <a:lnTo>
                    <a:pt x="3" y="5"/>
                  </a:lnTo>
                  <a:lnTo>
                    <a:pt x="0" y="2"/>
                  </a:lnTo>
                  <a:lnTo>
                    <a:pt x="5" y="0"/>
                  </a:lnTo>
                  <a:lnTo>
                    <a:pt x="8" y="2"/>
                  </a:lnTo>
                  <a:lnTo>
                    <a:pt x="8" y="5"/>
                  </a:lnTo>
                  <a:lnTo>
                    <a:pt x="10" y="5"/>
                  </a:lnTo>
                  <a:lnTo>
                    <a:pt x="12" y="5"/>
                  </a:lnTo>
                  <a:lnTo>
                    <a:pt x="15" y="5"/>
                  </a:lnTo>
                  <a:lnTo>
                    <a:pt x="17" y="5"/>
                  </a:lnTo>
                  <a:lnTo>
                    <a:pt x="19" y="7"/>
                  </a:lnTo>
                  <a:lnTo>
                    <a:pt x="19" y="10"/>
                  </a:lnTo>
                  <a:lnTo>
                    <a:pt x="22" y="12"/>
                  </a:lnTo>
                  <a:lnTo>
                    <a:pt x="22" y="1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4" name="Freeform 1123">
              <a:extLst>
                <a:ext uri="{FF2B5EF4-FFF2-40B4-BE49-F238E27FC236}">
                  <a16:creationId xmlns:a16="http://schemas.microsoft.com/office/drawing/2014/main" id="{2B6EA7D3-55BD-4380-9570-E448C6E852B3}"/>
                </a:ext>
              </a:extLst>
            </p:cNvPr>
            <p:cNvSpPr>
              <a:spLocks/>
            </p:cNvSpPr>
            <p:nvPr/>
          </p:nvSpPr>
          <p:spPr bwMode="auto">
            <a:xfrm>
              <a:off x="2515440" y="3333714"/>
              <a:ext cx="34925" cy="30163"/>
            </a:xfrm>
            <a:custGeom>
              <a:avLst/>
              <a:gdLst>
                <a:gd name="T0" fmla="*/ 22 w 22"/>
                <a:gd name="T1" fmla="*/ 19 h 19"/>
                <a:gd name="T2" fmla="*/ 17 w 22"/>
                <a:gd name="T3" fmla="*/ 19 h 19"/>
                <a:gd name="T4" fmla="*/ 12 w 22"/>
                <a:gd name="T5" fmla="*/ 19 h 19"/>
                <a:gd name="T6" fmla="*/ 3 w 22"/>
                <a:gd name="T7" fmla="*/ 5 h 19"/>
                <a:gd name="T8" fmla="*/ 0 w 22"/>
                <a:gd name="T9" fmla="*/ 2 h 19"/>
                <a:gd name="T10" fmla="*/ 5 w 22"/>
                <a:gd name="T11" fmla="*/ 0 h 19"/>
                <a:gd name="T12" fmla="*/ 8 w 22"/>
                <a:gd name="T13" fmla="*/ 2 h 19"/>
                <a:gd name="T14" fmla="*/ 8 w 22"/>
                <a:gd name="T15" fmla="*/ 5 h 19"/>
                <a:gd name="T16" fmla="*/ 10 w 22"/>
                <a:gd name="T17" fmla="*/ 5 h 19"/>
                <a:gd name="T18" fmla="*/ 12 w 22"/>
                <a:gd name="T19" fmla="*/ 5 h 19"/>
                <a:gd name="T20" fmla="*/ 15 w 22"/>
                <a:gd name="T21" fmla="*/ 5 h 19"/>
                <a:gd name="T22" fmla="*/ 17 w 22"/>
                <a:gd name="T23" fmla="*/ 5 h 19"/>
                <a:gd name="T24" fmla="*/ 19 w 22"/>
                <a:gd name="T25" fmla="*/ 7 h 19"/>
                <a:gd name="T26" fmla="*/ 19 w 22"/>
                <a:gd name="T27" fmla="*/ 10 h 19"/>
                <a:gd name="T28" fmla="*/ 22 w 22"/>
                <a:gd name="T29" fmla="*/ 12 h 19"/>
                <a:gd name="T30" fmla="*/ 22 w 22"/>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9">
                  <a:moveTo>
                    <a:pt x="22" y="19"/>
                  </a:moveTo>
                  <a:lnTo>
                    <a:pt x="17" y="19"/>
                  </a:lnTo>
                  <a:lnTo>
                    <a:pt x="12" y="19"/>
                  </a:lnTo>
                  <a:lnTo>
                    <a:pt x="3" y="5"/>
                  </a:lnTo>
                  <a:lnTo>
                    <a:pt x="0" y="2"/>
                  </a:lnTo>
                  <a:lnTo>
                    <a:pt x="5" y="0"/>
                  </a:lnTo>
                  <a:lnTo>
                    <a:pt x="8" y="2"/>
                  </a:lnTo>
                  <a:lnTo>
                    <a:pt x="8" y="5"/>
                  </a:lnTo>
                  <a:lnTo>
                    <a:pt x="10" y="5"/>
                  </a:lnTo>
                  <a:lnTo>
                    <a:pt x="12" y="5"/>
                  </a:lnTo>
                  <a:lnTo>
                    <a:pt x="15" y="5"/>
                  </a:lnTo>
                  <a:lnTo>
                    <a:pt x="17" y="5"/>
                  </a:lnTo>
                  <a:lnTo>
                    <a:pt x="19" y="7"/>
                  </a:lnTo>
                  <a:lnTo>
                    <a:pt x="19" y="10"/>
                  </a:lnTo>
                  <a:lnTo>
                    <a:pt x="22" y="12"/>
                  </a:lnTo>
                  <a:lnTo>
                    <a:pt x="22" y="1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5" name="Freeform 1124">
              <a:extLst>
                <a:ext uri="{FF2B5EF4-FFF2-40B4-BE49-F238E27FC236}">
                  <a16:creationId xmlns:a16="http://schemas.microsoft.com/office/drawing/2014/main" id="{13D0F826-FCCC-48A2-AC03-06E5E4DE4995}"/>
                </a:ext>
              </a:extLst>
            </p:cNvPr>
            <p:cNvSpPr>
              <a:spLocks/>
            </p:cNvSpPr>
            <p:nvPr/>
          </p:nvSpPr>
          <p:spPr bwMode="auto">
            <a:xfrm>
              <a:off x="2523377" y="3254340"/>
              <a:ext cx="146050" cy="123825"/>
            </a:xfrm>
            <a:custGeom>
              <a:avLst/>
              <a:gdLst>
                <a:gd name="T0" fmla="*/ 26 w 92"/>
                <a:gd name="T1" fmla="*/ 3 h 78"/>
                <a:gd name="T2" fmla="*/ 33 w 92"/>
                <a:gd name="T3" fmla="*/ 5 h 78"/>
                <a:gd name="T4" fmla="*/ 36 w 92"/>
                <a:gd name="T5" fmla="*/ 8 h 78"/>
                <a:gd name="T6" fmla="*/ 40 w 92"/>
                <a:gd name="T7" fmla="*/ 17 h 78"/>
                <a:gd name="T8" fmla="*/ 47 w 92"/>
                <a:gd name="T9" fmla="*/ 17 h 78"/>
                <a:gd name="T10" fmla="*/ 52 w 92"/>
                <a:gd name="T11" fmla="*/ 15 h 78"/>
                <a:gd name="T12" fmla="*/ 55 w 92"/>
                <a:gd name="T13" fmla="*/ 8 h 78"/>
                <a:gd name="T14" fmla="*/ 59 w 92"/>
                <a:gd name="T15" fmla="*/ 5 h 78"/>
                <a:gd name="T16" fmla="*/ 69 w 92"/>
                <a:gd name="T17" fmla="*/ 12 h 78"/>
                <a:gd name="T18" fmla="*/ 76 w 92"/>
                <a:gd name="T19" fmla="*/ 26 h 78"/>
                <a:gd name="T20" fmla="*/ 83 w 92"/>
                <a:gd name="T21" fmla="*/ 31 h 78"/>
                <a:gd name="T22" fmla="*/ 88 w 92"/>
                <a:gd name="T23" fmla="*/ 31 h 78"/>
                <a:gd name="T24" fmla="*/ 92 w 92"/>
                <a:gd name="T25" fmla="*/ 36 h 78"/>
                <a:gd name="T26" fmla="*/ 90 w 92"/>
                <a:gd name="T27" fmla="*/ 36 h 78"/>
                <a:gd name="T28" fmla="*/ 80 w 92"/>
                <a:gd name="T29" fmla="*/ 38 h 78"/>
                <a:gd name="T30" fmla="*/ 78 w 92"/>
                <a:gd name="T31" fmla="*/ 48 h 78"/>
                <a:gd name="T32" fmla="*/ 76 w 92"/>
                <a:gd name="T33" fmla="*/ 57 h 78"/>
                <a:gd name="T34" fmla="*/ 71 w 92"/>
                <a:gd name="T35" fmla="*/ 62 h 78"/>
                <a:gd name="T36" fmla="*/ 66 w 92"/>
                <a:gd name="T37" fmla="*/ 67 h 78"/>
                <a:gd name="T38" fmla="*/ 66 w 92"/>
                <a:gd name="T39" fmla="*/ 78 h 78"/>
                <a:gd name="T40" fmla="*/ 66 w 92"/>
                <a:gd name="T41" fmla="*/ 78 h 78"/>
                <a:gd name="T42" fmla="*/ 62 w 92"/>
                <a:gd name="T43" fmla="*/ 78 h 78"/>
                <a:gd name="T44" fmla="*/ 57 w 92"/>
                <a:gd name="T45" fmla="*/ 74 h 78"/>
                <a:gd name="T46" fmla="*/ 52 w 92"/>
                <a:gd name="T47" fmla="*/ 71 h 78"/>
                <a:gd name="T48" fmla="*/ 57 w 92"/>
                <a:gd name="T49" fmla="*/ 67 h 78"/>
                <a:gd name="T50" fmla="*/ 55 w 92"/>
                <a:gd name="T51" fmla="*/ 55 h 78"/>
                <a:gd name="T52" fmla="*/ 43 w 92"/>
                <a:gd name="T53" fmla="*/ 55 h 78"/>
                <a:gd name="T54" fmla="*/ 36 w 92"/>
                <a:gd name="T55" fmla="*/ 60 h 78"/>
                <a:gd name="T56" fmla="*/ 29 w 92"/>
                <a:gd name="T57" fmla="*/ 69 h 78"/>
                <a:gd name="T58" fmla="*/ 26 w 92"/>
                <a:gd name="T59" fmla="*/ 69 h 78"/>
                <a:gd name="T60" fmla="*/ 24 w 92"/>
                <a:gd name="T61" fmla="*/ 64 h 78"/>
                <a:gd name="T62" fmla="*/ 26 w 92"/>
                <a:gd name="T63" fmla="*/ 60 h 78"/>
                <a:gd name="T64" fmla="*/ 24 w 92"/>
                <a:gd name="T65" fmla="*/ 57 h 78"/>
                <a:gd name="T66" fmla="*/ 24 w 92"/>
                <a:gd name="T67" fmla="*/ 52 h 78"/>
                <a:gd name="T68" fmla="*/ 17 w 92"/>
                <a:gd name="T69" fmla="*/ 50 h 78"/>
                <a:gd name="T70" fmla="*/ 12 w 92"/>
                <a:gd name="T71" fmla="*/ 45 h 78"/>
                <a:gd name="T72" fmla="*/ 17 w 92"/>
                <a:gd name="T73" fmla="*/ 41 h 78"/>
                <a:gd name="T74" fmla="*/ 10 w 92"/>
                <a:gd name="T75" fmla="*/ 36 h 78"/>
                <a:gd name="T76" fmla="*/ 7 w 92"/>
                <a:gd name="T77" fmla="*/ 31 h 78"/>
                <a:gd name="T78" fmla="*/ 7 w 92"/>
                <a:gd name="T79" fmla="*/ 26 h 78"/>
                <a:gd name="T80" fmla="*/ 7 w 92"/>
                <a:gd name="T81" fmla="*/ 22 h 78"/>
                <a:gd name="T82" fmla="*/ 3 w 92"/>
                <a:gd name="T83" fmla="*/ 22 h 78"/>
                <a:gd name="T84" fmla="*/ 0 w 92"/>
                <a:gd name="T85" fmla="*/ 15 h 78"/>
                <a:gd name="T86" fmla="*/ 0 w 92"/>
                <a:gd name="T87" fmla="*/ 15 h 78"/>
                <a:gd name="T88" fmla="*/ 7 w 92"/>
                <a:gd name="T89" fmla="*/ 12 h 78"/>
                <a:gd name="T90" fmla="*/ 12 w 92"/>
                <a:gd name="T91" fmla="*/ 15 h 78"/>
                <a:gd name="T92" fmla="*/ 19 w 92"/>
                <a:gd name="T93" fmla="*/ 17 h 78"/>
                <a:gd name="T94" fmla="*/ 26 w 92"/>
                <a:gd name="T95" fmla="*/ 19 h 78"/>
                <a:gd name="T96" fmla="*/ 26 w 92"/>
                <a:gd name="T97" fmla="*/ 15 h 78"/>
                <a:gd name="T98" fmla="*/ 21 w 92"/>
                <a:gd name="T99" fmla="*/ 8 h 78"/>
                <a:gd name="T100" fmla="*/ 21 w 92"/>
                <a:gd name="T101" fmla="*/ 5 h 78"/>
                <a:gd name="T102" fmla="*/ 24 w 92"/>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78">
                  <a:moveTo>
                    <a:pt x="24" y="0"/>
                  </a:moveTo>
                  <a:lnTo>
                    <a:pt x="26" y="3"/>
                  </a:lnTo>
                  <a:lnTo>
                    <a:pt x="29" y="3"/>
                  </a:lnTo>
                  <a:lnTo>
                    <a:pt x="33" y="5"/>
                  </a:lnTo>
                  <a:lnTo>
                    <a:pt x="33" y="8"/>
                  </a:lnTo>
                  <a:lnTo>
                    <a:pt x="36" y="8"/>
                  </a:lnTo>
                  <a:lnTo>
                    <a:pt x="38" y="15"/>
                  </a:lnTo>
                  <a:lnTo>
                    <a:pt x="40" y="17"/>
                  </a:lnTo>
                  <a:lnTo>
                    <a:pt x="43" y="15"/>
                  </a:lnTo>
                  <a:lnTo>
                    <a:pt x="47" y="17"/>
                  </a:lnTo>
                  <a:lnTo>
                    <a:pt x="50" y="17"/>
                  </a:lnTo>
                  <a:lnTo>
                    <a:pt x="52" y="15"/>
                  </a:lnTo>
                  <a:lnTo>
                    <a:pt x="52" y="10"/>
                  </a:lnTo>
                  <a:lnTo>
                    <a:pt x="55" y="8"/>
                  </a:lnTo>
                  <a:lnTo>
                    <a:pt x="57" y="8"/>
                  </a:lnTo>
                  <a:lnTo>
                    <a:pt x="59" y="5"/>
                  </a:lnTo>
                  <a:lnTo>
                    <a:pt x="59" y="3"/>
                  </a:lnTo>
                  <a:lnTo>
                    <a:pt x="69" y="12"/>
                  </a:lnTo>
                  <a:lnTo>
                    <a:pt x="73" y="22"/>
                  </a:lnTo>
                  <a:lnTo>
                    <a:pt x="76" y="26"/>
                  </a:lnTo>
                  <a:lnTo>
                    <a:pt x="80" y="31"/>
                  </a:lnTo>
                  <a:lnTo>
                    <a:pt x="83" y="31"/>
                  </a:lnTo>
                  <a:lnTo>
                    <a:pt x="85" y="31"/>
                  </a:lnTo>
                  <a:lnTo>
                    <a:pt x="88" y="31"/>
                  </a:lnTo>
                  <a:lnTo>
                    <a:pt x="90" y="34"/>
                  </a:lnTo>
                  <a:lnTo>
                    <a:pt x="92" y="36"/>
                  </a:lnTo>
                  <a:lnTo>
                    <a:pt x="92" y="38"/>
                  </a:lnTo>
                  <a:lnTo>
                    <a:pt x="90" y="36"/>
                  </a:lnTo>
                  <a:lnTo>
                    <a:pt x="85" y="36"/>
                  </a:lnTo>
                  <a:lnTo>
                    <a:pt x="80" y="38"/>
                  </a:lnTo>
                  <a:lnTo>
                    <a:pt x="78" y="41"/>
                  </a:lnTo>
                  <a:lnTo>
                    <a:pt x="78" y="48"/>
                  </a:lnTo>
                  <a:lnTo>
                    <a:pt x="78" y="52"/>
                  </a:lnTo>
                  <a:lnTo>
                    <a:pt x="76" y="57"/>
                  </a:lnTo>
                  <a:lnTo>
                    <a:pt x="73" y="67"/>
                  </a:lnTo>
                  <a:lnTo>
                    <a:pt x="71" y="62"/>
                  </a:lnTo>
                  <a:lnTo>
                    <a:pt x="69" y="64"/>
                  </a:lnTo>
                  <a:lnTo>
                    <a:pt x="66" y="67"/>
                  </a:lnTo>
                  <a:lnTo>
                    <a:pt x="66" y="74"/>
                  </a:lnTo>
                  <a:lnTo>
                    <a:pt x="66" y="78"/>
                  </a:lnTo>
                  <a:lnTo>
                    <a:pt x="66" y="78"/>
                  </a:lnTo>
                  <a:lnTo>
                    <a:pt x="66" y="78"/>
                  </a:lnTo>
                  <a:lnTo>
                    <a:pt x="64" y="78"/>
                  </a:lnTo>
                  <a:lnTo>
                    <a:pt x="62" y="78"/>
                  </a:lnTo>
                  <a:lnTo>
                    <a:pt x="59" y="76"/>
                  </a:lnTo>
                  <a:lnTo>
                    <a:pt x="57" y="74"/>
                  </a:lnTo>
                  <a:lnTo>
                    <a:pt x="55" y="74"/>
                  </a:lnTo>
                  <a:lnTo>
                    <a:pt x="52" y="71"/>
                  </a:lnTo>
                  <a:lnTo>
                    <a:pt x="52" y="69"/>
                  </a:lnTo>
                  <a:lnTo>
                    <a:pt x="57" y="67"/>
                  </a:lnTo>
                  <a:lnTo>
                    <a:pt x="55" y="60"/>
                  </a:lnTo>
                  <a:lnTo>
                    <a:pt x="55" y="55"/>
                  </a:lnTo>
                  <a:lnTo>
                    <a:pt x="50" y="52"/>
                  </a:lnTo>
                  <a:lnTo>
                    <a:pt x="43" y="55"/>
                  </a:lnTo>
                  <a:lnTo>
                    <a:pt x="38" y="57"/>
                  </a:lnTo>
                  <a:lnTo>
                    <a:pt x="36" y="60"/>
                  </a:lnTo>
                  <a:lnTo>
                    <a:pt x="33" y="64"/>
                  </a:lnTo>
                  <a:lnTo>
                    <a:pt x="29" y="69"/>
                  </a:lnTo>
                  <a:lnTo>
                    <a:pt x="26" y="69"/>
                  </a:lnTo>
                  <a:lnTo>
                    <a:pt x="26" y="69"/>
                  </a:lnTo>
                  <a:lnTo>
                    <a:pt x="24" y="67"/>
                  </a:lnTo>
                  <a:lnTo>
                    <a:pt x="24" y="64"/>
                  </a:lnTo>
                  <a:lnTo>
                    <a:pt x="26" y="62"/>
                  </a:lnTo>
                  <a:lnTo>
                    <a:pt x="26" y="60"/>
                  </a:lnTo>
                  <a:lnTo>
                    <a:pt x="24" y="60"/>
                  </a:lnTo>
                  <a:lnTo>
                    <a:pt x="24" y="57"/>
                  </a:lnTo>
                  <a:lnTo>
                    <a:pt x="26" y="55"/>
                  </a:lnTo>
                  <a:lnTo>
                    <a:pt x="24" y="52"/>
                  </a:lnTo>
                  <a:lnTo>
                    <a:pt x="19" y="52"/>
                  </a:lnTo>
                  <a:lnTo>
                    <a:pt x="17" y="50"/>
                  </a:lnTo>
                  <a:lnTo>
                    <a:pt x="12" y="48"/>
                  </a:lnTo>
                  <a:lnTo>
                    <a:pt x="12" y="45"/>
                  </a:lnTo>
                  <a:lnTo>
                    <a:pt x="14" y="43"/>
                  </a:lnTo>
                  <a:lnTo>
                    <a:pt x="17" y="41"/>
                  </a:lnTo>
                  <a:lnTo>
                    <a:pt x="14" y="38"/>
                  </a:lnTo>
                  <a:lnTo>
                    <a:pt x="10" y="36"/>
                  </a:lnTo>
                  <a:lnTo>
                    <a:pt x="10" y="34"/>
                  </a:lnTo>
                  <a:lnTo>
                    <a:pt x="7" y="31"/>
                  </a:lnTo>
                  <a:lnTo>
                    <a:pt x="7" y="29"/>
                  </a:lnTo>
                  <a:lnTo>
                    <a:pt x="7" y="26"/>
                  </a:lnTo>
                  <a:lnTo>
                    <a:pt x="7" y="24"/>
                  </a:lnTo>
                  <a:lnTo>
                    <a:pt x="7" y="22"/>
                  </a:lnTo>
                  <a:lnTo>
                    <a:pt x="5" y="22"/>
                  </a:lnTo>
                  <a:lnTo>
                    <a:pt x="3" y="22"/>
                  </a:lnTo>
                  <a:lnTo>
                    <a:pt x="0" y="17"/>
                  </a:lnTo>
                  <a:lnTo>
                    <a:pt x="0" y="15"/>
                  </a:lnTo>
                  <a:lnTo>
                    <a:pt x="0" y="15"/>
                  </a:lnTo>
                  <a:lnTo>
                    <a:pt x="0" y="15"/>
                  </a:lnTo>
                  <a:lnTo>
                    <a:pt x="5" y="12"/>
                  </a:lnTo>
                  <a:lnTo>
                    <a:pt x="7" y="12"/>
                  </a:lnTo>
                  <a:lnTo>
                    <a:pt x="10" y="12"/>
                  </a:lnTo>
                  <a:lnTo>
                    <a:pt x="12" y="15"/>
                  </a:lnTo>
                  <a:lnTo>
                    <a:pt x="17" y="17"/>
                  </a:lnTo>
                  <a:lnTo>
                    <a:pt x="19" y="17"/>
                  </a:lnTo>
                  <a:lnTo>
                    <a:pt x="24" y="17"/>
                  </a:lnTo>
                  <a:lnTo>
                    <a:pt x="26" y="19"/>
                  </a:lnTo>
                  <a:lnTo>
                    <a:pt x="29" y="17"/>
                  </a:lnTo>
                  <a:lnTo>
                    <a:pt x="26" y="15"/>
                  </a:lnTo>
                  <a:lnTo>
                    <a:pt x="24" y="10"/>
                  </a:lnTo>
                  <a:lnTo>
                    <a:pt x="21" y="8"/>
                  </a:lnTo>
                  <a:lnTo>
                    <a:pt x="19" y="8"/>
                  </a:lnTo>
                  <a:lnTo>
                    <a:pt x="21" y="5"/>
                  </a:lnTo>
                  <a:lnTo>
                    <a:pt x="24" y="0"/>
                  </a:lnTo>
                  <a:lnTo>
                    <a:pt x="2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6" name="Freeform 1125">
              <a:extLst>
                <a:ext uri="{FF2B5EF4-FFF2-40B4-BE49-F238E27FC236}">
                  <a16:creationId xmlns:a16="http://schemas.microsoft.com/office/drawing/2014/main" id="{28452817-7766-4922-A63F-7374E05E0E99}"/>
                </a:ext>
              </a:extLst>
            </p:cNvPr>
            <p:cNvSpPr>
              <a:spLocks/>
            </p:cNvSpPr>
            <p:nvPr/>
          </p:nvSpPr>
          <p:spPr bwMode="auto">
            <a:xfrm>
              <a:off x="2523377" y="3254340"/>
              <a:ext cx="146050" cy="123825"/>
            </a:xfrm>
            <a:custGeom>
              <a:avLst/>
              <a:gdLst>
                <a:gd name="T0" fmla="*/ 26 w 92"/>
                <a:gd name="T1" fmla="*/ 3 h 78"/>
                <a:gd name="T2" fmla="*/ 33 w 92"/>
                <a:gd name="T3" fmla="*/ 5 h 78"/>
                <a:gd name="T4" fmla="*/ 36 w 92"/>
                <a:gd name="T5" fmla="*/ 8 h 78"/>
                <a:gd name="T6" fmla="*/ 40 w 92"/>
                <a:gd name="T7" fmla="*/ 17 h 78"/>
                <a:gd name="T8" fmla="*/ 47 w 92"/>
                <a:gd name="T9" fmla="*/ 17 h 78"/>
                <a:gd name="T10" fmla="*/ 52 w 92"/>
                <a:gd name="T11" fmla="*/ 15 h 78"/>
                <a:gd name="T12" fmla="*/ 55 w 92"/>
                <a:gd name="T13" fmla="*/ 8 h 78"/>
                <a:gd name="T14" fmla="*/ 59 w 92"/>
                <a:gd name="T15" fmla="*/ 5 h 78"/>
                <a:gd name="T16" fmla="*/ 69 w 92"/>
                <a:gd name="T17" fmla="*/ 12 h 78"/>
                <a:gd name="T18" fmla="*/ 76 w 92"/>
                <a:gd name="T19" fmla="*/ 26 h 78"/>
                <a:gd name="T20" fmla="*/ 83 w 92"/>
                <a:gd name="T21" fmla="*/ 31 h 78"/>
                <a:gd name="T22" fmla="*/ 88 w 92"/>
                <a:gd name="T23" fmla="*/ 31 h 78"/>
                <a:gd name="T24" fmla="*/ 92 w 92"/>
                <a:gd name="T25" fmla="*/ 36 h 78"/>
                <a:gd name="T26" fmla="*/ 90 w 92"/>
                <a:gd name="T27" fmla="*/ 36 h 78"/>
                <a:gd name="T28" fmla="*/ 80 w 92"/>
                <a:gd name="T29" fmla="*/ 38 h 78"/>
                <a:gd name="T30" fmla="*/ 78 w 92"/>
                <a:gd name="T31" fmla="*/ 48 h 78"/>
                <a:gd name="T32" fmla="*/ 76 w 92"/>
                <a:gd name="T33" fmla="*/ 57 h 78"/>
                <a:gd name="T34" fmla="*/ 71 w 92"/>
                <a:gd name="T35" fmla="*/ 62 h 78"/>
                <a:gd name="T36" fmla="*/ 66 w 92"/>
                <a:gd name="T37" fmla="*/ 67 h 78"/>
                <a:gd name="T38" fmla="*/ 66 w 92"/>
                <a:gd name="T39" fmla="*/ 78 h 78"/>
                <a:gd name="T40" fmla="*/ 66 w 92"/>
                <a:gd name="T41" fmla="*/ 78 h 78"/>
                <a:gd name="T42" fmla="*/ 62 w 92"/>
                <a:gd name="T43" fmla="*/ 78 h 78"/>
                <a:gd name="T44" fmla="*/ 57 w 92"/>
                <a:gd name="T45" fmla="*/ 74 h 78"/>
                <a:gd name="T46" fmla="*/ 52 w 92"/>
                <a:gd name="T47" fmla="*/ 71 h 78"/>
                <a:gd name="T48" fmla="*/ 57 w 92"/>
                <a:gd name="T49" fmla="*/ 67 h 78"/>
                <a:gd name="T50" fmla="*/ 55 w 92"/>
                <a:gd name="T51" fmla="*/ 55 h 78"/>
                <a:gd name="T52" fmla="*/ 43 w 92"/>
                <a:gd name="T53" fmla="*/ 55 h 78"/>
                <a:gd name="T54" fmla="*/ 36 w 92"/>
                <a:gd name="T55" fmla="*/ 60 h 78"/>
                <a:gd name="T56" fmla="*/ 29 w 92"/>
                <a:gd name="T57" fmla="*/ 69 h 78"/>
                <a:gd name="T58" fmla="*/ 26 w 92"/>
                <a:gd name="T59" fmla="*/ 69 h 78"/>
                <a:gd name="T60" fmla="*/ 24 w 92"/>
                <a:gd name="T61" fmla="*/ 64 h 78"/>
                <a:gd name="T62" fmla="*/ 26 w 92"/>
                <a:gd name="T63" fmla="*/ 60 h 78"/>
                <a:gd name="T64" fmla="*/ 24 w 92"/>
                <a:gd name="T65" fmla="*/ 57 h 78"/>
                <a:gd name="T66" fmla="*/ 24 w 92"/>
                <a:gd name="T67" fmla="*/ 52 h 78"/>
                <a:gd name="T68" fmla="*/ 17 w 92"/>
                <a:gd name="T69" fmla="*/ 50 h 78"/>
                <a:gd name="T70" fmla="*/ 12 w 92"/>
                <a:gd name="T71" fmla="*/ 45 h 78"/>
                <a:gd name="T72" fmla="*/ 17 w 92"/>
                <a:gd name="T73" fmla="*/ 41 h 78"/>
                <a:gd name="T74" fmla="*/ 10 w 92"/>
                <a:gd name="T75" fmla="*/ 36 h 78"/>
                <a:gd name="T76" fmla="*/ 7 w 92"/>
                <a:gd name="T77" fmla="*/ 31 h 78"/>
                <a:gd name="T78" fmla="*/ 7 w 92"/>
                <a:gd name="T79" fmla="*/ 26 h 78"/>
                <a:gd name="T80" fmla="*/ 7 w 92"/>
                <a:gd name="T81" fmla="*/ 22 h 78"/>
                <a:gd name="T82" fmla="*/ 3 w 92"/>
                <a:gd name="T83" fmla="*/ 22 h 78"/>
                <a:gd name="T84" fmla="*/ 0 w 92"/>
                <a:gd name="T85" fmla="*/ 15 h 78"/>
                <a:gd name="T86" fmla="*/ 0 w 92"/>
                <a:gd name="T87" fmla="*/ 15 h 78"/>
                <a:gd name="T88" fmla="*/ 7 w 92"/>
                <a:gd name="T89" fmla="*/ 12 h 78"/>
                <a:gd name="T90" fmla="*/ 12 w 92"/>
                <a:gd name="T91" fmla="*/ 15 h 78"/>
                <a:gd name="T92" fmla="*/ 19 w 92"/>
                <a:gd name="T93" fmla="*/ 17 h 78"/>
                <a:gd name="T94" fmla="*/ 26 w 92"/>
                <a:gd name="T95" fmla="*/ 19 h 78"/>
                <a:gd name="T96" fmla="*/ 26 w 92"/>
                <a:gd name="T97" fmla="*/ 15 h 78"/>
                <a:gd name="T98" fmla="*/ 21 w 92"/>
                <a:gd name="T99" fmla="*/ 8 h 78"/>
                <a:gd name="T100" fmla="*/ 21 w 92"/>
                <a:gd name="T101" fmla="*/ 5 h 78"/>
                <a:gd name="T102" fmla="*/ 24 w 92"/>
                <a:gd name="T10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78">
                  <a:moveTo>
                    <a:pt x="24" y="0"/>
                  </a:moveTo>
                  <a:lnTo>
                    <a:pt x="26" y="3"/>
                  </a:lnTo>
                  <a:lnTo>
                    <a:pt x="29" y="3"/>
                  </a:lnTo>
                  <a:lnTo>
                    <a:pt x="33" y="5"/>
                  </a:lnTo>
                  <a:lnTo>
                    <a:pt x="33" y="8"/>
                  </a:lnTo>
                  <a:lnTo>
                    <a:pt x="36" y="8"/>
                  </a:lnTo>
                  <a:lnTo>
                    <a:pt x="38" y="15"/>
                  </a:lnTo>
                  <a:lnTo>
                    <a:pt x="40" y="17"/>
                  </a:lnTo>
                  <a:lnTo>
                    <a:pt x="43" y="15"/>
                  </a:lnTo>
                  <a:lnTo>
                    <a:pt x="47" y="17"/>
                  </a:lnTo>
                  <a:lnTo>
                    <a:pt x="50" y="17"/>
                  </a:lnTo>
                  <a:lnTo>
                    <a:pt x="52" y="15"/>
                  </a:lnTo>
                  <a:lnTo>
                    <a:pt x="52" y="10"/>
                  </a:lnTo>
                  <a:lnTo>
                    <a:pt x="55" y="8"/>
                  </a:lnTo>
                  <a:lnTo>
                    <a:pt x="57" y="8"/>
                  </a:lnTo>
                  <a:lnTo>
                    <a:pt x="59" y="5"/>
                  </a:lnTo>
                  <a:lnTo>
                    <a:pt x="59" y="3"/>
                  </a:lnTo>
                  <a:lnTo>
                    <a:pt x="69" y="12"/>
                  </a:lnTo>
                  <a:lnTo>
                    <a:pt x="73" y="22"/>
                  </a:lnTo>
                  <a:lnTo>
                    <a:pt x="76" y="26"/>
                  </a:lnTo>
                  <a:lnTo>
                    <a:pt x="80" y="31"/>
                  </a:lnTo>
                  <a:lnTo>
                    <a:pt x="83" y="31"/>
                  </a:lnTo>
                  <a:lnTo>
                    <a:pt x="85" y="31"/>
                  </a:lnTo>
                  <a:lnTo>
                    <a:pt x="88" y="31"/>
                  </a:lnTo>
                  <a:lnTo>
                    <a:pt x="90" y="34"/>
                  </a:lnTo>
                  <a:lnTo>
                    <a:pt x="92" y="36"/>
                  </a:lnTo>
                  <a:lnTo>
                    <a:pt x="92" y="38"/>
                  </a:lnTo>
                  <a:lnTo>
                    <a:pt x="90" y="36"/>
                  </a:lnTo>
                  <a:lnTo>
                    <a:pt x="85" y="36"/>
                  </a:lnTo>
                  <a:lnTo>
                    <a:pt x="80" y="38"/>
                  </a:lnTo>
                  <a:lnTo>
                    <a:pt x="78" y="41"/>
                  </a:lnTo>
                  <a:lnTo>
                    <a:pt x="78" y="48"/>
                  </a:lnTo>
                  <a:lnTo>
                    <a:pt x="78" y="52"/>
                  </a:lnTo>
                  <a:lnTo>
                    <a:pt x="76" y="57"/>
                  </a:lnTo>
                  <a:lnTo>
                    <a:pt x="73" y="67"/>
                  </a:lnTo>
                  <a:lnTo>
                    <a:pt x="71" y="62"/>
                  </a:lnTo>
                  <a:lnTo>
                    <a:pt x="69" y="64"/>
                  </a:lnTo>
                  <a:lnTo>
                    <a:pt x="66" y="67"/>
                  </a:lnTo>
                  <a:lnTo>
                    <a:pt x="66" y="74"/>
                  </a:lnTo>
                  <a:lnTo>
                    <a:pt x="66" y="78"/>
                  </a:lnTo>
                  <a:lnTo>
                    <a:pt x="66" y="78"/>
                  </a:lnTo>
                  <a:lnTo>
                    <a:pt x="66" y="78"/>
                  </a:lnTo>
                  <a:lnTo>
                    <a:pt x="64" y="78"/>
                  </a:lnTo>
                  <a:lnTo>
                    <a:pt x="62" y="78"/>
                  </a:lnTo>
                  <a:lnTo>
                    <a:pt x="59" y="76"/>
                  </a:lnTo>
                  <a:lnTo>
                    <a:pt x="57" y="74"/>
                  </a:lnTo>
                  <a:lnTo>
                    <a:pt x="55" y="74"/>
                  </a:lnTo>
                  <a:lnTo>
                    <a:pt x="52" y="71"/>
                  </a:lnTo>
                  <a:lnTo>
                    <a:pt x="52" y="69"/>
                  </a:lnTo>
                  <a:lnTo>
                    <a:pt x="57" y="67"/>
                  </a:lnTo>
                  <a:lnTo>
                    <a:pt x="55" y="60"/>
                  </a:lnTo>
                  <a:lnTo>
                    <a:pt x="55" y="55"/>
                  </a:lnTo>
                  <a:lnTo>
                    <a:pt x="50" y="52"/>
                  </a:lnTo>
                  <a:lnTo>
                    <a:pt x="43" y="55"/>
                  </a:lnTo>
                  <a:lnTo>
                    <a:pt x="38" y="57"/>
                  </a:lnTo>
                  <a:lnTo>
                    <a:pt x="36" y="60"/>
                  </a:lnTo>
                  <a:lnTo>
                    <a:pt x="33" y="64"/>
                  </a:lnTo>
                  <a:lnTo>
                    <a:pt x="29" y="69"/>
                  </a:lnTo>
                  <a:lnTo>
                    <a:pt x="26" y="69"/>
                  </a:lnTo>
                  <a:lnTo>
                    <a:pt x="26" y="69"/>
                  </a:lnTo>
                  <a:lnTo>
                    <a:pt x="24" y="67"/>
                  </a:lnTo>
                  <a:lnTo>
                    <a:pt x="24" y="64"/>
                  </a:lnTo>
                  <a:lnTo>
                    <a:pt x="26" y="62"/>
                  </a:lnTo>
                  <a:lnTo>
                    <a:pt x="26" y="60"/>
                  </a:lnTo>
                  <a:lnTo>
                    <a:pt x="24" y="60"/>
                  </a:lnTo>
                  <a:lnTo>
                    <a:pt x="24" y="57"/>
                  </a:lnTo>
                  <a:lnTo>
                    <a:pt x="26" y="55"/>
                  </a:lnTo>
                  <a:lnTo>
                    <a:pt x="24" y="52"/>
                  </a:lnTo>
                  <a:lnTo>
                    <a:pt x="19" y="52"/>
                  </a:lnTo>
                  <a:lnTo>
                    <a:pt x="17" y="50"/>
                  </a:lnTo>
                  <a:lnTo>
                    <a:pt x="12" y="48"/>
                  </a:lnTo>
                  <a:lnTo>
                    <a:pt x="12" y="45"/>
                  </a:lnTo>
                  <a:lnTo>
                    <a:pt x="14" y="43"/>
                  </a:lnTo>
                  <a:lnTo>
                    <a:pt x="17" y="41"/>
                  </a:lnTo>
                  <a:lnTo>
                    <a:pt x="14" y="38"/>
                  </a:lnTo>
                  <a:lnTo>
                    <a:pt x="10" y="36"/>
                  </a:lnTo>
                  <a:lnTo>
                    <a:pt x="10" y="34"/>
                  </a:lnTo>
                  <a:lnTo>
                    <a:pt x="7" y="31"/>
                  </a:lnTo>
                  <a:lnTo>
                    <a:pt x="7" y="29"/>
                  </a:lnTo>
                  <a:lnTo>
                    <a:pt x="7" y="26"/>
                  </a:lnTo>
                  <a:lnTo>
                    <a:pt x="7" y="24"/>
                  </a:lnTo>
                  <a:lnTo>
                    <a:pt x="7" y="22"/>
                  </a:lnTo>
                  <a:lnTo>
                    <a:pt x="5" y="22"/>
                  </a:lnTo>
                  <a:lnTo>
                    <a:pt x="3" y="22"/>
                  </a:lnTo>
                  <a:lnTo>
                    <a:pt x="0" y="17"/>
                  </a:lnTo>
                  <a:lnTo>
                    <a:pt x="0" y="15"/>
                  </a:lnTo>
                  <a:lnTo>
                    <a:pt x="0" y="15"/>
                  </a:lnTo>
                  <a:lnTo>
                    <a:pt x="0" y="15"/>
                  </a:lnTo>
                  <a:lnTo>
                    <a:pt x="5" y="12"/>
                  </a:lnTo>
                  <a:lnTo>
                    <a:pt x="7" y="12"/>
                  </a:lnTo>
                  <a:lnTo>
                    <a:pt x="10" y="12"/>
                  </a:lnTo>
                  <a:lnTo>
                    <a:pt x="12" y="15"/>
                  </a:lnTo>
                  <a:lnTo>
                    <a:pt x="17" y="17"/>
                  </a:lnTo>
                  <a:lnTo>
                    <a:pt x="19" y="17"/>
                  </a:lnTo>
                  <a:lnTo>
                    <a:pt x="24" y="17"/>
                  </a:lnTo>
                  <a:lnTo>
                    <a:pt x="26" y="19"/>
                  </a:lnTo>
                  <a:lnTo>
                    <a:pt x="29" y="17"/>
                  </a:lnTo>
                  <a:lnTo>
                    <a:pt x="26" y="15"/>
                  </a:lnTo>
                  <a:lnTo>
                    <a:pt x="24" y="10"/>
                  </a:lnTo>
                  <a:lnTo>
                    <a:pt x="21" y="8"/>
                  </a:lnTo>
                  <a:lnTo>
                    <a:pt x="19" y="8"/>
                  </a:lnTo>
                  <a:lnTo>
                    <a:pt x="21" y="5"/>
                  </a:lnTo>
                  <a:lnTo>
                    <a:pt x="24" y="0"/>
                  </a:lnTo>
                  <a:lnTo>
                    <a:pt x="24" y="0"/>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7" name="Freeform 1126">
              <a:extLst>
                <a:ext uri="{FF2B5EF4-FFF2-40B4-BE49-F238E27FC236}">
                  <a16:creationId xmlns:a16="http://schemas.microsoft.com/office/drawing/2014/main" id="{E6676B77-9D2C-4FD4-B7B3-2F36DAE11BF1}"/>
                </a:ext>
              </a:extLst>
            </p:cNvPr>
            <p:cNvSpPr>
              <a:spLocks/>
            </p:cNvSpPr>
            <p:nvPr/>
          </p:nvSpPr>
          <p:spPr bwMode="auto">
            <a:xfrm>
              <a:off x="1529605" y="3562315"/>
              <a:ext cx="439737" cy="420688"/>
            </a:xfrm>
            <a:custGeom>
              <a:avLst/>
              <a:gdLst>
                <a:gd name="T0" fmla="*/ 43 w 277"/>
                <a:gd name="T1" fmla="*/ 184 h 265"/>
                <a:gd name="T2" fmla="*/ 24 w 277"/>
                <a:gd name="T3" fmla="*/ 170 h 265"/>
                <a:gd name="T4" fmla="*/ 14 w 277"/>
                <a:gd name="T5" fmla="*/ 161 h 265"/>
                <a:gd name="T6" fmla="*/ 5 w 277"/>
                <a:gd name="T7" fmla="*/ 144 h 265"/>
                <a:gd name="T8" fmla="*/ 7 w 277"/>
                <a:gd name="T9" fmla="*/ 135 h 265"/>
                <a:gd name="T10" fmla="*/ 10 w 277"/>
                <a:gd name="T11" fmla="*/ 109 h 265"/>
                <a:gd name="T12" fmla="*/ 10 w 277"/>
                <a:gd name="T13" fmla="*/ 92 h 265"/>
                <a:gd name="T14" fmla="*/ 5 w 277"/>
                <a:gd name="T15" fmla="*/ 71 h 265"/>
                <a:gd name="T16" fmla="*/ 5 w 277"/>
                <a:gd name="T17" fmla="*/ 59 h 265"/>
                <a:gd name="T18" fmla="*/ 12 w 277"/>
                <a:gd name="T19" fmla="*/ 54 h 265"/>
                <a:gd name="T20" fmla="*/ 17 w 277"/>
                <a:gd name="T21" fmla="*/ 45 h 265"/>
                <a:gd name="T22" fmla="*/ 17 w 277"/>
                <a:gd name="T23" fmla="*/ 31 h 265"/>
                <a:gd name="T24" fmla="*/ 26 w 277"/>
                <a:gd name="T25" fmla="*/ 24 h 265"/>
                <a:gd name="T26" fmla="*/ 38 w 277"/>
                <a:gd name="T27" fmla="*/ 12 h 265"/>
                <a:gd name="T28" fmla="*/ 43 w 277"/>
                <a:gd name="T29" fmla="*/ 0 h 265"/>
                <a:gd name="T30" fmla="*/ 62 w 277"/>
                <a:gd name="T31" fmla="*/ 7 h 265"/>
                <a:gd name="T32" fmla="*/ 76 w 277"/>
                <a:gd name="T33" fmla="*/ 7 h 265"/>
                <a:gd name="T34" fmla="*/ 88 w 277"/>
                <a:gd name="T35" fmla="*/ 12 h 265"/>
                <a:gd name="T36" fmla="*/ 104 w 277"/>
                <a:gd name="T37" fmla="*/ 17 h 265"/>
                <a:gd name="T38" fmla="*/ 106 w 277"/>
                <a:gd name="T39" fmla="*/ 26 h 265"/>
                <a:gd name="T40" fmla="*/ 118 w 277"/>
                <a:gd name="T41" fmla="*/ 38 h 265"/>
                <a:gd name="T42" fmla="*/ 137 w 277"/>
                <a:gd name="T43" fmla="*/ 43 h 265"/>
                <a:gd name="T44" fmla="*/ 154 w 277"/>
                <a:gd name="T45" fmla="*/ 47 h 265"/>
                <a:gd name="T46" fmla="*/ 163 w 277"/>
                <a:gd name="T47" fmla="*/ 57 h 265"/>
                <a:gd name="T48" fmla="*/ 180 w 277"/>
                <a:gd name="T49" fmla="*/ 57 h 265"/>
                <a:gd name="T50" fmla="*/ 187 w 277"/>
                <a:gd name="T51" fmla="*/ 47 h 265"/>
                <a:gd name="T52" fmla="*/ 187 w 277"/>
                <a:gd name="T53" fmla="*/ 38 h 265"/>
                <a:gd name="T54" fmla="*/ 187 w 277"/>
                <a:gd name="T55" fmla="*/ 26 h 265"/>
                <a:gd name="T56" fmla="*/ 194 w 277"/>
                <a:gd name="T57" fmla="*/ 17 h 265"/>
                <a:gd name="T58" fmla="*/ 210 w 277"/>
                <a:gd name="T59" fmla="*/ 7 h 265"/>
                <a:gd name="T60" fmla="*/ 232 w 277"/>
                <a:gd name="T61" fmla="*/ 10 h 265"/>
                <a:gd name="T62" fmla="*/ 241 w 277"/>
                <a:gd name="T63" fmla="*/ 12 h 265"/>
                <a:gd name="T64" fmla="*/ 239 w 277"/>
                <a:gd name="T65" fmla="*/ 14 h 265"/>
                <a:gd name="T66" fmla="*/ 246 w 277"/>
                <a:gd name="T67" fmla="*/ 21 h 265"/>
                <a:gd name="T68" fmla="*/ 253 w 277"/>
                <a:gd name="T69" fmla="*/ 21 h 265"/>
                <a:gd name="T70" fmla="*/ 265 w 277"/>
                <a:gd name="T71" fmla="*/ 24 h 265"/>
                <a:gd name="T72" fmla="*/ 277 w 277"/>
                <a:gd name="T73" fmla="*/ 31 h 265"/>
                <a:gd name="T74" fmla="*/ 274 w 277"/>
                <a:gd name="T75" fmla="*/ 36 h 265"/>
                <a:gd name="T76" fmla="*/ 272 w 277"/>
                <a:gd name="T77" fmla="*/ 40 h 265"/>
                <a:gd name="T78" fmla="*/ 274 w 277"/>
                <a:gd name="T79" fmla="*/ 57 h 265"/>
                <a:gd name="T80" fmla="*/ 269 w 277"/>
                <a:gd name="T81" fmla="*/ 62 h 265"/>
                <a:gd name="T82" fmla="*/ 272 w 277"/>
                <a:gd name="T83" fmla="*/ 73 h 265"/>
                <a:gd name="T84" fmla="*/ 277 w 277"/>
                <a:gd name="T85" fmla="*/ 83 h 265"/>
                <a:gd name="T86" fmla="*/ 277 w 277"/>
                <a:gd name="T87" fmla="*/ 135 h 265"/>
                <a:gd name="T88" fmla="*/ 277 w 277"/>
                <a:gd name="T89" fmla="*/ 189 h 265"/>
                <a:gd name="T90" fmla="*/ 277 w 277"/>
                <a:gd name="T91" fmla="*/ 236 h 265"/>
                <a:gd name="T92" fmla="*/ 260 w 277"/>
                <a:gd name="T93" fmla="*/ 265 h 265"/>
                <a:gd name="T94" fmla="*/ 227 w 277"/>
                <a:gd name="T95" fmla="*/ 248 h 265"/>
                <a:gd name="T96" fmla="*/ 182 w 277"/>
                <a:gd name="T97" fmla="*/ 227 h 265"/>
                <a:gd name="T98" fmla="*/ 140 w 277"/>
                <a:gd name="T99" fmla="*/ 203 h 265"/>
                <a:gd name="T100" fmla="*/ 104 w 277"/>
                <a:gd name="T101" fmla="*/ 199 h 265"/>
                <a:gd name="T102" fmla="*/ 95 w 277"/>
                <a:gd name="T103" fmla="*/ 199 h 265"/>
                <a:gd name="T104" fmla="*/ 88 w 277"/>
                <a:gd name="T105" fmla="*/ 194 h 265"/>
                <a:gd name="T106" fmla="*/ 71 w 277"/>
                <a:gd name="T107" fmla="*/ 189 h 265"/>
                <a:gd name="T108" fmla="*/ 47 w 277"/>
                <a:gd name="T109" fmla="*/ 18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7" h="265">
                  <a:moveTo>
                    <a:pt x="45" y="191"/>
                  </a:moveTo>
                  <a:lnTo>
                    <a:pt x="45" y="189"/>
                  </a:lnTo>
                  <a:lnTo>
                    <a:pt x="43" y="184"/>
                  </a:lnTo>
                  <a:lnTo>
                    <a:pt x="38" y="175"/>
                  </a:lnTo>
                  <a:lnTo>
                    <a:pt x="29" y="170"/>
                  </a:lnTo>
                  <a:lnTo>
                    <a:pt x="24" y="170"/>
                  </a:lnTo>
                  <a:lnTo>
                    <a:pt x="19" y="170"/>
                  </a:lnTo>
                  <a:lnTo>
                    <a:pt x="14" y="165"/>
                  </a:lnTo>
                  <a:lnTo>
                    <a:pt x="14" y="161"/>
                  </a:lnTo>
                  <a:lnTo>
                    <a:pt x="12" y="156"/>
                  </a:lnTo>
                  <a:lnTo>
                    <a:pt x="10" y="151"/>
                  </a:lnTo>
                  <a:lnTo>
                    <a:pt x="5" y="144"/>
                  </a:lnTo>
                  <a:lnTo>
                    <a:pt x="3" y="139"/>
                  </a:lnTo>
                  <a:lnTo>
                    <a:pt x="3" y="137"/>
                  </a:lnTo>
                  <a:lnTo>
                    <a:pt x="7" y="135"/>
                  </a:lnTo>
                  <a:lnTo>
                    <a:pt x="10" y="132"/>
                  </a:lnTo>
                  <a:lnTo>
                    <a:pt x="10" y="116"/>
                  </a:lnTo>
                  <a:lnTo>
                    <a:pt x="10" y="109"/>
                  </a:lnTo>
                  <a:lnTo>
                    <a:pt x="10" y="104"/>
                  </a:lnTo>
                  <a:lnTo>
                    <a:pt x="10" y="102"/>
                  </a:lnTo>
                  <a:lnTo>
                    <a:pt x="10" y="92"/>
                  </a:lnTo>
                  <a:lnTo>
                    <a:pt x="10" y="85"/>
                  </a:lnTo>
                  <a:lnTo>
                    <a:pt x="7" y="78"/>
                  </a:lnTo>
                  <a:lnTo>
                    <a:pt x="5" y="71"/>
                  </a:lnTo>
                  <a:lnTo>
                    <a:pt x="0" y="66"/>
                  </a:lnTo>
                  <a:lnTo>
                    <a:pt x="0" y="62"/>
                  </a:lnTo>
                  <a:lnTo>
                    <a:pt x="5" y="59"/>
                  </a:lnTo>
                  <a:lnTo>
                    <a:pt x="5" y="57"/>
                  </a:lnTo>
                  <a:lnTo>
                    <a:pt x="10" y="57"/>
                  </a:lnTo>
                  <a:lnTo>
                    <a:pt x="12" y="54"/>
                  </a:lnTo>
                  <a:lnTo>
                    <a:pt x="14" y="52"/>
                  </a:lnTo>
                  <a:lnTo>
                    <a:pt x="17" y="50"/>
                  </a:lnTo>
                  <a:lnTo>
                    <a:pt x="17" y="45"/>
                  </a:lnTo>
                  <a:lnTo>
                    <a:pt x="17" y="38"/>
                  </a:lnTo>
                  <a:lnTo>
                    <a:pt x="17" y="33"/>
                  </a:lnTo>
                  <a:lnTo>
                    <a:pt x="17" y="31"/>
                  </a:lnTo>
                  <a:lnTo>
                    <a:pt x="21" y="31"/>
                  </a:lnTo>
                  <a:lnTo>
                    <a:pt x="24" y="28"/>
                  </a:lnTo>
                  <a:lnTo>
                    <a:pt x="26" y="24"/>
                  </a:lnTo>
                  <a:lnTo>
                    <a:pt x="36" y="19"/>
                  </a:lnTo>
                  <a:lnTo>
                    <a:pt x="38" y="17"/>
                  </a:lnTo>
                  <a:lnTo>
                    <a:pt x="38" y="12"/>
                  </a:lnTo>
                  <a:lnTo>
                    <a:pt x="38" y="2"/>
                  </a:lnTo>
                  <a:lnTo>
                    <a:pt x="38" y="0"/>
                  </a:lnTo>
                  <a:lnTo>
                    <a:pt x="43" y="0"/>
                  </a:lnTo>
                  <a:lnTo>
                    <a:pt x="45" y="2"/>
                  </a:lnTo>
                  <a:lnTo>
                    <a:pt x="55" y="7"/>
                  </a:lnTo>
                  <a:lnTo>
                    <a:pt x="62" y="7"/>
                  </a:lnTo>
                  <a:lnTo>
                    <a:pt x="69" y="5"/>
                  </a:lnTo>
                  <a:lnTo>
                    <a:pt x="73" y="7"/>
                  </a:lnTo>
                  <a:lnTo>
                    <a:pt x="76" y="7"/>
                  </a:lnTo>
                  <a:lnTo>
                    <a:pt x="80" y="7"/>
                  </a:lnTo>
                  <a:lnTo>
                    <a:pt x="85" y="10"/>
                  </a:lnTo>
                  <a:lnTo>
                    <a:pt x="88" y="12"/>
                  </a:lnTo>
                  <a:lnTo>
                    <a:pt x="95" y="14"/>
                  </a:lnTo>
                  <a:lnTo>
                    <a:pt x="99" y="17"/>
                  </a:lnTo>
                  <a:lnTo>
                    <a:pt x="104" y="17"/>
                  </a:lnTo>
                  <a:lnTo>
                    <a:pt x="106" y="19"/>
                  </a:lnTo>
                  <a:lnTo>
                    <a:pt x="106" y="24"/>
                  </a:lnTo>
                  <a:lnTo>
                    <a:pt x="106" y="26"/>
                  </a:lnTo>
                  <a:lnTo>
                    <a:pt x="109" y="31"/>
                  </a:lnTo>
                  <a:lnTo>
                    <a:pt x="114" y="38"/>
                  </a:lnTo>
                  <a:lnTo>
                    <a:pt x="118" y="38"/>
                  </a:lnTo>
                  <a:lnTo>
                    <a:pt x="121" y="40"/>
                  </a:lnTo>
                  <a:lnTo>
                    <a:pt x="132" y="40"/>
                  </a:lnTo>
                  <a:lnTo>
                    <a:pt x="137" y="43"/>
                  </a:lnTo>
                  <a:lnTo>
                    <a:pt x="147" y="45"/>
                  </a:lnTo>
                  <a:lnTo>
                    <a:pt x="151" y="47"/>
                  </a:lnTo>
                  <a:lnTo>
                    <a:pt x="154" y="47"/>
                  </a:lnTo>
                  <a:lnTo>
                    <a:pt x="156" y="50"/>
                  </a:lnTo>
                  <a:lnTo>
                    <a:pt x="158" y="52"/>
                  </a:lnTo>
                  <a:lnTo>
                    <a:pt x="163" y="57"/>
                  </a:lnTo>
                  <a:lnTo>
                    <a:pt x="168" y="59"/>
                  </a:lnTo>
                  <a:lnTo>
                    <a:pt x="173" y="59"/>
                  </a:lnTo>
                  <a:lnTo>
                    <a:pt x="180" y="57"/>
                  </a:lnTo>
                  <a:lnTo>
                    <a:pt x="182" y="54"/>
                  </a:lnTo>
                  <a:lnTo>
                    <a:pt x="184" y="52"/>
                  </a:lnTo>
                  <a:lnTo>
                    <a:pt x="187" y="47"/>
                  </a:lnTo>
                  <a:lnTo>
                    <a:pt x="189" y="45"/>
                  </a:lnTo>
                  <a:lnTo>
                    <a:pt x="189" y="43"/>
                  </a:lnTo>
                  <a:lnTo>
                    <a:pt x="187" y="38"/>
                  </a:lnTo>
                  <a:lnTo>
                    <a:pt x="187" y="36"/>
                  </a:lnTo>
                  <a:lnTo>
                    <a:pt x="187" y="31"/>
                  </a:lnTo>
                  <a:lnTo>
                    <a:pt x="187" y="26"/>
                  </a:lnTo>
                  <a:lnTo>
                    <a:pt x="187" y="24"/>
                  </a:lnTo>
                  <a:lnTo>
                    <a:pt x="192" y="17"/>
                  </a:lnTo>
                  <a:lnTo>
                    <a:pt x="194" y="17"/>
                  </a:lnTo>
                  <a:lnTo>
                    <a:pt x="199" y="10"/>
                  </a:lnTo>
                  <a:lnTo>
                    <a:pt x="206" y="7"/>
                  </a:lnTo>
                  <a:lnTo>
                    <a:pt x="210" y="7"/>
                  </a:lnTo>
                  <a:lnTo>
                    <a:pt x="213" y="5"/>
                  </a:lnTo>
                  <a:lnTo>
                    <a:pt x="225" y="5"/>
                  </a:lnTo>
                  <a:lnTo>
                    <a:pt x="232" y="10"/>
                  </a:lnTo>
                  <a:lnTo>
                    <a:pt x="234" y="10"/>
                  </a:lnTo>
                  <a:lnTo>
                    <a:pt x="236" y="10"/>
                  </a:lnTo>
                  <a:lnTo>
                    <a:pt x="241" y="12"/>
                  </a:lnTo>
                  <a:lnTo>
                    <a:pt x="241" y="14"/>
                  </a:lnTo>
                  <a:lnTo>
                    <a:pt x="241" y="14"/>
                  </a:lnTo>
                  <a:lnTo>
                    <a:pt x="239" y="14"/>
                  </a:lnTo>
                  <a:lnTo>
                    <a:pt x="241" y="17"/>
                  </a:lnTo>
                  <a:lnTo>
                    <a:pt x="243" y="19"/>
                  </a:lnTo>
                  <a:lnTo>
                    <a:pt x="246" y="21"/>
                  </a:lnTo>
                  <a:lnTo>
                    <a:pt x="246" y="19"/>
                  </a:lnTo>
                  <a:lnTo>
                    <a:pt x="251" y="21"/>
                  </a:lnTo>
                  <a:lnTo>
                    <a:pt x="253" y="21"/>
                  </a:lnTo>
                  <a:lnTo>
                    <a:pt x="255" y="21"/>
                  </a:lnTo>
                  <a:lnTo>
                    <a:pt x="260" y="24"/>
                  </a:lnTo>
                  <a:lnTo>
                    <a:pt x="265" y="24"/>
                  </a:lnTo>
                  <a:lnTo>
                    <a:pt x="272" y="26"/>
                  </a:lnTo>
                  <a:lnTo>
                    <a:pt x="277" y="26"/>
                  </a:lnTo>
                  <a:lnTo>
                    <a:pt x="277" y="31"/>
                  </a:lnTo>
                  <a:lnTo>
                    <a:pt x="277" y="31"/>
                  </a:lnTo>
                  <a:lnTo>
                    <a:pt x="274" y="31"/>
                  </a:lnTo>
                  <a:lnTo>
                    <a:pt x="274" y="36"/>
                  </a:lnTo>
                  <a:lnTo>
                    <a:pt x="272" y="38"/>
                  </a:lnTo>
                  <a:lnTo>
                    <a:pt x="272" y="38"/>
                  </a:lnTo>
                  <a:lnTo>
                    <a:pt x="272" y="40"/>
                  </a:lnTo>
                  <a:lnTo>
                    <a:pt x="274" y="50"/>
                  </a:lnTo>
                  <a:lnTo>
                    <a:pt x="274" y="54"/>
                  </a:lnTo>
                  <a:lnTo>
                    <a:pt x="274" y="57"/>
                  </a:lnTo>
                  <a:lnTo>
                    <a:pt x="274" y="59"/>
                  </a:lnTo>
                  <a:lnTo>
                    <a:pt x="272" y="59"/>
                  </a:lnTo>
                  <a:lnTo>
                    <a:pt x="269" y="62"/>
                  </a:lnTo>
                  <a:lnTo>
                    <a:pt x="269" y="64"/>
                  </a:lnTo>
                  <a:lnTo>
                    <a:pt x="269" y="69"/>
                  </a:lnTo>
                  <a:lnTo>
                    <a:pt x="272" y="73"/>
                  </a:lnTo>
                  <a:lnTo>
                    <a:pt x="272" y="73"/>
                  </a:lnTo>
                  <a:lnTo>
                    <a:pt x="272" y="78"/>
                  </a:lnTo>
                  <a:lnTo>
                    <a:pt x="277" y="83"/>
                  </a:lnTo>
                  <a:lnTo>
                    <a:pt x="277" y="97"/>
                  </a:lnTo>
                  <a:lnTo>
                    <a:pt x="277" y="116"/>
                  </a:lnTo>
                  <a:lnTo>
                    <a:pt x="277" y="135"/>
                  </a:lnTo>
                  <a:lnTo>
                    <a:pt x="277" y="154"/>
                  </a:lnTo>
                  <a:lnTo>
                    <a:pt x="277" y="170"/>
                  </a:lnTo>
                  <a:lnTo>
                    <a:pt x="277" y="189"/>
                  </a:lnTo>
                  <a:lnTo>
                    <a:pt x="277" y="206"/>
                  </a:lnTo>
                  <a:lnTo>
                    <a:pt x="277" y="220"/>
                  </a:lnTo>
                  <a:lnTo>
                    <a:pt x="277" y="236"/>
                  </a:lnTo>
                  <a:lnTo>
                    <a:pt x="277" y="255"/>
                  </a:lnTo>
                  <a:lnTo>
                    <a:pt x="260" y="255"/>
                  </a:lnTo>
                  <a:lnTo>
                    <a:pt x="260" y="265"/>
                  </a:lnTo>
                  <a:lnTo>
                    <a:pt x="258" y="265"/>
                  </a:lnTo>
                  <a:lnTo>
                    <a:pt x="243" y="258"/>
                  </a:lnTo>
                  <a:lnTo>
                    <a:pt x="227" y="248"/>
                  </a:lnTo>
                  <a:lnTo>
                    <a:pt x="213" y="241"/>
                  </a:lnTo>
                  <a:lnTo>
                    <a:pt x="199" y="234"/>
                  </a:lnTo>
                  <a:lnTo>
                    <a:pt x="182" y="227"/>
                  </a:lnTo>
                  <a:lnTo>
                    <a:pt x="168" y="217"/>
                  </a:lnTo>
                  <a:lnTo>
                    <a:pt x="154" y="210"/>
                  </a:lnTo>
                  <a:lnTo>
                    <a:pt x="140" y="203"/>
                  </a:lnTo>
                  <a:lnTo>
                    <a:pt x="123" y="194"/>
                  </a:lnTo>
                  <a:lnTo>
                    <a:pt x="121" y="194"/>
                  </a:lnTo>
                  <a:lnTo>
                    <a:pt x="104" y="199"/>
                  </a:lnTo>
                  <a:lnTo>
                    <a:pt x="102" y="199"/>
                  </a:lnTo>
                  <a:lnTo>
                    <a:pt x="97" y="201"/>
                  </a:lnTo>
                  <a:lnTo>
                    <a:pt x="95" y="199"/>
                  </a:lnTo>
                  <a:lnTo>
                    <a:pt x="95" y="196"/>
                  </a:lnTo>
                  <a:lnTo>
                    <a:pt x="90" y="194"/>
                  </a:lnTo>
                  <a:lnTo>
                    <a:pt x="88" y="194"/>
                  </a:lnTo>
                  <a:lnTo>
                    <a:pt x="88" y="191"/>
                  </a:lnTo>
                  <a:lnTo>
                    <a:pt x="83" y="191"/>
                  </a:lnTo>
                  <a:lnTo>
                    <a:pt x="71" y="189"/>
                  </a:lnTo>
                  <a:lnTo>
                    <a:pt x="57" y="189"/>
                  </a:lnTo>
                  <a:lnTo>
                    <a:pt x="47" y="189"/>
                  </a:lnTo>
                  <a:lnTo>
                    <a:pt x="47" y="189"/>
                  </a:lnTo>
                  <a:lnTo>
                    <a:pt x="45" y="19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8" name="Freeform 1127">
              <a:extLst>
                <a:ext uri="{FF2B5EF4-FFF2-40B4-BE49-F238E27FC236}">
                  <a16:creationId xmlns:a16="http://schemas.microsoft.com/office/drawing/2014/main" id="{BA42586A-6742-4CD7-BAC0-5934BEC83815}"/>
                </a:ext>
              </a:extLst>
            </p:cNvPr>
            <p:cNvSpPr>
              <a:spLocks/>
            </p:cNvSpPr>
            <p:nvPr/>
          </p:nvSpPr>
          <p:spPr bwMode="auto">
            <a:xfrm>
              <a:off x="1529605" y="3562315"/>
              <a:ext cx="439737" cy="420688"/>
            </a:xfrm>
            <a:custGeom>
              <a:avLst/>
              <a:gdLst>
                <a:gd name="T0" fmla="*/ 43 w 277"/>
                <a:gd name="T1" fmla="*/ 184 h 265"/>
                <a:gd name="T2" fmla="*/ 24 w 277"/>
                <a:gd name="T3" fmla="*/ 170 h 265"/>
                <a:gd name="T4" fmla="*/ 14 w 277"/>
                <a:gd name="T5" fmla="*/ 161 h 265"/>
                <a:gd name="T6" fmla="*/ 5 w 277"/>
                <a:gd name="T7" fmla="*/ 144 h 265"/>
                <a:gd name="T8" fmla="*/ 7 w 277"/>
                <a:gd name="T9" fmla="*/ 135 h 265"/>
                <a:gd name="T10" fmla="*/ 10 w 277"/>
                <a:gd name="T11" fmla="*/ 109 h 265"/>
                <a:gd name="T12" fmla="*/ 10 w 277"/>
                <a:gd name="T13" fmla="*/ 92 h 265"/>
                <a:gd name="T14" fmla="*/ 5 w 277"/>
                <a:gd name="T15" fmla="*/ 71 h 265"/>
                <a:gd name="T16" fmla="*/ 5 w 277"/>
                <a:gd name="T17" fmla="*/ 59 h 265"/>
                <a:gd name="T18" fmla="*/ 12 w 277"/>
                <a:gd name="T19" fmla="*/ 54 h 265"/>
                <a:gd name="T20" fmla="*/ 17 w 277"/>
                <a:gd name="T21" fmla="*/ 45 h 265"/>
                <a:gd name="T22" fmla="*/ 17 w 277"/>
                <a:gd name="T23" fmla="*/ 31 h 265"/>
                <a:gd name="T24" fmla="*/ 26 w 277"/>
                <a:gd name="T25" fmla="*/ 24 h 265"/>
                <a:gd name="T26" fmla="*/ 38 w 277"/>
                <a:gd name="T27" fmla="*/ 12 h 265"/>
                <a:gd name="T28" fmla="*/ 43 w 277"/>
                <a:gd name="T29" fmla="*/ 0 h 265"/>
                <a:gd name="T30" fmla="*/ 62 w 277"/>
                <a:gd name="T31" fmla="*/ 7 h 265"/>
                <a:gd name="T32" fmla="*/ 76 w 277"/>
                <a:gd name="T33" fmla="*/ 7 h 265"/>
                <a:gd name="T34" fmla="*/ 88 w 277"/>
                <a:gd name="T35" fmla="*/ 12 h 265"/>
                <a:gd name="T36" fmla="*/ 104 w 277"/>
                <a:gd name="T37" fmla="*/ 17 h 265"/>
                <a:gd name="T38" fmla="*/ 106 w 277"/>
                <a:gd name="T39" fmla="*/ 26 h 265"/>
                <a:gd name="T40" fmla="*/ 118 w 277"/>
                <a:gd name="T41" fmla="*/ 38 h 265"/>
                <a:gd name="T42" fmla="*/ 137 w 277"/>
                <a:gd name="T43" fmla="*/ 43 h 265"/>
                <a:gd name="T44" fmla="*/ 154 w 277"/>
                <a:gd name="T45" fmla="*/ 47 h 265"/>
                <a:gd name="T46" fmla="*/ 163 w 277"/>
                <a:gd name="T47" fmla="*/ 57 h 265"/>
                <a:gd name="T48" fmla="*/ 180 w 277"/>
                <a:gd name="T49" fmla="*/ 57 h 265"/>
                <a:gd name="T50" fmla="*/ 187 w 277"/>
                <a:gd name="T51" fmla="*/ 47 h 265"/>
                <a:gd name="T52" fmla="*/ 187 w 277"/>
                <a:gd name="T53" fmla="*/ 38 h 265"/>
                <a:gd name="T54" fmla="*/ 187 w 277"/>
                <a:gd name="T55" fmla="*/ 26 h 265"/>
                <a:gd name="T56" fmla="*/ 194 w 277"/>
                <a:gd name="T57" fmla="*/ 17 h 265"/>
                <a:gd name="T58" fmla="*/ 210 w 277"/>
                <a:gd name="T59" fmla="*/ 7 h 265"/>
                <a:gd name="T60" fmla="*/ 232 w 277"/>
                <a:gd name="T61" fmla="*/ 10 h 265"/>
                <a:gd name="T62" fmla="*/ 241 w 277"/>
                <a:gd name="T63" fmla="*/ 12 h 265"/>
                <a:gd name="T64" fmla="*/ 239 w 277"/>
                <a:gd name="T65" fmla="*/ 14 h 265"/>
                <a:gd name="T66" fmla="*/ 246 w 277"/>
                <a:gd name="T67" fmla="*/ 21 h 265"/>
                <a:gd name="T68" fmla="*/ 253 w 277"/>
                <a:gd name="T69" fmla="*/ 21 h 265"/>
                <a:gd name="T70" fmla="*/ 265 w 277"/>
                <a:gd name="T71" fmla="*/ 24 h 265"/>
                <a:gd name="T72" fmla="*/ 277 w 277"/>
                <a:gd name="T73" fmla="*/ 31 h 265"/>
                <a:gd name="T74" fmla="*/ 274 w 277"/>
                <a:gd name="T75" fmla="*/ 36 h 265"/>
                <a:gd name="T76" fmla="*/ 272 w 277"/>
                <a:gd name="T77" fmla="*/ 40 h 265"/>
                <a:gd name="T78" fmla="*/ 274 w 277"/>
                <a:gd name="T79" fmla="*/ 57 h 265"/>
                <a:gd name="T80" fmla="*/ 269 w 277"/>
                <a:gd name="T81" fmla="*/ 62 h 265"/>
                <a:gd name="T82" fmla="*/ 272 w 277"/>
                <a:gd name="T83" fmla="*/ 73 h 265"/>
                <a:gd name="T84" fmla="*/ 277 w 277"/>
                <a:gd name="T85" fmla="*/ 83 h 265"/>
                <a:gd name="T86" fmla="*/ 277 w 277"/>
                <a:gd name="T87" fmla="*/ 135 h 265"/>
                <a:gd name="T88" fmla="*/ 277 w 277"/>
                <a:gd name="T89" fmla="*/ 189 h 265"/>
                <a:gd name="T90" fmla="*/ 277 w 277"/>
                <a:gd name="T91" fmla="*/ 236 h 265"/>
                <a:gd name="T92" fmla="*/ 260 w 277"/>
                <a:gd name="T93" fmla="*/ 265 h 265"/>
                <a:gd name="T94" fmla="*/ 227 w 277"/>
                <a:gd name="T95" fmla="*/ 248 h 265"/>
                <a:gd name="T96" fmla="*/ 182 w 277"/>
                <a:gd name="T97" fmla="*/ 227 h 265"/>
                <a:gd name="T98" fmla="*/ 140 w 277"/>
                <a:gd name="T99" fmla="*/ 203 h 265"/>
                <a:gd name="T100" fmla="*/ 104 w 277"/>
                <a:gd name="T101" fmla="*/ 199 h 265"/>
                <a:gd name="T102" fmla="*/ 95 w 277"/>
                <a:gd name="T103" fmla="*/ 199 h 265"/>
                <a:gd name="T104" fmla="*/ 88 w 277"/>
                <a:gd name="T105" fmla="*/ 194 h 265"/>
                <a:gd name="T106" fmla="*/ 71 w 277"/>
                <a:gd name="T107" fmla="*/ 189 h 265"/>
                <a:gd name="T108" fmla="*/ 47 w 277"/>
                <a:gd name="T109" fmla="*/ 18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7" h="265">
                  <a:moveTo>
                    <a:pt x="45" y="191"/>
                  </a:moveTo>
                  <a:lnTo>
                    <a:pt x="45" y="189"/>
                  </a:lnTo>
                  <a:lnTo>
                    <a:pt x="43" y="184"/>
                  </a:lnTo>
                  <a:lnTo>
                    <a:pt x="38" y="175"/>
                  </a:lnTo>
                  <a:lnTo>
                    <a:pt x="29" y="170"/>
                  </a:lnTo>
                  <a:lnTo>
                    <a:pt x="24" y="170"/>
                  </a:lnTo>
                  <a:lnTo>
                    <a:pt x="19" y="170"/>
                  </a:lnTo>
                  <a:lnTo>
                    <a:pt x="14" y="165"/>
                  </a:lnTo>
                  <a:lnTo>
                    <a:pt x="14" y="161"/>
                  </a:lnTo>
                  <a:lnTo>
                    <a:pt x="12" y="156"/>
                  </a:lnTo>
                  <a:lnTo>
                    <a:pt x="10" y="151"/>
                  </a:lnTo>
                  <a:lnTo>
                    <a:pt x="5" y="144"/>
                  </a:lnTo>
                  <a:lnTo>
                    <a:pt x="3" y="139"/>
                  </a:lnTo>
                  <a:lnTo>
                    <a:pt x="3" y="137"/>
                  </a:lnTo>
                  <a:lnTo>
                    <a:pt x="7" y="135"/>
                  </a:lnTo>
                  <a:lnTo>
                    <a:pt x="10" y="132"/>
                  </a:lnTo>
                  <a:lnTo>
                    <a:pt x="10" y="116"/>
                  </a:lnTo>
                  <a:lnTo>
                    <a:pt x="10" y="109"/>
                  </a:lnTo>
                  <a:lnTo>
                    <a:pt x="10" y="104"/>
                  </a:lnTo>
                  <a:lnTo>
                    <a:pt x="10" y="102"/>
                  </a:lnTo>
                  <a:lnTo>
                    <a:pt x="10" y="92"/>
                  </a:lnTo>
                  <a:lnTo>
                    <a:pt x="10" y="85"/>
                  </a:lnTo>
                  <a:lnTo>
                    <a:pt x="7" y="78"/>
                  </a:lnTo>
                  <a:lnTo>
                    <a:pt x="5" y="71"/>
                  </a:lnTo>
                  <a:lnTo>
                    <a:pt x="0" y="66"/>
                  </a:lnTo>
                  <a:lnTo>
                    <a:pt x="0" y="62"/>
                  </a:lnTo>
                  <a:lnTo>
                    <a:pt x="5" y="59"/>
                  </a:lnTo>
                  <a:lnTo>
                    <a:pt x="5" y="57"/>
                  </a:lnTo>
                  <a:lnTo>
                    <a:pt x="10" y="57"/>
                  </a:lnTo>
                  <a:lnTo>
                    <a:pt x="12" y="54"/>
                  </a:lnTo>
                  <a:lnTo>
                    <a:pt x="14" y="52"/>
                  </a:lnTo>
                  <a:lnTo>
                    <a:pt x="17" y="50"/>
                  </a:lnTo>
                  <a:lnTo>
                    <a:pt x="17" y="45"/>
                  </a:lnTo>
                  <a:lnTo>
                    <a:pt x="17" y="38"/>
                  </a:lnTo>
                  <a:lnTo>
                    <a:pt x="17" y="33"/>
                  </a:lnTo>
                  <a:lnTo>
                    <a:pt x="17" y="31"/>
                  </a:lnTo>
                  <a:lnTo>
                    <a:pt x="21" y="31"/>
                  </a:lnTo>
                  <a:lnTo>
                    <a:pt x="24" y="28"/>
                  </a:lnTo>
                  <a:lnTo>
                    <a:pt x="26" y="24"/>
                  </a:lnTo>
                  <a:lnTo>
                    <a:pt x="36" y="19"/>
                  </a:lnTo>
                  <a:lnTo>
                    <a:pt x="38" y="17"/>
                  </a:lnTo>
                  <a:lnTo>
                    <a:pt x="38" y="12"/>
                  </a:lnTo>
                  <a:lnTo>
                    <a:pt x="38" y="2"/>
                  </a:lnTo>
                  <a:lnTo>
                    <a:pt x="38" y="0"/>
                  </a:lnTo>
                  <a:lnTo>
                    <a:pt x="43" y="0"/>
                  </a:lnTo>
                  <a:lnTo>
                    <a:pt x="45" y="2"/>
                  </a:lnTo>
                  <a:lnTo>
                    <a:pt x="55" y="7"/>
                  </a:lnTo>
                  <a:lnTo>
                    <a:pt x="62" y="7"/>
                  </a:lnTo>
                  <a:lnTo>
                    <a:pt x="69" y="5"/>
                  </a:lnTo>
                  <a:lnTo>
                    <a:pt x="73" y="7"/>
                  </a:lnTo>
                  <a:lnTo>
                    <a:pt x="76" y="7"/>
                  </a:lnTo>
                  <a:lnTo>
                    <a:pt x="80" y="7"/>
                  </a:lnTo>
                  <a:lnTo>
                    <a:pt x="85" y="10"/>
                  </a:lnTo>
                  <a:lnTo>
                    <a:pt x="88" y="12"/>
                  </a:lnTo>
                  <a:lnTo>
                    <a:pt x="95" y="14"/>
                  </a:lnTo>
                  <a:lnTo>
                    <a:pt x="99" y="17"/>
                  </a:lnTo>
                  <a:lnTo>
                    <a:pt x="104" y="17"/>
                  </a:lnTo>
                  <a:lnTo>
                    <a:pt x="106" y="19"/>
                  </a:lnTo>
                  <a:lnTo>
                    <a:pt x="106" y="24"/>
                  </a:lnTo>
                  <a:lnTo>
                    <a:pt x="106" y="26"/>
                  </a:lnTo>
                  <a:lnTo>
                    <a:pt x="109" y="31"/>
                  </a:lnTo>
                  <a:lnTo>
                    <a:pt x="114" y="38"/>
                  </a:lnTo>
                  <a:lnTo>
                    <a:pt x="118" y="38"/>
                  </a:lnTo>
                  <a:lnTo>
                    <a:pt x="121" y="40"/>
                  </a:lnTo>
                  <a:lnTo>
                    <a:pt x="132" y="40"/>
                  </a:lnTo>
                  <a:lnTo>
                    <a:pt x="137" y="43"/>
                  </a:lnTo>
                  <a:lnTo>
                    <a:pt x="147" y="45"/>
                  </a:lnTo>
                  <a:lnTo>
                    <a:pt x="151" y="47"/>
                  </a:lnTo>
                  <a:lnTo>
                    <a:pt x="154" y="47"/>
                  </a:lnTo>
                  <a:lnTo>
                    <a:pt x="156" y="50"/>
                  </a:lnTo>
                  <a:lnTo>
                    <a:pt x="158" y="52"/>
                  </a:lnTo>
                  <a:lnTo>
                    <a:pt x="163" y="57"/>
                  </a:lnTo>
                  <a:lnTo>
                    <a:pt x="168" y="59"/>
                  </a:lnTo>
                  <a:lnTo>
                    <a:pt x="173" y="59"/>
                  </a:lnTo>
                  <a:lnTo>
                    <a:pt x="180" y="57"/>
                  </a:lnTo>
                  <a:lnTo>
                    <a:pt x="182" y="54"/>
                  </a:lnTo>
                  <a:lnTo>
                    <a:pt x="184" y="52"/>
                  </a:lnTo>
                  <a:lnTo>
                    <a:pt x="187" y="47"/>
                  </a:lnTo>
                  <a:lnTo>
                    <a:pt x="189" y="45"/>
                  </a:lnTo>
                  <a:lnTo>
                    <a:pt x="189" y="43"/>
                  </a:lnTo>
                  <a:lnTo>
                    <a:pt x="187" y="38"/>
                  </a:lnTo>
                  <a:lnTo>
                    <a:pt x="187" y="36"/>
                  </a:lnTo>
                  <a:lnTo>
                    <a:pt x="187" y="31"/>
                  </a:lnTo>
                  <a:lnTo>
                    <a:pt x="187" y="26"/>
                  </a:lnTo>
                  <a:lnTo>
                    <a:pt x="187" y="24"/>
                  </a:lnTo>
                  <a:lnTo>
                    <a:pt x="192" y="17"/>
                  </a:lnTo>
                  <a:lnTo>
                    <a:pt x="194" y="17"/>
                  </a:lnTo>
                  <a:lnTo>
                    <a:pt x="199" y="10"/>
                  </a:lnTo>
                  <a:lnTo>
                    <a:pt x="206" y="7"/>
                  </a:lnTo>
                  <a:lnTo>
                    <a:pt x="210" y="7"/>
                  </a:lnTo>
                  <a:lnTo>
                    <a:pt x="213" y="5"/>
                  </a:lnTo>
                  <a:lnTo>
                    <a:pt x="225" y="5"/>
                  </a:lnTo>
                  <a:lnTo>
                    <a:pt x="232" y="10"/>
                  </a:lnTo>
                  <a:lnTo>
                    <a:pt x="234" y="10"/>
                  </a:lnTo>
                  <a:lnTo>
                    <a:pt x="236" y="10"/>
                  </a:lnTo>
                  <a:lnTo>
                    <a:pt x="241" y="12"/>
                  </a:lnTo>
                  <a:lnTo>
                    <a:pt x="241" y="14"/>
                  </a:lnTo>
                  <a:lnTo>
                    <a:pt x="241" y="14"/>
                  </a:lnTo>
                  <a:lnTo>
                    <a:pt x="239" y="14"/>
                  </a:lnTo>
                  <a:lnTo>
                    <a:pt x="241" y="17"/>
                  </a:lnTo>
                  <a:lnTo>
                    <a:pt x="243" y="19"/>
                  </a:lnTo>
                  <a:lnTo>
                    <a:pt x="246" y="21"/>
                  </a:lnTo>
                  <a:lnTo>
                    <a:pt x="246" y="19"/>
                  </a:lnTo>
                  <a:lnTo>
                    <a:pt x="251" y="21"/>
                  </a:lnTo>
                  <a:lnTo>
                    <a:pt x="253" y="21"/>
                  </a:lnTo>
                  <a:lnTo>
                    <a:pt x="255" y="21"/>
                  </a:lnTo>
                  <a:lnTo>
                    <a:pt x="260" y="24"/>
                  </a:lnTo>
                  <a:lnTo>
                    <a:pt x="265" y="24"/>
                  </a:lnTo>
                  <a:lnTo>
                    <a:pt x="272" y="26"/>
                  </a:lnTo>
                  <a:lnTo>
                    <a:pt x="277" y="26"/>
                  </a:lnTo>
                  <a:lnTo>
                    <a:pt x="277" y="31"/>
                  </a:lnTo>
                  <a:lnTo>
                    <a:pt x="277" y="31"/>
                  </a:lnTo>
                  <a:lnTo>
                    <a:pt x="274" y="31"/>
                  </a:lnTo>
                  <a:lnTo>
                    <a:pt x="274" y="36"/>
                  </a:lnTo>
                  <a:lnTo>
                    <a:pt x="272" y="38"/>
                  </a:lnTo>
                  <a:lnTo>
                    <a:pt x="272" y="38"/>
                  </a:lnTo>
                  <a:lnTo>
                    <a:pt x="272" y="40"/>
                  </a:lnTo>
                  <a:lnTo>
                    <a:pt x="274" y="50"/>
                  </a:lnTo>
                  <a:lnTo>
                    <a:pt x="274" y="54"/>
                  </a:lnTo>
                  <a:lnTo>
                    <a:pt x="274" y="57"/>
                  </a:lnTo>
                  <a:lnTo>
                    <a:pt x="274" y="59"/>
                  </a:lnTo>
                  <a:lnTo>
                    <a:pt x="272" y="59"/>
                  </a:lnTo>
                  <a:lnTo>
                    <a:pt x="269" y="62"/>
                  </a:lnTo>
                  <a:lnTo>
                    <a:pt x="269" y="64"/>
                  </a:lnTo>
                  <a:lnTo>
                    <a:pt x="269" y="69"/>
                  </a:lnTo>
                  <a:lnTo>
                    <a:pt x="272" y="73"/>
                  </a:lnTo>
                  <a:lnTo>
                    <a:pt x="272" y="73"/>
                  </a:lnTo>
                  <a:lnTo>
                    <a:pt x="272" y="78"/>
                  </a:lnTo>
                  <a:lnTo>
                    <a:pt x="277" y="83"/>
                  </a:lnTo>
                  <a:lnTo>
                    <a:pt x="277" y="97"/>
                  </a:lnTo>
                  <a:lnTo>
                    <a:pt x="277" y="116"/>
                  </a:lnTo>
                  <a:lnTo>
                    <a:pt x="277" y="135"/>
                  </a:lnTo>
                  <a:lnTo>
                    <a:pt x="277" y="154"/>
                  </a:lnTo>
                  <a:lnTo>
                    <a:pt x="277" y="170"/>
                  </a:lnTo>
                  <a:lnTo>
                    <a:pt x="277" y="189"/>
                  </a:lnTo>
                  <a:lnTo>
                    <a:pt x="277" y="206"/>
                  </a:lnTo>
                  <a:lnTo>
                    <a:pt x="277" y="220"/>
                  </a:lnTo>
                  <a:lnTo>
                    <a:pt x="277" y="236"/>
                  </a:lnTo>
                  <a:lnTo>
                    <a:pt x="277" y="255"/>
                  </a:lnTo>
                  <a:lnTo>
                    <a:pt x="260" y="255"/>
                  </a:lnTo>
                  <a:lnTo>
                    <a:pt x="260" y="265"/>
                  </a:lnTo>
                  <a:lnTo>
                    <a:pt x="258" y="265"/>
                  </a:lnTo>
                  <a:lnTo>
                    <a:pt x="243" y="258"/>
                  </a:lnTo>
                  <a:lnTo>
                    <a:pt x="227" y="248"/>
                  </a:lnTo>
                  <a:lnTo>
                    <a:pt x="213" y="241"/>
                  </a:lnTo>
                  <a:lnTo>
                    <a:pt x="199" y="234"/>
                  </a:lnTo>
                  <a:lnTo>
                    <a:pt x="182" y="227"/>
                  </a:lnTo>
                  <a:lnTo>
                    <a:pt x="168" y="217"/>
                  </a:lnTo>
                  <a:lnTo>
                    <a:pt x="154" y="210"/>
                  </a:lnTo>
                  <a:lnTo>
                    <a:pt x="140" y="203"/>
                  </a:lnTo>
                  <a:lnTo>
                    <a:pt x="123" y="194"/>
                  </a:lnTo>
                  <a:lnTo>
                    <a:pt x="121" y="194"/>
                  </a:lnTo>
                  <a:lnTo>
                    <a:pt x="104" y="199"/>
                  </a:lnTo>
                  <a:lnTo>
                    <a:pt x="102" y="199"/>
                  </a:lnTo>
                  <a:lnTo>
                    <a:pt x="97" y="201"/>
                  </a:lnTo>
                  <a:lnTo>
                    <a:pt x="95" y="199"/>
                  </a:lnTo>
                  <a:lnTo>
                    <a:pt x="95" y="196"/>
                  </a:lnTo>
                  <a:lnTo>
                    <a:pt x="90" y="194"/>
                  </a:lnTo>
                  <a:lnTo>
                    <a:pt x="88" y="194"/>
                  </a:lnTo>
                  <a:lnTo>
                    <a:pt x="88" y="191"/>
                  </a:lnTo>
                  <a:lnTo>
                    <a:pt x="83" y="191"/>
                  </a:lnTo>
                  <a:lnTo>
                    <a:pt x="71" y="189"/>
                  </a:lnTo>
                  <a:lnTo>
                    <a:pt x="57" y="189"/>
                  </a:lnTo>
                  <a:lnTo>
                    <a:pt x="47" y="189"/>
                  </a:lnTo>
                  <a:lnTo>
                    <a:pt x="47" y="189"/>
                  </a:lnTo>
                  <a:lnTo>
                    <a:pt x="45" y="191"/>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19" name="Freeform 1128">
              <a:extLst>
                <a:ext uri="{FF2B5EF4-FFF2-40B4-BE49-F238E27FC236}">
                  <a16:creationId xmlns:a16="http://schemas.microsoft.com/office/drawing/2014/main" id="{A4D895CB-69AE-4F16-9584-705257A872E7}"/>
                </a:ext>
              </a:extLst>
            </p:cNvPr>
            <p:cNvSpPr>
              <a:spLocks/>
            </p:cNvSpPr>
            <p:nvPr/>
          </p:nvSpPr>
          <p:spPr bwMode="auto">
            <a:xfrm>
              <a:off x="940642" y="3817903"/>
              <a:ext cx="450849" cy="430213"/>
            </a:xfrm>
            <a:custGeom>
              <a:avLst/>
              <a:gdLst>
                <a:gd name="T0" fmla="*/ 232 w 284"/>
                <a:gd name="T1" fmla="*/ 78 h 271"/>
                <a:gd name="T2" fmla="*/ 241 w 284"/>
                <a:gd name="T3" fmla="*/ 82 h 271"/>
                <a:gd name="T4" fmla="*/ 248 w 284"/>
                <a:gd name="T5" fmla="*/ 90 h 271"/>
                <a:gd name="T6" fmla="*/ 258 w 284"/>
                <a:gd name="T7" fmla="*/ 94 h 271"/>
                <a:gd name="T8" fmla="*/ 267 w 284"/>
                <a:gd name="T9" fmla="*/ 97 h 271"/>
                <a:gd name="T10" fmla="*/ 267 w 284"/>
                <a:gd name="T11" fmla="*/ 101 h 271"/>
                <a:gd name="T12" fmla="*/ 267 w 284"/>
                <a:gd name="T13" fmla="*/ 108 h 271"/>
                <a:gd name="T14" fmla="*/ 274 w 284"/>
                <a:gd name="T15" fmla="*/ 113 h 271"/>
                <a:gd name="T16" fmla="*/ 284 w 284"/>
                <a:gd name="T17" fmla="*/ 111 h 271"/>
                <a:gd name="T18" fmla="*/ 284 w 284"/>
                <a:gd name="T19" fmla="*/ 167 h 271"/>
                <a:gd name="T20" fmla="*/ 274 w 284"/>
                <a:gd name="T21" fmla="*/ 175 h 271"/>
                <a:gd name="T22" fmla="*/ 265 w 284"/>
                <a:gd name="T23" fmla="*/ 179 h 271"/>
                <a:gd name="T24" fmla="*/ 215 w 284"/>
                <a:gd name="T25" fmla="*/ 186 h 271"/>
                <a:gd name="T26" fmla="*/ 180 w 284"/>
                <a:gd name="T27" fmla="*/ 201 h 271"/>
                <a:gd name="T28" fmla="*/ 149 w 284"/>
                <a:gd name="T29" fmla="*/ 215 h 271"/>
                <a:gd name="T30" fmla="*/ 140 w 284"/>
                <a:gd name="T31" fmla="*/ 229 h 271"/>
                <a:gd name="T32" fmla="*/ 126 w 284"/>
                <a:gd name="T33" fmla="*/ 245 h 271"/>
                <a:gd name="T34" fmla="*/ 121 w 284"/>
                <a:gd name="T35" fmla="*/ 264 h 271"/>
                <a:gd name="T36" fmla="*/ 116 w 284"/>
                <a:gd name="T37" fmla="*/ 267 h 271"/>
                <a:gd name="T38" fmla="*/ 107 w 284"/>
                <a:gd name="T39" fmla="*/ 269 h 271"/>
                <a:gd name="T40" fmla="*/ 104 w 284"/>
                <a:gd name="T41" fmla="*/ 264 h 271"/>
                <a:gd name="T42" fmla="*/ 100 w 284"/>
                <a:gd name="T43" fmla="*/ 264 h 271"/>
                <a:gd name="T44" fmla="*/ 95 w 284"/>
                <a:gd name="T45" fmla="*/ 264 h 271"/>
                <a:gd name="T46" fmla="*/ 90 w 284"/>
                <a:gd name="T47" fmla="*/ 269 h 271"/>
                <a:gd name="T48" fmla="*/ 85 w 284"/>
                <a:gd name="T49" fmla="*/ 269 h 271"/>
                <a:gd name="T50" fmla="*/ 83 w 284"/>
                <a:gd name="T51" fmla="*/ 267 h 271"/>
                <a:gd name="T52" fmla="*/ 76 w 284"/>
                <a:gd name="T53" fmla="*/ 267 h 271"/>
                <a:gd name="T54" fmla="*/ 74 w 284"/>
                <a:gd name="T55" fmla="*/ 269 h 271"/>
                <a:gd name="T56" fmla="*/ 66 w 284"/>
                <a:gd name="T57" fmla="*/ 257 h 271"/>
                <a:gd name="T58" fmla="*/ 62 w 284"/>
                <a:gd name="T59" fmla="*/ 257 h 271"/>
                <a:gd name="T60" fmla="*/ 64 w 284"/>
                <a:gd name="T61" fmla="*/ 252 h 271"/>
                <a:gd name="T62" fmla="*/ 64 w 284"/>
                <a:gd name="T63" fmla="*/ 250 h 271"/>
                <a:gd name="T64" fmla="*/ 59 w 284"/>
                <a:gd name="T65" fmla="*/ 245 h 271"/>
                <a:gd name="T66" fmla="*/ 57 w 284"/>
                <a:gd name="T67" fmla="*/ 236 h 271"/>
                <a:gd name="T68" fmla="*/ 55 w 284"/>
                <a:gd name="T69" fmla="*/ 229 h 271"/>
                <a:gd name="T70" fmla="*/ 50 w 284"/>
                <a:gd name="T71" fmla="*/ 229 h 271"/>
                <a:gd name="T72" fmla="*/ 43 w 284"/>
                <a:gd name="T73" fmla="*/ 236 h 271"/>
                <a:gd name="T74" fmla="*/ 31 w 284"/>
                <a:gd name="T75" fmla="*/ 234 h 271"/>
                <a:gd name="T76" fmla="*/ 26 w 284"/>
                <a:gd name="T77" fmla="*/ 238 h 271"/>
                <a:gd name="T78" fmla="*/ 17 w 284"/>
                <a:gd name="T79" fmla="*/ 238 h 271"/>
                <a:gd name="T80" fmla="*/ 14 w 284"/>
                <a:gd name="T81" fmla="*/ 234 h 271"/>
                <a:gd name="T82" fmla="*/ 14 w 284"/>
                <a:gd name="T83" fmla="*/ 229 h 271"/>
                <a:gd name="T84" fmla="*/ 14 w 284"/>
                <a:gd name="T85" fmla="*/ 222 h 271"/>
                <a:gd name="T86" fmla="*/ 12 w 284"/>
                <a:gd name="T87" fmla="*/ 217 h 271"/>
                <a:gd name="T88" fmla="*/ 7 w 284"/>
                <a:gd name="T89" fmla="*/ 215 h 271"/>
                <a:gd name="T90" fmla="*/ 3 w 284"/>
                <a:gd name="T91" fmla="*/ 208 h 271"/>
                <a:gd name="T92" fmla="*/ 3 w 284"/>
                <a:gd name="T93" fmla="*/ 198 h 271"/>
                <a:gd name="T94" fmla="*/ 0 w 284"/>
                <a:gd name="T95" fmla="*/ 193 h 271"/>
                <a:gd name="T96" fmla="*/ 10 w 284"/>
                <a:gd name="T97" fmla="*/ 177 h 271"/>
                <a:gd name="T98" fmla="*/ 14 w 284"/>
                <a:gd name="T99" fmla="*/ 170 h 271"/>
                <a:gd name="T100" fmla="*/ 29 w 284"/>
                <a:gd name="T101" fmla="*/ 182 h 271"/>
                <a:gd name="T102" fmla="*/ 109 w 284"/>
                <a:gd name="T103" fmla="*/ 177 h 271"/>
                <a:gd name="T104" fmla="*/ 109 w 284"/>
                <a:gd name="T105" fmla="*/ 125 h 271"/>
                <a:gd name="T106" fmla="*/ 100 w 284"/>
                <a:gd name="T107" fmla="*/ 3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4" h="271">
                  <a:moveTo>
                    <a:pt x="147" y="14"/>
                  </a:moveTo>
                  <a:lnTo>
                    <a:pt x="232" y="73"/>
                  </a:lnTo>
                  <a:lnTo>
                    <a:pt x="232" y="73"/>
                  </a:lnTo>
                  <a:lnTo>
                    <a:pt x="232" y="75"/>
                  </a:lnTo>
                  <a:lnTo>
                    <a:pt x="232" y="78"/>
                  </a:lnTo>
                  <a:lnTo>
                    <a:pt x="232" y="80"/>
                  </a:lnTo>
                  <a:lnTo>
                    <a:pt x="234" y="80"/>
                  </a:lnTo>
                  <a:lnTo>
                    <a:pt x="237" y="80"/>
                  </a:lnTo>
                  <a:lnTo>
                    <a:pt x="239" y="82"/>
                  </a:lnTo>
                  <a:lnTo>
                    <a:pt x="241" y="82"/>
                  </a:lnTo>
                  <a:lnTo>
                    <a:pt x="241" y="85"/>
                  </a:lnTo>
                  <a:lnTo>
                    <a:pt x="241" y="87"/>
                  </a:lnTo>
                  <a:lnTo>
                    <a:pt x="244" y="90"/>
                  </a:lnTo>
                  <a:lnTo>
                    <a:pt x="246" y="90"/>
                  </a:lnTo>
                  <a:lnTo>
                    <a:pt x="248" y="90"/>
                  </a:lnTo>
                  <a:lnTo>
                    <a:pt x="251" y="90"/>
                  </a:lnTo>
                  <a:lnTo>
                    <a:pt x="253" y="90"/>
                  </a:lnTo>
                  <a:lnTo>
                    <a:pt x="253" y="92"/>
                  </a:lnTo>
                  <a:lnTo>
                    <a:pt x="255" y="94"/>
                  </a:lnTo>
                  <a:lnTo>
                    <a:pt x="258" y="94"/>
                  </a:lnTo>
                  <a:lnTo>
                    <a:pt x="260" y="94"/>
                  </a:lnTo>
                  <a:lnTo>
                    <a:pt x="260" y="94"/>
                  </a:lnTo>
                  <a:lnTo>
                    <a:pt x="263" y="97"/>
                  </a:lnTo>
                  <a:lnTo>
                    <a:pt x="267" y="97"/>
                  </a:lnTo>
                  <a:lnTo>
                    <a:pt x="267" y="97"/>
                  </a:lnTo>
                  <a:lnTo>
                    <a:pt x="267" y="99"/>
                  </a:lnTo>
                  <a:lnTo>
                    <a:pt x="267" y="99"/>
                  </a:lnTo>
                  <a:lnTo>
                    <a:pt x="270" y="99"/>
                  </a:lnTo>
                  <a:lnTo>
                    <a:pt x="267" y="101"/>
                  </a:lnTo>
                  <a:lnTo>
                    <a:pt x="267" y="101"/>
                  </a:lnTo>
                  <a:lnTo>
                    <a:pt x="270" y="104"/>
                  </a:lnTo>
                  <a:lnTo>
                    <a:pt x="270" y="104"/>
                  </a:lnTo>
                  <a:lnTo>
                    <a:pt x="267" y="106"/>
                  </a:lnTo>
                  <a:lnTo>
                    <a:pt x="267" y="106"/>
                  </a:lnTo>
                  <a:lnTo>
                    <a:pt x="267" y="108"/>
                  </a:lnTo>
                  <a:lnTo>
                    <a:pt x="267" y="108"/>
                  </a:lnTo>
                  <a:lnTo>
                    <a:pt x="267" y="111"/>
                  </a:lnTo>
                  <a:lnTo>
                    <a:pt x="270" y="113"/>
                  </a:lnTo>
                  <a:lnTo>
                    <a:pt x="272" y="113"/>
                  </a:lnTo>
                  <a:lnTo>
                    <a:pt x="274" y="113"/>
                  </a:lnTo>
                  <a:lnTo>
                    <a:pt x="277" y="113"/>
                  </a:lnTo>
                  <a:lnTo>
                    <a:pt x="279" y="113"/>
                  </a:lnTo>
                  <a:lnTo>
                    <a:pt x="281" y="111"/>
                  </a:lnTo>
                  <a:lnTo>
                    <a:pt x="284" y="111"/>
                  </a:lnTo>
                  <a:lnTo>
                    <a:pt x="284" y="111"/>
                  </a:lnTo>
                  <a:lnTo>
                    <a:pt x="284" y="111"/>
                  </a:lnTo>
                  <a:lnTo>
                    <a:pt x="284" y="115"/>
                  </a:lnTo>
                  <a:lnTo>
                    <a:pt x="284" y="132"/>
                  </a:lnTo>
                  <a:lnTo>
                    <a:pt x="284" y="149"/>
                  </a:lnTo>
                  <a:lnTo>
                    <a:pt x="284" y="167"/>
                  </a:lnTo>
                  <a:lnTo>
                    <a:pt x="284" y="167"/>
                  </a:lnTo>
                  <a:lnTo>
                    <a:pt x="279" y="170"/>
                  </a:lnTo>
                  <a:lnTo>
                    <a:pt x="279" y="170"/>
                  </a:lnTo>
                  <a:lnTo>
                    <a:pt x="279" y="172"/>
                  </a:lnTo>
                  <a:lnTo>
                    <a:pt x="274" y="175"/>
                  </a:lnTo>
                  <a:lnTo>
                    <a:pt x="274" y="177"/>
                  </a:lnTo>
                  <a:lnTo>
                    <a:pt x="272" y="177"/>
                  </a:lnTo>
                  <a:lnTo>
                    <a:pt x="272" y="179"/>
                  </a:lnTo>
                  <a:lnTo>
                    <a:pt x="267" y="179"/>
                  </a:lnTo>
                  <a:lnTo>
                    <a:pt x="265" y="179"/>
                  </a:lnTo>
                  <a:lnTo>
                    <a:pt x="265" y="179"/>
                  </a:lnTo>
                  <a:lnTo>
                    <a:pt x="263" y="179"/>
                  </a:lnTo>
                  <a:lnTo>
                    <a:pt x="234" y="179"/>
                  </a:lnTo>
                  <a:lnTo>
                    <a:pt x="227" y="186"/>
                  </a:lnTo>
                  <a:lnTo>
                    <a:pt x="215" y="186"/>
                  </a:lnTo>
                  <a:lnTo>
                    <a:pt x="203" y="186"/>
                  </a:lnTo>
                  <a:lnTo>
                    <a:pt x="199" y="189"/>
                  </a:lnTo>
                  <a:lnTo>
                    <a:pt x="196" y="189"/>
                  </a:lnTo>
                  <a:lnTo>
                    <a:pt x="192" y="193"/>
                  </a:lnTo>
                  <a:lnTo>
                    <a:pt x="180" y="201"/>
                  </a:lnTo>
                  <a:lnTo>
                    <a:pt x="175" y="208"/>
                  </a:lnTo>
                  <a:lnTo>
                    <a:pt x="168" y="210"/>
                  </a:lnTo>
                  <a:lnTo>
                    <a:pt x="156" y="215"/>
                  </a:lnTo>
                  <a:lnTo>
                    <a:pt x="154" y="215"/>
                  </a:lnTo>
                  <a:lnTo>
                    <a:pt x="149" y="215"/>
                  </a:lnTo>
                  <a:lnTo>
                    <a:pt x="147" y="217"/>
                  </a:lnTo>
                  <a:lnTo>
                    <a:pt x="144" y="217"/>
                  </a:lnTo>
                  <a:lnTo>
                    <a:pt x="142" y="219"/>
                  </a:lnTo>
                  <a:lnTo>
                    <a:pt x="142" y="224"/>
                  </a:lnTo>
                  <a:lnTo>
                    <a:pt x="140" y="229"/>
                  </a:lnTo>
                  <a:lnTo>
                    <a:pt x="137" y="234"/>
                  </a:lnTo>
                  <a:lnTo>
                    <a:pt x="135" y="238"/>
                  </a:lnTo>
                  <a:lnTo>
                    <a:pt x="130" y="241"/>
                  </a:lnTo>
                  <a:lnTo>
                    <a:pt x="128" y="243"/>
                  </a:lnTo>
                  <a:lnTo>
                    <a:pt x="126" y="245"/>
                  </a:lnTo>
                  <a:lnTo>
                    <a:pt x="126" y="248"/>
                  </a:lnTo>
                  <a:lnTo>
                    <a:pt x="126" y="250"/>
                  </a:lnTo>
                  <a:lnTo>
                    <a:pt x="121" y="257"/>
                  </a:lnTo>
                  <a:lnTo>
                    <a:pt x="121" y="260"/>
                  </a:lnTo>
                  <a:lnTo>
                    <a:pt x="121" y="264"/>
                  </a:lnTo>
                  <a:lnTo>
                    <a:pt x="121" y="269"/>
                  </a:lnTo>
                  <a:lnTo>
                    <a:pt x="118" y="269"/>
                  </a:lnTo>
                  <a:lnTo>
                    <a:pt x="118" y="269"/>
                  </a:lnTo>
                  <a:lnTo>
                    <a:pt x="116" y="267"/>
                  </a:lnTo>
                  <a:lnTo>
                    <a:pt x="116" y="267"/>
                  </a:lnTo>
                  <a:lnTo>
                    <a:pt x="111" y="267"/>
                  </a:lnTo>
                  <a:lnTo>
                    <a:pt x="111" y="267"/>
                  </a:lnTo>
                  <a:lnTo>
                    <a:pt x="109" y="269"/>
                  </a:lnTo>
                  <a:lnTo>
                    <a:pt x="109" y="269"/>
                  </a:lnTo>
                  <a:lnTo>
                    <a:pt x="107" y="269"/>
                  </a:lnTo>
                  <a:lnTo>
                    <a:pt x="104" y="269"/>
                  </a:lnTo>
                  <a:lnTo>
                    <a:pt x="104" y="269"/>
                  </a:lnTo>
                  <a:lnTo>
                    <a:pt x="104" y="264"/>
                  </a:lnTo>
                  <a:lnTo>
                    <a:pt x="104" y="264"/>
                  </a:lnTo>
                  <a:lnTo>
                    <a:pt x="104" y="264"/>
                  </a:lnTo>
                  <a:lnTo>
                    <a:pt x="104" y="262"/>
                  </a:lnTo>
                  <a:lnTo>
                    <a:pt x="104" y="262"/>
                  </a:lnTo>
                  <a:lnTo>
                    <a:pt x="102" y="262"/>
                  </a:lnTo>
                  <a:lnTo>
                    <a:pt x="100" y="262"/>
                  </a:lnTo>
                  <a:lnTo>
                    <a:pt x="100" y="264"/>
                  </a:lnTo>
                  <a:lnTo>
                    <a:pt x="100" y="264"/>
                  </a:lnTo>
                  <a:lnTo>
                    <a:pt x="97" y="262"/>
                  </a:lnTo>
                  <a:lnTo>
                    <a:pt x="97" y="262"/>
                  </a:lnTo>
                  <a:lnTo>
                    <a:pt x="95" y="264"/>
                  </a:lnTo>
                  <a:lnTo>
                    <a:pt x="95" y="264"/>
                  </a:lnTo>
                  <a:lnTo>
                    <a:pt x="97" y="267"/>
                  </a:lnTo>
                  <a:lnTo>
                    <a:pt x="95" y="269"/>
                  </a:lnTo>
                  <a:lnTo>
                    <a:pt x="92" y="269"/>
                  </a:lnTo>
                  <a:lnTo>
                    <a:pt x="90" y="269"/>
                  </a:lnTo>
                  <a:lnTo>
                    <a:pt x="90" y="269"/>
                  </a:lnTo>
                  <a:lnTo>
                    <a:pt x="90" y="271"/>
                  </a:lnTo>
                  <a:lnTo>
                    <a:pt x="88" y="271"/>
                  </a:lnTo>
                  <a:lnTo>
                    <a:pt x="88" y="271"/>
                  </a:lnTo>
                  <a:lnTo>
                    <a:pt x="85" y="269"/>
                  </a:lnTo>
                  <a:lnTo>
                    <a:pt x="85" y="269"/>
                  </a:lnTo>
                  <a:lnTo>
                    <a:pt x="85" y="269"/>
                  </a:lnTo>
                  <a:lnTo>
                    <a:pt x="85" y="269"/>
                  </a:lnTo>
                  <a:lnTo>
                    <a:pt x="83" y="269"/>
                  </a:lnTo>
                  <a:lnTo>
                    <a:pt x="83" y="269"/>
                  </a:lnTo>
                  <a:lnTo>
                    <a:pt x="83" y="267"/>
                  </a:lnTo>
                  <a:lnTo>
                    <a:pt x="81" y="267"/>
                  </a:lnTo>
                  <a:lnTo>
                    <a:pt x="81" y="267"/>
                  </a:lnTo>
                  <a:lnTo>
                    <a:pt x="78" y="267"/>
                  </a:lnTo>
                  <a:lnTo>
                    <a:pt x="78" y="267"/>
                  </a:lnTo>
                  <a:lnTo>
                    <a:pt x="76" y="267"/>
                  </a:lnTo>
                  <a:lnTo>
                    <a:pt x="76" y="269"/>
                  </a:lnTo>
                  <a:lnTo>
                    <a:pt x="76" y="269"/>
                  </a:lnTo>
                  <a:lnTo>
                    <a:pt x="74" y="271"/>
                  </a:lnTo>
                  <a:lnTo>
                    <a:pt x="74" y="269"/>
                  </a:lnTo>
                  <a:lnTo>
                    <a:pt x="74" y="269"/>
                  </a:lnTo>
                  <a:lnTo>
                    <a:pt x="71" y="267"/>
                  </a:lnTo>
                  <a:lnTo>
                    <a:pt x="71" y="267"/>
                  </a:lnTo>
                  <a:lnTo>
                    <a:pt x="69" y="267"/>
                  </a:lnTo>
                  <a:lnTo>
                    <a:pt x="69" y="264"/>
                  </a:lnTo>
                  <a:lnTo>
                    <a:pt x="66" y="257"/>
                  </a:lnTo>
                  <a:lnTo>
                    <a:pt x="66" y="255"/>
                  </a:lnTo>
                  <a:lnTo>
                    <a:pt x="66" y="255"/>
                  </a:lnTo>
                  <a:lnTo>
                    <a:pt x="64" y="255"/>
                  </a:lnTo>
                  <a:lnTo>
                    <a:pt x="62" y="257"/>
                  </a:lnTo>
                  <a:lnTo>
                    <a:pt x="62" y="257"/>
                  </a:lnTo>
                  <a:lnTo>
                    <a:pt x="62" y="255"/>
                  </a:lnTo>
                  <a:lnTo>
                    <a:pt x="62" y="255"/>
                  </a:lnTo>
                  <a:lnTo>
                    <a:pt x="64" y="255"/>
                  </a:lnTo>
                  <a:lnTo>
                    <a:pt x="64" y="252"/>
                  </a:lnTo>
                  <a:lnTo>
                    <a:pt x="64" y="252"/>
                  </a:lnTo>
                  <a:lnTo>
                    <a:pt x="66" y="250"/>
                  </a:lnTo>
                  <a:lnTo>
                    <a:pt x="66" y="250"/>
                  </a:lnTo>
                  <a:lnTo>
                    <a:pt x="66" y="250"/>
                  </a:lnTo>
                  <a:lnTo>
                    <a:pt x="66" y="250"/>
                  </a:lnTo>
                  <a:lnTo>
                    <a:pt x="64" y="250"/>
                  </a:lnTo>
                  <a:lnTo>
                    <a:pt x="64" y="248"/>
                  </a:lnTo>
                  <a:lnTo>
                    <a:pt x="62" y="248"/>
                  </a:lnTo>
                  <a:lnTo>
                    <a:pt x="62" y="245"/>
                  </a:lnTo>
                  <a:lnTo>
                    <a:pt x="59" y="245"/>
                  </a:lnTo>
                  <a:lnTo>
                    <a:pt x="59" y="245"/>
                  </a:lnTo>
                  <a:lnTo>
                    <a:pt x="59" y="238"/>
                  </a:lnTo>
                  <a:lnTo>
                    <a:pt x="59" y="238"/>
                  </a:lnTo>
                  <a:lnTo>
                    <a:pt x="57" y="238"/>
                  </a:lnTo>
                  <a:lnTo>
                    <a:pt x="57" y="236"/>
                  </a:lnTo>
                  <a:lnTo>
                    <a:pt x="57" y="236"/>
                  </a:lnTo>
                  <a:lnTo>
                    <a:pt x="57" y="236"/>
                  </a:lnTo>
                  <a:lnTo>
                    <a:pt x="55" y="236"/>
                  </a:lnTo>
                  <a:lnTo>
                    <a:pt x="57" y="231"/>
                  </a:lnTo>
                  <a:lnTo>
                    <a:pt x="57" y="231"/>
                  </a:lnTo>
                  <a:lnTo>
                    <a:pt x="55" y="229"/>
                  </a:lnTo>
                  <a:lnTo>
                    <a:pt x="55" y="229"/>
                  </a:lnTo>
                  <a:lnTo>
                    <a:pt x="52" y="231"/>
                  </a:lnTo>
                  <a:lnTo>
                    <a:pt x="52" y="231"/>
                  </a:lnTo>
                  <a:lnTo>
                    <a:pt x="50" y="229"/>
                  </a:lnTo>
                  <a:lnTo>
                    <a:pt x="50" y="229"/>
                  </a:lnTo>
                  <a:lnTo>
                    <a:pt x="50" y="229"/>
                  </a:lnTo>
                  <a:lnTo>
                    <a:pt x="50" y="234"/>
                  </a:lnTo>
                  <a:lnTo>
                    <a:pt x="48" y="234"/>
                  </a:lnTo>
                  <a:lnTo>
                    <a:pt x="43" y="236"/>
                  </a:lnTo>
                  <a:lnTo>
                    <a:pt x="43" y="236"/>
                  </a:lnTo>
                  <a:lnTo>
                    <a:pt x="43" y="238"/>
                  </a:lnTo>
                  <a:lnTo>
                    <a:pt x="38" y="236"/>
                  </a:lnTo>
                  <a:lnTo>
                    <a:pt x="36" y="236"/>
                  </a:lnTo>
                  <a:lnTo>
                    <a:pt x="33" y="234"/>
                  </a:lnTo>
                  <a:lnTo>
                    <a:pt x="31" y="234"/>
                  </a:lnTo>
                  <a:lnTo>
                    <a:pt x="31" y="236"/>
                  </a:lnTo>
                  <a:lnTo>
                    <a:pt x="29" y="236"/>
                  </a:lnTo>
                  <a:lnTo>
                    <a:pt x="29" y="238"/>
                  </a:lnTo>
                  <a:lnTo>
                    <a:pt x="26" y="241"/>
                  </a:lnTo>
                  <a:lnTo>
                    <a:pt x="26" y="238"/>
                  </a:lnTo>
                  <a:lnTo>
                    <a:pt x="24" y="236"/>
                  </a:lnTo>
                  <a:lnTo>
                    <a:pt x="22" y="236"/>
                  </a:lnTo>
                  <a:lnTo>
                    <a:pt x="19" y="236"/>
                  </a:lnTo>
                  <a:lnTo>
                    <a:pt x="19" y="236"/>
                  </a:lnTo>
                  <a:lnTo>
                    <a:pt x="17" y="238"/>
                  </a:lnTo>
                  <a:lnTo>
                    <a:pt x="17" y="238"/>
                  </a:lnTo>
                  <a:lnTo>
                    <a:pt x="14" y="238"/>
                  </a:lnTo>
                  <a:lnTo>
                    <a:pt x="12" y="236"/>
                  </a:lnTo>
                  <a:lnTo>
                    <a:pt x="12" y="236"/>
                  </a:lnTo>
                  <a:lnTo>
                    <a:pt x="14" y="234"/>
                  </a:lnTo>
                  <a:lnTo>
                    <a:pt x="14" y="231"/>
                  </a:lnTo>
                  <a:lnTo>
                    <a:pt x="14" y="231"/>
                  </a:lnTo>
                  <a:lnTo>
                    <a:pt x="17" y="231"/>
                  </a:lnTo>
                  <a:lnTo>
                    <a:pt x="17" y="229"/>
                  </a:lnTo>
                  <a:lnTo>
                    <a:pt x="14" y="229"/>
                  </a:lnTo>
                  <a:lnTo>
                    <a:pt x="14" y="227"/>
                  </a:lnTo>
                  <a:lnTo>
                    <a:pt x="14" y="227"/>
                  </a:lnTo>
                  <a:lnTo>
                    <a:pt x="14" y="224"/>
                  </a:lnTo>
                  <a:lnTo>
                    <a:pt x="14" y="224"/>
                  </a:lnTo>
                  <a:lnTo>
                    <a:pt x="14" y="222"/>
                  </a:lnTo>
                  <a:lnTo>
                    <a:pt x="14" y="222"/>
                  </a:lnTo>
                  <a:lnTo>
                    <a:pt x="14" y="222"/>
                  </a:lnTo>
                  <a:lnTo>
                    <a:pt x="14" y="219"/>
                  </a:lnTo>
                  <a:lnTo>
                    <a:pt x="12" y="217"/>
                  </a:lnTo>
                  <a:lnTo>
                    <a:pt x="12" y="217"/>
                  </a:lnTo>
                  <a:lnTo>
                    <a:pt x="12" y="217"/>
                  </a:lnTo>
                  <a:lnTo>
                    <a:pt x="10" y="215"/>
                  </a:lnTo>
                  <a:lnTo>
                    <a:pt x="10" y="215"/>
                  </a:lnTo>
                  <a:lnTo>
                    <a:pt x="10" y="215"/>
                  </a:lnTo>
                  <a:lnTo>
                    <a:pt x="7" y="215"/>
                  </a:lnTo>
                  <a:lnTo>
                    <a:pt x="7" y="215"/>
                  </a:lnTo>
                  <a:lnTo>
                    <a:pt x="7" y="215"/>
                  </a:lnTo>
                  <a:lnTo>
                    <a:pt x="5" y="212"/>
                  </a:lnTo>
                  <a:lnTo>
                    <a:pt x="3" y="210"/>
                  </a:lnTo>
                  <a:lnTo>
                    <a:pt x="3" y="208"/>
                  </a:lnTo>
                  <a:lnTo>
                    <a:pt x="5" y="205"/>
                  </a:lnTo>
                  <a:lnTo>
                    <a:pt x="5" y="205"/>
                  </a:lnTo>
                  <a:lnTo>
                    <a:pt x="5" y="203"/>
                  </a:lnTo>
                  <a:lnTo>
                    <a:pt x="5" y="201"/>
                  </a:lnTo>
                  <a:lnTo>
                    <a:pt x="3" y="198"/>
                  </a:lnTo>
                  <a:lnTo>
                    <a:pt x="3" y="198"/>
                  </a:lnTo>
                  <a:lnTo>
                    <a:pt x="3" y="198"/>
                  </a:lnTo>
                  <a:lnTo>
                    <a:pt x="3" y="196"/>
                  </a:lnTo>
                  <a:lnTo>
                    <a:pt x="0" y="196"/>
                  </a:lnTo>
                  <a:lnTo>
                    <a:pt x="0" y="193"/>
                  </a:lnTo>
                  <a:lnTo>
                    <a:pt x="3" y="191"/>
                  </a:lnTo>
                  <a:lnTo>
                    <a:pt x="3" y="191"/>
                  </a:lnTo>
                  <a:lnTo>
                    <a:pt x="0" y="189"/>
                  </a:lnTo>
                  <a:lnTo>
                    <a:pt x="7" y="182"/>
                  </a:lnTo>
                  <a:lnTo>
                    <a:pt x="10" y="177"/>
                  </a:lnTo>
                  <a:lnTo>
                    <a:pt x="12" y="172"/>
                  </a:lnTo>
                  <a:lnTo>
                    <a:pt x="12" y="170"/>
                  </a:lnTo>
                  <a:lnTo>
                    <a:pt x="14" y="170"/>
                  </a:lnTo>
                  <a:lnTo>
                    <a:pt x="14" y="170"/>
                  </a:lnTo>
                  <a:lnTo>
                    <a:pt x="14" y="170"/>
                  </a:lnTo>
                  <a:lnTo>
                    <a:pt x="17" y="170"/>
                  </a:lnTo>
                  <a:lnTo>
                    <a:pt x="19" y="172"/>
                  </a:lnTo>
                  <a:lnTo>
                    <a:pt x="19" y="175"/>
                  </a:lnTo>
                  <a:lnTo>
                    <a:pt x="22" y="182"/>
                  </a:lnTo>
                  <a:lnTo>
                    <a:pt x="29" y="182"/>
                  </a:lnTo>
                  <a:lnTo>
                    <a:pt x="29" y="182"/>
                  </a:lnTo>
                  <a:lnTo>
                    <a:pt x="36" y="175"/>
                  </a:lnTo>
                  <a:lnTo>
                    <a:pt x="64" y="177"/>
                  </a:lnTo>
                  <a:lnTo>
                    <a:pt x="88" y="177"/>
                  </a:lnTo>
                  <a:lnTo>
                    <a:pt x="109" y="177"/>
                  </a:lnTo>
                  <a:lnTo>
                    <a:pt x="116" y="177"/>
                  </a:lnTo>
                  <a:lnTo>
                    <a:pt x="121" y="163"/>
                  </a:lnTo>
                  <a:lnTo>
                    <a:pt x="114" y="160"/>
                  </a:lnTo>
                  <a:lnTo>
                    <a:pt x="111" y="141"/>
                  </a:lnTo>
                  <a:lnTo>
                    <a:pt x="109" y="125"/>
                  </a:lnTo>
                  <a:lnTo>
                    <a:pt x="107" y="108"/>
                  </a:lnTo>
                  <a:lnTo>
                    <a:pt x="104" y="90"/>
                  </a:lnTo>
                  <a:lnTo>
                    <a:pt x="104" y="73"/>
                  </a:lnTo>
                  <a:lnTo>
                    <a:pt x="102" y="54"/>
                  </a:lnTo>
                  <a:lnTo>
                    <a:pt x="100" y="38"/>
                  </a:lnTo>
                  <a:lnTo>
                    <a:pt x="97" y="19"/>
                  </a:lnTo>
                  <a:lnTo>
                    <a:pt x="97" y="0"/>
                  </a:lnTo>
                  <a:lnTo>
                    <a:pt x="128" y="0"/>
                  </a:lnTo>
                  <a:lnTo>
                    <a:pt x="147" y="1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0" name="Freeform 1129">
              <a:extLst>
                <a:ext uri="{FF2B5EF4-FFF2-40B4-BE49-F238E27FC236}">
                  <a16:creationId xmlns:a16="http://schemas.microsoft.com/office/drawing/2014/main" id="{A56235EA-10BE-48D9-9D38-CE203991655B}"/>
                </a:ext>
              </a:extLst>
            </p:cNvPr>
            <p:cNvSpPr>
              <a:spLocks/>
            </p:cNvSpPr>
            <p:nvPr/>
          </p:nvSpPr>
          <p:spPr bwMode="auto">
            <a:xfrm>
              <a:off x="940642" y="3817903"/>
              <a:ext cx="450849" cy="430213"/>
            </a:xfrm>
            <a:custGeom>
              <a:avLst/>
              <a:gdLst>
                <a:gd name="T0" fmla="*/ 232 w 284"/>
                <a:gd name="T1" fmla="*/ 78 h 271"/>
                <a:gd name="T2" fmla="*/ 241 w 284"/>
                <a:gd name="T3" fmla="*/ 82 h 271"/>
                <a:gd name="T4" fmla="*/ 248 w 284"/>
                <a:gd name="T5" fmla="*/ 90 h 271"/>
                <a:gd name="T6" fmla="*/ 258 w 284"/>
                <a:gd name="T7" fmla="*/ 94 h 271"/>
                <a:gd name="T8" fmla="*/ 267 w 284"/>
                <a:gd name="T9" fmla="*/ 97 h 271"/>
                <a:gd name="T10" fmla="*/ 267 w 284"/>
                <a:gd name="T11" fmla="*/ 101 h 271"/>
                <a:gd name="T12" fmla="*/ 267 w 284"/>
                <a:gd name="T13" fmla="*/ 108 h 271"/>
                <a:gd name="T14" fmla="*/ 274 w 284"/>
                <a:gd name="T15" fmla="*/ 113 h 271"/>
                <a:gd name="T16" fmla="*/ 284 w 284"/>
                <a:gd name="T17" fmla="*/ 111 h 271"/>
                <a:gd name="T18" fmla="*/ 284 w 284"/>
                <a:gd name="T19" fmla="*/ 167 h 271"/>
                <a:gd name="T20" fmla="*/ 274 w 284"/>
                <a:gd name="T21" fmla="*/ 175 h 271"/>
                <a:gd name="T22" fmla="*/ 265 w 284"/>
                <a:gd name="T23" fmla="*/ 179 h 271"/>
                <a:gd name="T24" fmla="*/ 215 w 284"/>
                <a:gd name="T25" fmla="*/ 186 h 271"/>
                <a:gd name="T26" fmla="*/ 180 w 284"/>
                <a:gd name="T27" fmla="*/ 201 h 271"/>
                <a:gd name="T28" fmla="*/ 149 w 284"/>
                <a:gd name="T29" fmla="*/ 215 h 271"/>
                <a:gd name="T30" fmla="*/ 140 w 284"/>
                <a:gd name="T31" fmla="*/ 229 h 271"/>
                <a:gd name="T32" fmla="*/ 126 w 284"/>
                <a:gd name="T33" fmla="*/ 245 h 271"/>
                <a:gd name="T34" fmla="*/ 121 w 284"/>
                <a:gd name="T35" fmla="*/ 264 h 271"/>
                <a:gd name="T36" fmla="*/ 116 w 284"/>
                <a:gd name="T37" fmla="*/ 267 h 271"/>
                <a:gd name="T38" fmla="*/ 107 w 284"/>
                <a:gd name="T39" fmla="*/ 269 h 271"/>
                <a:gd name="T40" fmla="*/ 104 w 284"/>
                <a:gd name="T41" fmla="*/ 264 h 271"/>
                <a:gd name="T42" fmla="*/ 100 w 284"/>
                <a:gd name="T43" fmla="*/ 264 h 271"/>
                <a:gd name="T44" fmla="*/ 95 w 284"/>
                <a:gd name="T45" fmla="*/ 264 h 271"/>
                <a:gd name="T46" fmla="*/ 90 w 284"/>
                <a:gd name="T47" fmla="*/ 269 h 271"/>
                <a:gd name="T48" fmla="*/ 85 w 284"/>
                <a:gd name="T49" fmla="*/ 269 h 271"/>
                <a:gd name="T50" fmla="*/ 83 w 284"/>
                <a:gd name="T51" fmla="*/ 267 h 271"/>
                <a:gd name="T52" fmla="*/ 76 w 284"/>
                <a:gd name="T53" fmla="*/ 267 h 271"/>
                <a:gd name="T54" fmla="*/ 74 w 284"/>
                <a:gd name="T55" fmla="*/ 269 h 271"/>
                <a:gd name="T56" fmla="*/ 66 w 284"/>
                <a:gd name="T57" fmla="*/ 257 h 271"/>
                <a:gd name="T58" fmla="*/ 62 w 284"/>
                <a:gd name="T59" fmla="*/ 257 h 271"/>
                <a:gd name="T60" fmla="*/ 64 w 284"/>
                <a:gd name="T61" fmla="*/ 252 h 271"/>
                <a:gd name="T62" fmla="*/ 64 w 284"/>
                <a:gd name="T63" fmla="*/ 250 h 271"/>
                <a:gd name="T64" fmla="*/ 59 w 284"/>
                <a:gd name="T65" fmla="*/ 245 h 271"/>
                <a:gd name="T66" fmla="*/ 57 w 284"/>
                <a:gd name="T67" fmla="*/ 236 h 271"/>
                <a:gd name="T68" fmla="*/ 55 w 284"/>
                <a:gd name="T69" fmla="*/ 229 h 271"/>
                <a:gd name="T70" fmla="*/ 50 w 284"/>
                <a:gd name="T71" fmla="*/ 229 h 271"/>
                <a:gd name="T72" fmla="*/ 43 w 284"/>
                <a:gd name="T73" fmla="*/ 236 h 271"/>
                <a:gd name="T74" fmla="*/ 31 w 284"/>
                <a:gd name="T75" fmla="*/ 234 h 271"/>
                <a:gd name="T76" fmla="*/ 26 w 284"/>
                <a:gd name="T77" fmla="*/ 238 h 271"/>
                <a:gd name="T78" fmla="*/ 17 w 284"/>
                <a:gd name="T79" fmla="*/ 238 h 271"/>
                <a:gd name="T80" fmla="*/ 14 w 284"/>
                <a:gd name="T81" fmla="*/ 234 h 271"/>
                <a:gd name="T82" fmla="*/ 14 w 284"/>
                <a:gd name="T83" fmla="*/ 229 h 271"/>
                <a:gd name="T84" fmla="*/ 14 w 284"/>
                <a:gd name="T85" fmla="*/ 222 h 271"/>
                <a:gd name="T86" fmla="*/ 12 w 284"/>
                <a:gd name="T87" fmla="*/ 217 h 271"/>
                <a:gd name="T88" fmla="*/ 7 w 284"/>
                <a:gd name="T89" fmla="*/ 215 h 271"/>
                <a:gd name="T90" fmla="*/ 3 w 284"/>
                <a:gd name="T91" fmla="*/ 208 h 271"/>
                <a:gd name="T92" fmla="*/ 3 w 284"/>
                <a:gd name="T93" fmla="*/ 198 h 271"/>
                <a:gd name="T94" fmla="*/ 0 w 284"/>
                <a:gd name="T95" fmla="*/ 193 h 271"/>
                <a:gd name="T96" fmla="*/ 10 w 284"/>
                <a:gd name="T97" fmla="*/ 177 h 271"/>
                <a:gd name="T98" fmla="*/ 14 w 284"/>
                <a:gd name="T99" fmla="*/ 170 h 271"/>
                <a:gd name="T100" fmla="*/ 29 w 284"/>
                <a:gd name="T101" fmla="*/ 182 h 271"/>
                <a:gd name="T102" fmla="*/ 109 w 284"/>
                <a:gd name="T103" fmla="*/ 177 h 271"/>
                <a:gd name="T104" fmla="*/ 109 w 284"/>
                <a:gd name="T105" fmla="*/ 125 h 271"/>
                <a:gd name="T106" fmla="*/ 100 w 284"/>
                <a:gd name="T107" fmla="*/ 3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4" h="271">
                  <a:moveTo>
                    <a:pt x="147" y="14"/>
                  </a:moveTo>
                  <a:lnTo>
                    <a:pt x="232" y="73"/>
                  </a:lnTo>
                  <a:lnTo>
                    <a:pt x="232" y="73"/>
                  </a:lnTo>
                  <a:lnTo>
                    <a:pt x="232" y="75"/>
                  </a:lnTo>
                  <a:lnTo>
                    <a:pt x="232" y="78"/>
                  </a:lnTo>
                  <a:lnTo>
                    <a:pt x="232" y="80"/>
                  </a:lnTo>
                  <a:lnTo>
                    <a:pt x="234" y="80"/>
                  </a:lnTo>
                  <a:lnTo>
                    <a:pt x="237" y="80"/>
                  </a:lnTo>
                  <a:lnTo>
                    <a:pt x="239" y="82"/>
                  </a:lnTo>
                  <a:lnTo>
                    <a:pt x="241" y="82"/>
                  </a:lnTo>
                  <a:lnTo>
                    <a:pt x="241" y="85"/>
                  </a:lnTo>
                  <a:lnTo>
                    <a:pt x="241" y="87"/>
                  </a:lnTo>
                  <a:lnTo>
                    <a:pt x="244" y="90"/>
                  </a:lnTo>
                  <a:lnTo>
                    <a:pt x="246" y="90"/>
                  </a:lnTo>
                  <a:lnTo>
                    <a:pt x="248" y="90"/>
                  </a:lnTo>
                  <a:lnTo>
                    <a:pt x="251" y="90"/>
                  </a:lnTo>
                  <a:lnTo>
                    <a:pt x="253" y="90"/>
                  </a:lnTo>
                  <a:lnTo>
                    <a:pt x="253" y="92"/>
                  </a:lnTo>
                  <a:lnTo>
                    <a:pt x="255" y="94"/>
                  </a:lnTo>
                  <a:lnTo>
                    <a:pt x="258" y="94"/>
                  </a:lnTo>
                  <a:lnTo>
                    <a:pt x="260" y="94"/>
                  </a:lnTo>
                  <a:lnTo>
                    <a:pt x="260" y="94"/>
                  </a:lnTo>
                  <a:lnTo>
                    <a:pt x="263" y="97"/>
                  </a:lnTo>
                  <a:lnTo>
                    <a:pt x="267" y="97"/>
                  </a:lnTo>
                  <a:lnTo>
                    <a:pt x="267" y="97"/>
                  </a:lnTo>
                  <a:lnTo>
                    <a:pt x="267" y="99"/>
                  </a:lnTo>
                  <a:lnTo>
                    <a:pt x="267" y="99"/>
                  </a:lnTo>
                  <a:lnTo>
                    <a:pt x="270" y="99"/>
                  </a:lnTo>
                  <a:lnTo>
                    <a:pt x="267" y="101"/>
                  </a:lnTo>
                  <a:lnTo>
                    <a:pt x="267" y="101"/>
                  </a:lnTo>
                  <a:lnTo>
                    <a:pt x="270" y="104"/>
                  </a:lnTo>
                  <a:lnTo>
                    <a:pt x="270" y="104"/>
                  </a:lnTo>
                  <a:lnTo>
                    <a:pt x="267" y="106"/>
                  </a:lnTo>
                  <a:lnTo>
                    <a:pt x="267" y="106"/>
                  </a:lnTo>
                  <a:lnTo>
                    <a:pt x="267" y="108"/>
                  </a:lnTo>
                  <a:lnTo>
                    <a:pt x="267" y="108"/>
                  </a:lnTo>
                  <a:lnTo>
                    <a:pt x="267" y="111"/>
                  </a:lnTo>
                  <a:lnTo>
                    <a:pt x="270" y="113"/>
                  </a:lnTo>
                  <a:lnTo>
                    <a:pt x="272" y="113"/>
                  </a:lnTo>
                  <a:lnTo>
                    <a:pt x="274" y="113"/>
                  </a:lnTo>
                  <a:lnTo>
                    <a:pt x="277" y="113"/>
                  </a:lnTo>
                  <a:lnTo>
                    <a:pt x="279" y="113"/>
                  </a:lnTo>
                  <a:lnTo>
                    <a:pt x="281" y="111"/>
                  </a:lnTo>
                  <a:lnTo>
                    <a:pt x="284" y="111"/>
                  </a:lnTo>
                  <a:lnTo>
                    <a:pt x="284" y="111"/>
                  </a:lnTo>
                  <a:lnTo>
                    <a:pt x="284" y="111"/>
                  </a:lnTo>
                  <a:lnTo>
                    <a:pt x="284" y="115"/>
                  </a:lnTo>
                  <a:lnTo>
                    <a:pt x="284" y="132"/>
                  </a:lnTo>
                  <a:lnTo>
                    <a:pt x="284" y="149"/>
                  </a:lnTo>
                  <a:lnTo>
                    <a:pt x="284" y="167"/>
                  </a:lnTo>
                  <a:lnTo>
                    <a:pt x="284" y="167"/>
                  </a:lnTo>
                  <a:lnTo>
                    <a:pt x="279" y="170"/>
                  </a:lnTo>
                  <a:lnTo>
                    <a:pt x="279" y="170"/>
                  </a:lnTo>
                  <a:lnTo>
                    <a:pt x="279" y="172"/>
                  </a:lnTo>
                  <a:lnTo>
                    <a:pt x="274" y="175"/>
                  </a:lnTo>
                  <a:lnTo>
                    <a:pt x="274" y="177"/>
                  </a:lnTo>
                  <a:lnTo>
                    <a:pt x="272" y="177"/>
                  </a:lnTo>
                  <a:lnTo>
                    <a:pt x="272" y="179"/>
                  </a:lnTo>
                  <a:lnTo>
                    <a:pt x="267" y="179"/>
                  </a:lnTo>
                  <a:lnTo>
                    <a:pt x="265" y="179"/>
                  </a:lnTo>
                  <a:lnTo>
                    <a:pt x="265" y="179"/>
                  </a:lnTo>
                  <a:lnTo>
                    <a:pt x="263" y="179"/>
                  </a:lnTo>
                  <a:lnTo>
                    <a:pt x="234" y="179"/>
                  </a:lnTo>
                  <a:lnTo>
                    <a:pt x="227" y="186"/>
                  </a:lnTo>
                  <a:lnTo>
                    <a:pt x="215" y="186"/>
                  </a:lnTo>
                  <a:lnTo>
                    <a:pt x="203" y="186"/>
                  </a:lnTo>
                  <a:lnTo>
                    <a:pt x="199" y="189"/>
                  </a:lnTo>
                  <a:lnTo>
                    <a:pt x="196" y="189"/>
                  </a:lnTo>
                  <a:lnTo>
                    <a:pt x="192" y="193"/>
                  </a:lnTo>
                  <a:lnTo>
                    <a:pt x="180" y="201"/>
                  </a:lnTo>
                  <a:lnTo>
                    <a:pt x="175" y="208"/>
                  </a:lnTo>
                  <a:lnTo>
                    <a:pt x="168" y="210"/>
                  </a:lnTo>
                  <a:lnTo>
                    <a:pt x="156" y="215"/>
                  </a:lnTo>
                  <a:lnTo>
                    <a:pt x="154" y="215"/>
                  </a:lnTo>
                  <a:lnTo>
                    <a:pt x="149" y="215"/>
                  </a:lnTo>
                  <a:lnTo>
                    <a:pt x="147" y="217"/>
                  </a:lnTo>
                  <a:lnTo>
                    <a:pt x="144" y="217"/>
                  </a:lnTo>
                  <a:lnTo>
                    <a:pt x="142" y="219"/>
                  </a:lnTo>
                  <a:lnTo>
                    <a:pt x="142" y="224"/>
                  </a:lnTo>
                  <a:lnTo>
                    <a:pt x="140" y="229"/>
                  </a:lnTo>
                  <a:lnTo>
                    <a:pt x="137" y="234"/>
                  </a:lnTo>
                  <a:lnTo>
                    <a:pt x="135" y="238"/>
                  </a:lnTo>
                  <a:lnTo>
                    <a:pt x="130" y="241"/>
                  </a:lnTo>
                  <a:lnTo>
                    <a:pt x="128" y="243"/>
                  </a:lnTo>
                  <a:lnTo>
                    <a:pt x="126" y="245"/>
                  </a:lnTo>
                  <a:lnTo>
                    <a:pt x="126" y="248"/>
                  </a:lnTo>
                  <a:lnTo>
                    <a:pt x="126" y="250"/>
                  </a:lnTo>
                  <a:lnTo>
                    <a:pt x="121" y="257"/>
                  </a:lnTo>
                  <a:lnTo>
                    <a:pt x="121" y="260"/>
                  </a:lnTo>
                  <a:lnTo>
                    <a:pt x="121" y="264"/>
                  </a:lnTo>
                  <a:lnTo>
                    <a:pt x="121" y="269"/>
                  </a:lnTo>
                  <a:lnTo>
                    <a:pt x="118" y="269"/>
                  </a:lnTo>
                  <a:lnTo>
                    <a:pt x="118" y="269"/>
                  </a:lnTo>
                  <a:lnTo>
                    <a:pt x="116" y="267"/>
                  </a:lnTo>
                  <a:lnTo>
                    <a:pt x="116" y="267"/>
                  </a:lnTo>
                  <a:lnTo>
                    <a:pt x="111" y="267"/>
                  </a:lnTo>
                  <a:lnTo>
                    <a:pt x="111" y="267"/>
                  </a:lnTo>
                  <a:lnTo>
                    <a:pt x="109" y="269"/>
                  </a:lnTo>
                  <a:lnTo>
                    <a:pt x="109" y="269"/>
                  </a:lnTo>
                  <a:lnTo>
                    <a:pt x="107" y="269"/>
                  </a:lnTo>
                  <a:lnTo>
                    <a:pt x="104" y="269"/>
                  </a:lnTo>
                  <a:lnTo>
                    <a:pt x="104" y="269"/>
                  </a:lnTo>
                  <a:lnTo>
                    <a:pt x="104" y="264"/>
                  </a:lnTo>
                  <a:lnTo>
                    <a:pt x="104" y="264"/>
                  </a:lnTo>
                  <a:lnTo>
                    <a:pt x="104" y="264"/>
                  </a:lnTo>
                  <a:lnTo>
                    <a:pt x="104" y="262"/>
                  </a:lnTo>
                  <a:lnTo>
                    <a:pt x="104" y="262"/>
                  </a:lnTo>
                  <a:lnTo>
                    <a:pt x="102" y="262"/>
                  </a:lnTo>
                  <a:lnTo>
                    <a:pt x="100" y="262"/>
                  </a:lnTo>
                  <a:lnTo>
                    <a:pt x="100" y="264"/>
                  </a:lnTo>
                  <a:lnTo>
                    <a:pt x="100" y="264"/>
                  </a:lnTo>
                  <a:lnTo>
                    <a:pt x="97" y="262"/>
                  </a:lnTo>
                  <a:lnTo>
                    <a:pt x="97" y="262"/>
                  </a:lnTo>
                  <a:lnTo>
                    <a:pt x="95" y="264"/>
                  </a:lnTo>
                  <a:lnTo>
                    <a:pt x="95" y="264"/>
                  </a:lnTo>
                  <a:lnTo>
                    <a:pt x="97" y="267"/>
                  </a:lnTo>
                  <a:lnTo>
                    <a:pt x="95" y="269"/>
                  </a:lnTo>
                  <a:lnTo>
                    <a:pt x="92" y="269"/>
                  </a:lnTo>
                  <a:lnTo>
                    <a:pt x="90" y="269"/>
                  </a:lnTo>
                  <a:lnTo>
                    <a:pt x="90" y="269"/>
                  </a:lnTo>
                  <a:lnTo>
                    <a:pt x="90" y="271"/>
                  </a:lnTo>
                  <a:lnTo>
                    <a:pt x="88" y="271"/>
                  </a:lnTo>
                  <a:lnTo>
                    <a:pt x="88" y="271"/>
                  </a:lnTo>
                  <a:lnTo>
                    <a:pt x="85" y="269"/>
                  </a:lnTo>
                  <a:lnTo>
                    <a:pt x="85" y="269"/>
                  </a:lnTo>
                  <a:lnTo>
                    <a:pt x="85" y="269"/>
                  </a:lnTo>
                  <a:lnTo>
                    <a:pt x="85" y="269"/>
                  </a:lnTo>
                  <a:lnTo>
                    <a:pt x="83" y="269"/>
                  </a:lnTo>
                  <a:lnTo>
                    <a:pt x="83" y="269"/>
                  </a:lnTo>
                  <a:lnTo>
                    <a:pt x="83" y="267"/>
                  </a:lnTo>
                  <a:lnTo>
                    <a:pt x="81" y="267"/>
                  </a:lnTo>
                  <a:lnTo>
                    <a:pt x="81" y="267"/>
                  </a:lnTo>
                  <a:lnTo>
                    <a:pt x="78" y="267"/>
                  </a:lnTo>
                  <a:lnTo>
                    <a:pt x="78" y="267"/>
                  </a:lnTo>
                  <a:lnTo>
                    <a:pt x="76" y="267"/>
                  </a:lnTo>
                  <a:lnTo>
                    <a:pt x="76" y="269"/>
                  </a:lnTo>
                  <a:lnTo>
                    <a:pt x="76" y="269"/>
                  </a:lnTo>
                  <a:lnTo>
                    <a:pt x="74" y="271"/>
                  </a:lnTo>
                  <a:lnTo>
                    <a:pt x="74" y="269"/>
                  </a:lnTo>
                  <a:lnTo>
                    <a:pt x="74" y="269"/>
                  </a:lnTo>
                  <a:lnTo>
                    <a:pt x="71" y="267"/>
                  </a:lnTo>
                  <a:lnTo>
                    <a:pt x="71" y="267"/>
                  </a:lnTo>
                  <a:lnTo>
                    <a:pt x="69" y="267"/>
                  </a:lnTo>
                  <a:lnTo>
                    <a:pt x="69" y="264"/>
                  </a:lnTo>
                  <a:lnTo>
                    <a:pt x="66" y="257"/>
                  </a:lnTo>
                  <a:lnTo>
                    <a:pt x="66" y="255"/>
                  </a:lnTo>
                  <a:lnTo>
                    <a:pt x="66" y="255"/>
                  </a:lnTo>
                  <a:lnTo>
                    <a:pt x="64" y="255"/>
                  </a:lnTo>
                  <a:lnTo>
                    <a:pt x="62" y="257"/>
                  </a:lnTo>
                  <a:lnTo>
                    <a:pt x="62" y="257"/>
                  </a:lnTo>
                  <a:lnTo>
                    <a:pt x="62" y="255"/>
                  </a:lnTo>
                  <a:lnTo>
                    <a:pt x="62" y="255"/>
                  </a:lnTo>
                  <a:lnTo>
                    <a:pt x="64" y="255"/>
                  </a:lnTo>
                  <a:lnTo>
                    <a:pt x="64" y="252"/>
                  </a:lnTo>
                  <a:lnTo>
                    <a:pt x="64" y="252"/>
                  </a:lnTo>
                  <a:lnTo>
                    <a:pt x="66" y="250"/>
                  </a:lnTo>
                  <a:lnTo>
                    <a:pt x="66" y="250"/>
                  </a:lnTo>
                  <a:lnTo>
                    <a:pt x="66" y="250"/>
                  </a:lnTo>
                  <a:lnTo>
                    <a:pt x="66" y="250"/>
                  </a:lnTo>
                  <a:lnTo>
                    <a:pt x="64" y="250"/>
                  </a:lnTo>
                  <a:lnTo>
                    <a:pt x="64" y="248"/>
                  </a:lnTo>
                  <a:lnTo>
                    <a:pt x="62" y="248"/>
                  </a:lnTo>
                  <a:lnTo>
                    <a:pt x="62" y="245"/>
                  </a:lnTo>
                  <a:lnTo>
                    <a:pt x="59" y="245"/>
                  </a:lnTo>
                  <a:lnTo>
                    <a:pt x="59" y="245"/>
                  </a:lnTo>
                  <a:lnTo>
                    <a:pt x="59" y="238"/>
                  </a:lnTo>
                  <a:lnTo>
                    <a:pt x="59" y="238"/>
                  </a:lnTo>
                  <a:lnTo>
                    <a:pt x="57" y="238"/>
                  </a:lnTo>
                  <a:lnTo>
                    <a:pt x="57" y="236"/>
                  </a:lnTo>
                  <a:lnTo>
                    <a:pt x="57" y="236"/>
                  </a:lnTo>
                  <a:lnTo>
                    <a:pt x="57" y="236"/>
                  </a:lnTo>
                  <a:lnTo>
                    <a:pt x="55" y="236"/>
                  </a:lnTo>
                  <a:lnTo>
                    <a:pt x="57" y="231"/>
                  </a:lnTo>
                  <a:lnTo>
                    <a:pt x="57" y="231"/>
                  </a:lnTo>
                  <a:lnTo>
                    <a:pt x="55" y="229"/>
                  </a:lnTo>
                  <a:lnTo>
                    <a:pt x="55" y="229"/>
                  </a:lnTo>
                  <a:lnTo>
                    <a:pt x="52" y="231"/>
                  </a:lnTo>
                  <a:lnTo>
                    <a:pt x="52" y="231"/>
                  </a:lnTo>
                  <a:lnTo>
                    <a:pt x="50" y="229"/>
                  </a:lnTo>
                  <a:lnTo>
                    <a:pt x="50" y="229"/>
                  </a:lnTo>
                  <a:lnTo>
                    <a:pt x="50" y="229"/>
                  </a:lnTo>
                  <a:lnTo>
                    <a:pt x="50" y="234"/>
                  </a:lnTo>
                  <a:lnTo>
                    <a:pt x="48" y="234"/>
                  </a:lnTo>
                  <a:lnTo>
                    <a:pt x="43" y="236"/>
                  </a:lnTo>
                  <a:lnTo>
                    <a:pt x="43" y="236"/>
                  </a:lnTo>
                  <a:lnTo>
                    <a:pt x="43" y="238"/>
                  </a:lnTo>
                  <a:lnTo>
                    <a:pt x="38" y="236"/>
                  </a:lnTo>
                  <a:lnTo>
                    <a:pt x="36" y="236"/>
                  </a:lnTo>
                  <a:lnTo>
                    <a:pt x="33" y="234"/>
                  </a:lnTo>
                  <a:lnTo>
                    <a:pt x="31" y="234"/>
                  </a:lnTo>
                  <a:lnTo>
                    <a:pt x="31" y="236"/>
                  </a:lnTo>
                  <a:lnTo>
                    <a:pt x="29" y="236"/>
                  </a:lnTo>
                  <a:lnTo>
                    <a:pt x="29" y="238"/>
                  </a:lnTo>
                  <a:lnTo>
                    <a:pt x="26" y="241"/>
                  </a:lnTo>
                  <a:lnTo>
                    <a:pt x="26" y="238"/>
                  </a:lnTo>
                  <a:lnTo>
                    <a:pt x="24" y="236"/>
                  </a:lnTo>
                  <a:lnTo>
                    <a:pt x="22" y="236"/>
                  </a:lnTo>
                  <a:lnTo>
                    <a:pt x="19" y="236"/>
                  </a:lnTo>
                  <a:lnTo>
                    <a:pt x="19" y="236"/>
                  </a:lnTo>
                  <a:lnTo>
                    <a:pt x="17" y="238"/>
                  </a:lnTo>
                  <a:lnTo>
                    <a:pt x="17" y="238"/>
                  </a:lnTo>
                  <a:lnTo>
                    <a:pt x="14" y="238"/>
                  </a:lnTo>
                  <a:lnTo>
                    <a:pt x="12" y="236"/>
                  </a:lnTo>
                  <a:lnTo>
                    <a:pt x="12" y="236"/>
                  </a:lnTo>
                  <a:lnTo>
                    <a:pt x="14" y="234"/>
                  </a:lnTo>
                  <a:lnTo>
                    <a:pt x="14" y="231"/>
                  </a:lnTo>
                  <a:lnTo>
                    <a:pt x="14" y="231"/>
                  </a:lnTo>
                  <a:lnTo>
                    <a:pt x="17" y="231"/>
                  </a:lnTo>
                  <a:lnTo>
                    <a:pt x="17" y="229"/>
                  </a:lnTo>
                  <a:lnTo>
                    <a:pt x="14" y="229"/>
                  </a:lnTo>
                  <a:lnTo>
                    <a:pt x="14" y="227"/>
                  </a:lnTo>
                  <a:lnTo>
                    <a:pt x="14" y="227"/>
                  </a:lnTo>
                  <a:lnTo>
                    <a:pt x="14" y="224"/>
                  </a:lnTo>
                  <a:lnTo>
                    <a:pt x="14" y="224"/>
                  </a:lnTo>
                  <a:lnTo>
                    <a:pt x="14" y="222"/>
                  </a:lnTo>
                  <a:lnTo>
                    <a:pt x="14" y="222"/>
                  </a:lnTo>
                  <a:lnTo>
                    <a:pt x="14" y="222"/>
                  </a:lnTo>
                  <a:lnTo>
                    <a:pt x="14" y="219"/>
                  </a:lnTo>
                  <a:lnTo>
                    <a:pt x="12" y="217"/>
                  </a:lnTo>
                  <a:lnTo>
                    <a:pt x="12" y="217"/>
                  </a:lnTo>
                  <a:lnTo>
                    <a:pt x="12" y="217"/>
                  </a:lnTo>
                  <a:lnTo>
                    <a:pt x="10" y="215"/>
                  </a:lnTo>
                  <a:lnTo>
                    <a:pt x="10" y="215"/>
                  </a:lnTo>
                  <a:lnTo>
                    <a:pt x="10" y="215"/>
                  </a:lnTo>
                  <a:lnTo>
                    <a:pt x="7" y="215"/>
                  </a:lnTo>
                  <a:lnTo>
                    <a:pt x="7" y="215"/>
                  </a:lnTo>
                  <a:lnTo>
                    <a:pt x="7" y="215"/>
                  </a:lnTo>
                  <a:lnTo>
                    <a:pt x="5" y="212"/>
                  </a:lnTo>
                  <a:lnTo>
                    <a:pt x="3" y="210"/>
                  </a:lnTo>
                  <a:lnTo>
                    <a:pt x="3" y="208"/>
                  </a:lnTo>
                  <a:lnTo>
                    <a:pt x="5" y="205"/>
                  </a:lnTo>
                  <a:lnTo>
                    <a:pt x="5" y="205"/>
                  </a:lnTo>
                  <a:lnTo>
                    <a:pt x="5" y="203"/>
                  </a:lnTo>
                  <a:lnTo>
                    <a:pt x="5" y="201"/>
                  </a:lnTo>
                  <a:lnTo>
                    <a:pt x="3" y="198"/>
                  </a:lnTo>
                  <a:lnTo>
                    <a:pt x="3" y="198"/>
                  </a:lnTo>
                  <a:lnTo>
                    <a:pt x="3" y="198"/>
                  </a:lnTo>
                  <a:lnTo>
                    <a:pt x="3" y="196"/>
                  </a:lnTo>
                  <a:lnTo>
                    <a:pt x="0" y="196"/>
                  </a:lnTo>
                  <a:lnTo>
                    <a:pt x="0" y="193"/>
                  </a:lnTo>
                  <a:lnTo>
                    <a:pt x="3" y="191"/>
                  </a:lnTo>
                  <a:lnTo>
                    <a:pt x="3" y="191"/>
                  </a:lnTo>
                  <a:lnTo>
                    <a:pt x="0" y="189"/>
                  </a:lnTo>
                  <a:lnTo>
                    <a:pt x="7" y="182"/>
                  </a:lnTo>
                  <a:lnTo>
                    <a:pt x="10" y="177"/>
                  </a:lnTo>
                  <a:lnTo>
                    <a:pt x="12" y="172"/>
                  </a:lnTo>
                  <a:lnTo>
                    <a:pt x="12" y="170"/>
                  </a:lnTo>
                  <a:lnTo>
                    <a:pt x="14" y="170"/>
                  </a:lnTo>
                  <a:lnTo>
                    <a:pt x="14" y="170"/>
                  </a:lnTo>
                  <a:lnTo>
                    <a:pt x="14" y="170"/>
                  </a:lnTo>
                  <a:lnTo>
                    <a:pt x="17" y="170"/>
                  </a:lnTo>
                  <a:lnTo>
                    <a:pt x="19" y="172"/>
                  </a:lnTo>
                  <a:lnTo>
                    <a:pt x="19" y="175"/>
                  </a:lnTo>
                  <a:lnTo>
                    <a:pt x="22" y="182"/>
                  </a:lnTo>
                  <a:lnTo>
                    <a:pt x="29" y="182"/>
                  </a:lnTo>
                  <a:lnTo>
                    <a:pt x="29" y="182"/>
                  </a:lnTo>
                  <a:lnTo>
                    <a:pt x="36" y="175"/>
                  </a:lnTo>
                  <a:lnTo>
                    <a:pt x="64" y="177"/>
                  </a:lnTo>
                  <a:lnTo>
                    <a:pt x="88" y="177"/>
                  </a:lnTo>
                  <a:lnTo>
                    <a:pt x="109" y="177"/>
                  </a:lnTo>
                  <a:lnTo>
                    <a:pt x="116" y="177"/>
                  </a:lnTo>
                  <a:lnTo>
                    <a:pt x="121" y="163"/>
                  </a:lnTo>
                  <a:lnTo>
                    <a:pt x="114" y="160"/>
                  </a:lnTo>
                  <a:lnTo>
                    <a:pt x="111" y="141"/>
                  </a:lnTo>
                  <a:lnTo>
                    <a:pt x="109" y="125"/>
                  </a:lnTo>
                  <a:lnTo>
                    <a:pt x="107" y="108"/>
                  </a:lnTo>
                  <a:lnTo>
                    <a:pt x="104" y="90"/>
                  </a:lnTo>
                  <a:lnTo>
                    <a:pt x="104" y="73"/>
                  </a:lnTo>
                  <a:lnTo>
                    <a:pt x="102" y="54"/>
                  </a:lnTo>
                  <a:lnTo>
                    <a:pt x="100" y="38"/>
                  </a:lnTo>
                  <a:lnTo>
                    <a:pt x="97" y="19"/>
                  </a:lnTo>
                  <a:lnTo>
                    <a:pt x="97" y="0"/>
                  </a:lnTo>
                  <a:lnTo>
                    <a:pt x="128" y="0"/>
                  </a:lnTo>
                  <a:lnTo>
                    <a:pt x="147" y="14"/>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1" name="Freeform 1130">
              <a:extLst>
                <a:ext uri="{FF2B5EF4-FFF2-40B4-BE49-F238E27FC236}">
                  <a16:creationId xmlns:a16="http://schemas.microsoft.com/office/drawing/2014/main" id="{14AA7E89-0A60-4CE0-B6FD-7A39DB12A22C}"/>
                </a:ext>
              </a:extLst>
            </p:cNvPr>
            <p:cNvSpPr>
              <a:spLocks/>
            </p:cNvSpPr>
            <p:nvPr/>
          </p:nvSpPr>
          <p:spPr bwMode="auto">
            <a:xfrm>
              <a:off x="810468" y="3735353"/>
              <a:ext cx="228599" cy="201613"/>
            </a:xfrm>
            <a:custGeom>
              <a:avLst/>
              <a:gdLst>
                <a:gd name="T0" fmla="*/ 61 w 144"/>
                <a:gd name="T1" fmla="*/ 120 h 127"/>
                <a:gd name="T2" fmla="*/ 47 w 144"/>
                <a:gd name="T3" fmla="*/ 120 h 127"/>
                <a:gd name="T4" fmla="*/ 30 w 144"/>
                <a:gd name="T5" fmla="*/ 120 h 127"/>
                <a:gd name="T6" fmla="*/ 14 w 144"/>
                <a:gd name="T7" fmla="*/ 120 h 127"/>
                <a:gd name="T8" fmla="*/ 4 w 144"/>
                <a:gd name="T9" fmla="*/ 120 h 127"/>
                <a:gd name="T10" fmla="*/ 4 w 144"/>
                <a:gd name="T11" fmla="*/ 123 h 127"/>
                <a:gd name="T12" fmla="*/ 2 w 144"/>
                <a:gd name="T13" fmla="*/ 125 h 127"/>
                <a:gd name="T14" fmla="*/ 0 w 144"/>
                <a:gd name="T15" fmla="*/ 127 h 127"/>
                <a:gd name="T16" fmla="*/ 0 w 144"/>
                <a:gd name="T17" fmla="*/ 127 h 127"/>
                <a:gd name="T18" fmla="*/ 0 w 144"/>
                <a:gd name="T19" fmla="*/ 127 h 127"/>
                <a:gd name="T20" fmla="*/ 0 w 144"/>
                <a:gd name="T21" fmla="*/ 125 h 127"/>
                <a:gd name="T22" fmla="*/ 0 w 144"/>
                <a:gd name="T23" fmla="*/ 113 h 127"/>
                <a:gd name="T24" fmla="*/ 4 w 144"/>
                <a:gd name="T25" fmla="*/ 106 h 127"/>
                <a:gd name="T26" fmla="*/ 7 w 144"/>
                <a:gd name="T27" fmla="*/ 104 h 127"/>
                <a:gd name="T28" fmla="*/ 11 w 144"/>
                <a:gd name="T29" fmla="*/ 94 h 127"/>
                <a:gd name="T30" fmla="*/ 14 w 144"/>
                <a:gd name="T31" fmla="*/ 90 h 127"/>
                <a:gd name="T32" fmla="*/ 14 w 144"/>
                <a:gd name="T33" fmla="*/ 87 h 127"/>
                <a:gd name="T34" fmla="*/ 19 w 144"/>
                <a:gd name="T35" fmla="*/ 78 h 127"/>
                <a:gd name="T36" fmla="*/ 21 w 144"/>
                <a:gd name="T37" fmla="*/ 75 h 127"/>
                <a:gd name="T38" fmla="*/ 21 w 144"/>
                <a:gd name="T39" fmla="*/ 73 h 127"/>
                <a:gd name="T40" fmla="*/ 23 w 144"/>
                <a:gd name="T41" fmla="*/ 71 h 127"/>
                <a:gd name="T42" fmla="*/ 33 w 144"/>
                <a:gd name="T43" fmla="*/ 59 h 127"/>
                <a:gd name="T44" fmla="*/ 37 w 144"/>
                <a:gd name="T45" fmla="*/ 52 h 127"/>
                <a:gd name="T46" fmla="*/ 37 w 144"/>
                <a:gd name="T47" fmla="*/ 47 h 127"/>
                <a:gd name="T48" fmla="*/ 42 w 144"/>
                <a:gd name="T49" fmla="*/ 40 h 127"/>
                <a:gd name="T50" fmla="*/ 42 w 144"/>
                <a:gd name="T51" fmla="*/ 33 h 127"/>
                <a:gd name="T52" fmla="*/ 47 w 144"/>
                <a:gd name="T53" fmla="*/ 26 h 127"/>
                <a:gd name="T54" fmla="*/ 54 w 144"/>
                <a:gd name="T55" fmla="*/ 23 h 127"/>
                <a:gd name="T56" fmla="*/ 59 w 144"/>
                <a:gd name="T57" fmla="*/ 19 h 127"/>
                <a:gd name="T58" fmla="*/ 61 w 144"/>
                <a:gd name="T59" fmla="*/ 12 h 127"/>
                <a:gd name="T60" fmla="*/ 63 w 144"/>
                <a:gd name="T61" fmla="*/ 12 h 127"/>
                <a:gd name="T62" fmla="*/ 63 w 144"/>
                <a:gd name="T63" fmla="*/ 7 h 127"/>
                <a:gd name="T64" fmla="*/ 66 w 144"/>
                <a:gd name="T65" fmla="*/ 2 h 127"/>
                <a:gd name="T66" fmla="*/ 68 w 144"/>
                <a:gd name="T67" fmla="*/ 0 h 127"/>
                <a:gd name="T68" fmla="*/ 70 w 144"/>
                <a:gd name="T69" fmla="*/ 0 h 127"/>
                <a:gd name="T70" fmla="*/ 82 w 144"/>
                <a:gd name="T71" fmla="*/ 0 h 127"/>
                <a:gd name="T72" fmla="*/ 94 w 144"/>
                <a:gd name="T73" fmla="*/ 0 h 127"/>
                <a:gd name="T74" fmla="*/ 106 w 144"/>
                <a:gd name="T75" fmla="*/ 0 h 127"/>
                <a:gd name="T76" fmla="*/ 120 w 144"/>
                <a:gd name="T77" fmla="*/ 0 h 127"/>
                <a:gd name="T78" fmla="*/ 134 w 144"/>
                <a:gd name="T79" fmla="*/ 0 h 127"/>
                <a:gd name="T80" fmla="*/ 144 w 144"/>
                <a:gd name="T81" fmla="*/ 0 h 127"/>
                <a:gd name="T82" fmla="*/ 144 w 144"/>
                <a:gd name="T83" fmla="*/ 12 h 127"/>
                <a:gd name="T84" fmla="*/ 144 w 144"/>
                <a:gd name="T85" fmla="*/ 33 h 127"/>
                <a:gd name="T86" fmla="*/ 127 w 144"/>
                <a:gd name="T87" fmla="*/ 33 h 127"/>
                <a:gd name="T88" fmla="*/ 111 w 144"/>
                <a:gd name="T89" fmla="*/ 33 h 127"/>
                <a:gd name="T90" fmla="*/ 94 w 144"/>
                <a:gd name="T91" fmla="*/ 33 h 127"/>
                <a:gd name="T92" fmla="*/ 89 w 144"/>
                <a:gd name="T93" fmla="*/ 33 h 127"/>
                <a:gd name="T94" fmla="*/ 89 w 144"/>
                <a:gd name="T95" fmla="*/ 52 h 127"/>
                <a:gd name="T96" fmla="*/ 89 w 144"/>
                <a:gd name="T97" fmla="*/ 71 h 127"/>
                <a:gd name="T98" fmla="*/ 89 w 144"/>
                <a:gd name="T99" fmla="*/ 80 h 127"/>
                <a:gd name="T100" fmla="*/ 82 w 144"/>
                <a:gd name="T101" fmla="*/ 82 h 127"/>
                <a:gd name="T102" fmla="*/ 78 w 144"/>
                <a:gd name="T103" fmla="*/ 85 h 127"/>
                <a:gd name="T104" fmla="*/ 73 w 144"/>
                <a:gd name="T105" fmla="*/ 85 h 127"/>
                <a:gd name="T106" fmla="*/ 70 w 144"/>
                <a:gd name="T107" fmla="*/ 87 h 127"/>
                <a:gd name="T108" fmla="*/ 68 w 144"/>
                <a:gd name="T109" fmla="*/ 87 h 127"/>
                <a:gd name="T110" fmla="*/ 68 w 144"/>
                <a:gd name="T111" fmla="*/ 92 h 127"/>
                <a:gd name="T112" fmla="*/ 66 w 144"/>
                <a:gd name="T113" fmla="*/ 94 h 127"/>
                <a:gd name="T114" fmla="*/ 68 w 144"/>
                <a:gd name="T115" fmla="*/ 104 h 127"/>
                <a:gd name="T116" fmla="*/ 68 w 144"/>
                <a:gd name="T117" fmla="*/ 108 h 127"/>
                <a:gd name="T118" fmla="*/ 68 w 144"/>
                <a:gd name="T119" fmla="*/ 116 h 127"/>
                <a:gd name="T120" fmla="*/ 70 w 144"/>
                <a:gd name="T121" fmla="*/ 120 h 127"/>
                <a:gd name="T122" fmla="*/ 61 w 144"/>
                <a:gd name="T123" fmla="*/ 1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27">
                  <a:moveTo>
                    <a:pt x="61" y="120"/>
                  </a:moveTo>
                  <a:lnTo>
                    <a:pt x="47" y="120"/>
                  </a:lnTo>
                  <a:lnTo>
                    <a:pt x="30" y="120"/>
                  </a:lnTo>
                  <a:lnTo>
                    <a:pt x="14" y="120"/>
                  </a:lnTo>
                  <a:lnTo>
                    <a:pt x="4" y="120"/>
                  </a:lnTo>
                  <a:lnTo>
                    <a:pt x="4" y="123"/>
                  </a:lnTo>
                  <a:lnTo>
                    <a:pt x="2" y="125"/>
                  </a:lnTo>
                  <a:lnTo>
                    <a:pt x="0" y="127"/>
                  </a:lnTo>
                  <a:lnTo>
                    <a:pt x="0" y="127"/>
                  </a:lnTo>
                  <a:lnTo>
                    <a:pt x="0" y="127"/>
                  </a:lnTo>
                  <a:lnTo>
                    <a:pt x="0" y="125"/>
                  </a:lnTo>
                  <a:lnTo>
                    <a:pt x="0" y="113"/>
                  </a:lnTo>
                  <a:lnTo>
                    <a:pt x="4" y="106"/>
                  </a:lnTo>
                  <a:lnTo>
                    <a:pt x="7" y="104"/>
                  </a:lnTo>
                  <a:lnTo>
                    <a:pt x="11" y="94"/>
                  </a:lnTo>
                  <a:lnTo>
                    <a:pt x="14" y="90"/>
                  </a:lnTo>
                  <a:lnTo>
                    <a:pt x="14" y="87"/>
                  </a:lnTo>
                  <a:lnTo>
                    <a:pt x="19" y="78"/>
                  </a:lnTo>
                  <a:lnTo>
                    <a:pt x="21" y="75"/>
                  </a:lnTo>
                  <a:lnTo>
                    <a:pt x="21" y="73"/>
                  </a:lnTo>
                  <a:lnTo>
                    <a:pt x="23" y="71"/>
                  </a:lnTo>
                  <a:lnTo>
                    <a:pt x="33" y="59"/>
                  </a:lnTo>
                  <a:lnTo>
                    <a:pt x="37" y="52"/>
                  </a:lnTo>
                  <a:lnTo>
                    <a:pt x="37" y="47"/>
                  </a:lnTo>
                  <a:lnTo>
                    <a:pt x="42" y="40"/>
                  </a:lnTo>
                  <a:lnTo>
                    <a:pt x="42" y="33"/>
                  </a:lnTo>
                  <a:lnTo>
                    <a:pt x="47" y="26"/>
                  </a:lnTo>
                  <a:lnTo>
                    <a:pt x="54" y="23"/>
                  </a:lnTo>
                  <a:lnTo>
                    <a:pt x="59" y="19"/>
                  </a:lnTo>
                  <a:lnTo>
                    <a:pt x="61" y="12"/>
                  </a:lnTo>
                  <a:lnTo>
                    <a:pt x="63" y="12"/>
                  </a:lnTo>
                  <a:lnTo>
                    <a:pt x="63" y="7"/>
                  </a:lnTo>
                  <a:lnTo>
                    <a:pt x="66" y="2"/>
                  </a:lnTo>
                  <a:lnTo>
                    <a:pt x="68" y="0"/>
                  </a:lnTo>
                  <a:lnTo>
                    <a:pt x="70" y="0"/>
                  </a:lnTo>
                  <a:lnTo>
                    <a:pt x="82" y="0"/>
                  </a:lnTo>
                  <a:lnTo>
                    <a:pt x="94" y="0"/>
                  </a:lnTo>
                  <a:lnTo>
                    <a:pt x="106" y="0"/>
                  </a:lnTo>
                  <a:lnTo>
                    <a:pt x="120" y="0"/>
                  </a:lnTo>
                  <a:lnTo>
                    <a:pt x="134" y="0"/>
                  </a:lnTo>
                  <a:lnTo>
                    <a:pt x="144" y="0"/>
                  </a:lnTo>
                  <a:lnTo>
                    <a:pt x="144" y="12"/>
                  </a:lnTo>
                  <a:lnTo>
                    <a:pt x="144" y="33"/>
                  </a:lnTo>
                  <a:lnTo>
                    <a:pt x="127" y="33"/>
                  </a:lnTo>
                  <a:lnTo>
                    <a:pt x="111" y="33"/>
                  </a:lnTo>
                  <a:lnTo>
                    <a:pt x="94" y="33"/>
                  </a:lnTo>
                  <a:lnTo>
                    <a:pt x="89" y="33"/>
                  </a:lnTo>
                  <a:lnTo>
                    <a:pt x="89" y="52"/>
                  </a:lnTo>
                  <a:lnTo>
                    <a:pt x="89" y="71"/>
                  </a:lnTo>
                  <a:lnTo>
                    <a:pt x="89" y="80"/>
                  </a:lnTo>
                  <a:lnTo>
                    <a:pt x="82" y="82"/>
                  </a:lnTo>
                  <a:lnTo>
                    <a:pt x="78" y="85"/>
                  </a:lnTo>
                  <a:lnTo>
                    <a:pt x="73" y="85"/>
                  </a:lnTo>
                  <a:lnTo>
                    <a:pt x="70" y="87"/>
                  </a:lnTo>
                  <a:lnTo>
                    <a:pt x="68" y="87"/>
                  </a:lnTo>
                  <a:lnTo>
                    <a:pt x="68" y="92"/>
                  </a:lnTo>
                  <a:lnTo>
                    <a:pt x="66" y="94"/>
                  </a:lnTo>
                  <a:lnTo>
                    <a:pt x="68" y="104"/>
                  </a:lnTo>
                  <a:lnTo>
                    <a:pt x="68" y="108"/>
                  </a:lnTo>
                  <a:lnTo>
                    <a:pt x="68" y="116"/>
                  </a:lnTo>
                  <a:lnTo>
                    <a:pt x="70" y="120"/>
                  </a:lnTo>
                  <a:lnTo>
                    <a:pt x="61" y="12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2" name="Freeform 1131">
              <a:extLst>
                <a:ext uri="{FF2B5EF4-FFF2-40B4-BE49-F238E27FC236}">
                  <a16:creationId xmlns:a16="http://schemas.microsoft.com/office/drawing/2014/main" id="{CAD093CC-8FC3-43BC-A230-92EA9E404A26}"/>
                </a:ext>
              </a:extLst>
            </p:cNvPr>
            <p:cNvSpPr>
              <a:spLocks/>
            </p:cNvSpPr>
            <p:nvPr/>
          </p:nvSpPr>
          <p:spPr bwMode="auto">
            <a:xfrm>
              <a:off x="810467" y="3735353"/>
              <a:ext cx="228599" cy="201613"/>
            </a:xfrm>
            <a:custGeom>
              <a:avLst/>
              <a:gdLst>
                <a:gd name="T0" fmla="*/ 61 w 144"/>
                <a:gd name="T1" fmla="*/ 120 h 127"/>
                <a:gd name="T2" fmla="*/ 47 w 144"/>
                <a:gd name="T3" fmla="*/ 120 h 127"/>
                <a:gd name="T4" fmla="*/ 30 w 144"/>
                <a:gd name="T5" fmla="*/ 120 h 127"/>
                <a:gd name="T6" fmla="*/ 14 w 144"/>
                <a:gd name="T7" fmla="*/ 120 h 127"/>
                <a:gd name="T8" fmla="*/ 4 w 144"/>
                <a:gd name="T9" fmla="*/ 120 h 127"/>
                <a:gd name="T10" fmla="*/ 4 w 144"/>
                <a:gd name="T11" fmla="*/ 123 h 127"/>
                <a:gd name="T12" fmla="*/ 2 w 144"/>
                <a:gd name="T13" fmla="*/ 125 h 127"/>
                <a:gd name="T14" fmla="*/ 0 w 144"/>
                <a:gd name="T15" fmla="*/ 127 h 127"/>
                <a:gd name="T16" fmla="*/ 0 w 144"/>
                <a:gd name="T17" fmla="*/ 127 h 127"/>
                <a:gd name="T18" fmla="*/ 0 w 144"/>
                <a:gd name="T19" fmla="*/ 127 h 127"/>
                <a:gd name="T20" fmla="*/ 0 w 144"/>
                <a:gd name="T21" fmla="*/ 125 h 127"/>
                <a:gd name="T22" fmla="*/ 0 w 144"/>
                <a:gd name="T23" fmla="*/ 113 h 127"/>
                <a:gd name="T24" fmla="*/ 4 w 144"/>
                <a:gd name="T25" fmla="*/ 106 h 127"/>
                <a:gd name="T26" fmla="*/ 7 w 144"/>
                <a:gd name="T27" fmla="*/ 104 h 127"/>
                <a:gd name="T28" fmla="*/ 11 w 144"/>
                <a:gd name="T29" fmla="*/ 94 h 127"/>
                <a:gd name="T30" fmla="*/ 14 w 144"/>
                <a:gd name="T31" fmla="*/ 90 h 127"/>
                <a:gd name="T32" fmla="*/ 14 w 144"/>
                <a:gd name="T33" fmla="*/ 87 h 127"/>
                <a:gd name="T34" fmla="*/ 19 w 144"/>
                <a:gd name="T35" fmla="*/ 78 h 127"/>
                <a:gd name="T36" fmla="*/ 21 w 144"/>
                <a:gd name="T37" fmla="*/ 75 h 127"/>
                <a:gd name="T38" fmla="*/ 21 w 144"/>
                <a:gd name="T39" fmla="*/ 73 h 127"/>
                <a:gd name="T40" fmla="*/ 23 w 144"/>
                <a:gd name="T41" fmla="*/ 71 h 127"/>
                <a:gd name="T42" fmla="*/ 33 w 144"/>
                <a:gd name="T43" fmla="*/ 59 h 127"/>
                <a:gd name="T44" fmla="*/ 37 w 144"/>
                <a:gd name="T45" fmla="*/ 52 h 127"/>
                <a:gd name="T46" fmla="*/ 37 w 144"/>
                <a:gd name="T47" fmla="*/ 47 h 127"/>
                <a:gd name="T48" fmla="*/ 42 w 144"/>
                <a:gd name="T49" fmla="*/ 40 h 127"/>
                <a:gd name="T50" fmla="*/ 42 w 144"/>
                <a:gd name="T51" fmla="*/ 33 h 127"/>
                <a:gd name="T52" fmla="*/ 47 w 144"/>
                <a:gd name="T53" fmla="*/ 26 h 127"/>
                <a:gd name="T54" fmla="*/ 54 w 144"/>
                <a:gd name="T55" fmla="*/ 23 h 127"/>
                <a:gd name="T56" fmla="*/ 59 w 144"/>
                <a:gd name="T57" fmla="*/ 19 h 127"/>
                <a:gd name="T58" fmla="*/ 61 w 144"/>
                <a:gd name="T59" fmla="*/ 12 h 127"/>
                <a:gd name="T60" fmla="*/ 63 w 144"/>
                <a:gd name="T61" fmla="*/ 12 h 127"/>
                <a:gd name="T62" fmla="*/ 63 w 144"/>
                <a:gd name="T63" fmla="*/ 7 h 127"/>
                <a:gd name="T64" fmla="*/ 66 w 144"/>
                <a:gd name="T65" fmla="*/ 2 h 127"/>
                <a:gd name="T66" fmla="*/ 68 w 144"/>
                <a:gd name="T67" fmla="*/ 0 h 127"/>
                <a:gd name="T68" fmla="*/ 70 w 144"/>
                <a:gd name="T69" fmla="*/ 0 h 127"/>
                <a:gd name="T70" fmla="*/ 82 w 144"/>
                <a:gd name="T71" fmla="*/ 0 h 127"/>
                <a:gd name="T72" fmla="*/ 94 w 144"/>
                <a:gd name="T73" fmla="*/ 0 h 127"/>
                <a:gd name="T74" fmla="*/ 106 w 144"/>
                <a:gd name="T75" fmla="*/ 0 h 127"/>
                <a:gd name="T76" fmla="*/ 120 w 144"/>
                <a:gd name="T77" fmla="*/ 0 h 127"/>
                <a:gd name="T78" fmla="*/ 134 w 144"/>
                <a:gd name="T79" fmla="*/ 0 h 127"/>
                <a:gd name="T80" fmla="*/ 144 w 144"/>
                <a:gd name="T81" fmla="*/ 0 h 127"/>
                <a:gd name="T82" fmla="*/ 144 w 144"/>
                <a:gd name="T83" fmla="*/ 12 h 127"/>
                <a:gd name="T84" fmla="*/ 144 w 144"/>
                <a:gd name="T85" fmla="*/ 33 h 127"/>
                <a:gd name="T86" fmla="*/ 127 w 144"/>
                <a:gd name="T87" fmla="*/ 33 h 127"/>
                <a:gd name="T88" fmla="*/ 111 w 144"/>
                <a:gd name="T89" fmla="*/ 33 h 127"/>
                <a:gd name="T90" fmla="*/ 94 w 144"/>
                <a:gd name="T91" fmla="*/ 33 h 127"/>
                <a:gd name="T92" fmla="*/ 89 w 144"/>
                <a:gd name="T93" fmla="*/ 33 h 127"/>
                <a:gd name="T94" fmla="*/ 89 w 144"/>
                <a:gd name="T95" fmla="*/ 52 h 127"/>
                <a:gd name="T96" fmla="*/ 89 w 144"/>
                <a:gd name="T97" fmla="*/ 71 h 127"/>
                <a:gd name="T98" fmla="*/ 89 w 144"/>
                <a:gd name="T99" fmla="*/ 80 h 127"/>
                <a:gd name="T100" fmla="*/ 82 w 144"/>
                <a:gd name="T101" fmla="*/ 82 h 127"/>
                <a:gd name="T102" fmla="*/ 78 w 144"/>
                <a:gd name="T103" fmla="*/ 85 h 127"/>
                <a:gd name="T104" fmla="*/ 73 w 144"/>
                <a:gd name="T105" fmla="*/ 85 h 127"/>
                <a:gd name="T106" fmla="*/ 70 w 144"/>
                <a:gd name="T107" fmla="*/ 87 h 127"/>
                <a:gd name="T108" fmla="*/ 68 w 144"/>
                <a:gd name="T109" fmla="*/ 87 h 127"/>
                <a:gd name="T110" fmla="*/ 68 w 144"/>
                <a:gd name="T111" fmla="*/ 92 h 127"/>
                <a:gd name="T112" fmla="*/ 66 w 144"/>
                <a:gd name="T113" fmla="*/ 94 h 127"/>
                <a:gd name="T114" fmla="*/ 68 w 144"/>
                <a:gd name="T115" fmla="*/ 104 h 127"/>
                <a:gd name="T116" fmla="*/ 68 w 144"/>
                <a:gd name="T117" fmla="*/ 108 h 127"/>
                <a:gd name="T118" fmla="*/ 68 w 144"/>
                <a:gd name="T119" fmla="*/ 116 h 127"/>
                <a:gd name="T120" fmla="*/ 70 w 144"/>
                <a:gd name="T121" fmla="*/ 120 h 127"/>
                <a:gd name="T122" fmla="*/ 61 w 144"/>
                <a:gd name="T123" fmla="*/ 1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27">
                  <a:moveTo>
                    <a:pt x="61" y="120"/>
                  </a:moveTo>
                  <a:lnTo>
                    <a:pt x="47" y="120"/>
                  </a:lnTo>
                  <a:lnTo>
                    <a:pt x="30" y="120"/>
                  </a:lnTo>
                  <a:lnTo>
                    <a:pt x="14" y="120"/>
                  </a:lnTo>
                  <a:lnTo>
                    <a:pt x="4" y="120"/>
                  </a:lnTo>
                  <a:lnTo>
                    <a:pt x="4" y="123"/>
                  </a:lnTo>
                  <a:lnTo>
                    <a:pt x="2" y="125"/>
                  </a:lnTo>
                  <a:lnTo>
                    <a:pt x="0" y="127"/>
                  </a:lnTo>
                  <a:lnTo>
                    <a:pt x="0" y="127"/>
                  </a:lnTo>
                  <a:lnTo>
                    <a:pt x="0" y="127"/>
                  </a:lnTo>
                  <a:lnTo>
                    <a:pt x="0" y="125"/>
                  </a:lnTo>
                  <a:lnTo>
                    <a:pt x="0" y="113"/>
                  </a:lnTo>
                  <a:lnTo>
                    <a:pt x="4" y="106"/>
                  </a:lnTo>
                  <a:lnTo>
                    <a:pt x="7" y="104"/>
                  </a:lnTo>
                  <a:lnTo>
                    <a:pt x="11" y="94"/>
                  </a:lnTo>
                  <a:lnTo>
                    <a:pt x="14" y="90"/>
                  </a:lnTo>
                  <a:lnTo>
                    <a:pt x="14" y="87"/>
                  </a:lnTo>
                  <a:lnTo>
                    <a:pt x="19" y="78"/>
                  </a:lnTo>
                  <a:lnTo>
                    <a:pt x="21" y="75"/>
                  </a:lnTo>
                  <a:lnTo>
                    <a:pt x="21" y="73"/>
                  </a:lnTo>
                  <a:lnTo>
                    <a:pt x="23" y="71"/>
                  </a:lnTo>
                  <a:lnTo>
                    <a:pt x="33" y="59"/>
                  </a:lnTo>
                  <a:lnTo>
                    <a:pt x="37" y="52"/>
                  </a:lnTo>
                  <a:lnTo>
                    <a:pt x="37" y="47"/>
                  </a:lnTo>
                  <a:lnTo>
                    <a:pt x="42" y="40"/>
                  </a:lnTo>
                  <a:lnTo>
                    <a:pt x="42" y="33"/>
                  </a:lnTo>
                  <a:lnTo>
                    <a:pt x="47" y="26"/>
                  </a:lnTo>
                  <a:lnTo>
                    <a:pt x="54" y="23"/>
                  </a:lnTo>
                  <a:lnTo>
                    <a:pt x="59" y="19"/>
                  </a:lnTo>
                  <a:lnTo>
                    <a:pt x="61" y="12"/>
                  </a:lnTo>
                  <a:lnTo>
                    <a:pt x="63" y="12"/>
                  </a:lnTo>
                  <a:lnTo>
                    <a:pt x="63" y="7"/>
                  </a:lnTo>
                  <a:lnTo>
                    <a:pt x="66" y="2"/>
                  </a:lnTo>
                  <a:lnTo>
                    <a:pt x="68" y="0"/>
                  </a:lnTo>
                  <a:lnTo>
                    <a:pt x="70" y="0"/>
                  </a:lnTo>
                  <a:lnTo>
                    <a:pt x="82" y="0"/>
                  </a:lnTo>
                  <a:lnTo>
                    <a:pt x="94" y="0"/>
                  </a:lnTo>
                  <a:lnTo>
                    <a:pt x="106" y="0"/>
                  </a:lnTo>
                  <a:lnTo>
                    <a:pt x="120" y="0"/>
                  </a:lnTo>
                  <a:lnTo>
                    <a:pt x="134" y="0"/>
                  </a:lnTo>
                  <a:lnTo>
                    <a:pt x="144" y="0"/>
                  </a:lnTo>
                  <a:lnTo>
                    <a:pt x="144" y="12"/>
                  </a:lnTo>
                  <a:lnTo>
                    <a:pt x="144" y="33"/>
                  </a:lnTo>
                  <a:lnTo>
                    <a:pt x="127" y="33"/>
                  </a:lnTo>
                  <a:lnTo>
                    <a:pt x="111" y="33"/>
                  </a:lnTo>
                  <a:lnTo>
                    <a:pt x="94" y="33"/>
                  </a:lnTo>
                  <a:lnTo>
                    <a:pt x="89" y="33"/>
                  </a:lnTo>
                  <a:lnTo>
                    <a:pt x="89" y="52"/>
                  </a:lnTo>
                  <a:lnTo>
                    <a:pt x="89" y="71"/>
                  </a:lnTo>
                  <a:lnTo>
                    <a:pt x="89" y="80"/>
                  </a:lnTo>
                  <a:lnTo>
                    <a:pt x="82" y="82"/>
                  </a:lnTo>
                  <a:lnTo>
                    <a:pt x="78" y="85"/>
                  </a:lnTo>
                  <a:lnTo>
                    <a:pt x="73" y="85"/>
                  </a:lnTo>
                  <a:lnTo>
                    <a:pt x="70" y="87"/>
                  </a:lnTo>
                  <a:lnTo>
                    <a:pt x="68" y="87"/>
                  </a:lnTo>
                  <a:lnTo>
                    <a:pt x="68" y="92"/>
                  </a:lnTo>
                  <a:lnTo>
                    <a:pt x="66" y="94"/>
                  </a:lnTo>
                  <a:lnTo>
                    <a:pt x="68" y="104"/>
                  </a:lnTo>
                  <a:lnTo>
                    <a:pt x="68" y="108"/>
                  </a:lnTo>
                  <a:lnTo>
                    <a:pt x="68" y="116"/>
                  </a:lnTo>
                  <a:lnTo>
                    <a:pt x="70" y="120"/>
                  </a:lnTo>
                  <a:lnTo>
                    <a:pt x="61" y="120"/>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3" name="Freeform 1132">
              <a:extLst>
                <a:ext uri="{FF2B5EF4-FFF2-40B4-BE49-F238E27FC236}">
                  <a16:creationId xmlns:a16="http://schemas.microsoft.com/office/drawing/2014/main" id="{121B8C60-2342-45F8-997D-0065691B0224}"/>
                </a:ext>
              </a:extLst>
            </p:cNvPr>
            <p:cNvSpPr>
              <a:spLocks/>
            </p:cNvSpPr>
            <p:nvPr/>
          </p:nvSpPr>
          <p:spPr bwMode="auto">
            <a:xfrm>
              <a:off x="1826465" y="5024405"/>
              <a:ext cx="261937" cy="269875"/>
            </a:xfrm>
            <a:custGeom>
              <a:avLst/>
              <a:gdLst>
                <a:gd name="T0" fmla="*/ 0 w 165"/>
                <a:gd name="T1" fmla="*/ 114 h 170"/>
                <a:gd name="T2" fmla="*/ 0 w 165"/>
                <a:gd name="T3" fmla="*/ 78 h 170"/>
                <a:gd name="T4" fmla="*/ 19 w 165"/>
                <a:gd name="T5" fmla="*/ 66 h 170"/>
                <a:gd name="T6" fmla="*/ 19 w 165"/>
                <a:gd name="T7" fmla="*/ 31 h 170"/>
                <a:gd name="T8" fmla="*/ 19 w 165"/>
                <a:gd name="T9" fmla="*/ 12 h 170"/>
                <a:gd name="T10" fmla="*/ 49 w 165"/>
                <a:gd name="T11" fmla="*/ 7 h 170"/>
                <a:gd name="T12" fmla="*/ 59 w 165"/>
                <a:gd name="T13" fmla="*/ 7 h 170"/>
                <a:gd name="T14" fmla="*/ 64 w 165"/>
                <a:gd name="T15" fmla="*/ 12 h 170"/>
                <a:gd name="T16" fmla="*/ 66 w 165"/>
                <a:gd name="T17" fmla="*/ 14 h 170"/>
                <a:gd name="T18" fmla="*/ 75 w 165"/>
                <a:gd name="T19" fmla="*/ 7 h 170"/>
                <a:gd name="T20" fmla="*/ 85 w 165"/>
                <a:gd name="T21" fmla="*/ 3 h 170"/>
                <a:gd name="T22" fmla="*/ 90 w 165"/>
                <a:gd name="T23" fmla="*/ 0 h 170"/>
                <a:gd name="T24" fmla="*/ 92 w 165"/>
                <a:gd name="T25" fmla="*/ 5 h 170"/>
                <a:gd name="T26" fmla="*/ 97 w 165"/>
                <a:gd name="T27" fmla="*/ 14 h 170"/>
                <a:gd name="T28" fmla="*/ 101 w 165"/>
                <a:gd name="T29" fmla="*/ 22 h 170"/>
                <a:gd name="T30" fmla="*/ 108 w 165"/>
                <a:gd name="T31" fmla="*/ 31 h 170"/>
                <a:gd name="T32" fmla="*/ 123 w 165"/>
                <a:gd name="T33" fmla="*/ 43 h 170"/>
                <a:gd name="T34" fmla="*/ 130 w 165"/>
                <a:gd name="T35" fmla="*/ 50 h 170"/>
                <a:gd name="T36" fmla="*/ 137 w 165"/>
                <a:gd name="T37" fmla="*/ 55 h 170"/>
                <a:gd name="T38" fmla="*/ 139 w 165"/>
                <a:gd name="T39" fmla="*/ 66 h 170"/>
                <a:gd name="T40" fmla="*/ 144 w 165"/>
                <a:gd name="T41" fmla="*/ 74 h 170"/>
                <a:gd name="T42" fmla="*/ 149 w 165"/>
                <a:gd name="T43" fmla="*/ 76 h 170"/>
                <a:gd name="T44" fmla="*/ 158 w 165"/>
                <a:gd name="T45" fmla="*/ 78 h 170"/>
                <a:gd name="T46" fmla="*/ 165 w 165"/>
                <a:gd name="T47" fmla="*/ 81 h 170"/>
                <a:gd name="T48" fmla="*/ 160 w 165"/>
                <a:gd name="T49" fmla="*/ 85 h 170"/>
                <a:gd name="T50" fmla="*/ 144 w 165"/>
                <a:gd name="T51" fmla="*/ 92 h 170"/>
                <a:gd name="T52" fmla="*/ 132 w 165"/>
                <a:gd name="T53" fmla="*/ 102 h 170"/>
                <a:gd name="T54" fmla="*/ 123 w 165"/>
                <a:gd name="T55" fmla="*/ 114 h 170"/>
                <a:gd name="T56" fmla="*/ 108 w 165"/>
                <a:gd name="T57" fmla="*/ 128 h 170"/>
                <a:gd name="T58" fmla="*/ 99 w 165"/>
                <a:gd name="T59" fmla="*/ 144 h 170"/>
                <a:gd name="T60" fmla="*/ 97 w 165"/>
                <a:gd name="T61" fmla="*/ 147 h 170"/>
                <a:gd name="T62" fmla="*/ 85 w 165"/>
                <a:gd name="T63" fmla="*/ 149 h 170"/>
                <a:gd name="T64" fmla="*/ 73 w 165"/>
                <a:gd name="T65" fmla="*/ 144 h 170"/>
                <a:gd name="T66" fmla="*/ 64 w 165"/>
                <a:gd name="T67" fmla="*/ 142 h 170"/>
                <a:gd name="T68" fmla="*/ 54 w 165"/>
                <a:gd name="T69" fmla="*/ 151 h 170"/>
                <a:gd name="T70" fmla="*/ 52 w 165"/>
                <a:gd name="T71" fmla="*/ 156 h 170"/>
                <a:gd name="T72" fmla="*/ 45 w 165"/>
                <a:gd name="T73" fmla="*/ 161 h 170"/>
                <a:gd name="T74" fmla="*/ 40 w 165"/>
                <a:gd name="T75" fmla="*/ 168 h 170"/>
                <a:gd name="T76" fmla="*/ 23 w 165"/>
                <a:gd name="T77" fmla="*/ 170 h 170"/>
                <a:gd name="T78" fmla="*/ 14 w 165"/>
                <a:gd name="T79" fmla="*/ 170 h 170"/>
                <a:gd name="T80" fmla="*/ 16 w 165"/>
                <a:gd name="T81" fmla="*/ 161 h 170"/>
                <a:gd name="T82" fmla="*/ 16 w 165"/>
                <a:gd name="T83" fmla="*/ 154 h 170"/>
                <a:gd name="T84" fmla="*/ 14 w 165"/>
                <a:gd name="T85" fmla="*/ 144 h 170"/>
                <a:gd name="T86" fmla="*/ 9 w 165"/>
                <a:gd name="T87" fmla="*/ 137 h 170"/>
                <a:gd name="T88" fmla="*/ 5 w 165"/>
                <a:gd name="T89" fmla="*/ 133 h 170"/>
                <a:gd name="T90" fmla="*/ 0 w 165"/>
                <a:gd name="T91" fmla="*/ 13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5" h="170">
                  <a:moveTo>
                    <a:pt x="0" y="133"/>
                  </a:moveTo>
                  <a:lnTo>
                    <a:pt x="0" y="114"/>
                  </a:lnTo>
                  <a:lnTo>
                    <a:pt x="0" y="97"/>
                  </a:lnTo>
                  <a:lnTo>
                    <a:pt x="0" y="78"/>
                  </a:lnTo>
                  <a:lnTo>
                    <a:pt x="19" y="78"/>
                  </a:lnTo>
                  <a:lnTo>
                    <a:pt x="19" y="66"/>
                  </a:lnTo>
                  <a:lnTo>
                    <a:pt x="19" y="50"/>
                  </a:lnTo>
                  <a:lnTo>
                    <a:pt x="19" y="31"/>
                  </a:lnTo>
                  <a:lnTo>
                    <a:pt x="19" y="14"/>
                  </a:lnTo>
                  <a:lnTo>
                    <a:pt x="19" y="12"/>
                  </a:lnTo>
                  <a:lnTo>
                    <a:pt x="45" y="7"/>
                  </a:lnTo>
                  <a:lnTo>
                    <a:pt x="49" y="7"/>
                  </a:lnTo>
                  <a:lnTo>
                    <a:pt x="52" y="7"/>
                  </a:lnTo>
                  <a:lnTo>
                    <a:pt x="59" y="7"/>
                  </a:lnTo>
                  <a:lnTo>
                    <a:pt x="61" y="7"/>
                  </a:lnTo>
                  <a:lnTo>
                    <a:pt x="64" y="12"/>
                  </a:lnTo>
                  <a:lnTo>
                    <a:pt x="64" y="17"/>
                  </a:lnTo>
                  <a:lnTo>
                    <a:pt x="66" y="14"/>
                  </a:lnTo>
                  <a:lnTo>
                    <a:pt x="68" y="12"/>
                  </a:lnTo>
                  <a:lnTo>
                    <a:pt x="75" y="7"/>
                  </a:lnTo>
                  <a:lnTo>
                    <a:pt x="82" y="5"/>
                  </a:lnTo>
                  <a:lnTo>
                    <a:pt x="85" y="3"/>
                  </a:lnTo>
                  <a:lnTo>
                    <a:pt x="87" y="3"/>
                  </a:lnTo>
                  <a:lnTo>
                    <a:pt x="90" y="0"/>
                  </a:lnTo>
                  <a:lnTo>
                    <a:pt x="92" y="3"/>
                  </a:lnTo>
                  <a:lnTo>
                    <a:pt x="92" y="5"/>
                  </a:lnTo>
                  <a:lnTo>
                    <a:pt x="94" y="7"/>
                  </a:lnTo>
                  <a:lnTo>
                    <a:pt x="97" y="14"/>
                  </a:lnTo>
                  <a:lnTo>
                    <a:pt x="101" y="17"/>
                  </a:lnTo>
                  <a:lnTo>
                    <a:pt x="101" y="22"/>
                  </a:lnTo>
                  <a:lnTo>
                    <a:pt x="104" y="24"/>
                  </a:lnTo>
                  <a:lnTo>
                    <a:pt x="108" y="31"/>
                  </a:lnTo>
                  <a:lnTo>
                    <a:pt x="118" y="40"/>
                  </a:lnTo>
                  <a:lnTo>
                    <a:pt x="123" y="43"/>
                  </a:lnTo>
                  <a:lnTo>
                    <a:pt x="127" y="45"/>
                  </a:lnTo>
                  <a:lnTo>
                    <a:pt x="130" y="50"/>
                  </a:lnTo>
                  <a:lnTo>
                    <a:pt x="134" y="50"/>
                  </a:lnTo>
                  <a:lnTo>
                    <a:pt x="137" y="55"/>
                  </a:lnTo>
                  <a:lnTo>
                    <a:pt x="137" y="59"/>
                  </a:lnTo>
                  <a:lnTo>
                    <a:pt x="139" y="66"/>
                  </a:lnTo>
                  <a:lnTo>
                    <a:pt x="142" y="71"/>
                  </a:lnTo>
                  <a:lnTo>
                    <a:pt x="144" y="74"/>
                  </a:lnTo>
                  <a:lnTo>
                    <a:pt x="146" y="76"/>
                  </a:lnTo>
                  <a:lnTo>
                    <a:pt x="149" y="76"/>
                  </a:lnTo>
                  <a:lnTo>
                    <a:pt x="153" y="76"/>
                  </a:lnTo>
                  <a:lnTo>
                    <a:pt x="158" y="78"/>
                  </a:lnTo>
                  <a:lnTo>
                    <a:pt x="160" y="78"/>
                  </a:lnTo>
                  <a:lnTo>
                    <a:pt x="165" y="81"/>
                  </a:lnTo>
                  <a:lnTo>
                    <a:pt x="165" y="83"/>
                  </a:lnTo>
                  <a:lnTo>
                    <a:pt x="160" y="85"/>
                  </a:lnTo>
                  <a:lnTo>
                    <a:pt x="156" y="88"/>
                  </a:lnTo>
                  <a:lnTo>
                    <a:pt x="144" y="92"/>
                  </a:lnTo>
                  <a:lnTo>
                    <a:pt x="139" y="100"/>
                  </a:lnTo>
                  <a:lnTo>
                    <a:pt x="132" y="102"/>
                  </a:lnTo>
                  <a:lnTo>
                    <a:pt x="127" y="109"/>
                  </a:lnTo>
                  <a:lnTo>
                    <a:pt x="123" y="114"/>
                  </a:lnTo>
                  <a:lnTo>
                    <a:pt x="118" y="121"/>
                  </a:lnTo>
                  <a:lnTo>
                    <a:pt x="108" y="128"/>
                  </a:lnTo>
                  <a:lnTo>
                    <a:pt x="104" y="133"/>
                  </a:lnTo>
                  <a:lnTo>
                    <a:pt x="99" y="144"/>
                  </a:lnTo>
                  <a:lnTo>
                    <a:pt x="99" y="147"/>
                  </a:lnTo>
                  <a:lnTo>
                    <a:pt x="97" y="147"/>
                  </a:lnTo>
                  <a:lnTo>
                    <a:pt x="92" y="147"/>
                  </a:lnTo>
                  <a:lnTo>
                    <a:pt x="85" y="149"/>
                  </a:lnTo>
                  <a:lnTo>
                    <a:pt x="80" y="149"/>
                  </a:lnTo>
                  <a:lnTo>
                    <a:pt x="73" y="144"/>
                  </a:lnTo>
                  <a:lnTo>
                    <a:pt x="68" y="144"/>
                  </a:lnTo>
                  <a:lnTo>
                    <a:pt x="64" y="142"/>
                  </a:lnTo>
                  <a:lnTo>
                    <a:pt x="61" y="144"/>
                  </a:lnTo>
                  <a:lnTo>
                    <a:pt x="54" y="151"/>
                  </a:lnTo>
                  <a:lnTo>
                    <a:pt x="52" y="154"/>
                  </a:lnTo>
                  <a:lnTo>
                    <a:pt x="52" y="156"/>
                  </a:lnTo>
                  <a:lnTo>
                    <a:pt x="49" y="159"/>
                  </a:lnTo>
                  <a:lnTo>
                    <a:pt x="45" y="161"/>
                  </a:lnTo>
                  <a:lnTo>
                    <a:pt x="42" y="163"/>
                  </a:lnTo>
                  <a:lnTo>
                    <a:pt x="40" y="168"/>
                  </a:lnTo>
                  <a:lnTo>
                    <a:pt x="28" y="170"/>
                  </a:lnTo>
                  <a:lnTo>
                    <a:pt x="23" y="170"/>
                  </a:lnTo>
                  <a:lnTo>
                    <a:pt x="19" y="170"/>
                  </a:lnTo>
                  <a:lnTo>
                    <a:pt x="14" y="170"/>
                  </a:lnTo>
                  <a:lnTo>
                    <a:pt x="14" y="166"/>
                  </a:lnTo>
                  <a:lnTo>
                    <a:pt x="16" y="161"/>
                  </a:lnTo>
                  <a:lnTo>
                    <a:pt x="16" y="156"/>
                  </a:lnTo>
                  <a:lnTo>
                    <a:pt x="16" y="154"/>
                  </a:lnTo>
                  <a:lnTo>
                    <a:pt x="16" y="149"/>
                  </a:lnTo>
                  <a:lnTo>
                    <a:pt x="14" y="144"/>
                  </a:lnTo>
                  <a:lnTo>
                    <a:pt x="9" y="140"/>
                  </a:lnTo>
                  <a:lnTo>
                    <a:pt x="9" y="137"/>
                  </a:lnTo>
                  <a:lnTo>
                    <a:pt x="5" y="135"/>
                  </a:lnTo>
                  <a:lnTo>
                    <a:pt x="5" y="133"/>
                  </a:lnTo>
                  <a:lnTo>
                    <a:pt x="2" y="133"/>
                  </a:lnTo>
                  <a:lnTo>
                    <a:pt x="0" y="13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4" name="Freeform 1133">
              <a:extLst>
                <a:ext uri="{FF2B5EF4-FFF2-40B4-BE49-F238E27FC236}">
                  <a16:creationId xmlns:a16="http://schemas.microsoft.com/office/drawing/2014/main" id="{3676967D-673A-4620-954A-31CB47771EE6}"/>
                </a:ext>
              </a:extLst>
            </p:cNvPr>
            <p:cNvSpPr>
              <a:spLocks/>
            </p:cNvSpPr>
            <p:nvPr/>
          </p:nvSpPr>
          <p:spPr bwMode="auto">
            <a:xfrm>
              <a:off x="1826465" y="5024405"/>
              <a:ext cx="261937" cy="269875"/>
            </a:xfrm>
            <a:custGeom>
              <a:avLst/>
              <a:gdLst>
                <a:gd name="T0" fmla="*/ 0 w 165"/>
                <a:gd name="T1" fmla="*/ 114 h 170"/>
                <a:gd name="T2" fmla="*/ 0 w 165"/>
                <a:gd name="T3" fmla="*/ 78 h 170"/>
                <a:gd name="T4" fmla="*/ 19 w 165"/>
                <a:gd name="T5" fmla="*/ 66 h 170"/>
                <a:gd name="T6" fmla="*/ 19 w 165"/>
                <a:gd name="T7" fmla="*/ 31 h 170"/>
                <a:gd name="T8" fmla="*/ 19 w 165"/>
                <a:gd name="T9" fmla="*/ 12 h 170"/>
                <a:gd name="T10" fmla="*/ 49 w 165"/>
                <a:gd name="T11" fmla="*/ 7 h 170"/>
                <a:gd name="T12" fmla="*/ 59 w 165"/>
                <a:gd name="T13" fmla="*/ 7 h 170"/>
                <a:gd name="T14" fmla="*/ 64 w 165"/>
                <a:gd name="T15" fmla="*/ 12 h 170"/>
                <a:gd name="T16" fmla="*/ 66 w 165"/>
                <a:gd name="T17" fmla="*/ 14 h 170"/>
                <a:gd name="T18" fmla="*/ 75 w 165"/>
                <a:gd name="T19" fmla="*/ 7 h 170"/>
                <a:gd name="T20" fmla="*/ 85 w 165"/>
                <a:gd name="T21" fmla="*/ 3 h 170"/>
                <a:gd name="T22" fmla="*/ 90 w 165"/>
                <a:gd name="T23" fmla="*/ 0 h 170"/>
                <a:gd name="T24" fmla="*/ 92 w 165"/>
                <a:gd name="T25" fmla="*/ 5 h 170"/>
                <a:gd name="T26" fmla="*/ 97 w 165"/>
                <a:gd name="T27" fmla="*/ 14 h 170"/>
                <a:gd name="T28" fmla="*/ 101 w 165"/>
                <a:gd name="T29" fmla="*/ 22 h 170"/>
                <a:gd name="T30" fmla="*/ 108 w 165"/>
                <a:gd name="T31" fmla="*/ 31 h 170"/>
                <a:gd name="T32" fmla="*/ 123 w 165"/>
                <a:gd name="T33" fmla="*/ 43 h 170"/>
                <a:gd name="T34" fmla="*/ 130 w 165"/>
                <a:gd name="T35" fmla="*/ 50 h 170"/>
                <a:gd name="T36" fmla="*/ 137 w 165"/>
                <a:gd name="T37" fmla="*/ 55 h 170"/>
                <a:gd name="T38" fmla="*/ 139 w 165"/>
                <a:gd name="T39" fmla="*/ 66 h 170"/>
                <a:gd name="T40" fmla="*/ 144 w 165"/>
                <a:gd name="T41" fmla="*/ 74 h 170"/>
                <a:gd name="T42" fmla="*/ 149 w 165"/>
                <a:gd name="T43" fmla="*/ 76 h 170"/>
                <a:gd name="T44" fmla="*/ 158 w 165"/>
                <a:gd name="T45" fmla="*/ 78 h 170"/>
                <a:gd name="T46" fmla="*/ 165 w 165"/>
                <a:gd name="T47" fmla="*/ 81 h 170"/>
                <a:gd name="T48" fmla="*/ 160 w 165"/>
                <a:gd name="T49" fmla="*/ 85 h 170"/>
                <a:gd name="T50" fmla="*/ 144 w 165"/>
                <a:gd name="T51" fmla="*/ 92 h 170"/>
                <a:gd name="T52" fmla="*/ 132 w 165"/>
                <a:gd name="T53" fmla="*/ 102 h 170"/>
                <a:gd name="T54" fmla="*/ 123 w 165"/>
                <a:gd name="T55" fmla="*/ 114 h 170"/>
                <a:gd name="T56" fmla="*/ 108 w 165"/>
                <a:gd name="T57" fmla="*/ 128 h 170"/>
                <a:gd name="T58" fmla="*/ 99 w 165"/>
                <a:gd name="T59" fmla="*/ 144 h 170"/>
                <a:gd name="T60" fmla="*/ 97 w 165"/>
                <a:gd name="T61" fmla="*/ 147 h 170"/>
                <a:gd name="T62" fmla="*/ 85 w 165"/>
                <a:gd name="T63" fmla="*/ 149 h 170"/>
                <a:gd name="T64" fmla="*/ 73 w 165"/>
                <a:gd name="T65" fmla="*/ 144 h 170"/>
                <a:gd name="T66" fmla="*/ 64 w 165"/>
                <a:gd name="T67" fmla="*/ 142 h 170"/>
                <a:gd name="T68" fmla="*/ 54 w 165"/>
                <a:gd name="T69" fmla="*/ 151 h 170"/>
                <a:gd name="T70" fmla="*/ 52 w 165"/>
                <a:gd name="T71" fmla="*/ 156 h 170"/>
                <a:gd name="T72" fmla="*/ 45 w 165"/>
                <a:gd name="T73" fmla="*/ 161 h 170"/>
                <a:gd name="T74" fmla="*/ 40 w 165"/>
                <a:gd name="T75" fmla="*/ 168 h 170"/>
                <a:gd name="T76" fmla="*/ 23 w 165"/>
                <a:gd name="T77" fmla="*/ 170 h 170"/>
                <a:gd name="T78" fmla="*/ 14 w 165"/>
                <a:gd name="T79" fmla="*/ 170 h 170"/>
                <a:gd name="T80" fmla="*/ 16 w 165"/>
                <a:gd name="T81" fmla="*/ 161 h 170"/>
                <a:gd name="T82" fmla="*/ 16 w 165"/>
                <a:gd name="T83" fmla="*/ 154 h 170"/>
                <a:gd name="T84" fmla="*/ 14 w 165"/>
                <a:gd name="T85" fmla="*/ 144 h 170"/>
                <a:gd name="T86" fmla="*/ 9 w 165"/>
                <a:gd name="T87" fmla="*/ 137 h 170"/>
                <a:gd name="T88" fmla="*/ 5 w 165"/>
                <a:gd name="T89" fmla="*/ 133 h 170"/>
                <a:gd name="T90" fmla="*/ 0 w 165"/>
                <a:gd name="T91" fmla="*/ 13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5" h="170">
                  <a:moveTo>
                    <a:pt x="0" y="133"/>
                  </a:moveTo>
                  <a:lnTo>
                    <a:pt x="0" y="114"/>
                  </a:lnTo>
                  <a:lnTo>
                    <a:pt x="0" y="97"/>
                  </a:lnTo>
                  <a:lnTo>
                    <a:pt x="0" y="78"/>
                  </a:lnTo>
                  <a:lnTo>
                    <a:pt x="19" y="78"/>
                  </a:lnTo>
                  <a:lnTo>
                    <a:pt x="19" y="66"/>
                  </a:lnTo>
                  <a:lnTo>
                    <a:pt x="19" y="50"/>
                  </a:lnTo>
                  <a:lnTo>
                    <a:pt x="19" y="31"/>
                  </a:lnTo>
                  <a:lnTo>
                    <a:pt x="19" y="14"/>
                  </a:lnTo>
                  <a:lnTo>
                    <a:pt x="19" y="12"/>
                  </a:lnTo>
                  <a:lnTo>
                    <a:pt x="45" y="7"/>
                  </a:lnTo>
                  <a:lnTo>
                    <a:pt x="49" y="7"/>
                  </a:lnTo>
                  <a:lnTo>
                    <a:pt x="52" y="7"/>
                  </a:lnTo>
                  <a:lnTo>
                    <a:pt x="59" y="7"/>
                  </a:lnTo>
                  <a:lnTo>
                    <a:pt x="61" y="7"/>
                  </a:lnTo>
                  <a:lnTo>
                    <a:pt x="64" y="12"/>
                  </a:lnTo>
                  <a:lnTo>
                    <a:pt x="64" y="17"/>
                  </a:lnTo>
                  <a:lnTo>
                    <a:pt x="66" y="14"/>
                  </a:lnTo>
                  <a:lnTo>
                    <a:pt x="68" y="12"/>
                  </a:lnTo>
                  <a:lnTo>
                    <a:pt x="75" y="7"/>
                  </a:lnTo>
                  <a:lnTo>
                    <a:pt x="82" y="5"/>
                  </a:lnTo>
                  <a:lnTo>
                    <a:pt x="85" y="3"/>
                  </a:lnTo>
                  <a:lnTo>
                    <a:pt x="87" y="3"/>
                  </a:lnTo>
                  <a:lnTo>
                    <a:pt x="90" y="0"/>
                  </a:lnTo>
                  <a:lnTo>
                    <a:pt x="92" y="3"/>
                  </a:lnTo>
                  <a:lnTo>
                    <a:pt x="92" y="5"/>
                  </a:lnTo>
                  <a:lnTo>
                    <a:pt x="94" y="7"/>
                  </a:lnTo>
                  <a:lnTo>
                    <a:pt x="97" y="14"/>
                  </a:lnTo>
                  <a:lnTo>
                    <a:pt x="101" y="17"/>
                  </a:lnTo>
                  <a:lnTo>
                    <a:pt x="101" y="22"/>
                  </a:lnTo>
                  <a:lnTo>
                    <a:pt x="104" y="24"/>
                  </a:lnTo>
                  <a:lnTo>
                    <a:pt x="108" y="31"/>
                  </a:lnTo>
                  <a:lnTo>
                    <a:pt x="118" y="40"/>
                  </a:lnTo>
                  <a:lnTo>
                    <a:pt x="123" y="43"/>
                  </a:lnTo>
                  <a:lnTo>
                    <a:pt x="127" y="45"/>
                  </a:lnTo>
                  <a:lnTo>
                    <a:pt x="130" y="50"/>
                  </a:lnTo>
                  <a:lnTo>
                    <a:pt x="134" y="50"/>
                  </a:lnTo>
                  <a:lnTo>
                    <a:pt x="137" y="55"/>
                  </a:lnTo>
                  <a:lnTo>
                    <a:pt x="137" y="59"/>
                  </a:lnTo>
                  <a:lnTo>
                    <a:pt x="139" y="66"/>
                  </a:lnTo>
                  <a:lnTo>
                    <a:pt x="142" y="71"/>
                  </a:lnTo>
                  <a:lnTo>
                    <a:pt x="144" y="74"/>
                  </a:lnTo>
                  <a:lnTo>
                    <a:pt x="146" y="76"/>
                  </a:lnTo>
                  <a:lnTo>
                    <a:pt x="149" y="76"/>
                  </a:lnTo>
                  <a:lnTo>
                    <a:pt x="153" y="76"/>
                  </a:lnTo>
                  <a:lnTo>
                    <a:pt x="158" y="78"/>
                  </a:lnTo>
                  <a:lnTo>
                    <a:pt x="160" y="78"/>
                  </a:lnTo>
                  <a:lnTo>
                    <a:pt x="165" y="81"/>
                  </a:lnTo>
                  <a:lnTo>
                    <a:pt x="165" y="83"/>
                  </a:lnTo>
                  <a:lnTo>
                    <a:pt x="160" y="85"/>
                  </a:lnTo>
                  <a:lnTo>
                    <a:pt x="156" y="88"/>
                  </a:lnTo>
                  <a:lnTo>
                    <a:pt x="144" y="92"/>
                  </a:lnTo>
                  <a:lnTo>
                    <a:pt x="139" y="100"/>
                  </a:lnTo>
                  <a:lnTo>
                    <a:pt x="132" y="102"/>
                  </a:lnTo>
                  <a:lnTo>
                    <a:pt x="127" y="109"/>
                  </a:lnTo>
                  <a:lnTo>
                    <a:pt x="123" y="114"/>
                  </a:lnTo>
                  <a:lnTo>
                    <a:pt x="118" y="121"/>
                  </a:lnTo>
                  <a:lnTo>
                    <a:pt x="108" y="128"/>
                  </a:lnTo>
                  <a:lnTo>
                    <a:pt x="104" y="133"/>
                  </a:lnTo>
                  <a:lnTo>
                    <a:pt x="99" y="144"/>
                  </a:lnTo>
                  <a:lnTo>
                    <a:pt x="99" y="147"/>
                  </a:lnTo>
                  <a:lnTo>
                    <a:pt x="97" y="147"/>
                  </a:lnTo>
                  <a:lnTo>
                    <a:pt x="92" y="147"/>
                  </a:lnTo>
                  <a:lnTo>
                    <a:pt x="85" y="149"/>
                  </a:lnTo>
                  <a:lnTo>
                    <a:pt x="80" y="149"/>
                  </a:lnTo>
                  <a:lnTo>
                    <a:pt x="73" y="144"/>
                  </a:lnTo>
                  <a:lnTo>
                    <a:pt x="68" y="144"/>
                  </a:lnTo>
                  <a:lnTo>
                    <a:pt x="64" y="142"/>
                  </a:lnTo>
                  <a:lnTo>
                    <a:pt x="61" y="144"/>
                  </a:lnTo>
                  <a:lnTo>
                    <a:pt x="54" y="151"/>
                  </a:lnTo>
                  <a:lnTo>
                    <a:pt x="52" y="154"/>
                  </a:lnTo>
                  <a:lnTo>
                    <a:pt x="52" y="156"/>
                  </a:lnTo>
                  <a:lnTo>
                    <a:pt x="49" y="159"/>
                  </a:lnTo>
                  <a:lnTo>
                    <a:pt x="45" y="161"/>
                  </a:lnTo>
                  <a:lnTo>
                    <a:pt x="42" y="163"/>
                  </a:lnTo>
                  <a:lnTo>
                    <a:pt x="40" y="168"/>
                  </a:lnTo>
                  <a:lnTo>
                    <a:pt x="28" y="170"/>
                  </a:lnTo>
                  <a:lnTo>
                    <a:pt x="23" y="170"/>
                  </a:lnTo>
                  <a:lnTo>
                    <a:pt x="19" y="170"/>
                  </a:lnTo>
                  <a:lnTo>
                    <a:pt x="14" y="170"/>
                  </a:lnTo>
                  <a:lnTo>
                    <a:pt x="14" y="166"/>
                  </a:lnTo>
                  <a:lnTo>
                    <a:pt x="16" y="161"/>
                  </a:lnTo>
                  <a:lnTo>
                    <a:pt x="16" y="156"/>
                  </a:lnTo>
                  <a:lnTo>
                    <a:pt x="16" y="154"/>
                  </a:lnTo>
                  <a:lnTo>
                    <a:pt x="16" y="149"/>
                  </a:lnTo>
                  <a:lnTo>
                    <a:pt x="14" y="144"/>
                  </a:lnTo>
                  <a:lnTo>
                    <a:pt x="9" y="140"/>
                  </a:lnTo>
                  <a:lnTo>
                    <a:pt x="9" y="137"/>
                  </a:lnTo>
                  <a:lnTo>
                    <a:pt x="5" y="135"/>
                  </a:lnTo>
                  <a:lnTo>
                    <a:pt x="5" y="133"/>
                  </a:lnTo>
                  <a:lnTo>
                    <a:pt x="2" y="133"/>
                  </a:lnTo>
                  <a:lnTo>
                    <a:pt x="0" y="133"/>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5" name="Freeform 1134">
              <a:extLst>
                <a:ext uri="{FF2B5EF4-FFF2-40B4-BE49-F238E27FC236}">
                  <a16:creationId xmlns:a16="http://schemas.microsoft.com/office/drawing/2014/main" id="{E1B1E597-1ACC-4DD3-B99A-DF7D4BB68595}"/>
                </a:ext>
              </a:extLst>
            </p:cNvPr>
            <p:cNvSpPr>
              <a:spLocks/>
            </p:cNvSpPr>
            <p:nvPr/>
          </p:nvSpPr>
          <p:spPr bwMode="auto">
            <a:xfrm>
              <a:off x="2564652" y="2684427"/>
              <a:ext cx="1125536" cy="604838"/>
            </a:xfrm>
            <a:custGeom>
              <a:avLst/>
              <a:gdLst>
                <a:gd name="T0" fmla="*/ 149 w 709"/>
                <a:gd name="T1" fmla="*/ 362 h 381"/>
                <a:gd name="T2" fmla="*/ 114 w 709"/>
                <a:gd name="T3" fmla="*/ 355 h 381"/>
                <a:gd name="T4" fmla="*/ 83 w 709"/>
                <a:gd name="T5" fmla="*/ 331 h 381"/>
                <a:gd name="T6" fmla="*/ 80 w 709"/>
                <a:gd name="T7" fmla="*/ 298 h 381"/>
                <a:gd name="T8" fmla="*/ 95 w 709"/>
                <a:gd name="T9" fmla="*/ 282 h 381"/>
                <a:gd name="T10" fmla="*/ 132 w 709"/>
                <a:gd name="T11" fmla="*/ 282 h 381"/>
                <a:gd name="T12" fmla="*/ 135 w 709"/>
                <a:gd name="T13" fmla="*/ 263 h 381"/>
                <a:gd name="T14" fmla="*/ 106 w 709"/>
                <a:gd name="T15" fmla="*/ 234 h 381"/>
                <a:gd name="T16" fmla="*/ 78 w 709"/>
                <a:gd name="T17" fmla="*/ 230 h 381"/>
                <a:gd name="T18" fmla="*/ 33 w 709"/>
                <a:gd name="T19" fmla="*/ 251 h 381"/>
                <a:gd name="T20" fmla="*/ 33 w 709"/>
                <a:gd name="T21" fmla="*/ 225 h 381"/>
                <a:gd name="T22" fmla="*/ 12 w 709"/>
                <a:gd name="T23" fmla="*/ 211 h 381"/>
                <a:gd name="T24" fmla="*/ 5 w 709"/>
                <a:gd name="T25" fmla="*/ 175 h 381"/>
                <a:gd name="T26" fmla="*/ 21 w 709"/>
                <a:gd name="T27" fmla="*/ 147 h 381"/>
                <a:gd name="T28" fmla="*/ 40 w 709"/>
                <a:gd name="T29" fmla="*/ 140 h 381"/>
                <a:gd name="T30" fmla="*/ 62 w 709"/>
                <a:gd name="T31" fmla="*/ 123 h 381"/>
                <a:gd name="T32" fmla="*/ 85 w 709"/>
                <a:gd name="T33" fmla="*/ 116 h 381"/>
                <a:gd name="T34" fmla="*/ 106 w 709"/>
                <a:gd name="T35" fmla="*/ 116 h 381"/>
                <a:gd name="T36" fmla="*/ 135 w 709"/>
                <a:gd name="T37" fmla="*/ 128 h 381"/>
                <a:gd name="T38" fmla="*/ 142 w 709"/>
                <a:gd name="T39" fmla="*/ 130 h 381"/>
                <a:gd name="T40" fmla="*/ 170 w 709"/>
                <a:gd name="T41" fmla="*/ 135 h 381"/>
                <a:gd name="T42" fmla="*/ 187 w 709"/>
                <a:gd name="T43" fmla="*/ 128 h 381"/>
                <a:gd name="T44" fmla="*/ 215 w 709"/>
                <a:gd name="T45" fmla="*/ 140 h 381"/>
                <a:gd name="T46" fmla="*/ 243 w 709"/>
                <a:gd name="T47" fmla="*/ 140 h 381"/>
                <a:gd name="T48" fmla="*/ 253 w 709"/>
                <a:gd name="T49" fmla="*/ 116 h 381"/>
                <a:gd name="T50" fmla="*/ 243 w 709"/>
                <a:gd name="T51" fmla="*/ 100 h 381"/>
                <a:gd name="T52" fmla="*/ 258 w 709"/>
                <a:gd name="T53" fmla="*/ 74 h 381"/>
                <a:gd name="T54" fmla="*/ 255 w 709"/>
                <a:gd name="T55" fmla="*/ 62 h 381"/>
                <a:gd name="T56" fmla="*/ 255 w 709"/>
                <a:gd name="T57" fmla="*/ 50 h 381"/>
                <a:gd name="T58" fmla="*/ 279 w 709"/>
                <a:gd name="T59" fmla="*/ 48 h 381"/>
                <a:gd name="T60" fmla="*/ 307 w 709"/>
                <a:gd name="T61" fmla="*/ 36 h 381"/>
                <a:gd name="T62" fmla="*/ 329 w 709"/>
                <a:gd name="T63" fmla="*/ 24 h 381"/>
                <a:gd name="T64" fmla="*/ 378 w 709"/>
                <a:gd name="T65" fmla="*/ 15 h 381"/>
                <a:gd name="T66" fmla="*/ 395 w 709"/>
                <a:gd name="T67" fmla="*/ 0 h 381"/>
                <a:gd name="T68" fmla="*/ 421 w 709"/>
                <a:gd name="T69" fmla="*/ 5 h 381"/>
                <a:gd name="T70" fmla="*/ 430 w 709"/>
                <a:gd name="T71" fmla="*/ 33 h 381"/>
                <a:gd name="T72" fmla="*/ 447 w 709"/>
                <a:gd name="T73" fmla="*/ 36 h 381"/>
                <a:gd name="T74" fmla="*/ 454 w 709"/>
                <a:gd name="T75" fmla="*/ 41 h 381"/>
                <a:gd name="T76" fmla="*/ 475 w 709"/>
                <a:gd name="T77" fmla="*/ 48 h 381"/>
                <a:gd name="T78" fmla="*/ 480 w 709"/>
                <a:gd name="T79" fmla="*/ 57 h 381"/>
                <a:gd name="T80" fmla="*/ 506 w 709"/>
                <a:gd name="T81" fmla="*/ 41 h 381"/>
                <a:gd name="T82" fmla="*/ 527 w 709"/>
                <a:gd name="T83" fmla="*/ 38 h 381"/>
                <a:gd name="T84" fmla="*/ 591 w 709"/>
                <a:gd name="T85" fmla="*/ 128 h 381"/>
                <a:gd name="T86" fmla="*/ 617 w 709"/>
                <a:gd name="T87" fmla="*/ 137 h 381"/>
                <a:gd name="T88" fmla="*/ 645 w 709"/>
                <a:gd name="T89" fmla="*/ 130 h 381"/>
                <a:gd name="T90" fmla="*/ 662 w 709"/>
                <a:gd name="T91" fmla="*/ 152 h 381"/>
                <a:gd name="T92" fmla="*/ 688 w 709"/>
                <a:gd name="T93" fmla="*/ 170 h 381"/>
                <a:gd name="T94" fmla="*/ 709 w 709"/>
                <a:gd name="T95" fmla="*/ 178 h 381"/>
                <a:gd name="T96" fmla="*/ 683 w 709"/>
                <a:gd name="T97" fmla="*/ 222 h 381"/>
                <a:gd name="T98" fmla="*/ 633 w 709"/>
                <a:gd name="T99" fmla="*/ 239 h 381"/>
                <a:gd name="T100" fmla="*/ 593 w 709"/>
                <a:gd name="T101" fmla="*/ 286 h 381"/>
                <a:gd name="T102" fmla="*/ 591 w 709"/>
                <a:gd name="T103" fmla="*/ 333 h 381"/>
                <a:gd name="T104" fmla="*/ 565 w 709"/>
                <a:gd name="T105" fmla="*/ 341 h 381"/>
                <a:gd name="T106" fmla="*/ 527 w 709"/>
                <a:gd name="T107" fmla="*/ 336 h 381"/>
                <a:gd name="T108" fmla="*/ 482 w 709"/>
                <a:gd name="T109" fmla="*/ 329 h 381"/>
                <a:gd name="T110" fmla="*/ 458 w 709"/>
                <a:gd name="T111" fmla="*/ 343 h 381"/>
                <a:gd name="T112" fmla="*/ 428 w 709"/>
                <a:gd name="T113" fmla="*/ 343 h 381"/>
                <a:gd name="T114" fmla="*/ 404 w 709"/>
                <a:gd name="T115" fmla="*/ 367 h 381"/>
                <a:gd name="T116" fmla="*/ 380 w 709"/>
                <a:gd name="T117" fmla="*/ 378 h 381"/>
                <a:gd name="T118" fmla="*/ 340 w 709"/>
                <a:gd name="T119" fmla="*/ 336 h 381"/>
                <a:gd name="T120" fmla="*/ 248 w 709"/>
                <a:gd name="T121" fmla="*/ 298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9" h="381">
                  <a:moveTo>
                    <a:pt x="166" y="286"/>
                  </a:moveTo>
                  <a:lnTo>
                    <a:pt x="166" y="310"/>
                  </a:lnTo>
                  <a:lnTo>
                    <a:pt x="166" y="333"/>
                  </a:lnTo>
                  <a:lnTo>
                    <a:pt x="166" y="352"/>
                  </a:lnTo>
                  <a:lnTo>
                    <a:pt x="166" y="374"/>
                  </a:lnTo>
                  <a:lnTo>
                    <a:pt x="161" y="374"/>
                  </a:lnTo>
                  <a:lnTo>
                    <a:pt x="156" y="374"/>
                  </a:lnTo>
                  <a:lnTo>
                    <a:pt x="151" y="371"/>
                  </a:lnTo>
                  <a:lnTo>
                    <a:pt x="149" y="364"/>
                  </a:lnTo>
                  <a:lnTo>
                    <a:pt x="149" y="362"/>
                  </a:lnTo>
                  <a:lnTo>
                    <a:pt x="147" y="362"/>
                  </a:lnTo>
                  <a:lnTo>
                    <a:pt x="144" y="357"/>
                  </a:lnTo>
                  <a:lnTo>
                    <a:pt x="142" y="355"/>
                  </a:lnTo>
                  <a:lnTo>
                    <a:pt x="137" y="352"/>
                  </a:lnTo>
                  <a:lnTo>
                    <a:pt x="135" y="350"/>
                  </a:lnTo>
                  <a:lnTo>
                    <a:pt x="132" y="348"/>
                  </a:lnTo>
                  <a:lnTo>
                    <a:pt x="130" y="348"/>
                  </a:lnTo>
                  <a:lnTo>
                    <a:pt x="128" y="350"/>
                  </a:lnTo>
                  <a:lnTo>
                    <a:pt x="121" y="352"/>
                  </a:lnTo>
                  <a:lnTo>
                    <a:pt x="114" y="355"/>
                  </a:lnTo>
                  <a:lnTo>
                    <a:pt x="104" y="362"/>
                  </a:lnTo>
                  <a:lnTo>
                    <a:pt x="104" y="350"/>
                  </a:lnTo>
                  <a:lnTo>
                    <a:pt x="106" y="345"/>
                  </a:lnTo>
                  <a:lnTo>
                    <a:pt x="106" y="341"/>
                  </a:lnTo>
                  <a:lnTo>
                    <a:pt x="104" y="338"/>
                  </a:lnTo>
                  <a:lnTo>
                    <a:pt x="99" y="338"/>
                  </a:lnTo>
                  <a:lnTo>
                    <a:pt x="92" y="336"/>
                  </a:lnTo>
                  <a:lnTo>
                    <a:pt x="90" y="331"/>
                  </a:lnTo>
                  <a:lnTo>
                    <a:pt x="88" y="331"/>
                  </a:lnTo>
                  <a:lnTo>
                    <a:pt x="83" y="331"/>
                  </a:lnTo>
                  <a:lnTo>
                    <a:pt x="83" y="319"/>
                  </a:lnTo>
                  <a:lnTo>
                    <a:pt x="78" y="312"/>
                  </a:lnTo>
                  <a:lnTo>
                    <a:pt x="76" y="310"/>
                  </a:lnTo>
                  <a:lnTo>
                    <a:pt x="73" y="305"/>
                  </a:lnTo>
                  <a:lnTo>
                    <a:pt x="66" y="303"/>
                  </a:lnTo>
                  <a:lnTo>
                    <a:pt x="64" y="298"/>
                  </a:lnTo>
                  <a:lnTo>
                    <a:pt x="66" y="296"/>
                  </a:lnTo>
                  <a:lnTo>
                    <a:pt x="71" y="296"/>
                  </a:lnTo>
                  <a:lnTo>
                    <a:pt x="78" y="296"/>
                  </a:lnTo>
                  <a:lnTo>
                    <a:pt x="80" y="298"/>
                  </a:lnTo>
                  <a:lnTo>
                    <a:pt x="83" y="298"/>
                  </a:lnTo>
                  <a:lnTo>
                    <a:pt x="88" y="298"/>
                  </a:lnTo>
                  <a:lnTo>
                    <a:pt x="85" y="296"/>
                  </a:lnTo>
                  <a:lnTo>
                    <a:pt x="85" y="291"/>
                  </a:lnTo>
                  <a:lnTo>
                    <a:pt x="83" y="286"/>
                  </a:lnTo>
                  <a:lnTo>
                    <a:pt x="85" y="282"/>
                  </a:lnTo>
                  <a:lnTo>
                    <a:pt x="88" y="282"/>
                  </a:lnTo>
                  <a:lnTo>
                    <a:pt x="88" y="284"/>
                  </a:lnTo>
                  <a:lnTo>
                    <a:pt x="92" y="284"/>
                  </a:lnTo>
                  <a:lnTo>
                    <a:pt x="95" y="282"/>
                  </a:lnTo>
                  <a:lnTo>
                    <a:pt x="97" y="279"/>
                  </a:lnTo>
                  <a:lnTo>
                    <a:pt x="99" y="277"/>
                  </a:lnTo>
                  <a:lnTo>
                    <a:pt x="104" y="277"/>
                  </a:lnTo>
                  <a:lnTo>
                    <a:pt x="109" y="279"/>
                  </a:lnTo>
                  <a:lnTo>
                    <a:pt x="116" y="282"/>
                  </a:lnTo>
                  <a:lnTo>
                    <a:pt x="121" y="279"/>
                  </a:lnTo>
                  <a:lnTo>
                    <a:pt x="123" y="277"/>
                  </a:lnTo>
                  <a:lnTo>
                    <a:pt x="125" y="279"/>
                  </a:lnTo>
                  <a:lnTo>
                    <a:pt x="125" y="279"/>
                  </a:lnTo>
                  <a:lnTo>
                    <a:pt x="132" y="282"/>
                  </a:lnTo>
                  <a:lnTo>
                    <a:pt x="135" y="284"/>
                  </a:lnTo>
                  <a:lnTo>
                    <a:pt x="140" y="282"/>
                  </a:lnTo>
                  <a:lnTo>
                    <a:pt x="142" y="284"/>
                  </a:lnTo>
                  <a:lnTo>
                    <a:pt x="144" y="282"/>
                  </a:lnTo>
                  <a:lnTo>
                    <a:pt x="142" y="277"/>
                  </a:lnTo>
                  <a:lnTo>
                    <a:pt x="144" y="277"/>
                  </a:lnTo>
                  <a:lnTo>
                    <a:pt x="142" y="272"/>
                  </a:lnTo>
                  <a:lnTo>
                    <a:pt x="140" y="270"/>
                  </a:lnTo>
                  <a:lnTo>
                    <a:pt x="135" y="267"/>
                  </a:lnTo>
                  <a:lnTo>
                    <a:pt x="135" y="263"/>
                  </a:lnTo>
                  <a:lnTo>
                    <a:pt x="130" y="263"/>
                  </a:lnTo>
                  <a:lnTo>
                    <a:pt x="128" y="258"/>
                  </a:lnTo>
                  <a:lnTo>
                    <a:pt x="125" y="251"/>
                  </a:lnTo>
                  <a:lnTo>
                    <a:pt x="123" y="246"/>
                  </a:lnTo>
                  <a:lnTo>
                    <a:pt x="123" y="248"/>
                  </a:lnTo>
                  <a:lnTo>
                    <a:pt x="121" y="244"/>
                  </a:lnTo>
                  <a:lnTo>
                    <a:pt x="118" y="244"/>
                  </a:lnTo>
                  <a:lnTo>
                    <a:pt x="118" y="239"/>
                  </a:lnTo>
                  <a:lnTo>
                    <a:pt x="111" y="234"/>
                  </a:lnTo>
                  <a:lnTo>
                    <a:pt x="106" y="234"/>
                  </a:lnTo>
                  <a:lnTo>
                    <a:pt x="106" y="232"/>
                  </a:lnTo>
                  <a:lnTo>
                    <a:pt x="104" y="232"/>
                  </a:lnTo>
                  <a:lnTo>
                    <a:pt x="99" y="232"/>
                  </a:lnTo>
                  <a:lnTo>
                    <a:pt x="97" y="234"/>
                  </a:lnTo>
                  <a:lnTo>
                    <a:pt x="92" y="234"/>
                  </a:lnTo>
                  <a:lnTo>
                    <a:pt x="92" y="232"/>
                  </a:lnTo>
                  <a:lnTo>
                    <a:pt x="88" y="232"/>
                  </a:lnTo>
                  <a:lnTo>
                    <a:pt x="85" y="232"/>
                  </a:lnTo>
                  <a:lnTo>
                    <a:pt x="83" y="230"/>
                  </a:lnTo>
                  <a:lnTo>
                    <a:pt x="78" y="230"/>
                  </a:lnTo>
                  <a:lnTo>
                    <a:pt x="66" y="241"/>
                  </a:lnTo>
                  <a:lnTo>
                    <a:pt x="59" y="241"/>
                  </a:lnTo>
                  <a:lnTo>
                    <a:pt x="52" y="244"/>
                  </a:lnTo>
                  <a:lnTo>
                    <a:pt x="45" y="244"/>
                  </a:lnTo>
                  <a:lnTo>
                    <a:pt x="38" y="246"/>
                  </a:lnTo>
                  <a:lnTo>
                    <a:pt x="45" y="251"/>
                  </a:lnTo>
                  <a:lnTo>
                    <a:pt x="38" y="253"/>
                  </a:lnTo>
                  <a:lnTo>
                    <a:pt x="36" y="253"/>
                  </a:lnTo>
                  <a:lnTo>
                    <a:pt x="36" y="251"/>
                  </a:lnTo>
                  <a:lnTo>
                    <a:pt x="33" y="251"/>
                  </a:lnTo>
                  <a:lnTo>
                    <a:pt x="31" y="251"/>
                  </a:lnTo>
                  <a:lnTo>
                    <a:pt x="29" y="248"/>
                  </a:lnTo>
                  <a:lnTo>
                    <a:pt x="26" y="246"/>
                  </a:lnTo>
                  <a:lnTo>
                    <a:pt x="29" y="246"/>
                  </a:lnTo>
                  <a:lnTo>
                    <a:pt x="29" y="241"/>
                  </a:lnTo>
                  <a:lnTo>
                    <a:pt x="31" y="241"/>
                  </a:lnTo>
                  <a:lnTo>
                    <a:pt x="36" y="244"/>
                  </a:lnTo>
                  <a:lnTo>
                    <a:pt x="38" y="241"/>
                  </a:lnTo>
                  <a:lnTo>
                    <a:pt x="36" y="225"/>
                  </a:lnTo>
                  <a:lnTo>
                    <a:pt x="33" y="225"/>
                  </a:lnTo>
                  <a:lnTo>
                    <a:pt x="31" y="222"/>
                  </a:lnTo>
                  <a:lnTo>
                    <a:pt x="31" y="220"/>
                  </a:lnTo>
                  <a:lnTo>
                    <a:pt x="31" y="218"/>
                  </a:lnTo>
                  <a:lnTo>
                    <a:pt x="29" y="215"/>
                  </a:lnTo>
                  <a:lnTo>
                    <a:pt x="26" y="215"/>
                  </a:lnTo>
                  <a:lnTo>
                    <a:pt x="19" y="215"/>
                  </a:lnTo>
                  <a:lnTo>
                    <a:pt x="17" y="215"/>
                  </a:lnTo>
                  <a:lnTo>
                    <a:pt x="17" y="218"/>
                  </a:lnTo>
                  <a:lnTo>
                    <a:pt x="12" y="213"/>
                  </a:lnTo>
                  <a:lnTo>
                    <a:pt x="12" y="211"/>
                  </a:lnTo>
                  <a:lnTo>
                    <a:pt x="10" y="208"/>
                  </a:lnTo>
                  <a:lnTo>
                    <a:pt x="12" y="206"/>
                  </a:lnTo>
                  <a:lnTo>
                    <a:pt x="10" y="204"/>
                  </a:lnTo>
                  <a:lnTo>
                    <a:pt x="10" y="201"/>
                  </a:lnTo>
                  <a:lnTo>
                    <a:pt x="0" y="199"/>
                  </a:lnTo>
                  <a:lnTo>
                    <a:pt x="5" y="185"/>
                  </a:lnTo>
                  <a:lnTo>
                    <a:pt x="10" y="182"/>
                  </a:lnTo>
                  <a:lnTo>
                    <a:pt x="10" y="180"/>
                  </a:lnTo>
                  <a:lnTo>
                    <a:pt x="10" y="178"/>
                  </a:lnTo>
                  <a:lnTo>
                    <a:pt x="5" y="175"/>
                  </a:lnTo>
                  <a:lnTo>
                    <a:pt x="10" y="161"/>
                  </a:lnTo>
                  <a:lnTo>
                    <a:pt x="12" y="156"/>
                  </a:lnTo>
                  <a:lnTo>
                    <a:pt x="14" y="156"/>
                  </a:lnTo>
                  <a:lnTo>
                    <a:pt x="14" y="152"/>
                  </a:lnTo>
                  <a:lnTo>
                    <a:pt x="14" y="149"/>
                  </a:lnTo>
                  <a:lnTo>
                    <a:pt x="14" y="147"/>
                  </a:lnTo>
                  <a:lnTo>
                    <a:pt x="17" y="145"/>
                  </a:lnTo>
                  <a:lnTo>
                    <a:pt x="17" y="142"/>
                  </a:lnTo>
                  <a:lnTo>
                    <a:pt x="19" y="145"/>
                  </a:lnTo>
                  <a:lnTo>
                    <a:pt x="21" y="147"/>
                  </a:lnTo>
                  <a:lnTo>
                    <a:pt x="24" y="149"/>
                  </a:lnTo>
                  <a:lnTo>
                    <a:pt x="31" y="161"/>
                  </a:lnTo>
                  <a:lnTo>
                    <a:pt x="33" y="163"/>
                  </a:lnTo>
                  <a:lnTo>
                    <a:pt x="40" y="156"/>
                  </a:lnTo>
                  <a:lnTo>
                    <a:pt x="40" y="154"/>
                  </a:lnTo>
                  <a:lnTo>
                    <a:pt x="40" y="152"/>
                  </a:lnTo>
                  <a:lnTo>
                    <a:pt x="38" y="145"/>
                  </a:lnTo>
                  <a:lnTo>
                    <a:pt x="36" y="140"/>
                  </a:lnTo>
                  <a:lnTo>
                    <a:pt x="38" y="140"/>
                  </a:lnTo>
                  <a:lnTo>
                    <a:pt x="40" y="140"/>
                  </a:lnTo>
                  <a:lnTo>
                    <a:pt x="47" y="135"/>
                  </a:lnTo>
                  <a:lnTo>
                    <a:pt x="50" y="133"/>
                  </a:lnTo>
                  <a:lnTo>
                    <a:pt x="50" y="133"/>
                  </a:lnTo>
                  <a:lnTo>
                    <a:pt x="52" y="130"/>
                  </a:lnTo>
                  <a:lnTo>
                    <a:pt x="50" y="126"/>
                  </a:lnTo>
                  <a:lnTo>
                    <a:pt x="54" y="126"/>
                  </a:lnTo>
                  <a:lnTo>
                    <a:pt x="57" y="126"/>
                  </a:lnTo>
                  <a:lnTo>
                    <a:pt x="59" y="126"/>
                  </a:lnTo>
                  <a:lnTo>
                    <a:pt x="59" y="123"/>
                  </a:lnTo>
                  <a:lnTo>
                    <a:pt x="62" y="123"/>
                  </a:lnTo>
                  <a:lnTo>
                    <a:pt x="64" y="121"/>
                  </a:lnTo>
                  <a:lnTo>
                    <a:pt x="66" y="119"/>
                  </a:lnTo>
                  <a:lnTo>
                    <a:pt x="69" y="119"/>
                  </a:lnTo>
                  <a:lnTo>
                    <a:pt x="71" y="116"/>
                  </a:lnTo>
                  <a:lnTo>
                    <a:pt x="71" y="114"/>
                  </a:lnTo>
                  <a:lnTo>
                    <a:pt x="73" y="111"/>
                  </a:lnTo>
                  <a:lnTo>
                    <a:pt x="78" y="111"/>
                  </a:lnTo>
                  <a:lnTo>
                    <a:pt x="83" y="111"/>
                  </a:lnTo>
                  <a:lnTo>
                    <a:pt x="83" y="114"/>
                  </a:lnTo>
                  <a:lnTo>
                    <a:pt x="85" y="116"/>
                  </a:lnTo>
                  <a:lnTo>
                    <a:pt x="90" y="114"/>
                  </a:lnTo>
                  <a:lnTo>
                    <a:pt x="90" y="116"/>
                  </a:lnTo>
                  <a:lnTo>
                    <a:pt x="92" y="114"/>
                  </a:lnTo>
                  <a:lnTo>
                    <a:pt x="92" y="111"/>
                  </a:lnTo>
                  <a:lnTo>
                    <a:pt x="95" y="109"/>
                  </a:lnTo>
                  <a:lnTo>
                    <a:pt x="97" y="109"/>
                  </a:lnTo>
                  <a:lnTo>
                    <a:pt x="99" y="109"/>
                  </a:lnTo>
                  <a:lnTo>
                    <a:pt x="102" y="109"/>
                  </a:lnTo>
                  <a:lnTo>
                    <a:pt x="104" y="114"/>
                  </a:lnTo>
                  <a:lnTo>
                    <a:pt x="106" y="116"/>
                  </a:lnTo>
                  <a:lnTo>
                    <a:pt x="109" y="114"/>
                  </a:lnTo>
                  <a:lnTo>
                    <a:pt x="111" y="114"/>
                  </a:lnTo>
                  <a:lnTo>
                    <a:pt x="114" y="116"/>
                  </a:lnTo>
                  <a:lnTo>
                    <a:pt x="118" y="114"/>
                  </a:lnTo>
                  <a:lnTo>
                    <a:pt x="121" y="114"/>
                  </a:lnTo>
                  <a:lnTo>
                    <a:pt x="123" y="116"/>
                  </a:lnTo>
                  <a:lnTo>
                    <a:pt x="125" y="119"/>
                  </a:lnTo>
                  <a:lnTo>
                    <a:pt x="125" y="123"/>
                  </a:lnTo>
                  <a:lnTo>
                    <a:pt x="132" y="126"/>
                  </a:lnTo>
                  <a:lnTo>
                    <a:pt x="135" y="128"/>
                  </a:lnTo>
                  <a:lnTo>
                    <a:pt x="135" y="130"/>
                  </a:lnTo>
                  <a:lnTo>
                    <a:pt x="140" y="135"/>
                  </a:lnTo>
                  <a:lnTo>
                    <a:pt x="140" y="137"/>
                  </a:lnTo>
                  <a:lnTo>
                    <a:pt x="140" y="140"/>
                  </a:lnTo>
                  <a:lnTo>
                    <a:pt x="140" y="142"/>
                  </a:lnTo>
                  <a:lnTo>
                    <a:pt x="142" y="140"/>
                  </a:lnTo>
                  <a:lnTo>
                    <a:pt x="142" y="137"/>
                  </a:lnTo>
                  <a:lnTo>
                    <a:pt x="142" y="135"/>
                  </a:lnTo>
                  <a:lnTo>
                    <a:pt x="142" y="133"/>
                  </a:lnTo>
                  <a:lnTo>
                    <a:pt x="142" y="130"/>
                  </a:lnTo>
                  <a:lnTo>
                    <a:pt x="142" y="128"/>
                  </a:lnTo>
                  <a:lnTo>
                    <a:pt x="144" y="128"/>
                  </a:lnTo>
                  <a:lnTo>
                    <a:pt x="147" y="130"/>
                  </a:lnTo>
                  <a:lnTo>
                    <a:pt x="149" y="133"/>
                  </a:lnTo>
                  <a:lnTo>
                    <a:pt x="149" y="135"/>
                  </a:lnTo>
                  <a:lnTo>
                    <a:pt x="151" y="137"/>
                  </a:lnTo>
                  <a:lnTo>
                    <a:pt x="156" y="140"/>
                  </a:lnTo>
                  <a:lnTo>
                    <a:pt x="161" y="142"/>
                  </a:lnTo>
                  <a:lnTo>
                    <a:pt x="163" y="140"/>
                  </a:lnTo>
                  <a:lnTo>
                    <a:pt x="170" y="135"/>
                  </a:lnTo>
                  <a:lnTo>
                    <a:pt x="170" y="133"/>
                  </a:lnTo>
                  <a:lnTo>
                    <a:pt x="173" y="133"/>
                  </a:lnTo>
                  <a:lnTo>
                    <a:pt x="173" y="130"/>
                  </a:lnTo>
                  <a:lnTo>
                    <a:pt x="175" y="130"/>
                  </a:lnTo>
                  <a:lnTo>
                    <a:pt x="177" y="130"/>
                  </a:lnTo>
                  <a:lnTo>
                    <a:pt x="180" y="128"/>
                  </a:lnTo>
                  <a:lnTo>
                    <a:pt x="182" y="128"/>
                  </a:lnTo>
                  <a:lnTo>
                    <a:pt x="184" y="128"/>
                  </a:lnTo>
                  <a:lnTo>
                    <a:pt x="187" y="128"/>
                  </a:lnTo>
                  <a:lnTo>
                    <a:pt x="187" y="128"/>
                  </a:lnTo>
                  <a:lnTo>
                    <a:pt x="192" y="133"/>
                  </a:lnTo>
                  <a:lnTo>
                    <a:pt x="196" y="130"/>
                  </a:lnTo>
                  <a:lnTo>
                    <a:pt x="196" y="128"/>
                  </a:lnTo>
                  <a:lnTo>
                    <a:pt x="203" y="128"/>
                  </a:lnTo>
                  <a:lnTo>
                    <a:pt x="206" y="126"/>
                  </a:lnTo>
                  <a:lnTo>
                    <a:pt x="210" y="128"/>
                  </a:lnTo>
                  <a:lnTo>
                    <a:pt x="210" y="130"/>
                  </a:lnTo>
                  <a:lnTo>
                    <a:pt x="210" y="135"/>
                  </a:lnTo>
                  <a:lnTo>
                    <a:pt x="213" y="137"/>
                  </a:lnTo>
                  <a:lnTo>
                    <a:pt x="215" y="140"/>
                  </a:lnTo>
                  <a:lnTo>
                    <a:pt x="220" y="140"/>
                  </a:lnTo>
                  <a:lnTo>
                    <a:pt x="225" y="140"/>
                  </a:lnTo>
                  <a:lnTo>
                    <a:pt x="225" y="140"/>
                  </a:lnTo>
                  <a:lnTo>
                    <a:pt x="225" y="142"/>
                  </a:lnTo>
                  <a:lnTo>
                    <a:pt x="232" y="142"/>
                  </a:lnTo>
                  <a:lnTo>
                    <a:pt x="234" y="142"/>
                  </a:lnTo>
                  <a:lnTo>
                    <a:pt x="236" y="137"/>
                  </a:lnTo>
                  <a:lnTo>
                    <a:pt x="236" y="135"/>
                  </a:lnTo>
                  <a:lnTo>
                    <a:pt x="239" y="135"/>
                  </a:lnTo>
                  <a:lnTo>
                    <a:pt x="243" y="140"/>
                  </a:lnTo>
                  <a:lnTo>
                    <a:pt x="248" y="140"/>
                  </a:lnTo>
                  <a:lnTo>
                    <a:pt x="253" y="140"/>
                  </a:lnTo>
                  <a:lnTo>
                    <a:pt x="255" y="137"/>
                  </a:lnTo>
                  <a:lnTo>
                    <a:pt x="260" y="135"/>
                  </a:lnTo>
                  <a:lnTo>
                    <a:pt x="262" y="123"/>
                  </a:lnTo>
                  <a:lnTo>
                    <a:pt x="265" y="121"/>
                  </a:lnTo>
                  <a:lnTo>
                    <a:pt x="262" y="119"/>
                  </a:lnTo>
                  <a:lnTo>
                    <a:pt x="262" y="119"/>
                  </a:lnTo>
                  <a:lnTo>
                    <a:pt x="258" y="119"/>
                  </a:lnTo>
                  <a:lnTo>
                    <a:pt x="253" y="116"/>
                  </a:lnTo>
                  <a:lnTo>
                    <a:pt x="251" y="114"/>
                  </a:lnTo>
                  <a:lnTo>
                    <a:pt x="251" y="114"/>
                  </a:lnTo>
                  <a:lnTo>
                    <a:pt x="243" y="111"/>
                  </a:lnTo>
                  <a:lnTo>
                    <a:pt x="241" y="111"/>
                  </a:lnTo>
                  <a:lnTo>
                    <a:pt x="243" y="109"/>
                  </a:lnTo>
                  <a:lnTo>
                    <a:pt x="241" y="107"/>
                  </a:lnTo>
                  <a:lnTo>
                    <a:pt x="236" y="104"/>
                  </a:lnTo>
                  <a:lnTo>
                    <a:pt x="236" y="102"/>
                  </a:lnTo>
                  <a:lnTo>
                    <a:pt x="239" y="102"/>
                  </a:lnTo>
                  <a:lnTo>
                    <a:pt x="243" y="100"/>
                  </a:lnTo>
                  <a:lnTo>
                    <a:pt x="248" y="97"/>
                  </a:lnTo>
                  <a:lnTo>
                    <a:pt x="253" y="95"/>
                  </a:lnTo>
                  <a:lnTo>
                    <a:pt x="253" y="93"/>
                  </a:lnTo>
                  <a:lnTo>
                    <a:pt x="253" y="90"/>
                  </a:lnTo>
                  <a:lnTo>
                    <a:pt x="248" y="81"/>
                  </a:lnTo>
                  <a:lnTo>
                    <a:pt x="251" y="81"/>
                  </a:lnTo>
                  <a:lnTo>
                    <a:pt x="253" y="78"/>
                  </a:lnTo>
                  <a:lnTo>
                    <a:pt x="253" y="76"/>
                  </a:lnTo>
                  <a:lnTo>
                    <a:pt x="255" y="74"/>
                  </a:lnTo>
                  <a:lnTo>
                    <a:pt x="258" y="74"/>
                  </a:lnTo>
                  <a:lnTo>
                    <a:pt x="260" y="74"/>
                  </a:lnTo>
                  <a:lnTo>
                    <a:pt x="262" y="74"/>
                  </a:lnTo>
                  <a:lnTo>
                    <a:pt x="265" y="74"/>
                  </a:lnTo>
                  <a:lnTo>
                    <a:pt x="269" y="74"/>
                  </a:lnTo>
                  <a:lnTo>
                    <a:pt x="272" y="74"/>
                  </a:lnTo>
                  <a:lnTo>
                    <a:pt x="274" y="71"/>
                  </a:lnTo>
                  <a:lnTo>
                    <a:pt x="272" y="69"/>
                  </a:lnTo>
                  <a:lnTo>
                    <a:pt x="267" y="67"/>
                  </a:lnTo>
                  <a:lnTo>
                    <a:pt x="258" y="64"/>
                  </a:lnTo>
                  <a:lnTo>
                    <a:pt x="255" y="62"/>
                  </a:lnTo>
                  <a:lnTo>
                    <a:pt x="255" y="59"/>
                  </a:lnTo>
                  <a:lnTo>
                    <a:pt x="258" y="59"/>
                  </a:lnTo>
                  <a:lnTo>
                    <a:pt x="262" y="59"/>
                  </a:lnTo>
                  <a:lnTo>
                    <a:pt x="262" y="57"/>
                  </a:lnTo>
                  <a:lnTo>
                    <a:pt x="260" y="55"/>
                  </a:lnTo>
                  <a:lnTo>
                    <a:pt x="258" y="57"/>
                  </a:lnTo>
                  <a:lnTo>
                    <a:pt x="253" y="57"/>
                  </a:lnTo>
                  <a:lnTo>
                    <a:pt x="253" y="52"/>
                  </a:lnTo>
                  <a:lnTo>
                    <a:pt x="255" y="50"/>
                  </a:lnTo>
                  <a:lnTo>
                    <a:pt x="255" y="50"/>
                  </a:lnTo>
                  <a:lnTo>
                    <a:pt x="253" y="45"/>
                  </a:lnTo>
                  <a:lnTo>
                    <a:pt x="258" y="45"/>
                  </a:lnTo>
                  <a:lnTo>
                    <a:pt x="258" y="43"/>
                  </a:lnTo>
                  <a:lnTo>
                    <a:pt x="262" y="43"/>
                  </a:lnTo>
                  <a:lnTo>
                    <a:pt x="262" y="45"/>
                  </a:lnTo>
                  <a:lnTo>
                    <a:pt x="265" y="45"/>
                  </a:lnTo>
                  <a:lnTo>
                    <a:pt x="267" y="45"/>
                  </a:lnTo>
                  <a:lnTo>
                    <a:pt x="269" y="45"/>
                  </a:lnTo>
                  <a:lnTo>
                    <a:pt x="279" y="45"/>
                  </a:lnTo>
                  <a:lnTo>
                    <a:pt x="279" y="48"/>
                  </a:lnTo>
                  <a:lnTo>
                    <a:pt x="284" y="43"/>
                  </a:lnTo>
                  <a:lnTo>
                    <a:pt x="286" y="43"/>
                  </a:lnTo>
                  <a:lnTo>
                    <a:pt x="291" y="43"/>
                  </a:lnTo>
                  <a:lnTo>
                    <a:pt x="293" y="41"/>
                  </a:lnTo>
                  <a:lnTo>
                    <a:pt x="295" y="41"/>
                  </a:lnTo>
                  <a:lnTo>
                    <a:pt x="300" y="36"/>
                  </a:lnTo>
                  <a:lnTo>
                    <a:pt x="303" y="38"/>
                  </a:lnTo>
                  <a:lnTo>
                    <a:pt x="303" y="38"/>
                  </a:lnTo>
                  <a:lnTo>
                    <a:pt x="307" y="38"/>
                  </a:lnTo>
                  <a:lnTo>
                    <a:pt x="307" y="36"/>
                  </a:lnTo>
                  <a:lnTo>
                    <a:pt x="312" y="36"/>
                  </a:lnTo>
                  <a:lnTo>
                    <a:pt x="314" y="33"/>
                  </a:lnTo>
                  <a:lnTo>
                    <a:pt x="317" y="33"/>
                  </a:lnTo>
                  <a:lnTo>
                    <a:pt x="319" y="33"/>
                  </a:lnTo>
                  <a:lnTo>
                    <a:pt x="321" y="33"/>
                  </a:lnTo>
                  <a:lnTo>
                    <a:pt x="324" y="33"/>
                  </a:lnTo>
                  <a:lnTo>
                    <a:pt x="326" y="31"/>
                  </a:lnTo>
                  <a:lnTo>
                    <a:pt x="326" y="29"/>
                  </a:lnTo>
                  <a:lnTo>
                    <a:pt x="326" y="26"/>
                  </a:lnTo>
                  <a:lnTo>
                    <a:pt x="329" y="24"/>
                  </a:lnTo>
                  <a:lnTo>
                    <a:pt x="331" y="24"/>
                  </a:lnTo>
                  <a:lnTo>
                    <a:pt x="333" y="26"/>
                  </a:lnTo>
                  <a:lnTo>
                    <a:pt x="340" y="24"/>
                  </a:lnTo>
                  <a:lnTo>
                    <a:pt x="340" y="24"/>
                  </a:lnTo>
                  <a:lnTo>
                    <a:pt x="352" y="22"/>
                  </a:lnTo>
                  <a:lnTo>
                    <a:pt x="362" y="19"/>
                  </a:lnTo>
                  <a:lnTo>
                    <a:pt x="371" y="17"/>
                  </a:lnTo>
                  <a:lnTo>
                    <a:pt x="373" y="15"/>
                  </a:lnTo>
                  <a:lnTo>
                    <a:pt x="376" y="15"/>
                  </a:lnTo>
                  <a:lnTo>
                    <a:pt x="378" y="15"/>
                  </a:lnTo>
                  <a:lnTo>
                    <a:pt x="380" y="12"/>
                  </a:lnTo>
                  <a:lnTo>
                    <a:pt x="380" y="10"/>
                  </a:lnTo>
                  <a:lnTo>
                    <a:pt x="380" y="8"/>
                  </a:lnTo>
                  <a:lnTo>
                    <a:pt x="383" y="8"/>
                  </a:lnTo>
                  <a:lnTo>
                    <a:pt x="385" y="8"/>
                  </a:lnTo>
                  <a:lnTo>
                    <a:pt x="385" y="5"/>
                  </a:lnTo>
                  <a:lnTo>
                    <a:pt x="388" y="3"/>
                  </a:lnTo>
                  <a:lnTo>
                    <a:pt x="390" y="3"/>
                  </a:lnTo>
                  <a:lnTo>
                    <a:pt x="392" y="3"/>
                  </a:lnTo>
                  <a:lnTo>
                    <a:pt x="395" y="0"/>
                  </a:lnTo>
                  <a:lnTo>
                    <a:pt x="397" y="3"/>
                  </a:lnTo>
                  <a:lnTo>
                    <a:pt x="399" y="3"/>
                  </a:lnTo>
                  <a:lnTo>
                    <a:pt x="402" y="3"/>
                  </a:lnTo>
                  <a:lnTo>
                    <a:pt x="404" y="3"/>
                  </a:lnTo>
                  <a:lnTo>
                    <a:pt x="406" y="5"/>
                  </a:lnTo>
                  <a:lnTo>
                    <a:pt x="409" y="5"/>
                  </a:lnTo>
                  <a:lnTo>
                    <a:pt x="411" y="10"/>
                  </a:lnTo>
                  <a:lnTo>
                    <a:pt x="414" y="8"/>
                  </a:lnTo>
                  <a:lnTo>
                    <a:pt x="416" y="5"/>
                  </a:lnTo>
                  <a:lnTo>
                    <a:pt x="421" y="5"/>
                  </a:lnTo>
                  <a:lnTo>
                    <a:pt x="425" y="5"/>
                  </a:lnTo>
                  <a:lnTo>
                    <a:pt x="425" y="8"/>
                  </a:lnTo>
                  <a:lnTo>
                    <a:pt x="428" y="10"/>
                  </a:lnTo>
                  <a:lnTo>
                    <a:pt x="428" y="15"/>
                  </a:lnTo>
                  <a:lnTo>
                    <a:pt x="428" y="17"/>
                  </a:lnTo>
                  <a:lnTo>
                    <a:pt x="428" y="22"/>
                  </a:lnTo>
                  <a:lnTo>
                    <a:pt x="432" y="24"/>
                  </a:lnTo>
                  <a:lnTo>
                    <a:pt x="430" y="26"/>
                  </a:lnTo>
                  <a:lnTo>
                    <a:pt x="430" y="31"/>
                  </a:lnTo>
                  <a:lnTo>
                    <a:pt x="430" y="33"/>
                  </a:lnTo>
                  <a:lnTo>
                    <a:pt x="428" y="36"/>
                  </a:lnTo>
                  <a:lnTo>
                    <a:pt x="430" y="38"/>
                  </a:lnTo>
                  <a:lnTo>
                    <a:pt x="430" y="41"/>
                  </a:lnTo>
                  <a:lnTo>
                    <a:pt x="435" y="38"/>
                  </a:lnTo>
                  <a:lnTo>
                    <a:pt x="437" y="41"/>
                  </a:lnTo>
                  <a:lnTo>
                    <a:pt x="440" y="41"/>
                  </a:lnTo>
                  <a:lnTo>
                    <a:pt x="440" y="38"/>
                  </a:lnTo>
                  <a:lnTo>
                    <a:pt x="444" y="38"/>
                  </a:lnTo>
                  <a:lnTo>
                    <a:pt x="447" y="38"/>
                  </a:lnTo>
                  <a:lnTo>
                    <a:pt x="447" y="36"/>
                  </a:lnTo>
                  <a:lnTo>
                    <a:pt x="447" y="33"/>
                  </a:lnTo>
                  <a:lnTo>
                    <a:pt x="449" y="33"/>
                  </a:lnTo>
                  <a:lnTo>
                    <a:pt x="449" y="36"/>
                  </a:lnTo>
                  <a:lnTo>
                    <a:pt x="451" y="38"/>
                  </a:lnTo>
                  <a:lnTo>
                    <a:pt x="451" y="41"/>
                  </a:lnTo>
                  <a:lnTo>
                    <a:pt x="451" y="43"/>
                  </a:lnTo>
                  <a:lnTo>
                    <a:pt x="451" y="45"/>
                  </a:lnTo>
                  <a:lnTo>
                    <a:pt x="456" y="45"/>
                  </a:lnTo>
                  <a:lnTo>
                    <a:pt x="456" y="43"/>
                  </a:lnTo>
                  <a:lnTo>
                    <a:pt x="454" y="41"/>
                  </a:lnTo>
                  <a:lnTo>
                    <a:pt x="456" y="41"/>
                  </a:lnTo>
                  <a:lnTo>
                    <a:pt x="461" y="41"/>
                  </a:lnTo>
                  <a:lnTo>
                    <a:pt x="463" y="43"/>
                  </a:lnTo>
                  <a:lnTo>
                    <a:pt x="466" y="45"/>
                  </a:lnTo>
                  <a:lnTo>
                    <a:pt x="468" y="45"/>
                  </a:lnTo>
                  <a:lnTo>
                    <a:pt x="470" y="45"/>
                  </a:lnTo>
                  <a:lnTo>
                    <a:pt x="473" y="43"/>
                  </a:lnTo>
                  <a:lnTo>
                    <a:pt x="473" y="43"/>
                  </a:lnTo>
                  <a:lnTo>
                    <a:pt x="475" y="45"/>
                  </a:lnTo>
                  <a:lnTo>
                    <a:pt x="475" y="48"/>
                  </a:lnTo>
                  <a:lnTo>
                    <a:pt x="473" y="48"/>
                  </a:lnTo>
                  <a:lnTo>
                    <a:pt x="470" y="50"/>
                  </a:lnTo>
                  <a:lnTo>
                    <a:pt x="468" y="52"/>
                  </a:lnTo>
                  <a:lnTo>
                    <a:pt x="468" y="55"/>
                  </a:lnTo>
                  <a:lnTo>
                    <a:pt x="468" y="57"/>
                  </a:lnTo>
                  <a:lnTo>
                    <a:pt x="470" y="59"/>
                  </a:lnTo>
                  <a:lnTo>
                    <a:pt x="473" y="59"/>
                  </a:lnTo>
                  <a:lnTo>
                    <a:pt x="473" y="57"/>
                  </a:lnTo>
                  <a:lnTo>
                    <a:pt x="477" y="55"/>
                  </a:lnTo>
                  <a:lnTo>
                    <a:pt x="480" y="57"/>
                  </a:lnTo>
                  <a:lnTo>
                    <a:pt x="482" y="57"/>
                  </a:lnTo>
                  <a:lnTo>
                    <a:pt x="484" y="57"/>
                  </a:lnTo>
                  <a:lnTo>
                    <a:pt x="487" y="57"/>
                  </a:lnTo>
                  <a:lnTo>
                    <a:pt x="487" y="55"/>
                  </a:lnTo>
                  <a:lnTo>
                    <a:pt x="489" y="52"/>
                  </a:lnTo>
                  <a:lnTo>
                    <a:pt x="492" y="52"/>
                  </a:lnTo>
                  <a:lnTo>
                    <a:pt x="494" y="50"/>
                  </a:lnTo>
                  <a:lnTo>
                    <a:pt x="499" y="48"/>
                  </a:lnTo>
                  <a:lnTo>
                    <a:pt x="503" y="45"/>
                  </a:lnTo>
                  <a:lnTo>
                    <a:pt x="506" y="41"/>
                  </a:lnTo>
                  <a:lnTo>
                    <a:pt x="508" y="38"/>
                  </a:lnTo>
                  <a:lnTo>
                    <a:pt x="510" y="38"/>
                  </a:lnTo>
                  <a:lnTo>
                    <a:pt x="515" y="38"/>
                  </a:lnTo>
                  <a:lnTo>
                    <a:pt x="517" y="38"/>
                  </a:lnTo>
                  <a:lnTo>
                    <a:pt x="517" y="36"/>
                  </a:lnTo>
                  <a:lnTo>
                    <a:pt x="525" y="33"/>
                  </a:lnTo>
                  <a:lnTo>
                    <a:pt x="527" y="31"/>
                  </a:lnTo>
                  <a:lnTo>
                    <a:pt x="529" y="33"/>
                  </a:lnTo>
                  <a:lnTo>
                    <a:pt x="529" y="36"/>
                  </a:lnTo>
                  <a:lnTo>
                    <a:pt x="527" y="38"/>
                  </a:lnTo>
                  <a:lnTo>
                    <a:pt x="525" y="41"/>
                  </a:lnTo>
                  <a:lnTo>
                    <a:pt x="522" y="41"/>
                  </a:lnTo>
                  <a:lnTo>
                    <a:pt x="522" y="43"/>
                  </a:lnTo>
                  <a:lnTo>
                    <a:pt x="525" y="45"/>
                  </a:lnTo>
                  <a:lnTo>
                    <a:pt x="525" y="45"/>
                  </a:lnTo>
                  <a:lnTo>
                    <a:pt x="548" y="67"/>
                  </a:lnTo>
                  <a:lnTo>
                    <a:pt x="586" y="135"/>
                  </a:lnTo>
                  <a:lnTo>
                    <a:pt x="591" y="133"/>
                  </a:lnTo>
                  <a:lnTo>
                    <a:pt x="591" y="130"/>
                  </a:lnTo>
                  <a:lnTo>
                    <a:pt x="591" y="128"/>
                  </a:lnTo>
                  <a:lnTo>
                    <a:pt x="595" y="123"/>
                  </a:lnTo>
                  <a:lnTo>
                    <a:pt x="598" y="123"/>
                  </a:lnTo>
                  <a:lnTo>
                    <a:pt x="598" y="126"/>
                  </a:lnTo>
                  <a:lnTo>
                    <a:pt x="600" y="126"/>
                  </a:lnTo>
                  <a:lnTo>
                    <a:pt x="605" y="128"/>
                  </a:lnTo>
                  <a:lnTo>
                    <a:pt x="605" y="130"/>
                  </a:lnTo>
                  <a:lnTo>
                    <a:pt x="605" y="133"/>
                  </a:lnTo>
                  <a:lnTo>
                    <a:pt x="607" y="133"/>
                  </a:lnTo>
                  <a:lnTo>
                    <a:pt x="610" y="137"/>
                  </a:lnTo>
                  <a:lnTo>
                    <a:pt x="617" y="137"/>
                  </a:lnTo>
                  <a:lnTo>
                    <a:pt x="621" y="137"/>
                  </a:lnTo>
                  <a:lnTo>
                    <a:pt x="624" y="137"/>
                  </a:lnTo>
                  <a:lnTo>
                    <a:pt x="631" y="137"/>
                  </a:lnTo>
                  <a:lnTo>
                    <a:pt x="631" y="135"/>
                  </a:lnTo>
                  <a:lnTo>
                    <a:pt x="633" y="133"/>
                  </a:lnTo>
                  <a:lnTo>
                    <a:pt x="636" y="133"/>
                  </a:lnTo>
                  <a:lnTo>
                    <a:pt x="638" y="133"/>
                  </a:lnTo>
                  <a:lnTo>
                    <a:pt x="638" y="130"/>
                  </a:lnTo>
                  <a:lnTo>
                    <a:pt x="640" y="130"/>
                  </a:lnTo>
                  <a:lnTo>
                    <a:pt x="645" y="130"/>
                  </a:lnTo>
                  <a:lnTo>
                    <a:pt x="647" y="133"/>
                  </a:lnTo>
                  <a:lnTo>
                    <a:pt x="650" y="135"/>
                  </a:lnTo>
                  <a:lnTo>
                    <a:pt x="652" y="135"/>
                  </a:lnTo>
                  <a:lnTo>
                    <a:pt x="655" y="140"/>
                  </a:lnTo>
                  <a:lnTo>
                    <a:pt x="657" y="140"/>
                  </a:lnTo>
                  <a:lnTo>
                    <a:pt x="657" y="142"/>
                  </a:lnTo>
                  <a:lnTo>
                    <a:pt x="657" y="147"/>
                  </a:lnTo>
                  <a:lnTo>
                    <a:pt x="657" y="149"/>
                  </a:lnTo>
                  <a:lnTo>
                    <a:pt x="659" y="152"/>
                  </a:lnTo>
                  <a:lnTo>
                    <a:pt x="662" y="152"/>
                  </a:lnTo>
                  <a:lnTo>
                    <a:pt x="669" y="154"/>
                  </a:lnTo>
                  <a:lnTo>
                    <a:pt x="669" y="156"/>
                  </a:lnTo>
                  <a:lnTo>
                    <a:pt x="669" y="159"/>
                  </a:lnTo>
                  <a:lnTo>
                    <a:pt x="671" y="161"/>
                  </a:lnTo>
                  <a:lnTo>
                    <a:pt x="673" y="161"/>
                  </a:lnTo>
                  <a:lnTo>
                    <a:pt x="676" y="166"/>
                  </a:lnTo>
                  <a:lnTo>
                    <a:pt x="678" y="168"/>
                  </a:lnTo>
                  <a:lnTo>
                    <a:pt x="683" y="168"/>
                  </a:lnTo>
                  <a:lnTo>
                    <a:pt x="685" y="170"/>
                  </a:lnTo>
                  <a:lnTo>
                    <a:pt x="688" y="170"/>
                  </a:lnTo>
                  <a:lnTo>
                    <a:pt x="690" y="170"/>
                  </a:lnTo>
                  <a:lnTo>
                    <a:pt x="692" y="170"/>
                  </a:lnTo>
                  <a:lnTo>
                    <a:pt x="695" y="168"/>
                  </a:lnTo>
                  <a:lnTo>
                    <a:pt x="695" y="168"/>
                  </a:lnTo>
                  <a:lnTo>
                    <a:pt x="699" y="166"/>
                  </a:lnTo>
                  <a:lnTo>
                    <a:pt x="702" y="168"/>
                  </a:lnTo>
                  <a:lnTo>
                    <a:pt x="702" y="170"/>
                  </a:lnTo>
                  <a:lnTo>
                    <a:pt x="704" y="170"/>
                  </a:lnTo>
                  <a:lnTo>
                    <a:pt x="706" y="175"/>
                  </a:lnTo>
                  <a:lnTo>
                    <a:pt x="709" y="178"/>
                  </a:lnTo>
                  <a:lnTo>
                    <a:pt x="709" y="180"/>
                  </a:lnTo>
                  <a:lnTo>
                    <a:pt x="706" y="187"/>
                  </a:lnTo>
                  <a:lnTo>
                    <a:pt x="706" y="187"/>
                  </a:lnTo>
                  <a:lnTo>
                    <a:pt x="702" y="194"/>
                  </a:lnTo>
                  <a:lnTo>
                    <a:pt x="697" y="199"/>
                  </a:lnTo>
                  <a:lnTo>
                    <a:pt x="690" y="201"/>
                  </a:lnTo>
                  <a:lnTo>
                    <a:pt x="685" y="201"/>
                  </a:lnTo>
                  <a:lnTo>
                    <a:pt x="683" y="208"/>
                  </a:lnTo>
                  <a:lnTo>
                    <a:pt x="680" y="215"/>
                  </a:lnTo>
                  <a:lnTo>
                    <a:pt x="683" y="222"/>
                  </a:lnTo>
                  <a:lnTo>
                    <a:pt x="680" y="234"/>
                  </a:lnTo>
                  <a:lnTo>
                    <a:pt x="673" y="237"/>
                  </a:lnTo>
                  <a:lnTo>
                    <a:pt x="669" y="241"/>
                  </a:lnTo>
                  <a:lnTo>
                    <a:pt x="666" y="239"/>
                  </a:lnTo>
                  <a:lnTo>
                    <a:pt x="664" y="234"/>
                  </a:lnTo>
                  <a:lnTo>
                    <a:pt x="652" y="237"/>
                  </a:lnTo>
                  <a:lnTo>
                    <a:pt x="645" y="234"/>
                  </a:lnTo>
                  <a:lnTo>
                    <a:pt x="643" y="232"/>
                  </a:lnTo>
                  <a:lnTo>
                    <a:pt x="636" y="232"/>
                  </a:lnTo>
                  <a:lnTo>
                    <a:pt x="633" y="239"/>
                  </a:lnTo>
                  <a:lnTo>
                    <a:pt x="629" y="246"/>
                  </a:lnTo>
                  <a:lnTo>
                    <a:pt x="626" y="256"/>
                  </a:lnTo>
                  <a:lnTo>
                    <a:pt x="624" y="263"/>
                  </a:lnTo>
                  <a:lnTo>
                    <a:pt x="621" y="270"/>
                  </a:lnTo>
                  <a:lnTo>
                    <a:pt x="624" y="274"/>
                  </a:lnTo>
                  <a:lnTo>
                    <a:pt x="626" y="279"/>
                  </a:lnTo>
                  <a:lnTo>
                    <a:pt x="624" y="282"/>
                  </a:lnTo>
                  <a:lnTo>
                    <a:pt x="605" y="282"/>
                  </a:lnTo>
                  <a:lnTo>
                    <a:pt x="598" y="284"/>
                  </a:lnTo>
                  <a:lnTo>
                    <a:pt x="593" y="286"/>
                  </a:lnTo>
                  <a:lnTo>
                    <a:pt x="586" y="289"/>
                  </a:lnTo>
                  <a:lnTo>
                    <a:pt x="584" y="291"/>
                  </a:lnTo>
                  <a:lnTo>
                    <a:pt x="586" y="293"/>
                  </a:lnTo>
                  <a:lnTo>
                    <a:pt x="588" y="298"/>
                  </a:lnTo>
                  <a:lnTo>
                    <a:pt x="591" y="310"/>
                  </a:lnTo>
                  <a:lnTo>
                    <a:pt x="591" y="315"/>
                  </a:lnTo>
                  <a:lnTo>
                    <a:pt x="593" y="319"/>
                  </a:lnTo>
                  <a:lnTo>
                    <a:pt x="595" y="326"/>
                  </a:lnTo>
                  <a:lnTo>
                    <a:pt x="595" y="331"/>
                  </a:lnTo>
                  <a:lnTo>
                    <a:pt x="591" y="333"/>
                  </a:lnTo>
                  <a:lnTo>
                    <a:pt x="593" y="338"/>
                  </a:lnTo>
                  <a:lnTo>
                    <a:pt x="591" y="341"/>
                  </a:lnTo>
                  <a:lnTo>
                    <a:pt x="588" y="345"/>
                  </a:lnTo>
                  <a:lnTo>
                    <a:pt x="588" y="350"/>
                  </a:lnTo>
                  <a:lnTo>
                    <a:pt x="588" y="350"/>
                  </a:lnTo>
                  <a:lnTo>
                    <a:pt x="586" y="350"/>
                  </a:lnTo>
                  <a:lnTo>
                    <a:pt x="581" y="348"/>
                  </a:lnTo>
                  <a:lnTo>
                    <a:pt x="574" y="345"/>
                  </a:lnTo>
                  <a:lnTo>
                    <a:pt x="569" y="341"/>
                  </a:lnTo>
                  <a:lnTo>
                    <a:pt x="565" y="341"/>
                  </a:lnTo>
                  <a:lnTo>
                    <a:pt x="562" y="338"/>
                  </a:lnTo>
                  <a:lnTo>
                    <a:pt x="560" y="338"/>
                  </a:lnTo>
                  <a:lnTo>
                    <a:pt x="558" y="338"/>
                  </a:lnTo>
                  <a:lnTo>
                    <a:pt x="555" y="338"/>
                  </a:lnTo>
                  <a:lnTo>
                    <a:pt x="548" y="338"/>
                  </a:lnTo>
                  <a:lnTo>
                    <a:pt x="541" y="336"/>
                  </a:lnTo>
                  <a:lnTo>
                    <a:pt x="539" y="336"/>
                  </a:lnTo>
                  <a:lnTo>
                    <a:pt x="534" y="333"/>
                  </a:lnTo>
                  <a:lnTo>
                    <a:pt x="532" y="333"/>
                  </a:lnTo>
                  <a:lnTo>
                    <a:pt x="527" y="336"/>
                  </a:lnTo>
                  <a:lnTo>
                    <a:pt x="515" y="336"/>
                  </a:lnTo>
                  <a:lnTo>
                    <a:pt x="513" y="336"/>
                  </a:lnTo>
                  <a:lnTo>
                    <a:pt x="508" y="336"/>
                  </a:lnTo>
                  <a:lnTo>
                    <a:pt x="503" y="336"/>
                  </a:lnTo>
                  <a:lnTo>
                    <a:pt x="501" y="336"/>
                  </a:lnTo>
                  <a:lnTo>
                    <a:pt x="499" y="333"/>
                  </a:lnTo>
                  <a:lnTo>
                    <a:pt x="496" y="333"/>
                  </a:lnTo>
                  <a:lnTo>
                    <a:pt x="492" y="333"/>
                  </a:lnTo>
                  <a:lnTo>
                    <a:pt x="489" y="333"/>
                  </a:lnTo>
                  <a:lnTo>
                    <a:pt x="482" y="329"/>
                  </a:lnTo>
                  <a:lnTo>
                    <a:pt x="480" y="331"/>
                  </a:lnTo>
                  <a:lnTo>
                    <a:pt x="477" y="331"/>
                  </a:lnTo>
                  <a:lnTo>
                    <a:pt x="475" y="331"/>
                  </a:lnTo>
                  <a:lnTo>
                    <a:pt x="470" y="336"/>
                  </a:lnTo>
                  <a:lnTo>
                    <a:pt x="470" y="338"/>
                  </a:lnTo>
                  <a:lnTo>
                    <a:pt x="470" y="341"/>
                  </a:lnTo>
                  <a:lnTo>
                    <a:pt x="468" y="345"/>
                  </a:lnTo>
                  <a:lnTo>
                    <a:pt x="468" y="348"/>
                  </a:lnTo>
                  <a:lnTo>
                    <a:pt x="463" y="345"/>
                  </a:lnTo>
                  <a:lnTo>
                    <a:pt x="458" y="343"/>
                  </a:lnTo>
                  <a:lnTo>
                    <a:pt x="454" y="341"/>
                  </a:lnTo>
                  <a:lnTo>
                    <a:pt x="451" y="341"/>
                  </a:lnTo>
                  <a:lnTo>
                    <a:pt x="449" y="341"/>
                  </a:lnTo>
                  <a:lnTo>
                    <a:pt x="444" y="341"/>
                  </a:lnTo>
                  <a:lnTo>
                    <a:pt x="440" y="338"/>
                  </a:lnTo>
                  <a:lnTo>
                    <a:pt x="437" y="338"/>
                  </a:lnTo>
                  <a:lnTo>
                    <a:pt x="435" y="338"/>
                  </a:lnTo>
                  <a:lnTo>
                    <a:pt x="430" y="338"/>
                  </a:lnTo>
                  <a:lnTo>
                    <a:pt x="428" y="341"/>
                  </a:lnTo>
                  <a:lnTo>
                    <a:pt x="428" y="343"/>
                  </a:lnTo>
                  <a:lnTo>
                    <a:pt x="428" y="345"/>
                  </a:lnTo>
                  <a:lnTo>
                    <a:pt x="425" y="348"/>
                  </a:lnTo>
                  <a:lnTo>
                    <a:pt x="425" y="350"/>
                  </a:lnTo>
                  <a:lnTo>
                    <a:pt x="423" y="352"/>
                  </a:lnTo>
                  <a:lnTo>
                    <a:pt x="421" y="355"/>
                  </a:lnTo>
                  <a:lnTo>
                    <a:pt x="418" y="357"/>
                  </a:lnTo>
                  <a:lnTo>
                    <a:pt x="416" y="355"/>
                  </a:lnTo>
                  <a:lnTo>
                    <a:pt x="414" y="362"/>
                  </a:lnTo>
                  <a:lnTo>
                    <a:pt x="411" y="362"/>
                  </a:lnTo>
                  <a:lnTo>
                    <a:pt x="404" y="367"/>
                  </a:lnTo>
                  <a:lnTo>
                    <a:pt x="399" y="369"/>
                  </a:lnTo>
                  <a:lnTo>
                    <a:pt x="399" y="371"/>
                  </a:lnTo>
                  <a:lnTo>
                    <a:pt x="397" y="371"/>
                  </a:lnTo>
                  <a:lnTo>
                    <a:pt x="395" y="374"/>
                  </a:lnTo>
                  <a:lnTo>
                    <a:pt x="392" y="374"/>
                  </a:lnTo>
                  <a:lnTo>
                    <a:pt x="392" y="378"/>
                  </a:lnTo>
                  <a:lnTo>
                    <a:pt x="390" y="378"/>
                  </a:lnTo>
                  <a:lnTo>
                    <a:pt x="388" y="381"/>
                  </a:lnTo>
                  <a:lnTo>
                    <a:pt x="385" y="378"/>
                  </a:lnTo>
                  <a:lnTo>
                    <a:pt x="380" y="378"/>
                  </a:lnTo>
                  <a:lnTo>
                    <a:pt x="378" y="376"/>
                  </a:lnTo>
                  <a:lnTo>
                    <a:pt x="373" y="374"/>
                  </a:lnTo>
                  <a:lnTo>
                    <a:pt x="354" y="376"/>
                  </a:lnTo>
                  <a:lnTo>
                    <a:pt x="352" y="362"/>
                  </a:lnTo>
                  <a:lnTo>
                    <a:pt x="343" y="359"/>
                  </a:lnTo>
                  <a:lnTo>
                    <a:pt x="340" y="355"/>
                  </a:lnTo>
                  <a:lnTo>
                    <a:pt x="340" y="350"/>
                  </a:lnTo>
                  <a:lnTo>
                    <a:pt x="345" y="350"/>
                  </a:lnTo>
                  <a:lnTo>
                    <a:pt x="343" y="336"/>
                  </a:lnTo>
                  <a:lnTo>
                    <a:pt x="340" y="336"/>
                  </a:lnTo>
                  <a:lnTo>
                    <a:pt x="333" y="326"/>
                  </a:lnTo>
                  <a:lnTo>
                    <a:pt x="331" y="322"/>
                  </a:lnTo>
                  <a:lnTo>
                    <a:pt x="329" y="322"/>
                  </a:lnTo>
                  <a:lnTo>
                    <a:pt x="324" y="319"/>
                  </a:lnTo>
                  <a:lnTo>
                    <a:pt x="321" y="317"/>
                  </a:lnTo>
                  <a:lnTo>
                    <a:pt x="317" y="319"/>
                  </a:lnTo>
                  <a:lnTo>
                    <a:pt x="293" y="317"/>
                  </a:lnTo>
                  <a:lnTo>
                    <a:pt x="272" y="322"/>
                  </a:lnTo>
                  <a:lnTo>
                    <a:pt x="262" y="312"/>
                  </a:lnTo>
                  <a:lnTo>
                    <a:pt x="248" y="298"/>
                  </a:lnTo>
                  <a:lnTo>
                    <a:pt x="236" y="286"/>
                  </a:lnTo>
                  <a:lnTo>
                    <a:pt x="232" y="284"/>
                  </a:lnTo>
                  <a:lnTo>
                    <a:pt x="227" y="279"/>
                  </a:lnTo>
                  <a:lnTo>
                    <a:pt x="220" y="274"/>
                  </a:lnTo>
                  <a:lnTo>
                    <a:pt x="210" y="272"/>
                  </a:lnTo>
                  <a:lnTo>
                    <a:pt x="166" y="286"/>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6" name="Freeform 1135">
              <a:extLst>
                <a:ext uri="{FF2B5EF4-FFF2-40B4-BE49-F238E27FC236}">
                  <a16:creationId xmlns:a16="http://schemas.microsoft.com/office/drawing/2014/main" id="{FDA21B31-F118-4D15-B874-751054AE2DA7}"/>
                </a:ext>
              </a:extLst>
            </p:cNvPr>
            <p:cNvSpPr>
              <a:spLocks/>
            </p:cNvSpPr>
            <p:nvPr/>
          </p:nvSpPr>
          <p:spPr bwMode="auto">
            <a:xfrm>
              <a:off x="2564652" y="2684427"/>
              <a:ext cx="1125536" cy="604838"/>
            </a:xfrm>
            <a:custGeom>
              <a:avLst/>
              <a:gdLst>
                <a:gd name="T0" fmla="*/ 149 w 709"/>
                <a:gd name="T1" fmla="*/ 362 h 381"/>
                <a:gd name="T2" fmla="*/ 114 w 709"/>
                <a:gd name="T3" fmla="*/ 355 h 381"/>
                <a:gd name="T4" fmla="*/ 83 w 709"/>
                <a:gd name="T5" fmla="*/ 331 h 381"/>
                <a:gd name="T6" fmla="*/ 80 w 709"/>
                <a:gd name="T7" fmla="*/ 298 h 381"/>
                <a:gd name="T8" fmla="*/ 95 w 709"/>
                <a:gd name="T9" fmla="*/ 282 h 381"/>
                <a:gd name="T10" fmla="*/ 132 w 709"/>
                <a:gd name="T11" fmla="*/ 282 h 381"/>
                <a:gd name="T12" fmla="*/ 135 w 709"/>
                <a:gd name="T13" fmla="*/ 263 h 381"/>
                <a:gd name="T14" fmla="*/ 106 w 709"/>
                <a:gd name="T15" fmla="*/ 234 h 381"/>
                <a:gd name="T16" fmla="*/ 78 w 709"/>
                <a:gd name="T17" fmla="*/ 230 h 381"/>
                <a:gd name="T18" fmla="*/ 33 w 709"/>
                <a:gd name="T19" fmla="*/ 251 h 381"/>
                <a:gd name="T20" fmla="*/ 33 w 709"/>
                <a:gd name="T21" fmla="*/ 225 h 381"/>
                <a:gd name="T22" fmla="*/ 12 w 709"/>
                <a:gd name="T23" fmla="*/ 211 h 381"/>
                <a:gd name="T24" fmla="*/ 5 w 709"/>
                <a:gd name="T25" fmla="*/ 175 h 381"/>
                <a:gd name="T26" fmla="*/ 21 w 709"/>
                <a:gd name="T27" fmla="*/ 147 h 381"/>
                <a:gd name="T28" fmla="*/ 40 w 709"/>
                <a:gd name="T29" fmla="*/ 140 h 381"/>
                <a:gd name="T30" fmla="*/ 62 w 709"/>
                <a:gd name="T31" fmla="*/ 123 h 381"/>
                <a:gd name="T32" fmla="*/ 85 w 709"/>
                <a:gd name="T33" fmla="*/ 116 h 381"/>
                <a:gd name="T34" fmla="*/ 106 w 709"/>
                <a:gd name="T35" fmla="*/ 116 h 381"/>
                <a:gd name="T36" fmla="*/ 135 w 709"/>
                <a:gd name="T37" fmla="*/ 128 h 381"/>
                <a:gd name="T38" fmla="*/ 142 w 709"/>
                <a:gd name="T39" fmla="*/ 130 h 381"/>
                <a:gd name="T40" fmla="*/ 170 w 709"/>
                <a:gd name="T41" fmla="*/ 135 h 381"/>
                <a:gd name="T42" fmla="*/ 187 w 709"/>
                <a:gd name="T43" fmla="*/ 128 h 381"/>
                <a:gd name="T44" fmla="*/ 215 w 709"/>
                <a:gd name="T45" fmla="*/ 140 h 381"/>
                <a:gd name="T46" fmla="*/ 243 w 709"/>
                <a:gd name="T47" fmla="*/ 140 h 381"/>
                <a:gd name="T48" fmla="*/ 253 w 709"/>
                <a:gd name="T49" fmla="*/ 116 h 381"/>
                <a:gd name="T50" fmla="*/ 243 w 709"/>
                <a:gd name="T51" fmla="*/ 100 h 381"/>
                <a:gd name="T52" fmla="*/ 258 w 709"/>
                <a:gd name="T53" fmla="*/ 74 h 381"/>
                <a:gd name="T54" fmla="*/ 255 w 709"/>
                <a:gd name="T55" fmla="*/ 62 h 381"/>
                <a:gd name="T56" fmla="*/ 255 w 709"/>
                <a:gd name="T57" fmla="*/ 50 h 381"/>
                <a:gd name="T58" fmla="*/ 279 w 709"/>
                <a:gd name="T59" fmla="*/ 48 h 381"/>
                <a:gd name="T60" fmla="*/ 307 w 709"/>
                <a:gd name="T61" fmla="*/ 36 h 381"/>
                <a:gd name="T62" fmla="*/ 329 w 709"/>
                <a:gd name="T63" fmla="*/ 24 h 381"/>
                <a:gd name="T64" fmla="*/ 378 w 709"/>
                <a:gd name="T65" fmla="*/ 15 h 381"/>
                <a:gd name="T66" fmla="*/ 395 w 709"/>
                <a:gd name="T67" fmla="*/ 0 h 381"/>
                <a:gd name="T68" fmla="*/ 421 w 709"/>
                <a:gd name="T69" fmla="*/ 5 h 381"/>
                <a:gd name="T70" fmla="*/ 430 w 709"/>
                <a:gd name="T71" fmla="*/ 33 h 381"/>
                <a:gd name="T72" fmla="*/ 447 w 709"/>
                <a:gd name="T73" fmla="*/ 36 h 381"/>
                <a:gd name="T74" fmla="*/ 454 w 709"/>
                <a:gd name="T75" fmla="*/ 41 h 381"/>
                <a:gd name="T76" fmla="*/ 475 w 709"/>
                <a:gd name="T77" fmla="*/ 48 h 381"/>
                <a:gd name="T78" fmla="*/ 480 w 709"/>
                <a:gd name="T79" fmla="*/ 57 h 381"/>
                <a:gd name="T80" fmla="*/ 506 w 709"/>
                <a:gd name="T81" fmla="*/ 41 h 381"/>
                <a:gd name="T82" fmla="*/ 527 w 709"/>
                <a:gd name="T83" fmla="*/ 38 h 381"/>
                <a:gd name="T84" fmla="*/ 591 w 709"/>
                <a:gd name="T85" fmla="*/ 128 h 381"/>
                <a:gd name="T86" fmla="*/ 617 w 709"/>
                <a:gd name="T87" fmla="*/ 137 h 381"/>
                <a:gd name="T88" fmla="*/ 645 w 709"/>
                <a:gd name="T89" fmla="*/ 130 h 381"/>
                <a:gd name="T90" fmla="*/ 662 w 709"/>
                <a:gd name="T91" fmla="*/ 152 h 381"/>
                <a:gd name="T92" fmla="*/ 688 w 709"/>
                <a:gd name="T93" fmla="*/ 170 h 381"/>
                <a:gd name="T94" fmla="*/ 709 w 709"/>
                <a:gd name="T95" fmla="*/ 178 h 381"/>
                <a:gd name="T96" fmla="*/ 683 w 709"/>
                <a:gd name="T97" fmla="*/ 222 h 381"/>
                <a:gd name="T98" fmla="*/ 633 w 709"/>
                <a:gd name="T99" fmla="*/ 239 h 381"/>
                <a:gd name="T100" fmla="*/ 593 w 709"/>
                <a:gd name="T101" fmla="*/ 286 h 381"/>
                <a:gd name="T102" fmla="*/ 591 w 709"/>
                <a:gd name="T103" fmla="*/ 333 h 381"/>
                <a:gd name="T104" fmla="*/ 565 w 709"/>
                <a:gd name="T105" fmla="*/ 341 h 381"/>
                <a:gd name="T106" fmla="*/ 527 w 709"/>
                <a:gd name="T107" fmla="*/ 336 h 381"/>
                <a:gd name="T108" fmla="*/ 482 w 709"/>
                <a:gd name="T109" fmla="*/ 329 h 381"/>
                <a:gd name="T110" fmla="*/ 458 w 709"/>
                <a:gd name="T111" fmla="*/ 343 h 381"/>
                <a:gd name="T112" fmla="*/ 428 w 709"/>
                <a:gd name="T113" fmla="*/ 343 h 381"/>
                <a:gd name="T114" fmla="*/ 404 w 709"/>
                <a:gd name="T115" fmla="*/ 367 h 381"/>
                <a:gd name="T116" fmla="*/ 380 w 709"/>
                <a:gd name="T117" fmla="*/ 378 h 381"/>
                <a:gd name="T118" fmla="*/ 340 w 709"/>
                <a:gd name="T119" fmla="*/ 336 h 381"/>
                <a:gd name="T120" fmla="*/ 248 w 709"/>
                <a:gd name="T121" fmla="*/ 298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9" h="381">
                  <a:moveTo>
                    <a:pt x="166" y="286"/>
                  </a:moveTo>
                  <a:lnTo>
                    <a:pt x="166" y="310"/>
                  </a:lnTo>
                  <a:lnTo>
                    <a:pt x="166" y="333"/>
                  </a:lnTo>
                  <a:lnTo>
                    <a:pt x="166" y="352"/>
                  </a:lnTo>
                  <a:lnTo>
                    <a:pt x="166" y="374"/>
                  </a:lnTo>
                  <a:lnTo>
                    <a:pt x="161" y="374"/>
                  </a:lnTo>
                  <a:lnTo>
                    <a:pt x="156" y="374"/>
                  </a:lnTo>
                  <a:lnTo>
                    <a:pt x="151" y="371"/>
                  </a:lnTo>
                  <a:lnTo>
                    <a:pt x="149" y="364"/>
                  </a:lnTo>
                  <a:lnTo>
                    <a:pt x="149" y="362"/>
                  </a:lnTo>
                  <a:lnTo>
                    <a:pt x="147" y="362"/>
                  </a:lnTo>
                  <a:lnTo>
                    <a:pt x="144" y="357"/>
                  </a:lnTo>
                  <a:lnTo>
                    <a:pt x="142" y="355"/>
                  </a:lnTo>
                  <a:lnTo>
                    <a:pt x="137" y="352"/>
                  </a:lnTo>
                  <a:lnTo>
                    <a:pt x="135" y="350"/>
                  </a:lnTo>
                  <a:lnTo>
                    <a:pt x="132" y="348"/>
                  </a:lnTo>
                  <a:lnTo>
                    <a:pt x="130" y="348"/>
                  </a:lnTo>
                  <a:lnTo>
                    <a:pt x="128" y="350"/>
                  </a:lnTo>
                  <a:lnTo>
                    <a:pt x="121" y="352"/>
                  </a:lnTo>
                  <a:lnTo>
                    <a:pt x="114" y="355"/>
                  </a:lnTo>
                  <a:lnTo>
                    <a:pt x="104" y="362"/>
                  </a:lnTo>
                  <a:lnTo>
                    <a:pt x="104" y="350"/>
                  </a:lnTo>
                  <a:lnTo>
                    <a:pt x="106" y="345"/>
                  </a:lnTo>
                  <a:lnTo>
                    <a:pt x="106" y="341"/>
                  </a:lnTo>
                  <a:lnTo>
                    <a:pt x="104" y="338"/>
                  </a:lnTo>
                  <a:lnTo>
                    <a:pt x="99" y="338"/>
                  </a:lnTo>
                  <a:lnTo>
                    <a:pt x="92" y="336"/>
                  </a:lnTo>
                  <a:lnTo>
                    <a:pt x="90" y="331"/>
                  </a:lnTo>
                  <a:lnTo>
                    <a:pt x="88" y="331"/>
                  </a:lnTo>
                  <a:lnTo>
                    <a:pt x="83" y="331"/>
                  </a:lnTo>
                  <a:lnTo>
                    <a:pt x="83" y="319"/>
                  </a:lnTo>
                  <a:lnTo>
                    <a:pt x="78" y="312"/>
                  </a:lnTo>
                  <a:lnTo>
                    <a:pt x="76" y="310"/>
                  </a:lnTo>
                  <a:lnTo>
                    <a:pt x="73" y="305"/>
                  </a:lnTo>
                  <a:lnTo>
                    <a:pt x="66" y="303"/>
                  </a:lnTo>
                  <a:lnTo>
                    <a:pt x="64" y="298"/>
                  </a:lnTo>
                  <a:lnTo>
                    <a:pt x="66" y="296"/>
                  </a:lnTo>
                  <a:lnTo>
                    <a:pt x="71" y="296"/>
                  </a:lnTo>
                  <a:lnTo>
                    <a:pt x="78" y="296"/>
                  </a:lnTo>
                  <a:lnTo>
                    <a:pt x="80" y="298"/>
                  </a:lnTo>
                  <a:lnTo>
                    <a:pt x="83" y="298"/>
                  </a:lnTo>
                  <a:lnTo>
                    <a:pt x="88" y="298"/>
                  </a:lnTo>
                  <a:lnTo>
                    <a:pt x="85" y="296"/>
                  </a:lnTo>
                  <a:lnTo>
                    <a:pt x="85" y="291"/>
                  </a:lnTo>
                  <a:lnTo>
                    <a:pt x="83" y="286"/>
                  </a:lnTo>
                  <a:lnTo>
                    <a:pt x="85" y="282"/>
                  </a:lnTo>
                  <a:lnTo>
                    <a:pt x="88" y="282"/>
                  </a:lnTo>
                  <a:lnTo>
                    <a:pt x="88" y="284"/>
                  </a:lnTo>
                  <a:lnTo>
                    <a:pt x="92" y="284"/>
                  </a:lnTo>
                  <a:lnTo>
                    <a:pt x="95" y="282"/>
                  </a:lnTo>
                  <a:lnTo>
                    <a:pt x="97" y="279"/>
                  </a:lnTo>
                  <a:lnTo>
                    <a:pt x="99" y="277"/>
                  </a:lnTo>
                  <a:lnTo>
                    <a:pt x="104" y="277"/>
                  </a:lnTo>
                  <a:lnTo>
                    <a:pt x="109" y="279"/>
                  </a:lnTo>
                  <a:lnTo>
                    <a:pt x="116" y="282"/>
                  </a:lnTo>
                  <a:lnTo>
                    <a:pt x="121" y="279"/>
                  </a:lnTo>
                  <a:lnTo>
                    <a:pt x="123" y="277"/>
                  </a:lnTo>
                  <a:lnTo>
                    <a:pt x="125" y="279"/>
                  </a:lnTo>
                  <a:lnTo>
                    <a:pt x="125" y="279"/>
                  </a:lnTo>
                  <a:lnTo>
                    <a:pt x="132" y="282"/>
                  </a:lnTo>
                  <a:lnTo>
                    <a:pt x="135" y="284"/>
                  </a:lnTo>
                  <a:lnTo>
                    <a:pt x="140" y="282"/>
                  </a:lnTo>
                  <a:lnTo>
                    <a:pt x="142" y="284"/>
                  </a:lnTo>
                  <a:lnTo>
                    <a:pt x="144" y="282"/>
                  </a:lnTo>
                  <a:lnTo>
                    <a:pt x="142" y="277"/>
                  </a:lnTo>
                  <a:lnTo>
                    <a:pt x="144" y="277"/>
                  </a:lnTo>
                  <a:lnTo>
                    <a:pt x="142" y="272"/>
                  </a:lnTo>
                  <a:lnTo>
                    <a:pt x="140" y="270"/>
                  </a:lnTo>
                  <a:lnTo>
                    <a:pt x="135" y="267"/>
                  </a:lnTo>
                  <a:lnTo>
                    <a:pt x="135" y="263"/>
                  </a:lnTo>
                  <a:lnTo>
                    <a:pt x="130" y="263"/>
                  </a:lnTo>
                  <a:lnTo>
                    <a:pt x="128" y="258"/>
                  </a:lnTo>
                  <a:lnTo>
                    <a:pt x="125" y="251"/>
                  </a:lnTo>
                  <a:lnTo>
                    <a:pt x="123" y="246"/>
                  </a:lnTo>
                  <a:lnTo>
                    <a:pt x="123" y="248"/>
                  </a:lnTo>
                  <a:lnTo>
                    <a:pt x="121" y="244"/>
                  </a:lnTo>
                  <a:lnTo>
                    <a:pt x="118" y="244"/>
                  </a:lnTo>
                  <a:lnTo>
                    <a:pt x="118" y="239"/>
                  </a:lnTo>
                  <a:lnTo>
                    <a:pt x="111" y="234"/>
                  </a:lnTo>
                  <a:lnTo>
                    <a:pt x="106" y="234"/>
                  </a:lnTo>
                  <a:lnTo>
                    <a:pt x="106" y="232"/>
                  </a:lnTo>
                  <a:lnTo>
                    <a:pt x="104" y="232"/>
                  </a:lnTo>
                  <a:lnTo>
                    <a:pt x="99" y="232"/>
                  </a:lnTo>
                  <a:lnTo>
                    <a:pt x="97" y="234"/>
                  </a:lnTo>
                  <a:lnTo>
                    <a:pt x="92" y="234"/>
                  </a:lnTo>
                  <a:lnTo>
                    <a:pt x="92" y="232"/>
                  </a:lnTo>
                  <a:lnTo>
                    <a:pt x="88" y="232"/>
                  </a:lnTo>
                  <a:lnTo>
                    <a:pt x="85" y="232"/>
                  </a:lnTo>
                  <a:lnTo>
                    <a:pt x="83" y="230"/>
                  </a:lnTo>
                  <a:lnTo>
                    <a:pt x="78" y="230"/>
                  </a:lnTo>
                  <a:lnTo>
                    <a:pt x="66" y="241"/>
                  </a:lnTo>
                  <a:lnTo>
                    <a:pt x="59" y="241"/>
                  </a:lnTo>
                  <a:lnTo>
                    <a:pt x="52" y="244"/>
                  </a:lnTo>
                  <a:lnTo>
                    <a:pt x="45" y="244"/>
                  </a:lnTo>
                  <a:lnTo>
                    <a:pt x="38" y="246"/>
                  </a:lnTo>
                  <a:lnTo>
                    <a:pt x="45" y="251"/>
                  </a:lnTo>
                  <a:lnTo>
                    <a:pt x="38" y="253"/>
                  </a:lnTo>
                  <a:lnTo>
                    <a:pt x="36" y="253"/>
                  </a:lnTo>
                  <a:lnTo>
                    <a:pt x="36" y="251"/>
                  </a:lnTo>
                  <a:lnTo>
                    <a:pt x="33" y="251"/>
                  </a:lnTo>
                  <a:lnTo>
                    <a:pt x="31" y="251"/>
                  </a:lnTo>
                  <a:lnTo>
                    <a:pt x="29" y="248"/>
                  </a:lnTo>
                  <a:lnTo>
                    <a:pt x="26" y="246"/>
                  </a:lnTo>
                  <a:lnTo>
                    <a:pt x="29" y="246"/>
                  </a:lnTo>
                  <a:lnTo>
                    <a:pt x="29" y="241"/>
                  </a:lnTo>
                  <a:lnTo>
                    <a:pt x="31" y="241"/>
                  </a:lnTo>
                  <a:lnTo>
                    <a:pt x="36" y="244"/>
                  </a:lnTo>
                  <a:lnTo>
                    <a:pt x="38" y="241"/>
                  </a:lnTo>
                  <a:lnTo>
                    <a:pt x="36" y="225"/>
                  </a:lnTo>
                  <a:lnTo>
                    <a:pt x="33" y="225"/>
                  </a:lnTo>
                  <a:lnTo>
                    <a:pt x="31" y="222"/>
                  </a:lnTo>
                  <a:lnTo>
                    <a:pt x="31" y="220"/>
                  </a:lnTo>
                  <a:lnTo>
                    <a:pt x="31" y="218"/>
                  </a:lnTo>
                  <a:lnTo>
                    <a:pt x="29" y="215"/>
                  </a:lnTo>
                  <a:lnTo>
                    <a:pt x="26" y="215"/>
                  </a:lnTo>
                  <a:lnTo>
                    <a:pt x="19" y="215"/>
                  </a:lnTo>
                  <a:lnTo>
                    <a:pt x="17" y="215"/>
                  </a:lnTo>
                  <a:lnTo>
                    <a:pt x="17" y="218"/>
                  </a:lnTo>
                  <a:lnTo>
                    <a:pt x="12" y="213"/>
                  </a:lnTo>
                  <a:lnTo>
                    <a:pt x="12" y="211"/>
                  </a:lnTo>
                  <a:lnTo>
                    <a:pt x="10" y="208"/>
                  </a:lnTo>
                  <a:lnTo>
                    <a:pt x="12" y="206"/>
                  </a:lnTo>
                  <a:lnTo>
                    <a:pt x="10" y="204"/>
                  </a:lnTo>
                  <a:lnTo>
                    <a:pt x="10" y="201"/>
                  </a:lnTo>
                  <a:lnTo>
                    <a:pt x="0" y="199"/>
                  </a:lnTo>
                  <a:lnTo>
                    <a:pt x="5" y="185"/>
                  </a:lnTo>
                  <a:lnTo>
                    <a:pt x="10" y="182"/>
                  </a:lnTo>
                  <a:lnTo>
                    <a:pt x="10" y="180"/>
                  </a:lnTo>
                  <a:lnTo>
                    <a:pt x="10" y="178"/>
                  </a:lnTo>
                  <a:lnTo>
                    <a:pt x="5" y="175"/>
                  </a:lnTo>
                  <a:lnTo>
                    <a:pt x="10" y="161"/>
                  </a:lnTo>
                  <a:lnTo>
                    <a:pt x="12" y="156"/>
                  </a:lnTo>
                  <a:lnTo>
                    <a:pt x="14" y="156"/>
                  </a:lnTo>
                  <a:lnTo>
                    <a:pt x="14" y="152"/>
                  </a:lnTo>
                  <a:lnTo>
                    <a:pt x="14" y="149"/>
                  </a:lnTo>
                  <a:lnTo>
                    <a:pt x="14" y="147"/>
                  </a:lnTo>
                  <a:lnTo>
                    <a:pt x="17" y="145"/>
                  </a:lnTo>
                  <a:lnTo>
                    <a:pt x="17" y="142"/>
                  </a:lnTo>
                  <a:lnTo>
                    <a:pt x="19" y="145"/>
                  </a:lnTo>
                  <a:lnTo>
                    <a:pt x="21" y="147"/>
                  </a:lnTo>
                  <a:lnTo>
                    <a:pt x="24" y="149"/>
                  </a:lnTo>
                  <a:lnTo>
                    <a:pt x="31" y="161"/>
                  </a:lnTo>
                  <a:lnTo>
                    <a:pt x="33" y="163"/>
                  </a:lnTo>
                  <a:lnTo>
                    <a:pt x="40" y="156"/>
                  </a:lnTo>
                  <a:lnTo>
                    <a:pt x="40" y="154"/>
                  </a:lnTo>
                  <a:lnTo>
                    <a:pt x="40" y="152"/>
                  </a:lnTo>
                  <a:lnTo>
                    <a:pt x="38" y="145"/>
                  </a:lnTo>
                  <a:lnTo>
                    <a:pt x="36" y="140"/>
                  </a:lnTo>
                  <a:lnTo>
                    <a:pt x="38" y="140"/>
                  </a:lnTo>
                  <a:lnTo>
                    <a:pt x="40" y="140"/>
                  </a:lnTo>
                  <a:lnTo>
                    <a:pt x="47" y="135"/>
                  </a:lnTo>
                  <a:lnTo>
                    <a:pt x="50" y="133"/>
                  </a:lnTo>
                  <a:lnTo>
                    <a:pt x="50" y="133"/>
                  </a:lnTo>
                  <a:lnTo>
                    <a:pt x="52" y="130"/>
                  </a:lnTo>
                  <a:lnTo>
                    <a:pt x="50" y="126"/>
                  </a:lnTo>
                  <a:lnTo>
                    <a:pt x="54" y="126"/>
                  </a:lnTo>
                  <a:lnTo>
                    <a:pt x="57" y="126"/>
                  </a:lnTo>
                  <a:lnTo>
                    <a:pt x="59" y="126"/>
                  </a:lnTo>
                  <a:lnTo>
                    <a:pt x="59" y="123"/>
                  </a:lnTo>
                  <a:lnTo>
                    <a:pt x="62" y="123"/>
                  </a:lnTo>
                  <a:lnTo>
                    <a:pt x="64" y="121"/>
                  </a:lnTo>
                  <a:lnTo>
                    <a:pt x="66" y="119"/>
                  </a:lnTo>
                  <a:lnTo>
                    <a:pt x="69" y="119"/>
                  </a:lnTo>
                  <a:lnTo>
                    <a:pt x="71" y="116"/>
                  </a:lnTo>
                  <a:lnTo>
                    <a:pt x="71" y="114"/>
                  </a:lnTo>
                  <a:lnTo>
                    <a:pt x="73" y="111"/>
                  </a:lnTo>
                  <a:lnTo>
                    <a:pt x="78" y="111"/>
                  </a:lnTo>
                  <a:lnTo>
                    <a:pt x="83" y="111"/>
                  </a:lnTo>
                  <a:lnTo>
                    <a:pt x="83" y="114"/>
                  </a:lnTo>
                  <a:lnTo>
                    <a:pt x="85" y="116"/>
                  </a:lnTo>
                  <a:lnTo>
                    <a:pt x="90" y="114"/>
                  </a:lnTo>
                  <a:lnTo>
                    <a:pt x="90" y="116"/>
                  </a:lnTo>
                  <a:lnTo>
                    <a:pt x="92" y="114"/>
                  </a:lnTo>
                  <a:lnTo>
                    <a:pt x="92" y="111"/>
                  </a:lnTo>
                  <a:lnTo>
                    <a:pt x="95" y="109"/>
                  </a:lnTo>
                  <a:lnTo>
                    <a:pt x="97" y="109"/>
                  </a:lnTo>
                  <a:lnTo>
                    <a:pt x="99" y="109"/>
                  </a:lnTo>
                  <a:lnTo>
                    <a:pt x="102" y="109"/>
                  </a:lnTo>
                  <a:lnTo>
                    <a:pt x="104" y="114"/>
                  </a:lnTo>
                  <a:lnTo>
                    <a:pt x="106" y="116"/>
                  </a:lnTo>
                  <a:lnTo>
                    <a:pt x="109" y="114"/>
                  </a:lnTo>
                  <a:lnTo>
                    <a:pt x="111" y="114"/>
                  </a:lnTo>
                  <a:lnTo>
                    <a:pt x="114" y="116"/>
                  </a:lnTo>
                  <a:lnTo>
                    <a:pt x="118" y="114"/>
                  </a:lnTo>
                  <a:lnTo>
                    <a:pt x="121" y="114"/>
                  </a:lnTo>
                  <a:lnTo>
                    <a:pt x="123" y="116"/>
                  </a:lnTo>
                  <a:lnTo>
                    <a:pt x="125" y="119"/>
                  </a:lnTo>
                  <a:lnTo>
                    <a:pt x="125" y="123"/>
                  </a:lnTo>
                  <a:lnTo>
                    <a:pt x="132" y="126"/>
                  </a:lnTo>
                  <a:lnTo>
                    <a:pt x="135" y="128"/>
                  </a:lnTo>
                  <a:lnTo>
                    <a:pt x="135" y="130"/>
                  </a:lnTo>
                  <a:lnTo>
                    <a:pt x="140" y="135"/>
                  </a:lnTo>
                  <a:lnTo>
                    <a:pt x="140" y="137"/>
                  </a:lnTo>
                  <a:lnTo>
                    <a:pt x="140" y="140"/>
                  </a:lnTo>
                  <a:lnTo>
                    <a:pt x="140" y="142"/>
                  </a:lnTo>
                  <a:lnTo>
                    <a:pt x="142" y="140"/>
                  </a:lnTo>
                  <a:lnTo>
                    <a:pt x="142" y="137"/>
                  </a:lnTo>
                  <a:lnTo>
                    <a:pt x="142" y="135"/>
                  </a:lnTo>
                  <a:lnTo>
                    <a:pt x="142" y="133"/>
                  </a:lnTo>
                  <a:lnTo>
                    <a:pt x="142" y="130"/>
                  </a:lnTo>
                  <a:lnTo>
                    <a:pt x="142" y="128"/>
                  </a:lnTo>
                  <a:lnTo>
                    <a:pt x="144" y="128"/>
                  </a:lnTo>
                  <a:lnTo>
                    <a:pt x="147" y="130"/>
                  </a:lnTo>
                  <a:lnTo>
                    <a:pt x="149" y="133"/>
                  </a:lnTo>
                  <a:lnTo>
                    <a:pt x="149" y="135"/>
                  </a:lnTo>
                  <a:lnTo>
                    <a:pt x="151" y="137"/>
                  </a:lnTo>
                  <a:lnTo>
                    <a:pt x="156" y="140"/>
                  </a:lnTo>
                  <a:lnTo>
                    <a:pt x="161" y="142"/>
                  </a:lnTo>
                  <a:lnTo>
                    <a:pt x="163" y="140"/>
                  </a:lnTo>
                  <a:lnTo>
                    <a:pt x="170" y="135"/>
                  </a:lnTo>
                  <a:lnTo>
                    <a:pt x="170" y="133"/>
                  </a:lnTo>
                  <a:lnTo>
                    <a:pt x="173" y="133"/>
                  </a:lnTo>
                  <a:lnTo>
                    <a:pt x="173" y="130"/>
                  </a:lnTo>
                  <a:lnTo>
                    <a:pt x="175" y="130"/>
                  </a:lnTo>
                  <a:lnTo>
                    <a:pt x="177" y="130"/>
                  </a:lnTo>
                  <a:lnTo>
                    <a:pt x="180" y="128"/>
                  </a:lnTo>
                  <a:lnTo>
                    <a:pt x="182" y="128"/>
                  </a:lnTo>
                  <a:lnTo>
                    <a:pt x="184" y="128"/>
                  </a:lnTo>
                  <a:lnTo>
                    <a:pt x="187" y="128"/>
                  </a:lnTo>
                  <a:lnTo>
                    <a:pt x="187" y="128"/>
                  </a:lnTo>
                  <a:lnTo>
                    <a:pt x="192" y="133"/>
                  </a:lnTo>
                  <a:lnTo>
                    <a:pt x="196" y="130"/>
                  </a:lnTo>
                  <a:lnTo>
                    <a:pt x="196" y="128"/>
                  </a:lnTo>
                  <a:lnTo>
                    <a:pt x="203" y="128"/>
                  </a:lnTo>
                  <a:lnTo>
                    <a:pt x="206" y="126"/>
                  </a:lnTo>
                  <a:lnTo>
                    <a:pt x="210" y="128"/>
                  </a:lnTo>
                  <a:lnTo>
                    <a:pt x="210" y="130"/>
                  </a:lnTo>
                  <a:lnTo>
                    <a:pt x="210" y="135"/>
                  </a:lnTo>
                  <a:lnTo>
                    <a:pt x="213" y="137"/>
                  </a:lnTo>
                  <a:lnTo>
                    <a:pt x="215" y="140"/>
                  </a:lnTo>
                  <a:lnTo>
                    <a:pt x="220" y="140"/>
                  </a:lnTo>
                  <a:lnTo>
                    <a:pt x="225" y="140"/>
                  </a:lnTo>
                  <a:lnTo>
                    <a:pt x="225" y="140"/>
                  </a:lnTo>
                  <a:lnTo>
                    <a:pt x="225" y="142"/>
                  </a:lnTo>
                  <a:lnTo>
                    <a:pt x="232" y="142"/>
                  </a:lnTo>
                  <a:lnTo>
                    <a:pt x="234" y="142"/>
                  </a:lnTo>
                  <a:lnTo>
                    <a:pt x="236" y="137"/>
                  </a:lnTo>
                  <a:lnTo>
                    <a:pt x="236" y="135"/>
                  </a:lnTo>
                  <a:lnTo>
                    <a:pt x="239" y="135"/>
                  </a:lnTo>
                  <a:lnTo>
                    <a:pt x="243" y="140"/>
                  </a:lnTo>
                  <a:lnTo>
                    <a:pt x="248" y="140"/>
                  </a:lnTo>
                  <a:lnTo>
                    <a:pt x="253" y="140"/>
                  </a:lnTo>
                  <a:lnTo>
                    <a:pt x="255" y="137"/>
                  </a:lnTo>
                  <a:lnTo>
                    <a:pt x="260" y="135"/>
                  </a:lnTo>
                  <a:lnTo>
                    <a:pt x="262" y="123"/>
                  </a:lnTo>
                  <a:lnTo>
                    <a:pt x="265" y="121"/>
                  </a:lnTo>
                  <a:lnTo>
                    <a:pt x="262" y="119"/>
                  </a:lnTo>
                  <a:lnTo>
                    <a:pt x="262" y="119"/>
                  </a:lnTo>
                  <a:lnTo>
                    <a:pt x="258" y="119"/>
                  </a:lnTo>
                  <a:lnTo>
                    <a:pt x="253" y="116"/>
                  </a:lnTo>
                  <a:lnTo>
                    <a:pt x="251" y="114"/>
                  </a:lnTo>
                  <a:lnTo>
                    <a:pt x="251" y="114"/>
                  </a:lnTo>
                  <a:lnTo>
                    <a:pt x="243" y="111"/>
                  </a:lnTo>
                  <a:lnTo>
                    <a:pt x="241" y="111"/>
                  </a:lnTo>
                  <a:lnTo>
                    <a:pt x="243" y="109"/>
                  </a:lnTo>
                  <a:lnTo>
                    <a:pt x="241" y="107"/>
                  </a:lnTo>
                  <a:lnTo>
                    <a:pt x="236" y="104"/>
                  </a:lnTo>
                  <a:lnTo>
                    <a:pt x="236" y="102"/>
                  </a:lnTo>
                  <a:lnTo>
                    <a:pt x="239" y="102"/>
                  </a:lnTo>
                  <a:lnTo>
                    <a:pt x="243" y="100"/>
                  </a:lnTo>
                  <a:lnTo>
                    <a:pt x="248" y="97"/>
                  </a:lnTo>
                  <a:lnTo>
                    <a:pt x="253" y="95"/>
                  </a:lnTo>
                  <a:lnTo>
                    <a:pt x="253" y="93"/>
                  </a:lnTo>
                  <a:lnTo>
                    <a:pt x="253" y="90"/>
                  </a:lnTo>
                  <a:lnTo>
                    <a:pt x="248" y="81"/>
                  </a:lnTo>
                  <a:lnTo>
                    <a:pt x="251" y="81"/>
                  </a:lnTo>
                  <a:lnTo>
                    <a:pt x="253" y="78"/>
                  </a:lnTo>
                  <a:lnTo>
                    <a:pt x="253" y="76"/>
                  </a:lnTo>
                  <a:lnTo>
                    <a:pt x="255" y="74"/>
                  </a:lnTo>
                  <a:lnTo>
                    <a:pt x="258" y="74"/>
                  </a:lnTo>
                  <a:lnTo>
                    <a:pt x="260" y="74"/>
                  </a:lnTo>
                  <a:lnTo>
                    <a:pt x="262" y="74"/>
                  </a:lnTo>
                  <a:lnTo>
                    <a:pt x="265" y="74"/>
                  </a:lnTo>
                  <a:lnTo>
                    <a:pt x="269" y="74"/>
                  </a:lnTo>
                  <a:lnTo>
                    <a:pt x="272" y="74"/>
                  </a:lnTo>
                  <a:lnTo>
                    <a:pt x="274" y="71"/>
                  </a:lnTo>
                  <a:lnTo>
                    <a:pt x="272" y="69"/>
                  </a:lnTo>
                  <a:lnTo>
                    <a:pt x="267" y="67"/>
                  </a:lnTo>
                  <a:lnTo>
                    <a:pt x="258" y="64"/>
                  </a:lnTo>
                  <a:lnTo>
                    <a:pt x="255" y="62"/>
                  </a:lnTo>
                  <a:lnTo>
                    <a:pt x="255" y="59"/>
                  </a:lnTo>
                  <a:lnTo>
                    <a:pt x="258" y="59"/>
                  </a:lnTo>
                  <a:lnTo>
                    <a:pt x="262" y="59"/>
                  </a:lnTo>
                  <a:lnTo>
                    <a:pt x="262" y="57"/>
                  </a:lnTo>
                  <a:lnTo>
                    <a:pt x="260" y="55"/>
                  </a:lnTo>
                  <a:lnTo>
                    <a:pt x="258" y="57"/>
                  </a:lnTo>
                  <a:lnTo>
                    <a:pt x="253" y="57"/>
                  </a:lnTo>
                  <a:lnTo>
                    <a:pt x="253" y="52"/>
                  </a:lnTo>
                  <a:lnTo>
                    <a:pt x="255" y="50"/>
                  </a:lnTo>
                  <a:lnTo>
                    <a:pt x="255" y="50"/>
                  </a:lnTo>
                  <a:lnTo>
                    <a:pt x="253" y="45"/>
                  </a:lnTo>
                  <a:lnTo>
                    <a:pt x="258" y="45"/>
                  </a:lnTo>
                  <a:lnTo>
                    <a:pt x="258" y="43"/>
                  </a:lnTo>
                  <a:lnTo>
                    <a:pt x="262" y="43"/>
                  </a:lnTo>
                  <a:lnTo>
                    <a:pt x="262" y="45"/>
                  </a:lnTo>
                  <a:lnTo>
                    <a:pt x="265" y="45"/>
                  </a:lnTo>
                  <a:lnTo>
                    <a:pt x="267" y="45"/>
                  </a:lnTo>
                  <a:lnTo>
                    <a:pt x="269" y="45"/>
                  </a:lnTo>
                  <a:lnTo>
                    <a:pt x="279" y="45"/>
                  </a:lnTo>
                  <a:lnTo>
                    <a:pt x="279" y="48"/>
                  </a:lnTo>
                  <a:lnTo>
                    <a:pt x="284" y="43"/>
                  </a:lnTo>
                  <a:lnTo>
                    <a:pt x="286" y="43"/>
                  </a:lnTo>
                  <a:lnTo>
                    <a:pt x="291" y="43"/>
                  </a:lnTo>
                  <a:lnTo>
                    <a:pt x="293" y="41"/>
                  </a:lnTo>
                  <a:lnTo>
                    <a:pt x="295" y="41"/>
                  </a:lnTo>
                  <a:lnTo>
                    <a:pt x="300" y="36"/>
                  </a:lnTo>
                  <a:lnTo>
                    <a:pt x="303" y="38"/>
                  </a:lnTo>
                  <a:lnTo>
                    <a:pt x="303" y="38"/>
                  </a:lnTo>
                  <a:lnTo>
                    <a:pt x="307" y="38"/>
                  </a:lnTo>
                  <a:lnTo>
                    <a:pt x="307" y="36"/>
                  </a:lnTo>
                  <a:lnTo>
                    <a:pt x="312" y="36"/>
                  </a:lnTo>
                  <a:lnTo>
                    <a:pt x="314" y="33"/>
                  </a:lnTo>
                  <a:lnTo>
                    <a:pt x="317" y="33"/>
                  </a:lnTo>
                  <a:lnTo>
                    <a:pt x="319" y="33"/>
                  </a:lnTo>
                  <a:lnTo>
                    <a:pt x="321" y="33"/>
                  </a:lnTo>
                  <a:lnTo>
                    <a:pt x="324" y="33"/>
                  </a:lnTo>
                  <a:lnTo>
                    <a:pt x="326" y="31"/>
                  </a:lnTo>
                  <a:lnTo>
                    <a:pt x="326" y="29"/>
                  </a:lnTo>
                  <a:lnTo>
                    <a:pt x="326" y="26"/>
                  </a:lnTo>
                  <a:lnTo>
                    <a:pt x="329" y="24"/>
                  </a:lnTo>
                  <a:lnTo>
                    <a:pt x="331" y="24"/>
                  </a:lnTo>
                  <a:lnTo>
                    <a:pt x="333" y="26"/>
                  </a:lnTo>
                  <a:lnTo>
                    <a:pt x="340" y="24"/>
                  </a:lnTo>
                  <a:lnTo>
                    <a:pt x="340" y="24"/>
                  </a:lnTo>
                  <a:lnTo>
                    <a:pt x="352" y="22"/>
                  </a:lnTo>
                  <a:lnTo>
                    <a:pt x="362" y="19"/>
                  </a:lnTo>
                  <a:lnTo>
                    <a:pt x="371" y="17"/>
                  </a:lnTo>
                  <a:lnTo>
                    <a:pt x="373" y="15"/>
                  </a:lnTo>
                  <a:lnTo>
                    <a:pt x="376" y="15"/>
                  </a:lnTo>
                  <a:lnTo>
                    <a:pt x="378" y="15"/>
                  </a:lnTo>
                  <a:lnTo>
                    <a:pt x="380" y="12"/>
                  </a:lnTo>
                  <a:lnTo>
                    <a:pt x="380" y="10"/>
                  </a:lnTo>
                  <a:lnTo>
                    <a:pt x="380" y="8"/>
                  </a:lnTo>
                  <a:lnTo>
                    <a:pt x="383" y="8"/>
                  </a:lnTo>
                  <a:lnTo>
                    <a:pt x="385" y="8"/>
                  </a:lnTo>
                  <a:lnTo>
                    <a:pt x="385" y="5"/>
                  </a:lnTo>
                  <a:lnTo>
                    <a:pt x="388" y="3"/>
                  </a:lnTo>
                  <a:lnTo>
                    <a:pt x="390" y="3"/>
                  </a:lnTo>
                  <a:lnTo>
                    <a:pt x="392" y="3"/>
                  </a:lnTo>
                  <a:lnTo>
                    <a:pt x="395" y="0"/>
                  </a:lnTo>
                  <a:lnTo>
                    <a:pt x="397" y="3"/>
                  </a:lnTo>
                  <a:lnTo>
                    <a:pt x="399" y="3"/>
                  </a:lnTo>
                  <a:lnTo>
                    <a:pt x="402" y="3"/>
                  </a:lnTo>
                  <a:lnTo>
                    <a:pt x="404" y="3"/>
                  </a:lnTo>
                  <a:lnTo>
                    <a:pt x="406" y="5"/>
                  </a:lnTo>
                  <a:lnTo>
                    <a:pt x="409" y="5"/>
                  </a:lnTo>
                  <a:lnTo>
                    <a:pt x="411" y="10"/>
                  </a:lnTo>
                  <a:lnTo>
                    <a:pt x="414" y="8"/>
                  </a:lnTo>
                  <a:lnTo>
                    <a:pt x="416" y="5"/>
                  </a:lnTo>
                  <a:lnTo>
                    <a:pt x="421" y="5"/>
                  </a:lnTo>
                  <a:lnTo>
                    <a:pt x="425" y="5"/>
                  </a:lnTo>
                  <a:lnTo>
                    <a:pt x="425" y="8"/>
                  </a:lnTo>
                  <a:lnTo>
                    <a:pt x="428" y="10"/>
                  </a:lnTo>
                  <a:lnTo>
                    <a:pt x="428" y="15"/>
                  </a:lnTo>
                  <a:lnTo>
                    <a:pt x="428" y="17"/>
                  </a:lnTo>
                  <a:lnTo>
                    <a:pt x="428" y="22"/>
                  </a:lnTo>
                  <a:lnTo>
                    <a:pt x="432" y="24"/>
                  </a:lnTo>
                  <a:lnTo>
                    <a:pt x="430" y="26"/>
                  </a:lnTo>
                  <a:lnTo>
                    <a:pt x="430" y="31"/>
                  </a:lnTo>
                  <a:lnTo>
                    <a:pt x="430" y="33"/>
                  </a:lnTo>
                  <a:lnTo>
                    <a:pt x="428" y="36"/>
                  </a:lnTo>
                  <a:lnTo>
                    <a:pt x="430" y="38"/>
                  </a:lnTo>
                  <a:lnTo>
                    <a:pt x="430" y="41"/>
                  </a:lnTo>
                  <a:lnTo>
                    <a:pt x="435" y="38"/>
                  </a:lnTo>
                  <a:lnTo>
                    <a:pt x="437" y="41"/>
                  </a:lnTo>
                  <a:lnTo>
                    <a:pt x="440" y="41"/>
                  </a:lnTo>
                  <a:lnTo>
                    <a:pt x="440" y="38"/>
                  </a:lnTo>
                  <a:lnTo>
                    <a:pt x="444" y="38"/>
                  </a:lnTo>
                  <a:lnTo>
                    <a:pt x="447" y="38"/>
                  </a:lnTo>
                  <a:lnTo>
                    <a:pt x="447" y="36"/>
                  </a:lnTo>
                  <a:lnTo>
                    <a:pt x="447" y="33"/>
                  </a:lnTo>
                  <a:lnTo>
                    <a:pt x="449" y="33"/>
                  </a:lnTo>
                  <a:lnTo>
                    <a:pt x="449" y="36"/>
                  </a:lnTo>
                  <a:lnTo>
                    <a:pt x="451" y="38"/>
                  </a:lnTo>
                  <a:lnTo>
                    <a:pt x="451" y="41"/>
                  </a:lnTo>
                  <a:lnTo>
                    <a:pt x="451" y="43"/>
                  </a:lnTo>
                  <a:lnTo>
                    <a:pt x="451" y="45"/>
                  </a:lnTo>
                  <a:lnTo>
                    <a:pt x="456" y="45"/>
                  </a:lnTo>
                  <a:lnTo>
                    <a:pt x="456" y="43"/>
                  </a:lnTo>
                  <a:lnTo>
                    <a:pt x="454" y="41"/>
                  </a:lnTo>
                  <a:lnTo>
                    <a:pt x="456" y="41"/>
                  </a:lnTo>
                  <a:lnTo>
                    <a:pt x="461" y="41"/>
                  </a:lnTo>
                  <a:lnTo>
                    <a:pt x="463" y="43"/>
                  </a:lnTo>
                  <a:lnTo>
                    <a:pt x="466" y="45"/>
                  </a:lnTo>
                  <a:lnTo>
                    <a:pt x="468" y="45"/>
                  </a:lnTo>
                  <a:lnTo>
                    <a:pt x="470" y="45"/>
                  </a:lnTo>
                  <a:lnTo>
                    <a:pt x="473" y="43"/>
                  </a:lnTo>
                  <a:lnTo>
                    <a:pt x="473" y="43"/>
                  </a:lnTo>
                  <a:lnTo>
                    <a:pt x="475" y="45"/>
                  </a:lnTo>
                  <a:lnTo>
                    <a:pt x="475" y="48"/>
                  </a:lnTo>
                  <a:lnTo>
                    <a:pt x="473" y="48"/>
                  </a:lnTo>
                  <a:lnTo>
                    <a:pt x="470" y="50"/>
                  </a:lnTo>
                  <a:lnTo>
                    <a:pt x="468" y="52"/>
                  </a:lnTo>
                  <a:lnTo>
                    <a:pt x="468" y="55"/>
                  </a:lnTo>
                  <a:lnTo>
                    <a:pt x="468" y="57"/>
                  </a:lnTo>
                  <a:lnTo>
                    <a:pt x="470" y="59"/>
                  </a:lnTo>
                  <a:lnTo>
                    <a:pt x="473" y="59"/>
                  </a:lnTo>
                  <a:lnTo>
                    <a:pt x="473" y="57"/>
                  </a:lnTo>
                  <a:lnTo>
                    <a:pt x="477" y="55"/>
                  </a:lnTo>
                  <a:lnTo>
                    <a:pt x="480" y="57"/>
                  </a:lnTo>
                  <a:lnTo>
                    <a:pt x="482" y="57"/>
                  </a:lnTo>
                  <a:lnTo>
                    <a:pt x="484" y="57"/>
                  </a:lnTo>
                  <a:lnTo>
                    <a:pt x="487" y="57"/>
                  </a:lnTo>
                  <a:lnTo>
                    <a:pt x="487" y="55"/>
                  </a:lnTo>
                  <a:lnTo>
                    <a:pt x="489" y="52"/>
                  </a:lnTo>
                  <a:lnTo>
                    <a:pt x="492" y="52"/>
                  </a:lnTo>
                  <a:lnTo>
                    <a:pt x="494" y="50"/>
                  </a:lnTo>
                  <a:lnTo>
                    <a:pt x="499" y="48"/>
                  </a:lnTo>
                  <a:lnTo>
                    <a:pt x="503" y="45"/>
                  </a:lnTo>
                  <a:lnTo>
                    <a:pt x="506" y="41"/>
                  </a:lnTo>
                  <a:lnTo>
                    <a:pt x="508" y="38"/>
                  </a:lnTo>
                  <a:lnTo>
                    <a:pt x="510" y="38"/>
                  </a:lnTo>
                  <a:lnTo>
                    <a:pt x="515" y="38"/>
                  </a:lnTo>
                  <a:lnTo>
                    <a:pt x="517" y="38"/>
                  </a:lnTo>
                  <a:lnTo>
                    <a:pt x="517" y="36"/>
                  </a:lnTo>
                  <a:lnTo>
                    <a:pt x="525" y="33"/>
                  </a:lnTo>
                  <a:lnTo>
                    <a:pt x="527" y="31"/>
                  </a:lnTo>
                  <a:lnTo>
                    <a:pt x="529" y="33"/>
                  </a:lnTo>
                  <a:lnTo>
                    <a:pt x="529" y="36"/>
                  </a:lnTo>
                  <a:lnTo>
                    <a:pt x="527" y="38"/>
                  </a:lnTo>
                  <a:lnTo>
                    <a:pt x="525" y="41"/>
                  </a:lnTo>
                  <a:lnTo>
                    <a:pt x="522" y="41"/>
                  </a:lnTo>
                  <a:lnTo>
                    <a:pt x="522" y="43"/>
                  </a:lnTo>
                  <a:lnTo>
                    <a:pt x="525" y="45"/>
                  </a:lnTo>
                  <a:lnTo>
                    <a:pt x="525" y="45"/>
                  </a:lnTo>
                  <a:lnTo>
                    <a:pt x="548" y="67"/>
                  </a:lnTo>
                  <a:lnTo>
                    <a:pt x="586" y="135"/>
                  </a:lnTo>
                  <a:lnTo>
                    <a:pt x="591" y="133"/>
                  </a:lnTo>
                  <a:lnTo>
                    <a:pt x="591" y="130"/>
                  </a:lnTo>
                  <a:lnTo>
                    <a:pt x="591" y="128"/>
                  </a:lnTo>
                  <a:lnTo>
                    <a:pt x="595" y="123"/>
                  </a:lnTo>
                  <a:lnTo>
                    <a:pt x="598" y="123"/>
                  </a:lnTo>
                  <a:lnTo>
                    <a:pt x="598" y="126"/>
                  </a:lnTo>
                  <a:lnTo>
                    <a:pt x="600" y="126"/>
                  </a:lnTo>
                  <a:lnTo>
                    <a:pt x="605" y="128"/>
                  </a:lnTo>
                  <a:lnTo>
                    <a:pt x="605" y="130"/>
                  </a:lnTo>
                  <a:lnTo>
                    <a:pt x="605" y="133"/>
                  </a:lnTo>
                  <a:lnTo>
                    <a:pt x="607" y="133"/>
                  </a:lnTo>
                  <a:lnTo>
                    <a:pt x="610" y="137"/>
                  </a:lnTo>
                  <a:lnTo>
                    <a:pt x="617" y="137"/>
                  </a:lnTo>
                  <a:lnTo>
                    <a:pt x="621" y="137"/>
                  </a:lnTo>
                  <a:lnTo>
                    <a:pt x="624" y="137"/>
                  </a:lnTo>
                  <a:lnTo>
                    <a:pt x="631" y="137"/>
                  </a:lnTo>
                  <a:lnTo>
                    <a:pt x="631" y="135"/>
                  </a:lnTo>
                  <a:lnTo>
                    <a:pt x="633" y="133"/>
                  </a:lnTo>
                  <a:lnTo>
                    <a:pt x="636" y="133"/>
                  </a:lnTo>
                  <a:lnTo>
                    <a:pt x="638" y="133"/>
                  </a:lnTo>
                  <a:lnTo>
                    <a:pt x="638" y="130"/>
                  </a:lnTo>
                  <a:lnTo>
                    <a:pt x="640" y="130"/>
                  </a:lnTo>
                  <a:lnTo>
                    <a:pt x="645" y="130"/>
                  </a:lnTo>
                  <a:lnTo>
                    <a:pt x="647" y="133"/>
                  </a:lnTo>
                  <a:lnTo>
                    <a:pt x="650" y="135"/>
                  </a:lnTo>
                  <a:lnTo>
                    <a:pt x="652" y="135"/>
                  </a:lnTo>
                  <a:lnTo>
                    <a:pt x="655" y="140"/>
                  </a:lnTo>
                  <a:lnTo>
                    <a:pt x="657" y="140"/>
                  </a:lnTo>
                  <a:lnTo>
                    <a:pt x="657" y="142"/>
                  </a:lnTo>
                  <a:lnTo>
                    <a:pt x="657" y="147"/>
                  </a:lnTo>
                  <a:lnTo>
                    <a:pt x="657" y="149"/>
                  </a:lnTo>
                  <a:lnTo>
                    <a:pt x="659" y="152"/>
                  </a:lnTo>
                  <a:lnTo>
                    <a:pt x="662" y="152"/>
                  </a:lnTo>
                  <a:lnTo>
                    <a:pt x="669" y="154"/>
                  </a:lnTo>
                  <a:lnTo>
                    <a:pt x="669" y="156"/>
                  </a:lnTo>
                  <a:lnTo>
                    <a:pt x="669" y="159"/>
                  </a:lnTo>
                  <a:lnTo>
                    <a:pt x="671" y="161"/>
                  </a:lnTo>
                  <a:lnTo>
                    <a:pt x="673" y="161"/>
                  </a:lnTo>
                  <a:lnTo>
                    <a:pt x="676" y="166"/>
                  </a:lnTo>
                  <a:lnTo>
                    <a:pt x="678" y="168"/>
                  </a:lnTo>
                  <a:lnTo>
                    <a:pt x="683" y="168"/>
                  </a:lnTo>
                  <a:lnTo>
                    <a:pt x="685" y="170"/>
                  </a:lnTo>
                  <a:lnTo>
                    <a:pt x="688" y="170"/>
                  </a:lnTo>
                  <a:lnTo>
                    <a:pt x="690" y="170"/>
                  </a:lnTo>
                  <a:lnTo>
                    <a:pt x="692" y="170"/>
                  </a:lnTo>
                  <a:lnTo>
                    <a:pt x="695" y="168"/>
                  </a:lnTo>
                  <a:lnTo>
                    <a:pt x="695" y="168"/>
                  </a:lnTo>
                  <a:lnTo>
                    <a:pt x="699" y="166"/>
                  </a:lnTo>
                  <a:lnTo>
                    <a:pt x="702" y="168"/>
                  </a:lnTo>
                  <a:lnTo>
                    <a:pt x="702" y="170"/>
                  </a:lnTo>
                  <a:lnTo>
                    <a:pt x="704" y="170"/>
                  </a:lnTo>
                  <a:lnTo>
                    <a:pt x="706" y="175"/>
                  </a:lnTo>
                  <a:lnTo>
                    <a:pt x="709" y="178"/>
                  </a:lnTo>
                  <a:lnTo>
                    <a:pt x="709" y="180"/>
                  </a:lnTo>
                  <a:lnTo>
                    <a:pt x="706" y="187"/>
                  </a:lnTo>
                  <a:lnTo>
                    <a:pt x="706" y="187"/>
                  </a:lnTo>
                  <a:lnTo>
                    <a:pt x="702" y="194"/>
                  </a:lnTo>
                  <a:lnTo>
                    <a:pt x="697" y="199"/>
                  </a:lnTo>
                  <a:lnTo>
                    <a:pt x="690" y="201"/>
                  </a:lnTo>
                  <a:lnTo>
                    <a:pt x="685" y="201"/>
                  </a:lnTo>
                  <a:lnTo>
                    <a:pt x="683" y="208"/>
                  </a:lnTo>
                  <a:lnTo>
                    <a:pt x="680" y="215"/>
                  </a:lnTo>
                  <a:lnTo>
                    <a:pt x="683" y="222"/>
                  </a:lnTo>
                  <a:lnTo>
                    <a:pt x="680" y="234"/>
                  </a:lnTo>
                  <a:lnTo>
                    <a:pt x="673" y="237"/>
                  </a:lnTo>
                  <a:lnTo>
                    <a:pt x="669" y="241"/>
                  </a:lnTo>
                  <a:lnTo>
                    <a:pt x="666" y="239"/>
                  </a:lnTo>
                  <a:lnTo>
                    <a:pt x="664" y="234"/>
                  </a:lnTo>
                  <a:lnTo>
                    <a:pt x="652" y="237"/>
                  </a:lnTo>
                  <a:lnTo>
                    <a:pt x="645" y="234"/>
                  </a:lnTo>
                  <a:lnTo>
                    <a:pt x="643" y="232"/>
                  </a:lnTo>
                  <a:lnTo>
                    <a:pt x="636" y="232"/>
                  </a:lnTo>
                  <a:lnTo>
                    <a:pt x="633" y="239"/>
                  </a:lnTo>
                  <a:lnTo>
                    <a:pt x="629" y="246"/>
                  </a:lnTo>
                  <a:lnTo>
                    <a:pt x="626" y="256"/>
                  </a:lnTo>
                  <a:lnTo>
                    <a:pt x="624" y="263"/>
                  </a:lnTo>
                  <a:lnTo>
                    <a:pt x="621" y="270"/>
                  </a:lnTo>
                  <a:lnTo>
                    <a:pt x="624" y="274"/>
                  </a:lnTo>
                  <a:lnTo>
                    <a:pt x="626" y="279"/>
                  </a:lnTo>
                  <a:lnTo>
                    <a:pt x="624" y="282"/>
                  </a:lnTo>
                  <a:lnTo>
                    <a:pt x="605" y="282"/>
                  </a:lnTo>
                  <a:lnTo>
                    <a:pt x="598" y="284"/>
                  </a:lnTo>
                  <a:lnTo>
                    <a:pt x="593" y="286"/>
                  </a:lnTo>
                  <a:lnTo>
                    <a:pt x="586" y="289"/>
                  </a:lnTo>
                  <a:lnTo>
                    <a:pt x="584" y="291"/>
                  </a:lnTo>
                  <a:lnTo>
                    <a:pt x="586" y="293"/>
                  </a:lnTo>
                  <a:lnTo>
                    <a:pt x="588" y="298"/>
                  </a:lnTo>
                  <a:lnTo>
                    <a:pt x="591" y="310"/>
                  </a:lnTo>
                  <a:lnTo>
                    <a:pt x="591" y="315"/>
                  </a:lnTo>
                  <a:lnTo>
                    <a:pt x="593" y="319"/>
                  </a:lnTo>
                  <a:lnTo>
                    <a:pt x="595" y="326"/>
                  </a:lnTo>
                  <a:lnTo>
                    <a:pt x="595" y="331"/>
                  </a:lnTo>
                  <a:lnTo>
                    <a:pt x="591" y="333"/>
                  </a:lnTo>
                  <a:lnTo>
                    <a:pt x="593" y="338"/>
                  </a:lnTo>
                  <a:lnTo>
                    <a:pt x="591" y="341"/>
                  </a:lnTo>
                  <a:lnTo>
                    <a:pt x="588" y="345"/>
                  </a:lnTo>
                  <a:lnTo>
                    <a:pt x="588" y="350"/>
                  </a:lnTo>
                  <a:lnTo>
                    <a:pt x="588" y="350"/>
                  </a:lnTo>
                  <a:lnTo>
                    <a:pt x="586" y="350"/>
                  </a:lnTo>
                  <a:lnTo>
                    <a:pt x="581" y="348"/>
                  </a:lnTo>
                  <a:lnTo>
                    <a:pt x="574" y="345"/>
                  </a:lnTo>
                  <a:lnTo>
                    <a:pt x="569" y="341"/>
                  </a:lnTo>
                  <a:lnTo>
                    <a:pt x="565" y="341"/>
                  </a:lnTo>
                  <a:lnTo>
                    <a:pt x="562" y="338"/>
                  </a:lnTo>
                  <a:lnTo>
                    <a:pt x="560" y="338"/>
                  </a:lnTo>
                  <a:lnTo>
                    <a:pt x="558" y="338"/>
                  </a:lnTo>
                  <a:lnTo>
                    <a:pt x="555" y="338"/>
                  </a:lnTo>
                  <a:lnTo>
                    <a:pt x="548" y="338"/>
                  </a:lnTo>
                  <a:lnTo>
                    <a:pt x="541" y="336"/>
                  </a:lnTo>
                  <a:lnTo>
                    <a:pt x="539" y="336"/>
                  </a:lnTo>
                  <a:lnTo>
                    <a:pt x="534" y="333"/>
                  </a:lnTo>
                  <a:lnTo>
                    <a:pt x="532" y="333"/>
                  </a:lnTo>
                  <a:lnTo>
                    <a:pt x="527" y="336"/>
                  </a:lnTo>
                  <a:lnTo>
                    <a:pt x="515" y="336"/>
                  </a:lnTo>
                  <a:lnTo>
                    <a:pt x="513" y="336"/>
                  </a:lnTo>
                  <a:lnTo>
                    <a:pt x="508" y="336"/>
                  </a:lnTo>
                  <a:lnTo>
                    <a:pt x="503" y="336"/>
                  </a:lnTo>
                  <a:lnTo>
                    <a:pt x="501" y="336"/>
                  </a:lnTo>
                  <a:lnTo>
                    <a:pt x="499" y="333"/>
                  </a:lnTo>
                  <a:lnTo>
                    <a:pt x="496" y="333"/>
                  </a:lnTo>
                  <a:lnTo>
                    <a:pt x="492" y="333"/>
                  </a:lnTo>
                  <a:lnTo>
                    <a:pt x="489" y="333"/>
                  </a:lnTo>
                  <a:lnTo>
                    <a:pt x="482" y="329"/>
                  </a:lnTo>
                  <a:lnTo>
                    <a:pt x="480" y="331"/>
                  </a:lnTo>
                  <a:lnTo>
                    <a:pt x="477" y="331"/>
                  </a:lnTo>
                  <a:lnTo>
                    <a:pt x="475" y="331"/>
                  </a:lnTo>
                  <a:lnTo>
                    <a:pt x="470" y="336"/>
                  </a:lnTo>
                  <a:lnTo>
                    <a:pt x="470" y="338"/>
                  </a:lnTo>
                  <a:lnTo>
                    <a:pt x="470" y="341"/>
                  </a:lnTo>
                  <a:lnTo>
                    <a:pt x="468" y="345"/>
                  </a:lnTo>
                  <a:lnTo>
                    <a:pt x="468" y="348"/>
                  </a:lnTo>
                  <a:lnTo>
                    <a:pt x="463" y="345"/>
                  </a:lnTo>
                  <a:lnTo>
                    <a:pt x="458" y="343"/>
                  </a:lnTo>
                  <a:lnTo>
                    <a:pt x="454" y="341"/>
                  </a:lnTo>
                  <a:lnTo>
                    <a:pt x="451" y="341"/>
                  </a:lnTo>
                  <a:lnTo>
                    <a:pt x="449" y="341"/>
                  </a:lnTo>
                  <a:lnTo>
                    <a:pt x="444" y="341"/>
                  </a:lnTo>
                  <a:lnTo>
                    <a:pt x="440" y="338"/>
                  </a:lnTo>
                  <a:lnTo>
                    <a:pt x="437" y="338"/>
                  </a:lnTo>
                  <a:lnTo>
                    <a:pt x="435" y="338"/>
                  </a:lnTo>
                  <a:lnTo>
                    <a:pt x="430" y="338"/>
                  </a:lnTo>
                  <a:lnTo>
                    <a:pt x="428" y="341"/>
                  </a:lnTo>
                  <a:lnTo>
                    <a:pt x="428" y="343"/>
                  </a:lnTo>
                  <a:lnTo>
                    <a:pt x="428" y="345"/>
                  </a:lnTo>
                  <a:lnTo>
                    <a:pt x="425" y="348"/>
                  </a:lnTo>
                  <a:lnTo>
                    <a:pt x="425" y="350"/>
                  </a:lnTo>
                  <a:lnTo>
                    <a:pt x="423" y="352"/>
                  </a:lnTo>
                  <a:lnTo>
                    <a:pt x="421" y="355"/>
                  </a:lnTo>
                  <a:lnTo>
                    <a:pt x="418" y="357"/>
                  </a:lnTo>
                  <a:lnTo>
                    <a:pt x="416" y="355"/>
                  </a:lnTo>
                  <a:lnTo>
                    <a:pt x="414" y="362"/>
                  </a:lnTo>
                  <a:lnTo>
                    <a:pt x="411" y="362"/>
                  </a:lnTo>
                  <a:lnTo>
                    <a:pt x="404" y="367"/>
                  </a:lnTo>
                  <a:lnTo>
                    <a:pt x="399" y="369"/>
                  </a:lnTo>
                  <a:lnTo>
                    <a:pt x="399" y="371"/>
                  </a:lnTo>
                  <a:lnTo>
                    <a:pt x="397" y="371"/>
                  </a:lnTo>
                  <a:lnTo>
                    <a:pt x="395" y="374"/>
                  </a:lnTo>
                  <a:lnTo>
                    <a:pt x="392" y="374"/>
                  </a:lnTo>
                  <a:lnTo>
                    <a:pt x="392" y="378"/>
                  </a:lnTo>
                  <a:lnTo>
                    <a:pt x="390" y="378"/>
                  </a:lnTo>
                  <a:lnTo>
                    <a:pt x="388" y="381"/>
                  </a:lnTo>
                  <a:lnTo>
                    <a:pt x="385" y="378"/>
                  </a:lnTo>
                  <a:lnTo>
                    <a:pt x="380" y="378"/>
                  </a:lnTo>
                  <a:lnTo>
                    <a:pt x="378" y="376"/>
                  </a:lnTo>
                  <a:lnTo>
                    <a:pt x="373" y="374"/>
                  </a:lnTo>
                  <a:lnTo>
                    <a:pt x="354" y="376"/>
                  </a:lnTo>
                  <a:lnTo>
                    <a:pt x="352" y="362"/>
                  </a:lnTo>
                  <a:lnTo>
                    <a:pt x="343" y="359"/>
                  </a:lnTo>
                  <a:lnTo>
                    <a:pt x="340" y="355"/>
                  </a:lnTo>
                  <a:lnTo>
                    <a:pt x="340" y="350"/>
                  </a:lnTo>
                  <a:lnTo>
                    <a:pt x="345" y="350"/>
                  </a:lnTo>
                  <a:lnTo>
                    <a:pt x="343" y="336"/>
                  </a:lnTo>
                  <a:lnTo>
                    <a:pt x="340" y="336"/>
                  </a:lnTo>
                  <a:lnTo>
                    <a:pt x="333" y="326"/>
                  </a:lnTo>
                  <a:lnTo>
                    <a:pt x="331" y="322"/>
                  </a:lnTo>
                  <a:lnTo>
                    <a:pt x="329" y="322"/>
                  </a:lnTo>
                  <a:lnTo>
                    <a:pt x="324" y="319"/>
                  </a:lnTo>
                  <a:lnTo>
                    <a:pt x="321" y="317"/>
                  </a:lnTo>
                  <a:lnTo>
                    <a:pt x="317" y="319"/>
                  </a:lnTo>
                  <a:lnTo>
                    <a:pt x="293" y="317"/>
                  </a:lnTo>
                  <a:lnTo>
                    <a:pt x="272" y="322"/>
                  </a:lnTo>
                  <a:lnTo>
                    <a:pt x="262" y="312"/>
                  </a:lnTo>
                  <a:lnTo>
                    <a:pt x="248" y="298"/>
                  </a:lnTo>
                  <a:lnTo>
                    <a:pt x="236" y="286"/>
                  </a:lnTo>
                  <a:lnTo>
                    <a:pt x="232" y="284"/>
                  </a:lnTo>
                  <a:lnTo>
                    <a:pt x="227" y="279"/>
                  </a:lnTo>
                  <a:lnTo>
                    <a:pt x="220" y="274"/>
                  </a:lnTo>
                  <a:lnTo>
                    <a:pt x="210" y="272"/>
                  </a:lnTo>
                  <a:lnTo>
                    <a:pt x="166" y="286"/>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7" name="Freeform 1139">
              <a:extLst>
                <a:ext uri="{FF2B5EF4-FFF2-40B4-BE49-F238E27FC236}">
                  <a16:creationId xmlns:a16="http://schemas.microsoft.com/office/drawing/2014/main" id="{C0DBA51C-C3F5-41D5-B820-3B2F628E0D05}"/>
                </a:ext>
              </a:extLst>
            </p:cNvPr>
            <p:cNvSpPr>
              <a:spLocks/>
            </p:cNvSpPr>
            <p:nvPr/>
          </p:nvSpPr>
          <p:spPr bwMode="auto">
            <a:xfrm>
              <a:off x="3915611" y="4376704"/>
              <a:ext cx="300038" cy="314325"/>
            </a:xfrm>
            <a:custGeom>
              <a:avLst/>
              <a:gdLst>
                <a:gd name="T0" fmla="*/ 2 w 189"/>
                <a:gd name="T1" fmla="*/ 0 h 198"/>
                <a:gd name="T2" fmla="*/ 11 w 189"/>
                <a:gd name="T3" fmla="*/ 0 h 198"/>
                <a:gd name="T4" fmla="*/ 18 w 189"/>
                <a:gd name="T5" fmla="*/ 7 h 198"/>
                <a:gd name="T6" fmla="*/ 33 w 189"/>
                <a:gd name="T7" fmla="*/ 4 h 198"/>
                <a:gd name="T8" fmla="*/ 42 w 189"/>
                <a:gd name="T9" fmla="*/ 7 h 198"/>
                <a:gd name="T10" fmla="*/ 47 w 189"/>
                <a:gd name="T11" fmla="*/ 16 h 198"/>
                <a:gd name="T12" fmla="*/ 54 w 189"/>
                <a:gd name="T13" fmla="*/ 23 h 198"/>
                <a:gd name="T14" fmla="*/ 61 w 189"/>
                <a:gd name="T15" fmla="*/ 33 h 198"/>
                <a:gd name="T16" fmla="*/ 80 w 189"/>
                <a:gd name="T17" fmla="*/ 42 h 198"/>
                <a:gd name="T18" fmla="*/ 87 w 189"/>
                <a:gd name="T19" fmla="*/ 49 h 198"/>
                <a:gd name="T20" fmla="*/ 96 w 189"/>
                <a:gd name="T21" fmla="*/ 61 h 198"/>
                <a:gd name="T22" fmla="*/ 99 w 189"/>
                <a:gd name="T23" fmla="*/ 59 h 198"/>
                <a:gd name="T24" fmla="*/ 108 w 189"/>
                <a:gd name="T25" fmla="*/ 66 h 198"/>
                <a:gd name="T26" fmla="*/ 113 w 189"/>
                <a:gd name="T27" fmla="*/ 68 h 198"/>
                <a:gd name="T28" fmla="*/ 122 w 189"/>
                <a:gd name="T29" fmla="*/ 75 h 198"/>
                <a:gd name="T30" fmla="*/ 125 w 189"/>
                <a:gd name="T31" fmla="*/ 75 h 198"/>
                <a:gd name="T32" fmla="*/ 134 w 189"/>
                <a:gd name="T33" fmla="*/ 78 h 198"/>
                <a:gd name="T34" fmla="*/ 137 w 189"/>
                <a:gd name="T35" fmla="*/ 82 h 198"/>
                <a:gd name="T36" fmla="*/ 134 w 189"/>
                <a:gd name="T37" fmla="*/ 85 h 198"/>
                <a:gd name="T38" fmla="*/ 132 w 189"/>
                <a:gd name="T39" fmla="*/ 92 h 198"/>
                <a:gd name="T40" fmla="*/ 137 w 189"/>
                <a:gd name="T41" fmla="*/ 92 h 198"/>
                <a:gd name="T42" fmla="*/ 144 w 189"/>
                <a:gd name="T43" fmla="*/ 89 h 198"/>
                <a:gd name="T44" fmla="*/ 148 w 189"/>
                <a:gd name="T45" fmla="*/ 97 h 198"/>
                <a:gd name="T46" fmla="*/ 148 w 189"/>
                <a:gd name="T47" fmla="*/ 101 h 198"/>
                <a:gd name="T48" fmla="*/ 144 w 189"/>
                <a:gd name="T49" fmla="*/ 108 h 198"/>
                <a:gd name="T50" fmla="*/ 151 w 189"/>
                <a:gd name="T51" fmla="*/ 115 h 198"/>
                <a:gd name="T52" fmla="*/ 155 w 189"/>
                <a:gd name="T53" fmla="*/ 115 h 198"/>
                <a:gd name="T54" fmla="*/ 163 w 189"/>
                <a:gd name="T55" fmla="*/ 123 h 198"/>
                <a:gd name="T56" fmla="*/ 163 w 189"/>
                <a:gd name="T57" fmla="*/ 130 h 198"/>
                <a:gd name="T58" fmla="*/ 170 w 189"/>
                <a:gd name="T59" fmla="*/ 132 h 198"/>
                <a:gd name="T60" fmla="*/ 172 w 189"/>
                <a:gd name="T61" fmla="*/ 137 h 198"/>
                <a:gd name="T62" fmla="*/ 181 w 189"/>
                <a:gd name="T63" fmla="*/ 139 h 198"/>
                <a:gd name="T64" fmla="*/ 186 w 189"/>
                <a:gd name="T65" fmla="*/ 146 h 198"/>
                <a:gd name="T66" fmla="*/ 189 w 189"/>
                <a:gd name="T67" fmla="*/ 153 h 198"/>
                <a:gd name="T68" fmla="*/ 186 w 189"/>
                <a:gd name="T69" fmla="*/ 163 h 198"/>
                <a:gd name="T70" fmla="*/ 186 w 189"/>
                <a:gd name="T71" fmla="*/ 174 h 198"/>
                <a:gd name="T72" fmla="*/ 184 w 189"/>
                <a:gd name="T73" fmla="*/ 193 h 198"/>
                <a:gd name="T74" fmla="*/ 179 w 189"/>
                <a:gd name="T75" fmla="*/ 193 h 198"/>
                <a:gd name="T76" fmla="*/ 174 w 189"/>
                <a:gd name="T77" fmla="*/ 196 h 198"/>
                <a:gd name="T78" fmla="*/ 165 w 189"/>
                <a:gd name="T79" fmla="*/ 193 h 198"/>
                <a:gd name="T80" fmla="*/ 163 w 189"/>
                <a:gd name="T81" fmla="*/ 196 h 198"/>
                <a:gd name="T82" fmla="*/ 151 w 189"/>
                <a:gd name="T83" fmla="*/ 186 h 198"/>
                <a:gd name="T84" fmla="*/ 144 w 189"/>
                <a:gd name="T85" fmla="*/ 182 h 198"/>
                <a:gd name="T86" fmla="*/ 129 w 189"/>
                <a:gd name="T87" fmla="*/ 170 h 198"/>
                <a:gd name="T88" fmla="*/ 122 w 189"/>
                <a:gd name="T89" fmla="*/ 160 h 198"/>
                <a:gd name="T90" fmla="*/ 115 w 189"/>
                <a:gd name="T91" fmla="*/ 153 h 198"/>
                <a:gd name="T92" fmla="*/ 99 w 189"/>
                <a:gd name="T93" fmla="*/ 134 h 198"/>
                <a:gd name="T94" fmla="*/ 92 w 189"/>
                <a:gd name="T95" fmla="*/ 113 h 198"/>
                <a:gd name="T96" fmla="*/ 85 w 189"/>
                <a:gd name="T97" fmla="*/ 104 h 198"/>
                <a:gd name="T98" fmla="*/ 73 w 189"/>
                <a:gd name="T99" fmla="*/ 92 h 198"/>
                <a:gd name="T100" fmla="*/ 70 w 189"/>
                <a:gd name="T101" fmla="*/ 92 h 198"/>
                <a:gd name="T102" fmla="*/ 66 w 189"/>
                <a:gd name="T103" fmla="*/ 75 h 198"/>
                <a:gd name="T104" fmla="*/ 61 w 189"/>
                <a:gd name="T105" fmla="*/ 63 h 198"/>
                <a:gd name="T106" fmla="*/ 49 w 189"/>
                <a:gd name="T107" fmla="*/ 56 h 198"/>
                <a:gd name="T108" fmla="*/ 40 w 189"/>
                <a:gd name="T109" fmla="*/ 47 h 198"/>
                <a:gd name="T110" fmla="*/ 33 w 189"/>
                <a:gd name="T111" fmla="*/ 37 h 198"/>
                <a:gd name="T112" fmla="*/ 23 w 189"/>
                <a:gd name="T113" fmla="*/ 33 h 198"/>
                <a:gd name="T114" fmla="*/ 16 w 189"/>
                <a:gd name="T115" fmla="*/ 23 h 198"/>
                <a:gd name="T116" fmla="*/ 4 w 189"/>
                <a:gd name="T117" fmla="*/ 12 h 198"/>
                <a:gd name="T118" fmla="*/ 0 w 189"/>
                <a:gd name="T11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9" h="198">
                  <a:moveTo>
                    <a:pt x="0" y="0"/>
                  </a:moveTo>
                  <a:lnTo>
                    <a:pt x="2" y="0"/>
                  </a:lnTo>
                  <a:lnTo>
                    <a:pt x="2" y="0"/>
                  </a:lnTo>
                  <a:lnTo>
                    <a:pt x="7" y="0"/>
                  </a:lnTo>
                  <a:lnTo>
                    <a:pt x="9" y="0"/>
                  </a:lnTo>
                  <a:lnTo>
                    <a:pt x="11" y="0"/>
                  </a:lnTo>
                  <a:lnTo>
                    <a:pt x="14" y="4"/>
                  </a:lnTo>
                  <a:lnTo>
                    <a:pt x="18" y="4"/>
                  </a:lnTo>
                  <a:lnTo>
                    <a:pt x="18" y="7"/>
                  </a:lnTo>
                  <a:lnTo>
                    <a:pt x="23" y="7"/>
                  </a:lnTo>
                  <a:lnTo>
                    <a:pt x="28" y="4"/>
                  </a:lnTo>
                  <a:lnTo>
                    <a:pt x="33" y="4"/>
                  </a:lnTo>
                  <a:lnTo>
                    <a:pt x="35" y="7"/>
                  </a:lnTo>
                  <a:lnTo>
                    <a:pt x="40" y="7"/>
                  </a:lnTo>
                  <a:lnTo>
                    <a:pt x="42" y="7"/>
                  </a:lnTo>
                  <a:lnTo>
                    <a:pt x="47" y="12"/>
                  </a:lnTo>
                  <a:lnTo>
                    <a:pt x="47" y="14"/>
                  </a:lnTo>
                  <a:lnTo>
                    <a:pt x="47" y="16"/>
                  </a:lnTo>
                  <a:lnTo>
                    <a:pt x="49" y="16"/>
                  </a:lnTo>
                  <a:lnTo>
                    <a:pt x="52" y="19"/>
                  </a:lnTo>
                  <a:lnTo>
                    <a:pt x="54" y="23"/>
                  </a:lnTo>
                  <a:lnTo>
                    <a:pt x="54" y="26"/>
                  </a:lnTo>
                  <a:lnTo>
                    <a:pt x="59" y="28"/>
                  </a:lnTo>
                  <a:lnTo>
                    <a:pt x="61" y="33"/>
                  </a:lnTo>
                  <a:lnTo>
                    <a:pt x="73" y="37"/>
                  </a:lnTo>
                  <a:lnTo>
                    <a:pt x="75" y="40"/>
                  </a:lnTo>
                  <a:lnTo>
                    <a:pt x="80" y="42"/>
                  </a:lnTo>
                  <a:lnTo>
                    <a:pt x="82" y="47"/>
                  </a:lnTo>
                  <a:lnTo>
                    <a:pt x="85" y="49"/>
                  </a:lnTo>
                  <a:lnTo>
                    <a:pt x="87" y="49"/>
                  </a:lnTo>
                  <a:lnTo>
                    <a:pt x="89" y="54"/>
                  </a:lnTo>
                  <a:lnTo>
                    <a:pt x="94" y="59"/>
                  </a:lnTo>
                  <a:lnTo>
                    <a:pt x="96" y="61"/>
                  </a:lnTo>
                  <a:lnTo>
                    <a:pt x="99" y="61"/>
                  </a:lnTo>
                  <a:lnTo>
                    <a:pt x="99" y="59"/>
                  </a:lnTo>
                  <a:lnTo>
                    <a:pt x="99" y="59"/>
                  </a:lnTo>
                  <a:lnTo>
                    <a:pt x="101" y="59"/>
                  </a:lnTo>
                  <a:lnTo>
                    <a:pt x="104" y="59"/>
                  </a:lnTo>
                  <a:lnTo>
                    <a:pt x="108" y="66"/>
                  </a:lnTo>
                  <a:lnTo>
                    <a:pt x="111" y="68"/>
                  </a:lnTo>
                  <a:lnTo>
                    <a:pt x="111" y="68"/>
                  </a:lnTo>
                  <a:lnTo>
                    <a:pt x="113" y="68"/>
                  </a:lnTo>
                  <a:lnTo>
                    <a:pt x="118" y="71"/>
                  </a:lnTo>
                  <a:lnTo>
                    <a:pt x="120" y="73"/>
                  </a:lnTo>
                  <a:lnTo>
                    <a:pt x="122" y="75"/>
                  </a:lnTo>
                  <a:lnTo>
                    <a:pt x="122" y="78"/>
                  </a:lnTo>
                  <a:lnTo>
                    <a:pt x="122" y="73"/>
                  </a:lnTo>
                  <a:lnTo>
                    <a:pt x="125" y="75"/>
                  </a:lnTo>
                  <a:lnTo>
                    <a:pt x="125" y="78"/>
                  </a:lnTo>
                  <a:lnTo>
                    <a:pt x="127" y="78"/>
                  </a:lnTo>
                  <a:lnTo>
                    <a:pt x="134" y="78"/>
                  </a:lnTo>
                  <a:lnTo>
                    <a:pt x="137" y="80"/>
                  </a:lnTo>
                  <a:lnTo>
                    <a:pt x="137" y="80"/>
                  </a:lnTo>
                  <a:lnTo>
                    <a:pt x="137" y="82"/>
                  </a:lnTo>
                  <a:lnTo>
                    <a:pt x="137" y="82"/>
                  </a:lnTo>
                  <a:lnTo>
                    <a:pt x="134" y="82"/>
                  </a:lnTo>
                  <a:lnTo>
                    <a:pt x="134" y="85"/>
                  </a:lnTo>
                  <a:lnTo>
                    <a:pt x="137" y="87"/>
                  </a:lnTo>
                  <a:lnTo>
                    <a:pt x="137" y="89"/>
                  </a:lnTo>
                  <a:lnTo>
                    <a:pt x="132" y="92"/>
                  </a:lnTo>
                  <a:lnTo>
                    <a:pt x="132" y="92"/>
                  </a:lnTo>
                  <a:lnTo>
                    <a:pt x="132" y="92"/>
                  </a:lnTo>
                  <a:lnTo>
                    <a:pt x="137" y="92"/>
                  </a:lnTo>
                  <a:lnTo>
                    <a:pt x="139" y="89"/>
                  </a:lnTo>
                  <a:lnTo>
                    <a:pt x="144" y="87"/>
                  </a:lnTo>
                  <a:lnTo>
                    <a:pt x="144" y="89"/>
                  </a:lnTo>
                  <a:lnTo>
                    <a:pt x="146" y="92"/>
                  </a:lnTo>
                  <a:lnTo>
                    <a:pt x="148" y="94"/>
                  </a:lnTo>
                  <a:lnTo>
                    <a:pt x="148" y="97"/>
                  </a:lnTo>
                  <a:lnTo>
                    <a:pt x="144" y="99"/>
                  </a:lnTo>
                  <a:lnTo>
                    <a:pt x="146" y="101"/>
                  </a:lnTo>
                  <a:lnTo>
                    <a:pt x="148" y="101"/>
                  </a:lnTo>
                  <a:lnTo>
                    <a:pt x="146" y="104"/>
                  </a:lnTo>
                  <a:lnTo>
                    <a:pt x="144" y="106"/>
                  </a:lnTo>
                  <a:lnTo>
                    <a:pt x="144" y="108"/>
                  </a:lnTo>
                  <a:lnTo>
                    <a:pt x="144" y="111"/>
                  </a:lnTo>
                  <a:lnTo>
                    <a:pt x="148" y="113"/>
                  </a:lnTo>
                  <a:lnTo>
                    <a:pt x="151" y="115"/>
                  </a:lnTo>
                  <a:lnTo>
                    <a:pt x="153" y="113"/>
                  </a:lnTo>
                  <a:lnTo>
                    <a:pt x="155" y="115"/>
                  </a:lnTo>
                  <a:lnTo>
                    <a:pt x="155" y="115"/>
                  </a:lnTo>
                  <a:lnTo>
                    <a:pt x="160" y="115"/>
                  </a:lnTo>
                  <a:lnTo>
                    <a:pt x="160" y="118"/>
                  </a:lnTo>
                  <a:lnTo>
                    <a:pt x="163" y="123"/>
                  </a:lnTo>
                  <a:lnTo>
                    <a:pt x="163" y="125"/>
                  </a:lnTo>
                  <a:lnTo>
                    <a:pt x="163" y="127"/>
                  </a:lnTo>
                  <a:lnTo>
                    <a:pt x="163" y="130"/>
                  </a:lnTo>
                  <a:lnTo>
                    <a:pt x="165" y="130"/>
                  </a:lnTo>
                  <a:lnTo>
                    <a:pt x="167" y="132"/>
                  </a:lnTo>
                  <a:lnTo>
                    <a:pt x="170" y="132"/>
                  </a:lnTo>
                  <a:lnTo>
                    <a:pt x="167" y="137"/>
                  </a:lnTo>
                  <a:lnTo>
                    <a:pt x="170" y="137"/>
                  </a:lnTo>
                  <a:lnTo>
                    <a:pt x="172" y="137"/>
                  </a:lnTo>
                  <a:lnTo>
                    <a:pt x="174" y="137"/>
                  </a:lnTo>
                  <a:lnTo>
                    <a:pt x="179" y="139"/>
                  </a:lnTo>
                  <a:lnTo>
                    <a:pt x="181" y="139"/>
                  </a:lnTo>
                  <a:lnTo>
                    <a:pt x="181" y="141"/>
                  </a:lnTo>
                  <a:lnTo>
                    <a:pt x="184" y="144"/>
                  </a:lnTo>
                  <a:lnTo>
                    <a:pt x="186" y="146"/>
                  </a:lnTo>
                  <a:lnTo>
                    <a:pt x="189" y="148"/>
                  </a:lnTo>
                  <a:lnTo>
                    <a:pt x="189" y="151"/>
                  </a:lnTo>
                  <a:lnTo>
                    <a:pt x="189" y="153"/>
                  </a:lnTo>
                  <a:lnTo>
                    <a:pt x="186" y="158"/>
                  </a:lnTo>
                  <a:lnTo>
                    <a:pt x="186" y="163"/>
                  </a:lnTo>
                  <a:lnTo>
                    <a:pt x="186" y="163"/>
                  </a:lnTo>
                  <a:lnTo>
                    <a:pt x="186" y="165"/>
                  </a:lnTo>
                  <a:lnTo>
                    <a:pt x="186" y="167"/>
                  </a:lnTo>
                  <a:lnTo>
                    <a:pt x="186" y="174"/>
                  </a:lnTo>
                  <a:lnTo>
                    <a:pt x="186" y="177"/>
                  </a:lnTo>
                  <a:lnTo>
                    <a:pt x="186" y="189"/>
                  </a:lnTo>
                  <a:lnTo>
                    <a:pt x="184" y="193"/>
                  </a:lnTo>
                  <a:lnTo>
                    <a:pt x="184" y="198"/>
                  </a:lnTo>
                  <a:lnTo>
                    <a:pt x="181" y="198"/>
                  </a:lnTo>
                  <a:lnTo>
                    <a:pt x="179" y="193"/>
                  </a:lnTo>
                  <a:lnTo>
                    <a:pt x="177" y="193"/>
                  </a:lnTo>
                  <a:lnTo>
                    <a:pt x="174" y="193"/>
                  </a:lnTo>
                  <a:lnTo>
                    <a:pt x="174" y="196"/>
                  </a:lnTo>
                  <a:lnTo>
                    <a:pt x="172" y="196"/>
                  </a:lnTo>
                  <a:lnTo>
                    <a:pt x="167" y="193"/>
                  </a:lnTo>
                  <a:lnTo>
                    <a:pt x="165" y="193"/>
                  </a:lnTo>
                  <a:lnTo>
                    <a:pt x="167" y="198"/>
                  </a:lnTo>
                  <a:lnTo>
                    <a:pt x="165" y="198"/>
                  </a:lnTo>
                  <a:lnTo>
                    <a:pt x="163" y="196"/>
                  </a:lnTo>
                  <a:lnTo>
                    <a:pt x="160" y="193"/>
                  </a:lnTo>
                  <a:lnTo>
                    <a:pt x="153" y="189"/>
                  </a:lnTo>
                  <a:lnTo>
                    <a:pt x="151" y="186"/>
                  </a:lnTo>
                  <a:lnTo>
                    <a:pt x="148" y="184"/>
                  </a:lnTo>
                  <a:lnTo>
                    <a:pt x="146" y="182"/>
                  </a:lnTo>
                  <a:lnTo>
                    <a:pt x="144" y="182"/>
                  </a:lnTo>
                  <a:lnTo>
                    <a:pt x="139" y="174"/>
                  </a:lnTo>
                  <a:lnTo>
                    <a:pt x="134" y="172"/>
                  </a:lnTo>
                  <a:lnTo>
                    <a:pt x="129" y="170"/>
                  </a:lnTo>
                  <a:lnTo>
                    <a:pt x="127" y="167"/>
                  </a:lnTo>
                  <a:lnTo>
                    <a:pt x="125" y="165"/>
                  </a:lnTo>
                  <a:lnTo>
                    <a:pt x="122" y="160"/>
                  </a:lnTo>
                  <a:lnTo>
                    <a:pt x="122" y="158"/>
                  </a:lnTo>
                  <a:lnTo>
                    <a:pt x="118" y="156"/>
                  </a:lnTo>
                  <a:lnTo>
                    <a:pt x="115" y="153"/>
                  </a:lnTo>
                  <a:lnTo>
                    <a:pt x="108" y="144"/>
                  </a:lnTo>
                  <a:lnTo>
                    <a:pt x="101" y="137"/>
                  </a:lnTo>
                  <a:lnTo>
                    <a:pt x="99" y="134"/>
                  </a:lnTo>
                  <a:lnTo>
                    <a:pt x="99" y="130"/>
                  </a:lnTo>
                  <a:lnTo>
                    <a:pt x="92" y="115"/>
                  </a:lnTo>
                  <a:lnTo>
                    <a:pt x="92" y="113"/>
                  </a:lnTo>
                  <a:lnTo>
                    <a:pt x="87" y="108"/>
                  </a:lnTo>
                  <a:lnTo>
                    <a:pt x="87" y="106"/>
                  </a:lnTo>
                  <a:lnTo>
                    <a:pt x="85" y="104"/>
                  </a:lnTo>
                  <a:lnTo>
                    <a:pt x="82" y="101"/>
                  </a:lnTo>
                  <a:lnTo>
                    <a:pt x="80" y="97"/>
                  </a:lnTo>
                  <a:lnTo>
                    <a:pt x="73" y="92"/>
                  </a:lnTo>
                  <a:lnTo>
                    <a:pt x="70" y="92"/>
                  </a:lnTo>
                  <a:lnTo>
                    <a:pt x="70" y="92"/>
                  </a:lnTo>
                  <a:lnTo>
                    <a:pt x="70" y="92"/>
                  </a:lnTo>
                  <a:lnTo>
                    <a:pt x="68" y="85"/>
                  </a:lnTo>
                  <a:lnTo>
                    <a:pt x="66" y="78"/>
                  </a:lnTo>
                  <a:lnTo>
                    <a:pt x="66" y="75"/>
                  </a:lnTo>
                  <a:lnTo>
                    <a:pt x="63" y="71"/>
                  </a:lnTo>
                  <a:lnTo>
                    <a:pt x="63" y="68"/>
                  </a:lnTo>
                  <a:lnTo>
                    <a:pt x="61" y="63"/>
                  </a:lnTo>
                  <a:lnTo>
                    <a:pt x="56" y="61"/>
                  </a:lnTo>
                  <a:lnTo>
                    <a:pt x="52" y="59"/>
                  </a:lnTo>
                  <a:lnTo>
                    <a:pt x="49" y="56"/>
                  </a:lnTo>
                  <a:lnTo>
                    <a:pt x="44" y="56"/>
                  </a:lnTo>
                  <a:lnTo>
                    <a:pt x="42" y="47"/>
                  </a:lnTo>
                  <a:lnTo>
                    <a:pt x="40" y="47"/>
                  </a:lnTo>
                  <a:lnTo>
                    <a:pt x="37" y="45"/>
                  </a:lnTo>
                  <a:lnTo>
                    <a:pt x="37" y="42"/>
                  </a:lnTo>
                  <a:lnTo>
                    <a:pt x="33" y="37"/>
                  </a:lnTo>
                  <a:lnTo>
                    <a:pt x="30" y="33"/>
                  </a:lnTo>
                  <a:lnTo>
                    <a:pt x="28" y="33"/>
                  </a:lnTo>
                  <a:lnTo>
                    <a:pt x="23" y="33"/>
                  </a:lnTo>
                  <a:lnTo>
                    <a:pt x="21" y="28"/>
                  </a:lnTo>
                  <a:lnTo>
                    <a:pt x="18" y="26"/>
                  </a:lnTo>
                  <a:lnTo>
                    <a:pt x="16" y="23"/>
                  </a:lnTo>
                  <a:lnTo>
                    <a:pt x="14" y="21"/>
                  </a:lnTo>
                  <a:lnTo>
                    <a:pt x="7" y="14"/>
                  </a:lnTo>
                  <a:lnTo>
                    <a:pt x="4" y="12"/>
                  </a:lnTo>
                  <a:lnTo>
                    <a:pt x="2" y="7"/>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8" name="Freeform 1140">
              <a:extLst>
                <a:ext uri="{FF2B5EF4-FFF2-40B4-BE49-F238E27FC236}">
                  <a16:creationId xmlns:a16="http://schemas.microsoft.com/office/drawing/2014/main" id="{FDA9C2B4-8E2C-4AF8-AC74-C43319E81D2A}"/>
                </a:ext>
              </a:extLst>
            </p:cNvPr>
            <p:cNvSpPr>
              <a:spLocks/>
            </p:cNvSpPr>
            <p:nvPr/>
          </p:nvSpPr>
          <p:spPr bwMode="auto">
            <a:xfrm>
              <a:off x="3929900" y="4451317"/>
              <a:ext cx="19050" cy="14288"/>
            </a:xfrm>
            <a:custGeom>
              <a:avLst/>
              <a:gdLst>
                <a:gd name="T0" fmla="*/ 0 w 12"/>
                <a:gd name="T1" fmla="*/ 2 h 9"/>
                <a:gd name="T2" fmla="*/ 0 w 12"/>
                <a:gd name="T3" fmla="*/ 0 h 9"/>
                <a:gd name="T4" fmla="*/ 2 w 12"/>
                <a:gd name="T5" fmla="*/ 0 h 9"/>
                <a:gd name="T6" fmla="*/ 12 w 12"/>
                <a:gd name="T7" fmla="*/ 7 h 9"/>
                <a:gd name="T8" fmla="*/ 12 w 12"/>
                <a:gd name="T9" fmla="*/ 9 h 9"/>
                <a:gd name="T10" fmla="*/ 12 w 12"/>
                <a:gd name="T11" fmla="*/ 9 h 9"/>
                <a:gd name="T12" fmla="*/ 9 w 12"/>
                <a:gd name="T13" fmla="*/ 7 h 9"/>
                <a:gd name="T14" fmla="*/ 7 w 12"/>
                <a:gd name="T15" fmla="*/ 7 h 9"/>
                <a:gd name="T16" fmla="*/ 2 w 12"/>
                <a:gd name="T17" fmla="*/ 2 h 9"/>
                <a:gd name="T18" fmla="*/ 0 w 12"/>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0" y="2"/>
                  </a:moveTo>
                  <a:lnTo>
                    <a:pt x="0" y="0"/>
                  </a:lnTo>
                  <a:lnTo>
                    <a:pt x="2" y="0"/>
                  </a:lnTo>
                  <a:lnTo>
                    <a:pt x="12" y="7"/>
                  </a:lnTo>
                  <a:lnTo>
                    <a:pt x="12" y="9"/>
                  </a:lnTo>
                  <a:lnTo>
                    <a:pt x="12" y="9"/>
                  </a:lnTo>
                  <a:lnTo>
                    <a:pt x="9" y="7"/>
                  </a:lnTo>
                  <a:lnTo>
                    <a:pt x="7" y="7"/>
                  </a:lnTo>
                  <a:lnTo>
                    <a:pt x="2"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29" name="Freeform 1141">
              <a:extLst>
                <a:ext uri="{FF2B5EF4-FFF2-40B4-BE49-F238E27FC236}">
                  <a16:creationId xmlns:a16="http://schemas.microsoft.com/office/drawing/2014/main" id="{55C4C6AA-E177-4256-A1E7-13EB60742103}"/>
                </a:ext>
              </a:extLst>
            </p:cNvPr>
            <p:cNvSpPr>
              <a:spLocks/>
            </p:cNvSpPr>
            <p:nvPr/>
          </p:nvSpPr>
          <p:spPr bwMode="auto">
            <a:xfrm>
              <a:off x="3929900" y="4451317"/>
              <a:ext cx="19050" cy="14288"/>
            </a:xfrm>
            <a:custGeom>
              <a:avLst/>
              <a:gdLst>
                <a:gd name="T0" fmla="*/ 0 w 12"/>
                <a:gd name="T1" fmla="*/ 2 h 9"/>
                <a:gd name="T2" fmla="*/ 0 w 12"/>
                <a:gd name="T3" fmla="*/ 0 h 9"/>
                <a:gd name="T4" fmla="*/ 2 w 12"/>
                <a:gd name="T5" fmla="*/ 0 h 9"/>
                <a:gd name="T6" fmla="*/ 12 w 12"/>
                <a:gd name="T7" fmla="*/ 7 h 9"/>
                <a:gd name="T8" fmla="*/ 12 w 12"/>
                <a:gd name="T9" fmla="*/ 9 h 9"/>
                <a:gd name="T10" fmla="*/ 12 w 12"/>
                <a:gd name="T11" fmla="*/ 9 h 9"/>
                <a:gd name="T12" fmla="*/ 9 w 12"/>
                <a:gd name="T13" fmla="*/ 7 h 9"/>
                <a:gd name="T14" fmla="*/ 7 w 12"/>
                <a:gd name="T15" fmla="*/ 7 h 9"/>
                <a:gd name="T16" fmla="*/ 2 w 12"/>
                <a:gd name="T17" fmla="*/ 2 h 9"/>
                <a:gd name="T18" fmla="*/ 0 w 12"/>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0" y="2"/>
                  </a:moveTo>
                  <a:lnTo>
                    <a:pt x="0" y="0"/>
                  </a:lnTo>
                  <a:lnTo>
                    <a:pt x="2" y="0"/>
                  </a:lnTo>
                  <a:lnTo>
                    <a:pt x="12" y="7"/>
                  </a:lnTo>
                  <a:lnTo>
                    <a:pt x="12" y="9"/>
                  </a:lnTo>
                  <a:lnTo>
                    <a:pt x="12" y="9"/>
                  </a:lnTo>
                  <a:lnTo>
                    <a:pt x="9" y="7"/>
                  </a:lnTo>
                  <a:lnTo>
                    <a:pt x="7" y="7"/>
                  </a:lnTo>
                  <a:lnTo>
                    <a:pt x="2"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0" name="Freeform 1252">
              <a:extLst>
                <a:ext uri="{FF2B5EF4-FFF2-40B4-BE49-F238E27FC236}">
                  <a16:creationId xmlns:a16="http://schemas.microsoft.com/office/drawing/2014/main" id="{E52AF853-55E8-44AC-B09A-F54D9D576F3B}"/>
                </a:ext>
              </a:extLst>
            </p:cNvPr>
            <p:cNvSpPr>
              <a:spLocks/>
            </p:cNvSpPr>
            <p:nvPr/>
          </p:nvSpPr>
          <p:spPr bwMode="auto">
            <a:xfrm>
              <a:off x="3483813" y="4259228"/>
              <a:ext cx="60325" cy="106362"/>
            </a:xfrm>
            <a:custGeom>
              <a:avLst/>
              <a:gdLst>
                <a:gd name="T0" fmla="*/ 5 w 38"/>
                <a:gd name="T1" fmla="*/ 0 h 67"/>
                <a:gd name="T2" fmla="*/ 5 w 38"/>
                <a:gd name="T3" fmla="*/ 0 h 67"/>
                <a:gd name="T4" fmla="*/ 5 w 38"/>
                <a:gd name="T5" fmla="*/ 3 h 67"/>
                <a:gd name="T6" fmla="*/ 9 w 38"/>
                <a:gd name="T7" fmla="*/ 5 h 67"/>
                <a:gd name="T8" fmla="*/ 9 w 38"/>
                <a:gd name="T9" fmla="*/ 5 h 67"/>
                <a:gd name="T10" fmla="*/ 9 w 38"/>
                <a:gd name="T11" fmla="*/ 5 h 67"/>
                <a:gd name="T12" fmla="*/ 7 w 38"/>
                <a:gd name="T13" fmla="*/ 8 h 67"/>
                <a:gd name="T14" fmla="*/ 5 w 38"/>
                <a:gd name="T15" fmla="*/ 12 h 67"/>
                <a:gd name="T16" fmla="*/ 5 w 38"/>
                <a:gd name="T17" fmla="*/ 15 h 67"/>
                <a:gd name="T18" fmla="*/ 2 w 38"/>
                <a:gd name="T19" fmla="*/ 31 h 67"/>
                <a:gd name="T20" fmla="*/ 0 w 38"/>
                <a:gd name="T21" fmla="*/ 29 h 67"/>
                <a:gd name="T22" fmla="*/ 0 w 38"/>
                <a:gd name="T23" fmla="*/ 31 h 67"/>
                <a:gd name="T24" fmla="*/ 0 w 38"/>
                <a:gd name="T25" fmla="*/ 36 h 67"/>
                <a:gd name="T26" fmla="*/ 2 w 38"/>
                <a:gd name="T27" fmla="*/ 52 h 67"/>
                <a:gd name="T28" fmla="*/ 2 w 38"/>
                <a:gd name="T29" fmla="*/ 57 h 67"/>
                <a:gd name="T30" fmla="*/ 5 w 38"/>
                <a:gd name="T31" fmla="*/ 64 h 67"/>
                <a:gd name="T32" fmla="*/ 9 w 38"/>
                <a:gd name="T33" fmla="*/ 67 h 67"/>
                <a:gd name="T34" fmla="*/ 14 w 38"/>
                <a:gd name="T35" fmla="*/ 67 h 67"/>
                <a:gd name="T36" fmla="*/ 19 w 38"/>
                <a:gd name="T37" fmla="*/ 67 h 67"/>
                <a:gd name="T38" fmla="*/ 26 w 38"/>
                <a:gd name="T39" fmla="*/ 62 h 67"/>
                <a:gd name="T40" fmla="*/ 31 w 38"/>
                <a:gd name="T41" fmla="*/ 60 h 67"/>
                <a:gd name="T42" fmla="*/ 35 w 38"/>
                <a:gd name="T43" fmla="*/ 55 h 67"/>
                <a:gd name="T44" fmla="*/ 35 w 38"/>
                <a:gd name="T45" fmla="*/ 48 h 67"/>
                <a:gd name="T46" fmla="*/ 38 w 38"/>
                <a:gd name="T47" fmla="*/ 41 h 67"/>
                <a:gd name="T48" fmla="*/ 35 w 38"/>
                <a:gd name="T49" fmla="*/ 38 h 67"/>
                <a:gd name="T50" fmla="*/ 33 w 38"/>
                <a:gd name="T51" fmla="*/ 36 h 67"/>
                <a:gd name="T52" fmla="*/ 31 w 38"/>
                <a:gd name="T53" fmla="*/ 29 h 67"/>
                <a:gd name="T54" fmla="*/ 28 w 38"/>
                <a:gd name="T55" fmla="*/ 24 h 67"/>
                <a:gd name="T56" fmla="*/ 26 w 38"/>
                <a:gd name="T57" fmla="*/ 22 h 67"/>
                <a:gd name="T58" fmla="*/ 26 w 38"/>
                <a:gd name="T59" fmla="*/ 19 h 67"/>
                <a:gd name="T60" fmla="*/ 24 w 38"/>
                <a:gd name="T61" fmla="*/ 17 h 67"/>
                <a:gd name="T62" fmla="*/ 21 w 38"/>
                <a:gd name="T63" fmla="*/ 15 h 67"/>
                <a:gd name="T64" fmla="*/ 19 w 38"/>
                <a:gd name="T65" fmla="*/ 10 h 67"/>
                <a:gd name="T66" fmla="*/ 14 w 38"/>
                <a:gd name="T67" fmla="*/ 5 h 67"/>
                <a:gd name="T68" fmla="*/ 12 w 38"/>
                <a:gd name="T69" fmla="*/ 0 h 67"/>
                <a:gd name="T70" fmla="*/ 7 w 38"/>
                <a:gd name="T71" fmla="*/ 0 h 67"/>
                <a:gd name="T72" fmla="*/ 5 w 38"/>
                <a:gd name="T7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67">
                  <a:moveTo>
                    <a:pt x="5" y="0"/>
                  </a:moveTo>
                  <a:lnTo>
                    <a:pt x="5" y="0"/>
                  </a:lnTo>
                  <a:lnTo>
                    <a:pt x="5" y="3"/>
                  </a:lnTo>
                  <a:lnTo>
                    <a:pt x="9" y="5"/>
                  </a:lnTo>
                  <a:lnTo>
                    <a:pt x="9" y="5"/>
                  </a:lnTo>
                  <a:lnTo>
                    <a:pt x="9" y="5"/>
                  </a:lnTo>
                  <a:lnTo>
                    <a:pt x="7" y="8"/>
                  </a:lnTo>
                  <a:lnTo>
                    <a:pt x="5" y="12"/>
                  </a:lnTo>
                  <a:lnTo>
                    <a:pt x="5" y="15"/>
                  </a:lnTo>
                  <a:lnTo>
                    <a:pt x="2" y="31"/>
                  </a:lnTo>
                  <a:lnTo>
                    <a:pt x="0" y="29"/>
                  </a:lnTo>
                  <a:lnTo>
                    <a:pt x="0" y="31"/>
                  </a:lnTo>
                  <a:lnTo>
                    <a:pt x="0" y="36"/>
                  </a:lnTo>
                  <a:lnTo>
                    <a:pt x="2" y="52"/>
                  </a:lnTo>
                  <a:lnTo>
                    <a:pt x="2" y="57"/>
                  </a:lnTo>
                  <a:lnTo>
                    <a:pt x="5" y="64"/>
                  </a:lnTo>
                  <a:lnTo>
                    <a:pt x="9" y="67"/>
                  </a:lnTo>
                  <a:lnTo>
                    <a:pt x="14" y="67"/>
                  </a:lnTo>
                  <a:lnTo>
                    <a:pt x="19" y="67"/>
                  </a:lnTo>
                  <a:lnTo>
                    <a:pt x="26" y="62"/>
                  </a:lnTo>
                  <a:lnTo>
                    <a:pt x="31" y="60"/>
                  </a:lnTo>
                  <a:lnTo>
                    <a:pt x="35" y="55"/>
                  </a:lnTo>
                  <a:lnTo>
                    <a:pt x="35" y="48"/>
                  </a:lnTo>
                  <a:lnTo>
                    <a:pt x="38" y="41"/>
                  </a:lnTo>
                  <a:lnTo>
                    <a:pt x="35" y="38"/>
                  </a:lnTo>
                  <a:lnTo>
                    <a:pt x="33" y="36"/>
                  </a:lnTo>
                  <a:lnTo>
                    <a:pt x="31" y="29"/>
                  </a:lnTo>
                  <a:lnTo>
                    <a:pt x="28" y="24"/>
                  </a:lnTo>
                  <a:lnTo>
                    <a:pt x="26" y="22"/>
                  </a:lnTo>
                  <a:lnTo>
                    <a:pt x="26" y="19"/>
                  </a:lnTo>
                  <a:lnTo>
                    <a:pt x="24" y="17"/>
                  </a:lnTo>
                  <a:lnTo>
                    <a:pt x="21" y="15"/>
                  </a:lnTo>
                  <a:lnTo>
                    <a:pt x="19" y="10"/>
                  </a:lnTo>
                  <a:lnTo>
                    <a:pt x="14" y="5"/>
                  </a:lnTo>
                  <a:lnTo>
                    <a:pt x="12" y="0"/>
                  </a:lnTo>
                  <a:lnTo>
                    <a:pt x="7"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1" name="Freeform 1253">
              <a:extLst>
                <a:ext uri="{FF2B5EF4-FFF2-40B4-BE49-F238E27FC236}">
                  <a16:creationId xmlns:a16="http://schemas.microsoft.com/office/drawing/2014/main" id="{33A6C703-CA5F-47D7-B991-6316EC701D31}"/>
                </a:ext>
              </a:extLst>
            </p:cNvPr>
            <p:cNvSpPr>
              <a:spLocks/>
            </p:cNvSpPr>
            <p:nvPr/>
          </p:nvSpPr>
          <p:spPr bwMode="auto">
            <a:xfrm>
              <a:off x="1650253" y="3063839"/>
              <a:ext cx="85725" cy="63500"/>
            </a:xfrm>
            <a:custGeom>
              <a:avLst/>
              <a:gdLst>
                <a:gd name="T0" fmla="*/ 42 w 54"/>
                <a:gd name="T1" fmla="*/ 2 h 40"/>
                <a:gd name="T2" fmla="*/ 35 w 54"/>
                <a:gd name="T3" fmla="*/ 5 h 40"/>
                <a:gd name="T4" fmla="*/ 33 w 54"/>
                <a:gd name="T5" fmla="*/ 7 h 40"/>
                <a:gd name="T6" fmla="*/ 23 w 54"/>
                <a:gd name="T7" fmla="*/ 7 h 40"/>
                <a:gd name="T8" fmla="*/ 16 w 54"/>
                <a:gd name="T9" fmla="*/ 12 h 40"/>
                <a:gd name="T10" fmla="*/ 2 w 54"/>
                <a:gd name="T11" fmla="*/ 9 h 40"/>
                <a:gd name="T12" fmla="*/ 0 w 54"/>
                <a:gd name="T13" fmla="*/ 17 h 40"/>
                <a:gd name="T14" fmla="*/ 0 w 54"/>
                <a:gd name="T15" fmla="*/ 19 h 40"/>
                <a:gd name="T16" fmla="*/ 0 w 54"/>
                <a:gd name="T17" fmla="*/ 19 h 40"/>
                <a:gd name="T18" fmla="*/ 2 w 54"/>
                <a:gd name="T19" fmla="*/ 24 h 40"/>
                <a:gd name="T20" fmla="*/ 2 w 54"/>
                <a:gd name="T21" fmla="*/ 28 h 40"/>
                <a:gd name="T22" fmla="*/ 4 w 54"/>
                <a:gd name="T23" fmla="*/ 31 h 40"/>
                <a:gd name="T24" fmla="*/ 7 w 54"/>
                <a:gd name="T25" fmla="*/ 33 h 40"/>
                <a:gd name="T26" fmla="*/ 7 w 54"/>
                <a:gd name="T27" fmla="*/ 35 h 40"/>
                <a:gd name="T28" fmla="*/ 2 w 54"/>
                <a:gd name="T29" fmla="*/ 35 h 40"/>
                <a:gd name="T30" fmla="*/ 2 w 54"/>
                <a:gd name="T31" fmla="*/ 38 h 40"/>
                <a:gd name="T32" fmla="*/ 9 w 54"/>
                <a:gd name="T33" fmla="*/ 35 h 40"/>
                <a:gd name="T34" fmla="*/ 16 w 54"/>
                <a:gd name="T35" fmla="*/ 38 h 40"/>
                <a:gd name="T36" fmla="*/ 19 w 54"/>
                <a:gd name="T37" fmla="*/ 33 h 40"/>
                <a:gd name="T38" fmla="*/ 23 w 54"/>
                <a:gd name="T39" fmla="*/ 38 h 40"/>
                <a:gd name="T40" fmla="*/ 26 w 54"/>
                <a:gd name="T41" fmla="*/ 38 h 40"/>
                <a:gd name="T42" fmla="*/ 26 w 54"/>
                <a:gd name="T43" fmla="*/ 38 h 40"/>
                <a:gd name="T44" fmla="*/ 28 w 54"/>
                <a:gd name="T45" fmla="*/ 40 h 40"/>
                <a:gd name="T46" fmla="*/ 30 w 54"/>
                <a:gd name="T47" fmla="*/ 35 h 40"/>
                <a:gd name="T48" fmla="*/ 30 w 54"/>
                <a:gd name="T49" fmla="*/ 31 h 40"/>
                <a:gd name="T50" fmla="*/ 38 w 54"/>
                <a:gd name="T51" fmla="*/ 28 h 40"/>
                <a:gd name="T52" fmla="*/ 38 w 54"/>
                <a:gd name="T53" fmla="*/ 21 h 40"/>
                <a:gd name="T54" fmla="*/ 35 w 54"/>
                <a:gd name="T55" fmla="*/ 19 h 40"/>
                <a:gd name="T56" fmla="*/ 42 w 54"/>
                <a:gd name="T57" fmla="*/ 14 h 40"/>
                <a:gd name="T58" fmla="*/ 45 w 54"/>
                <a:gd name="T59" fmla="*/ 12 h 40"/>
                <a:gd name="T60" fmla="*/ 47 w 54"/>
                <a:gd name="T61" fmla="*/ 14 h 40"/>
                <a:gd name="T62" fmla="*/ 47 w 54"/>
                <a:gd name="T63" fmla="*/ 12 h 40"/>
                <a:gd name="T64" fmla="*/ 49 w 54"/>
                <a:gd name="T65" fmla="*/ 7 h 40"/>
                <a:gd name="T66" fmla="*/ 52 w 54"/>
                <a:gd name="T67" fmla="*/ 9 h 40"/>
                <a:gd name="T68" fmla="*/ 54 w 54"/>
                <a:gd name="T69" fmla="*/ 9 h 40"/>
                <a:gd name="T70" fmla="*/ 49 w 54"/>
                <a:gd name="T71" fmla="*/ 2 h 40"/>
                <a:gd name="T72" fmla="*/ 45 w 54"/>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40">
                  <a:moveTo>
                    <a:pt x="45" y="0"/>
                  </a:moveTo>
                  <a:lnTo>
                    <a:pt x="42" y="2"/>
                  </a:lnTo>
                  <a:lnTo>
                    <a:pt x="42" y="5"/>
                  </a:lnTo>
                  <a:lnTo>
                    <a:pt x="35" y="5"/>
                  </a:lnTo>
                  <a:lnTo>
                    <a:pt x="35" y="5"/>
                  </a:lnTo>
                  <a:lnTo>
                    <a:pt x="33" y="7"/>
                  </a:lnTo>
                  <a:lnTo>
                    <a:pt x="28" y="5"/>
                  </a:lnTo>
                  <a:lnTo>
                    <a:pt x="23" y="7"/>
                  </a:lnTo>
                  <a:lnTo>
                    <a:pt x="21" y="9"/>
                  </a:lnTo>
                  <a:lnTo>
                    <a:pt x="16" y="12"/>
                  </a:lnTo>
                  <a:lnTo>
                    <a:pt x="9" y="9"/>
                  </a:lnTo>
                  <a:lnTo>
                    <a:pt x="2" y="9"/>
                  </a:lnTo>
                  <a:lnTo>
                    <a:pt x="0" y="14"/>
                  </a:lnTo>
                  <a:lnTo>
                    <a:pt x="0" y="17"/>
                  </a:lnTo>
                  <a:lnTo>
                    <a:pt x="0" y="17"/>
                  </a:lnTo>
                  <a:lnTo>
                    <a:pt x="0" y="19"/>
                  </a:lnTo>
                  <a:lnTo>
                    <a:pt x="2" y="17"/>
                  </a:lnTo>
                  <a:lnTo>
                    <a:pt x="0" y="19"/>
                  </a:lnTo>
                  <a:lnTo>
                    <a:pt x="0" y="21"/>
                  </a:lnTo>
                  <a:lnTo>
                    <a:pt x="2" y="24"/>
                  </a:lnTo>
                  <a:lnTo>
                    <a:pt x="2" y="26"/>
                  </a:lnTo>
                  <a:lnTo>
                    <a:pt x="2" y="28"/>
                  </a:lnTo>
                  <a:lnTo>
                    <a:pt x="4" y="28"/>
                  </a:lnTo>
                  <a:lnTo>
                    <a:pt x="4" y="31"/>
                  </a:lnTo>
                  <a:lnTo>
                    <a:pt x="7" y="31"/>
                  </a:lnTo>
                  <a:lnTo>
                    <a:pt x="7" y="33"/>
                  </a:lnTo>
                  <a:lnTo>
                    <a:pt x="7" y="33"/>
                  </a:lnTo>
                  <a:lnTo>
                    <a:pt x="7" y="35"/>
                  </a:lnTo>
                  <a:lnTo>
                    <a:pt x="4" y="35"/>
                  </a:lnTo>
                  <a:lnTo>
                    <a:pt x="2" y="35"/>
                  </a:lnTo>
                  <a:lnTo>
                    <a:pt x="0" y="35"/>
                  </a:lnTo>
                  <a:lnTo>
                    <a:pt x="2" y="38"/>
                  </a:lnTo>
                  <a:lnTo>
                    <a:pt x="7" y="38"/>
                  </a:lnTo>
                  <a:lnTo>
                    <a:pt x="9" y="35"/>
                  </a:lnTo>
                  <a:lnTo>
                    <a:pt x="9" y="38"/>
                  </a:lnTo>
                  <a:lnTo>
                    <a:pt x="16" y="38"/>
                  </a:lnTo>
                  <a:lnTo>
                    <a:pt x="19" y="33"/>
                  </a:lnTo>
                  <a:lnTo>
                    <a:pt x="19" y="33"/>
                  </a:lnTo>
                  <a:lnTo>
                    <a:pt x="23" y="38"/>
                  </a:lnTo>
                  <a:lnTo>
                    <a:pt x="23" y="38"/>
                  </a:lnTo>
                  <a:lnTo>
                    <a:pt x="23" y="38"/>
                  </a:lnTo>
                  <a:lnTo>
                    <a:pt x="26" y="38"/>
                  </a:lnTo>
                  <a:lnTo>
                    <a:pt x="26" y="38"/>
                  </a:lnTo>
                  <a:lnTo>
                    <a:pt x="26" y="38"/>
                  </a:lnTo>
                  <a:lnTo>
                    <a:pt x="28" y="40"/>
                  </a:lnTo>
                  <a:lnTo>
                    <a:pt x="28" y="40"/>
                  </a:lnTo>
                  <a:lnTo>
                    <a:pt x="30" y="38"/>
                  </a:lnTo>
                  <a:lnTo>
                    <a:pt x="30" y="35"/>
                  </a:lnTo>
                  <a:lnTo>
                    <a:pt x="33" y="33"/>
                  </a:lnTo>
                  <a:lnTo>
                    <a:pt x="30" y="31"/>
                  </a:lnTo>
                  <a:lnTo>
                    <a:pt x="35" y="28"/>
                  </a:lnTo>
                  <a:lnTo>
                    <a:pt x="38" y="28"/>
                  </a:lnTo>
                  <a:lnTo>
                    <a:pt x="38" y="26"/>
                  </a:lnTo>
                  <a:lnTo>
                    <a:pt x="38" y="21"/>
                  </a:lnTo>
                  <a:lnTo>
                    <a:pt x="35" y="21"/>
                  </a:lnTo>
                  <a:lnTo>
                    <a:pt x="35" y="19"/>
                  </a:lnTo>
                  <a:lnTo>
                    <a:pt x="38" y="17"/>
                  </a:lnTo>
                  <a:lnTo>
                    <a:pt x="42" y="14"/>
                  </a:lnTo>
                  <a:lnTo>
                    <a:pt x="45" y="14"/>
                  </a:lnTo>
                  <a:lnTo>
                    <a:pt x="45" y="12"/>
                  </a:lnTo>
                  <a:lnTo>
                    <a:pt x="47" y="12"/>
                  </a:lnTo>
                  <a:lnTo>
                    <a:pt x="47" y="14"/>
                  </a:lnTo>
                  <a:lnTo>
                    <a:pt x="47" y="12"/>
                  </a:lnTo>
                  <a:lnTo>
                    <a:pt x="47" y="12"/>
                  </a:lnTo>
                  <a:lnTo>
                    <a:pt x="47" y="9"/>
                  </a:lnTo>
                  <a:lnTo>
                    <a:pt x="49" y="7"/>
                  </a:lnTo>
                  <a:lnTo>
                    <a:pt x="49" y="9"/>
                  </a:lnTo>
                  <a:lnTo>
                    <a:pt x="52" y="9"/>
                  </a:lnTo>
                  <a:lnTo>
                    <a:pt x="54" y="9"/>
                  </a:lnTo>
                  <a:lnTo>
                    <a:pt x="54" y="9"/>
                  </a:lnTo>
                  <a:lnTo>
                    <a:pt x="52" y="7"/>
                  </a:lnTo>
                  <a:lnTo>
                    <a:pt x="49" y="2"/>
                  </a:lnTo>
                  <a:lnTo>
                    <a:pt x="47" y="0"/>
                  </a:lnTo>
                  <a:lnTo>
                    <a:pt x="4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2" name="Freeform 1254">
              <a:extLst>
                <a:ext uri="{FF2B5EF4-FFF2-40B4-BE49-F238E27FC236}">
                  <a16:creationId xmlns:a16="http://schemas.microsoft.com/office/drawing/2014/main" id="{86CF0829-7F9E-4F8D-841A-A23A146F222E}"/>
                </a:ext>
              </a:extLst>
            </p:cNvPr>
            <p:cNvSpPr>
              <a:spLocks/>
            </p:cNvSpPr>
            <p:nvPr/>
          </p:nvSpPr>
          <p:spPr bwMode="auto">
            <a:xfrm>
              <a:off x="1650253" y="3063839"/>
              <a:ext cx="85725" cy="63500"/>
            </a:xfrm>
            <a:custGeom>
              <a:avLst/>
              <a:gdLst>
                <a:gd name="T0" fmla="*/ 42 w 54"/>
                <a:gd name="T1" fmla="*/ 2 h 40"/>
                <a:gd name="T2" fmla="*/ 35 w 54"/>
                <a:gd name="T3" fmla="*/ 5 h 40"/>
                <a:gd name="T4" fmla="*/ 33 w 54"/>
                <a:gd name="T5" fmla="*/ 7 h 40"/>
                <a:gd name="T6" fmla="*/ 23 w 54"/>
                <a:gd name="T7" fmla="*/ 7 h 40"/>
                <a:gd name="T8" fmla="*/ 16 w 54"/>
                <a:gd name="T9" fmla="*/ 12 h 40"/>
                <a:gd name="T10" fmla="*/ 2 w 54"/>
                <a:gd name="T11" fmla="*/ 9 h 40"/>
                <a:gd name="T12" fmla="*/ 0 w 54"/>
                <a:gd name="T13" fmla="*/ 17 h 40"/>
                <a:gd name="T14" fmla="*/ 0 w 54"/>
                <a:gd name="T15" fmla="*/ 19 h 40"/>
                <a:gd name="T16" fmla="*/ 0 w 54"/>
                <a:gd name="T17" fmla="*/ 19 h 40"/>
                <a:gd name="T18" fmla="*/ 2 w 54"/>
                <a:gd name="T19" fmla="*/ 24 h 40"/>
                <a:gd name="T20" fmla="*/ 2 w 54"/>
                <a:gd name="T21" fmla="*/ 28 h 40"/>
                <a:gd name="T22" fmla="*/ 4 w 54"/>
                <a:gd name="T23" fmla="*/ 31 h 40"/>
                <a:gd name="T24" fmla="*/ 7 w 54"/>
                <a:gd name="T25" fmla="*/ 33 h 40"/>
                <a:gd name="T26" fmla="*/ 7 w 54"/>
                <a:gd name="T27" fmla="*/ 35 h 40"/>
                <a:gd name="T28" fmla="*/ 2 w 54"/>
                <a:gd name="T29" fmla="*/ 35 h 40"/>
                <a:gd name="T30" fmla="*/ 2 w 54"/>
                <a:gd name="T31" fmla="*/ 38 h 40"/>
                <a:gd name="T32" fmla="*/ 9 w 54"/>
                <a:gd name="T33" fmla="*/ 35 h 40"/>
                <a:gd name="T34" fmla="*/ 16 w 54"/>
                <a:gd name="T35" fmla="*/ 38 h 40"/>
                <a:gd name="T36" fmla="*/ 19 w 54"/>
                <a:gd name="T37" fmla="*/ 33 h 40"/>
                <a:gd name="T38" fmla="*/ 23 w 54"/>
                <a:gd name="T39" fmla="*/ 38 h 40"/>
                <a:gd name="T40" fmla="*/ 26 w 54"/>
                <a:gd name="T41" fmla="*/ 38 h 40"/>
                <a:gd name="T42" fmla="*/ 26 w 54"/>
                <a:gd name="T43" fmla="*/ 38 h 40"/>
                <a:gd name="T44" fmla="*/ 28 w 54"/>
                <a:gd name="T45" fmla="*/ 40 h 40"/>
                <a:gd name="T46" fmla="*/ 30 w 54"/>
                <a:gd name="T47" fmla="*/ 35 h 40"/>
                <a:gd name="T48" fmla="*/ 30 w 54"/>
                <a:gd name="T49" fmla="*/ 31 h 40"/>
                <a:gd name="T50" fmla="*/ 38 w 54"/>
                <a:gd name="T51" fmla="*/ 28 h 40"/>
                <a:gd name="T52" fmla="*/ 38 w 54"/>
                <a:gd name="T53" fmla="*/ 21 h 40"/>
                <a:gd name="T54" fmla="*/ 35 w 54"/>
                <a:gd name="T55" fmla="*/ 19 h 40"/>
                <a:gd name="T56" fmla="*/ 42 w 54"/>
                <a:gd name="T57" fmla="*/ 14 h 40"/>
                <a:gd name="T58" fmla="*/ 45 w 54"/>
                <a:gd name="T59" fmla="*/ 12 h 40"/>
                <a:gd name="T60" fmla="*/ 47 w 54"/>
                <a:gd name="T61" fmla="*/ 14 h 40"/>
                <a:gd name="T62" fmla="*/ 47 w 54"/>
                <a:gd name="T63" fmla="*/ 12 h 40"/>
                <a:gd name="T64" fmla="*/ 49 w 54"/>
                <a:gd name="T65" fmla="*/ 7 h 40"/>
                <a:gd name="T66" fmla="*/ 52 w 54"/>
                <a:gd name="T67" fmla="*/ 9 h 40"/>
                <a:gd name="T68" fmla="*/ 54 w 54"/>
                <a:gd name="T69" fmla="*/ 9 h 40"/>
                <a:gd name="T70" fmla="*/ 49 w 54"/>
                <a:gd name="T71" fmla="*/ 2 h 40"/>
                <a:gd name="T72" fmla="*/ 45 w 54"/>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40">
                  <a:moveTo>
                    <a:pt x="45" y="0"/>
                  </a:moveTo>
                  <a:lnTo>
                    <a:pt x="42" y="2"/>
                  </a:lnTo>
                  <a:lnTo>
                    <a:pt x="42" y="5"/>
                  </a:lnTo>
                  <a:lnTo>
                    <a:pt x="35" y="5"/>
                  </a:lnTo>
                  <a:lnTo>
                    <a:pt x="35" y="5"/>
                  </a:lnTo>
                  <a:lnTo>
                    <a:pt x="33" y="7"/>
                  </a:lnTo>
                  <a:lnTo>
                    <a:pt x="28" y="5"/>
                  </a:lnTo>
                  <a:lnTo>
                    <a:pt x="23" y="7"/>
                  </a:lnTo>
                  <a:lnTo>
                    <a:pt x="21" y="9"/>
                  </a:lnTo>
                  <a:lnTo>
                    <a:pt x="16" y="12"/>
                  </a:lnTo>
                  <a:lnTo>
                    <a:pt x="9" y="9"/>
                  </a:lnTo>
                  <a:lnTo>
                    <a:pt x="2" y="9"/>
                  </a:lnTo>
                  <a:lnTo>
                    <a:pt x="0" y="14"/>
                  </a:lnTo>
                  <a:lnTo>
                    <a:pt x="0" y="17"/>
                  </a:lnTo>
                  <a:lnTo>
                    <a:pt x="0" y="17"/>
                  </a:lnTo>
                  <a:lnTo>
                    <a:pt x="0" y="19"/>
                  </a:lnTo>
                  <a:lnTo>
                    <a:pt x="2" y="17"/>
                  </a:lnTo>
                  <a:lnTo>
                    <a:pt x="0" y="19"/>
                  </a:lnTo>
                  <a:lnTo>
                    <a:pt x="0" y="21"/>
                  </a:lnTo>
                  <a:lnTo>
                    <a:pt x="2" y="24"/>
                  </a:lnTo>
                  <a:lnTo>
                    <a:pt x="2" y="26"/>
                  </a:lnTo>
                  <a:lnTo>
                    <a:pt x="2" y="28"/>
                  </a:lnTo>
                  <a:lnTo>
                    <a:pt x="4" y="28"/>
                  </a:lnTo>
                  <a:lnTo>
                    <a:pt x="4" y="31"/>
                  </a:lnTo>
                  <a:lnTo>
                    <a:pt x="7" y="31"/>
                  </a:lnTo>
                  <a:lnTo>
                    <a:pt x="7" y="33"/>
                  </a:lnTo>
                  <a:lnTo>
                    <a:pt x="7" y="33"/>
                  </a:lnTo>
                  <a:lnTo>
                    <a:pt x="7" y="35"/>
                  </a:lnTo>
                  <a:lnTo>
                    <a:pt x="4" y="35"/>
                  </a:lnTo>
                  <a:lnTo>
                    <a:pt x="2" y="35"/>
                  </a:lnTo>
                  <a:lnTo>
                    <a:pt x="0" y="35"/>
                  </a:lnTo>
                  <a:lnTo>
                    <a:pt x="2" y="38"/>
                  </a:lnTo>
                  <a:lnTo>
                    <a:pt x="7" y="38"/>
                  </a:lnTo>
                  <a:lnTo>
                    <a:pt x="9" y="35"/>
                  </a:lnTo>
                  <a:lnTo>
                    <a:pt x="9" y="38"/>
                  </a:lnTo>
                  <a:lnTo>
                    <a:pt x="16" y="38"/>
                  </a:lnTo>
                  <a:lnTo>
                    <a:pt x="19" y="33"/>
                  </a:lnTo>
                  <a:lnTo>
                    <a:pt x="19" y="33"/>
                  </a:lnTo>
                  <a:lnTo>
                    <a:pt x="23" y="38"/>
                  </a:lnTo>
                  <a:lnTo>
                    <a:pt x="23" y="38"/>
                  </a:lnTo>
                  <a:lnTo>
                    <a:pt x="23" y="38"/>
                  </a:lnTo>
                  <a:lnTo>
                    <a:pt x="26" y="38"/>
                  </a:lnTo>
                  <a:lnTo>
                    <a:pt x="26" y="38"/>
                  </a:lnTo>
                  <a:lnTo>
                    <a:pt x="26" y="38"/>
                  </a:lnTo>
                  <a:lnTo>
                    <a:pt x="28" y="40"/>
                  </a:lnTo>
                  <a:lnTo>
                    <a:pt x="28" y="40"/>
                  </a:lnTo>
                  <a:lnTo>
                    <a:pt x="30" y="38"/>
                  </a:lnTo>
                  <a:lnTo>
                    <a:pt x="30" y="35"/>
                  </a:lnTo>
                  <a:lnTo>
                    <a:pt x="33" y="33"/>
                  </a:lnTo>
                  <a:lnTo>
                    <a:pt x="30" y="31"/>
                  </a:lnTo>
                  <a:lnTo>
                    <a:pt x="35" y="28"/>
                  </a:lnTo>
                  <a:lnTo>
                    <a:pt x="38" y="28"/>
                  </a:lnTo>
                  <a:lnTo>
                    <a:pt x="38" y="26"/>
                  </a:lnTo>
                  <a:lnTo>
                    <a:pt x="38" y="21"/>
                  </a:lnTo>
                  <a:lnTo>
                    <a:pt x="35" y="21"/>
                  </a:lnTo>
                  <a:lnTo>
                    <a:pt x="35" y="19"/>
                  </a:lnTo>
                  <a:lnTo>
                    <a:pt x="38" y="17"/>
                  </a:lnTo>
                  <a:lnTo>
                    <a:pt x="42" y="14"/>
                  </a:lnTo>
                  <a:lnTo>
                    <a:pt x="45" y="14"/>
                  </a:lnTo>
                  <a:lnTo>
                    <a:pt x="45" y="12"/>
                  </a:lnTo>
                  <a:lnTo>
                    <a:pt x="47" y="12"/>
                  </a:lnTo>
                  <a:lnTo>
                    <a:pt x="47" y="14"/>
                  </a:lnTo>
                  <a:lnTo>
                    <a:pt x="47" y="12"/>
                  </a:lnTo>
                  <a:lnTo>
                    <a:pt x="47" y="12"/>
                  </a:lnTo>
                  <a:lnTo>
                    <a:pt x="47" y="9"/>
                  </a:lnTo>
                  <a:lnTo>
                    <a:pt x="49" y="7"/>
                  </a:lnTo>
                  <a:lnTo>
                    <a:pt x="49" y="9"/>
                  </a:lnTo>
                  <a:lnTo>
                    <a:pt x="52" y="9"/>
                  </a:lnTo>
                  <a:lnTo>
                    <a:pt x="54" y="9"/>
                  </a:lnTo>
                  <a:lnTo>
                    <a:pt x="54" y="9"/>
                  </a:lnTo>
                  <a:lnTo>
                    <a:pt x="52" y="7"/>
                  </a:lnTo>
                  <a:lnTo>
                    <a:pt x="49" y="2"/>
                  </a:lnTo>
                  <a:lnTo>
                    <a:pt x="47" y="0"/>
                  </a:lnTo>
                  <a:lnTo>
                    <a:pt x="4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3" name="Freeform 1255">
              <a:extLst>
                <a:ext uri="{FF2B5EF4-FFF2-40B4-BE49-F238E27FC236}">
                  <a16:creationId xmlns:a16="http://schemas.microsoft.com/office/drawing/2014/main" id="{42A25A24-E2A2-484B-A5BF-91907571DEC6}"/>
                </a:ext>
              </a:extLst>
            </p:cNvPr>
            <p:cNvSpPr>
              <a:spLocks/>
            </p:cNvSpPr>
            <p:nvPr/>
          </p:nvSpPr>
          <p:spPr bwMode="auto">
            <a:xfrm>
              <a:off x="1845515" y="3240052"/>
              <a:ext cx="66675" cy="55562"/>
            </a:xfrm>
            <a:custGeom>
              <a:avLst/>
              <a:gdLst>
                <a:gd name="T0" fmla="*/ 9 w 42"/>
                <a:gd name="T1" fmla="*/ 35 h 35"/>
                <a:gd name="T2" fmla="*/ 2 w 42"/>
                <a:gd name="T3" fmla="*/ 28 h 35"/>
                <a:gd name="T4" fmla="*/ 0 w 42"/>
                <a:gd name="T5" fmla="*/ 24 h 35"/>
                <a:gd name="T6" fmla="*/ 0 w 42"/>
                <a:gd name="T7" fmla="*/ 19 h 35"/>
                <a:gd name="T8" fmla="*/ 2 w 42"/>
                <a:gd name="T9" fmla="*/ 7 h 35"/>
                <a:gd name="T10" fmla="*/ 2 w 42"/>
                <a:gd name="T11" fmla="*/ 7 h 35"/>
                <a:gd name="T12" fmla="*/ 4 w 42"/>
                <a:gd name="T13" fmla="*/ 7 h 35"/>
                <a:gd name="T14" fmla="*/ 4 w 42"/>
                <a:gd name="T15" fmla="*/ 7 h 35"/>
                <a:gd name="T16" fmla="*/ 4 w 42"/>
                <a:gd name="T17" fmla="*/ 2 h 35"/>
                <a:gd name="T18" fmla="*/ 11 w 42"/>
                <a:gd name="T19" fmla="*/ 2 h 35"/>
                <a:gd name="T20" fmla="*/ 11 w 42"/>
                <a:gd name="T21" fmla="*/ 2 h 35"/>
                <a:gd name="T22" fmla="*/ 14 w 42"/>
                <a:gd name="T23" fmla="*/ 5 h 35"/>
                <a:gd name="T24" fmla="*/ 14 w 42"/>
                <a:gd name="T25" fmla="*/ 5 h 35"/>
                <a:gd name="T26" fmla="*/ 14 w 42"/>
                <a:gd name="T27" fmla="*/ 2 h 35"/>
                <a:gd name="T28" fmla="*/ 16 w 42"/>
                <a:gd name="T29" fmla="*/ 0 h 35"/>
                <a:gd name="T30" fmla="*/ 21 w 42"/>
                <a:gd name="T31" fmla="*/ 2 h 35"/>
                <a:gd name="T32" fmla="*/ 23 w 42"/>
                <a:gd name="T33" fmla="*/ 0 h 35"/>
                <a:gd name="T34" fmla="*/ 28 w 42"/>
                <a:gd name="T35" fmla="*/ 2 h 35"/>
                <a:gd name="T36" fmla="*/ 30 w 42"/>
                <a:gd name="T37" fmla="*/ 2 h 35"/>
                <a:gd name="T38" fmla="*/ 33 w 42"/>
                <a:gd name="T39" fmla="*/ 2 h 35"/>
                <a:gd name="T40" fmla="*/ 40 w 42"/>
                <a:gd name="T41" fmla="*/ 7 h 35"/>
                <a:gd name="T42" fmla="*/ 42 w 42"/>
                <a:gd name="T43" fmla="*/ 17 h 35"/>
                <a:gd name="T44" fmla="*/ 42 w 42"/>
                <a:gd name="T45" fmla="*/ 24 h 35"/>
                <a:gd name="T46" fmla="*/ 40 w 42"/>
                <a:gd name="T47" fmla="*/ 24 h 35"/>
                <a:gd name="T48" fmla="*/ 35 w 42"/>
                <a:gd name="T49" fmla="*/ 28 h 35"/>
                <a:gd name="T50" fmla="*/ 28 w 42"/>
                <a:gd name="T51" fmla="*/ 28 h 35"/>
                <a:gd name="T52" fmla="*/ 23 w 42"/>
                <a:gd name="T53" fmla="*/ 31 h 35"/>
                <a:gd name="T54" fmla="*/ 21 w 42"/>
                <a:gd name="T55" fmla="*/ 33 h 35"/>
                <a:gd name="T56" fmla="*/ 9 w 42"/>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35">
                  <a:moveTo>
                    <a:pt x="9" y="35"/>
                  </a:moveTo>
                  <a:lnTo>
                    <a:pt x="2" y="28"/>
                  </a:lnTo>
                  <a:lnTo>
                    <a:pt x="0" y="24"/>
                  </a:lnTo>
                  <a:lnTo>
                    <a:pt x="0" y="19"/>
                  </a:lnTo>
                  <a:lnTo>
                    <a:pt x="2" y="7"/>
                  </a:lnTo>
                  <a:lnTo>
                    <a:pt x="2" y="7"/>
                  </a:lnTo>
                  <a:lnTo>
                    <a:pt x="4" y="7"/>
                  </a:lnTo>
                  <a:lnTo>
                    <a:pt x="4" y="7"/>
                  </a:lnTo>
                  <a:lnTo>
                    <a:pt x="4" y="2"/>
                  </a:lnTo>
                  <a:lnTo>
                    <a:pt x="11" y="2"/>
                  </a:lnTo>
                  <a:lnTo>
                    <a:pt x="11" y="2"/>
                  </a:lnTo>
                  <a:lnTo>
                    <a:pt x="14" y="5"/>
                  </a:lnTo>
                  <a:lnTo>
                    <a:pt x="14" y="5"/>
                  </a:lnTo>
                  <a:lnTo>
                    <a:pt x="14" y="2"/>
                  </a:lnTo>
                  <a:lnTo>
                    <a:pt x="16" y="0"/>
                  </a:lnTo>
                  <a:lnTo>
                    <a:pt x="21" y="2"/>
                  </a:lnTo>
                  <a:lnTo>
                    <a:pt x="23" y="0"/>
                  </a:lnTo>
                  <a:lnTo>
                    <a:pt x="28" y="2"/>
                  </a:lnTo>
                  <a:lnTo>
                    <a:pt x="30" y="2"/>
                  </a:lnTo>
                  <a:lnTo>
                    <a:pt x="33" y="2"/>
                  </a:lnTo>
                  <a:lnTo>
                    <a:pt x="40" y="7"/>
                  </a:lnTo>
                  <a:lnTo>
                    <a:pt x="42" y="17"/>
                  </a:lnTo>
                  <a:lnTo>
                    <a:pt x="42" y="24"/>
                  </a:lnTo>
                  <a:lnTo>
                    <a:pt x="40" y="24"/>
                  </a:lnTo>
                  <a:lnTo>
                    <a:pt x="35" y="28"/>
                  </a:lnTo>
                  <a:lnTo>
                    <a:pt x="28" y="28"/>
                  </a:lnTo>
                  <a:lnTo>
                    <a:pt x="23" y="31"/>
                  </a:lnTo>
                  <a:lnTo>
                    <a:pt x="21" y="33"/>
                  </a:lnTo>
                  <a:lnTo>
                    <a:pt x="9" y="3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4" name="Freeform 1256">
              <a:extLst>
                <a:ext uri="{FF2B5EF4-FFF2-40B4-BE49-F238E27FC236}">
                  <a16:creationId xmlns:a16="http://schemas.microsoft.com/office/drawing/2014/main" id="{A8B9925B-89B2-4A33-8F69-ACD56AF51B81}"/>
                </a:ext>
              </a:extLst>
            </p:cNvPr>
            <p:cNvSpPr>
              <a:spLocks/>
            </p:cNvSpPr>
            <p:nvPr/>
          </p:nvSpPr>
          <p:spPr bwMode="auto">
            <a:xfrm>
              <a:off x="1845515" y="3240052"/>
              <a:ext cx="66675" cy="55562"/>
            </a:xfrm>
            <a:custGeom>
              <a:avLst/>
              <a:gdLst>
                <a:gd name="T0" fmla="*/ 9 w 42"/>
                <a:gd name="T1" fmla="*/ 35 h 35"/>
                <a:gd name="T2" fmla="*/ 2 w 42"/>
                <a:gd name="T3" fmla="*/ 28 h 35"/>
                <a:gd name="T4" fmla="*/ 0 w 42"/>
                <a:gd name="T5" fmla="*/ 24 h 35"/>
                <a:gd name="T6" fmla="*/ 0 w 42"/>
                <a:gd name="T7" fmla="*/ 19 h 35"/>
                <a:gd name="T8" fmla="*/ 2 w 42"/>
                <a:gd name="T9" fmla="*/ 7 h 35"/>
                <a:gd name="T10" fmla="*/ 2 w 42"/>
                <a:gd name="T11" fmla="*/ 7 h 35"/>
                <a:gd name="T12" fmla="*/ 4 w 42"/>
                <a:gd name="T13" fmla="*/ 7 h 35"/>
                <a:gd name="T14" fmla="*/ 4 w 42"/>
                <a:gd name="T15" fmla="*/ 7 h 35"/>
                <a:gd name="T16" fmla="*/ 4 w 42"/>
                <a:gd name="T17" fmla="*/ 2 h 35"/>
                <a:gd name="T18" fmla="*/ 11 w 42"/>
                <a:gd name="T19" fmla="*/ 2 h 35"/>
                <a:gd name="T20" fmla="*/ 11 w 42"/>
                <a:gd name="T21" fmla="*/ 2 h 35"/>
                <a:gd name="T22" fmla="*/ 14 w 42"/>
                <a:gd name="T23" fmla="*/ 5 h 35"/>
                <a:gd name="T24" fmla="*/ 14 w 42"/>
                <a:gd name="T25" fmla="*/ 5 h 35"/>
                <a:gd name="T26" fmla="*/ 14 w 42"/>
                <a:gd name="T27" fmla="*/ 2 h 35"/>
                <a:gd name="T28" fmla="*/ 16 w 42"/>
                <a:gd name="T29" fmla="*/ 0 h 35"/>
                <a:gd name="T30" fmla="*/ 21 w 42"/>
                <a:gd name="T31" fmla="*/ 2 h 35"/>
                <a:gd name="T32" fmla="*/ 23 w 42"/>
                <a:gd name="T33" fmla="*/ 0 h 35"/>
                <a:gd name="T34" fmla="*/ 28 w 42"/>
                <a:gd name="T35" fmla="*/ 2 h 35"/>
                <a:gd name="T36" fmla="*/ 30 w 42"/>
                <a:gd name="T37" fmla="*/ 2 h 35"/>
                <a:gd name="T38" fmla="*/ 33 w 42"/>
                <a:gd name="T39" fmla="*/ 2 h 35"/>
                <a:gd name="T40" fmla="*/ 40 w 42"/>
                <a:gd name="T41" fmla="*/ 7 h 35"/>
                <a:gd name="T42" fmla="*/ 42 w 42"/>
                <a:gd name="T43" fmla="*/ 17 h 35"/>
                <a:gd name="T44" fmla="*/ 42 w 42"/>
                <a:gd name="T45" fmla="*/ 24 h 35"/>
                <a:gd name="T46" fmla="*/ 40 w 42"/>
                <a:gd name="T47" fmla="*/ 24 h 35"/>
                <a:gd name="T48" fmla="*/ 35 w 42"/>
                <a:gd name="T49" fmla="*/ 28 h 35"/>
                <a:gd name="T50" fmla="*/ 28 w 42"/>
                <a:gd name="T51" fmla="*/ 28 h 35"/>
                <a:gd name="T52" fmla="*/ 23 w 42"/>
                <a:gd name="T53" fmla="*/ 31 h 35"/>
                <a:gd name="T54" fmla="*/ 21 w 42"/>
                <a:gd name="T55" fmla="*/ 33 h 35"/>
                <a:gd name="T56" fmla="*/ 9 w 42"/>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35">
                  <a:moveTo>
                    <a:pt x="9" y="35"/>
                  </a:moveTo>
                  <a:lnTo>
                    <a:pt x="2" y="28"/>
                  </a:lnTo>
                  <a:lnTo>
                    <a:pt x="0" y="24"/>
                  </a:lnTo>
                  <a:lnTo>
                    <a:pt x="0" y="19"/>
                  </a:lnTo>
                  <a:lnTo>
                    <a:pt x="2" y="7"/>
                  </a:lnTo>
                  <a:lnTo>
                    <a:pt x="2" y="7"/>
                  </a:lnTo>
                  <a:lnTo>
                    <a:pt x="4" y="7"/>
                  </a:lnTo>
                  <a:lnTo>
                    <a:pt x="4" y="7"/>
                  </a:lnTo>
                  <a:lnTo>
                    <a:pt x="4" y="2"/>
                  </a:lnTo>
                  <a:lnTo>
                    <a:pt x="11" y="2"/>
                  </a:lnTo>
                  <a:lnTo>
                    <a:pt x="11" y="2"/>
                  </a:lnTo>
                  <a:lnTo>
                    <a:pt x="14" y="5"/>
                  </a:lnTo>
                  <a:lnTo>
                    <a:pt x="14" y="5"/>
                  </a:lnTo>
                  <a:lnTo>
                    <a:pt x="14" y="2"/>
                  </a:lnTo>
                  <a:lnTo>
                    <a:pt x="16" y="0"/>
                  </a:lnTo>
                  <a:lnTo>
                    <a:pt x="21" y="2"/>
                  </a:lnTo>
                  <a:lnTo>
                    <a:pt x="23" y="0"/>
                  </a:lnTo>
                  <a:lnTo>
                    <a:pt x="28" y="2"/>
                  </a:lnTo>
                  <a:lnTo>
                    <a:pt x="30" y="2"/>
                  </a:lnTo>
                  <a:lnTo>
                    <a:pt x="33" y="2"/>
                  </a:lnTo>
                  <a:lnTo>
                    <a:pt x="40" y="7"/>
                  </a:lnTo>
                  <a:lnTo>
                    <a:pt x="42" y="17"/>
                  </a:lnTo>
                  <a:lnTo>
                    <a:pt x="42" y="24"/>
                  </a:lnTo>
                  <a:lnTo>
                    <a:pt x="40" y="24"/>
                  </a:lnTo>
                  <a:lnTo>
                    <a:pt x="35" y="28"/>
                  </a:lnTo>
                  <a:lnTo>
                    <a:pt x="28" y="28"/>
                  </a:lnTo>
                  <a:lnTo>
                    <a:pt x="23" y="31"/>
                  </a:lnTo>
                  <a:lnTo>
                    <a:pt x="21" y="33"/>
                  </a:lnTo>
                  <a:lnTo>
                    <a:pt x="9" y="3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5" name="Freeform 1260">
              <a:extLst>
                <a:ext uri="{FF2B5EF4-FFF2-40B4-BE49-F238E27FC236}">
                  <a16:creationId xmlns:a16="http://schemas.microsoft.com/office/drawing/2014/main" id="{DB1BF687-11CA-4E2A-94E2-0EB473FBAD2A}"/>
                </a:ext>
              </a:extLst>
            </p:cNvPr>
            <p:cNvSpPr>
              <a:spLocks/>
            </p:cNvSpPr>
            <p:nvPr/>
          </p:nvSpPr>
          <p:spPr bwMode="auto">
            <a:xfrm>
              <a:off x="4720473" y="3221001"/>
              <a:ext cx="176213" cy="187326"/>
            </a:xfrm>
            <a:custGeom>
              <a:avLst/>
              <a:gdLst>
                <a:gd name="T0" fmla="*/ 69 w 111"/>
                <a:gd name="T1" fmla="*/ 97 h 118"/>
                <a:gd name="T2" fmla="*/ 57 w 111"/>
                <a:gd name="T3" fmla="*/ 88 h 118"/>
                <a:gd name="T4" fmla="*/ 52 w 111"/>
                <a:gd name="T5" fmla="*/ 83 h 118"/>
                <a:gd name="T6" fmla="*/ 55 w 111"/>
                <a:gd name="T7" fmla="*/ 83 h 118"/>
                <a:gd name="T8" fmla="*/ 55 w 111"/>
                <a:gd name="T9" fmla="*/ 73 h 118"/>
                <a:gd name="T10" fmla="*/ 60 w 111"/>
                <a:gd name="T11" fmla="*/ 71 h 118"/>
                <a:gd name="T12" fmla="*/ 62 w 111"/>
                <a:gd name="T13" fmla="*/ 66 h 118"/>
                <a:gd name="T14" fmla="*/ 74 w 111"/>
                <a:gd name="T15" fmla="*/ 64 h 118"/>
                <a:gd name="T16" fmla="*/ 81 w 111"/>
                <a:gd name="T17" fmla="*/ 57 h 118"/>
                <a:gd name="T18" fmla="*/ 93 w 111"/>
                <a:gd name="T19" fmla="*/ 47 h 118"/>
                <a:gd name="T20" fmla="*/ 95 w 111"/>
                <a:gd name="T21" fmla="*/ 38 h 118"/>
                <a:gd name="T22" fmla="*/ 93 w 111"/>
                <a:gd name="T23" fmla="*/ 31 h 118"/>
                <a:gd name="T24" fmla="*/ 97 w 111"/>
                <a:gd name="T25" fmla="*/ 24 h 118"/>
                <a:gd name="T26" fmla="*/ 109 w 111"/>
                <a:gd name="T27" fmla="*/ 14 h 118"/>
                <a:gd name="T28" fmla="*/ 109 w 111"/>
                <a:gd name="T29" fmla="*/ 12 h 118"/>
                <a:gd name="T30" fmla="*/ 109 w 111"/>
                <a:gd name="T31" fmla="*/ 7 h 118"/>
                <a:gd name="T32" fmla="*/ 104 w 111"/>
                <a:gd name="T33" fmla="*/ 3 h 118"/>
                <a:gd name="T34" fmla="*/ 97 w 111"/>
                <a:gd name="T35" fmla="*/ 3 h 118"/>
                <a:gd name="T36" fmla="*/ 90 w 111"/>
                <a:gd name="T37" fmla="*/ 14 h 118"/>
                <a:gd name="T38" fmla="*/ 74 w 111"/>
                <a:gd name="T39" fmla="*/ 24 h 118"/>
                <a:gd name="T40" fmla="*/ 67 w 111"/>
                <a:gd name="T41" fmla="*/ 26 h 118"/>
                <a:gd name="T42" fmla="*/ 55 w 111"/>
                <a:gd name="T43" fmla="*/ 36 h 118"/>
                <a:gd name="T44" fmla="*/ 43 w 111"/>
                <a:gd name="T45" fmla="*/ 33 h 118"/>
                <a:gd name="T46" fmla="*/ 31 w 111"/>
                <a:gd name="T47" fmla="*/ 45 h 118"/>
                <a:gd name="T48" fmla="*/ 15 w 111"/>
                <a:gd name="T49" fmla="*/ 57 h 118"/>
                <a:gd name="T50" fmla="*/ 0 w 111"/>
                <a:gd name="T51" fmla="*/ 69 h 118"/>
                <a:gd name="T52" fmla="*/ 3 w 111"/>
                <a:gd name="T53" fmla="*/ 73 h 118"/>
                <a:gd name="T54" fmla="*/ 10 w 111"/>
                <a:gd name="T55" fmla="*/ 76 h 118"/>
                <a:gd name="T56" fmla="*/ 17 w 111"/>
                <a:gd name="T57" fmla="*/ 78 h 118"/>
                <a:gd name="T58" fmla="*/ 19 w 111"/>
                <a:gd name="T59" fmla="*/ 81 h 118"/>
                <a:gd name="T60" fmla="*/ 15 w 111"/>
                <a:gd name="T61" fmla="*/ 95 h 118"/>
                <a:gd name="T62" fmla="*/ 19 w 111"/>
                <a:gd name="T63" fmla="*/ 97 h 118"/>
                <a:gd name="T64" fmla="*/ 12 w 111"/>
                <a:gd name="T65" fmla="*/ 102 h 118"/>
                <a:gd name="T66" fmla="*/ 10 w 111"/>
                <a:gd name="T67" fmla="*/ 106 h 118"/>
                <a:gd name="T68" fmla="*/ 12 w 111"/>
                <a:gd name="T69" fmla="*/ 111 h 118"/>
                <a:gd name="T70" fmla="*/ 15 w 111"/>
                <a:gd name="T71" fmla="*/ 111 h 118"/>
                <a:gd name="T72" fmla="*/ 12 w 111"/>
                <a:gd name="T73" fmla="*/ 114 h 118"/>
                <a:gd name="T74" fmla="*/ 15 w 111"/>
                <a:gd name="T75" fmla="*/ 116 h 118"/>
                <a:gd name="T76" fmla="*/ 17 w 111"/>
                <a:gd name="T77" fmla="*/ 118 h 118"/>
                <a:gd name="T78" fmla="*/ 19 w 111"/>
                <a:gd name="T79" fmla="*/ 118 h 118"/>
                <a:gd name="T80" fmla="*/ 24 w 111"/>
                <a:gd name="T81" fmla="*/ 114 h 118"/>
                <a:gd name="T82" fmla="*/ 24 w 111"/>
                <a:gd name="T83" fmla="*/ 114 h 118"/>
                <a:gd name="T84" fmla="*/ 29 w 111"/>
                <a:gd name="T85" fmla="*/ 116 h 118"/>
                <a:gd name="T86" fmla="*/ 31 w 111"/>
                <a:gd name="T87" fmla="*/ 116 h 118"/>
                <a:gd name="T88" fmla="*/ 38 w 111"/>
                <a:gd name="T89" fmla="*/ 118 h 118"/>
                <a:gd name="T90" fmla="*/ 50 w 111"/>
                <a:gd name="T91" fmla="*/ 109 h 118"/>
                <a:gd name="T92" fmla="*/ 60 w 111"/>
                <a:gd name="T93" fmla="*/ 106 h 118"/>
                <a:gd name="T94" fmla="*/ 71 w 111"/>
                <a:gd name="T95" fmla="*/ 10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118">
                  <a:moveTo>
                    <a:pt x="71" y="102"/>
                  </a:moveTo>
                  <a:lnTo>
                    <a:pt x="69" y="97"/>
                  </a:lnTo>
                  <a:lnTo>
                    <a:pt x="62" y="92"/>
                  </a:lnTo>
                  <a:lnTo>
                    <a:pt x="57" y="88"/>
                  </a:lnTo>
                  <a:lnTo>
                    <a:pt x="55" y="85"/>
                  </a:lnTo>
                  <a:lnTo>
                    <a:pt x="52" y="83"/>
                  </a:lnTo>
                  <a:lnTo>
                    <a:pt x="55" y="81"/>
                  </a:lnTo>
                  <a:lnTo>
                    <a:pt x="55" y="83"/>
                  </a:lnTo>
                  <a:lnTo>
                    <a:pt x="55" y="81"/>
                  </a:lnTo>
                  <a:lnTo>
                    <a:pt x="55" y="73"/>
                  </a:lnTo>
                  <a:lnTo>
                    <a:pt x="55" y="71"/>
                  </a:lnTo>
                  <a:lnTo>
                    <a:pt x="60" y="71"/>
                  </a:lnTo>
                  <a:lnTo>
                    <a:pt x="62" y="69"/>
                  </a:lnTo>
                  <a:lnTo>
                    <a:pt x="62" y="66"/>
                  </a:lnTo>
                  <a:lnTo>
                    <a:pt x="71" y="66"/>
                  </a:lnTo>
                  <a:lnTo>
                    <a:pt x="74" y="64"/>
                  </a:lnTo>
                  <a:lnTo>
                    <a:pt x="76" y="62"/>
                  </a:lnTo>
                  <a:lnTo>
                    <a:pt x="81" y="57"/>
                  </a:lnTo>
                  <a:lnTo>
                    <a:pt x="88" y="50"/>
                  </a:lnTo>
                  <a:lnTo>
                    <a:pt x="93" y="47"/>
                  </a:lnTo>
                  <a:lnTo>
                    <a:pt x="93" y="47"/>
                  </a:lnTo>
                  <a:lnTo>
                    <a:pt x="95" y="38"/>
                  </a:lnTo>
                  <a:lnTo>
                    <a:pt x="93" y="36"/>
                  </a:lnTo>
                  <a:lnTo>
                    <a:pt x="93" y="31"/>
                  </a:lnTo>
                  <a:lnTo>
                    <a:pt x="95" y="26"/>
                  </a:lnTo>
                  <a:lnTo>
                    <a:pt x="97" y="24"/>
                  </a:lnTo>
                  <a:lnTo>
                    <a:pt x="107" y="14"/>
                  </a:lnTo>
                  <a:lnTo>
                    <a:pt x="109" y="14"/>
                  </a:lnTo>
                  <a:lnTo>
                    <a:pt x="111" y="14"/>
                  </a:lnTo>
                  <a:lnTo>
                    <a:pt x="109" y="12"/>
                  </a:lnTo>
                  <a:lnTo>
                    <a:pt x="109" y="10"/>
                  </a:lnTo>
                  <a:lnTo>
                    <a:pt x="109" y="7"/>
                  </a:lnTo>
                  <a:lnTo>
                    <a:pt x="107" y="7"/>
                  </a:lnTo>
                  <a:lnTo>
                    <a:pt x="104" y="3"/>
                  </a:lnTo>
                  <a:lnTo>
                    <a:pt x="100" y="0"/>
                  </a:lnTo>
                  <a:lnTo>
                    <a:pt x="97" y="3"/>
                  </a:lnTo>
                  <a:lnTo>
                    <a:pt x="95" y="7"/>
                  </a:lnTo>
                  <a:lnTo>
                    <a:pt x="90" y="14"/>
                  </a:lnTo>
                  <a:lnTo>
                    <a:pt x="81" y="21"/>
                  </a:lnTo>
                  <a:lnTo>
                    <a:pt x="74" y="24"/>
                  </a:lnTo>
                  <a:lnTo>
                    <a:pt x="67" y="24"/>
                  </a:lnTo>
                  <a:lnTo>
                    <a:pt x="67" y="26"/>
                  </a:lnTo>
                  <a:lnTo>
                    <a:pt x="67" y="36"/>
                  </a:lnTo>
                  <a:lnTo>
                    <a:pt x="55" y="36"/>
                  </a:lnTo>
                  <a:lnTo>
                    <a:pt x="50" y="33"/>
                  </a:lnTo>
                  <a:lnTo>
                    <a:pt x="43" y="33"/>
                  </a:lnTo>
                  <a:lnTo>
                    <a:pt x="41" y="36"/>
                  </a:lnTo>
                  <a:lnTo>
                    <a:pt x="31" y="45"/>
                  </a:lnTo>
                  <a:lnTo>
                    <a:pt x="26" y="50"/>
                  </a:lnTo>
                  <a:lnTo>
                    <a:pt x="15" y="57"/>
                  </a:lnTo>
                  <a:lnTo>
                    <a:pt x="10" y="57"/>
                  </a:lnTo>
                  <a:lnTo>
                    <a:pt x="0" y="69"/>
                  </a:lnTo>
                  <a:lnTo>
                    <a:pt x="0" y="71"/>
                  </a:lnTo>
                  <a:lnTo>
                    <a:pt x="3" y="73"/>
                  </a:lnTo>
                  <a:lnTo>
                    <a:pt x="5" y="78"/>
                  </a:lnTo>
                  <a:lnTo>
                    <a:pt x="10" y="76"/>
                  </a:lnTo>
                  <a:lnTo>
                    <a:pt x="12" y="76"/>
                  </a:lnTo>
                  <a:lnTo>
                    <a:pt x="17" y="78"/>
                  </a:lnTo>
                  <a:lnTo>
                    <a:pt x="19" y="78"/>
                  </a:lnTo>
                  <a:lnTo>
                    <a:pt x="19" y="81"/>
                  </a:lnTo>
                  <a:lnTo>
                    <a:pt x="17" y="88"/>
                  </a:lnTo>
                  <a:lnTo>
                    <a:pt x="15" y="95"/>
                  </a:lnTo>
                  <a:lnTo>
                    <a:pt x="17" y="97"/>
                  </a:lnTo>
                  <a:lnTo>
                    <a:pt x="19" y="97"/>
                  </a:lnTo>
                  <a:lnTo>
                    <a:pt x="15" y="99"/>
                  </a:lnTo>
                  <a:lnTo>
                    <a:pt x="12" y="102"/>
                  </a:lnTo>
                  <a:lnTo>
                    <a:pt x="12" y="102"/>
                  </a:lnTo>
                  <a:lnTo>
                    <a:pt x="10" y="106"/>
                  </a:lnTo>
                  <a:lnTo>
                    <a:pt x="8" y="111"/>
                  </a:lnTo>
                  <a:lnTo>
                    <a:pt x="12" y="111"/>
                  </a:lnTo>
                  <a:lnTo>
                    <a:pt x="15" y="111"/>
                  </a:lnTo>
                  <a:lnTo>
                    <a:pt x="15" y="111"/>
                  </a:lnTo>
                  <a:lnTo>
                    <a:pt x="15" y="114"/>
                  </a:lnTo>
                  <a:lnTo>
                    <a:pt x="12" y="114"/>
                  </a:lnTo>
                  <a:lnTo>
                    <a:pt x="12" y="116"/>
                  </a:lnTo>
                  <a:lnTo>
                    <a:pt x="15" y="116"/>
                  </a:lnTo>
                  <a:lnTo>
                    <a:pt x="15" y="118"/>
                  </a:lnTo>
                  <a:lnTo>
                    <a:pt x="17" y="118"/>
                  </a:lnTo>
                  <a:lnTo>
                    <a:pt x="19" y="118"/>
                  </a:lnTo>
                  <a:lnTo>
                    <a:pt x="19" y="118"/>
                  </a:lnTo>
                  <a:lnTo>
                    <a:pt x="22" y="116"/>
                  </a:lnTo>
                  <a:lnTo>
                    <a:pt x="24" y="114"/>
                  </a:lnTo>
                  <a:lnTo>
                    <a:pt x="22" y="111"/>
                  </a:lnTo>
                  <a:lnTo>
                    <a:pt x="24" y="114"/>
                  </a:lnTo>
                  <a:lnTo>
                    <a:pt x="26" y="116"/>
                  </a:lnTo>
                  <a:lnTo>
                    <a:pt x="29" y="116"/>
                  </a:lnTo>
                  <a:lnTo>
                    <a:pt x="31" y="118"/>
                  </a:lnTo>
                  <a:lnTo>
                    <a:pt x="31" y="116"/>
                  </a:lnTo>
                  <a:lnTo>
                    <a:pt x="36" y="116"/>
                  </a:lnTo>
                  <a:lnTo>
                    <a:pt x="38" y="118"/>
                  </a:lnTo>
                  <a:lnTo>
                    <a:pt x="43" y="114"/>
                  </a:lnTo>
                  <a:lnTo>
                    <a:pt x="50" y="109"/>
                  </a:lnTo>
                  <a:lnTo>
                    <a:pt x="55" y="106"/>
                  </a:lnTo>
                  <a:lnTo>
                    <a:pt x="60" y="106"/>
                  </a:lnTo>
                  <a:lnTo>
                    <a:pt x="64" y="106"/>
                  </a:lnTo>
                  <a:lnTo>
                    <a:pt x="71" y="10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6" name="Freeform 1265">
              <a:extLst>
                <a:ext uri="{FF2B5EF4-FFF2-40B4-BE49-F238E27FC236}">
                  <a16:creationId xmlns:a16="http://schemas.microsoft.com/office/drawing/2014/main" id="{6A868A1B-5DF1-41D4-96AF-4C8F06A1E655}"/>
                </a:ext>
              </a:extLst>
            </p:cNvPr>
            <p:cNvSpPr>
              <a:spLocks/>
            </p:cNvSpPr>
            <p:nvPr/>
          </p:nvSpPr>
          <p:spPr bwMode="auto">
            <a:xfrm>
              <a:off x="1834404" y="3008276"/>
              <a:ext cx="265113" cy="182563"/>
            </a:xfrm>
            <a:custGeom>
              <a:avLst/>
              <a:gdLst>
                <a:gd name="T0" fmla="*/ 144 w 167"/>
                <a:gd name="T1" fmla="*/ 113 h 115"/>
                <a:gd name="T2" fmla="*/ 127 w 167"/>
                <a:gd name="T3" fmla="*/ 106 h 115"/>
                <a:gd name="T4" fmla="*/ 120 w 167"/>
                <a:gd name="T5" fmla="*/ 103 h 115"/>
                <a:gd name="T6" fmla="*/ 103 w 167"/>
                <a:gd name="T7" fmla="*/ 111 h 115"/>
                <a:gd name="T8" fmla="*/ 94 w 167"/>
                <a:gd name="T9" fmla="*/ 115 h 115"/>
                <a:gd name="T10" fmla="*/ 66 w 167"/>
                <a:gd name="T11" fmla="*/ 113 h 115"/>
                <a:gd name="T12" fmla="*/ 51 w 167"/>
                <a:gd name="T13" fmla="*/ 111 h 115"/>
                <a:gd name="T14" fmla="*/ 49 w 167"/>
                <a:gd name="T15" fmla="*/ 103 h 115"/>
                <a:gd name="T16" fmla="*/ 42 w 167"/>
                <a:gd name="T17" fmla="*/ 101 h 115"/>
                <a:gd name="T18" fmla="*/ 42 w 167"/>
                <a:gd name="T19" fmla="*/ 94 h 115"/>
                <a:gd name="T20" fmla="*/ 37 w 167"/>
                <a:gd name="T21" fmla="*/ 92 h 115"/>
                <a:gd name="T22" fmla="*/ 23 w 167"/>
                <a:gd name="T23" fmla="*/ 85 h 115"/>
                <a:gd name="T24" fmla="*/ 23 w 167"/>
                <a:gd name="T25" fmla="*/ 78 h 115"/>
                <a:gd name="T26" fmla="*/ 16 w 167"/>
                <a:gd name="T27" fmla="*/ 75 h 115"/>
                <a:gd name="T28" fmla="*/ 11 w 167"/>
                <a:gd name="T29" fmla="*/ 66 h 115"/>
                <a:gd name="T30" fmla="*/ 7 w 167"/>
                <a:gd name="T31" fmla="*/ 59 h 115"/>
                <a:gd name="T32" fmla="*/ 0 w 167"/>
                <a:gd name="T33" fmla="*/ 54 h 115"/>
                <a:gd name="T34" fmla="*/ 11 w 167"/>
                <a:gd name="T35" fmla="*/ 52 h 115"/>
                <a:gd name="T36" fmla="*/ 18 w 167"/>
                <a:gd name="T37" fmla="*/ 44 h 115"/>
                <a:gd name="T38" fmla="*/ 23 w 167"/>
                <a:gd name="T39" fmla="*/ 35 h 115"/>
                <a:gd name="T40" fmla="*/ 30 w 167"/>
                <a:gd name="T41" fmla="*/ 26 h 115"/>
                <a:gd name="T42" fmla="*/ 33 w 167"/>
                <a:gd name="T43" fmla="*/ 21 h 115"/>
                <a:gd name="T44" fmla="*/ 35 w 167"/>
                <a:gd name="T45" fmla="*/ 14 h 115"/>
                <a:gd name="T46" fmla="*/ 42 w 167"/>
                <a:gd name="T47" fmla="*/ 11 h 115"/>
                <a:gd name="T48" fmla="*/ 47 w 167"/>
                <a:gd name="T49" fmla="*/ 7 h 115"/>
                <a:gd name="T50" fmla="*/ 54 w 167"/>
                <a:gd name="T51" fmla="*/ 7 h 115"/>
                <a:gd name="T52" fmla="*/ 68 w 167"/>
                <a:gd name="T53" fmla="*/ 9 h 115"/>
                <a:gd name="T54" fmla="*/ 77 w 167"/>
                <a:gd name="T55" fmla="*/ 7 h 115"/>
                <a:gd name="T56" fmla="*/ 85 w 167"/>
                <a:gd name="T57" fmla="*/ 11 h 115"/>
                <a:gd name="T58" fmla="*/ 94 w 167"/>
                <a:gd name="T59" fmla="*/ 7 h 115"/>
                <a:gd name="T60" fmla="*/ 111 w 167"/>
                <a:gd name="T61" fmla="*/ 0 h 115"/>
                <a:gd name="T62" fmla="*/ 115 w 167"/>
                <a:gd name="T63" fmla="*/ 0 h 115"/>
                <a:gd name="T64" fmla="*/ 122 w 167"/>
                <a:gd name="T65" fmla="*/ 7 h 115"/>
                <a:gd name="T66" fmla="*/ 127 w 167"/>
                <a:gd name="T67" fmla="*/ 16 h 115"/>
                <a:gd name="T68" fmla="*/ 134 w 167"/>
                <a:gd name="T69" fmla="*/ 30 h 115"/>
                <a:gd name="T70" fmla="*/ 139 w 167"/>
                <a:gd name="T71" fmla="*/ 47 h 115"/>
                <a:gd name="T72" fmla="*/ 139 w 167"/>
                <a:gd name="T73" fmla="*/ 59 h 115"/>
                <a:gd name="T74" fmla="*/ 141 w 167"/>
                <a:gd name="T75" fmla="*/ 66 h 115"/>
                <a:gd name="T76" fmla="*/ 141 w 167"/>
                <a:gd name="T77" fmla="*/ 70 h 115"/>
                <a:gd name="T78" fmla="*/ 146 w 167"/>
                <a:gd name="T79" fmla="*/ 75 h 115"/>
                <a:gd name="T80" fmla="*/ 153 w 167"/>
                <a:gd name="T81" fmla="*/ 73 h 115"/>
                <a:gd name="T82" fmla="*/ 163 w 167"/>
                <a:gd name="T83" fmla="*/ 70 h 115"/>
                <a:gd name="T84" fmla="*/ 165 w 167"/>
                <a:gd name="T85" fmla="*/ 73 h 115"/>
                <a:gd name="T86" fmla="*/ 167 w 167"/>
                <a:gd name="T87" fmla="*/ 80 h 115"/>
                <a:gd name="T88" fmla="*/ 165 w 167"/>
                <a:gd name="T89" fmla="*/ 85 h 115"/>
                <a:gd name="T90" fmla="*/ 160 w 167"/>
                <a:gd name="T91" fmla="*/ 89 h 115"/>
                <a:gd name="T92" fmla="*/ 155 w 167"/>
                <a:gd name="T93" fmla="*/ 94 h 115"/>
                <a:gd name="T94" fmla="*/ 151 w 167"/>
                <a:gd name="T95" fmla="*/ 94 h 115"/>
                <a:gd name="T96" fmla="*/ 155 w 167"/>
                <a:gd name="T97" fmla="*/ 87 h 115"/>
                <a:gd name="T98" fmla="*/ 153 w 167"/>
                <a:gd name="T99" fmla="*/ 82 h 115"/>
                <a:gd name="T100" fmla="*/ 151 w 167"/>
                <a:gd name="T101" fmla="*/ 94 h 115"/>
                <a:gd name="T102" fmla="*/ 148 w 167"/>
                <a:gd name="T103" fmla="*/ 101 h 115"/>
                <a:gd name="T104" fmla="*/ 148 w 167"/>
                <a:gd name="T105" fmla="*/ 10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7" h="115">
                  <a:moveTo>
                    <a:pt x="148" y="113"/>
                  </a:moveTo>
                  <a:lnTo>
                    <a:pt x="144" y="113"/>
                  </a:lnTo>
                  <a:lnTo>
                    <a:pt x="137" y="108"/>
                  </a:lnTo>
                  <a:lnTo>
                    <a:pt x="127" y="106"/>
                  </a:lnTo>
                  <a:lnTo>
                    <a:pt x="125" y="103"/>
                  </a:lnTo>
                  <a:lnTo>
                    <a:pt x="120" y="103"/>
                  </a:lnTo>
                  <a:lnTo>
                    <a:pt x="111" y="106"/>
                  </a:lnTo>
                  <a:lnTo>
                    <a:pt x="103" y="111"/>
                  </a:lnTo>
                  <a:lnTo>
                    <a:pt x="99" y="113"/>
                  </a:lnTo>
                  <a:lnTo>
                    <a:pt x="94" y="115"/>
                  </a:lnTo>
                  <a:lnTo>
                    <a:pt x="80" y="113"/>
                  </a:lnTo>
                  <a:lnTo>
                    <a:pt x="66" y="113"/>
                  </a:lnTo>
                  <a:lnTo>
                    <a:pt x="56" y="111"/>
                  </a:lnTo>
                  <a:lnTo>
                    <a:pt x="51" y="111"/>
                  </a:lnTo>
                  <a:lnTo>
                    <a:pt x="47" y="108"/>
                  </a:lnTo>
                  <a:lnTo>
                    <a:pt x="49" y="103"/>
                  </a:lnTo>
                  <a:lnTo>
                    <a:pt x="44" y="103"/>
                  </a:lnTo>
                  <a:lnTo>
                    <a:pt x="42" y="101"/>
                  </a:lnTo>
                  <a:lnTo>
                    <a:pt x="40" y="96"/>
                  </a:lnTo>
                  <a:lnTo>
                    <a:pt x="42" y="94"/>
                  </a:lnTo>
                  <a:lnTo>
                    <a:pt x="40" y="89"/>
                  </a:lnTo>
                  <a:lnTo>
                    <a:pt x="37" y="92"/>
                  </a:lnTo>
                  <a:lnTo>
                    <a:pt x="28" y="89"/>
                  </a:lnTo>
                  <a:lnTo>
                    <a:pt x="23" y="85"/>
                  </a:lnTo>
                  <a:lnTo>
                    <a:pt x="23" y="80"/>
                  </a:lnTo>
                  <a:lnTo>
                    <a:pt x="23" y="78"/>
                  </a:lnTo>
                  <a:lnTo>
                    <a:pt x="21" y="75"/>
                  </a:lnTo>
                  <a:lnTo>
                    <a:pt x="16" y="75"/>
                  </a:lnTo>
                  <a:lnTo>
                    <a:pt x="14" y="70"/>
                  </a:lnTo>
                  <a:lnTo>
                    <a:pt x="11" y="66"/>
                  </a:lnTo>
                  <a:lnTo>
                    <a:pt x="9" y="61"/>
                  </a:lnTo>
                  <a:lnTo>
                    <a:pt x="7" y="59"/>
                  </a:lnTo>
                  <a:lnTo>
                    <a:pt x="2" y="56"/>
                  </a:lnTo>
                  <a:lnTo>
                    <a:pt x="0" y="54"/>
                  </a:lnTo>
                  <a:lnTo>
                    <a:pt x="2" y="54"/>
                  </a:lnTo>
                  <a:lnTo>
                    <a:pt x="11" y="52"/>
                  </a:lnTo>
                  <a:lnTo>
                    <a:pt x="16" y="49"/>
                  </a:lnTo>
                  <a:lnTo>
                    <a:pt x="18" y="44"/>
                  </a:lnTo>
                  <a:lnTo>
                    <a:pt x="21" y="40"/>
                  </a:lnTo>
                  <a:lnTo>
                    <a:pt x="23" y="35"/>
                  </a:lnTo>
                  <a:lnTo>
                    <a:pt x="26" y="30"/>
                  </a:lnTo>
                  <a:lnTo>
                    <a:pt x="30" y="26"/>
                  </a:lnTo>
                  <a:lnTo>
                    <a:pt x="30" y="23"/>
                  </a:lnTo>
                  <a:lnTo>
                    <a:pt x="33" y="21"/>
                  </a:lnTo>
                  <a:lnTo>
                    <a:pt x="33" y="18"/>
                  </a:lnTo>
                  <a:lnTo>
                    <a:pt x="35" y="14"/>
                  </a:lnTo>
                  <a:lnTo>
                    <a:pt x="40" y="11"/>
                  </a:lnTo>
                  <a:lnTo>
                    <a:pt x="42" y="11"/>
                  </a:lnTo>
                  <a:lnTo>
                    <a:pt x="44" y="9"/>
                  </a:lnTo>
                  <a:lnTo>
                    <a:pt x="47" y="7"/>
                  </a:lnTo>
                  <a:lnTo>
                    <a:pt x="49" y="7"/>
                  </a:lnTo>
                  <a:lnTo>
                    <a:pt x="54" y="7"/>
                  </a:lnTo>
                  <a:lnTo>
                    <a:pt x="59" y="7"/>
                  </a:lnTo>
                  <a:lnTo>
                    <a:pt x="68" y="9"/>
                  </a:lnTo>
                  <a:lnTo>
                    <a:pt x="73" y="7"/>
                  </a:lnTo>
                  <a:lnTo>
                    <a:pt x="77" y="7"/>
                  </a:lnTo>
                  <a:lnTo>
                    <a:pt x="80" y="9"/>
                  </a:lnTo>
                  <a:lnTo>
                    <a:pt x="85" y="11"/>
                  </a:lnTo>
                  <a:lnTo>
                    <a:pt x="89" y="9"/>
                  </a:lnTo>
                  <a:lnTo>
                    <a:pt x="94" y="7"/>
                  </a:lnTo>
                  <a:lnTo>
                    <a:pt x="99" y="7"/>
                  </a:lnTo>
                  <a:lnTo>
                    <a:pt x="111" y="0"/>
                  </a:lnTo>
                  <a:lnTo>
                    <a:pt x="113" y="0"/>
                  </a:lnTo>
                  <a:lnTo>
                    <a:pt x="115" y="0"/>
                  </a:lnTo>
                  <a:lnTo>
                    <a:pt x="120" y="4"/>
                  </a:lnTo>
                  <a:lnTo>
                    <a:pt x="122" y="7"/>
                  </a:lnTo>
                  <a:lnTo>
                    <a:pt x="125" y="11"/>
                  </a:lnTo>
                  <a:lnTo>
                    <a:pt x="127" y="16"/>
                  </a:lnTo>
                  <a:lnTo>
                    <a:pt x="129" y="23"/>
                  </a:lnTo>
                  <a:lnTo>
                    <a:pt x="134" y="30"/>
                  </a:lnTo>
                  <a:lnTo>
                    <a:pt x="139" y="37"/>
                  </a:lnTo>
                  <a:lnTo>
                    <a:pt x="139" y="47"/>
                  </a:lnTo>
                  <a:lnTo>
                    <a:pt x="139" y="52"/>
                  </a:lnTo>
                  <a:lnTo>
                    <a:pt x="139" y="59"/>
                  </a:lnTo>
                  <a:lnTo>
                    <a:pt x="139" y="61"/>
                  </a:lnTo>
                  <a:lnTo>
                    <a:pt x="141" y="66"/>
                  </a:lnTo>
                  <a:lnTo>
                    <a:pt x="141" y="70"/>
                  </a:lnTo>
                  <a:lnTo>
                    <a:pt x="141" y="70"/>
                  </a:lnTo>
                  <a:lnTo>
                    <a:pt x="144" y="70"/>
                  </a:lnTo>
                  <a:lnTo>
                    <a:pt x="146" y="75"/>
                  </a:lnTo>
                  <a:lnTo>
                    <a:pt x="151" y="75"/>
                  </a:lnTo>
                  <a:lnTo>
                    <a:pt x="153" y="73"/>
                  </a:lnTo>
                  <a:lnTo>
                    <a:pt x="158" y="73"/>
                  </a:lnTo>
                  <a:lnTo>
                    <a:pt x="163" y="70"/>
                  </a:lnTo>
                  <a:lnTo>
                    <a:pt x="165" y="73"/>
                  </a:lnTo>
                  <a:lnTo>
                    <a:pt x="165" y="73"/>
                  </a:lnTo>
                  <a:lnTo>
                    <a:pt x="167" y="75"/>
                  </a:lnTo>
                  <a:lnTo>
                    <a:pt x="167" y="80"/>
                  </a:lnTo>
                  <a:lnTo>
                    <a:pt x="167" y="85"/>
                  </a:lnTo>
                  <a:lnTo>
                    <a:pt x="165" y="85"/>
                  </a:lnTo>
                  <a:lnTo>
                    <a:pt x="163" y="87"/>
                  </a:lnTo>
                  <a:lnTo>
                    <a:pt x="160" y="89"/>
                  </a:lnTo>
                  <a:lnTo>
                    <a:pt x="158" y="92"/>
                  </a:lnTo>
                  <a:lnTo>
                    <a:pt x="155" y="94"/>
                  </a:lnTo>
                  <a:lnTo>
                    <a:pt x="153" y="96"/>
                  </a:lnTo>
                  <a:lnTo>
                    <a:pt x="151" y="94"/>
                  </a:lnTo>
                  <a:lnTo>
                    <a:pt x="153" y="92"/>
                  </a:lnTo>
                  <a:lnTo>
                    <a:pt x="155" y="87"/>
                  </a:lnTo>
                  <a:lnTo>
                    <a:pt x="155" y="82"/>
                  </a:lnTo>
                  <a:lnTo>
                    <a:pt x="153" y="82"/>
                  </a:lnTo>
                  <a:lnTo>
                    <a:pt x="153" y="92"/>
                  </a:lnTo>
                  <a:lnTo>
                    <a:pt x="151" y="94"/>
                  </a:lnTo>
                  <a:lnTo>
                    <a:pt x="151" y="99"/>
                  </a:lnTo>
                  <a:lnTo>
                    <a:pt x="148" y="101"/>
                  </a:lnTo>
                  <a:lnTo>
                    <a:pt x="148" y="106"/>
                  </a:lnTo>
                  <a:lnTo>
                    <a:pt x="148" y="108"/>
                  </a:lnTo>
                  <a:lnTo>
                    <a:pt x="148" y="11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7" name="Freeform 1266">
              <a:extLst>
                <a:ext uri="{FF2B5EF4-FFF2-40B4-BE49-F238E27FC236}">
                  <a16:creationId xmlns:a16="http://schemas.microsoft.com/office/drawing/2014/main" id="{87778941-FBA4-4FB7-8A84-E24B282962E1}"/>
                </a:ext>
              </a:extLst>
            </p:cNvPr>
            <p:cNvSpPr>
              <a:spLocks/>
            </p:cNvSpPr>
            <p:nvPr/>
          </p:nvSpPr>
          <p:spPr bwMode="auto">
            <a:xfrm>
              <a:off x="1834404" y="3008276"/>
              <a:ext cx="265113" cy="182563"/>
            </a:xfrm>
            <a:custGeom>
              <a:avLst/>
              <a:gdLst>
                <a:gd name="T0" fmla="*/ 144 w 167"/>
                <a:gd name="T1" fmla="*/ 113 h 115"/>
                <a:gd name="T2" fmla="*/ 127 w 167"/>
                <a:gd name="T3" fmla="*/ 106 h 115"/>
                <a:gd name="T4" fmla="*/ 120 w 167"/>
                <a:gd name="T5" fmla="*/ 103 h 115"/>
                <a:gd name="T6" fmla="*/ 103 w 167"/>
                <a:gd name="T7" fmla="*/ 111 h 115"/>
                <a:gd name="T8" fmla="*/ 94 w 167"/>
                <a:gd name="T9" fmla="*/ 115 h 115"/>
                <a:gd name="T10" fmla="*/ 66 w 167"/>
                <a:gd name="T11" fmla="*/ 113 h 115"/>
                <a:gd name="T12" fmla="*/ 51 w 167"/>
                <a:gd name="T13" fmla="*/ 111 h 115"/>
                <a:gd name="T14" fmla="*/ 49 w 167"/>
                <a:gd name="T15" fmla="*/ 103 h 115"/>
                <a:gd name="T16" fmla="*/ 42 w 167"/>
                <a:gd name="T17" fmla="*/ 101 h 115"/>
                <a:gd name="T18" fmla="*/ 42 w 167"/>
                <a:gd name="T19" fmla="*/ 94 h 115"/>
                <a:gd name="T20" fmla="*/ 37 w 167"/>
                <a:gd name="T21" fmla="*/ 92 h 115"/>
                <a:gd name="T22" fmla="*/ 23 w 167"/>
                <a:gd name="T23" fmla="*/ 85 h 115"/>
                <a:gd name="T24" fmla="*/ 23 w 167"/>
                <a:gd name="T25" fmla="*/ 78 h 115"/>
                <a:gd name="T26" fmla="*/ 16 w 167"/>
                <a:gd name="T27" fmla="*/ 75 h 115"/>
                <a:gd name="T28" fmla="*/ 11 w 167"/>
                <a:gd name="T29" fmla="*/ 66 h 115"/>
                <a:gd name="T30" fmla="*/ 7 w 167"/>
                <a:gd name="T31" fmla="*/ 59 h 115"/>
                <a:gd name="T32" fmla="*/ 0 w 167"/>
                <a:gd name="T33" fmla="*/ 54 h 115"/>
                <a:gd name="T34" fmla="*/ 11 w 167"/>
                <a:gd name="T35" fmla="*/ 52 h 115"/>
                <a:gd name="T36" fmla="*/ 18 w 167"/>
                <a:gd name="T37" fmla="*/ 44 h 115"/>
                <a:gd name="T38" fmla="*/ 23 w 167"/>
                <a:gd name="T39" fmla="*/ 35 h 115"/>
                <a:gd name="T40" fmla="*/ 30 w 167"/>
                <a:gd name="T41" fmla="*/ 26 h 115"/>
                <a:gd name="T42" fmla="*/ 33 w 167"/>
                <a:gd name="T43" fmla="*/ 21 h 115"/>
                <a:gd name="T44" fmla="*/ 35 w 167"/>
                <a:gd name="T45" fmla="*/ 14 h 115"/>
                <a:gd name="T46" fmla="*/ 42 w 167"/>
                <a:gd name="T47" fmla="*/ 11 h 115"/>
                <a:gd name="T48" fmla="*/ 47 w 167"/>
                <a:gd name="T49" fmla="*/ 7 h 115"/>
                <a:gd name="T50" fmla="*/ 54 w 167"/>
                <a:gd name="T51" fmla="*/ 7 h 115"/>
                <a:gd name="T52" fmla="*/ 68 w 167"/>
                <a:gd name="T53" fmla="*/ 9 h 115"/>
                <a:gd name="T54" fmla="*/ 77 w 167"/>
                <a:gd name="T55" fmla="*/ 7 h 115"/>
                <a:gd name="T56" fmla="*/ 85 w 167"/>
                <a:gd name="T57" fmla="*/ 11 h 115"/>
                <a:gd name="T58" fmla="*/ 94 w 167"/>
                <a:gd name="T59" fmla="*/ 7 h 115"/>
                <a:gd name="T60" fmla="*/ 111 w 167"/>
                <a:gd name="T61" fmla="*/ 0 h 115"/>
                <a:gd name="T62" fmla="*/ 115 w 167"/>
                <a:gd name="T63" fmla="*/ 0 h 115"/>
                <a:gd name="T64" fmla="*/ 122 w 167"/>
                <a:gd name="T65" fmla="*/ 7 h 115"/>
                <a:gd name="T66" fmla="*/ 127 w 167"/>
                <a:gd name="T67" fmla="*/ 16 h 115"/>
                <a:gd name="T68" fmla="*/ 134 w 167"/>
                <a:gd name="T69" fmla="*/ 30 h 115"/>
                <a:gd name="T70" fmla="*/ 139 w 167"/>
                <a:gd name="T71" fmla="*/ 47 h 115"/>
                <a:gd name="T72" fmla="*/ 139 w 167"/>
                <a:gd name="T73" fmla="*/ 59 h 115"/>
                <a:gd name="T74" fmla="*/ 141 w 167"/>
                <a:gd name="T75" fmla="*/ 66 h 115"/>
                <a:gd name="T76" fmla="*/ 141 w 167"/>
                <a:gd name="T77" fmla="*/ 70 h 115"/>
                <a:gd name="T78" fmla="*/ 146 w 167"/>
                <a:gd name="T79" fmla="*/ 75 h 115"/>
                <a:gd name="T80" fmla="*/ 153 w 167"/>
                <a:gd name="T81" fmla="*/ 73 h 115"/>
                <a:gd name="T82" fmla="*/ 163 w 167"/>
                <a:gd name="T83" fmla="*/ 70 h 115"/>
                <a:gd name="T84" fmla="*/ 165 w 167"/>
                <a:gd name="T85" fmla="*/ 73 h 115"/>
                <a:gd name="T86" fmla="*/ 167 w 167"/>
                <a:gd name="T87" fmla="*/ 80 h 115"/>
                <a:gd name="T88" fmla="*/ 165 w 167"/>
                <a:gd name="T89" fmla="*/ 85 h 115"/>
                <a:gd name="T90" fmla="*/ 160 w 167"/>
                <a:gd name="T91" fmla="*/ 89 h 115"/>
                <a:gd name="T92" fmla="*/ 155 w 167"/>
                <a:gd name="T93" fmla="*/ 94 h 115"/>
                <a:gd name="T94" fmla="*/ 151 w 167"/>
                <a:gd name="T95" fmla="*/ 94 h 115"/>
                <a:gd name="T96" fmla="*/ 155 w 167"/>
                <a:gd name="T97" fmla="*/ 87 h 115"/>
                <a:gd name="T98" fmla="*/ 153 w 167"/>
                <a:gd name="T99" fmla="*/ 82 h 115"/>
                <a:gd name="T100" fmla="*/ 151 w 167"/>
                <a:gd name="T101" fmla="*/ 94 h 115"/>
                <a:gd name="T102" fmla="*/ 148 w 167"/>
                <a:gd name="T103" fmla="*/ 101 h 115"/>
                <a:gd name="T104" fmla="*/ 148 w 167"/>
                <a:gd name="T105" fmla="*/ 10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7" h="115">
                  <a:moveTo>
                    <a:pt x="148" y="113"/>
                  </a:moveTo>
                  <a:lnTo>
                    <a:pt x="144" y="113"/>
                  </a:lnTo>
                  <a:lnTo>
                    <a:pt x="137" y="108"/>
                  </a:lnTo>
                  <a:lnTo>
                    <a:pt x="127" y="106"/>
                  </a:lnTo>
                  <a:lnTo>
                    <a:pt x="125" y="103"/>
                  </a:lnTo>
                  <a:lnTo>
                    <a:pt x="120" y="103"/>
                  </a:lnTo>
                  <a:lnTo>
                    <a:pt x="111" y="106"/>
                  </a:lnTo>
                  <a:lnTo>
                    <a:pt x="103" y="111"/>
                  </a:lnTo>
                  <a:lnTo>
                    <a:pt x="99" y="113"/>
                  </a:lnTo>
                  <a:lnTo>
                    <a:pt x="94" y="115"/>
                  </a:lnTo>
                  <a:lnTo>
                    <a:pt x="80" y="113"/>
                  </a:lnTo>
                  <a:lnTo>
                    <a:pt x="66" y="113"/>
                  </a:lnTo>
                  <a:lnTo>
                    <a:pt x="56" y="111"/>
                  </a:lnTo>
                  <a:lnTo>
                    <a:pt x="51" y="111"/>
                  </a:lnTo>
                  <a:lnTo>
                    <a:pt x="47" y="108"/>
                  </a:lnTo>
                  <a:lnTo>
                    <a:pt x="49" y="103"/>
                  </a:lnTo>
                  <a:lnTo>
                    <a:pt x="44" y="103"/>
                  </a:lnTo>
                  <a:lnTo>
                    <a:pt x="42" y="101"/>
                  </a:lnTo>
                  <a:lnTo>
                    <a:pt x="40" y="96"/>
                  </a:lnTo>
                  <a:lnTo>
                    <a:pt x="42" y="94"/>
                  </a:lnTo>
                  <a:lnTo>
                    <a:pt x="40" y="89"/>
                  </a:lnTo>
                  <a:lnTo>
                    <a:pt x="37" y="92"/>
                  </a:lnTo>
                  <a:lnTo>
                    <a:pt x="28" y="89"/>
                  </a:lnTo>
                  <a:lnTo>
                    <a:pt x="23" y="85"/>
                  </a:lnTo>
                  <a:lnTo>
                    <a:pt x="23" y="80"/>
                  </a:lnTo>
                  <a:lnTo>
                    <a:pt x="23" y="78"/>
                  </a:lnTo>
                  <a:lnTo>
                    <a:pt x="21" y="75"/>
                  </a:lnTo>
                  <a:lnTo>
                    <a:pt x="16" y="75"/>
                  </a:lnTo>
                  <a:lnTo>
                    <a:pt x="14" y="70"/>
                  </a:lnTo>
                  <a:lnTo>
                    <a:pt x="11" y="66"/>
                  </a:lnTo>
                  <a:lnTo>
                    <a:pt x="9" y="61"/>
                  </a:lnTo>
                  <a:lnTo>
                    <a:pt x="7" y="59"/>
                  </a:lnTo>
                  <a:lnTo>
                    <a:pt x="2" y="56"/>
                  </a:lnTo>
                  <a:lnTo>
                    <a:pt x="0" y="54"/>
                  </a:lnTo>
                  <a:lnTo>
                    <a:pt x="2" y="54"/>
                  </a:lnTo>
                  <a:lnTo>
                    <a:pt x="11" y="52"/>
                  </a:lnTo>
                  <a:lnTo>
                    <a:pt x="16" y="49"/>
                  </a:lnTo>
                  <a:lnTo>
                    <a:pt x="18" y="44"/>
                  </a:lnTo>
                  <a:lnTo>
                    <a:pt x="21" y="40"/>
                  </a:lnTo>
                  <a:lnTo>
                    <a:pt x="23" y="35"/>
                  </a:lnTo>
                  <a:lnTo>
                    <a:pt x="26" y="30"/>
                  </a:lnTo>
                  <a:lnTo>
                    <a:pt x="30" y="26"/>
                  </a:lnTo>
                  <a:lnTo>
                    <a:pt x="30" y="23"/>
                  </a:lnTo>
                  <a:lnTo>
                    <a:pt x="33" y="21"/>
                  </a:lnTo>
                  <a:lnTo>
                    <a:pt x="33" y="18"/>
                  </a:lnTo>
                  <a:lnTo>
                    <a:pt x="35" y="14"/>
                  </a:lnTo>
                  <a:lnTo>
                    <a:pt x="40" y="11"/>
                  </a:lnTo>
                  <a:lnTo>
                    <a:pt x="42" y="11"/>
                  </a:lnTo>
                  <a:lnTo>
                    <a:pt x="44" y="9"/>
                  </a:lnTo>
                  <a:lnTo>
                    <a:pt x="47" y="7"/>
                  </a:lnTo>
                  <a:lnTo>
                    <a:pt x="49" y="7"/>
                  </a:lnTo>
                  <a:lnTo>
                    <a:pt x="54" y="7"/>
                  </a:lnTo>
                  <a:lnTo>
                    <a:pt x="59" y="7"/>
                  </a:lnTo>
                  <a:lnTo>
                    <a:pt x="68" y="9"/>
                  </a:lnTo>
                  <a:lnTo>
                    <a:pt x="73" y="7"/>
                  </a:lnTo>
                  <a:lnTo>
                    <a:pt x="77" y="7"/>
                  </a:lnTo>
                  <a:lnTo>
                    <a:pt x="80" y="9"/>
                  </a:lnTo>
                  <a:lnTo>
                    <a:pt x="85" y="11"/>
                  </a:lnTo>
                  <a:lnTo>
                    <a:pt x="89" y="9"/>
                  </a:lnTo>
                  <a:lnTo>
                    <a:pt x="94" y="7"/>
                  </a:lnTo>
                  <a:lnTo>
                    <a:pt x="99" y="7"/>
                  </a:lnTo>
                  <a:lnTo>
                    <a:pt x="111" y="0"/>
                  </a:lnTo>
                  <a:lnTo>
                    <a:pt x="113" y="0"/>
                  </a:lnTo>
                  <a:lnTo>
                    <a:pt x="115" y="0"/>
                  </a:lnTo>
                  <a:lnTo>
                    <a:pt x="120" y="4"/>
                  </a:lnTo>
                  <a:lnTo>
                    <a:pt x="122" y="7"/>
                  </a:lnTo>
                  <a:lnTo>
                    <a:pt x="125" y="11"/>
                  </a:lnTo>
                  <a:lnTo>
                    <a:pt x="127" y="16"/>
                  </a:lnTo>
                  <a:lnTo>
                    <a:pt x="129" y="23"/>
                  </a:lnTo>
                  <a:lnTo>
                    <a:pt x="134" y="30"/>
                  </a:lnTo>
                  <a:lnTo>
                    <a:pt x="139" y="37"/>
                  </a:lnTo>
                  <a:lnTo>
                    <a:pt x="139" y="47"/>
                  </a:lnTo>
                  <a:lnTo>
                    <a:pt x="139" y="52"/>
                  </a:lnTo>
                  <a:lnTo>
                    <a:pt x="139" y="59"/>
                  </a:lnTo>
                  <a:lnTo>
                    <a:pt x="139" y="61"/>
                  </a:lnTo>
                  <a:lnTo>
                    <a:pt x="141" y="66"/>
                  </a:lnTo>
                  <a:lnTo>
                    <a:pt x="141" y="70"/>
                  </a:lnTo>
                  <a:lnTo>
                    <a:pt x="141" y="70"/>
                  </a:lnTo>
                  <a:lnTo>
                    <a:pt x="144" y="70"/>
                  </a:lnTo>
                  <a:lnTo>
                    <a:pt x="146" y="75"/>
                  </a:lnTo>
                  <a:lnTo>
                    <a:pt x="151" y="75"/>
                  </a:lnTo>
                  <a:lnTo>
                    <a:pt x="153" y="73"/>
                  </a:lnTo>
                  <a:lnTo>
                    <a:pt x="158" y="73"/>
                  </a:lnTo>
                  <a:lnTo>
                    <a:pt x="163" y="70"/>
                  </a:lnTo>
                  <a:lnTo>
                    <a:pt x="165" y="73"/>
                  </a:lnTo>
                  <a:lnTo>
                    <a:pt x="165" y="73"/>
                  </a:lnTo>
                  <a:lnTo>
                    <a:pt x="167" y="75"/>
                  </a:lnTo>
                  <a:lnTo>
                    <a:pt x="167" y="80"/>
                  </a:lnTo>
                  <a:lnTo>
                    <a:pt x="167" y="85"/>
                  </a:lnTo>
                  <a:lnTo>
                    <a:pt x="165" y="85"/>
                  </a:lnTo>
                  <a:lnTo>
                    <a:pt x="163" y="87"/>
                  </a:lnTo>
                  <a:lnTo>
                    <a:pt x="160" y="89"/>
                  </a:lnTo>
                  <a:lnTo>
                    <a:pt x="158" y="92"/>
                  </a:lnTo>
                  <a:lnTo>
                    <a:pt x="155" y="94"/>
                  </a:lnTo>
                  <a:lnTo>
                    <a:pt x="153" y="96"/>
                  </a:lnTo>
                  <a:lnTo>
                    <a:pt x="151" y="94"/>
                  </a:lnTo>
                  <a:lnTo>
                    <a:pt x="153" y="92"/>
                  </a:lnTo>
                  <a:lnTo>
                    <a:pt x="155" y="87"/>
                  </a:lnTo>
                  <a:lnTo>
                    <a:pt x="155" y="82"/>
                  </a:lnTo>
                  <a:lnTo>
                    <a:pt x="153" y="82"/>
                  </a:lnTo>
                  <a:lnTo>
                    <a:pt x="153" y="92"/>
                  </a:lnTo>
                  <a:lnTo>
                    <a:pt x="151" y="94"/>
                  </a:lnTo>
                  <a:lnTo>
                    <a:pt x="151" y="99"/>
                  </a:lnTo>
                  <a:lnTo>
                    <a:pt x="148" y="101"/>
                  </a:lnTo>
                  <a:lnTo>
                    <a:pt x="148" y="106"/>
                  </a:lnTo>
                  <a:lnTo>
                    <a:pt x="148" y="108"/>
                  </a:lnTo>
                  <a:lnTo>
                    <a:pt x="148" y="113"/>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8" name="Freeform 1267">
              <a:extLst>
                <a:ext uri="{FF2B5EF4-FFF2-40B4-BE49-F238E27FC236}">
                  <a16:creationId xmlns:a16="http://schemas.microsoft.com/office/drawing/2014/main" id="{6B21E081-64F2-40B8-90B1-C045455085D3}"/>
                </a:ext>
              </a:extLst>
            </p:cNvPr>
            <p:cNvSpPr>
              <a:spLocks/>
            </p:cNvSpPr>
            <p:nvPr/>
          </p:nvSpPr>
          <p:spPr bwMode="auto">
            <a:xfrm>
              <a:off x="1882028" y="2524089"/>
              <a:ext cx="38100" cy="33337"/>
            </a:xfrm>
            <a:custGeom>
              <a:avLst/>
              <a:gdLst>
                <a:gd name="T0" fmla="*/ 19 w 24"/>
                <a:gd name="T1" fmla="*/ 0 h 21"/>
                <a:gd name="T2" fmla="*/ 17 w 24"/>
                <a:gd name="T3" fmla="*/ 0 h 21"/>
                <a:gd name="T4" fmla="*/ 12 w 24"/>
                <a:gd name="T5" fmla="*/ 0 h 21"/>
                <a:gd name="T6" fmla="*/ 7 w 24"/>
                <a:gd name="T7" fmla="*/ 0 h 21"/>
                <a:gd name="T8" fmla="*/ 5 w 24"/>
                <a:gd name="T9" fmla="*/ 5 h 21"/>
                <a:gd name="T10" fmla="*/ 5 w 24"/>
                <a:gd name="T11" fmla="*/ 5 h 21"/>
                <a:gd name="T12" fmla="*/ 3 w 24"/>
                <a:gd name="T13" fmla="*/ 5 h 21"/>
                <a:gd name="T14" fmla="*/ 0 w 24"/>
                <a:gd name="T15" fmla="*/ 5 h 21"/>
                <a:gd name="T16" fmla="*/ 0 w 24"/>
                <a:gd name="T17" fmla="*/ 12 h 21"/>
                <a:gd name="T18" fmla="*/ 3 w 24"/>
                <a:gd name="T19" fmla="*/ 14 h 21"/>
                <a:gd name="T20" fmla="*/ 3 w 24"/>
                <a:gd name="T21" fmla="*/ 14 h 21"/>
                <a:gd name="T22" fmla="*/ 3 w 24"/>
                <a:gd name="T23" fmla="*/ 16 h 21"/>
                <a:gd name="T24" fmla="*/ 3 w 24"/>
                <a:gd name="T25" fmla="*/ 19 h 21"/>
                <a:gd name="T26" fmla="*/ 3 w 24"/>
                <a:gd name="T27" fmla="*/ 21 h 21"/>
                <a:gd name="T28" fmla="*/ 5 w 24"/>
                <a:gd name="T29" fmla="*/ 19 h 21"/>
                <a:gd name="T30" fmla="*/ 7 w 24"/>
                <a:gd name="T31" fmla="*/ 14 h 21"/>
                <a:gd name="T32" fmla="*/ 7 w 24"/>
                <a:gd name="T33" fmla="*/ 12 h 21"/>
                <a:gd name="T34" fmla="*/ 12 w 24"/>
                <a:gd name="T35" fmla="*/ 12 h 21"/>
                <a:gd name="T36" fmla="*/ 12 w 24"/>
                <a:gd name="T37" fmla="*/ 12 h 21"/>
                <a:gd name="T38" fmla="*/ 14 w 24"/>
                <a:gd name="T39" fmla="*/ 12 h 21"/>
                <a:gd name="T40" fmla="*/ 17 w 24"/>
                <a:gd name="T41" fmla="*/ 9 h 21"/>
                <a:gd name="T42" fmla="*/ 19 w 24"/>
                <a:gd name="T43" fmla="*/ 7 h 21"/>
                <a:gd name="T44" fmla="*/ 21 w 24"/>
                <a:gd name="T45" fmla="*/ 7 h 21"/>
                <a:gd name="T46" fmla="*/ 24 w 24"/>
                <a:gd name="T47" fmla="*/ 5 h 21"/>
                <a:gd name="T48" fmla="*/ 24 w 24"/>
                <a:gd name="T49" fmla="*/ 5 h 21"/>
                <a:gd name="T50" fmla="*/ 19 w 24"/>
                <a:gd name="T51" fmla="*/ 2 h 21"/>
                <a:gd name="T52" fmla="*/ 19 w 24"/>
                <a:gd name="T53" fmla="*/ 0 h 21"/>
                <a:gd name="T54" fmla="*/ 19 w 24"/>
                <a:gd name="T5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21">
                  <a:moveTo>
                    <a:pt x="19" y="0"/>
                  </a:moveTo>
                  <a:lnTo>
                    <a:pt x="17" y="0"/>
                  </a:lnTo>
                  <a:lnTo>
                    <a:pt x="12" y="0"/>
                  </a:lnTo>
                  <a:lnTo>
                    <a:pt x="7" y="0"/>
                  </a:lnTo>
                  <a:lnTo>
                    <a:pt x="5" y="5"/>
                  </a:lnTo>
                  <a:lnTo>
                    <a:pt x="5" y="5"/>
                  </a:lnTo>
                  <a:lnTo>
                    <a:pt x="3" y="5"/>
                  </a:lnTo>
                  <a:lnTo>
                    <a:pt x="0" y="5"/>
                  </a:lnTo>
                  <a:lnTo>
                    <a:pt x="0" y="12"/>
                  </a:lnTo>
                  <a:lnTo>
                    <a:pt x="3" y="14"/>
                  </a:lnTo>
                  <a:lnTo>
                    <a:pt x="3" y="14"/>
                  </a:lnTo>
                  <a:lnTo>
                    <a:pt x="3" y="16"/>
                  </a:lnTo>
                  <a:lnTo>
                    <a:pt x="3" y="19"/>
                  </a:lnTo>
                  <a:lnTo>
                    <a:pt x="3" y="21"/>
                  </a:lnTo>
                  <a:lnTo>
                    <a:pt x="5" y="19"/>
                  </a:lnTo>
                  <a:lnTo>
                    <a:pt x="7" y="14"/>
                  </a:lnTo>
                  <a:lnTo>
                    <a:pt x="7" y="12"/>
                  </a:lnTo>
                  <a:lnTo>
                    <a:pt x="12" y="12"/>
                  </a:lnTo>
                  <a:lnTo>
                    <a:pt x="12" y="12"/>
                  </a:lnTo>
                  <a:lnTo>
                    <a:pt x="14" y="12"/>
                  </a:lnTo>
                  <a:lnTo>
                    <a:pt x="17" y="9"/>
                  </a:lnTo>
                  <a:lnTo>
                    <a:pt x="19" y="7"/>
                  </a:lnTo>
                  <a:lnTo>
                    <a:pt x="21" y="7"/>
                  </a:lnTo>
                  <a:lnTo>
                    <a:pt x="24" y="5"/>
                  </a:lnTo>
                  <a:lnTo>
                    <a:pt x="24" y="5"/>
                  </a:lnTo>
                  <a:lnTo>
                    <a:pt x="19" y="2"/>
                  </a:lnTo>
                  <a:lnTo>
                    <a:pt x="19" y="0"/>
                  </a:lnTo>
                  <a:lnTo>
                    <a:pt x="19"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39" name="Freeform 1268">
              <a:extLst>
                <a:ext uri="{FF2B5EF4-FFF2-40B4-BE49-F238E27FC236}">
                  <a16:creationId xmlns:a16="http://schemas.microsoft.com/office/drawing/2014/main" id="{ED2A9E1C-5342-490F-AF72-9884A8F1AF8D}"/>
                </a:ext>
              </a:extLst>
            </p:cNvPr>
            <p:cNvSpPr>
              <a:spLocks/>
            </p:cNvSpPr>
            <p:nvPr/>
          </p:nvSpPr>
          <p:spPr bwMode="auto">
            <a:xfrm>
              <a:off x="1882028" y="2524089"/>
              <a:ext cx="38100" cy="33337"/>
            </a:xfrm>
            <a:custGeom>
              <a:avLst/>
              <a:gdLst>
                <a:gd name="T0" fmla="*/ 19 w 24"/>
                <a:gd name="T1" fmla="*/ 0 h 21"/>
                <a:gd name="T2" fmla="*/ 17 w 24"/>
                <a:gd name="T3" fmla="*/ 0 h 21"/>
                <a:gd name="T4" fmla="*/ 12 w 24"/>
                <a:gd name="T5" fmla="*/ 0 h 21"/>
                <a:gd name="T6" fmla="*/ 7 w 24"/>
                <a:gd name="T7" fmla="*/ 0 h 21"/>
                <a:gd name="T8" fmla="*/ 5 w 24"/>
                <a:gd name="T9" fmla="*/ 5 h 21"/>
                <a:gd name="T10" fmla="*/ 5 w 24"/>
                <a:gd name="T11" fmla="*/ 5 h 21"/>
                <a:gd name="T12" fmla="*/ 3 w 24"/>
                <a:gd name="T13" fmla="*/ 5 h 21"/>
                <a:gd name="T14" fmla="*/ 0 w 24"/>
                <a:gd name="T15" fmla="*/ 5 h 21"/>
                <a:gd name="T16" fmla="*/ 0 w 24"/>
                <a:gd name="T17" fmla="*/ 12 h 21"/>
                <a:gd name="T18" fmla="*/ 3 w 24"/>
                <a:gd name="T19" fmla="*/ 14 h 21"/>
                <a:gd name="T20" fmla="*/ 3 w 24"/>
                <a:gd name="T21" fmla="*/ 14 h 21"/>
                <a:gd name="T22" fmla="*/ 3 w 24"/>
                <a:gd name="T23" fmla="*/ 16 h 21"/>
                <a:gd name="T24" fmla="*/ 3 w 24"/>
                <a:gd name="T25" fmla="*/ 19 h 21"/>
                <a:gd name="T26" fmla="*/ 3 w 24"/>
                <a:gd name="T27" fmla="*/ 21 h 21"/>
                <a:gd name="T28" fmla="*/ 5 w 24"/>
                <a:gd name="T29" fmla="*/ 19 h 21"/>
                <a:gd name="T30" fmla="*/ 7 w 24"/>
                <a:gd name="T31" fmla="*/ 14 h 21"/>
                <a:gd name="T32" fmla="*/ 7 w 24"/>
                <a:gd name="T33" fmla="*/ 12 h 21"/>
                <a:gd name="T34" fmla="*/ 12 w 24"/>
                <a:gd name="T35" fmla="*/ 12 h 21"/>
                <a:gd name="T36" fmla="*/ 12 w 24"/>
                <a:gd name="T37" fmla="*/ 12 h 21"/>
                <a:gd name="T38" fmla="*/ 14 w 24"/>
                <a:gd name="T39" fmla="*/ 12 h 21"/>
                <a:gd name="T40" fmla="*/ 17 w 24"/>
                <a:gd name="T41" fmla="*/ 9 h 21"/>
                <a:gd name="T42" fmla="*/ 19 w 24"/>
                <a:gd name="T43" fmla="*/ 7 h 21"/>
                <a:gd name="T44" fmla="*/ 21 w 24"/>
                <a:gd name="T45" fmla="*/ 7 h 21"/>
                <a:gd name="T46" fmla="*/ 24 w 24"/>
                <a:gd name="T47" fmla="*/ 5 h 21"/>
                <a:gd name="T48" fmla="*/ 24 w 24"/>
                <a:gd name="T49" fmla="*/ 5 h 21"/>
                <a:gd name="T50" fmla="*/ 19 w 24"/>
                <a:gd name="T51" fmla="*/ 2 h 21"/>
                <a:gd name="T52" fmla="*/ 19 w 24"/>
                <a:gd name="T53" fmla="*/ 0 h 21"/>
                <a:gd name="T54" fmla="*/ 19 w 24"/>
                <a:gd name="T5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21">
                  <a:moveTo>
                    <a:pt x="19" y="0"/>
                  </a:moveTo>
                  <a:lnTo>
                    <a:pt x="17" y="0"/>
                  </a:lnTo>
                  <a:lnTo>
                    <a:pt x="12" y="0"/>
                  </a:lnTo>
                  <a:lnTo>
                    <a:pt x="7" y="0"/>
                  </a:lnTo>
                  <a:lnTo>
                    <a:pt x="5" y="5"/>
                  </a:lnTo>
                  <a:lnTo>
                    <a:pt x="5" y="5"/>
                  </a:lnTo>
                  <a:lnTo>
                    <a:pt x="3" y="5"/>
                  </a:lnTo>
                  <a:lnTo>
                    <a:pt x="0" y="5"/>
                  </a:lnTo>
                  <a:lnTo>
                    <a:pt x="0" y="12"/>
                  </a:lnTo>
                  <a:lnTo>
                    <a:pt x="3" y="14"/>
                  </a:lnTo>
                  <a:lnTo>
                    <a:pt x="3" y="14"/>
                  </a:lnTo>
                  <a:lnTo>
                    <a:pt x="3" y="16"/>
                  </a:lnTo>
                  <a:lnTo>
                    <a:pt x="3" y="19"/>
                  </a:lnTo>
                  <a:lnTo>
                    <a:pt x="3" y="21"/>
                  </a:lnTo>
                  <a:lnTo>
                    <a:pt x="5" y="19"/>
                  </a:lnTo>
                  <a:lnTo>
                    <a:pt x="7" y="14"/>
                  </a:lnTo>
                  <a:lnTo>
                    <a:pt x="7" y="12"/>
                  </a:lnTo>
                  <a:lnTo>
                    <a:pt x="12" y="12"/>
                  </a:lnTo>
                  <a:lnTo>
                    <a:pt x="12" y="12"/>
                  </a:lnTo>
                  <a:lnTo>
                    <a:pt x="14" y="12"/>
                  </a:lnTo>
                  <a:lnTo>
                    <a:pt x="17" y="9"/>
                  </a:lnTo>
                  <a:lnTo>
                    <a:pt x="19" y="7"/>
                  </a:lnTo>
                  <a:lnTo>
                    <a:pt x="21" y="7"/>
                  </a:lnTo>
                  <a:lnTo>
                    <a:pt x="24" y="5"/>
                  </a:lnTo>
                  <a:lnTo>
                    <a:pt x="24" y="5"/>
                  </a:lnTo>
                  <a:lnTo>
                    <a:pt x="19" y="2"/>
                  </a:lnTo>
                  <a:lnTo>
                    <a:pt x="19" y="0"/>
                  </a:lnTo>
                  <a:lnTo>
                    <a:pt x="19"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0" name="Freeform 1269">
              <a:extLst>
                <a:ext uri="{FF2B5EF4-FFF2-40B4-BE49-F238E27FC236}">
                  <a16:creationId xmlns:a16="http://schemas.microsoft.com/office/drawing/2014/main" id="{52896306-CEC9-4930-9ED7-BE98BFBB02C7}"/>
                </a:ext>
              </a:extLst>
            </p:cNvPr>
            <p:cNvSpPr>
              <a:spLocks/>
            </p:cNvSpPr>
            <p:nvPr/>
          </p:nvSpPr>
          <p:spPr bwMode="auto">
            <a:xfrm>
              <a:off x="1886790" y="2497101"/>
              <a:ext cx="25399" cy="23812"/>
            </a:xfrm>
            <a:custGeom>
              <a:avLst/>
              <a:gdLst>
                <a:gd name="T0" fmla="*/ 4 w 16"/>
                <a:gd name="T1" fmla="*/ 5 h 15"/>
                <a:gd name="T2" fmla="*/ 0 w 16"/>
                <a:gd name="T3" fmla="*/ 7 h 15"/>
                <a:gd name="T4" fmla="*/ 0 w 16"/>
                <a:gd name="T5" fmla="*/ 7 h 15"/>
                <a:gd name="T6" fmla="*/ 0 w 16"/>
                <a:gd name="T7" fmla="*/ 7 h 15"/>
                <a:gd name="T8" fmla="*/ 4 w 16"/>
                <a:gd name="T9" fmla="*/ 7 h 15"/>
                <a:gd name="T10" fmla="*/ 4 w 16"/>
                <a:gd name="T11" fmla="*/ 10 h 15"/>
                <a:gd name="T12" fmla="*/ 7 w 16"/>
                <a:gd name="T13" fmla="*/ 15 h 15"/>
                <a:gd name="T14" fmla="*/ 9 w 16"/>
                <a:gd name="T15" fmla="*/ 15 h 15"/>
                <a:gd name="T16" fmla="*/ 9 w 16"/>
                <a:gd name="T17" fmla="*/ 10 h 15"/>
                <a:gd name="T18" fmla="*/ 16 w 16"/>
                <a:gd name="T19" fmla="*/ 10 h 15"/>
                <a:gd name="T20" fmla="*/ 16 w 16"/>
                <a:gd name="T21" fmla="*/ 5 h 15"/>
                <a:gd name="T22" fmla="*/ 14 w 16"/>
                <a:gd name="T23" fmla="*/ 5 h 15"/>
                <a:gd name="T24" fmla="*/ 11 w 16"/>
                <a:gd name="T25" fmla="*/ 3 h 15"/>
                <a:gd name="T26" fmla="*/ 9 w 16"/>
                <a:gd name="T27" fmla="*/ 3 h 15"/>
                <a:gd name="T28" fmla="*/ 9 w 16"/>
                <a:gd name="T29" fmla="*/ 0 h 15"/>
                <a:gd name="T30" fmla="*/ 7 w 16"/>
                <a:gd name="T31" fmla="*/ 5 h 15"/>
                <a:gd name="T32" fmla="*/ 4 w 16"/>
                <a:gd name="T33"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5">
                  <a:moveTo>
                    <a:pt x="4" y="5"/>
                  </a:moveTo>
                  <a:lnTo>
                    <a:pt x="0" y="7"/>
                  </a:lnTo>
                  <a:lnTo>
                    <a:pt x="0" y="7"/>
                  </a:lnTo>
                  <a:lnTo>
                    <a:pt x="0" y="7"/>
                  </a:lnTo>
                  <a:lnTo>
                    <a:pt x="4" y="7"/>
                  </a:lnTo>
                  <a:lnTo>
                    <a:pt x="4" y="10"/>
                  </a:lnTo>
                  <a:lnTo>
                    <a:pt x="7" y="15"/>
                  </a:lnTo>
                  <a:lnTo>
                    <a:pt x="9" y="15"/>
                  </a:lnTo>
                  <a:lnTo>
                    <a:pt x="9" y="10"/>
                  </a:lnTo>
                  <a:lnTo>
                    <a:pt x="16" y="10"/>
                  </a:lnTo>
                  <a:lnTo>
                    <a:pt x="16" y="5"/>
                  </a:lnTo>
                  <a:lnTo>
                    <a:pt x="14" y="5"/>
                  </a:lnTo>
                  <a:lnTo>
                    <a:pt x="11" y="3"/>
                  </a:lnTo>
                  <a:lnTo>
                    <a:pt x="9" y="3"/>
                  </a:lnTo>
                  <a:lnTo>
                    <a:pt x="9" y="0"/>
                  </a:lnTo>
                  <a:lnTo>
                    <a:pt x="7" y="5"/>
                  </a:lnTo>
                  <a:lnTo>
                    <a:pt x="4"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1" name="Freeform 1270">
              <a:extLst>
                <a:ext uri="{FF2B5EF4-FFF2-40B4-BE49-F238E27FC236}">
                  <a16:creationId xmlns:a16="http://schemas.microsoft.com/office/drawing/2014/main" id="{D9C9896D-1D00-4D04-8208-01EC69631B39}"/>
                </a:ext>
              </a:extLst>
            </p:cNvPr>
            <p:cNvSpPr>
              <a:spLocks/>
            </p:cNvSpPr>
            <p:nvPr/>
          </p:nvSpPr>
          <p:spPr bwMode="auto">
            <a:xfrm>
              <a:off x="1886790" y="2497101"/>
              <a:ext cx="25399" cy="23812"/>
            </a:xfrm>
            <a:custGeom>
              <a:avLst/>
              <a:gdLst>
                <a:gd name="T0" fmla="*/ 4 w 16"/>
                <a:gd name="T1" fmla="*/ 5 h 15"/>
                <a:gd name="T2" fmla="*/ 0 w 16"/>
                <a:gd name="T3" fmla="*/ 7 h 15"/>
                <a:gd name="T4" fmla="*/ 0 w 16"/>
                <a:gd name="T5" fmla="*/ 7 h 15"/>
                <a:gd name="T6" fmla="*/ 0 w 16"/>
                <a:gd name="T7" fmla="*/ 7 h 15"/>
                <a:gd name="T8" fmla="*/ 4 w 16"/>
                <a:gd name="T9" fmla="*/ 7 h 15"/>
                <a:gd name="T10" fmla="*/ 4 w 16"/>
                <a:gd name="T11" fmla="*/ 10 h 15"/>
                <a:gd name="T12" fmla="*/ 7 w 16"/>
                <a:gd name="T13" fmla="*/ 15 h 15"/>
                <a:gd name="T14" fmla="*/ 9 w 16"/>
                <a:gd name="T15" fmla="*/ 15 h 15"/>
                <a:gd name="T16" fmla="*/ 9 w 16"/>
                <a:gd name="T17" fmla="*/ 10 h 15"/>
                <a:gd name="T18" fmla="*/ 16 w 16"/>
                <a:gd name="T19" fmla="*/ 10 h 15"/>
                <a:gd name="T20" fmla="*/ 16 w 16"/>
                <a:gd name="T21" fmla="*/ 5 h 15"/>
                <a:gd name="T22" fmla="*/ 14 w 16"/>
                <a:gd name="T23" fmla="*/ 5 h 15"/>
                <a:gd name="T24" fmla="*/ 11 w 16"/>
                <a:gd name="T25" fmla="*/ 3 h 15"/>
                <a:gd name="T26" fmla="*/ 9 w 16"/>
                <a:gd name="T27" fmla="*/ 3 h 15"/>
                <a:gd name="T28" fmla="*/ 9 w 16"/>
                <a:gd name="T29" fmla="*/ 0 h 15"/>
                <a:gd name="T30" fmla="*/ 7 w 16"/>
                <a:gd name="T31" fmla="*/ 5 h 15"/>
                <a:gd name="T32" fmla="*/ 4 w 16"/>
                <a:gd name="T33"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5">
                  <a:moveTo>
                    <a:pt x="4" y="5"/>
                  </a:moveTo>
                  <a:lnTo>
                    <a:pt x="0" y="7"/>
                  </a:lnTo>
                  <a:lnTo>
                    <a:pt x="0" y="7"/>
                  </a:lnTo>
                  <a:lnTo>
                    <a:pt x="0" y="7"/>
                  </a:lnTo>
                  <a:lnTo>
                    <a:pt x="4" y="7"/>
                  </a:lnTo>
                  <a:lnTo>
                    <a:pt x="4" y="10"/>
                  </a:lnTo>
                  <a:lnTo>
                    <a:pt x="7" y="15"/>
                  </a:lnTo>
                  <a:lnTo>
                    <a:pt x="9" y="15"/>
                  </a:lnTo>
                  <a:lnTo>
                    <a:pt x="9" y="10"/>
                  </a:lnTo>
                  <a:lnTo>
                    <a:pt x="16" y="10"/>
                  </a:lnTo>
                  <a:lnTo>
                    <a:pt x="16" y="5"/>
                  </a:lnTo>
                  <a:lnTo>
                    <a:pt x="14" y="5"/>
                  </a:lnTo>
                  <a:lnTo>
                    <a:pt x="11" y="3"/>
                  </a:lnTo>
                  <a:lnTo>
                    <a:pt x="9" y="3"/>
                  </a:lnTo>
                  <a:lnTo>
                    <a:pt x="9" y="0"/>
                  </a:lnTo>
                  <a:lnTo>
                    <a:pt x="7" y="5"/>
                  </a:lnTo>
                  <a:lnTo>
                    <a:pt x="4"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2" name="Freeform 1271">
              <a:extLst>
                <a:ext uri="{FF2B5EF4-FFF2-40B4-BE49-F238E27FC236}">
                  <a16:creationId xmlns:a16="http://schemas.microsoft.com/office/drawing/2014/main" id="{A1FF2E89-F0CF-4535-AC74-AB5C9D82E15E}"/>
                </a:ext>
              </a:extLst>
            </p:cNvPr>
            <p:cNvSpPr>
              <a:spLocks/>
            </p:cNvSpPr>
            <p:nvPr/>
          </p:nvSpPr>
          <p:spPr bwMode="auto">
            <a:xfrm>
              <a:off x="1923303" y="2466940"/>
              <a:ext cx="134938" cy="112712"/>
            </a:xfrm>
            <a:custGeom>
              <a:avLst/>
              <a:gdLst>
                <a:gd name="T0" fmla="*/ 40 w 85"/>
                <a:gd name="T1" fmla="*/ 0 h 71"/>
                <a:gd name="T2" fmla="*/ 45 w 85"/>
                <a:gd name="T3" fmla="*/ 3 h 71"/>
                <a:gd name="T4" fmla="*/ 52 w 85"/>
                <a:gd name="T5" fmla="*/ 5 h 71"/>
                <a:gd name="T6" fmla="*/ 59 w 85"/>
                <a:gd name="T7" fmla="*/ 8 h 71"/>
                <a:gd name="T8" fmla="*/ 76 w 85"/>
                <a:gd name="T9" fmla="*/ 10 h 71"/>
                <a:gd name="T10" fmla="*/ 81 w 85"/>
                <a:gd name="T11" fmla="*/ 5 h 71"/>
                <a:gd name="T12" fmla="*/ 85 w 85"/>
                <a:gd name="T13" fmla="*/ 8 h 71"/>
                <a:gd name="T14" fmla="*/ 85 w 85"/>
                <a:gd name="T15" fmla="*/ 12 h 71"/>
                <a:gd name="T16" fmla="*/ 78 w 85"/>
                <a:gd name="T17" fmla="*/ 22 h 71"/>
                <a:gd name="T18" fmla="*/ 78 w 85"/>
                <a:gd name="T19" fmla="*/ 29 h 71"/>
                <a:gd name="T20" fmla="*/ 78 w 85"/>
                <a:gd name="T21" fmla="*/ 38 h 71"/>
                <a:gd name="T22" fmla="*/ 78 w 85"/>
                <a:gd name="T23" fmla="*/ 41 h 71"/>
                <a:gd name="T24" fmla="*/ 73 w 85"/>
                <a:gd name="T25" fmla="*/ 45 h 71"/>
                <a:gd name="T26" fmla="*/ 71 w 85"/>
                <a:gd name="T27" fmla="*/ 50 h 71"/>
                <a:gd name="T28" fmla="*/ 76 w 85"/>
                <a:gd name="T29" fmla="*/ 52 h 71"/>
                <a:gd name="T30" fmla="*/ 83 w 85"/>
                <a:gd name="T31" fmla="*/ 57 h 71"/>
                <a:gd name="T32" fmla="*/ 81 w 85"/>
                <a:gd name="T33" fmla="*/ 62 h 71"/>
                <a:gd name="T34" fmla="*/ 76 w 85"/>
                <a:gd name="T35" fmla="*/ 57 h 71"/>
                <a:gd name="T36" fmla="*/ 73 w 85"/>
                <a:gd name="T37" fmla="*/ 64 h 71"/>
                <a:gd name="T38" fmla="*/ 71 w 85"/>
                <a:gd name="T39" fmla="*/ 71 h 71"/>
                <a:gd name="T40" fmla="*/ 66 w 85"/>
                <a:gd name="T41" fmla="*/ 69 h 71"/>
                <a:gd name="T42" fmla="*/ 59 w 85"/>
                <a:gd name="T43" fmla="*/ 71 h 71"/>
                <a:gd name="T44" fmla="*/ 50 w 85"/>
                <a:gd name="T45" fmla="*/ 64 h 71"/>
                <a:gd name="T46" fmla="*/ 43 w 85"/>
                <a:gd name="T47" fmla="*/ 59 h 71"/>
                <a:gd name="T48" fmla="*/ 33 w 85"/>
                <a:gd name="T49" fmla="*/ 55 h 71"/>
                <a:gd name="T50" fmla="*/ 21 w 85"/>
                <a:gd name="T51" fmla="*/ 59 h 71"/>
                <a:gd name="T52" fmla="*/ 17 w 85"/>
                <a:gd name="T53" fmla="*/ 62 h 71"/>
                <a:gd name="T54" fmla="*/ 19 w 85"/>
                <a:gd name="T55" fmla="*/ 50 h 71"/>
                <a:gd name="T56" fmla="*/ 19 w 85"/>
                <a:gd name="T57" fmla="*/ 45 h 71"/>
                <a:gd name="T58" fmla="*/ 14 w 85"/>
                <a:gd name="T59" fmla="*/ 45 h 71"/>
                <a:gd name="T60" fmla="*/ 10 w 85"/>
                <a:gd name="T61" fmla="*/ 45 h 71"/>
                <a:gd name="T62" fmla="*/ 5 w 85"/>
                <a:gd name="T63" fmla="*/ 45 h 71"/>
                <a:gd name="T64" fmla="*/ 3 w 85"/>
                <a:gd name="T65" fmla="*/ 38 h 71"/>
                <a:gd name="T66" fmla="*/ 3 w 85"/>
                <a:gd name="T67" fmla="*/ 31 h 71"/>
                <a:gd name="T68" fmla="*/ 5 w 85"/>
                <a:gd name="T69" fmla="*/ 31 h 71"/>
                <a:gd name="T70" fmla="*/ 3 w 85"/>
                <a:gd name="T71" fmla="*/ 26 h 71"/>
                <a:gd name="T72" fmla="*/ 3 w 85"/>
                <a:gd name="T73" fmla="*/ 24 h 71"/>
                <a:gd name="T74" fmla="*/ 3 w 85"/>
                <a:gd name="T75" fmla="*/ 17 h 71"/>
                <a:gd name="T76" fmla="*/ 12 w 85"/>
                <a:gd name="T77" fmla="*/ 12 h 71"/>
                <a:gd name="T78" fmla="*/ 14 w 85"/>
                <a:gd name="T79" fmla="*/ 10 h 71"/>
                <a:gd name="T80" fmla="*/ 19 w 85"/>
                <a:gd name="T81" fmla="*/ 8 h 71"/>
                <a:gd name="T82" fmla="*/ 26 w 85"/>
                <a:gd name="T83" fmla="*/ 5 h 71"/>
                <a:gd name="T84" fmla="*/ 36 w 85"/>
                <a:gd name="T85" fmla="*/ 5 h 71"/>
                <a:gd name="T86" fmla="*/ 36 w 85"/>
                <a:gd name="T87"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71">
                  <a:moveTo>
                    <a:pt x="40" y="3"/>
                  </a:moveTo>
                  <a:lnTo>
                    <a:pt x="40" y="0"/>
                  </a:lnTo>
                  <a:lnTo>
                    <a:pt x="43" y="3"/>
                  </a:lnTo>
                  <a:lnTo>
                    <a:pt x="45" y="3"/>
                  </a:lnTo>
                  <a:lnTo>
                    <a:pt x="47" y="3"/>
                  </a:lnTo>
                  <a:lnTo>
                    <a:pt x="52" y="5"/>
                  </a:lnTo>
                  <a:lnTo>
                    <a:pt x="57" y="5"/>
                  </a:lnTo>
                  <a:lnTo>
                    <a:pt x="59" y="8"/>
                  </a:lnTo>
                  <a:lnTo>
                    <a:pt x="64" y="8"/>
                  </a:lnTo>
                  <a:lnTo>
                    <a:pt x="76" y="10"/>
                  </a:lnTo>
                  <a:lnTo>
                    <a:pt x="81" y="8"/>
                  </a:lnTo>
                  <a:lnTo>
                    <a:pt x="81" y="5"/>
                  </a:lnTo>
                  <a:lnTo>
                    <a:pt x="83" y="5"/>
                  </a:lnTo>
                  <a:lnTo>
                    <a:pt x="85" y="8"/>
                  </a:lnTo>
                  <a:lnTo>
                    <a:pt x="85" y="10"/>
                  </a:lnTo>
                  <a:lnTo>
                    <a:pt x="85" y="12"/>
                  </a:lnTo>
                  <a:lnTo>
                    <a:pt x="81" y="17"/>
                  </a:lnTo>
                  <a:lnTo>
                    <a:pt x="78" y="22"/>
                  </a:lnTo>
                  <a:lnTo>
                    <a:pt x="76" y="24"/>
                  </a:lnTo>
                  <a:lnTo>
                    <a:pt x="78" y="29"/>
                  </a:lnTo>
                  <a:lnTo>
                    <a:pt x="76" y="36"/>
                  </a:lnTo>
                  <a:lnTo>
                    <a:pt x="78" y="38"/>
                  </a:lnTo>
                  <a:lnTo>
                    <a:pt x="78" y="38"/>
                  </a:lnTo>
                  <a:lnTo>
                    <a:pt x="78" y="41"/>
                  </a:lnTo>
                  <a:lnTo>
                    <a:pt x="78" y="43"/>
                  </a:lnTo>
                  <a:lnTo>
                    <a:pt x="73" y="45"/>
                  </a:lnTo>
                  <a:lnTo>
                    <a:pt x="73" y="48"/>
                  </a:lnTo>
                  <a:lnTo>
                    <a:pt x="71" y="50"/>
                  </a:lnTo>
                  <a:lnTo>
                    <a:pt x="73" y="52"/>
                  </a:lnTo>
                  <a:lnTo>
                    <a:pt x="76" y="52"/>
                  </a:lnTo>
                  <a:lnTo>
                    <a:pt x="81" y="52"/>
                  </a:lnTo>
                  <a:lnTo>
                    <a:pt x="83" y="57"/>
                  </a:lnTo>
                  <a:lnTo>
                    <a:pt x="83" y="62"/>
                  </a:lnTo>
                  <a:lnTo>
                    <a:pt x="81" y="62"/>
                  </a:lnTo>
                  <a:lnTo>
                    <a:pt x="78" y="59"/>
                  </a:lnTo>
                  <a:lnTo>
                    <a:pt x="76" y="57"/>
                  </a:lnTo>
                  <a:lnTo>
                    <a:pt x="76" y="62"/>
                  </a:lnTo>
                  <a:lnTo>
                    <a:pt x="73" y="64"/>
                  </a:lnTo>
                  <a:lnTo>
                    <a:pt x="71" y="69"/>
                  </a:lnTo>
                  <a:lnTo>
                    <a:pt x="71" y="71"/>
                  </a:lnTo>
                  <a:lnTo>
                    <a:pt x="71" y="71"/>
                  </a:lnTo>
                  <a:lnTo>
                    <a:pt x="66" y="69"/>
                  </a:lnTo>
                  <a:lnTo>
                    <a:pt x="62" y="69"/>
                  </a:lnTo>
                  <a:lnTo>
                    <a:pt x="59" y="71"/>
                  </a:lnTo>
                  <a:lnTo>
                    <a:pt x="57" y="71"/>
                  </a:lnTo>
                  <a:lnTo>
                    <a:pt x="50" y="64"/>
                  </a:lnTo>
                  <a:lnTo>
                    <a:pt x="47" y="62"/>
                  </a:lnTo>
                  <a:lnTo>
                    <a:pt x="43" y="59"/>
                  </a:lnTo>
                  <a:lnTo>
                    <a:pt x="38" y="57"/>
                  </a:lnTo>
                  <a:lnTo>
                    <a:pt x="33" y="55"/>
                  </a:lnTo>
                  <a:lnTo>
                    <a:pt x="26" y="57"/>
                  </a:lnTo>
                  <a:lnTo>
                    <a:pt x="21" y="59"/>
                  </a:lnTo>
                  <a:lnTo>
                    <a:pt x="19" y="59"/>
                  </a:lnTo>
                  <a:lnTo>
                    <a:pt x="17" y="62"/>
                  </a:lnTo>
                  <a:lnTo>
                    <a:pt x="17" y="57"/>
                  </a:lnTo>
                  <a:lnTo>
                    <a:pt x="19" y="50"/>
                  </a:lnTo>
                  <a:lnTo>
                    <a:pt x="19" y="45"/>
                  </a:lnTo>
                  <a:lnTo>
                    <a:pt x="19" y="45"/>
                  </a:lnTo>
                  <a:lnTo>
                    <a:pt x="14" y="43"/>
                  </a:lnTo>
                  <a:lnTo>
                    <a:pt x="14" y="45"/>
                  </a:lnTo>
                  <a:lnTo>
                    <a:pt x="12" y="48"/>
                  </a:lnTo>
                  <a:lnTo>
                    <a:pt x="10" y="45"/>
                  </a:lnTo>
                  <a:lnTo>
                    <a:pt x="7" y="45"/>
                  </a:lnTo>
                  <a:lnTo>
                    <a:pt x="5" y="45"/>
                  </a:lnTo>
                  <a:lnTo>
                    <a:pt x="5" y="41"/>
                  </a:lnTo>
                  <a:lnTo>
                    <a:pt x="3" y="38"/>
                  </a:lnTo>
                  <a:lnTo>
                    <a:pt x="3" y="36"/>
                  </a:lnTo>
                  <a:lnTo>
                    <a:pt x="3" y="31"/>
                  </a:lnTo>
                  <a:lnTo>
                    <a:pt x="7" y="31"/>
                  </a:lnTo>
                  <a:lnTo>
                    <a:pt x="5" y="31"/>
                  </a:lnTo>
                  <a:lnTo>
                    <a:pt x="3" y="29"/>
                  </a:lnTo>
                  <a:lnTo>
                    <a:pt x="3" y="26"/>
                  </a:lnTo>
                  <a:lnTo>
                    <a:pt x="3" y="24"/>
                  </a:lnTo>
                  <a:lnTo>
                    <a:pt x="3" y="24"/>
                  </a:lnTo>
                  <a:lnTo>
                    <a:pt x="0" y="22"/>
                  </a:lnTo>
                  <a:lnTo>
                    <a:pt x="3" y="17"/>
                  </a:lnTo>
                  <a:lnTo>
                    <a:pt x="3" y="15"/>
                  </a:lnTo>
                  <a:lnTo>
                    <a:pt x="12" y="12"/>
                  </a:lnTo>
                  <a:lnTo>
                    <a:pt x="12" y="12"/>
                  </a:lnTo>
                  <a:lnTo>
                    <a:pt x="14" y="10"/>
                  </a:lnTo>
                  <a:lnTo>
                    <a:pt x="17" y="10"/>
                  </a:lnTo>
                  <a:lnTo>
                    <a:pt x="19" y="8"/>
                  </a:lnTo>
                  <a:lnTo>
                    <a:pt x="24" y="8"/>
                  </a:lnTo>
                  <a:lnTo>
                    <a:pt x="26" y="5"/>
                  </a:lnTo>
                  <a:lnTo>
                    <a:pt x="29" y="5"/>
                  </a:lnTo>
                  <a:lnTo>
                    <a:pt x="36" y="5"/>
                  </a:lnTo>
                  <a:lnTo>
                    <a:pt x="36" y="5"/>
                  </a:lnTo>
                  <a:lnTo>
                    <a:pt x="36" y="3"/>
                  </a:lnTo>
                  <a:lnTo>
                    <a:pt x="4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3" name="Freeform 1272">
              <a:extLst>
                <a:ext uri="{FF2B5EF4-FFF2-40B4-BE49-F238E27FC236}">
                  <a16:creationId xmlns:a16="http://schemas.microsoft.com/office/drawing/2014/main" id="{6CC3B8E1-B8AE-476A-9A15-DCC128D1CCE0}"/>
                </a:ext>
              </a:extLst>
            </p:cNvPr>
            <p:cNvSpPr>
              <a:spLocks/>
            </p:cNvSpPr>
            <p:nvPr/>
          </p:nvSpPr>
          <p:spPr bwMode="auto">
            <a:xfrm>
              <a:off x="1923303" y="2466940"/>
              <a:ext cx="134938" cy="112712"/>
            </a:xfrm>
            <a:custGeom>
              <a:avLst/>
              <a:gdLst>
                <a:gd name="T0" fmla="*/ 40 w 85"/>
                <a:gd name="T1" fmla="*/ 0 h 71"/>
                <a:gd name="T2" fmla="*/ 45 w 85"/>
                <a:gd name="T3" fmla="*/ 3 h 71"/>
                <a:gd name="T4" fmla="*/ 52 w 85"/>
                <a:gd name="T5" fmla="*/ 5 h 71"/>
                <a:gd name="T6" fmla="*/ 59 w 85"/>
                <a:gd name="T7" fmla="*/ 8 h 71"/>
                <a:gd name="T8" fmla="*/ 76 w 85"/>
                <a:gd name="T9" fmla="*/ 10 h 71"/>
                <a:gd name="T10" fmla="*/ 81 w 85"/>
                <a:gd name="T11" fmla="*/ 5 h 71"/>
                <a:gd name="T12" fmla="*/ 85 w 85"/>
                <a:gd name="T13" fmla="*/ 8 h 71"/>
                <a:gd name="T14" fmla="*/ 85 w 85"/>
                <a:gd name="T15" fmla="*/ 12 h 71"/>
                <a:gd name="T16" fmla="*/ 78 w 85"/>
                <a:gd name="T17" fmla="*/ 22 h 71"/>
                <a:gd name="T18" fmla="*/ 78 w 85"/>
                <a:gd name="T19" fmla="*/ 29 h 71"/>
                <a:gd name="T20" fmla="*/ 78 w 85"/>
                <a:gd name="T21" fmla="*/ 38 h 71"/>
                <a:gd name="T22" fmla="*/ 78 w 85"/>
                <a:gd name="T23" fmla="*/ 41 h 71"/>
                <a:gd name="T24" fmla="*/ 73 w 85"/>
                <a:gd name="T25" fmla="*/ 45 h 71"/>
                <a:gd name="T26" fmla="*/ 71 w 85"/>
                <a:gd name="T27" fmla="*/ 50 h 71"/>
                <a:gd name="T28" fmla="*/ 76 w 85"/>
                <a:gd name="T29" fmla="*/ 52 h 71"/>
                <a:gd name="T30" fmla="*/ 83 w 85"/>
                <a:gd name="T31" fmla="*/ 57 h 71"/>
                <a:gd name="T32" fmla="*/ 81 w 85"/>
                <a:gd name="T33" fmla="*/ 62 h 71"/>
                <a:gd name="T34" fmla="*/ 76 w 85"/>
                <a:gd name="T35" fmla="*/ 57 h 71"/>
                <a:gd name="T36" fmla="*/ 73 w 85"/>
                <a:gd name="T37" fmla="*/ 64 h 71"/>
                <a:gd name="T38" fmla="*/ 71 w 85"/>
                <a:gd name="T39" fmla="*/ 71 h 71"/>
                <a:gd name="T40" fmla="*/ 66 w 85"/>
                <a:gd name="T41" fmla="*/ 69 h 71"/>
                <a:gd name="T42" fmla="*/ 59 w 85"/>
                <a:gd name="T43" fmla="*/ 71 h 71"/>
                <a:gd name="T44" fmla="*/ 50 w 85"/>
                <a:gd name="T45" fmla="*/ 64 h 71"/>
                <a:gd name="T46" fmla="*/ 43 w 85"/>
                <a:gd name="T47" fmla="*/ 59 h 71"/>
                <a:gd name="T48" fmla="*/ 33 w 85"/>
                <a:gd name="T49" fmla="*/ 55 h 71"/>
                <a:gd name="T50" fmla="*/ 21 w 85"/>
                <a:gd name="T51" fmla="*/ 59 h 71"/>
                <a:gd name="T52" fmla="*/ 17 w 85"/>
                <a:gd name="T53" fmla="*/ 62 h 71"/>
                <a:gd name="T54" fmla="*/ 19 w 85"/>
                <a:gd name="T55" fmla="*/ 50 h 71"/>
                <a:gd name="T56" fmla="*/ 19 w 85"/>
                <a:gd name="T57" fmla="*/ 45 h 71"/>
                <a:gd name="T58" fmla="*/ 14 w 85"/>
                <a:gd name="T59" fmla="*/ 45 h 71"/>
                <a:gd name="T60" fmla="*/ 10 w 85"/>
                <a:gd name="T61" fmla="*/ 45 h 71"/>
                <a:gd name="T62" fmla="*/ 5 w 85"/>
                <a:gd name="T63" fmla="*/ 45 h 71"/>
                <a:gd name="T64" fmla="*/ 3 w 85"/>
                <a:gd name="T65" fmla="*/ 38 h 71"/>
                <a:gd name="T66" fmla="*/ 3 w 85"/>
                <a:gd name="T67" fmla="*/ 31 h 71"/>
                <a:gd name="T68" fmla="*/ 5 w 85"/>
                <a:gd name="T69" fmla="*/ 31 h 71"/>
                <a:gd name="T70" fmla="*/ 3 w 85"/>
                <a:gd name="T71" fmla="*/ 26 h 71"/>
                <a:gd name="T72" fmla="*/ 3 w 85"/>
                <a:gd name="T73" fmla="*/ 24 h 71"/>
                <a:gd name="T74" fmla="*/ 3 w 85"/>
                <a:gd name="T75" fmla="*/ 17 h 71"/>
                <a:gd name="T76" fmla="*/ 12 w 85"/>
                <a:gd name="T77" fmla="*/ 12 h 71"/>
                <a:gd name="T78" fmla="*/ 14 w 85"/>
                <a:gd name="T79" fmla="*/ 10 h 71"/>
                <a:gd name="T80" fmla="*/ 19 w 85"/>
                <a:gd name="T81" fmla="*/ 8 h 71"/>
                <a:gd name="T82" fmla="*/ 26 w 85"/>
                <a:gd name="T83" fmla="*/ 5 h 71"/>
                <a:gd name="T84" fmla="*/ 36 w 85"/>
                <a:gd name="T85" fmla="*/ 5 h 71"/>
                <a:gd name="T86" fmla="*/ 36 w 85"/>
                <a:gd name="T87"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71">
                  <a:moveTo>
                    <a:pt x="40" y="3"/>
                  </a:moveTo>
                  <a:lnTo>
                    <a:pt x="40" y="0"/>
                  </a:lnTo>
                  <a:lnTo>
                    <a:pt x="43" y="3"/>
                  </a:lnTo>
                  <a:lnTo>
                    <a:pt x="45" y="3"/>
                  </a:lnTo>
                  <a:lnTo>
                    <a:pt x="47" y="3"/>
                  </a:lnTo>
                  <a:lnTo>
                    <a:pt x="52" y="5"/>
                  </a:lnTo>
                  <a:lnTo>
                    <a:pt x="57" y="5"/>
                  </a:lnTo>
                  <a:lnTo>
                    <a:pt x="59" y="8"/>
                  </a:lnTo>
                  <a:lnTo>
                    <a:pt x="64" y="8"/>
                  </a:lnTo>
                  <a:lnTo>
                    <a:pt x="76" y="10"/>
                  </a:lnTo>
                  <a:lnTo>
                    <a:pt x="81" y="8"/>
                  </a:lnTo>
                  <a:lnTo>
                    <a:pt x="81" y="5"/>
                  </a:lnTo>
                  <a:lnTo>
                    <a:pt x="83" y="5"/>
                  </a:lnTo>
                  <a:lnTo>
                    <a:pt x="85" y="8"/>
                  </a:lnTo>
                  <a:lnTo>
                    <a:pt x="85" y="10"/>
                  </a:lnTo>
                  <a:lnTo>
                    <a:pt x="85" y="12"/>
                  </a:lnTo>
                  <a:lnTo>
                    <a:pt x="81" y="17"/>
                  </a:lnTo>
                  <a:lnTo>
                    <a:pt x="78" y="22"/>
                  </a:lnTo>
                  <a:lnTo>
                    <a:pt x="76" y="24"/>
                  </a:lnTo>
                  <a:lnTo>
                    <a:pt x="78" y="29"/>
                  </a:lnTo>
                  <a:lnTo>
                    <a:pt x="76" y="36"/>
                  </a:lnTo>
                  <a:lnTo>
                    <a:pt x="78" y="38"/>
                  </a:lnTo>
                  <a:lnTo>
                    <a:pt x="78" y="38"/>
                  </a:lnTo>
                  <a:lnTo>
                    <a:pt x="78" y="41"/>
                  </a:lnTo>
                  <a:lnTo>
                    <a:pt x="78" y="43"/>
                  </a:lnTo>
                  <a:lnTo>
                    <a:pt x="73" y="45"/>
                  </a:lnTo>
                  <a:lnTo>
                    <a:pt x="73" y="48"/>
                  </a:lnTo>
                  <a:lnTo>
                    <a:pt x="71" y="50"/>
                  </a:lnTo>
                  <a:lnTo>
                    <a:pt x="73" y="52"/>
                  </a:lnTo>
                  <a:lnTo>
                    <a:pt x="76" y="52"/>
                  </a:lnTo>
                  <a:lnTo>
                    <a:pt x="81" y="52"/>
                  </a:lnTo>
                  <a:lnTo>
                    <a:pt x="83" y="57"/>
                  </a:lnTo>
                  <a:lnTo>
                    <a:pt x="83" y="62"/>
                  </a:lnTo>
                  <a:lnTo>
                    <a:pt x="81" y="62"/>
                  </a:lnTo>
                  <a:lnTo>
                    <a:pt x="78" y="59"/>
                  </a:lnTo>
                  <a:lnTo>
                    <a:pt x="76" y="57"/>
                  </a:lnTo>
                  <a:lnTo>
                    <a:pt x="76" y="62"/>
                  </a:lnTo>
                  <a:lnTo>
                    <a:pt x="73" y="64"/>
                  </a:lnTo>
                  <a:lnTo>
                    <a:pt x="71" y="69"/>
                  </a:lnTo>
                  <a:lnTo>
                    <a:pt x="71" y="71"/>
                  </a:lnTo>
                  <a:lnTo>
                    <a:pt x="71" y="71"/>
                  </a:lnTo>
                  <a:lnTo>
                    <a:pt x="66" y="69"/>
                  </a:lnTo>
                  <a:lnTo>
                    <a:pt x="62" y="69"/>
                  </a:lnTo>
                  <a:lnTo>
                    <a:pt x="59" y="71"/>
                  </a:lnTo>
                  <a:lnTo>
                    <a:pt x="57" y="71"/>
                  </a:lnTo>
                  <a:lnTo>
                    <a:pt x="50" y="64"/>
                  </a:lnTo>
                  <a:lnTo>
                    <a:pt x="47" y="62"/>
                  </a:lnTo>
                  <a:lnTo>
                    <a:pt x="43" y="59"/>
                  </a:lnTo>
                  <a:lnTo>
                    <a:pt x="38" y="57"/>
                  </a:lnTo>
                  <a:lnTo>
                    <a:pt x="33" y="55"/>
                  </a:lnTo>
                  <a:lnTo>
                    <a:pt x="26" y="57"/>
                  </a:lnTo>
                  <a:lnTo>
                    <a:pt x="21" y="59"/>
                  </a:lnTo>
                  <a:lnTo>
                    <a:pt x="19" y="59"/>
                  </a:lnTo>
                  <a:lnTo>
                    <a:pt x="17" y="62"/>
                  </a:lnTo>
                  <a:lnTo>
                    <a:pt x="17" y="57"/>
                  </a:lnTo>
                  <a:lnTo>
                    <a:pt x="19" y="50"/>
                  </a:lnTo>
                  <a:lnTo>
                    <a:pt x="19" y="45"/>
                  </a:lnTo>
                  <a:lnTo>
                    <a:pt x="19" y="45"/>
                  </a:lnTo>
                  <a:lnTo>
                    <a:pt x="14" y="43"/>
                  </a:lnTo>
                  <a:lnTo>
                    <a:pt x="14" y="45"/>
                  </a:lnTo>
                  <a:lnTo>
                    <a:pt x="12" y="48"/>
                  </a:lnTo>
                  <a:lnTo>
                    <a:pt x="10" y="45"/>
                  </a:lnTo>
                  <a:lnTo>
                    <a:pt x="7" y="45"/>
                  </a:lnTo>
                  <a:lnTo>
                    <a:pt x="5" y="45"/>
                  </a:lnTo>
                  <a:lnTo>
                    <a:pt x="5" y="41"/>
                  </a:lnTo>
                  <a:lnTo>
                    <a:pt x="3" y="38"/>
                  </a:lnTo>
                  <a:lnTo>
                    <a:pt x="3" y="36"/>
                  </a:lnTo>
                  <a:lnTo>
                    <a:pt x="3" y="31"/>
                  </a:lnTo>
                  <a:lnTo>
                    <a:pt x="7" y="31"/>
                  </a:lnTo>
                  <a:lnTo>
                    <a:pt x="5" y="31"/>
                  </a:lnTo>
                  <a:lnTo>
                    <a:pt x="3" y="29"/>
                  </a:lnTo>
                  <a:lnTo>
                    <a:pt x="3" y="26"/>
                  </a:lnTo>
                  <a:lnTo>
                    <a:pt x="3" y="24"/>
                  </a:lnTo>
                  <a:lnTo>
                    <a:pt x="3" y="24"/>
                  </a:lnTo>
                  <a:lnTo>
                    <a:pt x="0" y="22"/>
                  </a:lnTo>
                  <a:lnTo>
                    <a:pt x="3" y="17"/>
                  </a:lnTo>
                  <a:lnTo>
                    <a:pt x="3" y="15"/>
                  </a:lnTo>
                  <a:lnTo>
                    <a:pt x="12" y="12"/>
                  </a:lnTo>
                  <a:lnTo>
                    <a:pt x="12" y="12"/>
                  </a:lnTo>
                  <a:lnTo>
                    <a:pt x="14" y="10"/>
                  </a:lnTo>
                  <a:lnTo>
                    <a:pt x="17" y="10"/>
                  </a:lnTo>
                  <a:lnTo>
                    <a:pt x="19" y="8"/>
                  </a:lnTo>
                  <a:lnTo>
                    <a:pt x="24" y="8"/>
                  </a:lnTo>
                  <a:lnTo>
                    <a:pt x="26" y="5"/>
                  </a:lnTo>
                  <a:lnTo>
                    <a:pt x="29" y="5"/>
                  </a:lnTo>
                  <a:lnTo>
                    <a:pt x="36" y="5"/>
                  </a:lnTo>
                  <a:lnTo>
                    <a:pt x="36" y="5"/>
                  </a:lnTo>
                  <a:lnTo>
                    <a:pt x="36" y="3"/>
                  </a:lnTo>
                  <a:lnTo>
                    <a:pt x="40" y="3"/>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4" name="Freeform 1273">
              <a:extLst>
                <a:ext uri="{FF2B5EF4-FFF2-40B4-BE49-F238E27FC236}">
                  <a16:creationId xmlns:a16="http://schemas.microsoft.com/office/drawing/2014/main" id="{EC7E04F6-223B-48C1-AD92-D0C7827751F9}"/>
                </a:ext>
              </a:extLst>
            </p:cNvPr>
            <p:cNvSpPr>
              <a:spLocks/>
            </p:cNvSpPr>
            <p:nvPr/>
          </p:nvSpPr>
          <p:spPr bwMode="auto">
            <a:xfrm>
              <a:off x="1439116" y="2711414"/>
              <a:ext cx="247650" cy="333376"/>
            </a:xfrm>
            <a:custGeom>
              <a:avLst/>
              <a:gdLst>
                <a:gd name="T0" fmla="*/ 88 w 156"/>
                <a:gd name="T1" fmla="*/ 24 h 210"/>
                <a:gd name="T2" fmla="*/ 83 w 156"/>
                <a:gd name="T3" fmla="*/ 19 h 210"/>
                <a:gd name="T4" fmla="*/ 74 w 156"/>
                <a:gd name="T5" fmla="*/ 16 h 210"/>
                <a:gd name="T6" fmla="*/ 69 w 156"/>
                <a:gd name="T7" fmla="*/ 14 h 210"/>
                <a:gd name="T8" fmla="*/ 64 w 156"/>
                <a:gd name="T9" fmla="*/ 2 h 210"/>
                <a:gd name="T10" fmla="*/ 52 w 156"/>
                <a:gd name="T11" fmla="*/ 0 h 210"/>
                <a:gd name="T12" fmla="*/ 52 w 156"/>
                <a:gd name="T13" fmla="*/ 12 h 210"/>
                <a:gd name="T14" fmla="*/ 48 w 156"/>
                <a:gd name="T15" fmla="*/ 19 h 210"/>
                <a:gd name="T16" fmla="*/ 52 w 156"/>
                <a:gd name="T17" fmla="*/ 24 h 210"/>
                <a:gd name="T18" fmla="*/ 52 w 156"/>
                <a:gd name="T19" fmla="*/ 28 h 210"/>
                <a:gd name="T20" fmla="*/ 48 w 156"/>
                <a:gd name="T21" fmla="*/ 35 h 210"/>
                <a:gd name="T22" fmla="*/ 48 w 156"/>
                <a:gd name="T23" fmla="*/ 45 h 210"/>
                <a:gd name="T24" fmla="*/ 41 w 156"/>
                <a:gd name="T25" fmla="*/ 45 h 210"/>
                <a:gd name="T26" fmla="*/ 24 w 156"/>
                <a:gd name="T27" fmla="*/ 38 h 210"/>
                <a:gd name="T28" fmla="*/ 22 w 156"/>
                <a:gd name="T29" fmla="*/ 45 h 210"/>
                <a:gd name="T30" fmla="*/ 29 w 156"/>
                <a:gd name="T31" fmla="*/ 52 h 210"/>
                <a:gd name="T32" fmla="*/ 19 w 156"/>
                <a:gd name="T33" fmla="*/ 64 h 210"/>
                <a:gd name="T34" fmla="*/ 19 w 156"/>
                <a:gd name="T35" fmla="*/ 78 h 210"/>
                <a:gd name="T36" fmla="*/ 12 w 156"/>
                <a:gd name="T37" fmla="*/ 90 h 210"/>
                <a:gd name="T38" fmla="*/ 3 w 156"/>
                <a:gd name="T39" fmla="*/ 92 h 210"/>
                <a:gd name="T40" fmla="*/ 3 w 156"/>
                <a:gd name="T41" fmla="*/ 109 h 210"/>
                <a:gd name="T42" fmla="*/ 3 w 156"/>
                <a:gd name="T43" fmla="*/ 120 h 210"/>
                <a:gd name="T44" fmla="*/ 8 w 156"/>
                <a:gd name="T45" fmla="*/ 132 h 210"/>
                <a:gd name="T46" fmla="*/ 5 w 156"/>
                <a:gd name="T47" fmla="*/ 142 h 210"/>
                <a:gd name="T48" fmla="*/ 8 w 156"/>
                <a:gd name="T49" fmla="*/ 153 h 210"/>
                <a:gd name="T50" fmla="*/ 22 w 156"/>
                <a:gd name="T51" fmla="*/ 163 h 210"/>
                <a:gd name="T52" fmla="*/ 31 w 156"/>
                <a:gd name="T53" fmla="*/ 179 h 210"/>
                <a:gd name="T54" fmla="*/ 29 w 156"/>
                <a:gd name="T55" fmla="*/ 203 h 210"/>
                <a:gd name="T56" fmla="*/ 50 w 156"/>
                <a:gd name="T57" fmla="*/ 203 h 210"/>
                <a:gd name="T58" fmla="*/ 69 w 156"/>
                <a:gd name="T59" fmla="*/ 205 h 210"/>
                <a:gd name="T60" fmla="*/ 78 w 156"/>
                <a:gd name="T61" fmla="*/ 210 h 210"/>
                <a:gd name="T62" fmla="*/ 90 w 156"/>
                <a:gd name="T63" fmla="*/ 208 h 210"/>
                <a:gd name="T64" fmla="*/ 112 w 156"/>
                <a:gd name="T65" fmla="*/ 201 h 210"/>
                <a:gd name="T66" fmla="*/ 123 w 156"/>
                <a:gd name="T67" fmla="*/ 203 h 210"/>
                <a:gd name="T68" fmla="*/ 123 w 156"/>
                <a:gd name="T69" fmla="*/ 187 h 210"/>
                <a:gd name="T70" fmla="*/ 137 w 156"/>
                <a:gd name="T71" fmla="*/ 177 h 210"/>
                <a:gd name="T72" fmla="*/ 126 w 156"/>
                <a:gd name="T73" fmla="*/ 163 h 210"/>
                <a:gd name="T74" fmla="*/ 112 w 156"/>
                <a:gd name="T75" fmla="*/ 142 h 210"/>
                <a:gd name="T76" fmla="*/ 107 w 156"/>
                <a:gd name="T77" fmla="*/ 132 h 210"/>
                <a:gd name="T78" fmla="*/ 119 w 156"/>
                <a:gd name="T79" fmla="*/ 130 h 210"/>
                <a:gd name="T80" fmla="*/ 145 w 156"/>
                <a:gd name="T81" fmla="*/ 118 h 210"/>
                <a:gd name="T82" fmla="*/ 152 w 156"/>
                <a:gd name="T83" fmla="*/ 118 h 210"/>
                <a:gd name="T84" fmla="*/ 156 w 156"/>
                <a:gd name="T85" fmla="*/ 104 h 210"/>
                <a:gd name="T86" fmla="*/ 152 w 156"/>
                <a:gd name="T87" fmla="*/ 85 h 210"/>
                <a:gd name="T88" fmla="*/ 149 w 156"/>
                <a:gd name="T89" fmla="*/ 66 h 210"/>
                <a:gd name="T90" fmla="*/ 147 w 156"/>
                <a:gd name="T91" fmla="*/ 52 h 210"/>
                <a:gd name="T92" fmla="*/ 145 w 156"/>
                <a:gd name="T93" fmla="*/ 35 h 210"/>
                <a:gd name="T94" fmla="*/ 130 w 156"/>
                <a:gd name="T95" fmla="*/ 24 h 210"/>
                <a:gd name="T96" fmla="*/ 123 w 156"/>
                <a:gd name="T97" fmla="*/ 19 h 210"/>
                <a:gd name="T98" fmla="*/ 114 w 156"/>
                <a:gd name="T99" fmla="*/ 19 h 210"/>
                <a:gd name="T100" fmla="*/ 116 w 156"/>
                <a:gd name="T101" fmla="*/ 14 h 210"/>
                <a:gd name="T102" fmla="*/ 107 w 156"/>
                <a:gd name="T103" fmla="*/ 24 h 210"/>
                <a:gd name="T104" fmla="*/ 97 w 156"/>
                <a:gd name="T105" fmla="*/ 28 h 210"/>
                <a:gd name="T106" fmla="*/ 86 w 156"/>
                <a:gd name="T107" fmla="*/ 2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10">
                  <a:moveTo>
                    <a:pt x="86" y="28"/>
                  </a:moveTo>
                  <a:lnTo>
                    <a:pt x="83" y="28"/>
                  </a:lnTo>
                  <a:lnTo>
                    <a:pt x="86" y="24"/>
                  </a:lnTo>
                  <a:lnTo>
                    <a:pt x="88" y="24"/>
                  </a:lnTo>
                  <a:lnTo>
                    <a:pt x="90" y="21"/>
                  </a:lnTo>
                  <a:lnTo>
                    <a:pt x="90" y="19"/>
                  </a:lnTo>
                  <a:lnTo>
                    <a:pt x="88" y="16"/>
                  </a:lnTo>
                  <a:lnTo>
                    <a:pt x="83" y="19"/>
                  </a:lnTo>
                  <a:lnTo>
                    <a:pt x="81" y="19"/>
                  </a:lnTo>
                  <a:lnTo>
                    <a:pt x="78" y="16"/>
                  </a:lnTo>
                  <a:lnTo>
                    <a:pt x="76" y="14"/>
                  </a:lnTo>
                  <a:lnTo>
                    <a:pt x="74" y="16"/>
                  </a:lnTo>
                  <a:lnTo>
                    <a:pt x="71" y="16"/>
                  </a:lnTo>
                  <a:lnTo>
                    <a:pt x="71" y="14"/>
                  </a:lnTo>
                  <a:lnTo>
                    <a:pt x="69" y="14"/>
                  </a:lnTo>
                  <a:lnTo>
                    <a:pt x="69" y="14"/>
                  </a:lnTo>
                  <a:lnTo>
                    <a:pt x="71" y="12"/>
                  </a:lnTo>
                  <a:lnTo>
                    <a:pt x="71" y="7"/>
                  </a:lnTo>
                  <a:lnTo>
                    <a:pt x="69" y="5"/>
                  </a:lnTo>
                  <a:lnTo>
                    <a:pt x="64" y="2"/>
                  </a:lnTo>
                  <a:lnTo>
                    <a:pt x="62" y="2"/>
                  </a:lnTo>
                  <a:lnTo>
                    <a:pt x="62" y="2"/>
                  </a:lnTo>
                  <a:lnTo>
                    <a:pt x="60" y="2"/>
                  </a:lnTo>
                  <a:lnTo>
                    <a:pt x="52" y="0"/>
                  </a:lnTo>
                  <a:lnTo>
                    <a:pt x="50" y="0"/>
                  </a:lnTo>
                  <a:lnTo>
                    <a:pt x="50" y="5"/>
                  </a:lnTo>
                  <a:lnTo>
                    <a:pt x="52" y="9"/>
                  </a:lnTo>
                  <a:lnTo>
                    <a:pt x="52" y="12"/>
                  </a:lnTo>
                  <a:lnTo>
                    <a:pt x="55" y="14"/>
                  </a:lnTo>
                  <a:lnTo>
                    <a:pt x="50" y="16"/>
                  </a:lnTo>
                  <a:lnTo>
                    <a:pt x="50" y="16"/>
                  </a:lnTo>
                  <a:lnTo>
                    <a:pt x="48" y="19"/>
                  </a:lnTo>
                  <a:lnTo>
                    <a:pt x="50" y="19"/>
                  </a:lnTo>
                  <a:lnTo>
                    <a:pt x="52" y="19"/>
                  </a:lnTo>
                  <a:lnTo>
                    <a:pt x="52" y="21"/>
                  </a:lnTo>
                  <a:lnTo>
                    <a:pt x="52" y="24"/>
                  </a:lnTo>
                  <a:lnTo>
                    <a:pt x="55" y="24"/>
                  </a:lnTo>
                  <a:lnTo>
                    <a:pt x="52" y="26"/>
                  </a:lnTo>
                  <a:lnTo>
                    <a:pt x="52" y="26"/>
                  </a:lnTo>
                  <a:lnTo>
                    <a:pt x="52" y="28"/>
                  </a:lnTo>
                  <a:lnTo>
                    <a:pt x="57" y="31"/>
                  </a:lnTo>
                  <a:lnTo>
                    <a:pt x="55" y="33"/>
                  </a:lnTo>
                  <a:lnTo>
                    <a:pt x="48" y="33"/>
                  </a:lnTo>
                  <a:lnTo>
                    <a:pt x="48" y="35"/>
                  </a:lnTo>
                  <a:lnTo>
                    <a:pt x="48" y="35"/>
                  </a:lnTo>
                  <a:lnTo>
                    <a:pt x="48" y="42"/>
                  </a:lnTo>
                  <a:lnTo>
                    <a:pt x="48" y="47"/>
                  </a:lnTo>
                  <a:lnTo>
                    <a:pt x="48" y="45"/>
                  </a:lnTo>
                  <a:lnTo>
                    <a:pt x="45" y="42"/>
                  </a:lnTo>
                  <a:lnTo>
                    <a:pt x="43" y="40"/>
                  </a:lnTo>
                  <a:lnTo>
                    <a:pt x="43" y="45"/>
                  </a:lnTo>
                  <a:lnTo>
                    <a:pt x="41" y="45"/>
                  </a:lnTo>
                  <a:lnTo>
                    <a:pt x="41" y="40"/>
                  </a:lnTo>
                  <a:lnTo>
                    <a:pt x="38" y="38"/>
                  </a:lnTo>
                  <a:lnTo>
                    <a:pt x="34" y="38"/>
                  </a:lnTo>
                  <a:lnTo>
                    <a:pt x="24" y="38"/>
                  </a:lnTo>
                  <a:lnTo>
                    <a:pt x="24" y="40"/>
                  </a:lnTo>
                  <a:lnTo>
                    <a:pt x="22" y="42"/>
                  </a:lnTo>
                  <a:lnTo>
                    <a:pt x="22" y="45"/>
                  </a:lnTo>
                  <a:lnTo>
                    <a:pt x="22" y="45"/>
                  </a:lnTo>
                  <a:lnTo>
                    <a:pt x="24" y="47"/>
                  </a:lnTo>
                  <a:lnTo>
                    <a:pt x="26" y="47"/>
                  </a:lnTo>
                  <a:lnTo>
                    <a:pt x="29" y="50"/>
                  </a:lnTo>
                  <a:lnTo>
                    <a:pt x="29" y="52"/>
                  </a:lnTo>
                  <a:lnTo>
                    <a:pt x="29" y="52"/>
                  </a:lnTo>
                  <a:lnTo>
                    <a:pt x="26" y="50"/>
                  </a:lnTo>
                  <a:lnTo>
                    <a:pt x="22" y="50"/>
                  </a:lnTo>
                  <a:lnTo>
                    <a:pt x="19" y="64"/>
                  </a:lnTo>
                  <a:lnTo>
                    <a:pt x="15" y="68"/>
                  </a:lnTo>
                  <a:lnTo>
                    <a:pt x="15" y="71"/>
                  </a:lnTo>
                  <a:lnTo>
                    <a:pt x="19" y="73"/>
                  </a:lnTo>
                  <a:lnTo>
                    <a:pt x="19" y="78"/>
                  </a:lnTo>
                  <a:lnTo>
                    <a:pt x="17" y="80"/>
                  </a:lnTo>
                  <a:lnTo>
                    <a:pt x="15" y="83"/>
                  </a:lnTo>
                  <a:lnTo>
                    <a:pt x="15" y="85"/>
                  </a:lnTo>
                  <a:lnTo>
                    <a:pt x="12" y="90"/>
                  </a:lnTo>
                  <a:lnTo>
                    <a:pt x="10" y="90"/>
                  </a:lnTo>
                  <a:lnTo>
                    <a:pt x="5" y="87"/>
                  </a:lnTo>
                  <a:lnTo>
                    <a:pt x="3" y="87"/>
                  </a:lnTo>
                  <a:lnTo>
                    <a:pt x="3" y="92"/>
                  </a:lnTo>
                  <a:lnTo>
                    <a:pt x="3" y="94"/>
                  </a:lnTo>
                  <a:lnTo>
                    <a:pt x="3" y="99"/>
                  </a:lnTo>
                  <a:lnTo>
                    <a:pt x="3" y="104"/>
                  </a:lnTo>
                  <a:lnTo>
                    <a:pt x="3" y="109"/>
                  </a:lnTo>
                  <a:lnTo>
                    <a:pt x="0" y="111"/>
                  </a:lnTo>
                  <a:lnTo>
                    <a:pt x="0" y="113"/>
                  </a:lnTo>
                  <a:lnTo>
                    <a:pt x="3" y="118"/>
                  </a:lnTo>
                  <a:lnTo>
                    <a:pt x="3" y="120"/>
                  </a:lnTo>
                  <a:lnTo>
                    <a:pt x="5" y="123"/>
                  </a:lnTo>
                  <a:lnTo>
                    <a:pt x="5" y="125"/>
                  </a:lnTo>
                  <a:lnTo>
                    <a:pt x="8" y="130"/>
                  </a:lnTo>
                  <a:lnTo>
                    <a:pt x="8" y="132"/>
                  </a:lnTo>
                  <a:lnTo>
                    <a:pt x="3" y="137"/>
                  </a:lnTo>
                  <a:lnTo>
                    <a:pt x="5" y="137"/>
                  </a:lnTo>
                  <a:lnTo>
                    <a:pt x="5" y="139"/>
                  </a:lnTo>
                  <a:lnTo>
                    <a:pt x="5" y="142"/>
                  </a:lnTo>
                  <a:lnTo>
                    <a:pt x="8" y="144"/>
                  </a:lnTo>
                  <a:lnTo>
                    <a:pt x="8" y="146"/>
                  </a:lnTo>
                  <a:lnTo>
                    <a:pt x="8" y="151"/>
                  </a:lnTo>
                  <a:lnTo>
                    <a:pt x="8" y="153"/>
                  </a:lnTo>
                  <a:lnTo>
                    <a:pt x="10" y="156"/>
                  </a:lnTo>
                  <a:lnTo>
                    <a:pt x="12" y="158"/>
                  </a:lnTo>
                  <a:lnTo>
                    <a:pt x="15" y="163"/>
                  </a:lnTo>
                  <a:lnTo>
                    <a:pt x="22" y="163"/>
                  </a:lnTo>
                  <a:lnTo>
                    <a:pt x="34" y="165"/>
                  </a:lnTo>
                  <a:lnTo>
                    <a:pt x="38" y="168"/>
                  </a:lnTo>
                  <a:lnTo>
                    <a:pt x="38" y="172"/>
                  </a:lnTo>
                  <a:lnTo>
                    <a:pt x="31" y="179"/>
                  </a:lnTo>
                  <a:lnTo>
                    <a:pt x="31" y="184"/>
                  </a:lnTo>
                  <a:lnTo>
                    <a:pt x="29" y="191"/>
                  </a:lnTo>
                  <a:lnTo>
                    <a:pt x="29" y="201"/>
                  </a:lnTo>
                  <a:lnTo>
                    <a:pt x="29" y="203"/>
                  </a:lnTo>
                  <a:lnTo>
                    <a:pt x="29" y="203"/>
                  </a:lnTo>
                  <a:lnTo>
                    <a:pt x="31" y="205"/>
                  </a:lnTo>
                  <a:lnTo>
                    <a:pt x="43" y="205"/>
                  </a:lnTo>
                  <a:lnTo>
                    <a:pt x="50" y="203"/>
                  </a:lnTo>
                  <a:lnTo>
                    <a:pt x="57" y="205"/>
                  </a:lnTo>
                  <a:lnTo>
                    <a:pt x="62" y="208"/>
                  </a:lnTo>
                  <a:lnTo>
                    <a:pt x="67" y="205"/>
                  </a:lnTo>
                  <a:lnTo>
                    <a:pt x="69" y="205"/>
                  </a:lnTo>
                  <a:lnTo>
                    <a:pt x="71" y="205"/>
                  </a:lnTo>
                  <a:lnTo>
                    <a:pt x="74" y="210"/>
                  </a:lnTo>
                  <a:lnTo>
                    <a:pt x="76" y="210"/>
                  </a:lnTo>
                  <a:lnTo>
                    <a:pt x="78" y="210"/>
                  </a:lnTo>
                  <a:lnTo>
                    <a:pt x="78" y="208"/>
                  </a:lnTo>
                  <a:lnTo>
                    <a:pt x="81" y="205"/>
                  </a:lnTo>
                  <a:lnTo>
                    <a:pt x="86" y="205"/>
                  </a:lnTo>
                  <a:lnTo>
                    <a:pt x="90" y="208"/>
                  </a:lnTo>
                  <a:lnTo>
                    <a:pt x="93" y="208"/>
                  </a:lnTo>
                  <a:lnTo>
                    <a:pt x="100" y="205"/>
                  </a:lnTo>
                  <a:lnTo>
                    <a:pt x="109" y="203"/>
                  </a:lnTo>
                  <a:lnTo>
                    <a:pt x="112" y="201"/>
                  </a:lnTo>
                  <a:lnTo>
                    <a:pt x="116" y="203"/>
                  </a:lnTo>
                  <a:lnTo>
                    <a:pt x="121" y="203"/>
                  </a:lnTo>
                  <a:lnTo>
                    <a:pt x="121" y="205"/>
                  </a:lnTo>
                  <a:lnTo>
                    <a:pt x="123" y="203"/>
                  </a:lnTo>
                  <a:lnTo>
                    <a:pt x="123" y="201"/>
                  </a:lnTo>
                  <a:lnTo>
                    <a:pt x="121" y="196"/>
                  </a:lnTo>
                  <a:lnTo>
                    <a:pt x="121" y="191"/>
                  </a:lnTo>
                  <a:lnTo>
                    <a:pt x="123" y="187"/>
                  </a:lnTo>
                  <a:lnTo>
                    <a:pt x="130" y="184"/>
                  </a:lnTo>
                  <a:lnTo>
                    <a:pt x="130" y="182"/>
                  </a:lnTo>
                  <a:lnTo>
                    <a:pt x="133" y="179"/>
                  </a:lnTo>
                  <a:lnTo>
                    <a:pt x="137" y="177"/>
                  </a:lnTo>
                  <a:lnTo>
                    <a:pt x="137" y="175"/>
                  </a:lnTo>
                  <a:lnTo>
                    <a:pt x="137" y="172"/>
                  </a:lnTo>
                  <a:lnTo>
                    <a:pt x="128" y="165"/>
                  </a:lnTo>
                  <a:lnTo>
                    <a:pt x="126" y="163"/>
                  </a:lnTo>
                  <a:lnTo>
                    <a:pt x="116" y="156"/>
                  </a:lnTo>
                  <a:lnTo>
                    <a:pt x="114" y="151"/>
                  </a:lnTo>
                  <a:lnTo>
                    <a:pt x="114" y="144"/>
                  </a:lnTo>
                  <a:lnTo>
                    <a:pt x="112" y="142"/>
                  </a:lnTo>
                  <a:lnTo>
                    <a:pt x="109" y="139"/>
                  </a:lnTo>
                  <a:lnTo>
                    <a:pt x="107" y="137"/>
                  </a:lnTo>
                  <a:lnTo>
                    <a:pt x="107" y="132"/>
                  </a:lnTo>
                  <a:lnTo>
                    <a:pt x="107" y="132"/>
                  </a:lnTo>
                  <a:lnTo>
                    <a:pt x="112" y="137"/>
                  </a:lnTo>
                  <a:lnTo>
                    <a:pt x="112" y="137"/>
                  </a:lnTo>
                  <a:lnTo>
                    <a:pt x="114" y="132"/>
                  </a:lnTo>
                  <a:lnTo>
                    <a:pt x="119" y="130"/>
                  </a:lnTo>
                  <a:lnTo>
                    <a:pt x="123" y="128"/>
                  </a:lnTo>
                  <a:lnTo>
                    <a:pt x="130" y="125"/>
                  </a:lnTo>
                  <a:lnTo>
                    <a:pt x="130" y="120"/>
                  </a:lnTo>
                  <a:lnTo>
                    <a:pt x="145" y="118"/>
                  </a:lnTo>
                  <a:lnTo>
                    <a:pt x="145" y="111"/>
                  </a:lnTo>
                  <a:lnTo>
                    <a:pt x="147" y="111"/>
                  </a:lnTo>
                  <a:lnTo>
                    <a:pt x="149" y="116"/>
                  </a:lnTo>
                  <a:lnTo>
                    <a:pt x="152" y="118"/>
                  </a:lnTo>
                  <a:lnTo>
                    <a:pt x="154" y="118"/>
                  </a:lnTo>
                  <a:lnTo>
                    <a:pt x="156" y="116"/>
                  </a:lnTo>
                  <a:lnTo>
                    <a:pt x="156" y="109"/>
                  </a:lnTo>
                  <a:lnTo>
                    <a:pt x="156" y="104"/>
                  </a:lnTo>
                  <a:lnTo>
                    <a:pt x="156" y="102"/>
                  </a:lnTo>
                  <a:lnTo>
                    <a:pt x="152" y="94"/>
                  </a:lnTo>
                  <a:lnTo>
                    <a:pt x="152" y="87"/>
                  </a:lnTo>
                  <a:lnTo>
                    <a:pt x="152" y="85"/>
                  </a:lnTo>
                  <a:lnTo>
                    <a:pt x="152" y="80"/>
                  </a:lnTo>
                  <a:lnTo>
                    <a:pt x="149" y="76"/>
                  </a:lnTo>
                  <a:lnTo>
                    <a:pt x="149" y="68"/>
                  </a:lnTo>
                  <a:lnTo>
                    <a:pt x="149" y="66"/>
                  </a:lnTo>
                  <a:lnTo>
                    <a:pt x="145" y="61"/>
                  </a:lnTo>
                  <a:lnTo>
                    <a:pt x="145" y="59"/>
                  </a:lnTo>
                  <a:lnTo>
                    <a:pt x="145" y="57"/>
                  </a:lnTo>
                  <a:lnTo>
                    <a:pt x="147" y="52"/>
                  </a:lnTo>
                  <a:lnTo>
                    <a:pt x="147" y="50"/>
                  </a:lnTo>
                  <a:lnTo>
                    <a:pt x="147" y="42"/>
                  </a:lnTo>
                  <a:lnTo>
                    <a:pt x="145" y="38"/>
                  </a:lnTo>
                  <a:lnTo>
                    <a:pt x="145" y="35"/>
                  </a:lnTo>
                  <a:lnTo>
                    <a:pt x="137" y="33"/>
                  </a:lnTo>
                  <a:lnTo>
                    <a:pt x="135" y="28"/>
                  </a:lnTo>
                  <a:lnTo>
                    <a:pt x="133" y="24"/>
                  </a:lnTo>
                  <a:lnTo>
                    <a:pt x="130" y="24"/>
                  </a:lnTo>
                  <a:lnTo>
                    <a:pt x="128" y="24"/>
                  </a:lnTo>
                  <a:lnTo>
                    <a:pt x="128" y="21"/>
                  </a:lnTo>
                  <a:lnTo>
                    <a:pt x="126" y="19"/>
                  </a:lnTo>
                  <a:lnTo>
                    <a:pt x="123" y="19"/>
                  </a:lnTo>
                  <a:lnTo>
                    <a:pt x="123" y="16"/>
                  </a:lnTo>
                  <a:lnTo>
                    <a:pt x="119" y="16"/>
                  </a:lnTo>
                  <a:lnTo>
                    <a:pt x="114" y="19"/>
                  </a:lnTo>
                  <a:lnTo>
                    <a:pt x="114" y="19"/>
                  </a:lnTo>
                  <a:lnTo>
                    <a:pt x="114" y="19"/>
                  </a:lnTo>
                  <a:lnTo>
                    <a:pt x="116" y="16"/>
                  </a:lnTo>
                  <a:lnTo>
                    <a:pt x="119" y="14"/>
                  </a:lnTo>
                  <a:lnTo>
                    <a:pt x="116" y="14"/>
                  </a:lnTo>
                  <a:lnTo>
                    <a:pt x="114" y="14"/>
                  </a:lnTo>
                  <a:lnTo>
                    <a:pt x="109" y="19"/>
                  </a:lnTo>
                  <a:lnTo>
                    <a:pt x="107" y="24"/>
                  </a:lnTo>
                  <a:lnTo>
                    <a:pt x="107" y="24"/>
                  </a:lnTo>
                  <a:lnTo>
                    <a:pt x="107" y="21"/>
                  </a:lnTo>
                  <a:lnTo>
                    <a:pt x="100" y="24"/>
                  </a:lnTo>
                  <a:lnTo>
                    <a:pt x="95" y="28"/>
                  </a:lnTo>
                  <a:lnTo>
                    <a:pt x="97" y="28"/>
                  </a:lnTo>
                  <a:lnTo>
                    <a:pt x="93" y="28"/>
                  </a:lnTo>
                  <a:lnTo>
                    <a:pt x="90" y="28"/>
                  </a:lnTo>
                  <a:lnTo>
                    <a:pt x="86" y="31"/>
                  </a:lnTo>
                  <a:lnTo>
                    <a:pt x="86" y="28"/>
                  </a:lnTo>
                  <a:close/>
                </a:path>
              </a:pathLst>
            </a:custGeom>
            <a:grpFill/>
            <a:ln>
              <a:solidFill>
                <a:srgbClr val="FFFFFF"/>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5" name="Freeform 1274">
              <a:extLst>
                <a:ext uri="{FF2B5EF4-FFF2-40B4-BE49-F238E27FC236}">
                  <a16:creationId xmlns:a16="http://schemas.microsoft.com/office/drawing/2014/main" id="{D95A5362-4468-412B-BB8D-6E55559FCD86}"/>
                </a:ext>
              </a:extLst>
            </p:cNvPr>
            <p:cNvSpPr>
              <a:spLocks/>
            </p:cNvSpPr>
            <p:nvPr/>
          </p:nvSpPr>
          <p:spPr bwMode="auto">
            <a:xfrm>
              <a:off x="1439116" y="2711414"/>
              <a:ext cx="247650" cy="333376"/>
            </a:xfrm>
            <a:custGeom>
              <a:avLst/>
              <a:gdLst>
                <a:gd name="T0" fmla="*/ 88 w 156"/>
                <a:gd name="T1" fmla="*/ 24 h 210"/>
                <a:gd name="T2" fmla="*/ 83 w 156"/>
                <a:gd name="T3" fmla="*/ 19 h 210"/>
                <a:gd name="T4" fmla="*/ 74 w 156"/>
                <a:gd name="T5" fmla="*/ 16 h 210"/>
                <a:gd name="T6" fmla="*/ 69 w 156"/>
                <a:gd name="T7" fmla="*/ 14 h 210"/>
                <a:gd name="T8" fmla="*/ 64 w 156"/>
                <a:gd name="T9" fmla="*/ 2 h 210"/>
                <a:gd name="T10" fmla="*/ 52 w 156"/>
                <a:gd name="T11" fmla="*/ 0 h 210"/>
                <a:gd name="T12" fmla="*/ 52 w 156"/>
                <a:gd name="T13" fmla="*/ 12 h 210"/>
                <a:gd name="T14" fmla="*/ 48 w 156"/>
                <a:gd name="T15" fmla="*/ 19 h 210"/>
                <a:gd name="T16" fmla="*/ 52 w 156"/>
                <a:gd name="T17" fmla="*/ 24 h 210"/>
                <a:gd name="T18" fmla="*/ 52 w 156"/>
                <a:gd name="T19" fmla="*/ 28 h 210"/>
                <a:gd name="T20" fmla="*/ 48 w 156"/>
                <a:gd name="T21" fmla="*/ 35 h 210"/>
                <a:gd name="T22" fmla="*/ 48 w 156"/>
                <a:gd name="T23" fmla="*/ 45 h 210"/>
                <a:gd name="T24" fmla="*/ 41 w 156"/>
                <a:gd name="T25" fmla="*/ 45 h 210"/>
                <a:gd name="T26" fmla="*/ 24 w 156"/>
                <a:gd name="T27" fmla="*/ 38 h 210"/>
                <a:gd name="T28" fmla="*/ 22 w 156"/>
                <a:gd name="T29" fmla="*/ 45 h 210"/>
                <a:gd name="T30" fmla="*/ 29 w 156"/>
                <a:gd name="T31" fmla="*/ 52 h 210"/>
                <a:gd name="T32" fmla="*/ 19 w 156"/>
                <a:gd name="T33" fmla="*/ 64 h 210"/>
                <a:gd name="T34" fmla="*/ 19 w 156"/>
                <a:gd name="T35" fmla="*/ 78 h 210"/>
                <a:gd name="T36" fmla="*/ 12 w 156"/>
                <a:gd name="T37" fmla="*/ 90 h 210"/>
                <a:gd name="T38" fmla="*/ 3 w 156"/>
                <a:gd name="T39" fmla="*/ 92 h 210"/>
                <a:gd name="T40" fmla="*/ 3 w 156"/>
                <a:gd name="T41" fmla="*/ 109 h 210"/>
                <a:gd name="T42" fmla="*/ 3 w 156"/>
                <a:gd name="T43" fmla="*/ 120 h 210"/>
                <a:gd name="T44" fmla="*/ 8 w 156"/>
                <a:gd name="T45" fmla="*/ 132 h 210"/>
                <a:gd name="T46" fmla="*/ 5 w 156"/>
                <a:gd name="T47" fmla="*/ 142 h 210"/>
                <a:gd name="T48" fmla="*/ 8 w 156"/>
                <a:gd name="T49" fmla="*/ 153 h 210"/>
                <a:gd name="T50" fmla="*/ 22 w 156"/>
                <a:gd name="T51" fmla="*/ 163 h 210"/>
                <a:gd name="T52" fmla="*/ 31 w 156"/>
                <a:gd name="T53" fmla="*/ 179 h 210"/>
                <a:gd name="T54" fmla="*/ 29 w 156"/>
                <a:gd name="T55" fmla="*/ 203 h 210"/>
                <a:gd name="T56" fmla="*/ 50 w 156"/>
                <a:gd name="T57" fmla="*/ 203 h 210"/>
                <a:gd name="T58" fmla="*/ 69 w 156"/>
                <a:gd name="T59" fmla="*/ 205 h 210"/>
                <a:gd name="T60" fmla="*/ 78 w 156"/>
                <a:gd name="T61" fmla="*/ 210 h 210"/>
                <a:gd name="T62" fmla="*/ 90 w 156"/>
                <a:gd name="T63" fmla="*/ 208 h 210"/>
                <a:gd name="T64" fmla="*/ 112 w 156"/>
                <a:gd name="T65" fmla="*/ 201 h 210"/>
                <a:gd name="T66" fmla="*/ 123 w 156"/>
                <a:gd name="T67" fmla="*/ 203 h 210"/>
                <a:gd name="T68" fmla="*/ 123 w 156"/>
                <a:gd name="T69" fmla="*/ 187 h 210"/>
                <a:gd name="T70" fmla="*/ 137 w 156"/>
                <a:gd name="T71" fmla="*/ 177 h 210"/>
                <a:gd name="T72" fmla="*/ 126 w 156"/>
                <a:gd name="T73" fmla="*/ 163 h 210"/>
                <a:gd name="T74" fmla="*/ 112 w 156"/>
                <a:gd name="T75" fmla="*/ 142 h 210"/>
                <a:gd name="T76" fmla="*/ 107 w 156"/>
                <a:gd name="T77" fmla="*/ 132 h 210"/>
                <a:gd name="T78" fmla="*/ 119 w 156"/>
                <a:gd name="T79" fmla="*/ 130 h 210"/>
                <a:gd name="T80" fmla="*/ 145 w 156"/>
                <a:gd name="T81" fmla="*/ 118 h 210"/>
                <a:gd name="T82" fmla="*/ 152 w 156"/>
                <a:gd name="T83" fmla="*/ 118 h 210"/>
                <a:gd name="T84" fmla="*/ 156 w 156"/>
                <a:gd name="T85" fmla="*/ 104 h 210"/>
                <a:gd name="T86" fmla="*/ 152 w 156"/>
                <a:gd name="T87" fmla="*/ 85 h 210"/>
                <a:gd name="T88" fmla="*/ 149 w 156"/>
                <a:gd name="T89" fmla="*/ 66 h 210"/>
                <a:gd name="T90" fmla="*/ 147 w 156"/>
                <a:gd name="T91" fmla="*/ 52 h 210"/>
                <a:gd name="T92" fmla="*/ 145 w 156"/>
                <a:gd name="T93" fmla="*/ 35 h 210"/>
                <a:gd name="T94" fmla="*/ 130 w 156"/>
                <a:gd name="T95" fmla="*/ 24 h 210"/>
                <a:gd name="T96" fmla="*/ 123 w 156"/>
                <a:gd name="T97" fmla="*/ 19 h 210"/>
                <a:gd name="T98" fmla="*/ 114 w 156"/>
                <a:gd name="T99" fmla="*/ 19 h 210"/>
                <a:gd name="T100" fmla="*/ 116 w 156"/>
                <a:gd name="T101" fmla="*/ 14 h 210"/>
                <a:gd name="T102" fmla="*/ 107 w 156"/>
                <a:gd name="T103" fmla="*/ 24 h 210"/>
                <a:gd name="T104" fmla="*/ 97 w 156"/>
                <a:gd name="T105" fmla="*/ 28 h 210"/>
                <a:gd name="T106" fmla="*/ 86 w 156"/>
                <a:gd name="T107" fmla="*/ 2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10">
                  <a:moveTo>
                    <a:pt x="86" y="28"/>
                  </a:moveTo>
                  <a:lnTo>
                    <a:pt x="83" y="28"/>
                  </a:lnTo>
                  <a:lnTo>
                    <a:pt x="86" y="24"/>
                  </a:lnTo>
                  <a:lnTo>
                    <a:pt x="88" y="24"/>
                  </a:lnTo>
                  <a:lnTo>
                    <a:pt x="90" y="21"/>
                  </a:lnTo>
                  <a:lnTo>
                    <a:pt x="90" y="19"/>
                  </a:lnTo>
                  <a:lnTo>
                    <a:pt x="88" y="16"/>
                  </a:lnTo>
                  <a:lnTo>
                    <a:pt x="83" y="19"/>
                  </a:lnTo>
                  <a:lnTo>
                    <a:pt x="81" y="19"/>
                  </a:lnTo>
                  <a:lnTo>
                    <a:pt x="78" y="16"/>
                  </a:lnTo>
                  <a:lnTo>
                    <a:pt x="76" y="14"/>
                  </a:lnTo>
                  <a:lnTo>
                    <a:pt x="74" y="16"/>
                  </a:lnTo>
                  <a:lnTo>
                    <a:pt x="71" y="16"/>
                  </a:lnTo>
                  <a:lnTo>
                    <a:pt x="71" y="14"/>
                  </a:lnTo>
                  <a:lnTo>
                    <a:pt x="69" y="14"/>
                  </a:lnTo>
                  <a:lnTo>
                    <a:pt x="69" y="14"/>
                  </a:lnTo>
                  <a:lnTo>
                    <a:pt x="71" y="12"/>
                  </a:lnTo>
                  <a:lnTo>
                    <a:pt x="71" y="7"/>
                  </a:lnTo>
                  <a:lnTo>
                    <a:pt x="69" y="5"/>
                  </a:lnTo>
                  <a:lnTo>
                    <a:pt x="64" y="2"/>
                  </a:lnTo>
                  <a:lnTo>
                    <a:pt x="62" y="2"/>
                  </a:lnTo>
                  <a:lnTo>
                    <a:pt x="62" y="2"/>
                  </a:lnTo>
                  <a:lnTo>
                    <a:pt x="60" y="2"/>
                  </a:lnTo>
                  <a:lnTo>
                    <a:pt x="52" y="0"/>
                  </a:lnTo>
                  <a:lnTo>
                    <a:pt x="50" y="0"/>
                  </a:lnTo>
                  <a:lnTo>
                    <a:pt x="50" y="5"/>
                  </a:lnTo>
                  <a:lnTo>
                    <a:pt x="52" y="9"/>
                  </a:lnTo>
                  <a:lnTo>
                    <a:pt x="52" y="12"/>
                  </a:lnTo>
                  <a:lnTo>
                    <a:pt x="55" y="14"/>
                  </a:lnTo>
                  <a:lnTo>
                    <a:pt x="50" y="16"/>
                  </a:lnTo>
                  <a:lnTo>
                    <a:pt x="50" y="16"/>
                  </a:lnTo>
                  <a:lnTo>
                    <a:pt x="48" y="19"/>
                  </a:lnTo>
                  <a:lnTo>
                    <a:pt x="50" y="19"/>
                  </a:lnTo>
                  <a:lnTo>
                    <a:pt x="52" y="19"/>
                  </a:lnTo>
                  <a:lnTo>
                    <a:pt x="52" y="21"/>
                  </a:lnTo>
                  <a:lnTo>
                    <a:pt x="52" y="24"/>
                  </a:lnTo>
                  <a:lnTo>
                    <a:pt x="55" y="24"/>
                  </a:lnTo>
                  <a:lnTo>
                    <a:pt x="52" y="26"/>
                  </a:lnTo>
                  <a:lnTo>
                    <a:pt x="52" y="26"/>
                  </a:lnTo>
                  <a:lnTo>
                    <a:pt x="52" y="28"/>
                  </a:lnTo>
                  <a:lnTo>
                    <a:pt x="57" y="31"/>
                  </a:lnTo>
                  <a:lnTo>
                    <a:pt x="55" y="33"/>
                  </a:lnTo>
                  <a:lnTo>
                    <a:pt x="48" y="33"/>
                  </a:lnTo>
                  <a:lnTo>
                    <a:pt x="48" y="35"/>
                  </a:lnTo>
                  <a:lnTo>
                    <a:pt x="48" y="35"/>
                  </a:lnTo>
                  <a:lnTo>
                    <a:pt x="48" y="42"/>
                  </a:lnTo>
                  <a:lnTo>
                    <a:pt x="48" y="47"/>
                  </a:lnTo>
                  <a:lnTo>
                    <a:pt x="48" y="45"/>
                  </a:lnTo>
                  <a:lnTo>
                    <a:pt x="45" y="42"/>
                  </a:lnTo>
                  <a:lnTo>
                    <a:pt x="43" y="40"/>
                  </a:lnTo>
                  <a:lnTo>
                    <a:pt x="43" y="45"/>
                  </a:lnTo>
                  <a:lnTo>
                    <a:pt x="41" y="45"/>
                  </a:lnTo>
                  <a:lnTo>
                    <a:pt x="41" y="40"/>
                  </a:lnTo>
                  <a:lnTo>
                    <a:pt x="38" y="38"/>
                  </a:lnTo>
                  <a:lnTo>
                    <a:pt x="34" y="38"/>
                  </a:lnTo>
                  <a:lnTo>
                    <a:pt x="24" y="38"/>
                  </a:lnTo>
                  <a:lnTo>
                    <a:pt x="24" y="40"/>
                  </a:lnTo>
                  <a:lnTo>
                    <a:pt x="22" y="42"/>
                  </a:lnTo>
                  <a:lnTo>
                    <a:pt x="22" y="45"/>
                  </a:lnTo>
                  <a:lnTo>
                    <a:pt x="22" y="45"/>
                  </a:lnTo>
                  <a:lnTo>
                    <a:pt x="24" y="47"/>
                  </a:lnTo>
                  <a:lnTo>
                    <a:pt x="26" y="47"/>
                  </a:lnTo>
                  <a:lnTo>
                    <a:pt x="29" y="50"/>
                  </a:lnTo>
                  <a:lnTo>
                    <a:pt x="29" y="52"/>
                  </a:lnTo>
                  <a:lnTo>
                    <a:pt x="29" y="52"/>
                  </a:lnTo>
                  <a:lnTo>
                    <a:pt x="26" y="50"/>
                  </a:lnTo>
                  <a:lnTo>
                    <a:pt x="22" y="50"/>
                  </a:lnTo>
                  <a:lnTo>
                    <a:pt x="19" y="64"/>
                  </a:lnTo>
                  <a:lnTo>
                    <a:pt x="15" y="68"/>
                  </a:lnTo>
                  <a:lnTo>
                    <a:pt x="15" y="71"/>
                  </a:lnTo>
                  <a:lnTo>
                    <a:pt x="19" y="73"/>
                  </a:lnTo>
                  <a:lnTo>
                    <a:pt x="19" y="78"/>
                  </a:lnTo>
                  <a:lnTo>
                    <a:pt x="17" y="80"/>
                  </a:lnTo>
                  <a:lnTo>
                    <a:pt x="15" y="83"/>
                  </a:lnTo>
                  <a:lnTo>
                    <a:pt x="15" y="85"/>
                  </a:lnTo>
                  <a:lnTo>
                    <a:pt x="12" y="90"/>
                  </a:lnTo>
                  <a:lnTo>
                    <a:pt x="10" y="90"/>
                  </a:lnTo>
                  <a:lnTo>
                    <a:pt x="5" y="87"/>
                  </a:lnTo>
                  <a:lnTo>
                    <a:pt x="3" y="87"/>
                  </a:lnTo>
                  <a:lnTo>
                    <a:pt x="3" y="92"/>
                  </a:lnTo>
                  <a:lnTo>
                    <a:pt x="3" y="94"/>
                  </a:lnTo>
                  <a:lnTo>
                    <a:pt x="3" y="99"/>
                  </a:lnTo>
                  <a:lnTo>
                    <a:pt x="3" y="104"/>
                  </a:lnTo>
                  <a:lnTo>
                    <a:pt x="3" y="109"/>
                  </a:lnTo>
                  <a:lnTo>
                    <a:pt x="0" y="111"/>
                  </a:lnTo>
                  <a:lnTo>
                    <a:pt x="0" y="113"/>
                  </a:lnTo>
                  <a:lnTo>
                    <a:pt x="3" y="118"/>
                  </a:lnTo>
                  <a:lnTo>
                    <a:pt x="3" y="120"/>
                  </a:lnTo>
                  <a:lnTo>
                    <a:pt x="5" y="123"/>
                  </a:lnTo>
                  <a:lnTo>
                    <a:pt x="5" y="125"/>
                  </a:lnTo>
                  <a:lnTo>
                    <a:pt x="8" y="130"/>
                  </a:lnTo>
                  <a:lnTo>
                    <a:pt x="8" y="132"/>
                  </a:lnTo>
                  <a:lnTo>
                    <a:pt x="3" y="137"/>
                  </a:lnTo>
                  <a:lnTo>
                    <a:pt x="5" y="137"/>
                  </a:lnTo>
                  <a:lnTo>
                    <a:pt x="5" y="139"/>
                  </a:lnTo>
                  <a:lnTo>
                    <a:pt x="5" y="142"/>
                  </a:lnTo>
                  <a:lnTo>
                    <a:pt x="8" y="144"/>
                  </a:lnTo>
                  <a:lnTo>
                    <a:pt x="8" y="146"/>
                  </a:lnTo>
                  <a:lnTo>
                    <a:pt x="8" y="151"/>
                  </a:lnTo>
                  <a:lnTo>
                    <a:pt x="8" y="153"/>
                  </a:lnTo>
                  <a:lnTo>
                    <a:pt x="10" y="156"/>
                  </a:lnTo>
                  <a:lnTo>
                    <a:pt x="12" y="158"/>
                  </a:lnTo>
                  <a:lnTo>
                    <a:pt x="15" y="163"/>
                  </a:lnTo>
                  <a:lnTo>
                    <a:pt x="22" y="163"/>
                  </a:lnTo>
                  <a:lnTo>
                    <a:pt x="34" y="165"/>
                  </a:lnTo>
                  <a:lnTo>
                    <a:pt x="38" y="168"/>
                  </a:lnTo>
                  <a:lnTo>
                    <a:pt x="38" y="172"/>
                  </a:lnTo>
                  <a:lnTo>
                    <a:pt x="31" y="179"/>
                  </a:lnTo>
                  <a:lnTo>
                    <a:pt x="31" y="184"/>
                  </a:lnTo>
                  <a:lnTo>
                    <a:pt x="29" y="191"/>
                  </a:lnTo>
                  <a:lnTo>
                    <a:pt x="29" y="201"/>
                  </a:lnTo>
                  <a:lnTo>
                    <a:pt x="29" y="203"/>
                  </a:lnTo>
                  <a:lnTo>
                    <a:pt x="29" y="203"/>
                  </a:lnTo>
                  <a:lnTo>
                    <a:pt x="31" y="205"/>
                  </a:lnTo>
                  <a:lnTo>
                    <a:pt x="43" y="205"/>
                  </a:lnTo>
                  <a:lnTo>
                    <a:pt x="50" y="203"/>
                  </a:lnTo>
                  <a:lnTo>
                    <a:pt x="57" y="205"/>
                  </a:lnTo>
                  <a:lnTo>
                    <a:pt x="62" y="208"/>
                  </a:lnTo>
                  <a:lnTo>
                    <a:pt x="67" y="205"/>
                  </a:lnTo>
                  <a:lnTo>
                    <a:pt x="69" y="205"/>
                  </a:lnTo>
                  <a:lnTo>
                    <a:pt x="71" y="205"/>
                  </a:lnTo>
                  <a:lnTo>
                    <a:pt x="74" y="210"/>
                  </a:lnTo>
                  <a:lnTo>
                    <a:pt x="76" y="210"/>
                  </a:lnTo>
                  <a:lnTo>
                    <a:pt x="78" y="210"/>
                  </a:lnTo>
                  <a:lnTo>
                    <a:pt x="78" y="208"/>
                  </a:lnTo>
                  <a:lnTo>
                    <a:pt x="81" y="205"/>
                  </a:lnTo>
                  <a:lnTo>
                    <a:pt x="86" y="205"/>
                  </a:lnTo>
                  <a:lnTo>
                    <a:pt x="90" y="208"/>
                  </a:lnTo>
                  <a:lnTo>
                    <a:pt x="93" y="208"/>
                  </a:lnTo>
                  <a:lnTo>
                    <a:pt x="100" y="205"/>
                  </a:lnTo>
                  <a:lnTo>
                    <a:pt x="109" y="203"/>
                  </a:lnTo>
                  <a:lnTo>
                    <a:pt x="112" y="201"/>
                  </a:lnTo>
                  <a:lnTo>
                    <a:pt x="116" y="203"/>
                  </a:lnTo>
                  <a:lnTo>
                    <a:pt x="121" y="203"/>
                  </a:lnTo>
                  <a:lnTo>
                    <a:pt x="121" y="205"/>
                  </a:lnTo>
                  <a:lnTo>
                    <a:pt x="123" y="203"/>
                  </a:lnTo>
                  <a:lnTo>
                    <a:pt x="123" y="201"/>
                  </a:lnTo>
                  <a:lnTo>
                    <a:pt x="121" y="196"/>
                  </a:lnTo>
                  <a:lnTo>
                    <a:pt x="121" y="191"/>
                  </a:lnTo>
                  <a:lnTo>
                    <a:pt x="123" y="187"/>
                  </a:lnTo>
                  <a:lnTo>
                    <a:pt x="130" y="184"/>
                  </a:lnTo>
                  <a:lnTo>
                    <a:pt x="130" y="182"/>
                  </a:lnTo>
                  <a:lnTo>
                    <a:pt x="133" y="179"/>
                  </a:lnTo>
                  <a:lnTo>
                    <a:pt x="137" y="177"/>
                  </a:lnTo>
                  <a:lnTo>
                    <a:pt x="137" y="175"/>
                  </a:lnTo>
                  <a:lnTo>
                    <a:pt x="137" y="172"/>
                  </a:lnTo>
                  <a:lnTo>
                    <a:pt x="128" y="165"/>
                  </a:lnTo>
                  <a:lnTo>
                    <a:pt x="126" y="163"/>
                  </a:lnTo>
                  <a:lnTo>
                    <a:pt x="116" y="156"/>
                  </a:lnTo>
                  <a:lnTo>
                    <a:pt x="114" y="151"/>
                  </a:lnTo>
                  <a:lnTo>
                    <a:pt x="114" y="144"/>
                  </a:lnTo>
                  <a:lnTo>
                    <a:pt x="112" y="142"/>
                  </a:lnTo>
                  <a:lnTo>
                    <a:pt x="109" y="139"/>
                  </a:lnTo>
                  <a:lnTo>
                    <a:pt x="107" y="137"/>
                  </a:lnTo>
                  <a:lnTo>
                    <a:pt x="107" y="132"/>
                  </a:lnTo>
                  <a:lnTo>
                    <a:pt x="107" y="132"/>
                  </a:lnTo>
                  <a:lnTo>
                    <a:pt x="112" y="137"/>
                  </a:lnTo>
                  <a:lnTo>
                    <a:pt x="112" y="137"/>
                  </a:lnTo>
                  <a:lnTo>
                    <a:pt x="114" y="132"/>
                  </a:lnTo>
                  <a:lnTo>
                    <a:pt x="119" y="130"/>
                  </a:lnTo>
                  <a:lnTo>
                    <a:pt x="123" y="128"/>
                  </a:lnTo>
                  <a:lnTo>
                    <a:pt x="130" y="125"/>
                  </a:lnTo>
                  <a:lnTo>
                    <a:pt x="130" y="120"/>
                  </a:lnTo>
                  <a:lnTo>
                    <a:pt x="145" y="118"/>
                  </a:lnTo>
                  <a:lnTo>
                    <a:pt x="145" y="111"/>
                  </a:lnTo>
                  <a:lnTo>
                    <a:pt x="147" y="111"/>
                  </a:lnTo>
                  <a:lnTo>
                    <a:pt x="149" y="116"/>
                  </a:lnTo>
                  <a:lnTo>
                    <a:pt x="152" y="118"/>
                  </a:lnTo>
                  <a:lnTo>
                    <a:pt x="154" y="118"/>
                  </a:lnTo>
                  <a:lnTo>
                    <a:pt x="156" y="116"/>
                  </a:lnTo>
                  <a:lnTo>
                    <a:pt x="156" y="109"/>
                  </a:lnTo>
                  <a:lnTo>
                    <a:pt x="156" y="104"/>
                  </a:lnTo>
                  <a:lnTo>
                    <a:pt x="156" y="102"/>
                  </a:lnTo>
                  <a:lnTo>
                    <a:pt x="152" y="94"/>
                  </a:lnTo>
                  <a:lnTo>
                    <a:pt x="152" y="87"/>
                  </a:lnTo>
                  <a:lnTo>
                    <a:pt x="152" y="85"/>
                  </a:lnTo>
                  <a:lnTo>
                    <a:pt x="152" y="80"/>
                  </a:lnTo>
                  <a:lnTo>
                    <a:pt x="149" y="76"/>
                  </a:lnTo>
                  <a:lnTo>
                    <a:pt x="149" y="68"/>
                  </a:lnTo>
                  <a:lnTo>
                    <a:pt x="149" y="66"/>
                  </a:lnTo>
                  <a:lnTo>
                    <a:pt x="145" y="61"/>
                  </a:lnTo>
                  <a:lnTo>
                    <a:pt x="145" y="59"/>
                  </a:lnTo>
                  <a:lnTo>
                    <a:pt x="145" y="57"/>
                  </a:lnTo>
                  <a:lnTo>
                    <a:pt x="147" y="52"/>
                  </a:lnTo>
                  <a:lnTo>
                    <a:pt x="147" y="50"/>
                  </a:lnTo>
                  <a:lnTo>
                    <a:pt x="147" y="42"/>
                  </a:lnTo>
                  <a:lnTo>
                    <a:pt x="145" y="38"/>
                  </a:lnTo>
                  <a:lnTo>
                    <a:pt x="145" y="35"/>
                  </a:lnTo>
                  <a:lnTo>
                    <a:pt x="137" y="33"/>
                  </a:lnTo>
                  <a:lnTo>
                    <a:pt x="135" y="28"/>
                  </a:lnTo>
                  <a:lnTo>
                    <a:pt x="133" y="24"/>
                  </a:lnTo>
                  <a:lnTo>
                    <a:pt x="130" y="24"/>
                  </a:lnTo>
                  <a:lnTo>
                    <a:pt x="128" y="24"/>
                  </a:lnTo>
                  <a:lnTo>
                    <a:pt x="128" y="21"/>
                  </a:lnTo>
                  <a:lnTo>
                    <a:pt x="126" y="19"/>
                  </a:lnTo>
                  <a:lnTo>
                    <a:pt x="123" y="19"/>
                  </a:lnTo>
                  <a:lnTo>
                    <a:pt x="123" y="16"/>
                  </a:lnTo>
                  <a:lnTo>
                    <a:pt x="119" y="16"/>
                  </a:lnTo>
                  <a:lnTo>
                    <a:pt x="114" y="19"/>
                  </a:lnTo>
                  <a:lnTo>
                    <a:pt x="114" y="19"/>
                  </a:lnTo>
                  <a:lnTo>
                    <a:pt x="114" y="19"/>
                  </a:lnTo>
                  <a:lnTo>
                    <a:pt x="116" y="16"/>
                  </a:lnTo>
                  <a:lnTo>
                    <a:pt x="119" y="14"/>
                  </a:lnTo>
                  <a:lnTo>
                    <a:pt x="116" y="14"/>
                  </a:lnTo>
                  <a:lnTo>
                    <a:pt x="114" y="14"/>
                  </a:lnTo>
                  <a:lnTo>
                    <a:pt x="109" y="19"/>
                  </a:lnTo>
                  <a:lnTo>
                    <a:pt x="107" y="24"/>
                  </a:lnTo>
                  <a:lnTo>
                    <a:pt x="107" y="24"/>
                  </a:lnTo>
                  <a:lnTo>
                    <a:pt x="107" y="21"/>
                  </a:lnTo>
                  <a:lnTo>
                    <a:pt x="100" y="24"/>
                  </a:lnTo>
                  <a:lnTo>
                    <a:pt x="95" y="28"/>
                  </a:lnTo>
                  <a:lnTo>
                    <a:pt x="97" y="28"/>
                  </a:lnTo>
                  <a:lnTo>
                    <a:pt x="93" y="28"/>
                  </a:lnTo>
                  <a:lnTo>
                    <a:pt x="90" y="28"/>
                  </a:lnTo>
                  <a:lnTo>
                    <a:pt x="86" y="31"/>
                  </a:lnTo>
                  <a:lnTo>
                    <a:pt x="86" y="28"/>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6" name="Freeform 1275">
              <a:extLst>
                <a:ext uri="{FF2B5EF4-FFF2-40B4-BE49-F238E27FC236}">
                  <a16:creationId xmlns:a16="http://schemas.microsoft.com/office/drawing/2014/main" id="{82359F02-1B08-4985-90DF-96FA79A9941D}"/>
                </a:ext>
              </a:extLst>
            </p:cNvPr>
            <p:cNvSpPr>
              <a:spLocks/>
            </p:cNvSpPr>
            <p:nvPr/>
          </p:nvSpPr>
          <p:spPr bwMode="auto">
            <a:xfrm>
              <a:off x="1639140" y="2722526"/>
              <a:ext cx="14288" cy="19050"/>
            </a:xfrm>
            <a:custGeom>
              <a:avLst/>
              <a:gdLst>
                <a:gd name="T0" fmla="*/ 7 w 9"/>
                <a:gd name="T1" fmla="*/ 7 h 12"/>
                <a:gd name="T2" fmla="*/ 7 w 9"/>
                <a:gd name="T3" fmla="*/ 9 h 12"/>
                <a:gd name="T4" fmla="*/ 9 w 9"/>
                <a:gd name="T5" fmla="*/ 12 h 12"/>
                <a:gd name="T6" fmla="*/ 9 w 9"/>
                <a:gd name="T7" fmla="*/ 12 h 12"/>
                <a:gd name="T8" fmla="*/ 7 w 9"/>
                <a:gd name="T9" fmla="*/ 12 h 12"/>
                <a:gd name="T10" fmla="*/ 4 w 9"/>
                <a:gd name="T11" fmla="*/ 12 h 12"/>
                <a:gd name="T12" fmla="*/ 4 w 9"/>
                <a:gd name="T13" fmla="*/ 12 h 12"/>
                <a:gd name="T14" fmla="*/ 2 w 9"/>
                <a:gd name="T15" fmla="*/ 12 h 12"/>
                <a:gd name="T16" fmla="*/ 0 w 9"/>
                <a:gd name="T17" fmla="*/ 9 h 12"/>
                <a:gd name="T18" fmla="*/ 0 w 9"/>
                <a:gd name="T19" fmla="*/ 9 h 12"/>
                <a:gd name="T20" fmla="*/ 0 w 9"/>
                <a:gd name="T21" fmla="*/ 7 h 12"/>
                <a:gd name="T22" fmla="*/ 0 w 9"/>
                <a:gd name="T23" fmla="*/ 5 h 12"/>
                <a:gd name="T24" fmla="*/ 2 w 9"/>
                <a:gd name="T25" fmla="*/ 5 h 12"/>
                <a:gd name="T26" fmla="*/ 4 w 9"/>
                <a:gd name="T27" fmla="*/ 7 h 12"/>
                <a:gd name="T28" fmla="*/ 4 w 9"/>
                <a:gd name="T29" fmla="*/ 5 h 12"/>
                <a:gd name="T30" fmla="*/ 2 w 9"/>
                <a:gd name="T31" fmla="*/ 5 h 12"/>
                <a:gd name="T32" fmla="*/ 2 w 9"/>
                <a:gd name="T33" fmla="*/ 2 h 12"/>
                <a:gd name="T34" fmla="*/ 2 w 9"/>
                <a:gd name="T35" fmla="*/ 0 h 12"/>
                <a:gd name="T36" fmla="*/ 4 w 9"/>
                <a:gd name="T37" fmla="*/ 2 h 12"/>
                <a:gd name="T38" fmla="*/ 4 w 9"/>
                <a:gd name="T39" fmla="*/ 2 h 12"/>
                <a:gd name="T40" fmla="*/ 7 w 9"/>
                <a:gd name="T41" fmla="*/ 2 h 12"/>
                <a:gd name="T42" fmla="*/ 9 w 9"/>
                <a:gd name="T43" fmla="*/ 5 h 12"/>
                <a:gd name="T44" fmla="*/ 7 w 9"/>
                <a:gd name="T4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12">
                  <a:moveTo>
                    <a:pt x="7" y="7"/>
                  </a:moveTo>
                  <a:lnTo>
                    <a:pt x="7" y="9"/>
                  </a:lnTo>
                  <a:lnTo>
                    <a:pt x="9" y="12"/>
                  </a:lnTo>
                  <a:lnTo>
                    <a:pt x="9" y="12"/>
                  </a:lnTo>
                  <a:lnTo>
                    <a:pt x="7" y="12"/>
                  </a:lnTo>
                  <a:lnTo>
                    <a:pt x="4" y="12"/>
                  </a:lnTo>
                  <a:lnTo>
                    <a:pt x="4" y="12"/>
                  </a:lnTo>
                  <a:lnTo>
                    <a:pt x="2" y="12"/>
                  </a:lnTo>
                  <a:lnTo>
                    <a:pt x="0" y="9"/>
                  </a:lnTo>
                  <a:lnTo>
                    <a:pt x="0" y="9"/>
                  </a:lnTo>
                  <a:lnTo>
                    <a:pt x="0" y="7"/>
                  </a:lnTo>
                  <a:lnTo>
                    <a:pt x="0" y="5"/>
                  </a:lnTo>
                  <a:lnTo>
                    <a:pt x="2" y="5"/>
                  </a:lnTo>
                  <a:lnTo>
                    <a:pt x="4" y="7"/>
                  </a:lnTo>
                  <a:lnTo>
                    <a:pt x="4" y="5"/>
                  </a:lnTo>
                  <a:lnTo>
                    <a:pt x="2" y="5"/>
                  </a:lnTo>
                  <a:lnTo>
                    <a:pt x="2" y="2"/>
                  </a:lnTo>
                  <a:lnTo>
                    <a:pt x="2" y="0"/>
                  </a:lnTo>
                  <a:lnTo>
                    <a:pt x="4" y="2"/>
                  </a:lnTo>
                  <a:lnTo>
                    <a:pt x="4" y="2"/>
                  </a:lnTo>
                  <a:lnTo>
                    <a:pt x="7" y="2"/>
                  </a:lnTo>
                  <a:lnTo>
                    <a:pt x="9" y="5"/>
                  </a:lnTo>
                  <a:lnTo>
                    <a:pt x="7"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7" name="Freeform 1276">
              <a:extLst>
                <a:ext uri="{FF2B5EF4-FFF2-40B4-BE49-F238E27FC236}">
                  <a16:creationId xmlns:a16="http://schemas.microsoft.com/office/drawing/2014/main" id="{A8BA54A1-0256-4B8A-BB80-298C5F1CECAD}"/>
                </a:ext>
              </a:extLst>
            </p:cNvPr>
            <p:cNvSpPr>
              <a:spLocks/>
            </p:cNvSpPr>
            <p:nvPr/>
          </p:nvSpPr>
          <p:spPr bwMode="auto">
            <a:xfrm>
              <a:off x="1639140" y="2722526"/>
              <a:ext cx="14288" cy="19050"/>
            </a:xfrm>
            <a:custGeom>
              <a:avLst/>
              <a:gdLst>
                <a:gd name="T0" fmla="*/ 7 w 9"/>
                <a:gd name="T1" fmla="*/ 7 h 12"/>
                <a:gd name="T2" fmla="*/ 7 w 9"/>
                <a:gd name="T3" fmla="*/ 9 h 12"/>
                <a:gd name="T4" fmla="*/ 9 w 9"/>
                <a:gd name="T5" fmla="*/ 12 h 12"/>
                <a:gd name="T6" fmla="*/ 9 w 9"/>
                <a:gd name="T7" fmla="*/ 12 h 12"/>
                <a:gd name="T8" fmla="*/ 7 w 9"/>
                <a:gd name="T9" fmla="*/ 12 h 12"/>
                <a:gd name="T10" fmla="*/ 4 w 9"/>
                <a:gd name="T11" fmla="*/ 12 h 12"/>
                <a:gd name="T12" fmla="*/ 4 w 9"/>
                <a:gd name="T13" fmla="*/ 12 h 12"/>
                <a:gd name="T14" fmla="*/ 2 w 9"/>
                <a:gd name="T15" fmla="*/ 12 h 12"/>
                <a:gd name="T16" fmla="*/ 0 w 9"/>
                <a:gd name="T17" fmla="*/ 9 h 12"/>
                <a:gd name="T18" fmla="*/ 0 w 9"/>
                <a:gd name="T19" fmla="*/ 9 h 12"/>
                <a:gd name="T20" fmla="*/ 0 w 9"/>
                <a:gd name="T21" fmla="*/ 7 h 12"/>
                <a:gd name="T22" fmla="*/ 0 w 9"/>
                <a:gd name="T23" fmla="*/ 5 h 12"/>
                <a:gd name="T24" fmla="*/ 2 w 9"/>
                <a:gd name="T25" fmla="*/ 5 h 12"/>
                <a:gd name="T26" fmla="*/ 4 w 9"/>
                <a:gd name="T27" fmla="*/ 7 h 12"/>
                <a:gd name="T28" fmla="*/ 4 w 9"/>
                <a:gd name="T29" fmla="*/ 5 h 12"/>
                <a:gd name="T30" fmla="*/ 2 w 9"/>
                <a:gd name="T31" fmla="*/ 5 h 12"/>
                <a:gd name="T32" fmla="*/ 2 w 9"/>
                <a:gd name="T33" fmla="*/ 2 h 12"/>
                <a:gd name="T34" fmla="*/ 2 w 9"/>
                <a:gd name="T35" fmla="*/ 0 h 12"/>
                <a:gd name="T36" fmla="*/ 4 w 9"/>
                <a:gd name="T37" fmla="*/ 2 h 12"/>
                <a:gd name="T38" fmla="*/ 4 w 9"/>
                <a:gd name="T39" fmla="*/ 2 h 12"/>
                <a:gd name="T40" fmla="*/ 7 w 9"/>
                <a:gd name="T41" fmla="*/ 2 h 12"/>
                <a:gd name="T42" fmla="*/ 9 w 9"/>
                <a:gd name="T43" fmla="*/ 5 h 12"/>
                <a:gd name="T44" fmla="*/ 7 w 9"/>
                <a:gd name="T4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12">
                  <a:moveTo>
                    <a:pt x="7" y="7"/>
                  </a:moveTo>
                  <a:lnTo>
                    <a:pt x="7" y="9"/>
                  </a:lnTo>
                  <a:lnTo>
                    <a:pt x="9" y="12"/>
                  </a:lnTo>
                  <a:lnTo>
                    <a:pt x="9" y="12"/>
                  </a:lnTo>
                  <a:lnTo>
                    <a:pt x="7" y="12"/>
                  </a:lnTo>
                  <a:lnTo>
                    <a:pt x="4" y="12"/>
                  </a:lnTo>
                  <a:lnTo>
                    <a:pt x="4" y="12"/>
                  </a:lnTo>
                  <a:lnTo>
                    <a:pt x="2" y="12"/>
                  </a:lnTo>
                  <a:lnTo>
                    <a:pt x="0" y="9"/>
                  </a:lnTo>
                  <a:lnTo>
                    <a:pt x="0" y="9"/>
                  </a:lnTo>
                  <a:lnTo>
                    <a:pt x="0" y="7"/>
                  </a:lnTo>
                  <a:lnTo>
                    <a:pt x="0" y="5"/>
                  </a:lnTo>
                  <a:lnTo>
                    <a:pt x="2" y="5"/>
                  </a:lnTo>
                  <a:lnTo>
                    <a:pt x="4" y="7"/>
                  </a:lnTo>
                  <a:lnTo>
                    <a:pt x="4" y="5"/>
                  </a:lnTo>
                  <a:lnTo>
                    <a:pt x="2" y="5"/>
                  </a:lnTo>
                  <a:lnTo>
                    <a:pt x="2" y="2"/>
                  </a:lnTo>
                  <a:lnTo>
                    <a:pt x="2" y="0"/>
                  </a:lnTo>
                  <a:lnTo>
                    <a:pt x="4" y="2"/>
                  </a:lnTo>
                  <a:lnTo>
                    <a:pt x="4" y="2"/>
                  </a:lnTo>
                  <a:lnTo>
                    <a:pt x="7" y="2"/>
                  </a:lnTo>
                  <a:lnTo>
                    <a:pt x="9" y="5"/>
                  </a:lnTo>
                  <a:lnTo>
                    <a:pt x="7"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8" name="Freeform 1281">
              <a:extLst>
                <a:ext uri="{FF2B5EF4-FFF2-40B4-BE49-F238E27FC236}">
                  <a16:creationId xmlns:a16="http://schemas.microsoft.com/office/drawing/2014/main" id="{87A0A3BE-327D-4AD0-8588-F40EB5E7C741}"/>
                </a:ext>
              </a:extLst>
            </p:cNvPr>
            <p:cNvSpPr>
              <a:spLocks/>
            </p:cNvSpPr>
            <p:nvPr/>
          </p:nvSpPr>
          <p:spPr bwMode="auto">
            <a:xfrm>
              <a:off x="1616915" y="4383053"/>
              <a:ext cx="528637" cy="514350"/>
            </a:xfrm>
            <a:custGeom>
              <a:avLst/>
              <a:gdLst>
                <a:gd name="T0" fmla="*/ 304 w 333"/>
                <a:gd name="T1" fmla="*/ 215 h 324"/>
                <a:gd name="T2" fmla="*/ 300 w 333"/>
                <a:gd name="T3" fmla="*/ 194 h 324"/>
                <a:gd name="T4" fmla="*/ 297 w 333"/>
                <a:gd name="T5" fmla="*/ 168 h 324"/>
                <a:gd name="T6" fmla="*/ 297 w 333"/>
                <a:gd name="T7" fmla="*/ 156 h 324"/>
                <a:gd name="T8" fmla="*/ 295 w 333"/>
                <a:gd name="T9" fmla="*/ 140 h 324"/>
                <a:gd name="T10" fmla="*/ 297 w 333"/>
                <a:gd name="T11" fmla="*/ 126 h 324"/>
                <a:gd name="T12" fmla="*/ 304 w 333"/>
                <a:gd name="T13" fmla="*/ 109 h 324"/>
                <a:gd name="T14" fmla="*/ 311 w 333"/>
                <a:gd name="T15" fmla="*/ 81 h 324"/>
                <a:gd name="T16" fmla="*/ 323 w 333"/>
                <a:gd name="T17" fmla="*/ 67 h 324"/>
                <a:gd name="T18" fmla="*/ 333 w 333"/>
                <a:gd name="T19" fmla="*/ 55 h 324"/>
                <a:gd name="T20" fmla="*/ 323 w 333"/>
                <a:gd name="T21" fmla="*/ 45 h 324"/>
                <a:gd name="T22" fmla="*/ 323 w 333"/>
                <a:gd name="T23" fmla="*/ 29 h 324"/>
                <a:gd name="T24" fmla="*/ 304 w 333"/>
                <a:gd name="T25" fmla="*/ 12 h 324"/>
                <a:gd name="T26" fmla="*/ 283 w 333"/>
                <a:gd name="T27" fmla="*/ 17 h 324"/>
                <a:gd name="T28" fmla="*/ 266 w 333"/>
                <a:gd name="T29" fmla="*/ 3 h 324"/>
                <a:gd name="T30" fmla="*/ 245 w 333"/>
                <a:gd name="T31" fmla="*/ 0 h 324"/>
                <a:gd name="T32" fmla="*/ 222 w 333"/>
                <a:gd name="T33" fmla="*/ 5 h 324"/>
                <a:gd name="T34" fmla="*/ 214 w 333"/>
                <a:gd name="T35" fmla="*/ 5 h 324"/>
                <a:gd name="T36" fmla="*/ 191 w 333"/>
                <a:gd name="T37" fmla="*/ 10 h 324"/>
                <a:gd name="T38" fmla="*/ 163 w 333"/>
                <a:gd name="T39" fmla="*/ 17 h 324"/>
                <a:gd name="T40" fmla="*/ 139 w 333"/>
                <a:gd name="T41" fmla="*/ 10 h 324"/>
                <a:gd name="T42" fmla="*/ 122 w 333"/>
                <a:gd name="T43" fmla="*/ 5 h 324"/>
                <a:gd name="T44" fmla="*/ 113 w 333"/>
                <a:gd name="T45" fmla="*/ 24 h 324"/>
                <a:gd name="T46" fmla="*/ 103 w 333"/>
                <a:gd name="T47" fmla="*/ 52 h 324"/>
                <a:gd name="T48" fmla="*/ 94 w 333"/>
                <a:gd name="T49" fmla="*/ 104 h 324"/>
                <a:gd name="T50" fmla="*/ 68 w 333"/>
                <a:gd name="T51" fmla="*/ 135 h 324"/>
                <a:gd name="T52" fmla="*/ 56 w 333"/>
                <a:gd name="T53" fmla="*/ 166 h 324"/>
                <a:gd name="T54" fmla="*/ 35 w 333"/>
                <a:gd name="T55" fmla="*/ 170 h 324"/>
                <a:gd name="T56" fmla="*/ 21 w 333"/>
                <a:gd name="T57" fmla="*/ 175 h 324"/>
                <a:gd name="T58" fmla="*/ 7 w 333"/>
                <a:gd name="T59" fmla="*/ 180 h 324"/>
                <a:gd name="T60" fmla="*/ 0 w 333"/>
                <a:gd name="T61" fmla="*/ 196 h 324"/>
                <a:gd name="T62" fmla="*/ 2 w 333"/>
                <a:gd name="T63" fmla="*/ 199 h 324"/>
                <a:gd name="T64" fmla="*/ 23 w 333"/>
                <a:gd name="T65" fmla="*/ 194 h 324"/>
                <a:gd name="T66" fmla="*/ 49 w 333"/>
                <a:gd name="T67" fmla="*/ 194 h 324"/>
                <a:gd name="T68" fmla="*/ 70 w 333"/>
                <a:gd name="T69" fmla="*/ 196 h 324"/>
                <a:gd name="T70" fmla="*/ 77 w 333"/>
                <a:gd name="T71" fmla="*/ 208 h 324"/>
                <a:gd name="T72" fmla="*/ 92 w 333"/>
                <a:gd name="T73" fmla="*/ 232 h 324"/>
                <a:gd name="T74" fmla="*/ 118 w 333"/>
                <a:gd name="T75" fmla="*/ 232 h 324"/>
                <a:gd name="T76" fmla="*/ 125 w 333"/>
                <a:gd name="T77" fmla="*/ 222 h 324"/>
                <a:gd name="T78" fmla="*/ 141 w 333"/>
                <a:gd name="T79" fmla="*/ 213 h 324"/>
                <a:gd name="T80" fmla="*/ 165 w 333"/>
                <a:gd name="T81" fmla="*/ 222 h 324"/>
                <a:gd name="T82" fmla="*/ 167 w 333"/>
                <a:gd name="T83" fmla="*/ 251 h 324"/>
                <a:gd name="T84" fmla="*/ 172 w 333"/>
                <a:gd name="T85" fmla="*/ 272 h 324"/>
                <a:gd name="T86" fmla="*/ 170 w 333"/>
                <a:gd name="T87" fmla="*/ 286 h 324"/>
                <a:gd name="T88" fmla="*/ 174 w 333"/>
                <a:gd name="T89" fmla="*/ 291 h 324"/>
                <a:gd name="T90" fmla="*/ 196 w 333"/>
                <a:gd name="T91" fmla="*/ 284 h 324"/>
                <a:gd name="T92" fmla="*/ 205 w 333"/>
                <a:gd name="T93" fmla="*/ 281 h 324"/>
                <a:gd name="T94" fmla="*/ 212 w 333"/>
                <a:gd name="T95" fmla="*/ 289 h 324"/>
                <a:gd name="T96" fmla="*/ 222 w 333"/>
                <a:gd name="T97" fmla="*/ 289 h 324"/>
                <a:gd name="T98" fmla="*/ 233 w 333"/>
                <a:gd name="T99" fmla="*/ 296 h 324"/>
                <a:gd name="T100" fmla="*/ 255 w 333"/>
                <a:gd name="T101" fmla="*/ 298 h 324"/>
                <a:gd name="T102" fmla="*/ 274 w 333"/>
                <a:gd name="T103" fmla="*/ 307 h 324"/>
                <a:gd name="T104" fmla="*/ 285 w 333"/>
                <a:gd name="T105" fmla="*/ 319 h 324"/>
                <a:gd name="T106" fmla="*/ 300 w 333"/>
                <a:gd name="T107" fmla="*/ 322 h 324"/>
                <a:gd name="T108" fmla="*/ 304 w 333"/>
                <a:gd name="T109" fmla="*/ 324 h 324"/>
                <a:gd name="T110" fmla="*/ 304 w 333"/>
                <a:gd name="T111" fmla="*/ 305 h 324"/>
                <a:gd name="T112" fmla="*/ 290 w 333"/>
                <a:gd name="T113" fmla="*/ 305 h 324"/>
                <a:gd name="T114" fmla="*/ 283 w 333"/>
                <a:gd name="T115" fmla="*/ 293 h 324"/>
                <a:gd name="T116" fmla="*/ 290 w 333"/>
                <a:gd name="T117" fmla="*/ 263 h 324"/>
                <a:gd name="T118" fmla="*/ 290 w 333"/>
                <a:gd name="T119" fmla="*/ 246 h 324"/>
                <a:gd name="T120" fmla="*/ 300 w 333"/>
                <a:gd name="T121" fmla="*/ 23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 h="324">
                  <a:moveTo>
                    <a:pt x="318" y="234"/>
                  </a:moveTo>
                  <a:lnTo>
                    <a:pt x="316" y="225"/>
                  </a:lnTo>
                  <a:lnTo>
                    <a:pt x="314" y="220"/>
                  </a:lnTo>
                  <a:lnTo>
                    <a:pt x="309" y="218"/>
                  </a:lnTo>
                  <a:lnTo>
                    <a:pt x="304" y="215"/>
                  </a:lnTo>
                  <a:lnTo>
                    <a:pt x="302" y="211"/>
                  </a:lnTo>
                  <a:lnTo>
                    <a:pt x="300" y="206"/>
                  </a:lnTo>
                  <a:lnTo>
                    <a:pt x="300" y="204"/>
                  </a:lnTo>
                  <a:lnTo>
                    <a:pt x="297" y="199"/>
                  </a:lnTo>
                  <a:lnTo>
                    <a:pt x="300" y="194"/>
                  </a:lnTo>
                  <a:lnTo>
                    <a:pt x="300" y="192"/>
                  </a:lnTo>
                  <a:lnTo>
                    <a:pt x="297" y="187"/>
                  </a:lnTo>
                  <a:lnTo>
                    <a:pt x="295" y="182"/>
                  </a:lnTo>
                  <a:lnTo>
                    <a:pt x="295" y="175"/>
                  </a:lnTo>
                  <a:lnTo>
                    <a:pt x="297" y="168"/>
                  </a:lnTo>
                  <a:lnTo>
                    <a:pt x="297" y="166"/>
                  </a:lnTo>
                  <a:lnTo>
                    <a:pt x="295" y="166"/>
                  </a:lnTo>
                  <a:lnTo>
                    <a:pt x="295" y="166"/>
                  </a:lnTo>
                  <a:lnTo>
                    <a:pt x="295" y="161"/>
                  </a:lnTo>
                  <a:lnTo>
                    <a:pt x="297" y="156"/>
                  </a:lnTo>
                  <a:lnTo>
                    <a:pt x="297" y="154"/>
                  </a:lnTo>
                  <a:lnTo>
                    <a:pt x="297" y="152"/>
                  </a:lnTo>
                  <a:lnTo>
                    <a:pt x="297" y="142"/>
                  </a:lnTo>
                  <a:lnTo>
                    <a:pt x="297" y="142"/>
                  </a:lnTo>
                  <a:lnTo>
                    <a:pt x="295" y="140"/>
                  </a:lnTo>
                  <a:lnTo>
                    <a:pt x="292" y="137"/>
                  </a:lnTo>
                  <a:lnTo>
                    <a:pt x="292" y="135"/>
                  </a:lnTo>
                  <a:lnTo>
                    <a:pt x="292" y="133"/>
                  </a:lnTo>
                  <a:lnTo>
                    <a:pt x="295" y="128"/>
                  </a:lnTo>
                  <a:lnTo>
                    <a:pt x="297" y="126"/>
                  </a:lnTo>
                  <a:lnTo>
                    <a:pt x="300" y="121"/>
                  </a:lnTo>
                  <a:lnTo>
                    <a:pt x="302" y="119"/>
                  </a:lnTo>
                  <a:lnTo>
                    <a:pt x="304" y="116"/>
                  </a:lnTo>
                  <a:lnTo>
                    <a:pt x="304" y="116"/>
                  </a:lnTo>
                  <a:lnTo>
                    <a:pt x="304" y="109"/>
                  </a:lnTo>
                  <a:lnTo>
                    <a:pt x="307" y="100"/>
                  </a:lnTo>
                  <a:lnTo>
                    <a:pt x="307" y="95"/>
                  </a:lnTo>
                  <a:lnTo>
                    <a:pt x="309" y="85"/>
                  </a:lnTo>
                  <a:lnTo>
                    <a:pt x="309" y="81"/>
                  </a:lnTo>
                  <a:lnTo>
                    <a:pt x="311" y="81"/>
                  </a:lnTo>
                  <a:lnTo>
                    <a:pt x="316" y="76"/>
                  </a:lnTo>
                  <a:lnTo>
                    <a:pt x="318" y="71"/>
                  </a:lnTo>
                  <a:lnTo>
                    <a:pt x="321" y="69"/>
                  </a:lnTo>
                  <a:lnTo>
                    <a:pt x="321" y="67"/>
                  </a:lnTo>
                  <a:lnTo>
                    <a:pt x="323" y="67"/>
                  </a:lnTo>
                  <a:lnTo>
                    <a:pt x="325" y="64"/>
                  </a:lnTo>
                  <a:lnTo>
                    <a:pt x="328" y="62"/>
                  </a:lnTo>
                  <a:lnTo>
                    <a:pt x="330" y="59"/>
                  </a:lnTo>
                  <a:lnTo>
                    <a:pt x="333" y="57"/>
                  </a:lnTo>
                  <a:lnTo>
                    <a:pt x="333" y="55"/>
                  </a:lnTo>
                  <a:lnTo>
                    <a:pt x="330" y="52"/>
                  </a:lnTo>
                  <a:lnTo>
                    <a:pt x="328" y="52"/>
                  </a:lnTo>
                  <a:lnTo>
                    <a:pt x="325" y="50"/>
                  </a:lnTo>
                  <a:lnTo>
                    <a:pt x="325" y="50"/>
                  </a:lnTo>
                  <a:lnTo>
                    <a:pt x="323" y="45"/>
                  </a:lnTo>
                  <a:lnTo>
                    <a:pt x="323" y="41"/>
                  </a:lnTo>
                  <a:lnTo>
                    <a:pt x="325" y="33"/>
                  </a:lnTo>
                  <a:lnTo>
                    <a:pt x="325" y="31"/>
                  </a:lnTo>
                  <a:lnTo>
                    <a:pt x="325" y="29"/>
                  </a:lnTo>
                  <a:lnTo>
                    <a:pt x="323" y="29"/>
                  </a:lnTo>
                  <a:lnTo>
                    <a:pt x="321" y="29"/>
                  </a:lnTo>
                  <a:lnTo>
                    <a:pt x="318" y="26"/>
                  </a:lnTo>
                  <a:lnTo>
                    <a:pt x="316" y="22"/>
                  </a:lnTo>
                  <a:lnTo>
                    <a:pt x="307" y="15"/>
                  </a:lnTo>
                  <a:lnTo>
                    <a:pt x="304" y="12"/>
                  </a:lnTo>
                  <a:lnTo>
                    <a:pt x="300" y="15"/>
                  </a:lnTo>
                  <a:lnTo>
                    <a:pt x="295" y="17"/>
                  </a:lnTo>
                  <a:lnTo>
                    <a:pt x="288" y="15"/>
                  </a:lnTo>
                  <a:lnTo>
                    <a:pt x="285" y="17"/>
                  </a:lnTo>
                  <a:lnTo>
                    <a:pt x="283" y="17"/>
                  </a:lnTo>
                  <a:lnTo>
                    <a:pt x="276" y="15"/>
                  </a:lnTo>
                  <a:lnTo>
                    <a:pt x="274" y="12"/>
                  </a:lnTo>
                  <a:lnTo>
                    <a:pt x="274" y="10"/>
                  </a:lnTo>
                  <a:lnTo>
                    <a:pt x="269" y="5"/>
                  </a:lnTo>
                  <a:lnTo>
                    <a:pt x="266" y="3"/>
                  </a:lnTo>
                  <a:lnTo>
                    <a:pt x="257" y="3"/>
                  </a:lnTo>
                  <a:lnTo>
                    <a:pt x="255" y="5"/>
                  </a:lnTo>
                  <a:lnTo>
                    <a:pt x="252" y="3"/>
                  </a:lnTo>
                  <a:lnTo>
                    <a:pt x="250" y="5"/>
                  </a:lnTo>
                  <a:lnTo>
                    <a:pt x="245" y="0"/>
                  </a:lnTo>
                  <a:lnTo>
                    <a:pt x="240" y="3"/>
                  </a:lnTo>
                  <a:lnTo>
                    <a:pt x="233" y="3"/>
                  </a:lnTo>
                  <a:lnTo>
                    <a:pt x="226" y="3"/>
                  </a:lnTo>
                  <a:lnTo>
                    <a:pt x="226" y="5"/>
                  </a:lnTo>
                  <a:lnTo>
                    <a:pt x="222" y="5"/>
                  </a:lnTo>
                  <a:lnTo>
                    <a:pt x="219" y="8"/>
                  </a:lnTo>
                  <a:lnTo>
                    <a:pt x="217" y="5"/>
                  </a:lnTo>
                  <a:lnTo>
                    <a:pt x="217" y="5"/>
                  </a:lnTo>
                  <a:lnTo>
                    <a:pt x="217" y="5"/>
                  </a:lnTo>
                  <a:lnTo>
                    <a:pt x="214" y="5"/>
                  </a:lnTo>
                  <a:lnTo>
                    <a:pt x="212" y="5"/>
                  </a:lnTo>
                  <a:lnTo>
                    <a:pt x="203" y="8"/>
                  </a:lnTo>
                  <a:lnTo>
                    <a:pt x="200" y="10"/>
                  </a:lnTo>
                  <a:lnTo>
                    <a:pt x="193" y="12"/>
                  </a:lnTo>
                  <a:lnTo>
                    <a:pt x="191" y="10"/>
                  </a:lnTo>
                  <a:lnTo>
                    <a:pt x="186" y="8"/>
                  </a:lnTo>
                  <a:lnTo>
                    <a:pt x="181" y="12"/>
                  </a:lnTo>
                  <a:lnTo>
                    <a:pt x="179" y="17"/>
                  </a:lnTo>
                  <a:lnTo>
                    <a:pt x="177" y="17"/>
                  </a:lnTo>
                  <a:lnTo>
                    <a:pt x="163" y="17"/>
                  </a:lnTo>
                  <a:lnTo>
                    <a:pt x="155" y="17"/>
                  </a:lnTo>
                  <a:lnTo>
                    <a:pt x="151" y="12"/>
                  </a:lnTo>
                  <a:lnTo>
                    <a:pt x="148" y="15"/>
                  </a:lnTo>
                  <a:lnTo>
                    <a:pt x="146" y="15"/>
                  </a:lnTo>
                  <a:lnTo>
                    <a:pt x="139" y="10"/>
                  </a:lnTo>
                  <a:lnTo>
                    <a:pt x="139" y="5"/>
                  </a:lnTo>
                  <a:lnTo>
                    <a:pt x="134" y="3"/>
                  </a:lnTo>
                  <a:lnTo>
                    <a:pt x="129" y="3"/>
                  </a:lnTo>
                  <a:lnTo>
                    <a:pt x="127" y="3"/>
                  </a:lnTo>
                  <a:lnTo>
                    <a:pt x="122" y="5"/>
                  </a:lnTo>
                  <a:lnTo>
                    <a:pt x="120" y="8"/>
                  </a:lnTo>
                  <a:lnTo>
                    <a:pt x="118" y="12"/>
                  </a:lnTo>
                  <a:lnTo>
                    <a:pt x="115" y="15"/>
                  </a:lnTo>
                  <a:lnTo>
                    <a:pt x="115" y="19"/>
                  </a:lnTo>
                  <a:lnTo>
                    <a:pt x="113" y="24"/>
                  </a:lnTo>
                  <a:lnTo>
                    <a:pt x="115" y="29"/>
                  </a:lnTo>
                  <a:lnTo>
                    <a:pt x="111" y="29"/>
                  </a:lnTo>
                  <a:lnTo>
                    <a:pt x="111" y="33"/>
                  </a:lnTo>
                  <a:lnTo>
                    <a:pt x="111" y="41"/>
                  </a:lnTo>
                  <a:lnTo>
                    <a:pt x="103" y="52"/>
                  </a:lnTo>
                  <a:lnTo>
                    <a:pt x="101" y="59"/>
                  </a:lnTo>
                  <a:lnTo>
                    <a:pt x="99" y="74"/>
                  </a:lnTo>
                  <a:lnTo>
                    <a:pt x="96" y="95"/>
                  </a:lnTo>
                  <a:lnTo>
                    <a:pt x="94" y="104"/>
                  </a:lnTo>
                  <a:lnTo>
                    <a:pt x="94" y="104"/>
                  </a:lnTo>
                  <a:lnTo>
                    <a:pt x="89" y="109"/>
                  </a:lnTo>
                  <a:lnTo>
                    <a:pt x="85" y="114"/>
                  </a:lnTo>
                  <a:lnTo>
                    <a:pt x="77" y="119"/>
                  </a:lnTo>
                  <a:lnTo>
                    <a:pt x="70" y="128"/>
                  </a:lnTo>
                  <a:lnTo>
                    <a:pt x="68" y="135"/>
                  </a:lnTo>
                  <a:lnTo>
                    <a:pt x="68" y="142"/>
                  </a:lnTo>
                  <a:lnTo>
                    <a:pt x="68" y="149"/>
                  </a:lnTo>
                  <a:lnTo>
                    <a:pt x="66" y="154"/>
                  </a:lnTo>
                  <a:lnTo>
                    <a:pt x="63" y="161"/>
                  </a:lnTo>
                  <a:lnTo>
                    <a:pt x="56" y="166"/>
                  </a:lnTo>
                  <a:lnTo>
                    <a:pt x="54" y="168"/>
                  </a:lnTo>
                  <a:lnTo>
                    <a:pt x="47" y="175"/>
                  </a:lnTo>
                  <a:lnTo>
                    <a:pt x="40" y="178"/>
                  </a:lnTo>
                  <a:lnTo>
                    <a:pt x="35" y="175"/>
                  </a:lnTo>
                  <a:lnTo>
                    <a:pt x="35" y="170"/>
                  </a:lnTo>
                  <a:lnTo>
                    <a:pt x="35" y="168"/>
                  </a:lnTo>
                  <a:lnTo>
                    <a:pt x="30" y="170"/>
                  </a:lnTo>
                  <a:lnTo>
                    <a:pt x="25" y="170"/>
                  </a:lnTo>
                  <a:lnTo>
                    <a:pt x="23" y="173"/>
                  </a:lnTo>
                  <a:lnTo>
                    <a:pt x="21" y="175"/>
                  </a:lnTo>
                  <a:lnTo>
                    <a:pt x="18" y="178"/>
                  </a:lnTo>
                  <a:lnTo>
                    <a:pt x="11" y="175"/>
                  </a:lnTo>
                  <a:lnTo>
                    <a:pt x="11" y="175"/>
                  </a:lnTo>
                  <a:lnTo>
                    <a:pt x="9" y="178"/>
                  </a:lnTo>
                  <a:lnTo>
                    <a:pt x="7" y="180"/>
                  </a:lnTo>
                  <a:lnTo>
                    <a:pt x="4" y="185"/>
                  </a:lnTo>
                  <a:lnTo>
                    <a:pt x="4" y="189"/>
                  </a:lnTo>
                  <a:lnTo>
                    <a:pt x="4" y="194"/>
                  </a:lnTo>
                  <a:lnTo>
                    <a:pt x="0" y="194"/>
                  </a:lnTo>
                  <a:lnTo>
                    <a:pt x="0" y="196"/>
                  </a:lnTo>
                  <a:lnTo>
                    <a:pt x="2" y="199"/>
                  </a:lnTo>
                  <a:lnTo>
                    <a:pt x="0" y="199"/>
                  </a:lnTo>
                  <a:lnTo>
                    <a:pt x="0" y="201"/>
                  </a:lnTo>
                  <a:lnTo>
                    <a:pt x="2" y="201"/>
                  </a:lnTo>
                  <a:lnTo>
                    <a:pt x="2" y="199"/>
                  </a:lnTo>
                  <a:lnTo>
                    <a:pt x="9" y="199"/>
                  </a:lnTo>
                  <a:lnTo>
                    <a:pt x="14" y="196"/>
                  </a:lnTo>
                  <a:lnTo>
                    <a:pt x="18" y="194"/>
                  </a:lnTo>
                  <a:lnTo>
                    <a:pt x="21" y="194"/>
                  </a:lnTo>
                  <a:lnTo>
                    <a:pt x="23" y="194"/>
                  </a:lnTo>
                  <a:lnTo>
                    <a:pt x="30" y="194"/>
                  </a:lnTo>
                  <a:lnTo>
                    <a:pt x="37" y="194"/>
                  </a:lnTo>
                  <a:lnTo>
                    <a:pt x="40" y="194"/>
                  </a:lnTo>
                  <a:lnTo>
                    <a:pt x="44" y="194"/>
                  </a:lnTo>
                  <a:lnTo>
                    <a:pt x="49" y="194"/>
                  </a:lnTo>
                  <a:lnTo>
                    <a:pt x="54" y="194"/>
                  </a:lnTo>
                  <a:lnTo>
                    <a:pt x="63" y="194"/>
                  </a:lnTo>
                  <a:lnTo>
                    <a:pt x="68" y="194"/>
                  </a:lnTo>
                  <a:lnTo>
                    <a:pt x="70" y="194"/>
                  </a:lnTo>
                  <a:lnTo>
                    <a:pt x="70" y="196"/>
                  </a:lnTo>
                  <a:lnTo>
                    <a:pt x="73" y="196"/>
                  </a:lnTo>
                  <a:lnTo>
                    <a:pt x="73" y="196"/>
                  </a:lnTo>
                  <a:lnTo>
                    <a:pt x="75" y="199"/>
                  </a:lnTo>
                  <a:lnTo>
                    <a:pt x="77" y="206"/>
                  </a:lnTo>
                  <a:lnTo>
                    <a:pt x="77" y="208"/>
                  </a:lnTo>
                  <a:lnTo>
                    <a:pt x="77" y="211"/>
                  </a:lnTo>
                  <a:lnTo>
                    <a:pt x="80" y="215"/>
                  </a:lnTo>
                  <a:lnTo>
                    <a:pt x="82" y="220"/>
                  </a:lnTo>
                  <a:lnTo>
                    <a:pt x="85" y="225"/>
                  </a:lnTo>
                  <a:lnTo>
                    <a:pt x="92" y="232"/>
                  </a:lnTo>
                  <a:lnTo>
                    <a:pt x="96" y="234"/>
                  </a:lnTo>
                  <a:lnTo>
                    <a:pt x="101" y="234"/>
                  </a:lnTo>
                  <a:lnTo>
                    <a:pt x="106" y="232"/>
                  </a:lnTo>
                  <a:lnTo>
                    <a:pt x="111" y="232"/>
                  </a:lnTo>
                  <a:lnTo>
                    <a:pt x="118" y="232"/>
                  </a:lnTo>
                  <a:lnTo>
                    <a:pt x="122" y="232"/>
                  </a:lnTo>
                  <a:lnTo>
                    <a:pt x="122" y="227"/>
                  </a:lnTo>
                  <a:lnTo>
                    <a:pt x="125" y="225"/>
                  </a:lnTo>
                  <a:lnTo>
                    <a:pt x="125" y="222"/>
                  </a:lnTo>
                  <a:lnTo>
                    <a:pt x="125" y="222"/>
                  </a:lnTo>
                  <a:lnTo>
                    <a:pt x="125" y="220"/>
                  </a:lnTo>
                  <a:lnTo>
                    <a:pt x="127" y="218"/>
                  </a:lnTo>
                  <a:lnTo>
                    <a:pt x="127" y="213"/>
                  </a:lnTo>
                  <a:lnTo>
                    <a:pt x="141" y="213"/>
                  </a:lnTo>
                  <a:lnTo>
                    <a:pt x="141" y="213"/>
                  </a:lnTo>
                  <a:lnTo>
                    <a:pt x="148" y="213"/>
                  </a:lnTo>
                  <a:lnTo>
                    <a:pt x="148" y="220"/>
                  </a:lnTo>
                  <a:lnTo>
                    <a:pt x="163" y="220"/>
                  </a:lnTo>
                  <a:lnTo>
                    <a:pt x="165" y="220"/>
                  </a:lnTo>
                  <a:lnTo>
                    <a:pt x="165" y="222"/>
                  </a:lnTo>
                  <a:lnTo>
                    <a:pt x="165" y="234"/>
                  </a:lnTo>
                  <a:lnTo>
                    <a:pt x="167" y="237"/>
                  </a:lnTo>
                  <a:lnTo>
                    <a:pt x="167" y="241"/>
                  </a:lnTo>
                  <a:lnTo>
                    <a:pt x="167" y="248"/>
                  </a:lnTo>
                  <a:lnTo>
                    <a:pt x="167" y="251"/>
                  </a:lnTo>
                  <a:lnTo>
                    <a:pt x="167" y="253"/>
                  </a:lnTo>
                  <a:lnTo>
                    <a:pt x="167" y="258"/>
                  </a:lnTo>
                  <a:lnTo>
                    <a:pt x="167" y="260"/>
                  </a:lnTo>
                  <a:lnTo>
                    <a:pt x="170" y="265"/>
                  </a:lnTo>
                  <a:lnTo>
                    <a:pt x="172" y="272"/>
                  </a:lnTo>
                  <a:lnTo>
                    <a:pt x="174" y="277"/>
                  </a:lnTo>
                  <a:lnTo>
                    <a:pt x="174" y="279"/>
                  </a:lnTo>
                  <a:lnTo>
                    <a:pt x="172" y="281"/>
                  </a:lnTo>
                  <a:lnTo>
                    <a:pt x="170" y="284"/>
                  </a:lnTo>
                  <a:lnTo>
                    <a:pt x="170" y="286"/>
                  </a:lnTo>
                  <a:lnTo>
                    <a:pt x="170" y="286"/>
                  </a:lnTo>
                  <a:lnTo>
                    <a:pt x="170" y="286"/>
                  </a:lnTo>
                  <a:lnTo>
                    <a:pt x="172" y="286"/>
                  </a:lnTo>
                  <a:lnTo>
                    <a:pt x="172" y="289"/>
                  </a:lnTo>
                  <a:lnTo>
                    <a:pt x="174" y="291"/>
                  </a:lnTo>
                  <a:lnTo>
                    <a:pt x="174" y="289"/>
                  </a:lnTo>
                  <a:lnTo>
                    <a:pt x="177" y="289"/>
                  </a:lnTo>
                  <a:lnTo>
                    <a:pt x="177" y="286"/>
                  </a:lnTo>
                  <a:lnTo>
                    <a:pt x="179" y="284"/>
                  </a:lnTo>
                  <a:lnTo>
                    <a:pt x="196" y="284"/>
                  </a:lnTo>
                  <a:lnTo>
                    <a:pt x="198" y="284"/>
                  </a:lnTo>
                  <a:lnTo>
                    <a:pt x="200" y="284"/>
                  </a:lnTo>
                  <a:lnTo>
                    <a:pt x="203" y="284"/>
                  </a:lnTo>
                  <a:lnTo>
                    <a:pt x="205" y="281"/>
                  </a:lnTo>
                  <a:lnTo>
                    <a:pt x="205" y="281"/>
                  </a:lnTo>
                  <a:lnTo>
                    <a:pt x="207" y="281"/>
                  </a:lnTo>
                  <a:lnTo>
                    <a:pt x="210" y="281"/>
                  </a:lnTo>
                  <a:lnTo>
                    <a:pt x="210" y="281"/>
                  </a:lnTo>
                  <a:lnTo>
                    <a:pt x="212" y="284"/>
                  </a:lnTo>
                  <a:lnTo>
                    <a:pt x="212" y="289"/>
                  </a:lnTo>
                  <a:lnTo>
                    <a:pt x="212" y="289"/>
                  </a:lnTo>
                  <a:lnTo>
                    <a:pt x="214" y="291"/>
                  </a:lnTo>
                  <a:lnTo>
                    <a:pt x="217" y="289"/>
                  </a:lnTo>
                  <a:lnTo>
                    <a:pt x="219" y="289"/>
                  </a:lnTo>
                  <a:lnTo>
                    <a:pt x="222" y="289"/>
                  </a:lnTo>
                  <a:lnTo>
                    <a:pt x="224" y="286"/>
                  </a:lnTo>
                  <a:lnTo>
                    <a:pt x="226" y="289"/>
                  </a:lnTo>
                  <a:lnTo>
                    <a:pt x="229" y="291"/>
                  </a:lnTo>
                  <a:lnTo>
                    <a:pt x="229" y="293"/>
                  </a:lnTo>
                  <a:lnTo>
                    <a:pt x="233" y="296"/>
                  </a:lnTo>
                  <a:lnTo>
                    <a:pt x="238" y="298"/>
                  </a:lnTo>
                  <a:lnTo>
                    <a:pt x="243" y="300"/>
                  </a:lnTo>
                  <a:lnTo>
                    <a:pt x="248" y="300"/>
                  </a:lnTo>
                  <a:lnTo>
                    <a:pt x="250" y="300"/>
                  </a:lnTo>
                  <a:lnTo>
                    <a:pt x="255" y="298"/>
                  </a:lnTo>
                  <a:lnTo>
                    <a:pt x="257" y="298"/>
                  </a:lnTo>
                  <a:lnTo>
                    <a:pt x="259" y="298"/>
                  </a:lnTo>
                  <a:lnTo>
                    <a:pt x="264" y="303"/>
                  </a:lnTo>
                  <a:lnTo>
                    <a:pt x="269" y="305"/>
                  </a:lnTo>
                  <a:lnTo>
                    <a:pt x="274" y="307"/>
                  </a:lnTo>
                  <a:lnTo>
                    <a:pt x="276" y="307"/>
                  </a:lnTo>
                  <a:lnTo>
                    <a:pt x="278" y="310"/>
                  </a:lnTo>
                  <a:lnTo>
                    <a:pt x="281" y="312"/>
                  </a:lnTo>
                  <a:lnTo>
                    <a:pt x="281" y="315"/>
                  </a:lnTo>
                  <a:lnTo>
                    <a:pt x="285" y="319"/>
                  </a:lnTo>
                  <a:lnTo>
                    <a:pt x="290" y="322"/>
                  </a:lnTo>
                  <a:lnTo>
                    <a:pt x="292" y="322"/>
                  </a:lnTo>
                  <a:lnTo>
                    <a:pt x="295" y="324"/>
                  </a:lnTo>
                  <a:lnTo>
                    <a:pt x="297" y="324"/>
                  </a:lnTo>
                  <a:lnTo>
                    <a:pt x="300" y="322"/>
                  </a:lnTo>
                  <a:lnTo>
                    <a:pt x="300" y="322"/>
                  </a:lnTo>
                  <a:lnTo>
                    <a:pt x="300" y="322"/>
                  </a:lnTo>
                  <a:lnTo>
                    <a:pt x="302" y="324"/>
                  </a:lnTo>
                  <a:lnTo>
                    <a:pt x="304" y="324"/>
                  </a:lnTo>
                  <a:lnTo>
                    <a:pt x="304" y="324"/>
                  </a:lnTo>
                  <a:lnTo>
                    <a:pt x="304" y="324"/>
                  </a:lnTo>
                  <a:lnTo>
                    <a:pt x="304" y="322"/>
                  </a:lnTo>
                  <a:lnTo>
                    <a:pt x="304" y="319"/>
                  </a:lnTo>
                  <a:lnTo>
                    <a:pt x="304" y="307"/>
                  </a:lnTo>
                  <a:lnTo>
                    <a:pt x="304" y="305"/>
                  </a:lnTo>
                  <a:lnTo>
                    <a:pt x="302" y="305"/>
                  </a:lnTo>
                  <a:lnTo>
                    <a:pt x="300" y="307"/>
                  </a:lnTo>
                  <a:lnTo>
                    <a:pt x="295" y="307"/>
                  </a:lnTo>
                  <a:lnTo>
                    <a:pt x="292" y="305"/>
                  </a:lnTo>
                  <a:lnTo>
                    <a:pt x="290" y="305"/>
                  </a:lnTo>
                  <a:lnTo>
                    <a:pt x="285" y="300"/>
                  </a:lnTo>
                  <a:lnTo>
                    <a:pt x="285" y="298"/>
                  </a:lnTo>
                  <a:lnTo>
                    <a:pt x="283" y="298"/>
                  </a:lnTo>
                  <a:lnTo>
                    <a:pt x="283" y="296"/>
                  </a:lnTo>
                  <a:lnTo>
                    <a:pt x="283" y="293"/>
                  </a:lnTo>
                  <a:lnTo>
                    <a:pt x="285" y="289"/>
                  </a:lnTo>
                  <a:lnTo>
                    <a:pt x="290" y="277"/>
                  </a:lnTo>
                  <a:lnTo>
                    <a:pt x="290" y="274"/>
                  </a:lnTo>
                  <a:lnTo>
                    <a:pt x="290" y="267"/>
                  </a:lnTo>
                  <a:lnTo>
                    <a:pt x="290" y="263"/>
                  </a:lnTo>
                  <a:lnTo>
                    <a:pt x="288" y="256"/>
                  </a:lnTo>
                  <a:lnTo>
                    <a:pt x="288" y="253"/>
                  </a:lnTo>
                  <a:lnTo>
                    <a:pt x="288" y="251"/>
                  </a:lnTo>
                  <a:lnTo>
                    <a:pt x="290" y="248"/>
                  </a:lnTo>
                  <a:lnTo>
                    <a:pt x="290" y="246"/>
                  </a:lnTo>
                  <a:lnTo>
                    <a:pt x="292" y="241"/>
                  </a:lnTo>
                  <a:lnTo>
                    <a:pt x="292" y="241"/>
                  </a:lnTo>
                  <a:lnTo>
                    <a:pt x="295" y="241"/>
                  </a:lnTo>
                  <a:lnTo>
                    <a:pt x="295" y="241"/>
                  </a:lnTo>
                  <a:lnTo>
                    <a:pt x="300" y="239"/>
                  </a:lnTo>
                  <a:lnTo>
                    <a:pt x="318" y="23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49" name="Freeform 1282">
              <a:extLst>
                <a:ext uri="{FF2B5EF4-FFF2-40B4-BE49-F238E27FC236}">
                  <a16:creationId xmlns:a16="http://schemas.microsoft.com/office/drawing/2014/main" id="{57F7AA7B-FF77-4B5B-9BAC-85FA4E8A4425}"/>
                </a:ext>
              </a:extLst>
            </p:cNvPr>
            <p:cNvSpPr>
              <a:spLocks/>
            </p:cNvSpPr>
            <p:nvPr/>
          </p:nvSpPr>
          <p:spPr bwMode="auto">
            <a:xfrm>
              <a:off x="1616915" y="4383053"/>
              <a:ext cx="528637" cy="514350"/>
            </a:xfrm>
            <a:custGeom>
              <a:avLst/>
              <a:gdLst>
                <a:gd name="T0" fmla="*/ 304 w 333"/>
                <a:gd name="T1" fmla="*/ 215 h 324"/>
                <a:gd name="T2" fmla="*/ 300 w 333"/>
                <a:gd name="T3" fmla="*/ 194 h 324"/>
                <a:gd name="T4" fmla="*/ 297 w 333"/>
                <a:gd name="T5" fmla="*/ 168 h 324"/>
                <a:gd name="T6" fmla="*/ 297 w 333"/>
                <a:gd name="T7" fmla="*/ 156 h 324"/>
                <a:gd name="T8" fmla="*/ 295 w 333"/>
                <a:gd name="T9" fmla="*/ 140 h 324"/>
                <a:gd name="T10" fmla="*/ 297 w 333"/>
                <a:gd name="T11" fmla="*/ 126 h 324"/>
                <a:gd name="T12" fmla="*/ 304 w 333"/>
                <a:gd name="T13" fmla="*/ 109 h 324"/>
                <a:gd name="T14" fmla="*/ 311 w 333"/>
                <a:gd name="T15" fmla="*/ 81 h 324"/>
                <a:gd name="T16" fmla="*/ 323 w 333"/>
                <a:gd name="T17" fmla="*/ 67 h 324"/>
                <a:gd name="T18" fmla="*/ 333 w 333"/>
                <a:gd name="T19" fmla="*/ 55 h 324"/>
                <a:gd name="T20" fmla="*/ 323 w 333"/>
                <a:gd name="T21" fmla="*/ 45 h 324"/>
                <a:gd name="T22" fmla="*/ 323 w 333"/>
                <a:gd name="T23" fmla="*/ 29 h 324"/>
                <a:gd name="T24" fmla="*/ 304 w 333"/>
                <a:gd name="T25" fmla="*/ 12 h 324"/>
                <a:gd name="T26" fmla="*/ 283 w 333"/>
                <a:gd name="T27" fmla="*/ 17 h 324"/>
                <a:gd name="T28" fmla="*/ 266 w 333"/>
                <a:gd name="T29" fmla="*/ 3 h 324"/>
                <a:gd name="T30" fmla="*/ 245 w 333"/>
                <a:gd name="T31" fmla="*/ 0 h 324"/>
                <a:gd name="T32" fmla="*/ 222 w 333"/>
                <a:gd name="T33" fmla="*/ 5 h 324"/>
                <a:gd name="T34" fmla="*/ 214 w 333"/>
                <a:gd name="T35" fmla="*/ 5 h 324"/>
                <a:gd name="T36" fmla="*/ 191 w 333"/>
                <a:gd name="T37" fmla="*/ 10 h 324"/>
                <a:gd name="T38" fmla="*/ 163 w 333"/>
                <a:gd name="T39" fmla="*/ 17 h 324"/>
                <a:gd name="T40" fmla="*/ 139 w 333"/>
                <a:gd name="T41" fmla="*/ 10 h 324"/>
                <a:gd name="T42" fmla="*/ 122 w 333"/>
                <a:gd name="T43" fmla="*/ 5 h 324"/>
                <a:gd name="T44" fmla="*/ 113 w 333"/>
                <a:gd name="T45" fmla="*/ 24 h 324"/>
                <a:gd name="T46" fmla="*/ 103 w 333"/>
                <a:gd name="T47" fmla="*/ 52 h 324"/>
                <a:gd name="T48" fmla="*/ 94 w 333"/>
                <a:gd name="T49" fmla="*/ 104 h 324"/>
                <a:gd name="T50" fmla="*/ 68 w 333"/>
                <a:gd name="T51" fmla="*/ 135 h 324"/>
                <a:gd name="T52" fmla="*/ 56 w 333"/>
                <a:gd name="T53" fmla="*/ 166 h 324"/>
                <a:gd name="T54" fmla="*/ 35 w 333"/>
                <a:gd name="T55" fmla="*/ 170 h 324"/>
                <a:gd name="T56" fmla="*/ 21 w 333"/>
                <a:gd name="T57" fmla="*/ 175 h 324"/>
                <a:gd name="T58" fmla="*/ 7 w 333"/>
                <a:gd name="T59" fmla="*/ 180 h 324"/>
                <a:gd name="T60" fmla="*/ 0 w 333"/>
                <a:gd name="T61" fmla="*/ 196 h 324"/>
                <a:gd name="T62" fmla="*/ 2 w 333"/>
                <a:gd name="T63" fmla="*/ 199 h 324"/>
                <a:gd name="T64" fmla="*/ 23 w 333"/>
                <a:gd name="T65" fmla="*/ 194 h 324"/>
                <a:gd name="T66" fmla="*/ 49 w 333"/>
                <a:gd name="T67" fmla="*/ 194 h 324"/>
                <a:gd name="T68" fmla="*/ 70 w 333"/>
                <a:gd name="T69" fmla="*/ 196 h 324"/>
                <a:gd name="T70" fmla="*/ 77 w 333"/>
                <a:gd name="T71" fmla="*/ 208 h 324"/>
                <a:gd name="T72" fmla="*/ 92 w 333"/>
                <a:gd name="T73" fmla="*/ 232 h 324"/>
                <a:gd name="T74" fmla="*/ 118 w 333"/>
                <a:gd name="T75" fmla="*/ 232 h 324"/>
                <a:gd name="T76" fmla="*/ 125 w 333"/>
                <a:gd name="T77" fmla="*/ 222 h 324"/>
                <a:gd name="T78" fmla="*/ 141 w 333"/>
                <a:gd name="T79" fmla="*/ 213 h 324"/>
                <a:gd name="T80" fmla="*/ 165 w 333"/>
                <a:gd name="T81" fmla="*/ 222 h 324"/>
                <a:gd name="T82" fmla="*/ 167 w 333"/>
                <a:gd name="T83" fmla="*/ 251 h 324"/>
                <a:gd name="T84" fmla="*/ 172 w 333"/>
                <a:gd name="T85" fmla="*/ 272 h 324"/>
                <a:gd name="T86" fmla="*/ 170 w 333"/>
                <a:gd name="T87" fmla="*/ 286 h 324"/>
                <a:gd name="T88" fmla="*/ 174 w 333"/>
                <a:gd name="T89" fmla="*/ 291 h 324"/>
                <a:gd name="T90" fmla="*/ 196 w 333"/>
                <a:gd name="T91" fmla="*/ 284 h 324"/>
                <a:gd name="T92" fmla="*/ 205 w 333"/>
                <a:gd name="T93" fmla="*/ 281 h 324"/>
                <a:gd name="T94" fmla="*/ 212 w 333"/>
                <a:gd name="T95" fmla="*/ 289 h 324"/>
                <a:gd name="T96" fmla="*/ 222 w 333"/>
                <a:gd name="T97" fmla="*/ 289 h 324"/>
                <a:gd name="T98" fmla="*/ 233 w 333"/>
                <a:gd name="T99" fmla="*/ 296 h 324"/>
                <a:gd name="T100" fmla="*/ 255 w 333"/>
                <a:gd name="T101" fmla="*/ 298 h 324"/>
                <a:gd name="T102" fmla="*/ 274 w 333"/>
                <a:gd name="T103" fmla="*/ 307 h 324"/>
                <a:gd name="T104" fmla="*/ 285 w 333"/>
                <a:gd name="T105" fmla="*/ 319 h 324"/>
                <a:gd name="T106" fmla="*/ 300 w 333"/>
                <a:gd name="T107" fmla="*/ 322 h 324"/>
                <a:gd name="T108" fmla="*/ 304 w 333"/>
                <a:gd name="T109" fmla="*/ 324 h 324"/>
                <a:gd name="T110" fmla="*/ 304 w 333"/>
                <a:gd name="T111" fmla="*/ 305 h 324"/>
                <a:gd name="T112" fmla="*/ 290 w 333"/>
                <a:gd name="T113" fmla="*/ 305 h 324"/>
                <a:gd name="T114" fmla="*/ 283 w 333"/>
                <a:gd name="T115" fmla="*/ 293 h 324"/>
                <a:gd name="T116" fmla="*/ 290 w 333"/>
                <a:gd name="T117" fmla="*/ 263 h 324"/>
                <a:gd name="T118" fmla="*/ 290 w 333"/>
                <a:gd name="T119" fmla="*/ 246 h 324"/>
                <a:gd name="T120" fmla="*/ 300 w 333"/>
                <a:gd name="T121" fmla="*/ 23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 h="324">
                  <a:moveTo>
                    <a:pt x="318" y="234"/>
                  </a:moveTo>
                  <a:lnTo>
                    <a:pt x="316" y="225"/>
                  </a:lnTo>
                  <a:lnTo>
                    <a:pt x="314" y="220"/>
                  </a:lnTo>
                  <a:lnTo>
                    <a:pt x="309" y="218"/>
                  </a:lnTo>
                  <a:lnTo>
                    <a:pt x="304" y="215"/>
                  </a:lnTo>
                  <a:lnTo>
                    <a:pt x="302" y="211"/>
                  </a:lnTo>
                  <a:lnTo>
                    <a:pt x="300" y="206"/>
                  </a:lnTo>
                  <a:lnTo>
                    <a:pt x="300" y="204"/>
                  </a:lnTo>
                  <a:lnTo>
                    <a:pt x="297" y="199"/>
                  </a:lnTo>
                  <a:lnTo>
                    <a:pt x="300" y="194"/>
                  </a:lnTo>
                  <a:lnTo>
                    <a:pt x="300" y="192"/>
                  </a:lnTo>
                  <a:lnTo>
                    <a:pt x="297" y="187"/>
                  </a:lnTo>
                  <a:lnTo>
                    <a:pt x="295" y="182"/>
                  </a:lnTo>
                  <a:lnTo>
                    <a:pt x="295" y="175"/>
                  </a:lnTo>
                  <a:lnTo>
                    <a:pt x="297" y="168"/>
                  </a:lnTo>
                  <a:lnTo>
                    <a:pt x="297" y="166"/>
                  </a:lnTo>
                  <a:lnTo>
                    <a:pt x="295" y="166"/>
                  </a:lnTo>
                  <a:lnTo>
                    <a:pt x="295" y="166"/>
                  </a:lnTo>
                  <a:lnTo>
                    <a:pt x="295" y="161"/>
                  </a:lnTo>
                  <a:lnTo>
                    <a:pt x="297" y="156"/>
                  </a:lnTo>
                  <a:lnTo>
                    <a:pt x="297" y="154"/>
                  </a:lnTo>
                  <a:lnTo>
                    <a:pt x="297" y="152"/>
                  </a:lnTo>
                  <a:lnTo>
                    <a:pt x="297" y="142"/>
                  </a:lnTo>
                  <a:lnTo>
                    <a:pt x="297" y="142"/>
                  </a:lnTo>
                  <a:lnTo>
                    <a:pt x="295" y="140"/>
                  </a:lnTo>
                  <a:lnTo>
                    <a:pt x="292" y="137"/>
                  </a:lnTo>
                  <a:lnTo>
                    <a:pt x="292" y="135"/>
                  </a:lnTo>
                  <a:lnTo>
                    <a:pt x="292" y="133"/>
                  </a:lnTo>
                  <a:lnTo>
                    <a:pt x="295" y="128"/>
                  </a:lnTo>
                  <a:lnTo>
                    <a:pt x="297" y="126"/>
                  </a:lnTo>
                  <a:lnTo>
                    <a:pt x="300" y="121"/>
                  </a:lnTo>
                  <a:lnTo>
                    <a:pt x="302" y="119"/>
                  </a:lnTo>
                  <a:lnTo>
                    <a:pt x="304" y="116"/>
                  </a:lnTo>
                  <a:lnTo>
                    <a:pt x="304" y="116"/>
                  </a:lnTo>
                  <a:lnTo>
                    <a:pt x="304" y="109"/>
                  </a:lnTo>
                  <a:lnTo>
                    <a:pt x="307" y="100"/>
                  </a:lnTo>
                  <a:lnTo>
                    <a:pt x="307" y="95"/>
                  </a:lnTo>
                  <a:lnTo>
                    <a:pt x="309" y="85"/>
                  </a:lnTo>
                  <a:lnTo>
                    <a:pt x="309" y="81"/>
                  </a:lnTo>
                  <a:lnTo>
                    <a:pt x="311" y="81"/>
                  </a:lnTo>
                  <a:lnTo>
                    <a:pt x="316" y="76"/>
                  </a:lnTo>
                  <a:lnTo>
                    <a:pt x="318" y="71"/>
                  </a:lnTo>
                  <a:lnTo>
                    <a:pt x="321" y="69"/>
                  </a:lnTo>
                  <a:lnTo>
                    <a:pt x="321" y="67"/>
                  </a:lnTo>
                  <a:lnTo>
                    <a:pt x="323" y="67"/>
                  </a:lnTo>
                  <a:lnTo>
                    <a:pt x="325" y="64"/>
                  </a:lnTo>
                  <a:lnTo>
                    <a:pt x="328" y="62"/>
                  </a:lnTo>
                  <a:lnTo>
                    <a:pt x="330" y="59"/>
                  </a:lnTo>
                  <a:lnTo>
                    <a:pt x="333" y="57"/>
                  </a:lnTo>
                  <a:lnTo>
                    <a:pt x="333" y="55"/>
                  </a:lnTo>
                  <a:lnTo>
                    <a:pt x="330" y="52"/>
                  </a:lnTo>
                  <a:lnTo>
                    <a:pt x="328" y="52"/>
                  </a:lnTo>
                  <a:lnTo>
                    <a:pt x="325" y="50"/>
                  </a:lnTo>
                  <a:lnTo>
                    <a:pt x="325" y="50"/>
                  </a:lnTo>
                  <a:lnTo>
                    <a:pt x="323" y="45"/>
                  </a:lnTo>
                  <a:lnTo>
                    <a:pt x="323" y="41"/>
                  </a:lnTo>
                  <a:lnTo>
                    <a:pt x="325" y="33"/>
                  </a:lnTo>
                  <a:lnTo>
                    <a:pt x="325" y="31"/>
                  </a:lnTo>
                  <a:lnTo>
                    <a:pt x="325" y="29"/>
                  </a:lnTo>
                  <a:lnTo>
                    <a:pt x="323" y="29"/>
                  </a:lnTo>
                  <a:lnTo>
                    <a:pt x="321" y="29"/>
                  </a:lnTo>
                  <a:lnTo>
                    <a:pt x="318" y="26"/>
                  </a:lnTo>
                  <a:lnTo>
                    <a:pt x="316" y="22"/>
                  </a:lnTo>
                  <a:lnTo>
                    <a:pt x="307" y="15"/>
                  </a:lnTo>
                  <a:lnTo>
                    <a:pt x="304" y="12"/>
                  </a:lnTo>
                  <a:lnTo>
                    <a:pt x="300" y="15"/>
                  </a:lnTo>
                  <a:lnTo>
                    <a:pt x="295" y="17"/>
                  </a:lnTo>
                  <a:lnTo>
                    <a:pt x="288" y="15"/>
                  </a:lnTo>
                  <a:lnTo>
                    <a:pt x="285" y="17"/>
                  </a:lnTo>
                  <a:lnTo>
                    <a:pt x="283" y="17"/>
                  </a:lnTo>
                  <a:lnTo>
                    <a:pt x="276" y="15"/>
                  </a:lnTo>
                  <a:lnTo>
                    <a:pt x="274" y="12"/>
                  </a:lnTo>
                  <a:lnTo>
                    <a:pt x="274" y="10"/>
                  </a:lnTo>
                  <a:lnTo>
                    <a:pt x="269" y="5"/>
                  </a:lnTo>
                  <a:lnTo>
                    <a:pt x="266" y="3"/>
                  </a:lnTo>
                  <a:lnTo>
                    <a:pt x="257" y="3"/>
                  </a:lnTo>
                  <a:lnTo>
                    <a:pt x="255" y="5"/>
                  </a:lnTo>
                  <a:lnTo>
                    <a:pt x="252" y="3"/>
                  </a:lnTo>
                  <a:lnTo>
                    <a:pt x="250" y="5"/>
                  </a:lnTo>
                  <a:lnTo>
                    <a:pt x="245" y="0"/>
                  </a:lnTo>
                  <a:lnTo>
                    <a:pt x="240" y="3"/>
                  </a:lnTo>
                  <a:lnTo>
                    <a:pt x="233" y="3"/>
                  </a:lnTo>
                  <a:lnTo>
                    <a:pt x="226" y="3"/>
                  </a:lnTo>
                  <a:lnTo>
                    <a:pt x="226" y="5"/>
                  </a:lnTo>
                  <a:lnTo>
                    <a:pt x="222" y="5"/>
                  </a:lnTo>
                  <a:lnTo>
                    <a:pt x="219" y="8"/>
                  </a:lnTo>
                  <a:lnTo>
                    <a:pt x="217" y="5"/>
                  </a:lnTo>
                  <a:lnTo>
                    <a:pt x="217" y="5"/>
                  </a:lnTo>
                  <a:lnTo>
                    <a:pt x="217" y="5"/>
                  </a:lnTo>
                  <a:lnTo>
                    <a:pt x="214" y="5"/>
                  </a:lnTo>
                  <a:lnTo>
                    <a:pt x="212" y="5"/>
                  </a:lnTo>
                  <a:lnTo>
                    <a:pt x="203" y="8"/>
                  </a:lnTo>
                  <a:lnTo>
                    <a:pt x="200" y="10"/>
                  </a:lnTo>
                  <a:lnTo>
                    <a:pt x="193" y="12"/>
                  </a:lnTo>
                  <a:lnTo>
                    <a:pt x="191" y="10"/>
                  </a:lnTo>
                  <a:lnTo>
                    <a:pt x="186" y="8"/>
                  </a:lnTo>
                  <a:lnTo>
                    <a:pt x="181" y="12"/>
                  </a:lnTo>
                  <a:lnTo>
                    <a:pt x="179" y="17"/>
                  </a:lnTo>
                  <a:lnTo>
                    <a:pt x="177" y="17"/>
                  </a:lnTo>
                  <a:lnTo>
                    <a:pt x="163" y="17"/>
                  </a:lnTo>
                  <a:lnTo>
                    <a:pt x="155" y="17"/>
                  </a:lnTo>
                  <a:lnTo>
                    <a:pt x="151" y="12"/>
                  </a:lnTo>
                  <a:lnTo>
                    <a:pt x="148" y="15"/>
                  </a:lnTo>
                  <a:lnTo>
                    <a:pt x="146" y="15"/>
                  </a:lnTo>
                  <a:lnTo>
                    <a:pt x="139" y="10"/>
                  </a:lnTo>
                  <a:lnTo>
                    <a:pt x="139" y="5"/>
                  </a:lnTo>
                  <a:lnTo>
                    <a:pt x="134" y="3"/>
                  </a:lnTo>
                  <a:lnTo>
                    <a:pt x="129" y="3"/>
                  </a:lnTo>
                  <a:lnTo>
                    <a:pt x="127" y="3"/>
                  </a:lnTo>
                  <a:lnTo>
                    <a:pt x="122" y="5"/>
                  </a:lnTo>
                  <a:lnTo>
                    <a:pt x="120" y="8"/>
                  </a:lnTo>
                  <a:lnTo>
                    <a:pt x="118" y="12"/>
                  </a:lnTo>
                  <a:lnTo>
                    <a:pt x="115" y="15"/>
                  </a:lnTo>
                  <a:lnTo>
                    <a:pt x="115" y="19"/>
                  </a:lnTo>
                  <a:lnTo>
                    <a:pt x="113" y="24"/>
                  </a:lnTo>
                  <a:lnTo>
                    <a:pt x="115" y="29"/>
                  </a:lnTo>
                  <a:lnTo>
                    <a:pt x="111" y="29"/>
                  </a:lnTo>
                  <a:lnTo>
                    <a:pt x="111" y="33"/>
                  </a:lnTo>
                  <a:lnTo>
                    <a:pt x="111" y="41"/>
                  </a:lnTo>
                  <a:lnTo>
                    <a:pt x="103" y="52"/>
                  </a:lnTo>
                  <a:lnTo>
                    <a:pt x="101" y="59"/>
                  </a:lnTo>
                  <a:lnTo>
                    <a:pt x="99" y="74"/>
                  </a:lnTo>
                  <a:lnTo>
                    <a:pt x="96" y="95"/>
                  </a:lnTo>
                  <a:lnTo>
                    <a:pt x="94" y="104"/>
                  </a:lnTo>
                  <a:lnTo>
                    <a:pt x="94" y="104"/>
                  </a:lnTo>
                  <a:lnTo>
                    <a:pt x="89" y="109"/>
                  </a:lnTo>
                  <a:lnTo>
                    <a:pt x="85" y="114"/>
                  </a:lnTo>
                  <a:lnTo>
                    <a:pt x="77" y="119"/>
                  </a:lnTo>
                  <a:lnTo>
                    <a:pt x="70" y="128"/>
                  </a:lnTo>
                  <a:lnTo>
                    <a:pt x="68" y="135"/>
                  </a:lnTo>
                  <a:lnTo>
                    <a:pt x="68" y="142"/>
                  </a:lnTo>
                  <a:lnTo>
                    <a:pt x="68" y="149"/>
                  </a:lnTo>
                  <a:lnTo>
                    <a:pt x="66" y="154"/>
                  </a:lnTo>
                  <a:lnTo>
                    <a:pt x="63" y="161"/>
                  </a:lnTo>
                  <a:lnTo>
                    <a:pt x="56" y="166"/>
                  </a:lnTo>
                  <a:lnTo>
                    <a:pt x="54" y="168"/>
                  </a:lnTo>
                  <a:lnTo>
                    <a:pt x="47" y="175"/>
                  </a:lnTo>
                  <a:lnTo>
                    <a:pt x="40" y="178"/>
                  </a:lnTo>
                  <a:lnTo>
                    <a:pt x="35" y="175"/>
                  </a:lnTo>
                  <a:lnTo>
                    <a:pt x="35" y="170"/>
                  </a:lnTo>
                  <a:lnTo>
                    <a:pt x="35" y="168"/>
                  </a:lnTo>
                  <a:lnTo>
                    <a:pt x="30" y="170"/>
                  </a:lnTo>
                  <a:lnTo>
                    <a:pt x="25" y="170"/>
                  </a:lnTo>
                  <a:lnTo>
                    <a:pt x="23" y="173"/>
                  </a:lnTo>
                  <a:lnTo>
                    <a:pt x="21" y="175"/>
                  </a:lnTo>
                  <a:lnTo>
                    <a:pt x="18" y="178"/>
                  </a:lnTo>
                  <a:lnTo>
                    <a:pt x="11" y="175"/>
                  </a:lnTo>
                  <a:lnTo>
                    <a:pt x="11" y="175"/>
                  </a:lnTo>
                  <a:lnTo>
                    <a:pt x="9" y="178"/>
                  </a:lnTo>
                  <a:lnTo>
                    <a:pt x="7" y="180"/>
                  </a:lnTo>
                  <a:lnTo>
                    <a:pt x="4" y="185"/>
                  </a:lnTo>
                  <a:lnTo>
                    <a:pt x="4" y="189"/>
                  </a:lnTo>
                  <a:lnTo>
                    <a:pt x="4" y="194"/>
                  </a:lnTo>
                  <a:lnTo>
                    <a:pt x="0" y="194"/>
                  </a:lnTo>
                  <a:lnTo>
                    <a:pt x="0" y="196"/>
                  </a:lnTo>
                  <a:lnTo>
                    <a:pt x="2" y="199"/>
                  </a:lnTo>
                  <a:lnTo>
                    <a:pt x="0" y="199"/>
                  </a:lnTo>
                  <a:lnTo>
                    <a:pt x="0" y="201"/>
                  </a:lnTo>
                  <a:lnTo>
                    <a:pt x="2" y="201"/>
                  </a:lnTo>
                  <a:lnTo>
                    <a:pt x="2" y="199"/>
                  </a:lnTo>
                  <a:lnTo>
                    <a:pt x="9" y="199"/>
                  </a:lnTo>
                  <a:lnTo>
                    <a:pt x="14" y="196"/>
                  </a:lnTo>
                  <a:lnTo>
                    <a:pt x="18" y="194"/>
                  </a:lnTo>
                  <a:lnTo>
                    <a:pt x="21" y="194"/>
                  </a:lnTo>
                  <a:lnTo>
                    <a:pt x="23" y="194"/>
                  </a:lnTo>
                  <a:lnTo>
                    <a:pt x="30" y="194"/>
                  </a:lnTo>
                  <a:lnTo>
                    <a:pt x="37" y="194"/>
                  </a:lnTo>
                  <a:lnTo>
                    <a:pt x="40" y="194"/>
                  </a:lnTo>
                  <a:lnTo>
                    <a:pt x="44" y="194"/>
                  </a:lnTo>
                  <a:lnTo>
                    <a:pt x="49" y="194"/>
                  </a:lnTo>
                  <a:lnTo>
                    <a:pt x="54" y="194"/>
                  </a:lnTo>
                  <a:lnTo>
                    <a:pt x="63" y="194"/>
                  </a:lnTo>
                  <a:lnTo>
                    <a:pt x="68" y="194"/>
                  </a:lnTo>
                  <a:lnTo>
                    <a:pt x="70" y="194"/>
                  </a:lnTo>
                  <a:lnTo>
                    <a:pt x="70" y="196"/>
                  </a:lnTo>
                  <a:lnTo>
                    <a:pt x="73" y="196"/>
                  </a:lnTo>
                  <a:lnTo>
                    <a:pt x="73" y="196"/>
                  </a:lnTo>
                  <a:lnTo>
                    <a:pt x="75" y="199"/>
                  </a:lnTo>
                  <a:lnTo>
                    <a:pt x="77" y="206"/>
                  </a:lnTo>
                  <a:lnTo>
                    <a:pt x="77" y="208"/>
                  </a:lnTo>
                  <a:lnTo>
                    <a:pt x="77" y="211"/>
                  </a:lnTo>
                  <a:lnTo>
                    <a:pt x="80" y="215"/>
                  </a:lnTo>
                  <a:lnTo>
                    <a:pt x="82" y="220"/>
                  </a:lnTo>
                  <a:lnTo>
                    <a:pt x="85" y="225"/>
                  </a:lnTo>
                  <a:lnTo>
                    <a:pt x="92" y="232"/>
                  </a:lnTo>
                  <a:lnTo>
                    <a:pt x="96" y="234"/>
                  </a:lnTo>
                  <a:lnTo>
                    <a:pt x="101" y="234"/>
                  </a:lnTo>
                  <a:lnTo>
                    <a:pt x="106" y="232"/>
                  </a:lnTo>
                  <a:lnTo>
                    <a:pt x="111" y="232"/>
                  </a:lnTo>
                  <a:lnTo>
                    <a:pt x="118" y="232"/>
                  </a:lnTo>
                  <a:lnTo>
                    <a:pt x="122" y="232"/>
                  </a:lnTo>
                  <a:lnTo>
                    <a:pt x="122" y="227"/>
                  </a:lnTo>
                  <a:lnTo>
                    <a:pt x="125" y="225"/>
                  </a:lnTo>
                  <a:lnTo>
                    <a:pt x="125" y="222"/>
                  </a:lnTo>
                  <a:lnTo>
                    <a:pt x="125" y="222"/>
                  </a:lnTo>
                  <a:lnTo>
                    <a:pt x="125" y="220"/>
                  </a:lnTo>
                  <a:lnTo>
                    <a:pt x="127" y="218"/>
                  </a:lnTo>
                  <a:lnTo>
                    <a:pt x="127" y="213"/>
                  </a:lnTo>
                  <a:lnTo>
                    <a:pt x="141" y="213"/>
                  </a:lnTo>
                  <a:lnTo>
                    <a:pt x="141" y="213"/>
                  </a:lnTo>
                  <a:lnTo>
                    <a:pt x="148" y="213"/>
                  </a:lnTo>
                  <a:lnTo>
                    <a:pt x="148" y="220"/>
                  </a:lnTo>
                  <a:lnTo>
                    <a:pt x="163" y="220"/>
                  </a:lnTo>
                  <a:lnTo>
                    <a:pt x="165" y="220"/>
                  </a:lnTo>
                  <a:lnTo>
                    <a:pt x="165" y="222"/>
                  </a:lnTo>
                  <a:lnTo>
                    <a:pt x="165" y="234"/>
                  </a:lnTo>
                  <a:lnTo>
                    <a:pt x="167" y="237"/>
                  </a:lnTo>
                  <a:lnTo>
                    <a:pt x="167" y="241"/>
                  </a:lnTo>
                  <a:lnTo>
                    <a:pt x="167" y="248"/>
                  </a:lnTo>
                  <a:lnTo>
                    <a:pt x="167" y="251"/>
                  </a:lnTo>
                  <a:lnTo>
                    <a:pt x="167" y="253"/>
                  </a:lnTo>
                  <a:lnTo>
                    <a:pt x="167" y="258"/>
                  </a:lnTo>
                  <a:lnTo>
                    <a:pt x="167" y="260"/>
                  </a:lnTo>
                  <a:lnTo>
                    <a:pt x="170" y="265"/>
                  </a:lnTo>
                  <a:lnTo>
                    <a:pt x="172" y="272"/>
                  </a:lnTo>
                  <a:lnTo>
                    <a:pt x="174" y="277"/>
                  </a:lnTo>
                  <a:lnTo>
                    <a:pt x="174" y="279"/>
                  </a:lnTo>
                  <a:lnTo>
                    <a:pt x="172" y="281"/>
                  </a:lnTo>
                  <a:lnTo>
                    <a:pt x="170" y="284"/>
                  </a:lnTo>
                  <a:lnTo>
                    <a:pt x="170" y="286"/>
                  </a:lnTo>
                  <a:lnTo>
                    <a:pt x="170" y="286"/>
                  </a:lnTo>
                  <a:lnTo>
                    <a:pt x="170" y="286"/>
                  </a:lnTo>
                  <a:lnTo>
                    <a:pt x="172" y="286"/>
                  </a:lnTo>
                  <a:lnTo>
                    <a:pt x="172" y="289"/>
                  </a:lnTo>
                  <a:lnTo>
                    <a:pt x="174" y="291"/>
                  </a:lnTo>
                  <a:lnTo>
                    <a:pt x="174" y="289"/>
                  </a:lnTo>
                  <a:lnTo>
                    <a:pt x="177" y="289"/>
                  </a:lnTo>
                  <a:lnTo>
                    <a:pt x="177" y="286"/>
                  </a:lnTo>
                  <a:lnTo>
                    <a:pt x="179" y="284"/>
                  </a:lnTo>
                  <a:lnTo>
                    <a:pt x="196" y="284"/>
                  </a:lnTo>
                  <a:lnTo>
                    <a:pt x="198" y="284"/>
                  </a:lnTo>
                  <a:lnTo>
                    <a:pt x="200" y="284"/>
                  </a:lnTo>
                  <a:lnTo>
                    <a:pt x="203" y="284"/>
                  </a:lnTo>
                  <a:lnTo>
                    <a:pt x="205" y="281"/>
                  </a:lnTo>
                  <a:lnTo>
                    <a:pt x="205" y="281"/>
                  </a:lnTo>
                  <a:lnTo>
                    <a:pt x="207" y="281"/>
                  </a:lnTo>
                  <a:lnTo>
                    <a:pt x="210" y="281"/>
                  </a:lnTo>
                  <a:lnTo>
                    <a:pt x="210" y="281"/>
                  </a:lnTo>
                  <a:lnTo>
                    <a:pt x="212" y="284"/>
                  </a:lnTo>
                  <a:lnTo>
                    <a:pt x="212" y="289"/>
                  </a:lnTo>
                  <a:lnTo>
                    <a:pt x="212" y="289"/>
                  </a:lnTo>
                  <a:lnTo>
                    <a:pt x="214" y="291"/>
                  </a:lnTo>
                  <a:lnTo>
                    <a:pt x="217" y="289"/>
                  </a:lnTo>
                  <a:lnTo>
                    <a:pt x="219" y="289"/>
                  </a:lnTo>
                  <a:lnTo>
                    <a:pt x="222" y="289"/>
                  </a:lnTo>
                  <a:lnTo>
                    <a:pt x="224" y="286"/>
                  </a:lnTo>
                  <a:lnTo>
                    <a:pt x="226" y="289"/>
                  </a:lnTo>
                  <a:lnTo>
                    <a:pt x="229" y="291"/>
                  </a:lnTo>
                  <a:lnTo>
                    <a:pt x="229" y="293"/>
                  </a:lnTo>
                  <a:lnTo>
                    <a:pt x="233" y="296"/>
                  </a:lnTo>
                  <a:lnTo>
                    <a:pt x="238" y="298"/>
                  </a:lnTo>
                  <a:lnTo>
                    <a:pt x="243" y="300"/>
                  </a:lnTo>
                  <a:lnTo>
                    <a:pt x="248" y="300"/>
                  </a:lnTo>
                  <a:lnTo>
                    <a:pt x="250" y="300"/>
                  </a:lnTo>
                  <a:lnTo>
                    <a:pt x="255" y="298"/>
                  </a:lnTo>
                  <a:lnTo>
                    <a:pt x="257" y="298"/>
                  </a:lnTo>
                  <a:lnTo>
                    <a:pt x="259" y="298"/>
                  </a:lnTo>
                  <a:lnTo>
                    <a:pt x="264" y="303"/>
                  </a:lnTo>
                  <a:lnTo>
                    <a:pt x="269" y="305"/>
                  </a:lnTo>
                  <a:lnTo>
                    <a:pt x="274" y="307"/>
                  </a:lnTo>
                  <a:lnTo>
                    <a:pt x="276" y="307"/>
                  </a:lnTo>
                  <a:lnTo>
                    <a:pt x="278" y="310"/>
                  </a:lnTo>
                  <a:lnTo>
                    <a:pt x="281" y="312"/>
                  </a:lnTo>
                  <a:lnTo>
                    <a:pt x="281" y="315"/>
                  </a:lnTo>
                  <a:lnTo>
                    <a:pt x="285" y="319"/>
                  </a:lnTo>
                  <a:lnTo>
                    <a:pt x="290" y="322"/>
                  </a:lnTo>
                  <a:lnTo>
                    <a:pt x="292" y="322"/>
                  </a:lnTo>
                  <a:lnTo>
                    <a:pt x="295" y="324"/>
                  </a:lnTo>
                  <a:lnTo>
                    <a:pt x="297" y="324"/>
                  </a:lnTo>
                  <a:lnTo>
                    <a:pt x="300" y="322"/>
                  </a:lnTo>
                  <a:lnTo>
                    <a:pt x="300" y="322"/>
                  </a:lnTo>
                  <a:lnTo>
                    <a:pt x="300" y="322"/>
                  </a:lnTo>
                  <a:lnTo>
                    <a:pt x="302" y="324"/>
                  </a:lnTo>
                  <a:lnTo>
                    <a:pt x="304" y="324"/>
                  </a:lnTo>
                  <a:lnTo>
                    <a:pt x="304" y="324"/>
                  </a:lnTo>
                  <a:lnTo>
                    <a:pt x="304" y="324"/>
                  </a:lnTo>
                  <a:lnTo>
                    <a:pt x="304" y="322"/>
                  </a:lnTo>
                  <a:lnTo>
                    <a:pt x="304" y="319"/>
                  </a:lnTo>
                  <a:lnTo>
                    <a:pt x="304" y="307"/>
                  </a:lnTo>
                  <a:lnTo>
                    <a:pt x="304" y="305"/>
                  </a:lnTo>
                  <a:lnTo>
                    <a:pt x="302" y="305"/>
                  </a:lnTo>
                  <a:lnTo>
                    <a:pt x="300" y="307"/>
                  </a:lnTo>
                  <a:lnTo>
                    <a:pt x="295" y="307"/>
                  </a:lnTo>
                  <a:lnTo>
                    <a:pt x="292" y="305"/>
                  </a:lnTo>
                  <a:lnTo>
                    <a:pt x="290" y="305"/>
                  </a:lnTo>
                  <a:lnTo>
                    <a:pt x="285" y="300"/>
                  </a:lnTo>
                  <a:lnTo>
                    <a:pt x="285" y="298"/>
                  </a:lnTo>
                  <a:lnTo>
                    <a:pt x="283" y="298"/>
                  </a:lnTo>
                  <a:lnTo>
                    <a:pt x="283" y="296"/>
                  </a:lnTo>
                  <a:lnTo>
                    <a:pt x="283" y="293"/>
                  </a:lnTo>
                  <a:lnTo>
                    <a:pt x="285" y="289"/>
                  </a:lnTo>
                  <a:lnTo>
                    <a:pt x="290" y="277"/>
                  </a:lnTo>
                  <a:lnTo>
                    <a:pt x="290" y="274"/>
                  </a:lnTo>
                  <a:lnTo>
                    <a:pt x="290" y="267"/>
                  </a:lnTo>
                  <a:lnTo>
                    <a:pt x="290" y="263"/>
                  </a:lnTo>
                  <a:lnTo>
                    <a:pt x="288" y="256"/>
                  </a:lnTo>
                  <a:lnTo>
                    <a:pt x="288" y="253"/>
                  </a:lnTo>
                  <a:lnTo>
                    <a:pt x="288" y="251"/>
                  </a:lnTo>
                  <a:lnTo>
                    <a:pt x="290" y="248"/>
                  </a:lnTo>
                  <a:lnTo>
                    <a:pt x="290" y="246"/>
                  </a:lnTo>
                  <a:lnTo>
                    <a:pt x="292" y="241"/>
                  </a:lnTo>
                  <a:lnTo>
                    <a:pt x="292" y="241"/>
                  </a:lnTo>
                  <a:lnTo>
                    <a:pt x="295" y="241"/>
                  </a:lnTo>
                  <a:lnTo>
                    <a:pt x="295" y="241"/>
                  </a:lnTo>
                  <a:lnTo>
                    <a:pt x="300" y="239"/>
                  </a:lnTo>
                  <a:lnTo>
                    <a:pt x="318" y="234"/>
                  </a:lnTo>
                </a:path>
              </a:pathLst>
            </a:custGeom>
            <a:solidFill>
              <a:srgbClr val="C3E2BC"/>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0" name="Freeform 1634">
              <a:extLst>
                <a:ext uri="{FF2B5EF4-FFF2-40B4-BE49-F238E27FC236}">
                  <a16:creationId xmlns:a16="http://schemas.microsoft.com/office/drawing/2014/main" id="{75B4DAE0-FE41-4409-8E3A-1FB88FF468A8}"/>
                </a:ext>
              </a:extLst>
            </p:cNvPr>
            <p:cNvSpPr>
              <a:spLocks/>
            </p:cNvSpPr>
            <p:nvPr/>
          </p:nvSpPr>
          <p:spPr bwMode="auto">
            <a:xfrm>
              <a:off x="2272551" y="4406866"/>
              <a:ext cx="22225" cy="58738"/>
            </a:xfrm>
            <a:custGeom>
              <a:avLst/>
              <a:gdLst>
                <a:gd name="T0" fmla="*/ 2 w 14"/>
                <a:gd name="T1" fmla="*/ 0 h 37"/>
                <a:gd name="T2" fmla="*/ 5 w 14"/>
                <a:gd name="T3" fmla="*/ 2 h 37"/>
                <a:gd name="T4" fmla="*/ 7 w 14"/>
                <a:gd name="T5" fmla="*/ 4 h 37"/>
                <a:gd name="T6" fmla="*/ 7 w 14"/>
                <a:gd name="T7" fmla="*/ 9 h 37"/>
                <a:gd name="T8" fmla="*/ 7 w 14"/>
                <a:gd name="T9" fmla="*/ 14 h 37"/>
                <a:gd name="T10" fmla="*/ 7 w 14"/>
                <a:gd name="T11" fmla="*/ 14 h 37"/>
                <a:gd name="T12" fmla="*/ 7 w 14"/>
                <a:gd name="T13" fmla="*/ 21 h 37"/>
                <a:gd name="T14" fmla="*/ 7 w 14"/>
                <a:gd name="T15" fmla="*/ 26 h 37"/>
                <a:gd name="T16" fmla="*/ 9 w 14"/>
                <a:gd name="T17" fmla="*/ 28 h 37"/>
                <a:gd name="T18" fmla="*/ 14 w 14"/>
                <a:gd name="T19" fmla="*/ 33 h 37"/>
                <a:gd name="T20" fmla="*/ 14 w 14"/>
                <a:gd name="T21" fmla="*/ 37 h 37"/>
                <a:gd name="T22" fmla="*/ 12 w 14"/>
                <a:gd name="T23" fmla="*/ 37 h 37"/>
                <a:gd name="T24" fmla="*/ 12 w 14"/>
                <a:gd name="T25" fmla="*/ 30 h 37"/>
                <a:gd name="T26" fmla="*/ 7 w 14"/>
                <a:gd name="T27" fmla="*/ 28 h 37"/>
                <a:gd name="T28" fmla="*/ 5 w 14"/>
                <a:gd name="T29" fmla="*/ 26 h 37"/>
                <a:gd name="T30" fmla="*/ 2 w 14"/>
                <a:gd name="T31" fmla="*/ 23 h 37"/>
                <a:gd name="T32" fmla="*/ 2 w 14"/>
                <a:gd name="T33" fmla="*/ 23 h 37"/>
                <a:gd name="T34" fmla="*/ 2 w 14"/>
                <a:gd name="T35" fmla="*/ 18 h 37"/>
                <a:gd name="T36" fmla="*/ 0 w 14"/>
                <a:gd name="T37" fmla="*/ 16 h 37"/>
                <a:gd name="T38" fmla="*/ 0 w 14"/>
                <a:gd name="T39" fmla="*/ 11 h 37"/>
                <a:gd name="T40" fmla="*/ 0 w 14"/>
                <a:gd name="T41" fmla="*/ 4 h 37"/>
                <a:gd name="T42" fmla="*/ 0 w 14"/>
                <a:gd name="T43" fmla="*/ 2 h 37"/>
                <a:gd name="T44" fmla="*/ 2 w 14"/>
                <a:gd name="T4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37">
                  <a:moveTo>
                    <a:pt x="2" y="0"/>
                  </a:moveTo>
                  <a:lnTo>
                    <a:pt x="5" y="2"/>
                  </a:lnTo>
                  <a:lnTo>
                    <a:pt x="7" y="4"/>
                  </a:lnTo>
                  <a:lnTo>
                    <a:pt x="7" y="9"/>
                  </a:lnTo>
                  <a:lnTo>
                    <a:pt x="7" y="14"/>
                  </a:lnTo>
                  <a:lnTo>
                    <a:pt x="7" y="14"/>
                  </a:lnTo>
                  <a:lnTo>
                    <a:pt x="7" y="21"/>
                  </a:lnTo>
                  <a:lnTo>
                    <a:pt x="7" y="26"/>
                  </a:lnTo>
                  <a:lnTo>
                    <a:pt x="9" y="28"/>
                  </a:lnTo>
                  <a:lnTo>
                    <a:pt x="14" y="33"/>
                  </a:lnTo>
                  <a:lnTo>
                    <a:pt x="14" y="37"/>
                  </a:lnTo>
                  <a:lnTo>
                    <a:pt x="12" y="37"/>
                  </a:lnTo>
                  <a:lnTo>
                    <a:pt x="12" y="30"/>
                  </a:lnTo>
                  <a:lnTo>
                    <a:pt x="7" y="28"/>
                  </a:lnTo>
                  <a:lnTo>
                    <a:pt x="5" y="26"/>
                  </a:lnTo>
                  <a:lnTo>
                    <a:pt x="2" y="23"/>
                  </a:lnTo>
                  <a:lnTo>
                    <a:pt x="2" y="23"/>
                  </a:lnTo>
                  <a:lnTo>
                    <a:pt x="2" y="18"/>
                  </a:lnTo>
                  <a:lnTo>
                    <a:pt x="0" y="16"/>
                  </a:lnTo>
                  <a:lnTo>
                    <a:pt x="0" y="11"/>
                  </a:lnTo>
                  <a:lnTo>
                    <a:pt x="0" y="4"/>
                  </a:lnTo>
                  <a:lnTo>
                    <a:pt x="0"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1" name="Freeform 1635">
              <a:extLst>
                <a:ext uri="{FF2B5EF4-FFF2-40B4-BE49-F238E27FC236}">
                  <a16:creationId xmlns:a16="http://schemas.microsoft.com/office/drawing/2014/main" id="{E505278D-214F-4F0B-B986-6531933AD79D}"/>
                </a:ext>
              </a:extLst>
            </p:cNvPr>
            <p:cNvSpPr>
              <a:spLocks/>
            </p:cNvSpPr>
            <p:nvPr/>
          </p:nvSpPr>
          <p:spPr bwMode="auto">
            <a:xfrm>
              <a:off x="2272551" y="4406866"/>
              <a:ext cx="22225" cy="58738"/>
            </a:xfrm>
            <a:custGeom>
              <a:avLst/>
              <a:gdLst>
                <a:gd name="T0" fmla="*/ 2 w 14"/>
                <a:gd name="T1" fmla="*/ 0 h 37"/>
                <a:gd name="T2" fmla="*/ 5 w 14"/>
                <a:gd name="T3" fmla="*/ 2 h 37"/>
                <a:gd name="T4" fmla="*/ 7 w 14"/>
                <a:gd name="T5" fmla="*/ 4 h 37"/>
                <a:gd name="T6" fmla="*/ 7 w 14"/>
                <a:gd name="T7" fmla="*/ 9 h 37"/>
                <a:gd name="T8" fmla="*/ 7 w 14"/>
                <a:gd name="T9" fmla="*/ 14 h 37"/>
                <a:gd name="T10" fmla="*/ 7 w 14"/>
                <a:gd name="T11" fmla="*/ 14 h 37"/>
                <a:gd name="T12" fmla="*/ 7 w 14"/>
                <a:gd name="T13" fmla="*/ 21 h 37"/>
                <a:gd name="T14" fmla="*/ 7 w 14"/>
                <a:gd name="T15" fmla="*/ 26 h 37"/>
                <a:gd name="T16" fmla="*/ 9 w 14"/>
                <a:gd name="T17" fmla="*/ 28 h 37"/>
                <a:gd name="T18" fmla="*/ 14 w 14"/>
                <a:gd name="T19" fmla="*/ 33 h 37"/>
                <a:gd name="T20" fmla="*/ 14 w 14"/>
                <a:gd name="T21" fmla="*/ 37 h 37"/>
                <a:gd name="T22" fmla="*/ 12 w 14"/>
                <a:gd name="T23" fmla="*/ 37 h 37"/>
                <a:gd name="T24" fmla="*/ 12 w 14"/>
                <a:gd name="T25" fmla="*/ 30 h 37"/>
                <a:gd name="T26" fmla="*/ 7 w 14"/>
                <a:gd name="T27" fmla="*/ 28 h 37"/>
                <a:gd name="T28" fmla="*/ 5 w 14"/>
                <a:gd name="T29" fmla="*/ 26 h 37"/>
                <a:gd name="T30" fmla="*/ 2 w 14"/>
                <a:gd name="T31" fmla="*/ 23 h 37"/>
                <a:gd name="T32" fmla="*/ 2 w 14"/>
                <a:gd name="T33" fmla="*/ 23 h 37"/>
                <a:gd name="T34" fmla="*/ 2 w 14"/>
                <a:gd name="T35" fmla="*/ 18 h 37"/>
                <a:gd name="T36" fmla="*/ 0 w 14"/>
                <a:gd name="T37" fmla="*/ 16 h 37"/>
                <a:gd name="T38" fmla="*/ 0 w 14"/>
                <a:gd name="T39" fmla="*/ 11 h 37"/>
                <a:gd name="T40" fmla="*/ 0 w 14"/>
                <a:gd name="T41" fmla="*/ 4 h 37"/>
                <a:gd name="T42" fmla="*/ 0 w 14"/>
                <a:gd name="T43" fmla="*/ 2 h 37"/>
                <a:gd name="T44" fmla="*/ 2 w 14"/>
                <a:gd name="T4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37">
                  <a:moveTo>
                    <a:pt x="2" y="0"/>
                  </a:moveTo>
                  <a:lnTo>
                    <a:pt x="5" y="2"/>
                  </a:lnTo>
                  <a:lnTo>
                    <a:pt x="7" y="4"/>
                  </a:lnTo>
                  <a:lnTo>
                    <a:pt x="7" y="9"/>
                  </a:lnTo>
                  <a:lnTo>
                    <a:pt x="7" y="14"/>
                  </a:lnTo>
                  <a:lnTo>
                    <a:pt x="7" y="14"/>
                  </a:lnTo>
                  <a:lnTo>
                    <a:pt x="7" y="21"/>
                  </a:lnTo>
                  <a:lnTo>
                    <a:pt x="7" y="26"/>
                  </a:lnTo>
                  <a:lnTo>
                    <a:pt x="9" y="28"/>
                  </a:lnTo>
                  <a:lnTo>
                    <a:pt x="14" y="33"/>
                  </a:lnTo>
                  <a:lnTo>
                    <a:pt x="14" y="37"/>
                  </a:lnTo>
                  <a:lnTo>
                    <a:pt x="12" y="37"/>
                  </a:lnTo>
                  <a:lnTo>
                    <a:pt x="12" y="30"/>
                  </a:lnTo>
                  <a:lnTo>
                    <a:pt x="7" y="28"/>
                  </a:lnTo>
                  <a:lnTo>
                    <a:pt x="5" y="26"/>
                  </a:lnTo>
                  <a:lnTo>
                    <a:pt x="2" y="23"/>
                  </a:lnTo>
                  <a:lnTo>
                    <a:pt x="2" y="23"/>
                  </a:lnTo>
                  <a:lnTo>
                    <a:pt x="2" y="18"/>
                  </a:lnTo>
                  <a:lnTo>
                    <a:pt x="0" y="16"/>
                  </a:lnTo>
                  <a:lnTo>
                    <a:pt x="0" y="11"/>
                  </a:lnTo>
                  <a:lnTo>
                    <a:pt x="0" y="4"/>
                  </a:lnTo>
                  <a:lnTo>
                    <a:pt x="0" y="2"/>
                  </a:lnTo>
                  <a:lnTo>
                    <a:pt x="2" y="0"/>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2" name="Freeform 1636">
              <a:extLst>
                <a:ext uri="{FF2B5EF4-FFF2-40B4-BE49-F238E27FC236}">
                  <a16:creationId xmlns:a16="http://schemas.microsoft.com/office/drawing/2014/main" id="{CECD41FE-5F3C-4FCA-90FE-5769F80C55FB}"/>
                </a:ext>
              </a:extLst>
            </p:cNvPr>
            <p:cNvSpPr>
              <a:spLocks/>
            </p:cNvSpPr>
            <p:nvPr/>
          </p:nvSpPr>
          <p:spPr bwMode="auto">
            <a:xfrm>
              <a:off x="2886914" y="3067015"/>
              <a:ext cx="98425" cy="128587"/>
            </a:xfrm>
            <a:custGeom>
              <a:avLst/>
              <a:gdLst>
                <a:gd name="T0" fmla="*/ 36 w 62"/>
                <a:gd name="T1" fmla="*/ 78 h 81"/>
                <a:gd name="T2" fmla="*/ 40 w 62"/>
                <a:gd name="T3" fmla="*/ 76 h 81"/>
                <a:gd name="T4" fmla="*/ 45 w 62"/>
                <a:gd name="T5" fmla="*/ 69 h 81"/>
                <a:gd name="T6" fmla="*/ 50 w 62"/>
                <a:gd name="T7" fmla="*/ 62 h 81"/>
                <a:gd name="T8" fmla="*/ 52 w 62"/>
                <a:gd name="T9" fmla="*/ 55 h 81"/>
                <a:gd name="T10" fmla="*/ 62 w 62"/>
                <a:gd name="T11" fmla="*/ 50 h 81"/>
                <a:gd name="T12" fmla="*/ 62 w 62"/>
                <a:gd name="T13" fmla="*/ 43 h 81"/>
                <a:gd name="T14" fmla="*/ 57 w 62"/>
                <a:gd name="T15" fmla="*/ 33 h 81"/>
                <a:gd name="T16" fmla="*/ 52 w 62"/>
                <a:gd name="T17" fmla="*/ 31 h 81"/>
                <a:gd name="T18" fmla="*/ 50 w 62"/>
                <a:gd name="T19" fmla="*/ 19 h 81"/>
                <a:gd name="T20" fmla="*/ 50 w 62"/>
                <a:gd name="T21" fmla="*/ 17 h 81"/>
                <a:gd name="T22" fmla="*/ 57 w 62"/>
                <a:gd name="T23" fmla="*/ 7 h 81"/>
                <a:gd name="T24" fmla="*/ 59 w 62"/>
                <a:gd name="T25" fmla="*/ 0 h 81"/>
                <a:gd name="T26" fmla="*/ 55 w 62"/>
                <a:gd name="T27" fmla="*/ 5 h 81"/>
                <a:gd name="T28" fmla="*/ 48 w 62"/>
                <a:gd name="T29" fmla="*/ 10 h 81"/>
                <a:gd name="T30" fmla="*/ 43 w 62"/>
                <a:gd name="T31" fmla="*/ 3 h 81"/>
                <a:gd name="T32" fmla="*/ 43 w 62"/>
                <a:gd name="T33" fmla="*/ 7 h 81"/>
                <a:gd name="T34" fmla="*/ 38 w 62"/>
                <a:gd name="T35" fmla="*/ 5 h 81"/>
                <a:gd name="T36" fmla="*/ 36 w 62"/>
                <a:gd name="T37" fmla="*/ 10 h 81"/>
                <a:gd name="T38" fmla="*/ 36 w 62"/>
                <a:gd name="T39" fmla="*/ 15 h 81"/>
                <a:gd name="T40" fmla="*/ 45 w 62"/>
                <a:gd name="T41" fmla="*/ 15 h 81"/>
                <a:gd name="T42" fmla="*/ 43 w 62"/>
                <a:gd name="T43" fmla="*/ 19 h 81"/>
                <a:gd name="T44" fmla="*/ 38 w 62"/>
                <a:gd name="T45" fmla="*/ 15 h 81"/>
                <a:gd name="T46" fmla="*/ 31 w 62"/>
                <a:gd name="T47" fmla="*/ 17 h 81"/>
                <a:gd name="T48" fmla="*/ 29 w 62"/>
                <a:gd name="T49" fmla="*/ 12 h 81"/>
                <a:gd name="T50" fmla="*/ 26 w 62"/>
                <a:gd name="T51" fmla="*/ 19 h 81"/>
                <a:gd name="T52" fmla="*/ 22 w 62"/>
                <a:gd name="T53" fmla="*/ 24 h 81"/>
                <a:gd name="T54" fmla="*/ 22 w 62"/>
                <a:gd name="T55" fmla="*/ 22 h 81"/>
                <a:gd name="T56" fmla="*/ 12 w 62"/>
                <a:gd name="T57" fmla="*/ 24 h 81"/>
                <a:gd name="T58" fmla="*/ 0 w 62"/>
                <a:gd name="T59" fmla="*/ 45 h 81"/>
                <a:gd name="T60" fmla="*/ 3 w 62"/>
                <a:gd name="T61" fmla="*/ 55 h 81"/>
                <a:gd name="T62" fmla="*/ 3 w 62"/>
                <a:gd name="T63" fmla="*/ 62 h 81"/>
                <a:gd name="T64" fmla="*/ 5 w 62"/>
                <a:gd name="T65" fmla="*/ 76 h 81"/>
                <a:gd name="T66" fmla="*/ 7 w 62"/>
                <a:gd name="T67" fmla="*/ 76 h 81"/>
                <a:gd name="T68" fmla="*/ 17 w 62"/>
                <a:gd name="T69" fmla="*/ 78 h 81"/>
                <a:gd name="T70" fmla="*/ 22 w 62"/>
                <a:gd name="T71" fmla="*/ 76 h 81"/>
                <a:gd name="T72" fmla="*/ 29 w 62"/>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81">
                  <a:moveTo>
                    <a:pt x="31" y="81"/>
                  </a:moveTo>
                  <a:lnTo>
                    <a:pt x="36" y="78"/>
                  </a:lnTo>
                  <a:lnTo>
                    <a:pt x="40" y="78"/>
                  </a:lnTo>
                  <a:lnTo>
                    <a:pt x="40" y="76"/>
                  </a:lnTo>
                  <a:lnTo>
                    <a:pt x="43" y="74"/>
                  </a:lnTo>
                  <a:lnTo>
                    <a:pt x="45" y="69"/>
                  </a:lnTo>
                  <a:lnTo>
                    <a:pt x="48" y="66"/>
                  </a:lnTo>
                  <a:lnTo>
                    <a:pt x="50" y="62"/>
                  </a:lnTo>
                  <a:lnTo>
                    <a:pt x="50" y="59"/>
                  </a:lnTo>
                  <a:lnTo>
                    <a:pt x="52" y="55"/>
                  </a:lnTo>
                  <a:lnTo>
                    <a:pt x="57" y="52"/>
                  </a:lnTo>
                  <a:lnTo>
                    <a:pt x="62" y="50"/>
                  </a:lnTo>
                  <a:lnTo>
                    <a:pt x="62" y="45"/>
                  </a:lnTo>
                  <a:lnTo>
                    <a:pt x="62" y="43"/>
                  </a:lnTo>
                  <a:lnTo>
                    <a:pt x="59" y="38"/>
                  </a:lnTo>
                  <a:lnTo>
                    <a:pt x="57" y="33"/>
                  </a:lnTo>
                  <a:lnTo>
                    <a:pt x="55" y="31"/>
                  </a:lnTo>
                  <a:lnTo>
                    <a:pt x="52" y="31"/>
                  </a:lnTo>
                  <a:lnTo>
                    <a:pt x="50" y="26"/>
                  </a:lnTo>
                  <a:lnTo>
                    <a:pt x="50" y="19"/>
                  </a:lnTo>
                  <a:lnTo>
                    <a:pt x="50" y="19"/>
                  </a:lnTo>
                  <a:lnTo>
                    <a:pt x="50" y="17"/>
                  </a:lnTo>
                  <a:lnTo>
                    <a:pt x="55" y="10"/>
                  </a:lnTo>
                  <a:lnTo>
                    <a:pt x="57" y="7"/>
                  </a:lnTo>
                  <a:lnTo>
                    <a:pt x="59" y="3"/>
                  </a:lnTo>
                  <a:lnTo>
                    <a:pt x="59" y="0"/>
                  </a:lnTo>
                  <a:lnTo>
                    <a:pt x="57" y="0"/>
                  </a:lnTo>
                  <a:lnTo>
                    <a:pt x="55" y="5"/>
                  </a:lnTo>
                  <a:lnTo>
                    <a:pt x="50" y="7"/>
                  </a:lnTo>
                  <a:lnTo>
                    <a:pt x="48" y="10"/>
                  </a:lnTo>
                  <a:lnTo>
                    <a:pt x="45" y="3"/>
                  </a:lnTo>
                  <a:lnTo>
                    <a:pt x="43" y="3"/>
                  </a:lnTo>
                  <a:lnTo>
                    <a:pt x="43" y="5"/>
                  </a:lnTo>
                  <a:lnTo>
                    <a:pt x="43" y="7"/>
                  </a:lnTo>
                  <a:lnTo>
                    <a:pt x="40" y="7"/>
                  </a:lnTo>
                  <a:lnTo>
                    <a:pt x="38" y="5"/>
                  </a:lnTo>
                  <a:lnTo>
                    <a:pt x="38" y="5"/>
                  </a:lnTo>
                  <a:lnTo>
                    <a:pt x="36" y="10"/>
                  </a:lnTo>
                  <a:lnTo>
                    <a:pt x="36" y="12"/>
                  </a:lnTo>
                  <a:lnTo>
                    <a:pt x="36" y="15"/>
                  </a:lnTo>
                  <a:lnTo>
                    <a:pt x="40" y="15"/>
                  </a:lnTo>
                  <a:lnTo>
                    <a:pt x="45" y="15"/>
                  </a:lnTo>
                  <a:lnTo>
                    <a:pt x="48" y="17"/>
                  </a:lnTo>
                  <a:lnTo>
                    <a:pt x="43" y="19"/>
                  </a:lnTo>
                  <a:lnTo>
                    <a:pt x="40" y="17"/>
                  </a:lnTo>
                  <a:lnTo>
                    <a:pt x="38" y="15"/>
                  </a:lnTo>
                  <a:lnTo>
                    <a:pt x="36" y="17"/>
                  </a:lnTo>
                  <a:lnTo>
                    <a:pt x="31" y="17"/>
                  </a:lnTo>
                  <a:lnTo>
                    <a:pt x="31" y="15"/>
                  </a:lnTo>
                  <a:lnTo>
                    <a:pt x="29" y="12"/>
                  </a:lnTo>
                  <a:lnTo>
                    <a:pt x="26" y="12"/>
                  </a:lnTo>
                  <a:lnTo>
                    <a:pt x="26" y="19"/>
                  </a:lnTo>
                  <a:lnTo>
                    <a:pt x="24" y="24"/>
                  </a:lnTo>
                  <a:lnTo>
                    <a:pt x="22" y="24"/>
                  </a:lnTo>
                  <a:lnTo>
                    <a:pt x="22" y="22"/>
                  </a:lnTo>
                  <a:lnTo>
                    <a:pt x="22" y="22"/>
                  </a:lnTo>
                  <a:lnTo>
                    <a:pt x="17" y="22"/>
                  </a:lnTo>
                  <a:lnTo>
                    <a:pt x="12" y="24"/>
                  </a:lnTo>
                  <a:lnTo>
                    <a:pt x="7" y="38"/>
                  </a:lnTo>
                  <a:lnTo>
                    <a:pt x="0" y="45"/>
                  </a:lnTo>
                  <a:lnTo>
                    <a:pt x="0" y="50"/>
                  </a:lnTo>
                  <a:lnTo>
                    <a:pt x="3" y="55"/>
                  </a:lnTo>
                  <a:lnTo>
                    <a:pt x="0" y="59"/>
                  </a:lnTo>
                  <a:lnTo>
                    <a:pt x="3" y="62"/>
                  </a:lnTo>
                  <a:lnTo>
                    <a:pt x="3" y="69"/>
                  </a:lnTo>
                  <a:lnTo>
                    <a:pt x="5" y="76"/>
                  </a:lnTo>
                  <a:lnTo>
                    <a:pt x="7" y="78"/>
                  </a:lnTo>
                  <a:lnTo>
                    <a:pt x="7" y="76"/>
                  </a:lnTo>
                  <a:lnTo>
                    <a:pt x="12" y="76"/>
                  </a:lnTo>
                  <a:lnTo>
                    <a:pt x="17" y="78"/>
                  </a:lnTo>
                  <a:lnTo>
                    <a:pt x="19" y="76"/>
                  </a:lnTo>
                  <a:lnTo>
                    <a:pt x="22" y="76"/>
                  </a:lnTo>
                  <a:lnTo>
                    <a:pt x="26" y="76"/>
                  </a:lnTo>
                  <a:lnTo>
                    <a:pt x="29" y="81"/>
                  </a:lnTo>
                  <a:lnTo>
                    <a:pt x="31" y="8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3" name="Freeform 1637">
              <a:extLst>
                <a:ext uri="{FF2B5EF4-FFF2-40B4-BE49-F238E27FC236}">
                  <a16:creationId xmlns:a16="http://schemas.microsoft.com/office/drawing/2014/main" id="{8CB941F6-A843-4E34-BD99-6CF1EDCFD08A}"/>
                </a:ext>
              </a:extLst>
            </p:cNvPr>
            <p:cNvSpPr>
              <a:spLocks/>
            </p:cNvSpPr>
            <p:nvPr/>
          </p:nvSpPr>
          <p:spPr bwMode="auto">
            <a:xfrm>
              <a:off x="2886914" y="3067015"/>
              <a:ext cx="98425" cy="128587"/>
            </a:xfrm>
            <a:custGeom>
              <a:avLst/>
              <a:gdLst>
                <a:gd name="T0" fmla="*/ 36 w 62"/>
                <a:gd name="T1" fmla="*/ 78 h 81"/>
                <a:gd name="T2" fmla="*/ 40 w 62"/>
                <a:gd name="T3" fmla="*/ 76 h 81"/>
                <a:gd name="T4" fmla="*/ 45 w 62"/>
                <a:gd name="T5" fmla="*/ 69 h 81"/>
                <a:gd name="T6" fmla="*/ 50 w 62"/>
                <a:gd name="T7" fmla="*/ 62 h 81"/>
                <a:gd name="T8" fmla="*/ 52 w 62"/>
                <a:gd name="T9" fmla="*/ 55 h 81"/>
                <a:gd name="T10" fmla="*/ 62 w 62"/>
                <a:gd name="T11" fmla="*/ 50 h 81"/>
                <a:gd name="T12" fmla="*/ 62 w 62"/>
                <a:gd name="T13" fmla="*/ 43 h 81"/>
                <a:gd name="T14" fmla="*/ 57 w 62"/>
                <a:gd name="T15" fmla="*/ 33 h 81"/>
                <a:gd name="T16" fmla="*/ 52 w 62"/>
                <a:gd name="T17" fmla="*/ 31 h 81"/>
                <a:gd name="T18" fmla="*/ 50 w 62"/>
                <a:gd name="T19" fmla="*/ 19 h 81"/>
                <a:gd name="T20" fmla="*/ 50 w 62"/>
                <a:gd name="T21" fmla="*/ 17 h 81"/>
                <a:gd name="T22" fmla="*/ 57 w 62"/>
                <a:gd name="T23" fmla="*/ 7 h 81"/>
                <a:gd name="T24" fmla="*/ 59 w 62"/>
                <a:gd name="T25" fmla="*/ 0 h 81"/>
                <a:gd name="T26" fmla="*/ 55 w 62"/>
                <a:gd name="T27" fmla="*/ 5 h 81"/>
                <a:gd name="T28" fmla="*/ 48 w 62"/>
                <a:gd name="T29" fmla="*/ 10 h 81"/>
                <a:gd name="T30" fmla="*/ 43 w 62"/>
                <a:gd name="T31" fmla="*/ 3 h 81"/>
                <a:gd name="T32" fmla="*/ 43 w 62"/>
                <a:gd name="T33" fmla="*/ 7 h 81"/>
                <a:gd name="T34" fmla="*/ 38 w 62"/>
                <a:gd name="T35" fmla="*/ 5 h 81"/>
                <a:gd name="T36" fmla="*/ 36 w 62"/>
                <a:gd name="T37" fmla="*/ 10 h 81"/>
                <a:gd name="T38" fmla="*/ 36 w 62"/>
                <a:gd name="T39" fmla="*/ 15 h 81"/>
                <a:gd name="T40" fmla="*/ 45 w 62"/>
                <a:gd name="T41" fmla="*/ 15 h 81"/>
                <a:gd name="T42" fmla="*/ 43 w 62"/>
                <a:gd name="T43" fmla="*/ 19 h 81"/>
                <a:gd name="T44" fmla="*/ 38 w 62"/>
                <a:gd name="T45" fmla="*/ 15 h 81"/>
                <a:gd name="T46" fmla="*/ 31 w 62"/>
                <a:gd name="T47" fmla="*/ 17 h 81"/>
                <a:gd name="T48" fmla="*/ 29 w 62"/>
                <a:gd name="T49" fmla="*/ 12 h 81"/>
                <a:gd name="T50" fmla="*/ 26 w 62"/>
                <a:gd name="T51" fmla="*/ 19 h 81"/>
                <a:gd name="T52" fmla="*/ 22 w 62"/>
                <a:gd name="T53" fmla="*/ 24 h 81"/>
                <a:gd name="T54" fmla="*/ 22 w 62"/>
                <a:gd name="T55" fmla="*/ 22 h 81"/>
                <a:gd name="T56" fmla="*/ 12 w 62"/>
                <a:gd name="T57" fmla="*/ 24 h 81"/>
                <a:gd name="T58" fmla="*/ 0 w 62"/>
                <a:gd name="T59" fmla="*/ 45 h 81"/>
                <a:gd name="T60" fmla="*/ 3 w 62"/>
                <a:gd name="T61" fmla="*/ 55 h 81"/>
                <a:gd name="T62" fmla="*/ 3 w 62"/>
                <a:gd name="T63" fmla="*/ 62 h 81"/>
                <a:gd name="T64" fmla="*/ 5 w 62"/>
                <a:gd name="T65" fmla="*/ 76 h 81"/>
                <a:gd name="T66" fmla="*/ 7 w 62"/>
                <a:gd name="T67" fmla="*/ 76 h 81"/>
                <a:gd name="T68" fmla="*/ 17 w 62"/>
                <a:gd name="T69" fmla="*/ 78 h 81"/>
                <a:gd name="T70" fmla="*/ 22 w 62"/>
                <a:gd name="T71" fmla="*/ 76 h 81"/>
                <a:gd name="T72" fmla="*/ 29 w 62"/>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81">
                  <a:moveTo>
                    <a:pt x="31" y="81"/>
                  </a:moveTo>
                  <a:lnTo>
                    <a:pt x="36" y="78"/>
                  </a:lnTo>
                  <a:lnTo>
                    <a:pt x="40" y="78"/>
                  </a:lnTo>
                  <a:lnTo>
                    <a:pt x="40" y="76"/>
                  </a:lnTo>
                  <a:lnTo>
                    <a:pt x="43" y="74"/>
                  </a:lnTo>
                  <a:lnTo>
                    <a:pt x="45" y="69"/>
                  </a:lnTo>
                  <a:lnTo>
                    <a:pt x="48" y="66"/>
                  </a:lnTo>
                  <a:lnTo>
                    <a:pt x="50" y="62"/>
                  </a:lnTo>
                  <a:lnTo>
                    <a:pt x="50" y="59"/>
                  </a:lnTo>
                  <a:lnTo>
                    <a:pt x="52" y="55"/>
                  </a:lnTo>
                  <a:lnTo>
                    <a:pt x="57" y="52"/>
                  </a:lnTo>
                  <a:lnTo>
                    <a:pt x="62" y="50"/>
                  </a:lnTo>
                  <a:lnTo>
                    <a:pt x="62" y="45"/>
                  </a:lnTo>
                  <a:lnTo>
                    <a:pt x="62" y="43"/>
                  </a:lnTo>
                  <a:lnTo>
                    <a:pt x="59" y="38"/>
                  </a:lnTo>
                  <a:lnTo>
                    <a:pt x="57" y="33"/>
                  </a:lnTo>
                  <a:lnTo>
                    <a:pt x="55" y="31"/>
                  </a:lnTo>
                  <a:lnTo>
                    <a:pt x="52" y="31"/>
                  </a:lnTo>
                  <a:lnTo>
                    <a:pt x="50" y="26"/>
                  </a:lnTo>
                  <a:lnTo>
                    <a:pt x="50" y="19"/>
                  </a:lnTo>
                  <a:lnTo>
                    <a:pt x="50" y="19"/>
                  </a:lnTo>
                  <a:lnTo>
                    <a:pt x="50" y="17"/>
                  </a:lnTo>
                  <a:lnTo>
                    <a:pt x="55" y="10"/>
                  </a:lnTo>
                  <a:lnTo>
                    <a:pt x="57" y="7"/>
                  </a:lnTo>
                  <a:lnTo>
                    <a:pt x="59" y="3"/>
                  </a:lnTo>
                  <a:lnTo>
                    <a:pt x="59" y="0"/>
                  </a:lnTo>
                  <a:lnTo>
                    <a:pt x="57" y="0"/>
                  </a:lnTo>
                  <a:lnTo>
                    <a:pt x="55" y="5"/>
                  </a:lnTo>
                  <a:lnTo>
                    <a:pt x="50" y="7"/>
                  </a:lnTo>
                  <a:lnTo>
                    <a:pt x="48" y="10"/>
                  </a:lnTo>
                  <a:lnTo>
                    <a:pt x="45" y="3"/>
                  </a:lnTo>
                  <a:lnTo>
                    <a:pt x="43" y="3"/>
                  </a:lnTo>
                  <a:lnTo>
                    <a:pt x="43" y="5"/>
                  </a:lnTo>
                  <a:lnTo>
                    <a:pt x="43" y="7"/>
                  </a:lnTo>
                  <a:lnTo>
                    <a:pt x="40" y="7"/>
                  </a:lnTo>
                  <a:lnTo>
                    <a:pt x="38" y="5"/>
                  </a:lnTo>
                  <a:lnTo>
                    <a:pt x="38" y="5"/>
                  </a:lnTo>
                  <a:lnTo>
                    <a:pt x="36" y="10"/>
                  </a:lnTo>
                  <a:lnTo>
                    <a:pt x="36" y="12"/>
                  </a:lnTo>
                  <a:lnTo>
                    <a:pt x="36" y="15"/>
                  </a:lnTo>
                  <a:lnTo>
                    <a:pt x="40" y="15"/>
                  </a:lnTo>
                  <a:lnTo>
                    <a:pt x="45" y="15"/>
                  </a:lnTo>
                  <a:lnTo>
                    <a:pt x="48" y="17"/>
                  </a:lnTo>
                  <a:lnTo>
                    <a:pt x="43" y="19"/>
                  </a:lnTo>
                  <a:lnTo>
                    <a:pt x="40" y="17"/>
                  </a:lnTo>
                  <a:lnTo>
                    <a:pt x="38" y="15"/>
                  </a:lnTo>
                  <a:lnTo>
                    <a:pt x="36" y="17"/>
                  </a:lnTo>
                  <a:lnTo>
                    <a:pt x="31" y="17"/>
                  </a:lnTo>
                  <a:lnTo>
                    <a:pt x="31" y="15"/>
                  </a:lnTo>
                  <a:lnTo>
                    <a:pt x="29" y="12"/>
                  </a:lnTo>
                  <a:lnTo>
                    <a:pt x="26" y="12"/>
                  </a:lnTo>
                  <a:lnTo>
                    <a:pt x="26" y="19"/>
                  </a:lnTo>
                  <a:lnTo>
                    <a:pt x="24" y="24"/>
                  </a:lnTo>
                  <a:lnTo>
                    <a:pt x="22" y="24"/>
                  </a:lnTo>
                  <a:lnTo>
                    <a:pt x="22" y="22"/>
                  </a:lnTo>
                  <a:lnTo>
                    <a:pt x="22" y="22"/>
                  </a:lnTo>
                  <a:lnTo>
                    <a:pt x="17" y="22"/>
                  </a:lnTo>
                  <a:lnTo>
                    <a:pt x="12" y="24"/>
                  </a:lnTo>
                  <a:lnTo>
                    <a:pt x="7" y="38"/>
                  </a:lnTo>
                  <a:lnTo>
                    <a:pt x="0" y="45"/>
                  </a:lnTo>
                  <a:lnTo>
                    <a:pt x="0" y="50"/>
                  </a:lnTo>
                  <a:lnTo>
                    <a:pt x="3" y="55"/>
                  </a:lnTo>
                  <a:lnTo>
                    <a:pt x="0" y="59"/>
                  </a:lnTo>
                  <a:lnTo>
                    <a:pt x="3" y="62"/>
                  </a:lnTo>
                  <a:lnTo>
                    <a:pt x="3" y="69"/>
                  </a:lnTo>
                  <a:lnTo>
                    <a:pt x="5" y="76"/>
                  </a:lnTo>
                  <a:lnTo>
                    <a:pt x="7" y="78"/>
                  </a:lnTo>
                  <a:lnTo>
                    <a:pt x="7" y="76"/>
                  </a:lnTo>
                  <a:lnTo>
                    <a:pt x="12" y="76"/>
                  </a:lnTo>
                  <a:lnTo>
                    <a:pt x="17" y="78"/>
                  </a:lnTo>
                  <a:lnTo>
                    <a:pt x="19" y="76"/>
                  </a:lnTo>
                  <a:lnTo>
                    <a:pt x="22" y="76"/>
                  </a:lnTo>
                  <a:lnTo>
                    <a:pt x="26" y="76"/>
                  </a:lnTo>
                  <a:lnTo>
                    <a:pt x="29" y="81"/>
                  </a:lnTo>
                  <a:lnTo>
                    <a:pt x="31" y="81"/>
                  </a:lnTo>
                </a:path>
              </a:pathLst>
            </a:custGeom>
            <a:solidFill>
              <a:srgbClr val="C3E2BC"/>
            </a:solid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4" name="Freeform 1638">
              <a:extLst>
                <a:ext uri="{FF2B5EF4-FFF2-40B4-BE49-F238E27FC236}">
                  <a16:creationId xmlns:a16="http://schemas.microsoft.com/office/drawing/2014/main" id="{346C89BA-B587-4930-9295-E01E1C5EAB8F}"/>
                </a:ext>
              </a:extLst>
            </p:cNvPr>
            <p:cNvSpPr>
              <a:spLocks/>
            </p:cNvSpPr>
            <p:nvPr/>
          </p:nvSpPr>
          <p:spPr bwMode="auto">
            <a:xfrm>
              <a:off x="3307600" y="3067015"/>
              <a:ext cx="157163" cy="79375"/>
            </a:xfrm>
            <a:custGeom>
              <a:avLst/>
              <a:gdLst>
                <a:gd name="T0" fmla="*/ 28 w 99"/>
                <a:gd name="T1" fmla="*/ 0 h 50"/>
                <a:gd name="T2" fmla="*/ 33 w 99"/>
                <a:gd name="T3" fmla="*/ 3 h 50"/>
                <a:gd name="T4" fmla="*/ 42 w 99"/>
                <a:gd name="T5" fmla="*/ 0 h 50"/>
                <a:gd name="T6" fmla="*/ 47 w 99"/>
                <a:gd name="T7" fmla="*/ 3 h 50"/>
                <a:gd name="T8" fmla="*/ 54 w 99"/>
                <a:gd name="T9" fmla="*/ 3 h 50"/>
                <a:gd name="T10" fmla="*/ 59 w 99"/>
                <a:gd name="T11" fmla="*/ 5 h 50"/>
                <a:gd name="T12" fmla="*/ 64 w 99"/>
                <a:gd name="T13" fmla="*/ 5 h 50"/>
                <a:gd name="T14" fmla="*/ 68 w 99"/>
                <a:gd name="T15" fmla="*/ 7 h 50"/>
                <a:gd name="T16" fmla="*/ 73 w 99"/>
                <a:gd name="T17" fmla="*/ 5 h 50"/>
                <a:gd name="T18" fmla="*/ 78 w 99"/>
                <a:gd name="T19" fmla="*/ 5 h 50"/>
                <a:gd name="T20" fmla="*/ 85 w 99"/>
                <a:gd name="T21" fmla="*/ 7 h 50"/>
                <a:gd name="T22" fmla="*/ 92 w 99"/>
                <a:gd name="T23" fmla="*/ 3 h 50"/>
                <a:gd name="T24" fmla="*/ 94 w 99"/>
                <a:gd name="T25" fmla="*/ 0 h 50"/>
                <a:gd name="T26" fmla="*/ 99 w 99"/>
                <a:gd name="T27" fmla="*/ 0 h 50"/>
                <a:gd name="T28" fmla="*/ 99 w 99"/>
                <a:gd name="T29" fmla="*/ 3 h 50"/>
                <a:gd name="T30" fmla="*/ 99 w 99"/>
                <a:gd name="T31" fmla="*/ 7 h 50"/>
                <a:gd name="T32" fmla="*/ 97 w 99"/>
                <a:gd name="T33" fmla="*/ 12 h 50"/>
                <a:gd name="T34" fmla="*/ 94 w 99"/>
                <a:gd name="T35" fmla="*/ 12 h 50"/>
                <a:gd name="T36" fmla="*/ 90 w 99"/>
                <a:gd name="T37" fmla="*/ 10 h 50"/>
                <a:gd name="T38" fmla="*/ 87 w 99"/>
                <a:gd name="T39" fmla="*/ 12 h 50"/>
                <a:gd name="T40" fmla="*/ 80 w 99"/>
                <a:gd name="T41" fmla="*/ 12 h 50"/>
                <a:gd name="T42" fmla="*/ 75 w 99"/>
                <a:gd name="T43" fmla="*/ 10 h 50"/>
                <a:gd name="T44" fmla="*/ 71 w 99"/>
                <a:gd name="T45" fmla="*/ 10 h 50"/>
                <a:gd name="T46" fmla="*/ 66 w 99"/>
                <a:gd name="T47" fmla="*/ 10 h 50"/>
                <a:gd name="T48" fmla="*/ 54 w 99"/>
                <a:gd name="T49" fmla="*/ 10 h 50"/>
                <a:gd name="T50" fmla="*/ 47 w 99"/>
                <a:gd name="T51" fmla="*/ 7 h 50"/>
                <a:gd name="T52" fmla="*/ 45 w 99"/>
                <a:gd name="T53" fmla="*/ 7 h 50"/>
                <a:gd name="T54" fmla="*/ 40 w 99"/>
                <a:gd name="T55" fmla="*/ 10 h 50"/>
                <a:gd name="T56" fmla="*/ 35 w 99"/>
                <a:gd name="T57" fmla="*/ 7 h 50"/>
                <a:gd name="T58" fmla="*/ 35 w 99"/>
                <a:gd name="T59" fmla="*/ 5 h 50"/>
                <a:gd name="T60" fmla="*/ 33 w 99"/>
                <a:gd name="T61" fmla="*/ 5 h 50"/>
                <a:gd name="T62" fmla="*/ 33 w 99"/>
                <a:gd name="T63" fmla="*/ 10 h 50"/>
                <a:gd name="T64" fmla="*/ 33 w 99"/>
                <a:gd name="T65" fmla="*/ 10 h 50"/>
                <a:gd name="T66" fmla="*/ 28 w 99"/>
                <a:gd name="T67" fmla="*/ 10 h 50"/>
                <a:gd name="T68" fmla="*/ 26 w 99"/>
                <a:gd name="T69" fmla="*/ 12 h 50"/>
                <a:gd name="T70" fmla="*/ 24 w 99"/>
                <a:gd name="T71" fmla="*/ 17 h 50"/>
                <a:gd name="T72" fmla="*/ 19 w 99"/>
                <a:gd name="T73" fmla="*/ 19 h 50"/>
                <a:gd name="T74" fmla="*/ 16 w 99"/>
                <a:gd name="T75" fmla="*/ 22 h 50"/>
                <a:gd name="T76" fmla="*/ 14 w 99"/>
                <a:gd name="T77" fmla="*/ 31 h 50"/>
                <a:gd name="T78" fmla="*/ 12 w 99"/>
                <a:gd name="T79" fmla="*/ 33 h 50"/>
                <a:gd name="T80" fmla="*/ 12 w 99"/>
                <a:gd name="T81" fmla="*/ 38 h 50"/>
                <a:gd name="T82" fmla="*/ 12 w 99"/>
                <a:gd name="T83" fmla="*/ 41 h 50"/>
                <a:gd name="T84" fmla="*/ 14 w 99"/>
                <a:gd name="T85" fmla="*/ 45 h 50"/>
                <a:gd name="T86" fmla="*/ 16 w 99"/>
                <a:gd name="T87" fmla="*/ 50 h 50"/>
                <a:gd name="T88" fmla="*/ 14 w 99"/>
                <a:gd name="T89" fmla="*/ 50 h 50"/>
                <a:gd name="T90" fmla="*/ 7 w 99"/>
                <a:gd name="T91" fmla="*/ 38 h 50"/>
                <a:gd name="T92" fmla="*/ 2 w 99"/>
                <a:gd name="T93" fmla="*/ 36 h 50"/>
                <a:gd name="T94" fmla="*/ 0 w 99"/>
                <a:gd name="T95" fmla="*/ 29 h 50"/>
                <a:gd name="T96" fmla="*/ 2 w 99"/>
                <a:gd name="T97" fmla="*/ 24 h 50"/>
                <a:gd name="T98" fmla="*/ 2 w 99"/>
                <a:gd name="T99" fmla="*/ 19 h 50"/>
                <a:gd name="T100" fmla="*/ 7 w 99"/>
                <a:gd name="T101" fmla="*/ 17 h 50"/>
                <a:gd name="T102" fmla="*/ 9 w 99"/>
                <a:gd name="T103" fmla="*/ 12 h 50"/>
                <a:gd name="T104" fmla="*/ 12 w 99"/>
                <a:gd name="T105" fmla="*/ 10 h 50"/>
                <a:gd name="T106" fmla="*/ 21 w 99"/>
                <a:gd name="T107" fmla="*/ 3 h 50"/>
                <a:gd name="T108" fmla="*/ 24 w 99"/>
                <a:gd name="T109" fmla="*/ 0 h 50"/>
                <a:gd name="T110" fmla="*/ 28 w 99"/>
                <a:gd name="T11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50">
                  <a:moveTo>
                    <a:pt x="28" y="0"/>
                  </a:moveTo>
                  <a:lnTo>
                    <a:pt x="33" y="3"/>
                  </a:lnTo>
                  <a:lnTo>
                    <a:pt x="42" y="0"/>
                  </a:lnTo>
                  <a:lnTo>
                    <a:pt x="47" y="3"/>
                  </a:lnTo>
                  <a:lnTo>
                    <a:pt x="54" y="3"/>
                  </a:lnTo>
                  <a:lnTo>
                    <a:pt x="59" y="5"/>
                  </a:lnTo>
                  <a:lnTo>
                    <a:pt x="64" y="5"/>
                  </a:lnTo>
                  <a:lnTo>
                    <a:pt x="68" y="7"/>
                  </a:lnTo>
                  <a:lnTo>
                    <a:pt x="73" y="5"/>
                  </a:lnTo>
                  <a:lnTo>
                    <a:pt x="78" y="5"/>
                  </a:lnTo>
                  <a:lnTo>
                    <a:pt x="85" y="7"/>
                  </a:lnTo>
                  <a:lnTo>
                    <a:pt x="92" y="3"/>
                  </a:lnTo>
                  <a:lnTo>
                    <a:pt x="94" y="0"/>
                  </a:lnTo>
                  <a:lnTo>
                    <a:pt x="99" y="0"/>
                  </a:lnTo>
                  <a:lnTo>
                    <a:pt x="99" y="3"/>
                  </a:lnTo>
                  <a:lnTo>
                    <a:pt x="99" y="7"/>
                  </a:lnTo>
                  <a:lnTo>
                    <a:pt x="97" y="12"/>
                  </a:lnTo>
                  <a:lnTo>
                    <a:pt x="94" y="12"/>
                  </a:lnTo>
                  <a:lnTo>
                    <a:pt x="90" y="10"/>
                  </a:lnTo>
                  <a:lnTo>
                    <a:pt x="87" y="12"/>
                  </a:lnTo>
                  <a:lnTo>
                    <a:pt x="80" y="12"/>
                  </a:lnTo>
                  <a:lnTo>
                    <a:pt x="75" y="10"/>
                  </a:lnTo>
                  <a:lnTo>
                    <a:pt x="71" y="10"/>
                  </a:lnTo>
                  <a:lnTo>
                    <a:pt x="66" y="10"/>
                  </a:lnTo>
                  <a:lnTo>
                    <a:pt x="54" y="10"/>
                  </a:lnTo>
                  <a:lnTo>
                    <a:pt x="47" y="7"/>
                  </a:lnTo>
                  <a:lnTo>
                    <a:pt x="45" y="7"/>
                  </a:lnTo>
                  <a:lnTo>
                    <a:pt x="40" y="10"/>
                  </a:lnTo>
                  <a:lnTo>
                    <a:pt x="35" y="7"/>
                  </a:lnTo>
                  <a:lnTo>
                    <a:pt x="35" y="5"/>
                  </a:lnTo>
                  <a:lnTo>
                    <a:pt x="33" y="5"/>
                  </a:lnTo>
                  <a:lnTo>
                    <a:pt x="33" y="10"/>
                  </a:lnTo>
                  <a:lnTo>
                    <a:pt x="33" y="10"/>
                  </a:lnTo>
                  <a:lnTo>
                    <a:pt x="28" y="10"/>
                  </a:lnTo>
                  <a:lnTo>
                    <a:pt x="26" y="12"/>
                  </a:lnTo>
                  <a:lnTo>
                    <a:pt x="24" y="17"/>
                  </a:lnTo>
                  <a:lnTo>
                    <a:pt x="19" y="19"/>
                  </a:lnTo>
                  <a:lnTo>
                    <a:pt x="16" y="22"/>
                  </a:lnTo>
                  <a:lnTo>
                    <a:pt x="14" y="31"/>
                  </a:lnTo>
                  <a:lnTo>
                    <a:pt x="12" y="33"/>
                  </a:lnTo>
                  <a:lnTo>
                    <a:pt x="12" y="38"/>
                  </a:lnTo>
                  <a:lnTo>
                    <a:pt x="12" y="41"/>
                  </a:lnTo>
                  <a:lnTo>
                    <a:pt x="14" y="45"/>
                  </a:lnTo>
                  <a:lnTo>
                    <a:pt x="16" y="50"/>
                  </a:lnTo>
                  <a:lnTo>
                    <a:pt x="14" y="50"/>
                  </a:lnTo>
                  <a:lnTo>
                    <a:pt x="7" y="38"/>
                  </a:lnTo>
                  <a:lnTo>
                    <a:pt x="2" y="36"/>
                  </a:lnTo>
                  <a:lnTo>
                    <a:pt x="0" y="29"/>
                  </a:lnTo>
                  <a:lnTo>
                    <a:pt x="2" y="24"/>
                  </a:lnTo>
                  <a:lnTo>
                    <a:pt x="2" y="19"/>
                  </a:lnTo>
                  <a:lnTo>
                    <a:pt x="7" y="17"/>
                  </a:lnTo>
                  <a:lnTo>
                    <a:pt x="9" y="12"/>
                  </a:lnTo>
                  <a:lnTo>
                    <a:pt x="12" y="10"/>
                  </a:lnTo>
                  <a:lnTo>
                    <a:pt x="21" y="3"/>
                  </a:lnTo>
                  <a:lnTo>
                    <a:pt x="24" y="0"/>
                  </a:lnTo>
                  <a:lnTo>
                    <a:pt x="28"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5" name="Freeform 1639">
              <a:extLst>
                <a:ext uri="{FF2B5EF4-FFF2-40B4-BE49-F238E27FC236}">
                  <a16:creationId xmlns:a16="http://schemas.microsoft.com/office/drawing/2014/main" id="{0EBBB334-F9EB-406E-96C7-00592EC7B7D1}"/>
                </a:ext>
              </a:extLst>
            </p:cNvPr>
            <p:cNvSpPr>
              <a:spLocks/>
            </p:cNvSpPr>
            <p:nvPr/>
          </p:nvSpPr>
          <p:spPr bwMode="auto">
            <a:xfrm>
              <a:off x="3307600" y="3067015"/>
              <a:ext cx="157163" cy="79375"/>
            </a:xfrm>
            <a:custGeom>
              <a:avLst/>
              <a:gdLst>
                <a:gd name="T0" fmla="*/ 28 w 99"/>
                <a:gd name="T1" fmla="*/ 0 h 50"/>
                <a:gd name="T2" fmla="*/ 33 w 99"/>
                <a:gd name="T3" fmla="*/ 3 h 50"/>
                <a:gd name="T4" fmla="*/ 42 w 99"/>
                <a:gd name="T5" fmla="*/ 0 h 50"/>
                <a:gd name="T6" fmla="*/ 47 w 99"/>
                <a:gd name="T7" fmla="*/ 3 h 50"/>
                <a:gd name="T8" fmla="*/ 54 w 99"/>
                <a:gd name="T9" fmla="*/ 3 h 50"/>
                <a:gd name="T10" fmla="*/ 59 w 99"/>
                <a:gd name="T11" fmla="*/ 5 h 50"/>
                <a:gd name="T12" fmla="*/ 64 w 99"/>
                <a:gd name="T13" fmla="*/ 5 h 50"/>
                <a:gd name="T14" fmla="*/ 68 w 99"/>
                <a:gd name="T15" fmla="*/ 7 h 50"/>
                <a:gd name="T16" fmla="*/ 73 w 99"/>
                <a:gd name="T17" fmla="*/ 5 h 50"/>
                <a:gd name="T18" fmla="*/ 78 w 99"/>
                <a:gd name="T19" fmla="*/ 5 h 50"/>
                <a:gd name="T20" fmla="*/ 85 w 99"/>
                <a:gd name="T21" fmla="*/ 7 h 50"/>
                <a:gd name="T22" fmla="*/ 92 w 99"/>
                <a:gd name="T23" fmla="*/ 3 h 50"/>
                <a:gd name="T24" fmla="*/ 94 w 99"/>
                <a:gd name="T25" fmla="*/ 0 h 50"/>
                <a:gd name="T26" fmla="*/ 99 w 99"/>
                <a:gd name="T27" fmla="*/ 0 h 50"/>
                <a:gd name="T28" fmla="*/ 99 w 99"/>
                <a:gd name="T29" fmla="*/ 3 h 50"/>
                <a:gd name="T30" fmla="*/ 99 w 99"/>
                <a:gd name="T31" fmla="*/ 7 h 50"/>
                <a:gd name="T32" fmla="*/ 97 w 99"/>
                <a:gd name="T33" fmla="*/ 12 h 50"/>
                <a:gd name="T34" fmla="*/ 94 w 99"/>
                <a:gd name="T35" fmla="*/ 12 h 50"/>
                <a:gd name="T36" fmla="*/ 90 w 99"/>
                <a:gd name="T37" fmla="*/ 10 h 50"/>
                <a:gd name="T38" fmla="*/ 87 w 99"/>
                <a:gd name="T39" fmla="*/ 12 h 50"/>
                <a:gd name="T40" fmla="*/ 80 w 99"/>
                <a:gd name="T41" fmla="*/ 12 h 50"/>
                <a:gd name="T42" fmla="*/ 75 w 99"/>
                <a:gd name="T43" fmla="*/ 10 h 50"/>
                <a:gd name="T44" fmla="*/ 71 w 99"/>
                <a:gd name="T45" fmla="*/ 10 h 50"/>
                <a:gd name="T46" fmla="*/ 66 w 99"/>
                <a:gd name="T47" fmla="*/ 10 h 50"/>
                <a:gd name="T48" fmla="*/ 54 w 99"/>
                <a:gd name="T49" fmla="*/ 10 h 50"/>
                <a:gd name="T50" fmla="*/ 47 w 99"/>
                <a:gd name="T51" fmla="*/ 7 h 50"/>
                <a:gd name="T52" fmla="*/ 45 w 99"/>
                <a:gd name="T53" fmla="*/ 7 h 50"/>
                <a:gd name="T54" fmla="*/ 40 w 99"/>
                <a:gd name="T55" fmla="*/ 10 h 50"/>
                <a:gd name="T56" fmla="*/ 35 w 99"/>
                <a:gd name="T57" fmla="*/ 7 h 50"/>
                <a:gd name="T58" fmla="*/ 35 w 99"/>
                <a:gd name="T59" fmla="*/ 5 h 50"/>
                <a:gd name="T60" fmla="*/ 33 w 99"/>
                <a:gd name="T61" fmla="*/ 5 h 50"/>
                <a:gd name="T62" fmla="*/ 33 w 99"/>
                <a:gd name="T63" fmla="*/ 10 h 50"/>
                <a:gd name="T64" fmla="*/ 33 w 99"/>
                <a:gd name="T65" fmla="*/ 10 h 50"/>
                <a:gd name="T66" fmla="*/ 28 w 99"/>
                <a:gd name="T67" fmla="*/ 10 h 50"/>
                <a:gd name="T68" fmla="*/ 26 w 99"/>
                <a:gd name="T69" fmla="*/ 12 h 50"/>
                <a:gd name="T70" fmla="*/ 24 w 99"/>
                <a:gd name="T71" fmla="*/ 17 h 50"/>
                <a:gd name="T72" fmla="*/ 19 w 99"/>
                <a:gd name="T73" fmla="*/ 19 h 50"/>
                <a:gd name="T74" fmla="*/ 16 w 99"/>
                <a:gd name="T75" fmla="*/ 22 h 50"/>
                <a:gd name="T76" fmla="*/ 14 w 99"/>
                <a:gd name="T77" fmla="*/ 31 h 50"/>
                <a:gd name="T78" fmla="*/ 12 w 99"/>
                <a:gd name="T79" fmla="*/ 33 h 50"/>
                <a:gd name="T80" fmla="*/ 12 w 99"/>
                <a:gd name="T81" fmla="*/ 38 h 50"/>
                <a:gd name="T82" fmla="*/ 12 w 99"/>
                <a:gd name="T83" fmla="*/ 41 h 50"/>
                <a:gd name="T84" fmla="*/ 14 w 99"/>
                <a:gd name="T85" fmla="*/ 45 h 50"/>
                <a:gd name="T86" fmla="*/ 16 w 99"/>
                <a:gd name="T87" fmla="*/ 50 h 50"/>
                <a:gd name="T88" fmla="*/ 14 w 99"/>
                <a:gd name="T89" fmla="*/ 50 h 50"/>
                <a:gd name="T90" fmla="*/ 7 w 99"/>
                <a:gd name="T91" fmla="*/ 38 h 50"/>
                <a:gd name="T92" fmla="*/ 2 w 99"/>
                <a:gd name="T93" fmla="*/ 36 h 50"/>
                <a:gd name="T94" fmla="*/ 0 w 99"/>
                <a:gd name="T95" fmla="*/ 29 h 50"/>
                <a:gd name="T96" fmla="*/ 2 w 99"/>
                <a:gd name="T97" fmla="*/ 24 h 50"/>
                <a:gd name="T98" fmla="*/ 2 w 99"/>
                <a:gd name="T99" fmla="*/ 19 h 50"/>
                <a:gd name="T100" fmla="*/ 7 w 99"/>
                <a:gd name="T101" fmla="*/ 17 h 50"/>
                <a:gd name="T102" fmla="*/ 9 w 99"/>
                <a:gd name="T103" fmla="*/ 12 h 50"/>
                <a:gd name="T104" fmla="*/ 12 w 99"/>
                <a:gd name="T105" fmla="*/ 10 h 50"/>
                <a:gd name="T106" fmla="*/ 21 w 99"/>
                <a:gd name="T107" fmla="*/ 3 h 50"/>
                <a:gd name="T108" fmla="*/ 24 w 99"/>
                <a:gd name="T109" fmla="*/ 0 h 50"/>
                <a:gd name="T110" fmla="*/ 28 w 99"/>
                <a:gd name="T11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50">
                  <a:moveTo>
                    <a:pt x="28" y="0"/>
                  </a:moveTo>
                  <a:lnTo>
                    <a:pt x="33" y="3"/>
                  </a:lnTo>
                  <a:lnTo>
                    <a:pt x="42" y="0"/>
                  </a:lnTo>
                  <a:lnTo>
                    <a:pt x="47" y="3"/>
                  </a:lnTo>
                  <a:lnTo>
                    <a:pt x="54" y="3"/>
                  </a:lnTo>
                  <a:lnTo>
                    <a:pt x="59" y="5"/>
                  </a:lnTo>
                  <a:lnTo>
                    <a:pt x="64" y="5"/>
                  </a:lnTo>
                  <a:lnTo>
                    <a:pt x="68" y="7"/>
                  </a:lnTo>
                  <a:lnTo>
                    <a:pt x="73" y="5"/>
                  </a:lnTo>
                  <a:lnTo>
                    <a:pt x="78" y="5"/>
                  </a:lnTo>
                  <a:lnTo>
                    <a:pt x="85" y="7"/>
                  </a:lnTo>
                  <a:lnTo>
                    <a:pt x="92" y="3"/>
                  </a:lnTo>
                  <a:lnTo>
                    <a:pt x="94" y="0"/>
                  </a:lnTo>
                  <a:lnTo>
                    <a:pt x="99" y="0"/>
                  </a:lnTo>
                  <a:lnTo>
                    <a:pt x="99" y="3"/>
                  </a:lnTo>
                  <a:lnTo>
                    <a:pt x="99" y="7"/>
                  </a:lnTo>
                  <a:lnTo>
                    <a:pt x="97" y="12"/>
                  </a:lnTo>
                  <a:lnTo>
                    <a:pt x="94" y="12"/>
                  </a:lnTo>
                  <a:lnTo>
                    <a:pt x="90" y="10"/>
                  </a:lnTo>
                  <a:lnTo>
                    <a:pt x="87" y="12"/>
                  </a:lnTo>
                  <a:lnTo>
                    <a:pt x="80" y="12"/>
                  </a:lnTo>
                  <a:lnTo>
                    <a:pt x="75" y="10"/>
                  </a:lnTo>
                  <a:lnTo>
                    <a:pt x="71" y="10"/>
                  </a:lnTo>
                  <a:lnTo>
                    <a:pt x="66" y="10"/>
                  </a:lnTo>
                  <a:lnTo>
                    <a:pt x="54" y="10"/>
                  </a:lnTo>
                  <a:lnTo>
                    <a:pt x="47" y="7"/>
                  </a:lnTo>
                  <a:lnTo>
                    <a:pt x="45" y="7"/>
                  </a:lnTo>
                  <a:lnTo>
                    <a:pt x="40" y="10"/>
                  </a:lnTo>
                  <a:lnTo>
                    <a:pt x="35" y="7"/>
                  </a:lnTo>
                  <a:lnTo>
                    <a:pt x="35" y="5"/>
                  </a:lnTo>
                  <a:lnTo>
                    <a:pt x="33" y="5"/>
                  </a:lnTo>
                  <a:lnTo>
                    <a:pt x="33" y="10"/>
                  </a:lnTo>
                  <a:lnTo>
                    <a:pt x="33" y="10"/>
                  </a:lnTo>
                  <a:lnTo>
                    <a:pt x="28" y="10"/>
                  </a:lnTo>
                  <a:lnTo>
                    <a:pt x="26" y="12"/>
                  </a:lnTo>
                  <a:lnTo>
                    <a:pt x="24" y="17"/>
                  </a:lnTo>
                  <a:lnTo>
                    <a:pt x="19" y="19"/>
                  </a:lnTo>
                  <a:lnTo>
                    <a:pt x="16" y="22"/>
                  </a:lnTo>
                  <a:lnTo>
                    <a:pt x="14" y="31"/>
                  </a:lnTo>
                  <a:lnTo>
                    <a:pt x="12" y="33"/>
                  </a:lnTo>
                  <a:lnTo>
                    <a:pt x="12" y="38"/>
                  </a:lnTo>
                  <a:lnTo>
                    <a:pt x="12" y="41"/>
                  </a:lnTo>
                  <a:lnTo>
                    <a:pt x="14" y="45"/>
                  </a:lnTo>
                  <a:lnTo>
                    <a:pt x="16" y="50"/>
                  </a:lnTo>
                  <a:lnTo>
                    <a:pt x="14" y="50"/>
                  </a:lnTo>
                  <a:lnTo>
                    <a:pt x="7" y="38"/>
                  </a:lnTo>
                  <a:lnTo>
                    <a:pt x="2" y="36"/>
                  </a:lnTo>
                  <a:lnTo>
                    <a:pt x="0" y="29"/>
                  </a:lnTo>
                  <a:lnTo>
                    <a:pt x="2" y="24"/>
                  </a:lnTo>
                  <a:lnTo>
                    <a:pt x="2" y="19"/>
                  </a:lnTo>
                  <a:lnTo>
                    <a:pt x="7" y="17"/>
                  </a:lnTo>
                  <a:lnTo>
                    <a:pt x="9" y="12"/>
                  </a:lnTo>
                  <a:lnTo>
                    <a:pt x="12" y="10"/>
                  </a:lnTo>
                  <a:lnTo>
                    <a:pt x="21" y="3"/>
                  </a:lnTo>
                  <a:lnTo>
                    <a:pt x="24" y="0"/>
                  </a:lnTo>
                  <a:lnTo>
                    <a:pt x="28" y="0"/>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6" name="Freeform 1640">
              <a:extLst>
                <a:ext uri="{FF2B5EF4-FFF2-40B4-BE49-F238E27FC236}">
                  <a16:creationId xmlns:a16="http://schemas.microsoft.com/office/drawing/2014/main" id="{E65D4138-274E-4EAD-BC02-E3E037A378E2}"/>
                </a:ext>
              </a:extLst>
            </p:cNvPr>
            <p:cNvSpPr>
              <a:spLocks/>
            </p:cNvSpPr>
            <p:nvPr/>
          </p:nvSpPr>
          <p:spPr bwMode="auto">
            <a:xfrm>
              <a:off x="2107451" y="2355814"/>
              <a:ext cx="79375" cy="100012"/>
            </a:xfrm>
            <a:custGeom>
              <a:avLst/>
              <a:gdLst>
                <a:gd name="T0" fmla="*/ 16 w 50"/>
                <a:gd name="T1" fmla="*/ 0 h 63"/>
                <a:gd name="T2" fmla="*/ 16 w 50"/>
                <a:gd name="T3" fmla="*/ 0 h 63"/>
                <a:gd name="T4" fmla="*/ 19 w 50"/>
                <a:gd name="T5" fmla="*/ 0 h 63"/>
                <a:gd name="T6" fmla="*/ 24 w 50"/>
                <a:gd name="T7" fmla="*/ 2 h 63"/>
                <a:gd name="T8" fmla="*/ 28 w 50"/>
                <a:gd name="T9" fmla="*/ 7 h 63"/>
                <a:gd name="T10" fmla="*/ 31 w 50"/>
                <a:gd name="T11" fmla="*/ 11 h 63"/>
                <a:gd name="T12" fmla="*/ 31 w 50"/>
                <a:gd name="T13" fmla="*/ 14 h 63"/>
                <a:gd name="T14" fmla="*/ 38 w 50"/>
                <a:gd name="T15" fmla="*/ 14 h 63"/>
                <a:gd name="T16" fmla="*/ 40 w 50"/>
                <a:gd name="T17" fmla="*/ 16 h 63"/>
                <a:gd name="T18" fmla="*/ 42 w 50"/>
                <a:gd name="T19" fmla="*/ 21 h 63"/>
                <a:gd name="T20" fmla="*/ 45 w 50"/>
                <a:gd name="T21" fmla="*/ 23 h 63"/>
                <a:gd name="T22" fmla="*/ 45 w 50"/>
                <a:gd name="T23" fmla="*/ 28 h 63"/>
                <a:gd name="T24" fmla="*/ 47 w 50"/>
                <a:gd name="T25" fmla="*/ 30 h 63"/>
                <a:gd name="T26" fmla="*/ 47 w 50"/>
                <a:gd name="T27" fmla="*/ 33 h 63"/>
                <a:gd name="T28" fmla="*/ 50 w 50"/>
                <a:gd name="T29" fmla="*/ 35 h 63"/>
                <a:gd name="T30" fmla="*/ 47 w 50"/>
                <a:gd name="T31" fmla="*/ 40 h 63"/>
                <a:gd name="T32" fmla="*/ 45 w 50"/>
                <a:gd name="T33" fmla="*/ 42 h 63"/>
                <a:gd name="T34" fmla="*/ 45 w 50"/>
                <a:gd name="T35" fmla="*/ 47 h 63"/>
                <a:gd name="T36" fmla="*/ 42 w 50"/>
                <a:gd name="T37" fmla="*/ 54 h 63"/>
                <a:gd name="T38" fmla="*/ 38 w 50"/>
                <a:gd name="T39" fmla="*/ 54 h 63"/>
                <a:gd name="T40" fmla="*/ 38 w 50"/>
                <a:gd name="T41" fmla="*/ 52 h 63"/>
                <a:gd name="T42" fmla="*/ 35 w 50"/>
                <a:gd name="T43" fmla="*/ 52 h 63"/>
                <a:gd name="T44" fmla="*/ 31 w 50"/>
                <a:gd name="T45" fmla="*/ 52 h 63"/>
                <a:gd name="T46" fmla="*/ 28 w 50"/>
                <a:gd name="T47" fmla="*/ 54 h 63"/>
                <a:gd name="T48" fmla="*/ 26 w 50"/>
                <a:gd name="T49" fmla="*/ 56 h 63"/>
                <a:gd name="T50" fmla="*/ 26 w 50"/>
                <a:gd name="T51" fmla="*/ 61 h 63"/>
                <a:gd name="T52" fmla="*/ 24 w 50"/>
                <a:gd name="T53" fmla="*/ 63 h 63"/>
                <a:gd name="T54" fmla="*/ 19 w 50"/>
                <a:gd name="T55" fmla="*/ 63 h 63"/>
                <a:gd name="T56" fmla="*/ 16 w 50"/>
                <a:gd name="T57" fmla="*/ 61 h 63"/>
                <a:gd name="T58" fmla="*/ 16 w 50"/>
                <a:gd name="T59" fmla="*/ 59 h 63"/>
                <a:gd name="T60" fmla="*/ 16 w 50"/>
                <a:gd name="T61" fmla="*/ 54 h 63"/>
                <a:gd name="T62" fmla="*/ 16 w 50"/>
                <a:gd name="T63" fmla="*/ 49 h 63"/>
                <a:gd name="T64" fmla="*/ 16 w 50"/>
                <a:gd name="T65" fmla="*/ 44 h 63"/>
                <a:gd name="T66" fmla="*/ 14 w 50"/>
                <a:gd name="T67" fmla="*/ 40 h 63"/>
                <a:gd name="T68" fmla="*/ 7 w 50"/>
                <a:gd name="T69" fmla="*/ 33 h 63"/>
                <a:gd name="T70" fmla="*/ 9 w 50"/>
                <a:gd name="T71" fmla="*/ 30 h 63"/>
                <a:gd name="T72" fmla="*/ 5 w 50"/>
                <a:gd name="T73" fmla="*/ 26 h 63"/>
                <a:gd name="T74" fmla="*/ 5 w 50"/>
                <a:gd name="T75" fmla="*/ 23 h 63"/>
                <a:gd name="T76" fmla="*/ 2 w 50"/>
                <a:gd name="T77" fmla="*/ 21 h 63"/>
                <a:gd name="T78" fmla="*/ 0 w 50"/>
                <a:gd name="T79" fmla="*/ 23 h 63"/>
                <a:gd name="T80" fmla="*/ 0 w 50"/>
                <a:gd name="T81" fmla="*/ 14 h 63"/>
                <a:gd name="T82" fmla="*/ 2 w 50"/>
                <a:gd name="T83" fmla="*/ 9 h 63"/>
                <a:gd name="T84" fmla="*/ 2 w 50"/>
                <a:gd name="T85" fmla="*/ 7 h 63"/>
                <a:gd name="T86" fmla="*/ 5 w 50"/>
                <a:gd name="T87" fmla="*/ 4 h 63"/>
                <a:gd name="T88" fmla="*/ 7 w 50"/>
                <a:gd name="T89" fmla="*/ 4 h 63"/>
                <a:gd name="T90" fmla="*/ 9 w 50"/>
                <a:gd name="T91" fmla="*/ 2 h 63"/>
                <a:gd name="T92" fmla="*/ 12 w 50"/>
                <a:gd name="T93" fmla="*/ 0 h 63"/>
                <a:gd name="T94" fmla="*/ 16 w 50"/>
                <a:gd name="T9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63">
                  <a:moveTo>
                    <a:pt x="16" y="0"/>
                  </a:moveTo>
                  <a:lnTo>
                    <a:pt x="16" y="0"/>
                  </a:lnTo>
                  <a:lnTo>
                    <a:pt x="19" y="0"/>
                  </a:lnTo>
                  <a:lnTo>
                    <a:pt x="24" y="2"/>
                  </a:lnTo>
                  <a:lnTo>
                    <a:pt x="28" y="7"/>
                  </a:lnTo>
                  <a:lnTo>
                    <a:pt x="31" y="11"/>
                  </a:lnTo>
                  <a:lnTo>
                    <a:pt x="31" y="14"/>
                  </a:lnTo>
                  <a:lnTo>
                    <a:pt x="38" y="14"/>
                  </a:lnTo>
                  <a:lnTo>
                    <a:pt x="40" y="16"/>
                  </a:lnTo>
                  <a:lnTo>
                    <a:pt x="42" y="21"/>
                  </a:lnTo>
                  <a:lnTo>
                    <a:pt x="45" y="23"/>
                  </a:lnTo>
                  <a:lnTo>
                    <a:pt x="45" y="28"/>
                  </a:lnTo>
                  <a:lnTo>
                    <a:pt x="47" y="30"/>
                  </a:lnTo>
                  <a:lnTo>
                    <a:pt x="47" y="33"/>
                  </a:lnTo>
                  <a:lnTo>
                    <a:pt x="50" y="35"/>
                  </a:lnTo>
                  <a:lnTo>
                    <a:pt x="47" y="40"/>
                  </a:lnTo>
                  <a:lnTo>
                    <a:pt x="45" y="42"/>
                  </a:lnTo>
                  <a:lnTo>
                    <a:pt x="45" y="47"/>
                  </a:lnTo>
                  <a:lnTo>
                    <a:pt x="42" y="54"/>
                  </a:lnTo>
                  <a:lnTo>
                    <a:pt x="38" y="54"/>
                  </a:lnTo>
                  <a:lnTo>
                    <a:pt x="38" y="52"/>
                  </a:lnTo>
                  <a:lnTo>
                    <a:pt x="35" y="52"/>
                  </a:lnTo>
                  <a:lnTo>
                    <a:pt x="31" y="52"/>
                  </a:lnTo>
                  <a:lnTo>
                    <a:pt x="28" y="54"/>
                  </a:lnTo>
                  <a:lnTo>
                    <a:pt x="26" y="56"/>
                  </a:lnTo>
                  <a:lnTo>
                    <a:pt x="26" y="61"/>
                  </a:lnTo>
                  <a:lnTo>
                    <a:pt x="24" y="63"/>
                  </a:lnTo>
                  <a:lnTo>
                    <a:pt x="19" y="63"/>
                  </a:lnTo>
                  <a:lnTo>
                    <a:pt x="16" y="61"/>
                  </a:lnTo>
                  <a:lnTo>
                    <a:pt x="16" y="59"/>
                  </a:lnTo>
                  <a:lnTo>
                    <a:pt x="16" y="54"/>
                  </a:lnTo>
                  <a:lnTo>
                    <a:pt x="16" y="49"/>
                  </a:lnTo>
                  <a:lnTo>
                    <a:pt x="16" y="44"/>
                  </a:lnTo>
                  <a:lnTo>
                    <a:pt x="14" y="40"/>
                  </a:lnTo>
                  <a:lnTo>
                    <a:pt x="7" y="33"/>
                  </a:lnTo>
                  <a:lnTo>
                    <a:pt x="9" y="30"/>
                  </a:lnTo>
                  <a:lnTo>
                    <a:pt x="5" y="26"/>
                  </a:lnTo>
                  <a:lnTo>
                    <a:pt x="5" y="23"/>
                  </a:lnTo>
                  <a:lnTo>
                    <a:pt x="2" y="21"/>
                  </a:lnTo>
                  <a:lnTo>
                    <a:pt x="0" y="23"/>
                  </a:lnTo>
                  <a:lnTo>
                    <a:pt x="0" y="14"/>
                  </a:lnTo>
                  <a:lnTo>
                    <a:pt x="2" y="9"/>
                  </a:lnTo>
                  <a:lnTo>
                    <a:pt x="2" y="7"/>
                  </a:lnTo>
                  <a:lnTo>
                    <a:pt x="5" y="4"/>
                  </a:lnTo>
                  <a:lnTo>
                    <a:pt x="7" y="4"/>
                  </a:lnTo>
                  <a:lnTo>
                    <a:pt x="9" y="2"/>
                  </a:lnTo>
                  <a:lnTo>
                    <a:pt x="12" y="0"/>
                  </a:lnTo>
                  <a:lnTo>
                    <a:pt x="16"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7" name="Freeform 1641">
              <a:extLst>
                <a:ext uri="{FF2B5EF4-FFF2-40B4-BE49-F238E27FC236}">
                  <a16:creationId xmlns:a16="http://schemas.microsoft.com/office/drawing/2014/main" id="{31FD9B17-E2B4-4280-98CD-26C6A34B29F2}"/>
                </a:ext>
              </a:extLst>
            </p:cNvPr>
            <p:cNvSpPr>
              <a:spLocks/>
            </p:cNvSpPr>
            <p:nvPr/>
          </p:nvSpPr>
          <p:spPr bwMode="auto">
            <a:xfrm>
              <a:off x="2107451" y="2355814"/>
              <a:ext cx="79375" cy="100012"/>
            </a:xfrm>
            <a:custGeom>
              <a:avLst/>
              <a:gdLst>
                <a:gd name="T0" fmla="*/ 16 w 50"/>
                <a:gd name="T1" fmla="*/ 0 h 63"/>
                <a:gd name="T2" fmla="*/ 16 w 50"/>
                <a:gd name="T3" fmla="*/ 0 h 63"/>
                <a:gd name="T4" fmla="*/ 19 w 50"/>
                <a:gd name="T5" fmla="*/ 0 h 63"/>
                <a:gd name="T6" fmla="*/ 24 w 50"/>
                <a:gd name="T7" fmla="*/ 2 h 63"/>
                <a:gd name="T8" fmla="*/ 28 w 50"/>
                <a:gd name="T9" fmla="*/ 7 h 63"/>
                <a:gd name="T10" fmla="*/ 31 w 50"/>
                <a:gd name="T11" fmla="*/ 11 h 63"/>
                <a:gd name="T12" fmla="*/ 31 w 50"/>
                <a:gd name="T13" fmla="*/ 14 h 63"/>
                <a:gd name="T14" fmla="*/ 38 w 50"/>
                <a:gd name="T15" fmla="*/ 14 h 63"/>
                <a:gd name="T16" fmla="*/ 40 w 50"/>
                <a:gd name="T17" fmla="*/ 16 h 63"/>
                <a:gd name="T18" fmla="*/ 42 w 50"/>
                <a:gd name="T19" fmla="*/ 21 h 63"/>
                <a:gd name="T20" fmla="*/ 45 w 50"/>
                <a:gd name="T21" fmla="*/ 23 h 63"/>
                <a:gd name="T22" fmla="*/ 45 w 50"/>
                <a:gd name="T23" fmla="*/ 28 h 63"/>
                <a:gd name="T24" fmla="*/ 47 w 50"/>
                <a:gd name="T25" fmla="*/ 30 h 63"/>
                <a:gd name="T26" fmla="*/ 47 w 50"/>
                <a:gd name="T27" fmla="*/ 33 h 63"/>
                <a:gd name="T28" fmla="*/ 50 w 50"/>
                <a:gd name="T29" fmla="*/ 35 h 63"/>
                <a:gd name="T30" fmla="*/ 47 w 50"/>
                <a:gd name="T31" fmla="*/ 40 h 63"/>
                <a:gd name="T32" fmla="*/ 45 w 50"/>
                <a:gd name="T33" fmla="*/ 42 h 63"/>
                <a:gd name="T34" fmla="*/ 45 w 50"/>
                <a:gd name="T35" fmla="*/ 47 h 63"/>
                <a:gd name="T36" fmla="*/ 42 w 50"/>
                <a:gd name="T37" fmla="*/ 54 h 63"/>
                <a:gd name="T38" fmla="*/ 38 w 50"/>
                <a:gd name="T39" fmla="*/ 54 h 63"/>
                <a:gd name="T40" fmla="*/ 38 w 50"/>
                <a:gd name="T41" fmla="*/ 52 h 63"/>
                <a:gd name="T42" fmla="*/ 35 w 50"/>
                <a:gd name="T43" fmla="*/ 52 h 63"/>
                <a:gd name="T44" fmla="*/ 31 w 50"/>
                <a:gd name="T45" fmla="*/ 52 h 63"/>
                <a:gd name="T46" fmla="*/ 28 w 50"/>
                <a:gd name="T47" fmla="*/ 54 h 63"/>
                <a:gd name="T48" fmla="*/ 26 w 50"/>
                <a:gd name="T49" fmla="*/ 56 h 63"/>
                <a:gd name="T50" fmla="*/ 26 w 50"/>
                <a:gd name="T51" fmla="*/ 61 h 63"/>
                <a:gd name="T52" fmla="*/ 24 w 50"/>
                <a:gd name="T53" fmla="*/ 63 h 63"/>
                <a:gd name="T54" fmla="*/ 19 w 50"/>
                <a:gd name="T55" fmla="*/ 63 h 63"/>
                <a:gd name="T56" fmla="*/ 16 w 50"/>
                <a:gd name="T57" fmla="*/ 61 h 63"/>
                <a:gd name="T58" fmla="*/ 16 w 50"/>
                <a:gd name="T59" fmla="*/ 59 h 63"/>
                <a:gd name="T60" fmla="*/ 16 w 50"/>
                <a:gd name="T61" fmla="*/ 54 h 63"/>
                <a:gd name="T62" fmla="*/ 16 w 50"/>
                <a:gd name="T63" fmla="*/ 49 h 63"/>
                <a:gd name="T64" fmla="*/ 16 w 50"/>
                <a:gd name="T65" fmla="*/ 44 h 63"/>
                <a:gd name="T66" fmla="*/ 14 w 50"/>
                <a:gd name="T67" fmla="*/ 40 h 63"/>
                <a:gd name="T68" fmla="*/ 7 w 50"/>
                <a:gd name="T69" fmla="*/ 33 h 63"/>
                <a:gd name="T70" fmla="*/ 9 w 50"/>
                <a:gd name="T71" fmla="*/ 30 h 63"/>
                <a:gd name="T72" fmla="*/ 5 w 50"/>
                <a:gd name="T73" fmla="*/ 26 h 63"/>
                <a:gd name="T74" fmla="*/ 5 w 50"/>
                <a:gd name="T75" fmla="*/ 23 h 63"/>
                <a:gd name="T76" fmla="*/ 2 w 50"/>
                <a:gd name="T77" fmla="*/ 21 h 63"/>
                <a:gd name="T78" fmla="*/ 0 w 50"/>
                <a:gd name="T79" fmla="*/ 23 h 63"/>
                <a:gd name="T80" fmla="*/ 0 w 50"/>
                <a:gd name="T81" fmla="*/ 14 h 63"/>
                <a:gd name="T82" fmla="*/ 2 w 50"/>
                <a:gd name="T83" fmla="*/ 9 h 63"/>
                <a:gd name="T84" fmla="*/ 2 w 50"/>
                <a:gd name="T85" fmla="*/ 7 h 63"/>
                <a:gd name="T86" fmla="*/ 5 w 50"/>
                <a:gd name="T87" fmla="*/ 4 h 63"/>
                <a:gd name="T88" fmla="*/ 7 w 50"/>
                <a:gd name="T89" fmla="*/ 4 h 63"/>
                <a:gd name="T90" fmla="*/ 9 w 50"/>
                <a:gd name="T91" fmla="*/ 2 h 63"/>
                <a:gd name="T92" fmla="*/ 12 w 50"/>
                <a:gd name="T93" fmla="*/ 0 h 63"/>
                <a:gd name="T94" fmla="*/ 16 w 50"/>
                <a:gd name="T9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63">
                  <a:moveTo>
                    <a:pt x="16" y="0"/>
                  </a:moveTo>
                  <a:lnTo>
                    <a:pt x="16" y="0"/>
                  </a:lnTo>
                  <a:lnTo>
                    <a:pt x="19" y="0"/>
                  </a:lnTo>
                  <a:lnTo>
                    <a:pt x="24" y="2"/>
                  </a:lnTo>
                  <a:lnTo>
                    <a:pt x="28" y="7"/>
                  </a:lnTo>
                  <a:lnTo>
                    <a:pt x="31" y="11"/>
                  </a:lnTo>
                  <a:lnTo>
                    <a:pt x="31" y="14"/>
                  </a:lnTo>
                  <a:lnTo>
                    <a:pt x="38" y="14"/>
                  </a:lnTo>
                  <a:lnTo>
                    <a:pt x="40" y="16"/>
                  </a:lnTo>
                  <a:lnTo>
                    <a:pt x="42" y="21"/>
                  </a:lnTo>
                  <a:lnTo>
                    <a:pt x="45" y="23"/>
                  </a:lnTo>
                  <a:lnTo>
                    <a:pt x="45" y="28"/>
                  </a:lnTo>
                  <a:lnTo>
                    <a:pt x="47" y="30"/>
                  </a:lnTo>
                  <a:lnTo>
                    <a:pt x="47" y="33"/>
                  </a:lnTo>
                  <a:lnTo>
                    <a:pt x="50" y="35"/>
                  </a:lnTo>
                  <a:lnTo>
                    <a:pt x="47" y="40"/>
                  </a:lnTo>
                  <a:lnTo>
                    <a:pt x="45" y="42"/>
                  </a:lnTo>
                  <a:lnTo>
                    <a:pt x="45" y="47"/>
                  </a:lnTo>
                  <a:lnTo>
                    <a:pt x="42" y="54"/>
                  </a:lnTo>
                  <a:lnTo>
                    <a:pt x="38" y="54"/>
                  </a:lnTo>
                  <a:lnTo>
                    <a:pt x="38" y="52"/>
                  </a:lnTo>
                  <a:lnTo>
                    <a:pt x="35" y="52"/>
                  </a:lnTo>
                  <a:lnTo>
                    <a:pt x="31" y="52"/>
                  </a:lnTo>
                  <a:lnTo>
                    <a:pt x="28" y="54"/>
                  </a:lnTo>
                  <a:lnTo>
                    <a:pt x="26" y="56"/>
                  </a:lnTo>
                  <a:lnTo>
                    <a:pt x="26" y="61"/>
                  </a:lnTo>
                  <a:lnTo>
                    <a:pt x="24" y="63"/>
                  </a:lnTo>
                  <a:lnTo>
                    <a:pt x="19" y="63"/>
                  </a:lnTo>
                  <a:lnTo>
                    <a:pt x="16" y="61"/>
                  </a:lnTo>
                  <a:lnTo>
                    <a:pt x="16" y="59"/>
                  </a:lnTo>
                  <a:lnTo>
                    <a:pt x="16" y="54"/>
                  </a:lnTo>
                  <a:lnTo>
                    <a:pt x="16" y="49"/>
                  </a:lnTo>
                  <a:lnTo>
                    <a:pt x="16" y="44"/>
                  </a:lnTo>
                  <a:lnTo>
                    <a:pt x="14" y="40"/>
                  </a:lnTo>
                  <a:lnTo>
                    <a:pt x="7" y="33"/>
                  </a:lnTo>
                  <a:lnTo>
                    <a:pt x="9" y="30"/>
                  </a:lnTo>
                  <a:lnTo>
                    <a:pt x="5" y="26"/>
                  </a:lnTo>
                  <a:lnTo>
                    <a:pt x="5" y="23"/>
                  </a:lnTo>
                  <a:lnTo>
                    <a:pt x="2" y="21"/>
                  </a:lnTo>
                  <a:lnTo>
                    <a:pt x="0" y="23"/>
                  </a:lnTo>
                  <a:lnTo>
                    <a:pt x="0" y="14"/>
                  </a:lnTo>
                  <a:lnTo>
                    <a:pt x="2" y="9"/>
                  </a:lnTo>
                  <a:lnTo>
                    <a:pt x="2" y="7"/>
                  </a:lnTo>
                  <a:lnTo>
                    <a:pt x="5" y="4"/>
                  </a:lnTo>
                  <a:lnTo>
                    <a:pt x="7" y="4"/>
                  </a:lnTo>
                  <a:lnTo>
                    <a:pt x="9" y="2"/>
                  </a:lnTo>
                  <a:lnTo>
                    <a:pt x="12" y="0"/>
                  </a:lnTo>
                  <a:lnTo>
                    <a:pt x="16" y="0"/>
                  </a:lnTo>
                </a:path>
              </a:pathLst>
            </a:custGeom>
            <a:solidFill>
              <a:srgbClr val="C3E2BC"/>
            </a:solid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8" name="Freeform 1642">
              <a:extLst>
                <a:ext uri="{FF2B5EF4-FFF2-40B4-BE49-F238E27FC236}">
                  <a16:creationId xmlns:a16="http://schemas.microsoft.com/office/drawing/2014/main" id="{A1594602-31E8-415C-B261-FF46ED405750}"/>
                </a:ext>
              </a:extLst>
            </p:cNvPr>
            <p:cNvSpPr>
              <a:spLocks/>
            </p:cNvSpPr>
            <p:nvPr/>
          </p:nvSpPr>
          <p:spPr bwMode="auto">
            <a:xfrm>
              <a:off x="4150561" y="2673314"/>
              <a:ext cx="165100" cy="203200"/>
            </a:xfrm>
            <a:custGeom>
              <a:avLst/>
              <a:gdLst>
                <a:gd name="T0" fmla="*/ 102 w 104"/>
                <a:gd name="T1" fmla="*/ 0 h 128"/>
                <a:gd name="T2" fmla="*/ 104 w 104"/>
                <a:gd name="T3" fmla="*/ 5 h 128"/>
                <a:gd name="T4" fmla="*/ 102 w 104"/>
                <a:gd name="T5" fmla="*/ 17 h 128"/>
                <a:gd name="T6" fmla="*/ 102 w 104"/>
                <a:gd name="T7" fmla="*/ 29 h 128"/>
                <a:gd name="T8" fmla="*/ 100 w 104"/>
                <a:gd name="T9" fmla="*/ 48 h 128"/>
                <a:gd name="T10" fmla="*/ 90 w 104"/>
                <a:gd name="T11" fmla="*/ 66 h 128"/>
                <a:gd name="T12" fmla="*/ 88 w 104"/>
                <a:gd name="T13" fmla="*/ 62 h 128"/>
                <a:gd name="T14" fmla="*/ 85 w 104"/>
                <a:gd name="T15" fmla="*/ 69 h 128"/>
                <a:gd name="T16" fmla="*/ 88 w 104"/>
                <a:gd name="T17" fmla="*/ 74 h 128"/>
                <a:gd name="T18" fmla="*/ 81 w 104"/>
                <a:gd name="T19" fmla="*/ 78 h 128"/>
                <a:gd name="T20" fmla="*/ 74 w 104"/>
                <a:gd name="T21" fmla="*/ 90 h 128"/>
                <a:gd name="T22" fmla="*/ 57 w 104"/>
                <a:gd name="T23" fmla="*/ 95 h 128"/>
                <a:gd name="T24" fmla="*/ 50 w 104"/>
                <a:gd name="T25" fmla="*/ 102 h 128"/>
                <a:gd name="T26" fmla="*/ 43 w 104"/>
                <a:gd name="T27" fmla="*/ 109 h 128"/>
                <a:gd name="T28" fmla="*/ 33 w 104"/>
                <a:gd name="T29" fmla="*/ 123 h 128"/>
                <a:gd name="T30" fmla="*/ 15 w 104"/>
                <a:gd name="T31" fmla="*/ 128 h 128"/>
                <a:gd name="T32" fmla="*/ 0 w 104"/>
                <a:gd name="T33" fmla="*/ 123 h 128"/>
                <a:gd name="T34" fmla="*/ 7 w 104"/>
                <a:gd name="T35" fmla="*/ 118 h 128"/>
                <a:gd name="T36" fmla="*/ 15 w 104"/>
                <a:gd name="T37" fmla="*/ 118 h 128"/>
                <a:gd name="T38" fmla="*/ 24 w 104"/>
                <a:gd name="T39" fmla="*/ 116 h 128"/>
                <a:gd name="T40" fmla="*/ 36 w 104"/>
                <a:gd name="T41" fmla="*/ 100 h 128"/>
                <a:gd name="T42" fmla="*/ 50 w 104"/>
                <a:gd name="T43" fmla="*/ 88 h 128"/>
                <a:gd name="T44" fmla="*/ 57 w 104"/>
                <a:gd name="T45" fmla="*/ 83 h 128"/>
                <a:gd name="T46" fmla="*/ 67 w 104"/>
                <a:gd name="T47" fmla="*/ 76 h 128"/>
                <a:gd name="T48" fmla="*/ 59 w 104"/>
                <a:gd name="T49" fmla="*/ 81 h 128"/>
                <a:gd name="T50" fmla="*/ 57 w 104"/>
                <a:gd name="T51" fmla="*/ 76 h 128"/>
                <a:gd name="T52" fmla="*/ 71 w 104"/>
                <a:gd name="T53" fmla="*/ 62 h 128"/>
                <a:gd name="T54" fmla="*/ 78 w 104"/>
                <a:gd name="T55" fmla="*/ 50 h 128"/>
                <a:gd name="T56" fmla="*/ 83 w 104"/>
                <a:gd name="T57" fmla="*/ 40 h 128"/>
                <a:gd name="T58" fmla="*/ 95 w 104"/>
                <a:gd name="T59" fmla="*/ 17 h 128"/>
                <a:gd name="T60" fmla="*/ 95 w 104"/>
                <a:gd name="T61" fmla="*/ 5 h 128"/>
                <a:gd name="T62" fmla="*/ 100 w 104"/>
                <a:gd name="T6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28">
                  <a:moveTo>
                    <a:pt x="100" y="0"/>
                  </a:moveTo>
                  <a:lnTo>
                    <a:pt x="102" y="0"/>
                  </a:lnTo>
                  <a:lnTo>
                    <a:pt x="104" y="3"/>
                  </a:lnTo>
                  <a:lnTo>
                    <a:pt x="104" y="5"/>
                  </a:lnTo>
                  <a:lnTo>
                    <a:pt x="104" y="12"/>
                  </a:lnTo>
                  <a:lnTo>
                    <a:pt x="102" y="17"/>
                  </a:lnTo>
                  <a:lnTo>
                    <a:pt x="102" y="24"/>
                  </a:lnTo>
                  <a:lnTo>
                    <a:pt x="102" y="29"/>
                  </a:lnTo>
                  <a:lnTo>
                    <a:pt x="100" y="40"/>
                  </a:lnTo>
                  <a:lnTo>
                    <a:pt x="100" y="48"/>
                  </a:lnTo>
                  <a:lnTo>
                    <a:pt x="97" y="55"/>
                  </a:lnTo>
                  <a:lnTo>
                    <a:pt x="90" y="66"/>
                  </a:lnTo>
                  <a:lnTo>
                    <a:pt x="90" y="59"/>
                  </a:lnTo>
                  <a:lnTo>
                    <a:pt x="88" y="62"/>
                  </a:lnTo>
                  <a:lnTo>
                    <a:pt x="83" y="69"/>
                  </a:lnTo>
                  <a:lnTo>
                    <a:pt x="85" y="69"/>
                  </a:lnTo>
                  <a:lnTo>
                    <a:pt x="88" y="69"/>
                  </a:lnTo>
                  <a:lnTo>
                    <a:pt x="88" y="74"/>
                  </a:lnTo>
                  <a:lnTo>
                    <a:pt x="83" y="76"/>
                  </a:lnTo>
                  <a:lnTo>
                    <a:pt x="81" y="78"/>
                  </a:lnTo>
                  <a:lnTo>
                    <a:pt x="78" y="85"/>
                  </a:lnTo>
                  <a:lnTo>
                    <a:pt x="74" y="90"/>
                  </a:lnTo>
                  <a:lnTo>
                    <a:pt x="64" y="92"/>
                  </a:lnTo>
                  <a:lnTo>
                    <a:pt x="57" y="95"/>
                  </a:lnTo>
                  <a:lnTo>
                    <a:pt x="55" y="100"/>
                  </a:lnTo>
                  <a:lnTo>
                    <a:pt x="50" y="102"/>
                  </a:lnTo>
                  <a:lnTo>
                    <a:pt x="48" y="102"/>
                  </a:lnTo>
                  <a:lnTo>
                    <a:pt x="43" y="109"/>
                  </a:lnTo>
                  <a:lnTo>
                    <a:pt x="38" y="116"/>
                  </a:lnTo>
                  <a:lnTo>
                    <a:pt x="33" y="123"/>
                  </a:lnTo>
                  <a:lnTo>
                    <a:pt x="24" y="126"/>
                  </a:lnTo>
                  <a:lnTo>
                    <a:pt x="15" y="128"/>
                  </a:lnTo>
                  <a:lnTo>
                    <a:pt x="5" y="126"/>
                  </a:lnTo>
                  <a:lnTo>
                    <a:pt x="0" y="123"/>
                  </a:lnTo>
                  <a:lnTo>
                    <a:pt x="0" y="121"/>
                  </a:lnTo>
                  <a:lnTo>
                    <a:pt x="7" y="118"/>
                  </a:lnTo>
                  <a:lnTo>
                    <a:pt x="12" y="116"/>
                  </a:lnTo>
                  <a:lnTo>
                    <a:pt x="15" y="118"/>
                  </a:lnTo>
                  <a:lnTo>
                    <a:pt x="19" y="116"/>
                  </a:lnTo>
                  <a:lnTo>
                    <a:pt x="24" y="116"/>
                  </a:lnTo>
                  <a:lnTo>
                    <a:pt x="29" y="111"/>
                  </a:lnTo>
                  <a:lnTo>
                    <a:pt x="36" y="100"/>
                  </a:lnTo>
                  <a:lnTo>
                    <a:pt x="41" y="97"/>
                  </a:lnTo>
                  <a:lnTo>
                    <a:pt x="50" y="88"/>
                  </a:lnTo>
                  <a:lnTo>
                    <a:pt x="55" y="85"/>
                  </a:lnTo>
                  <a:lnTo>
                    <a:pt x="57" y="83"/>
                  </a:lnTo>
                  <a:lnTo>
                    <a:pt x="62" y="81"/>
                  </a:lnTo>
                  <a:lnTo>
                    <a:pt x="67" y="76"/>
                  </a:lnTo>
                  <a:lnTo>
                    <a:pt x="69" y="74"/>
                  </a:lnTo>
                  <a:lnTo>
                    <a:pt x="59" y="81"/>
                  </a:lnTo>
                  <a:lnTo>
                    <a:pt x="55" y="83"/>
                  </a:lnTo>
                  <a:lnTo>
                    <a:pt x="57" y="76"/>
                  </a:lnTo>
                  <a:lnTo>
                    <a:pt x="62" y="71"/>
                  </a:lnTo>
                  <a:lnTo>
                    <a:pt x="71" y="62"/>
                  </a:lnTo>
                  <a:lnTo>
                    <a:pt x="74" y="57"/>
                  </a:lnTo>
                  <a:lnTo>
                    <a:pt x="78" y="50"/>
                  </a:lnTo>
                  <a:lnTo>
                    <a:pt x="81" y="45"/>
                  </a:lnTo>
                  <a:lnTo>
                    <a:pt x="83" y="40"/>
                  </a:lnTo>
                  <a:lnTo>
                    <a:pt x="85" y="33"/>
                  </a:lnTo>
                  <a:lnTo>
                    <a:pt x="95" y="17"/>
                  </a:lnTo>
                  <a:lnTo>
                    <a:pt x="95" y="12"/>
                  </a:lnTo>
                  <a:lnTo>
                    <a:pt x="95" y="5"/>
                  </a:lnTo>
                  <a:lnTo>
                    <a:pt x="97" y="3"/>
                  </a:lnTo>
                  <a:lnTo>
                    <a:pt x="100" y="0"/>
                  </a:lnTo>
                  <a:lnTo>
                    <a:pt x="10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59" name="Freeform 1643">
              <a:extLst>
                <a:ext uri="{FF2B5EF4-FFF2-40B4-BE49-F238E27FC236}">
                  <a16:creationId xmlns:a16="http://schemas.microsoft.com/office/drawing/2014/main" id="{49DECE5A-9608-4395-A112-1D1A1066D1CA}"/>
                </a:ext>
              </a:extLst>
            </p:cNvPr>
            <p:cNvSpPr>
              <a:spLocks/>
            </p:cNvSpPr>
            <p:nvPr/>
          </p:nvSpPr>
          <p:spPr bwMode="auto">
            <a:xfrm>
              <a:off x="4150561" y="2673314"/>
              <a:ext cx="165100" cy="203200"/>
            </a:xfrm>
            <a:custGeom>
              <a:avLst/>
              <a:gdLst>
                <a:gd name="T0" fmla="*/ 102 w 104"/>
                <a:gd name="T1" fmla="*/ 0 h 128"/>
                <a:gd name="T2" fmla="*/ 104 w 104"/>
                <a:gd name="T3" fmla="*/ 5 h 128"/>
                <a:gd name="T4" fmla="*/ 102 w 104"/>
                <a:gd name="T5" fmla="*/ 17 h 128"/>
                <a:gd name="T6" fmla="*/ 102 w 104"/>
                <a:gd name="T7" fmla="*/ 29 h 128"/>
                <a:gd name="T8" fmla="*/ 100 w 104"/>
                <a:gd name="T9" fmla="*/ 48 h 128"/>
                <a:gd name="T10" fmla="*/ 90 w 104"/>
                <a:gd name="T11" fmla="*/ 66 h 128"/>
                <a:gd name="T12" fmla="*/ 88 w 104"/>
                <a:gd name="T13" fmla="*/ 62 h 128"/>
                <a:gd name="T14" fmla="*/ 85 w 104"/>
                <a:gd name="T15" fmla="*/ 69 h 128"/>
                <a:gd name="T16" fmla="*/ 88 w 104"/>
                <a:gd name="T17" fmla="*/ 74 h 128"/>
                <a:gd name="T18" fmla="*/ 81 w 104"/>
                <a:gd name="T19" fmla="*/ 78 h 128"/>
                <a:gd name="T20" fmla="*/ 74 w 104"/>
                <a:gd name="T21" fmla="*/ 90 h 128"/>
                <a:gd name="T22" fmla="*/ 57 w 104"/>
                <a:gd name="T23" fmla="*/ 95 h 128"/>
                <a:gd name="T24" fmla="*/ 50 w 104"/>
                <a:gd name="T25" fmla="*/ 102 h 128"/>
                <a:gd name="T26" fmla="*/ 43 w 104"/>
                <a:gd name="T27" fmla="*/ 109 h 128"/>
                <a:gd name="T28" fmla="*/ 33 w 104"/>
                <a:gd name="T29" fmla="*/ 123 h 128"/>
                <a:gd name="T30" fmla="*/ 15 w 104"/>
                <a:gd name="T31" fmla="*/ 128 h 128"/>
                <a:gd name="T32" fmla="*/ 0 w 104"/>
                <a:gd name="T33" fmla="*/ 123 h 128"/>
                <a:gd name="T34" fmla="*/ 7 w 104"/>
                <a:gd name="T35" fmla="*/ 118 h 128"/>
                <a:gd name="T36" fmla="*/ 15 w 104"/>
                <a:gd name="T37" fmla="*/ 118 h 128"/>
                <a:gd name="T38" fmla="*/ 24 w 104"/>
                <a:gd name="T39" fmla="*/ 116 h 128"/>
                <a:gd name="T40" fmla="*/ 36 w 104"/>
                <a:gd name="T41" fmla="*/ 100 h 128"/>
                <a:gd name="T42" fmla="*/ 50 w 104"/>
                <a:gd name="T43" fmla="*/ 88 h 128"/>
                <a:gd name="T44" fmla="*/ 57 w 104"/>
                <a:gd name="T45" fmla="*/ 83 h 128"/>
                <a:gd name="T46" fmla="*/ 67 w 104"/>
                <a:gd name="T47" fmla="*/ 76 h 128"/>
                <a:gd name="T48" fmla="*/ 59 w 104"/>
                <a:gd name="T49" fmla="*/ 81 h 128"/>
                <a:gd name="T50" fmla="*/ 57 w 104"/>
                <a:gd name="T51" fmla="*/ 76 h 128"/>
                <a:gd name="T52" fmla="*/ 71 w 104"/>
                <a:gd name="T53" fmla="*/ 62 h 128"/>
                <a:gd name="T54" fmla="*/ 78 w 104"/>
                <a:gd name="T55" fmla="*/ 50 h 128"/>
                <a:gd name="T56" fmla="*/ 83 w 104"/>
                <a:gd name="T57" fmla="*/ 40 h 128"/>
                <a:gd name="T58" fmla="*/ 95 w 104"/>
                <a:gd name="T59" fmla="*/ 17 h 128"/>
                <a:gd name="T60" fmla="*/ 95 w 104"/>
                <a:gd name="T61" fmla="*/ 5 h 128"/>
                <a:gd name="T62" fmla="*/ 100 w 104"/>
                <a:gd name="T6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28">
                  <a:moveTo>
                    <a:pt x="100" y="0"/>
                  </a:moveTo>
                  <a:lnTo>
                    <a:pt x="102" y="0"/>
                  </a:lnTo>
                  <a:lnTo>
                    <a:pt x="104" y="3"/>
                  </a:lnTo>
                  <a:lnTo>
                    <a:pt x="104" y="5"/>
                  </a:lnTo>
                  <a:lnTo>
                    <a:pt x="104" y="12"/>
                  </a:lnTo>
                  <a:lnTo>
                    <a:pt x="102" y="17"/>
                  </a:lnTo>
                  <a:lnTo>
                    <a:pt x="102" y="24"/>
                  </a:lnTo>
                  <a:lnTo>
                    <a:pt x="102" y="29"/>
                  </a:lnTo>
                  <a:lnTo>
                    <a:pt x="100" y="40"/>
                  </a:lnTo>
                  <a:lnTo>
                    <a:pt x="100" y="48"/>
                  </a:lnTo>
                  <a:lnTo>
                    <a:pt x="97" y="55"/>
                  </a:lnTo>
                  <a:lnTo>
                    <a:pt x="90" y="66"/>
                  </a:lnTo>
                  <a:lnTo>
                    <a:pt x="90" y="59"/>
                  </a:lnTo>
                  <a:lnTo>
                    <a:pt x="88" y="62"/>
                  </a:lnTo>
                  <a:lnTo>
                    <a:pt x="83" y="69"/>
                  </a:lnTo>
                  <a:lnTo>
                    <a:pt x="85" y="69"/>
                  </a:lnTo>
                  <a:lnTo>
                    <a:pt x="88" y="69"/>
                  </a:lnTo>
                  <a:lnTo>
                    <a:pt x="88" y="74"/>
                  </a:lnTo>
                  <a:lnTo>
                    <a:pt x="83" y="76"/>
                  </a:lnTo>
                  <a:lnTo>
                    <a:pt x="81" y="78"/>
                  </a:lnTo>
                  <a:lnTo>
                    <a:pt x="78" y="85"/>
                  </a:lnTo>
                  <a:lnTo>
                    <a:pt x="74" y="90"/>
                  </a:lnTo>
                  <a:lnTo>
                    <a:pt x="64" y="92"/>
                  </a:lnTo>
                  <a:lnTo>
                    <a:pt x="57" y="95"/>
                  </a:lnTo>
                  <a:lnTo>
                    <a:pt x="55" y="100"/>
                  </a:lnTo>
                  <a:lnTo>
                    <a:pt x="50" y="102"/>
                  </a:lnTo>
                  <a:lnTo>
                    <a:pt x="48" y="102"/>
                  </a:lnTo>
                  <a:lnTo>
                    <a:pt x="43" y="109"/>
                  </a:lnTo>
                  <a:lnTo>
                    <a:pt x="38" y="116"/>
                  </a:lnTo>
                  <a:lnTo>
                    <a:pt x="33" y="123"/>
                  </a:lnTo>
                  <a:lnTo>
                    <a:pt x="24" y="126"/>
                  </a:lnTo>
                  <a:lnTo>
                    <a:pt x="15" y="128"/>
                  </a:lnTo>
                  <a:lnTo>
                    <a:pt x="5" y="126"/>
                  </a:lnTo>
                  <a:lnTo>
                    <a:pt x="0" y="123"/>
                  </a:lnTo>
                  <a:lnTo>
                    <a:pt x="0" y="121"/>
                  </a:lnTo>
                  <a:lnTo>
                    <a:pt x="7" y="118"/>
                  </a:lnTo>
                  <a:lnTo>
                    <a:pt x="12" y="116"/>
                  </a:lnTo>
                  <a:lnTo>
                    <a:pt x="15" y="118"/>
                  </a:lnTo>
                  <a:lnTo>
                    <a:pt x="19" y="116"/>
                  </a:lnTo>
                  <a:lnTo>
                    <a:pt x="24" y="116"/>
                  </a:lnTo>
                  <a:lnTo>
                    <a:pt x="29" y="111"/>
                  </a:lnTo>
                  <a:lnTo>
                    <a:pt x="36" y="100"/>
                  </a:lnTo>
                  <a:lnTo>
                    <a:pt x="41" y="97"/>
                  </a:lnTo>
                  <a:lnTo>
                    <a:pt x="50" y="88"/>
                  </a:lnTo>
                  <a:lnTo>
                    <a:pt x="55" y="85"/>
                  </a:lnTo>
                  <a:lnTo>
                    <a:pt x="57" y="83"/>
                  </a:lnTo>
                  <a:lnTo>
                    <a:pt x="62" y="81"/>
                  </a:lnTo>
                  <a:lnTo>
                    <a:pt x="67" y="76"/>
                  </a:lnTo>
                  <a:lnTo>
                    <a:pt x="69" y="74"/>
                  </a:lnTo>
                  <a:lnTo>
                    <a:pt x="59" y="81"/>
                  </a:lnTo>
                  <a:lnTo>
                    <a:pt x="55" y="83"/>
                  </a:lnTo>
                  <a:lnTo>
                    <a:pt x="57" y="76"/>
                  </a:lnTo>
                  <a:lnTo>
                    <a:pt x="62" y="71"/>
                  </a:lnTo>
                  <a:lnTo>
                    <a:pt x="71" y="62"/>
                  </a:lnTo>
                  <a:lnTo>
                    <a:pt x="74" y="57"/>
                  </a:lnTo>
                  <a:lnTo>
                    <a:pt x="78" y="50"/>
                  </a:lnTo>
                  <a:lnTo>
                    <a:pt x="81" y="45"/>
                  </a:lnTo>
                  <a:lnTo>
                    <a:pt x="83" y="40"/>
                  </a:lnTo>
                  <a:lnTo>
                    <a:pt x="85" y="33"/>
                  </a:lnTo>
                  <a:lnTo>
                    <a:pt x="95" y="17"/>
                  </a:lnTo>
                  <a:lnTo>
                    <a:pt x="95" y="12"/>
                  </a:lnTo>
                  <a:lnTo>
                    <a:pt x="95" y="5"/>
                  </a:lnTo>
                  <a:lnTo>
                    <a:pt x="97" y="3"/>
                  </a:lnTo>
                  <a:lnTo>
                    <a:pt x="100" y="0"/>
                  </a:lnTo>
                  <a:lnTo>
                    <a:pt x="100" y="0"/>
                  </a:lnTo>
                </a:path>
              </a:pathLst>
            </a:custGeom>
            <a:solidFill>
              <a:srgbClr val="FFFFFF"/>
            </a:solid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0" name="Freeform 1644">
              <a:extLst>
                <a:ext uri="{FF2B5EF4-FFF2-40B4-BE49-F238E27FC236}">
                  <a16:creationId xmlns:a16="http://schemas.microsoft.com/office/drawing/2014/main" id="{72502DED-1F3D-49AA-A998-70F711CA0475}"/>
                </a:ext>
              </a:extLst>
            </p:cNvPr>
            <p:cNvSpPr>
              <a:spLocks/>
            </p:cNvSpPr>
            <p:nvPr/>
          </p:nvSpPr>
          <p:spPr bwMode="auto">
            <a:xfrm>
              <a:off x="2228102" y="2279614"/>
              <a:ext cx="58738" cy="123825"/>
            </a:xfrm>
            <a:custGeom>
              <a:avLst/>
              <a:gdLst>
                <a:gd name="T0" fmla="*/ 33 w 37"/>
                <a:gd name="T1" fmla="*/ 69 h 78"/>
                <a:gd name="T2" fmla="*/ 37 w 37"/>
                <a:gd name="T3" fmla="*/ 66 h 78"/>
                <a:gd name="T4" fmla="*/ 35 w 37"/>
                <a:gd name="T5" fmla="*/ 64 h 78"/>
                <a:gd name="T6" fmla="*/ 35 w 37"/>
                <a:gd name="T7" fmla="*/ 62 h 78"/>
                <a:gd name="T8" fmla="*/ 35 w 37"/>
                <a:gd name="T9" fmla="*/ 57 h 78"/>
                <a:gd name="T10" fmla="*/ 33 w 37"/>
                <a:gd name="T11" fmla="*/ 55 h 78"/>
                <a:gd name="T12" fmla="*/ 28 w 37"/>
                <a:gd name="T13" fmla="*/ 48 h 78"/>
                <a:gd name="T14" fmla="*/ 30 w 37"/>
                <a:gd name="T15" fmla="*/ 45 h 78"/>
                <a:gd name="T16" fmla="*/ 26 w 37"/>
                <a:gd name="T17" fmla="*/ 40 h 78"/>
                <a:gd name="T18" fmla="*/ 26 w 37"/>
                <a:gd name="T19" fmla="*/ 38 h 78"/>
                <a:gd name="T20" fmla="*/ 26 w 37"/>
                <a:gd name="T21" fmla="*/ 38 h 78"/>
                <a:gd name="T22" fmla="*/ 23 w 37"/>
                <a:gd name="T23" fmla="*/ 36 h 78"/>
                <a:gd name="T24" fmla="*/ 23 w 37"/>
                <a:gd name="T25" fmla="*/ 33 h 78"/>
                <a:gd name="T26" fmla="*/ 26 w 37"/>
                <a:gd name="T27" fmla="*/ 22 h 78"/>
                <a:gd name="T28" fmla="*/ 26 w 37"/>
                <a:gd name="T29" fmla="*/ 17 h 78"/>
                <a:gd name="T30" fmla="*/ 18 w 37"/>
                <a:gd name="T31" fmla="*/ 12 h 78"/>
                <a:gd name="T32" fmla="*/ 11 w 37"/>
                <a:gd name="T33" fmla="*/ 7 h 78"/>
                <a:gd name="T34" fmla="*/ 7 w 37"/>
                <a:gd name="T35" fmla="*/ 3 h 78"/>
                <a:gd name="T36" fmla="*/ 2 w 37"/>
                <a:gd name="T37" fmla="*/ 0 h 78"/>
                <a:gd name="T38" fmla="*/ 2 w 37"/>
                <a:gd name="T39" fmla="*/ 3 h 78"/>
                <a:gd name="T40" fmla="*/ 9 w 37"/>
                <a:gd name="T41" fmla="*/ 15 h 78"/>
                <a:gd name="T42" fmla="*/ 11 w 37"/>
                <a:gd name="T43" fmla="*/ 12 h 78"/>
                <a:gd name="T44" fmla="*/ 16 w 37"/>
                <a:gd name="T45" fmla="*/ 15 h 78"/>
                <a:gd name="T46" fmla="*/ 21 w 37"/>
                <a:gd name="T47" fmla="*/ 26 h 78"/>
                <a:gd name="T48" fmla="*/ 18 w 37"/>
                <a:gd name="T49" fmla="*/ 29 h 78"/>
                <a:gd name="T50" fmla="*/ 11 w 37"/>
                <a:gd name="T51" fmla="*/ 26 h 78"/>
                <a:gd name="T52" fmla="*/ 11 w 37"/>
                <a:gd name="T53" fmla="*/ 29 h 78"/>
                <a:gd name="T54" fmla="*/ 14 w 37"/>
                <a:gd name="T55" fmla="*/ 33 h 78"/>
                <a:gd name="T56" fmla="*/ 14 w 37"/>
                <a:gd name="T57" fmla="*/ 33 h 78"/>
                <a:gd name="T58" fmla="*/ 9 w 37"/>
                <a:gd name="T59" fmla="*/ 29 h 78"/>
                <a:gd name="T60" fmla="*/ 7 w 37"/>
                <a:gd name="T61" fmla="*/ 19 h 78"/>
                <a:gd name="T62" fmla="*/ 2 w 37"/>
                <a:gd name="T63" fmla="*/ 15 h 78"/>
                <a:gd name="T64" fmla="*/ 2 w 37"/>
                <a:gd name="T65" fmla="*/ 19 h 78"/>
                <a:gd name="T66" fmla="*/ 4 w 37"/>
                <a:gd name="T67" fmla="*/ 29 h 78"/>
                <a:gd name="T68" fmla="*/ 7 w 37"/>
                <a:gd name="T69" fmla="*/ 33 h 78"/>
                <a:gd name="T70" fmla="*/ 7 w 37"/>
                <a:gd name="T71" fmla="*/ 36 h 78"/>
                <a:gd name="T72" fmla="*/ 0 w 37"/>
                <a:gd name="T73" fmla="*/ 29 h 78"/>
                <a:gd name="T74" fmla="*/ 0 w 37"/>
                <a:gd name="T75" fmla="*/ 31 h 78"/>
                <a:gd name="T76" fmla="*/ 2 w 37"/>
                <a:gd name="T77" fmla="*/ 36 h 78"/>
                <a:gd name="T78" fmla="*/ 4 w 37"/>
                <a:gd name="T79" fmla="*/ 40 h 78"/>
                <a:gd name="T80" fmla="*/ 4 w 37"/>
                <a:gd name="T81" fmla="*/ 43 h 78"/>
                <a:gd name="T82" fmla="*/ 0 w 37"/>
                <a:gd name="T83" fmla="*/ 40 h 78"/>
                <a:gd name="T84" fmla="*/ 0 w 37"/>
                <a:gd name="T85" fmla="*/ 43 h 78"/>
                <a:gd name="T86" fmla="*/ 4 w 37"/>
                <a:gd name="T87" fmla="*/ 50 h 78"/>
                <a:gd name="T88" fmla="*/ 16 w 37"/>
                <a:gd name="T89" fmla="*/ 55 h 78"/>
                <a:gd name="T90" fmla="*/ 21 w 37"/>
                <a:gd name="T91" fmla="*/ 64 h 78"/>
                <a:gd name="T92" fmla="*/ 23 w 37"/>
                <a:gd name="T93" fmla="*/ 69 h 78"/>
                <a:gd name="T94" fmla="*/ 21 w 37"/>
                <a:gd name="T95" fmla="*/ 74 h 78"/>
                <a:gd name="T96" fmla="*/ 21 w 37"/>
                <a:gd name="T97" fmla="*/ 76 h 78"/>
                <a:gd name="T98" fmla="*/ 23 w 37"/>
                <a:gd name="T99" fmla="*/ 76 h 78"/>
                <a:gd name="T100" fmla="*/ 26 w 37"/>
                <a:gd name="T101" fmla="*/ 78 h 78"/>
                <a:gd name="T102" fmla="*/ 28 w 37"/>
                <a:gd name="T103" fmla="*/ 76 h 78"/>
                <a:gd name="T104" fmla="*/ 30 w 37"/>
                <a:gd name="T105" fmla="*/ 69 h 78"/>
                <a:gd name="T106" fmla="*/ 33 w 37"/>
                <a:gd name="T10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 h="78">
                  <a:moveTo>
                    <a:pt x="33" y="69"/>
                  </a:moveTo>
                  <a:lnTo>
                    <a:pt x="37" y="66"/>
                  </a:lnTo>
                  <a:lnTo>
                    <a:pt x="35" y="64"/>
                  </a:lnTo>
                  <a:lnTo>
                    <a:pt x="35" y="62"/>
                  </a:lnTo>
                  <a:lnTo>
                    <a:pt x="35" y="57"/>
                  </a:lnTo>
                  <a:lnTo>
                    <a:pt x="33" y="55"/>
                  </a:lnTo>
                  <a:lnTo>
                    <a:pt x="28" y="48"/>
                  </a:lnTo>
                  <a:lnTo>
                    <a:pt x="30" y="45"/>
                  </a:lnTo>
                  <a:lnTo>
                    <a:pt x="26" y="40"/>
                  </a:lnTo>
                  <a:lnTo>
                    <a:pt x="26" y="38"/>
                  </a:lnTo>
                  <a:lnTo>
                    <a:pt x="26" y="38"/>
                  </a:lnTo>
                  <a:lnTo>
                    <a:pt x="23" y="36"/>
                  </a:lnTo>
                  <a:lnTo>
                    <a:pt x="23" y="33"/>
                  </a:lnTo>
                  <a:lnTo>
                    <a:pt x="26" y="22"/>
                  </a:lnTo>
                  <a:lnTo>
                    <a:pt x="26" y="17"/>
                  </a:lnTo>
                  <a:lnTo>
                    <a:pt x="18" y="12"/>
                  </a:lnTo>
                  <a:lnTo>
                    <a:pt x="11" y="7"/>
                  </a:lnTo>
                  <a:lnTo>
                    <a:pt x="7" y="3"/>
                  </a:lnTo>
                  <a:lnTo>
                    <a:pt x="2" y="0"/>
                  </a:lnTo>
                  <a:lnTo>
                    <a:pt x="2" y="3"/>
                  </a:lnTo>
                  <a:lnTo>
                    <a:pt x="9" y="15"/>
                  </a:lnTo>
                  <a:lnTo>
                    <a:pt x="11" y="12"/>
                  </a:lnTo>
                  <a:lnTo>
                    <a:pt x="16" y="15"/>
                  </a:lnTo>
                  <a:lnTo>
                    <a:pt x="21" y="26"/>
                  </a:lnTo>
                  <a:lnTo>
                    <a:pt x="18" y="29"/>
                  </a:lnTo>
                  <a:lnTo>
                    <a:pt x="11" y="26"/>
                  </a:lnTo>
                  <a:lnTo>
                    <a:pt x="11" y="29"/>
                  </a:lnTo>
                  <a:lnTo>
                    <a:pt x="14" y="33"/>
                  </a:lnTo>
                  <a:lnTo>
                    <a:pt x="14" y="33"/>
                  </a:lnTo>
                  <a:lnTo>
                    <a:pt x="9" y="29"/>
                  </a:lnTo>
                  <a:lnTo>
                    <a:pt x="7" y="19"/>
                  </a:lnTo>
                  <a:lnTo>
                    <a:pt x="2" y="15"/>
                  </a:lnTo>
                  <a:lnTo>
                    <a:pt x="2" y="19"/>
                  </a:lnTo>
                  <a:lnTo>
                    <a:pt x="4" y="29"/>
                  </a:lnTo>
                  <a:lnTo>
                    <a:pt x="7" y="33"/>
                  </a:lnTo>
                  <a:lnTo>
                    <a:pt x="7" y="36"/>
                  </a:lnTo>
                  <a:lnTo>
                    <a:pt x="0" y="29"/>
                  </a:lnTo>
                  <a:lnTo>
                    <a:pt x="0" y="31"/>
                  </a:lnTo>
                  <a:lnTo>
                    <a:pt x="2" y="36"/>
                  </a:lnTo>
                  <a:lnTo>
                    <a:pt x="4" y="40"/>
                  </a:lnTo>
                  <a:lnTo>
                    <a:pt x="4" y="43"/>
                  </a:lnTo>
                  <a:lnTo>
                    <a:pt x="0" y="40"/>
                  </a:lnTo>
                  <a:lnTo>
                    <a:pt x="0" y="43"/>
                  </a:lnTo>
                  <a:lnTo>
                    <a:pt x="4" y="50"/>
                  </a:lnTo>
                  <a:lnTo>
                    <a:pt x="16" y="55"/>
                  </a:lnTo>
                  <a:lnTo>
                    <a:pt x="21" y="64"/>
                  </a:lnTo>
                  <a:lnTo>
                    <a:pt x="23" y="69"/>
                  </a:lnTo>
                  <a:lnTo>
                    <a:pt x="21" y="74"/>
                  </a:lnTo>
                  <a:lnTo>
                    <a:pt x="21" y="76"/>
                  </a:lnTo>
                  <a:lnTo>
                    <a:pt x="23" y="76"/>
                  </a:lnTo>
                  <a:lnTo>
                    <a:pt x="26" y="78"/>
                  </a:lnTo>
                  <a:lnTo>
                    <a:pt x="28" y="76"/>
                  </a:lnTo>
                  <a:lnTo>
                    <a:pt x="30" y="69"/>
                  </a:lnTo>
                  <a:lnTo>
                    <a:pt x="33" y="6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1" name="Freeform 1645">
              <a:extLst>
                <a:ext uri="{FF2B5EF4-FFF2-40B4-BE49-F238E27FC236}">
                  <a16:creationId xmlns:a16="http://schemas.microsoft.com/office/drawing/2014/main" id="{1BAD232F-7123-431B-9874-460C939FF99B}"/>
                </a:ext>
              </a:extLst>
            </p:cNvPr>
            <p:cNvSpPr>
              <a:spLocks/>
            </p:cNvSpPr>
            <p:nvPr/>
          </p:nvSpPr>
          <p:spPr bwMode="auto">
            <a:xfrm>
              <a:off x="2228102" y="2279613"/>
              <a:ext cx="58738" cy="123825"/>
            </a:xfrm>
            <a:custGeom>
              <a:avLst/>
              <a:gdLst>
                <a:gd name="T0" fmla="*/ 33 w 37"/>
                <a:gd name="T1" fmla="*/ 69 h 78"/>
                <a:gd name="T2" fmla="*/ 37 w 37"/>
                <a:gd name="T3" fmla="*/ 66 h 78"/>
                <a:gd name="T4" fmla="*/ 35 w 37"/>
                <a:gd name="T5" fmla="*/ 64 h 78"/>
                <a:gd name="T6" fmla="*/ 35 w 37"/>
                <a:gd name="T7" fmla="*/ 62 h 78"/>
                <a:gd name="T8" fmla="*/ 35 w 37"/>
                <a:gd name="T9" fmla="*/ 57 h 78"/>
                <a:gd name="T10" fmla="*/ 33 w 37"/>
                <a:gd name="T11" fmla="*/ 55 h 78"/>
                <a:gd name="T12" fmla="*/ 28 w 37"/>
                <a:gd name="T13" fmla="*/ 48 h 78"/>
                <a:gd name="T14" fmla="*/ 30 w 37"/>
                <a:gd name="T15" fmla="*/ 45 h 78"/>
                <a:gd name="T16" fmla="*/ 26 w 37"/>
                <a:gd name="T17" fmla="*/ 40 h 78"/>
                <a:gd name="T18" fmla="*/ 26 w 37"/>
                <a:gd name="T19" fmla="*/ 38 h 78"/>
                <a:gd name="T20" fmla="*/ 26 w 37"/>
                <a:gd name="T21" fmla="*/ 38 h 78"/>
                <a:gd name="T22" fmla="*/ 23 w 37"/>
                <a:gd name="T23" fmla="*/ 36 h 78"/>
                <a:gd name="T24" fmla="*/ 23 w 37"/>
                <a:gd name="T25" fmla="*/ 33 h 78"/>
                <a:gd name="T26" fmla="*/ 26 w 37"/>
                <a:gd name="T27" fmla="*/ 22 h 78"/>
                <a:gd name="T28" fmla="*/ 26 w 37"/>
                <a:gd name="T29" fmla="*/ 17 h 78"/>
                <a:gd name="T30" fmla="*/ 18 w 37"/>
                <a:gd name="T31" fmla="*/ 12 h 78"/>
                <a:gd name="T32" fmla="*/ 11 w 37"/>
                <a:gd name="T33" fmla="*/ 7 h 78"/>
                <a:gd name="T34" fmla="*/ 7 w 37"/>
                <a:gd name="T35" fmla="*/ 3 h 78"/>
                <a:gd name="T36" fmla="*/ 2 w 37"/>
                <a:gd name="T37" fmla="*/ 0 h 78"/>
                <a:gd name="T38" fmla="*/ 2 w 37"/>
                <a:gd name="T39" fmla="*/ 3 h 78"/>
                <a:gd name="T40" fmla="*/ 9 w 37"/>
                <a:gd name="T41" fmla="*/ 15 h 78"/>
                <a:gd name="T42" fmla="*/ 11 w 37"/>
                <a:gd name="T43" fmla="*/ 12 h 78"/>
                <a:gd name="T44" fmla="*/ 16 w 37"/>
                <a:gd name="T45" fmla="*/ 15 h 78"/>
                <a:gd name="T46" fmla="*/ 21 w 37"/>
                <a:gd name="T47" fmla="*/ 26 h 78"/>
                <a:gd name="T48" fmla="*/ 18 w 37"/>
                <a:gd name="T49" fmla="*/ 29 h 78"/>
                <a:gd name="T50" fmla="*/ 11 w 37"/>
                <a:gd name="T51" fmla="*/ 26 h 78"/>
                <a:gd name="T52" fmla="*/ 11 w 37"/>
                <a:gd name="T53" fmla="*/ 29 h 78"/>
                <a:gd name="T54" fmla="*/ 14 w 37"/>
                <a:gd name="T55" fmla="*/ 33 h 78"/>
                <a:gd name="T56" fmla="*/ 14 w 37"/>
                <a:gd name="T57" fmla="*/ 33 h 78"/>
                <a:gd name="T58" fmla="*/ 9 w 37"/>
                <a:gd name="T59" fmla="*/ 29 h 78"/>
                <a:gd name="T60" fmla="*/ 7 w 37"/>
                <a:gd name="T61" fmla="*/ 19 h 78"/>
                <a:gd name="T62" fmla="*/ 2 w 37"/>
                <a:gd name="T63" fmla="*/ 15 h 78"/>
                <a:gd name="T64" fmla="*/ 2 w 37"/>
                <a:gd name="T65" fmla="*/ 19 h 78"/>
                <a:gd name="T66" fmla="*/ 4 w 37"/>
                <a:gd name="T67" fmla="*/ 29 h 78"/>
                <a:gd name="T68" fmla="*/ 7 w 37"/>
                <a:gd name="T69" fmla="*/ 33 h 78"/>
                <a:gd name="T70" fmla="*/ 7 w 37"/>
                <a:gd name="T71" fmla="*/ 36 h 78"/>
                <a:gd name="T72" fmla="*/ 0 w 37"/>
                <a:gd name="T73" fmla="*/ 29 h 78"/>
                <a:gd name="T74" fmla="*/ 0 w 37"/>
                <a:gd name="T75" fmla="*/ 31 h 78"/>
                <a:gd name="T76" fmla="*/ 2 w 37"/>
                <a:gd name="T77" fmla="*/ 36 h 78"/>
                <a:gd name="T78" fmla="*/ 4 w 37"/>
                <a:gd name="T79" fmla="*/ 40 h 78"/>
                <a:gd name="T80" fmla="*/ 4 w 37"/>
                <a:gd name="T81" fmla="*/ 43 h 78"/>
                <a:gd name="T82" fmla="*/ 0 w 37"/>
                <a:gd name="T83" fmla="*/ 40 h 78"/>
                <a:gd name="T84" fmla="*/ 0 w 37"/>
                <a:gd name="T85" fmla="*/ 43 h 78"/>
                <a:gd name="T86" fmla="*/ 4 w 37"/>
                <a:gd name="T87" fmla="*/ 50 h 78"/>
                <a:gd name="T88" fmla="*/ 16 w 37"/>
                <a:gd name="T89" fmla="*/ 55 h 78"/>
                <a:gd name="T90" fmla="*/ 21 w 37"/>
                <a:gd name="T91" fmla="*/ 64 h 78"/>
                <a:gd name="T92" fmla="*/ 23 w 37"/>
                <a:gd name="T93" fmla="*/ 69 h 78"/>
                <a:gd name="T94" fmla="*/ 21 w 37"/>
                <a:gd name="T95" fmla="*/ 74 h 78"/>
                <a:gd name="T96" fmla="*/ 21 w 37"/>
                <a:gd name="T97" fmla="*/ 76 h 78"/>
                <a:gd name="T98" fmla="*/ 23 w 37"/>
                <a:gd name="T99" fmla="*/ 76 h 78"/>
                <a:gd name="T100" fmla="*/ 26 w 37"/>
                <a:gd name="T101" fmla="*/ 78 h 78"/>
                <a:gd name="T102" fmla="*/ 28 w 37"/>
                <a:gd name="T103" fmla="*/ 76 h 78"/>
                <a:gd name="T104" fmla="*/ 30 w 37"/>
                <a:gd name="T105" fmla="*/ 69 h 78"/>
                <a:gd name="T106" fmla="*/ 33 w 37"/>
                <a:gd name="T107"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 h="78">
                  <a:moveTo>
                    <a:pt x="33" y="69"/>
                  </a:moveTo>
                  <a:lnTo>
                    <a:pt x="37" y="66"/>
                  </a:lnTo>
                  <a:lnTo>
                    <a:pt x="35" y="64"/>
                  </a:lnTo>
                  <a:lnTo>
                    <a:pt x="35" y="62"/>
                  </a:lnTo>
                  <a:lnTo>
                    <a:pt x="35" y="57"/>
                  </a:lnTo>
                  <a:lnTo>
                    <a:pt x="33" y="55"/>
                  </a:lnTo>
                  <a:lnTo>
                    <a:pt x="28" y="48"/>
                  </a:lnTo>
                  <a:lnTo>
                    <a:pt x="30" y="45"/>
                  </a:lnTo>
                  <a:lnTo>
                    <a:pt x="26" y="40"/>
                  </a:lnTo>
                  <a:lnTo>
                    <a:pt x="26" y="38"/>
                  </a:lnTo>
                  <a:lnTo>
                    <a:pt x="26" y="38"/>
                  </a:lnTo>
                  <a:lnTo>
                    <a:pt x="23" y="36"/>
                  </a:lnTo>
                  <a:lnTo>
                    <a:pt x="23" y="33"/>
                  </a:lnTo>
                  <a:lnTo>
                    <a:pt x="26" y="22"/>
                  </a:lnTo>
                  <a:lnTo>
                    <a:pt x="26" y="17"/>
                  </a:lnTo>
                  <a:lnTo>
                    <a:pt x="18" y="12"/>
                  </a:lnTo>
                  <a:lnTo>
                    <a:pt x="11" y="7"/>
                  </a:lnTo>
                  <a:lnTo>
                    <a:pt x="7" y="3"/>
                  </a:lnTo>
                  <a:lnTo>
                    <a:pt x="2" y="0"/>
                  </a:lnTo>
                  <a:lnTo>
                    <a:pt x="2" y="3"/>
                  </a:lnTo>
                  <a:lnTo>
                    <a:pt x="9" y="15"/>
                  </a:lnTo>
                  <a:lnTo>
                    <a:pt x="11" y="12"/>
                  </a:lnTo>
                  <a:lnTo>
                    <a:pt x="16" y="15"/>
                  </a:lnTo>
                  <a:lnTo>
                    <a:pt x="21" y="26"/>
                  </a:lnTo>
                  <a:lnTo>
                    <a:pt x="18" y="29"/>
                  </a:lnTo>
                  <a:lnTo>
                    <a:pt x="11" y="26"/>
                  </a:lnTo>
                  <a:lnTo>
                    <a:pt x="11" y="29"/>
                  </a:lnTo>
                  <a:lnTo>
                    <a:pt x="14" y="33"/>
                  </a:lnTo>
                  <a:lnTo>
                    <a:pt x="14" y="33"/>
                  </a:lnTo>
                  <a:lnTo>
                    <a:pt x="9" y="29"/>
                  </a:lnTo>
                  <a:lnTo>
                    <a:pt x="7" y="19"/>
                  </a:lnTo>
                  <a:lnTo>
                    <a:pt x="2" y="15"/>
                  </a:lnTo>
                  <a:lnTo>
                    <a:pt x="2" y="19"/>
                  </a:lnTo>
                  <a:lnTo>
                    <a:pt x="4" y="29"/>
                  </a:lnTo>
                  <a:lnTo>
                    <a:pt x="7" y="33"/>
                  </a:lnTo>
                  <a:lnTo>
                    <a:pt x="7" y="36"/>
                  </a:lnTo>
                  <a:lnTo>
                    <a:pt x="0" y="29"/>
                  </a:lnTo>
                  <a:lnTo>
                    <a:pt x="0" y="31"/>
                  </a:lnTo>
                  <a:lnTo>
                    <a:pt x="2" y="36"/>
                  </a:lnTo>
                  <a:lnTo>
                    <a:pt x="4" y="40"/>
                  </a:lnTo>
                  <a:lnTo>
                    <a:pt x="4" y="43"/>
                  </a:lnTo>
                  <a:lnTo>
                    <a:pt x="0" y="40"/>
                  </a:lnTo>
                  <a:lnTo>
                    <a:pt x="0" y="43"/>
                  </a:lnTo>
                  <a:lnTo>
                    <a:pt x="4" y="50"/>
                  </a:lnTo>
                  <a:lnTo>
                    <a:pt x="16" y="55"/>
                  </a:lnTo>
                  <a:lnTo>
                    <a:pt x="21" y="64"/>
                  </a:lnTo>
                  <a:lnTo>
                    <a:pt x="23" y="69"/>
                  </a:lnTo>
                  <a:lnTo>
                    <a:pt x="21" y="74"/>
                  </a:lnTo>
                  <a:lnTo>
                    <a:pt x="21" y="76"/>
                  </a:lnTo>
                  <a:lnTo>
                    <a:pt x="23" y="76"/>
                  </a:lnTo>
                  <a:lnTo>
                    <a:pt x="26" y="78"/>
                  </a:lnTo>
                  <a:lnTo>
                    <a:pt x="28" y="76"/>
                  </a:lnTo>
                  <a:lnTo>
                    <a:pt x="30" y="69"/>
                  </a:lnTo>
                  <a:lnTo>
                    <a:pt x="33" y="69"/>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2" name="Freeform 1662">
              <a:extLst>
                <a:ext uri="{FF2B5EF4-FFF2-40B4-BE49-F238E27FC236}">
                  <a16:creationId xmlns:a16="http://schemas.microsoft.com/office/drawing/2014/main" id="{0062A7A4-7F9E-44C8-B974-D967E0F2293A}"/>
                </a:ext>
              </a:extLst>
            </p:cNvPr>
            <p:cNvSpPr>
              <a:spLocks/>
            </p:cNvSpPr>
            <p:nvPr/>
          </p:nvSpPr>
          <p:spPr bwMode="auto">
            <a:xfrm>
              <a:off x="1639140" y="4129052"/>
              <a:ext cx="55563" cy="52387"/>
            </a:xfrm>
            <a:custGeom>
              <a:avLst/>
              <a:gdLst>
                <a:gd name="T0" fmla="*/ 0 w 35"/>
                <a:gd name="T1" fmla="*/ 7 h 33"/>
                <a:gd name="T2" fmla="*/ 0 w 35"/>
                <a:gd name="T3" fmla="*/ 5 h 33"/>
                <a:gd name="T4" fmla="*/ 2 w 35"/>
                <a:gd name="T5" fmla="*/ 2 h 33"/>
                <a:gd name="T6" fmla="*/ 4 w 35"/>
                <a:gd name="T7" fmla="*/ 2 h 33"/>
                <a:gd name="T8" fmla="*/ 4 w 35"/>
                <a:gd name="T9" fmla="*/ 0 h 33"/>
                <a:gd name="T10" fmla="*/ 11 w 35"/>
                <a:gd name="T11" fmla="*/ 2 h 33"/>
                <a:gd name="T12" fmla="*/ 11 w 35"/>
                <a:gd name="T13" fmla="*/ 5 h 33"/>
                <a:gd name="T14" fmla="*/ 14 w 35"/>
                <a:gd name="T15" fmla="*/ 7 h 33"/>
                <a:gd name="T16" fmla="*/ 16 w 35"/>
                <a:gd name="T17" fmla="*/ 9 h 33"/>
                <a:gd name="T18" fmla="*/ 16 w 35"/>
                <a:gd name="T19" fmla="*/ 16 h 33"/>
                <a:gd name="T20" fmla="*/ 23 w 35"/>
                <a:gd name="T21" fmla="*/ 16 h 33"/>
                <a:gd name="T22" fmla="*/ 26 w 35"/>
                <a:gd name="T23" fmla="*/ 16 h 33"/>
                <a:gd name="T24" fmla="*/ 28 w 35"/>
                <a:gd name="T25" fmla="*/ 16 h 33"/>
                <a:gd name="T26" fmla="*/ 30 w 35"/>
                <a:gd name="T27" fmla="*/ 16 h 33"/>
                <a:gd name="T28" fmla="*/ 33 w 35"/>
                <a:gd name="T29" fmla="*/ 16 h 33"/>
                <a:gd name="T30" fmla="*/ 35 w 35"/>
                <a:gd name="T31" fmla="*/ 21 h 33"/>
                <a:gd name="T32" fmla="*/ 35 w 35"/>
                <a:gd name="T33" fmla="*/ 23 h 33"/>
                <a:gd name="T34" fmla="*/ 35 w 35"/>
                <a:gd name="T35" fmla="*/ 26 h 33"/>
                <a:gd name="T36" fmla="*/ 30 w 35"/>
                <a:gd name="T37" fmla="*/ 28 h 33"/>
                <a:gd name="T38" fmla="*/ 26 w 35"/>
                <a:gd name="T39" fmla="*/ 28 h 33"/>
                <a:gd name="T40" fmla="*/ 23 w 35"/>
                <a:gd name="T41" fmla="*/ 28 h 33"/>
                <a:gd name="T42" fmla="*/ 21 w 35"/>
                <a:gd name="T43" fmla="*/ 31 h 33"/>
                <a:gd name="T44" fmla="*/ 19 w 35"/>
                <a:gd name="T45" fmla="*/ 33 h 33"/>
                <a:gd name="T46" fmla="*/ 16 w 35"/>
                <a:gd name="T47" fmla="*/ 33 h 33"/>
                <a:gd name="T48" fmla="*/ 14 w 35"/>
                <a:gd name="T49" fmla="*/ 31 h 33"/>
                <a:gd name="T50" fmla="*/ 11 w 35"/>
                <a:gd name="T51" fmla="*/ 23 h 33"/>
                <a:gd name="T52" fmla="*/ 9 w 35"/>
                <a:gd name="T53" fmla="*/ 21 h 33"/>
                <a:gd name="T54" fmla="*/ 7 w 35"/>
                <a:gd name="T55" fmla="*/ 21 h 33"/>
                <a:gd name="T56" fmla="*/ 4 w 35"/>
                <a:gd name="T57" fmla="*/ 16 h 33"/>
                <a:gd name="T58" fmla="*/ 2 w 35"/>
                <a:gd name="T59" fmla="*/ 14 h 33"/>
                <a:gd name="T60" fmla="*/ 2 w 35"/>
                <a:gd name="T61" fmla="*/ 12 h 33"/>
                <a:gd name="T62" fmla="*/ 0 w 35"/>
                <a:gd name="T63" fmla="*/ 9 h 33"/>
                <a:gd name="T64" fmla="*/ 0 w 35"/>
                <a:gd name="T65" fmla="*/ 7 h 33"/>
                <a:gd name="T66" fmla="*/ 0 w 35"/>
                <a:gd name="T67"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33">
                  <a:moveTo>
                    <a:pt x="0" y="7"/>
                  </a:moveTo>
                  <a:lnTo>
                    <a:pt x="0" y="5"/>
                  </a:lnTo>
                  <a:lnTo>
                    <a:pt x="2" y="2"/>
                  </a:lnTo>
                  <a:lnTo>
                    <a:pt x="4" y="2"/>
                  </a:lnTo>
                  <a:lnTo>
                    <a:pt x="4" y="0"/>
                  </a:lnTo>
                  <a:lnTo>
                    <a:pt x="11" y="2"/>
                  </a:lnTo>
                  <a:lnTo>
                    <a:pt x="11" y="5"/>
                  </a:lnTo>
                  <a:lnTo>
                    <a:pt x="14" y="7"/>
                  </a:lnTo>
                  <a:lnTo>
                    <a:pt x="16" y="9"/>
                  </a:lnTo>
                  <a:lnTo>
                    <a:pt x="16" y="16"/>
                  </a:lnTo>
                  <a:lnTo>
                    <a:pt x="23" y="16"/>
                  </a:lnTo>
                  <a:lnTo>
                    <a:pt x="26" y="16"/>
                  </a:lnTo>
                  <a:lnTo>
                    <a:pt x="28" y="16"/>
                  </a:lnTo>
                  <a:lnTo>
                    <a:pt x="30" y="16"/>
                  </a:lnTo>
                  <a:lnTo>
                    <a:pt x="33" y="16"/>
                  </a:lnTo>
                  <a:lnTo>
                    <a:pt x="35" y="21"/>
                  </a:lnTo>
                  <a:lnTo>
                    <a:pt x="35" y="23"/>
                  </a:lnTo>
                  <a:lnTo>
                    <a:pt x="35" y="26"/>
                  </a:lnTo>
                  <a:lnTo>
                    <a:pt x="30" y="28"/>
                  </a:lnTo>
                  <a:lnTo>
                    <a:pt x="26" y="28"/>
                  </a:lnTo>
                  <a:lnTo>
                    <a:pt x="23" y="28"/>
                  </a:lnTo>
                  <a:lnTo>
                    <a:pt x="21" y="31"/>
                  </a:lnTo>
                  <a:lnTo>
                    <a:pt x="19" y="33"/>
                  </a:lnTo>
                  <a:lnTo>
                    <a:pt x="16" y="33"/>
                  </a:lnTo>
                  <a:lnTo>
                    <a:pt x="14" y="31"/>
                  </a:lnTo>
                  <a:lnTo>
                    <a:pt x="11" y="23"/>
                  </a:lnTo>
                  <a:lnTo>
                    <a:pt x="9" y="21"/>
                  </a:lnTo>
                  <a:lnTo>
                    <a:pt x="7" y="21"/>
                  </a:lnTo>
                  <a:lnTo>
                    <a:pt x="4" y="16"/>
                  </a:lnTo>
                  <a:lnTo>
                    <a:pt x="2" y="14"/>
                  </a:lnTo>
                  <a:lnTo>
                    <a:pt x="2" y="12"/>
                  </a:lnTo>
                  <a:lnTo>
                    <a:pt x="0" y="9"/>
                  </a:lnTo>
                  <a:lnTo>
                    <a:pt x="0" y="7"/>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3" name="Freeform 1663">
              <a:extLst>
                <a:ext uri="{FF2B5EF4-FFF2-40B4-BE49-F238E27FC236}">
                  <a16:creationId xmlns:a16="http://schemas.microsoft.com/office/drawing/2014/main" id="{9E754DA3-EDFA-459A-8854-68D5C0D928DD}"/>
                </a:ext>
              </a:extLst>
            </p:cNvPr>
            <p:cNvSpPr>
              <a:spLocks/>
            </p:cNvSpPr>
            <p:nvPr/>
          </p:nvSpPr>
          <p:spPr bwMode="auto">
            <a:xfrm>
              <a:off x="1639141" y="4129052"/>
              <a:ext cx="55563" cy="52387"/>
            </a:xfrm>
            <a:custGeom>
              <a:avLst/>
              <a:gdLst>
                <a:gd name="T0" fmla="*/ 0 w 35"/>
                <a:gd name="T1" fmla="*/ 7 h 33"/>
                <a:gd name="T2" fmla="*/ 0 w 35"/>
                <a:gd name="T3" fmla="*/ 5 h 33"/>
                <a:gd name="T4" fmla="*/ 2 w 35"/>
                <a:gd name="T5" fmla="*/ 2 h 33"/>
                <a:gd name="T6" fmla="*/ 4 w 35"/>
                <a:gd name="T7" fmla="*/ 2 h 33"/>
                <a:gd name="T8" fmla="*/ 4 w 35"/>
                <a:gd name="T9" fmla="*/ 0 h 33"/>
                <a:gd name="T10" fmla="*/ 11 w 35"/>
                <a:gd name="T11" fmla="*/ 2 h 33"/>
                <a:gd name="T12" fmla="*/ 11 w 35"/>
                <a:gd name="T13" fmla="*/ 5 h 33"/>
                <a:gd name="T14" fmla="*/ 14 w 35"/>
                <a:gd name="T15" fmla="*/ 7 h 33"/>
                <a:gd name="T16" fmla="*/ 16 w 35"/>
                <a:gd name="T17" fmla="*/ 9 h 33"/>
                <a:gd name="T18" fmla="*/ 16 w 35"/>
                <a:gd name="T19" fmla="*/ 16 h 33"/>
                <a:gd name="T20" fmla="*/ 23 w 35"/>
                <a:gd name="T21" fmla="*/ 16 h 33"/>
                <a:gd name="T22" fmla="*/ 26 w 35"/>
                <a:gd name="T23" fmla="*/ 16 h 33"/>
                <a:gd name="T24" fmla="*/ 28 w 35"/>
                <a:gd name="T25" fmla="*/ 16 h 33"/>
                <a:gd name="T26" fmla="*/ 30 w 35"/>
                <a:gd name="T27" fmla="*/ 16 h 33"/>
                <a:gd name="T28" fmla="*/ 33 w 35"/>
                <a:gd name="T29" fmla="*/ 16 h 33"/>
                <a:gd name="T30" fmla="*/ 35 w 35"/>
                <a:gd name="T31" fmla="*/ 21 h 33"/>
                <a:gd name="T32" fmla="*/ 35 w 35"/>
                <a:gd name="T33" fmla="*/ 23 h 33"/>
                <a:gd name="T34" fmla="*/ 35 w 35"/>
                <a:gd name="T35" fmla="*/ 26 h 33"/>
                <a:gd name="T36" fmla="*/ 30 w 35"/>
                <a:gd name="T37" fmla="*/ 28 h 33"/>
                <a:gd name="T38" fmla="*/ 26 w 35"/>
                <a:gd name="T39" fmla="*/ 28 h 33"/>
                <a:gd name="T40" fmla="*/ 23 w 35"/>
                <a:gd name="T41" fmla="*/ 28 h 33"/>
                <a:gd name="T42" fmla="*/ 21 w 35"/>
                <a:gd name="T43" fmla="*/ 31 h 33"/>
                <a:gd name="T44" fmla="*/ 19 w 35"/>
                <a:gd name="T45" fmla="*/ 33 h 33"/>
                <a:gd name="T46" fmla="*/ 16 w 35"/>
                <a:gd name="T47" fmla="*/ 33 h 33"/>
                <a:gd name="T48" fmla="*/ 14 w 35"/>
                <a:gd name="T49" fmla="*/ 31 h 33"/>
                <a:gd name="T50" fmla="*/ 11 w 35"/>
                <a:gd name="T51" fmla="*/ 23 h 33"/>
                <a:gd name="T52" fmla="*/ 9 w 35"/>
                <a:gd name="T53" fmla="*/ 21 h 33"/>
                <a:gd name="T54" fmla="*/ 7 w 35"/>
                <a:gd name="T55" fmla="*/ 21 h 33"/>
                <a:gd name="T56" fmla="*/ 4 w 35"/>
                <a:gd name="T57" fmla="*/ 16 h 33"/>
                <a:gd name="T58" fmla="*/ 2 w 35"/>
                <a:gd name="T59" fmla="*/ 14 h 33"/>
                <a:gd name="T60" fmla="*/ 2 w 35"/>
                <a:gd name="T61" fmla="*/ 12 h 33"/>
                <a:gd name="T62" fmla="*/ 0 w 35"/>
                <a:gd name="T63" fmla="*/ 9 h 33"/>
                <a:gd name="T64" fmla="*/ 0 w 35"/>
                <a:gd name="T65" fmla="*/ 7 h 33"/>
                <a:gd name="T66" fmla="*/ 0 w 35"/>
                <a:gd name="T67"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33">
                  <a:moveTo>
                    <a:pt x="0" y="7"/>
                  </a:moveTo>
                  <a:lnTo>
                    <a:pt x="0" y="5"/>
                  </a:lnTo>
                  <a:lnTo>
                    <a:pt x="2" y="2"/>
                  </a:lnTo>
                  <a:lnTo>
                    <a:pt x="4" y="2"/>
                  </a:lnTo>
                  <a:lnTo>
                    <a:pt x="4" y="0"/>
                  </a:lnTo>
                  <a:lnTo>
                    <a:pt x="11" y="2"/>
                  </a:lnTo>
                  <a:lnTo>
                    <a:pt x="11" y="5"/>
                  </a:lnTo>
                  <a:lnTo>
                    <a:pt x="14" y="7"/>
                  </a:lnTo>
                  <a:lnTo>
                    <a:pt x="16" y="9"/>
                  </a:lnTo>
                  <a:lnTo>
                    <a:pt x="16" y="16"/>
                  </a:lnTo>
                  <a:lnTo>
                    <a:pt x="23" y="16"/>
                  </a:lnTo>
                  <a:lnTo>
                    <a:pt x="26" y="16"/>
                  </a:lnTo>
                  <a:lnTo>
                    <a:pt x="28" y="16"/>
                  </a:lnTo>
                  <a:lnTo>
                    <a:pt x="30" y="16"/>
                  </a:lnTo>
                  <a:lnTo>
                    <a:pt x="33" y="16"/>
                  </a:lnTo>
                  <a:lnTo>
                    <a:pt x="35" y="21"/>
                  </a:lnTo>
                  <a:lnTo>
                    <a:pt x="35" y="23"/>
                  </a:lnTo>
                  <a:lnTo>
                    <a:pt x="35" y="26"/>
                  </a:lnTo>
                  <a:lnTo>
                    <a:pt x="30" y="28"/>
                  </a:lnTo>
                  <a:lnTo>
                    <a:pt x="26" y="28"/>
                  </a:lnTo>
                  <a:lnTo>
                    <a:pt x="23" y="28"/>
                  </a:lnTo>
                  <a:lnTo>
                    <a:pt x="21" y="31"/>
                  </a:lnTo>
                  <a:lnTo>
                    <a:pt x="19" y="33"/>
                  </a:lnTo>
                  <a:lnTo>
                    <a:pt x="16" y="33"/>
                  </a:lnTo>
                  <a:lnTo>
                    <a:pt x="14" y="31"/>
                  </a:lnTo>
                  <a:lnTo>
                    <a:pt x="11" y="23"/>
                  </a:lnTo>
                  <a:lnTo>
                    <a:pt x="9" y="21"/>
                  </a:lnTo>
                  <a:lnTo>
                    <a:pt x="7" y="21"/>
                  </a:lnTo>
                  <a:lnTo>
                    <a:pt x="4" y="16"/>
                  </a:lnTo>
                  <a:lnTo>
                    <a:pt x="2" y="14"/>
                  </a:lnTo>
                  <a:lnTo>
                    <a:pt x="2" y="12"/>
                  </a:lnTo>
                  <a:lnTo>
                    <a:pt x="0" y="9"/>
                  </a:lnTo>
                  <a:lnTo>
                    <a:pt x="0" y="7"/>
                  </a:lnTo>
                  <a:lnTo>
                    <a:pt x="0" y="7"/>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4" name="Freeform 1664">
              <a:extLst>
                <a:ext uri="{FF2B5EF4-FFF2-40B4-BE49-F238E27FC236}">
                  <a16:creationId xmlns:a16="http://schemas.microsoft.com/office/drawing/2014/main" id="{F4A6EDFB-7F61-495D-A8FE-DEE56DC09622}"/>
                </a:ext>
              </a:extLst>
            </p:cNvPr>
            <p:cNvSpPr>
              <a:spLocks/>
            </p:cNvSpPr>
            <p:nvPr/>
          </p:nvSpPr>
          <p:spPr bwMode="auto">
            <a:xfrm>
              <a:off x="2215402" y="4795802"/>
              <a:ext cx="38100" cy="134937"/>
            </a:xfrm>
            <a:custGeom>
              <a:avLst/>
              <a:gdLst>
                <a:gd name="T0" fmla="*/ 17 w 24"/>
                <a:gd name="T1" fmla="*/ 78 h 85"/>
                <a:gd name="T2" fmla="*/ 15 w 24"/>
                <a:gd name="T3" fmla="*/ 83 h 85"/>
                <a:gd name="T4" fmla="*/ 12 w 24"/>
                <a:gd name="T5" fmla="*/ 83 h 85"/>
                <a:gd name="T6" fmla="*/ 12 w 24"/>
                <a:gd name="T7" fmla="*/ 81 h 85"/>
                <a:gd name="T8" fmla="*/ 12 w 24"/>
                <a:gd name="T9" fmla="*/ 78 h 85"/>
                <a:gd name="T10" fmla="*/ 12 w 24"/>
                <a:gd name="T11" fmla="*/ 73 h 85"/>
                <a:gd name="T12" fmla="*/ 10 w 24"/>
                <a:gd name="T13" fmla="*/ 71 h 85"/>
                <a:gd name="T14" fmla="*/ 8 w 24"/>
                <a:gd name="T15" fmla="*/ 66 h 85"/>
                <a:gd name="T16" fmla="*/ 8 w 24"/>
                <a:gd name="T17" fmla="*/ 62 h 85"/>
                <a:gd name="T18" fmla="*/ 3 w 24"/>
                <a:gd name="T19" fmla="*/ 47 h 85"/>
                <a:gd name="T20" fmla="*/ 3 w 24"/>
                <a:gd name="T21" fmla="*/ 45 h 85"/>
                <a:gd name="T22" fmla="*/ 5 w 24"/>
                <a:gd name="T23" fmla="*/ 40 h 85"/>
                <a:gd name="T24" fmla="*/ 5 w 24"/>
                <a:gd name="T25" fmla="*/ 26 h 85"/>
                <a:gd name="T26" fmla="*/ 5 w 24"/>
                <a:gd name="T27" fmla="*/ 17 h 85"/>
                <a:gd name="T28" fmla="*/ 5 w 24"/>
                <a:gd name="T29" fmla="*/ 12 h 85"/>
                <a:gd name="T30" fmla="*/ 3 w 24"/>
                <a:gd name="T31" fmla="*/ 10 h 85"/>
                <a:gd name="T32" fmla="*/ 0 w 24"/>
                <a:gd name="T33" fmla="*/ 5 h 85"/>
                <a:gd name="T34" fmla="*/ 3 w 24"/>
                <a:gd name="T35" fmla="*/ 0 h 85"/>
                <a:gd name="T36" fmla="*/ 10 w 24"/>
                <a:gd name="T37" fmla="*/ 5 h 85"/>
                <a:gd name="T38" fmla="*/ 12 w 24"/>
                <a:gd name="T39" fmla="*/ 12 h 85"/>
                <a:gd name="T40" fmla="*/ 15 w 24"/>
                <a:gd name="T41" fmla="*/ 21 h 85"/>
                <a:gd name="T42" fmla="*/ 15 w 24"/>
                <a:gd name="T43" fmla="*/ 26 h 85"/>
                <a:gd name="T44" fmla="*/ 17 w 24"/>
                <a:gd name="T45" fmla="*/ 31 h 85"/>
                <a:gd name="T46" fmla="*/ 19 w 24"/>
                <a:gd name="T47" fmla="*/ 36 h 85"/>
                <a:gd name="T48" fmla="*/ 15 w 24"/>
                <a:gd name="T49" fmla="*/ 45 h 85"/>
                <a:gd name="T50" fmla="*/ 15 w 24"/>
                <a:gd name="T51" fmla="*/ 52 h 85"/>
                <a:gd name="T52" fmla="*/ 15 w 24"/>
                <a:gd name="T53" fmla="*/ 59 h 85"/>
                <a:gd name="T54" fmla="*/ 17 w 24"/>
                <a:gd name="T55" fmla="*/ 66 h 85"/>
                <a:gd name="T56" fmla="*/ 17 w 24"/>
                <a:gd name="T57" fmla="*/ 69 h 85"/>
                <a:gd name="T58" fmla="*/ 17 w 24"/>
                <a:gd name="T59" fmla="*/ 71 h 85"/>
                <a:gd name="T60" fmla="*/ 17 w 24"/>
                <a:gd name="T61" fmla="*/ 73 h 85"/>
                <a:gd name="T62" fmla="*/ 19 w 24"/>
                <a:gd name="T63" fmla="*/ 76 h 85"/>
                <a:gd name="T64" fmla="*/ 24 w 24"/>
                <a:gd name="T65" fmla="*/ 85 h 85"/>
                <a:gd name="T66" fmla="*/ 22 w 24"/>
                <a:gd name="T67" fmla="*/ 85 h 85"/>
                <a:gd name="T68" fmla="*/ 19 w 24"/>
                <a:gd name="T69" fmla="*/ 8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85">
                  <a:moveTo>
                    <a:pt x="17" y="81"/>
                  </a:moveTo>
                  <a:lnTo>
                    <a:pt x="17" y="78"/>
                  </a:lnTo>
                  <a:lnTo>
                    <a:pt x="17" y="78"/>
                  </a:lnTo>
                  <a:lnTo>
                    <a:pt x="15" y="83"/>
                  </a:lnTo>
                  <a:lnTo>
                    <a:pt x="15" y="83"/>
                  </a:lnTo>
                  <a:lnTo>
                    <a:pt x="12" y="83"/>
                  </a:lnTo>
                  <a:lnTo>
                    <a:pt x="12" y="83"/>
                  </a:lnTo>
                  <a:lnTo>
                    <a:pt x="12" y="81"/>
                  </a:lnTo>
                  <a:lnTo>
                    <a:pt x="12" y="78"/>
                  </a:lnTo>
                  <a:lnTo>
                    <a:pt x="12" y="78"/>
                  </a:lnTo>
                  <a:lnTo>
                    <a:pt x="12" y="76"/>
                  </a:lnTo>
                  <a:lnTo>
                    <a:pt x="12" y="73"/>
                  </a:lnTo>
                  <a:lnTo>
                    <a:pt x="12" y="73"/>
                  </a:lnTo>
                  <a:lnTo>
                    <a:pt x="10" y="71"/>
                  </a:lnTo>
                  <a:lnTo>
                    <a:pt x="8" y="69"/>
                  </a:lnTo>
                  <a:lnTo>
                    <a:pt x="8" y="66"/>
                  </a:lnTo>
                  <a:lnTo>
                    <a:pt x="8" y="62"/>
                  </a:lnTo>
                  <a:lnTo>
                    <a:pt x="8" y="62"/>
                  </a:lnTo>
                  <a:lnTo>
                    <a:pt x="5" y="55"/>
                  </a:lnTo>
                  <a:lnTo>
                    <a:pt x="3" y="47"/>
                  </a:lnTo>
                  <a:lnTo>
                    <a:pt x="0" y="47"/>
                  </a:lnTo>
                  <a:lnTo>
                    <a:pt x="3" y="45"/>
                  </a:lnTo>
                  <a:lnTo>
                    <a:pt x="3" y="43"/>
                  </a:lnTo>
                  <a:lnTo>
                    <a:pt x="5" y="40"/>
                  </a:lnTo>
                  <a:lnTo>
                    <a:pt x="8" y="38"/>
                  </a:lnTo>
                  <a:lnTo>
                    <a:pt x="5" y="26"/>
                  </a:lnTo>
                  <a:lnTo>
                    <a:pt x="5" y="19"/>
                  </a:lnTo>
                  <a:lnTo>
                    <a:pt x="5" y="17"/>
                  </a:lnTo>
                  <a:lnTo>
                    <a:pt x="5" y="14"/>
                  </a:lnTo>
                  <a:lnTo>
                    <a:pt x="5" y="12"/>
                  </a:lnTo>
                  <a:lnTo>
                    <a:pt x="3" y="12"/>
                  </a:lnTo>
                  <a:lnTo>
                    <a:pt x="3" y="10"/>
                  </a:lnTo>
                  <a:lnTo>
                    <a:pt x="0" y="7"/>
                  </a:lnTo>
                  <a:lnTo>
                    <a:pt x="0" y="5"/>
                  </a:lnTo>
                  <a:lnTo>
                    <a:pt x="0" y="3"/>
                  </a:lnTo>
                  <a:lnTo>
                    <a:pt x="3" y="0"/>
                  </a:lnTo>
                  <a:lnTo>
                    <a:pt x="5" y="0"/>
                  </a:lnTo>
                  <a:lnTo>
                    <a:pt x="10" y="5"/>
                  </a:lnTo>
                  <a:lnTo>
                    <a:pt x="10" y="7"/>
                  </a:lnTo>
                  <a:lnTo>
                    <a:pt x="12" y="12"/>
                  </a:lnTo>
                  <a:lnTo>
                    <a:pt x="12" y="17"/>
                  </a:lnTo>
                  <a:lnTo>
                    <a:pt x="15" y="21"/>
                  </a:lnTo>
                  <a:lnTo>
                    <a:pt x="15" y="26"/>
                  </a:lnTo>
                  <a:lnTo>
                    <a:pt x="15" y="26"/>
                  </a:lnTo>
                  <a:lnTo>
                    <a:pt x="17" y="29"/>
                  </a:lnTo>
                  <a:lnTo>
                    <a:pt x="17" y="31"/>
                  </a:lnTo>
                  <a:lnTo>
                    <a:pt x="19" y="33"/>
                  </a:lnTo>
                  <a:lnTo>
                    <a:pt x="19" y="36"/>
                  </a:lnTo>
                  <a:lnTo>
                    <a:pt x="17" y="40"/>
                  </a:lnTo>
                  <a:lnTo>
                    <a:pt x="15" y="45"/>
                  </a:lnTo>
                  <a:lnTo>
                    <a:pt x="15" y="50"/>
                  </a:lnTo>
                  <a:lnTo>
                    <a:pt x="15" y="52"/>
                  </a:lnTo>
                  <a:lnTo>
                    <a:pt x="15" y="55"/>
                  </a:lnTo>
                  <a:lnTo>
                    <a:pt x="15" y="59"/>
                  </a:lnTo>
                  <a:lnTo>
                    <a:pt x="17" y="62"/>
                  </a:lnTo>
                  <a:lnTo>
                    <a:pt x="17" y="66"/>
                  </a:lnTo>
                  <a:lnTo>
                    <a:pt x="17" y="69"/>
                  </a:lnTo>
                  <a:lnTo>
                    <a:pt x="17" y="69"/>
                  </a:lnTo>
                  <a:lnTo>
                    <a:pt x="17" y="69"/>
                  </a:lnTo>
                  <a:lnTo>
                    <a:pt x="17" y="71"/>
                  </a:lnTo>
                  <a:lnTo>
                    <a:pt x="17" y="73"/>
                  </a:lnTo>
                  <a:lnTo>
                    <a:pt x="17" y="73"/>
                  </a:lnTo>
                  <a:lnTo>
                    <a:pt x="19" y="73"/>
                  </a:lnTo>
                  <a:lnTo>
                    <a:pt x="19" y="76"/>
                  </a:lnTo>
                  <a:lnTo>
                    <a:pt x="24" y="83"/>
                  </a:lnTo>
                  <a:lnTo>
                    <a:pt x="24" y="85"/>
                  </a:lnTo>
                  <a:lnTo>
                    <a:pt x="22" y="85"/>
                  </a:lnTo>
                  <a:lnTo>
                    <a:pt x="22" y="85"/>
                  </a:lnTo>
                  <a:lnTo>
                    <a:pt x="19" y="83"/>
                  </a:lnTo>
                  <a:lnTo>
                    <a:pt x="19" y="83"/>
                  </a:lnTo>
                  <a:lnTo>
                    <a:pt x="17" y="8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5" name="Freeform 1665">
              <a:extLst>
                <a:ext uri="{FF2B5EF4-FFF2-40B4-BE49-F238E27FC236}">
                  <a16:creationId xmlns:a16="http://schemas.microsoft.com/office/drawing/2014/main" id="{8918CAD1-63F2-4980-A878-E11E8D9A2C13}"/>
                </a:ext>
              </a:extLst>
            </p:cNvPr>
            <p:cNvSpPr>
              <a:spLocks/>
            </p:cNvSpPr>
            <p:nvPr/>
          </p:nvSpPr>
          <p:spPr bwMode="auto">
            <a:xfrm>
              <a:off x="2215402" y="4795802"/>
              <a:ext cx="38100" cy="134937"/>
            </a:xfrm>
            <a:custGeom>
              <a:avLst/>
              <a:gdLst>
                <a:gd name="T0" fmla="*/ 17 w 24"/>
                <a:gd name="T1" fmla="*/ 78 h 85"/>
                <a:gd name="T2" fmla="*/ 15 w 24"/>
                <a:gd name="T3" fmla="*/ 83 h 85"/>
                <a:gd name="T4" fmla="*/ 12 w 24"/>
                <a:gd name="T5" fmla="*/ 83 h 85"/>
                <a:gd name="T6" fmla="*/ 12 w 24"/>
                <a:gd name="T7" fmla="*/ 81 h 85"/>
                <a:gd name="T8" fmla="*/ 12 w 24"/>
                <a:gd name="T9" fmla="*/ 78 h 85"/>
                <a:gd name="T10" fmla="*/ 12 w 24"/>
                <a:gd name="T11" fmla="*/ 73 h 85"/>
                <a:gd name="T12" fmla="*/ 10 w 24"/>
                <a:gd name="T13" fmla="*/ 71 h 85"/>
                <a:gd name="T14" fmla="*/ 8 w 24"/>
                <a:gd name="T15" fmla="*/ 66 h 85"/>
                <a:gd name="T16" fmla="*/ 8 w 24"/>
                <a:gd name="T17" fmla="*/ 62 h 85"/>
                <a:gd name="T18" fmla="*/ 3 w 24"/>
                <a:gd name="T19" fmla="*/ 47 h 85"/>
                <a:gd name="T20" fmla="*/ 3 w 24"/>
                <a:gd name="T21" fmla="*/ 45 h 85"/>
                <a:gd name="T22" fmla="*/ 5 w 24"/>
                <a:gd name="T23" fmla="*/ 40 h 85"/>
                <a:gd name="T24" fmla="*/ 5 w 24"/>
                <a:gd name="T25" fmla="*/ 26 h 85"/>
                <a:gd name="T26" fmla="*/ 5 w 24"/>
                <a:gd name="T27" fmla="*/ 17 h 85"/>
                <a:gd name="T28" fmla="*/ 5 w 24"/>
                <a:gd name="T29" fmla="*/ 12 h 85"/>
                <a:gd name="T30" fmla="*/ 3 w 24"/>
                <a:gd name="T31" fmla="*/ 10 h 85"/>
                <a:gd name="T32" fmla="*/ 0 w 24"/>
                <a:gd name="T33" fmla="*/ 5 h 85"/>
                <a:gd name="T34" fmla="*/ 3 w 24"/>
                <a:gd name="T35" fmla="*/ 0 h 85"/>
                <a:gd name="T36" fmla="*/ 10 w 24"/>
                <a:gd name="T37" fmla="*/ 5 h 85"/>
                <a:gd name="T38" fmla="*/ 12 w 24"/>
                <a:gd name="T39" fmla="*/ 12 h 85"/>
                <a:gd name="T40" fmla="*/ 15 w 24"/>
                <a:gd name="T41" fmla="*/ 21 h 85"/>
                <a:gd name="T42" fmla="*/ 15 w 24"/>
                <a:gd name="T43" fmla="*/ 26 h 85"/>
                <a:gd name="T44" fmla="*/ 17 w 24"/>
                <a:gd name="T45" fmla="*/ 31 h 85"/>
                <a:gd name="T46" fmla="*/ 19 w 24"/>
                <a:gd name="T47" fmla="*/ 36 h 85"/>
                <a:gd name="T48" fmla="*/ 15 w 24"/>
                <a:gd name="T49" fmla="*/ 45 h 85"/>
                <a:gd name="T50" fmla="*/ 15 w 24"/>
                <a:gd name="T51" fmla="*/ 52 h 85"/>
                <a:gd name="T52" fmla="*/ 15 w 24"/>
                <a:gd name="T53" fmla="*/ 59 h 85"/>
                <a:gd name="T54" fmla="*/ 17 w 24"/>
                <a:gd name="T55" fmla="*/ 66 h 85"/>
                <a:gd name="T56" fmla="*/ 17 w 24"/>
                <a:gd name="T57" fmla="*/ 69 h 85"/>
                <a:gd name="T58" fmla="*/ 17 w 24"/>
                <a:gd name="T59" fmla="*/ 71 h 85"/>
                <a:gd name="T60" fmla="*/ 17 w 24"/>
                <a:gd name="T61" fmla="*/ 73 h 85"/>
                <a:gd name="T62" fmla="*/ 19 w 24"/>
                <a:gd name="T63" fmla="*/ 76 h 85"/>
                <a:gd name="T64" fmla="*/ 24 w 24"/>
                <a:gd name="T65" fmla="*/ 85 h 85"/>
                <a:gd name="T66" fmla="*/ 22 w 24"/>
                <a:gd name="T67" fmla="*/ 85 h 85"/>
                <a:gd name="T68" fmla="*/ 19 w 24"/>
                <a:gd name="T69" fmla="*/ 8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85">
                  <a:moveTo>
                    <a:pt x="17" y="81"/>
                  </a:moveTo>
                  <a:lnTo>
                    <a:pt x="17" y="78"/>
                  </a:lnTo>
                  <a:lnTo>
                    <a:pt x="17" y="78"/>
                  </a:lnTo>
                  <a:lnTo>
                    <a:pt x="15" y="83"/>
                  </a:lnTo>
                  <a:lnTo>
                    <a:pt x="15" y="83"/>
                  </a:lnTo>
                  <a:lnTo>
                    <a:pt x="12" y="83"/>
                  </a:lnTo>
                  <a:lnTo>
                    <a:pt x="12" y="83"/>
                  </a:lnTo>
                  <a:lnTo>
                    <a:pt x="12" y="81"/>
                  </a:lnTo>
                  <a:lnTo>
                    <a:pt x="12" y="78"/>
                  </a:lnTo>
                  <a:lnTo>
                    <a:pt x="12" y="78"/>
                  </a:lnTo>
                  <a:lnTo>
                    <a:pt x="12" y="76"/>
                  </a:lnTo>
                  <a:lnTo>
                    <a:pt x="12" y="73"/>
                  </a:lnTo>
                  <a:lnTo>
                    <a:pt x="12" y="73"/>
                  </a:lnTo>
                  <a:lnTo>
                    <a:pt x="10" y="71"/>
                  </a:lnTo>
                  <a:lnTo>
                    <a:pt x="8" y="69"/>
                  </a:lnTo>
                  <a:lnTo>
                    <a:pt x="8" y="66"/>
                  </a:lnTo>
                  <a:lnTo>
                    <a:pt x="8" y="62"/>
                  </a:lnTo>
                  <a:lnTo>
                    <a:pt x="8" y="62"/>
                  </a:lnTo>
                  <a:lnTo>
                    <a:pt x="5" y="55"/>
                  </a:lnTo>
                  <a:lnTo>
                    <a:pt x="3" y="47"/>
                  </a:lnTo>
                  <a:lnTo>
                    <a:pt x="0" y="47"/>
                  </a:lnTo>
                  <a:lnTo>
                    <a:pt x="3" y="45"/>
                  </a:lnTo>
                  <a:lnTo>
                    <a:pt x="3" y="43"/>
                  </a:lnTo>
                  <a:lnTo>
                    <a:pt x="5" y="40"/>
                  </a:lnTo>
                  <a:lnTo>
                    <a:pt x="8" y="38"/>
                  </a:lnTo>
                  <a:lnTo>
                    <a:pt x="5" y="26"/>
                  </a:lnTo>
                  <a:lnTo>
                    <a:pt x="5" y="19"/>
                  </a:lnTo>
                  <a:lnTo>
                    <a:pt x="5" y="17"/>
                  </a:lnTo>
                  <a:lnTo>
                    <a:pt x="5" y="14"/>
                  </a:lnTo>
                  <a:lnTo>
                    <a:pt x="5" y="12"/>
                  </a:lnTo>
                  <a:lnTo>
                    <a:pt x="3" y="12"/>
                  </a:lnTo>
                  <a:lnTo>
                    <a:pt x="3" y="10"/>
                  </a:lnTo>
                  <a:lnTo>
                    <a:pt x="0" y="7"/>
                  </a:lnTo>
                  <a:lnTo>
                    <a:pt x="0" y="5"/>
                  </a:lnTo>
                  <a:lnTo>
                    <a:pt x="0" y="3"/>
                  </a:lnTo>
                  <a:lnTo>
                    <a:pt x="3" y="0"/>
                  </a:lnTo>
                  <a:lnTo>
                    <a:pt x="5" y="0"/>
                  </a:lnTo>
                  <a:lnTo>
                    <a:pt x="10" y="5"/>
                  </a:lnTo>
                  <a:lnTo>
                    <a:pt x="10" y="7"/>
                  </a:lnTo>
                  <a:lnTo>
                    <a:pt x="12" y="12"/>
                  </a:lnTo>
                  <a:lnTo>
                    <a:pt x="12" y="17"/>
                  </a:lnTo>
                  <a:lnTo>
                    <a:pt x="15" y="21"/>
                  </a:lnTo>
                  <a:lnTo>
                    <a:pt x="15" y="26"/>
                  </a:lnTo>
                  <a:lnTo>
                    <a:pt x="15" y="26"/>
                  </a:lnTo>
                  <a:lnTo>
                    <a:pt x="17" y="29"/>
                  </a:lnTo>
                  <a:lnTo>
                    <a:pt x="17" y="31"/>
                  </a:lnTo>
                  <a:lnTo>
                    <a:pt x="19" y="33"/>
                  </a:lnTo>
                  <a:lnTo>
                    <a:pt x="19" y="36"/>
                  </a:lnTo>
                  <a:lnTo>
                    <a:pt x="17" y="40"/>
                  </a:lnTo>
                  <a:lnTo>
                    <a:pt x="15" y="45"/>
                  </a:lnTo>
                  <a:lnTo>
                    <a:pt x="15" y="50"/>
                  </a:lnTo>
                  <a:lnTo>
                    <a:pt x="15" y="52"/>
                  </a:lnTo>
                  <a:lnTo>
                    <a:pt x="15" y="55"/>
                  </a:lnTo>
                  <a:lnTo>
                    <a:pt x="15" y="59"/>
                  </a:lnTo>
                  <a:lnTo>
                    <a:pt x="17" y="62"/>
                  </a:lnTo>
                  <a:lnTo>
                    <a:pt x="17" y="66"/>
                  </a:lnTo>
                  <a:lnTo>
                    <a:pt x="17" y="69"/>
                  </a:lnTo>
                  <a:lnTo>
                    <a:pt x="17" y="69"/>
                  </a:lnTo>
                  <a:lnTo>
                    <a:pt x="17" y="69"/>
                  </a:lnTo>
                  <a:lnTo>
                    <a:pt x="17" y="71"/>
                  </a:lnTo>
                  <a:lnTo>
                    <a:pt x="17" y="73"/>
                  </a:lnTo>
                  <a:lnTo>
                    <a:pt x="17" y="73"/>
                  </a:lnTo>
                  <a:lnTo>
                    <a:pt x="19" y="73"/>
                  </a:lnTo>
                  <a:lnTo>
                    <a:pt x="19" y="76"/>
                  </a:lnTo>
                  <a:lnTo>
                    <a:pt x="24" y="83"/>
                  </a:lnTo>
                  <a:lnTo>
                    <a:pt x="24" y="85"/>
                  </a:lnTo>
                  <a:lnTo>
                    <a:pt x="22" y="85"/>
                  </a:lnTo>
                  <a:lnTo>
                    <a:pt x="22" y="85"/>
                  </a:lnTo>
                  <a:lnTo>
                    <a:pt x="19" y="83"/>
                  </a:lnTo>
                  <a:lnTo>
                    <a:pt x="19" y="83"/>
                  </a:lnTo>
                  <a:lnTo>
                    <a:pt x="17" y="81"/>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6" name="Freeform 1666">
              <a:extLst>
                <a:ext uri="{FF2B5EF4-FFF2-40B4-BE49-F238E27FC236}">
                  <a16:creationId xmlns:a16="http://schemas.microsoft.com/office/drawing/2014/main" id="{1B605DB0-9B96-4083-857A-63AB89078F9C}"/>
                </a:ext>
              </a:extLst>
            </p:cNvPr>
            <p:cNvSpPr>
              <a:spLocks/>
            </p:cNvSpPr>
            <p:nvPr/>
          </p:nvSpPr>
          <p:spPr bwMode="auto">
            <a:xfrm>
              <a:off x="2085227" y="4624353"/>
              <a:ext cx="55563" cy="149225"/>
            </a:xfrm>
            <a:custGeom>
              <a:avLst/>
              <a:gdLst>
                <a:gd name="T0" fmla="*/ 21 w 35"/>
                <a:gd name="T1" fmla="*/ 73 h 94"/>
                <a:gd name="T2" fmla="*/ 19 w 35"/>
                <a:gd name="T3" fmla="*/ 68 h 94"/>
                <a:gd name="T4" fmla="*/ 14 w 35"/>
                <a:gd name="T5" fmla="*/ 66 h 94"/>
                <a:gd name="T6" fmla="*/ 9 w 35"/>
                <a:gd name="T7" fmla="*/ 63 h 94"/>
                <a:gd name="T8" fmla="*/ 7 w 35"/>
                <a:gd name="T9" fmla="*/ 59 h 94"/>
                <a:gd name="T10" fmla="*/ 5 w 35"/>
                <a:gd name="T11" fmla="*/ 54 h 94"/>
                <a:gd name="T12" fmla="*/ 5 w 35"/>
                <a:gd name="T13" fmla="*/ 52 h 94"/>
                <a:gd name="T14" fmla="*/ 2 w 35"/>
                <a:gd name="T15" fmla="*/ 47 h 94"/>
                <a:gd name="T16" fmla="*/ 5 w 35"/>
                <a:gd name="T17" fmla="*/ 42 h 94"/>
                <a:gd name="T18" fmla="*/ 5 w 35"/>
                <a:gd name="T19" fmla="*/ 40 h 94"/>
                <a:gd name="T20" fmla="*/ 2 w 35"/>
                <a:gd name="T21" fmla="*/ 35 h 94"/>
                <a:gd name="T22" fmla="*/ 0 w 35"/>
                <a:gd name="T23" fmla="*/ 30 h 94"/>
                <a:gd name="T24" fmla="*/ 0 w 35"/>
                <a:gd name="T25" fmla="*/ 23 h 94"/>
                <a:gd name="T26" fmla="*/ 2 w 35"/>
                <a:gd name="T27" fmla="*/ 16 h 94"/>
                <a:gd name="T28" fmla="*/ 2 w 35"/>
                <a:gd name="T29" fmla="*/ 14 h 94"/>
                <a:gd name="T30" fmla="*/ 0 w 35"/>
                <a:gd name="T31" fmla="*/ 14 h 94"/>
                <a:gd name="T32" fmla="*/ 0 w 35"/>
                <a:gd name="T33" fmla="*/ 14 h 94"/>
                <a:gd name="T34" fmla="*/ 0 w 35"/>
                <a:gd name="T35" fmla="*/ 9 h 94"/>
                <a:gd name="T36" fmla="*/ 2 w 35"/>
                <a:gd name="T37" fmla="*/ 4 h 94"/>
                <a:gd name="T38" fmla="*/ 2 w 35"/>
                <a:gd name="T39" fmla="*/ 2 h 94"/>
                <a:gd name="T40" fmla="*/ 2 w 35"/>
                <a:gd name="T41" fmla="*/ 0 h 94"/>
                <a:gd name="T42" fmla="*/ 5 w 35"/>
                <a:gd name="T43" fmla="*/ 0 h 94"/>
                <a:gd name="T44" fmla="*/ 5 w 35"/>
                <a:gd name="T45" fmla="*/ 2 h 94"/>
                <a:gd name="T46" fmla="*/ 5 w 35"/>
                <a:gd name="T47" fmla="*/ 7 h 94"/>
                <a:gd name="T48" fmla="*/ 5 w 35"/>
                <a:gd name="T49" fmla="*/ 9 h 94"/>
                <a:gd name="T50" fmla="*/ 5 w 35"/>
                <a:gd name="T51" fmla="*/ 11 h 94"/>
                <a:gd name="T52" fmla="*/ 7 w 35"/>
                <a:gd name="T53" fmla="*/ 16 h 94"/>
                <a:gd name="T54" fmla="*/ 9 w 35"/>
                <a:gd name="T55" fmla="*/ 16 h 94"/>
                <a:gd name="T56" fmla="*/ 9 w 35"/>
                <a:gd name="T57" fmla="*/ 23 h 94"/>
                <a:gd name="T58" fmla="*/ 9 w 35"/>
                <a:gd name="T59" fmla="*/ 28 h 94"/>
                <a:gd name="T60" fmla="*/ 12 w 35"/>
                <a:gd name="T61" fmla="*/ 28 h 94"/>
                <a:gd name="T62" fmla="*/ 12 w 35"/>
                <a:gd name="T63" fmla="*/ 30 h 94"/>
                <a:gd name="T64" fmla="*/ 12 w 35"/>
                <a:gd name="T65" fmla="*/ 35 h 94"/>
                <a:gd name="T66" fmla="*/ 12 w 35"/>
                <a:gd name="T67" fmla="*/ 40 h 94"/>
                <a:gd name="T68" fmla="*/ 14 w 35"/>
                <a:gd name="T69" fmla="*/ 44 h 94"/>
                <a:gd name="T70" fmla="*/ 12 w 35"/>
                <a:gd name="T71" fmla="*/ 47 h 94"/>
                <a:gd name="T72" fmla="*/ 12 w 35"/>
                <a:gd name="T73" fmla="*/ 47 h 94"/>
                <a:gd name="T74" fmla="*/ 12 w 35"/>
                <a:gd name="T75" fmla="*/ 52 h 94"/>
                <a:gd name="T76" fmla="*/ 19 w 35"/>
                <a:gd name="T77" fmla="*/ 56 h 94"/>
                <a:gd name="T78" fmla="*/ 23 w 35"/>
                <a:gd name="T79" fmla="*/ 61 h 94"/>
                <a:gd name="T80" fmla="*/ 26 w 35"/>
                <a:gd name="T81" fmla="*/ 66 h 94"/>
                <a:gd name="T82" fmla="*/ 23 w 35"/>
                <a:gd name="T83" fmla="*/ 68 h 94"/>
                <a:gd name="T84" fmla="*/ 28 w 35"/>
                <a:gd name="T85" fmla="*/ 75 h 94"/>
                <a:gd name="T86" fmla="*/ 30 w 35"/>
                <a:gd name="T87" fmla="*/ 80 h 94"/>
                <a:gd name="T88" fmla="*/ 30 w 35"/>
                <a:gd name="T89" fmla="*/ 85 h 94"/>
                <a:gd name="T90" fmla="*/ 35 w 35"/>
                <a:gd name="T91" fmla="*/ 89 h 94"/>
                <a:gd name="T92" fmla="*/ 33 w 35"/>
                <a:gd name="T93" fmla="*/ 94 h 94"/>
                <a:gd name="T94" fmla="*/ 28 w 35"/>
                <a:gd name="T95" fmla="*/ 92 h 94"/>
                <a:gd name="T96" fmla="*/ 26 w 35"/>
                <a:gd name="T97" fmla="*/ 89 h 94"/>
                <a:gd name="T98" fmla="*/ 26 w 35"/>
                <a:gd name="T99" fmla="*/ 89 h 94"/>
                <a:gd name="T100" fmla="*/ 23 w 35"/>
                <a:gd name="T101" fmla="*/ 87 h 94"/>
                <a:gd name="T102" fmla="*/ 26 w 35"/>
                <a:gd name="T103" fmla="*/ 85 h 94"/>
                <a:gd name="T104" fmla="*/ 23 w 35"/>
                <a:gd name="T105" fmla="*/ 82 h 94"/>
                <a:gd name="T106" fmla="*/ 21 w 35"/>
                <a:gd name="T107"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 h="94">
                  <a:moveTo>
                    <a:pt x="21" y="73"/>
                  </a:moveTo>
                  <a:lnTo>
                    <a:pt x="19" y="68"/>
                  </a:lnTo>
                  <a:lnTo>
                    <a:pt x="14" y="66"/>
                  </a:lnTo>
                  <a:lnTo>
                    <a:pt x="9" y="63"/>
                  </a:lnTo>
                  <a:lnTo>
                    <a:pt x="7" y="59"/>
                  </a:lnTo>
                  <a:lnTo>
                    <a:pt x="5" y="54"/>
                  </a:lnTo>
                  <a:lnTo>
                    <a:pt x="5" y="52"/>
                  </a:lnTo>
                  <a:lnTo>
                    <a:pt x="2" y="47"/>
                  </a:lnTo>
                  <a:lnTo>
                    <a:pt x="5" y="42"/>
                  </a:lnTo>
                  <a:lnTo>
                    <a:pt x="5" y="40"/>
                  </a:lnTo>
                  <a:lnTo>
                    <a:pt x="2" y="35"/>
                  </a:lnTo>
                  <a:lnTo>
                    <a:pt x="0" y="30"/>
                  </a:lnTo>
                  <a:lnTo>
                    <a:pt x="0" y="23"/>
                  </a:lnTo>
                  <a:lnTo>
                    <a:pt x="2" y="16"/>
                  </a:lnTo>
                  <a:lnTo>
                    <a:pt x="2" y="14"/>
                  </a:lnTo>
                  <a:lnTo>
                    <a:pt x="0" y="14"/>
                  </a:lnTo>
                  <a:lnTo>
                    <a:pt x="0" y="14"/>
                  </a:lnTo>
                  <a:lnTo>
                    <a:pt x="0" y="9"/>
                  </a:lnTo>
                  <a:lnTo>
                    <a:pt x="2" y="4"/>
                  </a:lnTo>
                  <a:lnTo>
                    <a:pt x="2" y="2"/>
                  </a:lnTo>
                  <a:lnTo>
                    <a:pt x="2" y="0"/>
                  </a:lnTo>
                  <a:lnTo>
                    <a:pt x="5" y="0"/>
                  </a:lnTo>
                  <a:lnTo>
                    <a:pt x="5" y="2"/>
                  </a:lnTo>
                  <a:lnTo>
                    <a:pt x="5" y="7"/>
                  </a:lnTo>
                  <a:lnTo>
                    <a:pt x="5" y="9"/>
                  </a:lnTo>
                  <a:lnTo>
                    <a:pt x="5" y="11"/>
                  </a:lnTo>
                  <a:lnTo>
                    <a:pt x="7" y="16"/>
                  </a:lnTo>
                  <a:lnTo>
                    <a:pt x="9" y="16"/>
                  </a:lnTo>
                  <a:lnTo>
                    <a:pt x="9" y="23"/>
                  </a:lnTo>
                  <a:lnTo>
                    <a:pt x="9" y="28"/>
                  </a:lnTo>
                  <a:lnTo>
                    <a:pt x="12" y="28"/>
                  </a:lnTo>
                  <a:lnTo>
                    <a:pt x="12" y="30"/>
                  </a:lnTo>
                  <a:lnTo>
                    <a:pt x="12" y="35"/>
                  </a:lnTo>
                  <a:lnTo>
                    <a:pt x="12" y="40"/>
                  </a:lnTo>
                  <a:lnTo>
                    <a:pt x="14" y="44"/>
                  </a:lnTo>
                  <a:lnTo>
                    <a:pt x="12" y="47"/>
                  </a:lnTo>
                  <a:lnTo>
                    <a:pt x="12" y="47"/>
                  </a:lnTo>
                  <a:lnTo>
                    <a:pt x="12" y="52"/>
                  </a:lnTo>
                  <a:lnTo>
                    <a:pt x="19" y="56"/>
                  </a:lnTo>
                  <a:lnTo>
                    <a:pt x="23" y="61"/>
                  </a:lnTo>
                  <a:lnTo>
                    <a:pt x="26" y="66"/>
                  </a:lnTo>
                  <a:lnTo>
                    <a:pt x="23" y="68"/>
                  </a:lnTo>
                  <a:lnTo>
                    <a:pt x="28" y="75"/>
                  </a:lnTo>
                  <a:lnTo>
                    <a:pt x="30" y="80"/>
                  </a:lnTo>
                  <a:lnTo>
                    <a:pt x="30" y="85"/>
                  </a:lnTo>
                  <a:lnTo>
                    <a:pt x="35" y="89"/>
                  </a:lnTo>
                  <a:lnTo>
                    <a:pt x="33" y="94"/>
                  </a:lnTo>
                  <a:lnTo>
                    <a:pt x="28" y="92"/>
                  </a:lnTo>
                  <a:lnTo>
                    <a:pt x="26" y="89"/>
                  </a:lnTo>
                  <a:lnTo>
                    <a:pt x="26" y="89"/>
                  </a:lnTo>
                  <a:lnTo>
                    <a:pt x="23" y="87"/>
                  </a:lnTo>
                  <a:lnTo>
                    <a:pt x="26" y="85"/>
                  </a:lnTo>
                  <a:lnTo>
                    <a:pt x="23" y="82"/>
                  </a:lnTo>
                  <a:lnTo>
                    <a:pt x="21" y="7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7" name="Freeform 1667">
              <a:extLst>
                <a:ext uri="{FF2B5EF4-FFF2-40B4-BE49-F238E27FC236}">
                  <a16:creationId xmlns:a16="http://schemas.microsoft.com/office/drawing/2014/main" id="{F6CEF6DC-C89C-49E4-BFA8-232CB7BEBC90}"/>
                </a:ext>
              </a:extLst>
            </p:cNvPr>
            <p:cNvSpPr>
              <a:spLocks/>
            </p:cNvSpPr>
            <p:nvPr/>
          </p:nvSpPr>
          <p:spPr bwMode="auto">
            <a:xfrm>
              <a:off x="2085227" y="4624353"/>
              <a:ext cx="55563" cy="149225"/>
            </a:xfrm>
            <a:custGeom>
              <a:avLst/>
              <a:gdLst>
                <a:gd name="T0" fmla="*/ 21 w 35"/>
                <a:gd name="T1" fmla="*/ 73 h 94"/>
                <a:gd name="T2" fmla="*/ 19 w 35"/>
                <a:gd name="T3" fmla="*/ 68 h 94"/>
                <a:gd name="T4" fmla="*/ 14 w 35"/>
                <a:gd name="T5" fmla="*/ 66 h 94"/>
                <a:gd name="T6" fmla="*/ 9 w 35"/>
                <a:gd name="T7" fmla="*/ 63 h 94"/>
                <a:gd name="T8" fmla="*/ 7 w 35"/>
                <a:gd name="T9" fmla="*/ 59 h 94"/>
                <a:gd name="T10" fmla="*/ 5 w 35"/>
                <a:gd name="T11" fmla="*/ 54 h 94"/>
                <a:gd name="T12" fmla="*/ 5 w 35"/>
                <a:gd name="T13" fmla="*/ 52 h 94"/>
                <a:gd name="T14" fmla="*/ 2 w 35"/>
                <a:gd name="T15" fmla="*/ 47 h 94"/>
                <a:gd name="T16" fmla="*/ 5 w 35"/>
                <a:gd name="T17" fmla="*/ 42 h 94"/>
                <a:gd name="T18" fmla="*/ 5 w 35"/>
                <a:gd name="T19" fmla="*/ 40 h 94"/>
                <a:gd name="T20" fmla="*/ 2 w 35"/>
                <a:gd name="T21" fmla="*/ 35 h 94"/>
                <a:gd name="T22" fmla="*/ 0 w 35"/>
                <a:gd name="T23" fmla="*/ 30 h 94"/>
                <a:gd name="T24" fmla="*/ 0 w 35"/>
                <a:gd name="T25" fmla="*/ 23 h 94"/>
                <a:gd name="T26" fmla="*/ 2 w 35"/>
                <a:gd name="T27" fmla="*/ 16 h 94"/>
                <a:gd name="T28" fmla="*/ 2 w 35"/>
                <a:gd name="T29" fmla="*/ 14 h 94"/>
                <a:gd name="T30" fmla="*/ 0 w 35"/>
                <a:gd name="T31" fmla="*/ 14 h 94"/>
                <a:gd name="T32" fmla="*/ 0 w 35"/>
                <a:gd name="T33" fmla="*/ 14 h 94"/>
                <a:gd name="T34" fmla="*/ 0 w 35"/>
                <a:gd name="T35" fmla="*/ 9 h 94"/>
                <a:gd name="T36" fmla="*/ 2 w 35"/>
                <a:gd name="T37" fmla="*/ 4 h 94"/>
                <a:gd name="T38" fmla="*/ 2 w 35"/>
                <a:gd name="T39" fmla="*/ 2 h 94"/>
                <a:gd name="T40" fmla="*/ 2 w 35"/>
                <a:gd name="T41" fmla="*/ 0 h 94"/>
                <a:gd name="T42" fmla="*/ 5 w 35"/>
                <a:gd name="T43" fmla="*/ 0 h 94"/>
                <a:gd name="T44" fmla="*/ 5 w 35"/>
                <a:gd name="T45" fmla="*/ 2 h 94"/>
                <a:gd name="T46" fmla="*/ 5 w 35"/>
                <a:gd name="T47" fmla="*/ 7 h 94"/>
                <a:gd name="T48" fmla="*/ 5 w 35"/>
                <a:gd name="T49" fmla="*/ 9 h 94"/>
                <a:gd name="T50" fmla="*/ 5 w 35"/>
                <a:gd name="T51" fmla="*/ 11 h 94"/>
                <a:gd name="T52" fmla="*/ 7 w 35"/>
                <a:gd name="T53" fmla="*/ 16 h 94"/>
                <a:gd name="T54" fmla="*/ 9 w 35"/>
                <a:gd name="T55" fmla="*/ 16 h 94"/>
                <a:gd name="T56" fmla="*/ 9 w 35"/>
                <a:gd name="T57" fmla="*/ 23 h 94"/>
                <a:gd name="T58" fmla="*/ 9 w 35"/>
                <a:gd name="T59" fmla="*/ 28 h 94"/>
                <a:gd name="T60" fmla="*/ 12 w 35"/>
                <a:gd name="T61" fmla="*/ 28 h 94"/>
                <a:gd name="T62" fmla="*/ 12 w 35"/>
                <a:gd name="T63" fmla="*/ 30 h 94"/>
                <a:gd name="T64" fmla="*/ 12 w 35"/>
                <a:gd name="T65" fmla="*/ 35 h 94"/>
                <a:gd name="T66" fmla="*/ 12 w 35"/>
                <a:gd name="T67" fmla="*/ 40 h 94"/>
                <a:gd name="T68" fmla="*/ 14 w 35"/>
                <a:gd name="T69" fmla="*/ 44 h 94"/>
                <a:gd name="T70" fmla="*/ 12 w 35"/>
                <a:gd name="T71" fmla="*/ 47 h 94"/>
                <a:gd name="T72" fmla="*/ 12 w 35"/>
                <a:gd name="T73" fmla="*/ 47 h 94"/>
                <a:gd name="T74" fmla="*/ 12 w 35"/>
                <a:gd name="T75" fmla="*/ 52 h 94"/>
                <a:gd name="T76" fmla="*/ 19 w 35"/>
                <a:gd name="T77" fmla="*/ 56 h 94"/>
                <a:gd name="T78" fmla="*/ 23 w 35"/>
                <a:gd name="T79" fmla="*/ 61 h 94"/>
                <a:gd name="T80" fmla="*/ 26 w 35"/>
                <a:gd name="T81" fmla="*/ 66 h 94"/>
                <a:gd name="T82" fmla="*/ 23 w 35"/>
                <a:gd name="T83" fmla="*/ 68 h 94"/>
                <a:gd name="T84" fmla="*/ 28 w 35"/>
                <a:gd name="T85" fmla="*/ 75 h 94"/>
                <a:gd name="T86" fmla="*/ 30 w 35"/>
                <a:gd name="T87" fmla="*/ 80 h 94"/>
                <a:gd name="T88" fmla="*/ 30 w 35"/>
                <a:gd name="T89" fmla="*/ 85 h 94"/>
                <a:gd name="T90" fmla="*/ 35 w 35"/>
                <a:gd name="T91" fmla="*/ 89 h 94"/>
                <a:gd name="T92" fmla="*/ 33 w 35"/>
                <a:gd name="T93" fmla="*/ 94 h 94"/>
                <a:gd name="T94" fmla="*/ 28 w 35"/>
                <a:gd name="T95" fmla="*/ 92 h 94"/>
                <a:gd name="T96" fmla="*/ 26 w 35"/>
                <a:gd name="T97" fmla="*/ 89 h 94"/>
                <a:gd name="T98" fmla="*/ 26 w 35"/>
                <a:gd name="T99" fmla="*/ 89 h 94"/>
                <a:gd name="T100" fmla="*/ 23 w 35"/>
                <a:gd name="T101" fmla="*/ 87 h 94"/>
                <a:gd name="T102" fmla="*/ 26 w 35"/>
                <a:gd name="T103" fmla="*/ 85 h 94"/>
                <a:gd name="T104" fmla="*/ 23 w 35"/>
                <a:gd name="T105" fmla="*/ 82 h 94"/>
                <a:gd name="T106" fmla="*/ 21 w 35"/>
                <a:gd name="T107"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 h="94">
                  <a:moveTo>
                    <a:pt x="21" y="73"/>
                  </a:moveTo>
                  <a:lnTo>
                    <a:pt x="19" y="68"/>
                  </a:lnTo>
                  <a:lnTo>
                    <a:pt x="14" y="66"/>
                  </a:lnTo>
                  <a:lnTo>
                    <a:pt x="9" y="63"/>
                  </a:lnTo>
                  <a:lnTo>
                    <a:pt x="7" y="59"/>
                  </a:lnTo>
                  <a:lnTo>
                    <a:pt x="5" y="54"/>
                  </a:lnTo>
                  <a:lnTo>
                    <a:pt x="5" y="52"/>
                  </a:lnTo>
                  <a:lnTo>
                    <a:pt x="2" y="47"/>
                  </a:lnTo>
                  <a:lnTo>
                    <a:pt x="5" y="42"/>
                  </a:lnTo>
                  <a:lnTo>
                    <a:pt x="5" y="40"/>
                  </a:lnTo>
                  <a:lnTo>
                    <a:pt x="2" y="35"/>
                  </a:lnTo>
                  <a:lnTo>
                    <a:pt x="0" y="30"/>
                  </a:lnTo>
                  <a:lnTo>
                    <a:pt x="0" y="23"/>
                  </a:lnTo>
                  <a:lnTo>
                    <a:pt x="2" y="16"/>
                  </a:lnTo>
                  <a:lnTo>
                    <a:pt x="2" y="14"/>
                  </a:lnTo>
                  <a:lnTo>
                    <a:pt x="0" y="14"/>
                  </a:lnTo>
                  <a:lnTo>
                    <a:pt x="0" y="14"/>
                  </a:lnTo>
                  <a:lnTo>
                    <a:pt x="0" y="9"/>
                  </a:lnTo>
                  <a:lnTo>
                    <a:pt x="2" y="4"/>
                  </a:lnTo>
                  <a:lnTo>
                    <a:pt x="2" y="2"/>
                  </a:lnTo>
                  <a:lnTo>
                    <a:pt x="2" y="0"/>
                  </a:lnTo>
                  <a:lnTo>
                    <a:pt x="5" y="0"/>
                  </a:lnTo>
                  <a:lnTo>
                    <a:pt x="5" y="2"/>
                  </a:lnTo>
                  <a:lnTo>
                    <a:pt x="5" y="7"/>
                  </a:lnTo>
                  <a:lnTo>
                    <a:pt x="5" y="9"/>
                  </a:lnTo>
                  <a:lnTo>
                    <a:pt x="5" y="11"/>
                  </a:lnTo>
                  <a:lnTo>
                    <a:pt x="7" y="16"/>
                  </a:lnTo>
                  <a:lnTo>
                    <a:pt x="9" y="16"/>
                  </a:lnTo>
                  <a:lnTo>
                    <a:pt x="9" y="23"/>
                  </a:lnTo>
                  <a:lnTo>
                    <a:pt x="9" y="28"/>
                  </a:lnTo>
                  <a:lnTo>
                    <a:pt x="12" y="28"/>
                  </a:lnTo>
                  <a:lnTo>
                    <a:pt x="12" y="30"/>
                  </a:lnTo>
                  <a:lnTo>
                    <a:pt x="12" y="35"/>
                  </a:lnTo>
                  <a:lnTo>
                    <a:pt x="12" y="40"/>
                  </a:lnTo>
                  <a:lnTo>
                    <a:pt x="14" y="44"/>
                  </a:lnTo>
                  <a:lnTo>
                    <a:pt x="12" y="47"/>
                  </a:lnTo>
                  <a:lnTo>
                    <a:pt x="12" y="47"/>
                  </a:lnTo>
                  <a:lnTo>
                    <a:pt x="12" y="52"/>
                  </a:lnTo>
                  <a:lnTo>
                    <a:pt x="19" y="56"/>
                  </a:lnTo>
                  <a:lnTo>
                    <a:pt x="23" y="61"/>
                  </a:lnTo>
                  <a:lnTo>
                    <a:pt x="26" y="66"/>
                  </a:lnTo>
                  <a:lnTo>
                    <a:pt x="23" y="68"/>
                  </a:lnTo>
                  <a:lnTo>
                    <a:pt x="28" y="75"/>
                  </a:lnTo>
                  <a:lnTo>
                    <a:pt x="30" y="80"/>
                  </a:lnTo>
                  <a:lnTo>
                    <a:pt x="30" y="85"/>
                  </a:lnTo>
                  <a:lnTo>
                    <a:pt x="35" y="89"/>
                  </a:lnTo>
                  <a:lnTo>
                    <a:pt x="33" y="94"/>
                  </a:lnTo>
                  <a:lnTo>
                    <a:pt x="28" y="92"/>
                  </a:lnTo>
                  <a:lnTo>
                    <a:pt x="26" y="89"/>
                  </a:lnTo>
                  <a:lnTo>
                    <a:pt x="26" y="89"/>
                  </a:lnTo>
                  <a:lnTo>
                    <a:pt x="23" y="87"/>
                  </a:lnTo>
                  <a:lnTo>
                    <a:pt x="26" y="85"/>
                  </a:lnTo>
                  <a:lnTo>
                    <a:pt x="23" y="82"/>
                  </a:lnTo>
                  <a:lnTo>
                    <a:pt x="21" y="73"/>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8" name="Freeform 1668">
              <a:extLst>
                <a:ext uri="{FF2B5EF4-FFF2-40B4-BE49-F238E27FC236}">
                  <a16:creationId xmlns:a16="http://schemas.microsoft.com/office/drawing/2014/main" id="{B461EF5D-7534-4983-9CF8-0E624362300D}"/>
                </a:ext>
              </a:extLst>
            </p:cNvPr>
            <p:cNvSpPr>
              <a:spLocks/>
            </p:cNvSpPr>
            <p:nvPr/>
          </p:nvSpPr>
          <p:spPr bwMode="auto">
            <a:xfrm>
              <a:off x="2156665" y="4522752"/>
              <a:ext cx="85725" cy="85725"/>
            </a:xfrm>
            <a:custGeom>
              <a:avLst/>
              <a:gdLst>
                <a:gd name="T0" fmla="*/ 4 w 54"/>
                <a:gd name="T1" fmla="*/ 7 h 54"/>
                <a:gd name="T2" fmla="*/ 9 w 54"/>
                <a:gd name="T3" fmla="*/ 5 h 54"/>
                <a:gd name="T4" fmla="*/ 14 w 54"/>
                <a:gd name="T5" fmla="*/ 5 h 54"/>
                <a:gd name="T6" fmla="*/ 16 w 54"/>
                <a:gd name="T7" fmla="*/ 2 h 54"/>
                <a:gd name="T8" fmla="*/ 21 w 54"/>
                <a:gd name="T9" fmla="*/ 2 h 54"/>
                <a:gd name="T10" fmla="*/ 26 w 54"/>
                <a:gd name="T11" fmla="*/ 0 h 54"/>
                <a:gd name="T12" fmla="*/ 33 w 54"/>
                <a:gd name="T13" fmla="*/ 2 h 54"/>
                <a:gd name="T14" fmla="*/ 37 w 54"/>
                <a:gd name="T15" fmla="*/ 2 h 54"/>
                <a:gd name="T16" fmla="*/ 40 w 54"/>
                <a:gd name="T17" fmla="*/ 5 h 54"/>
                <a:gd name="T18" fmla="*/ 42 w 54"/>
                <a:gd name="T19" fmla="*/ 12 h 54"/>
                <a:gd name="T20" fmla="*/ 47 w 54"/>
                <a:gd name="T21" fmla="*/ 9 h 54"/>
                <a:gd name="T22" fmla="*/ 54 w 54"/>
                <a:gd name="T23" fmla="*/ 9 h 54"/>
                <a:gd name="T24" fmla="*/ 49 w 54"/>
                <a:gd name="T25" fmla="*/ 12 h 54"/>
                <a:gd name="T26" fmla="*/ 42 w 54"/>
                <a:gd name="T27" fmla="*/ 14 h 54"/>
                <a:gd name="T28" fmla="*/ 45 w 54"/>
                <a:gd name="T29" fmla="*/ 21 h 54"/>
                <a:gd name="T30" fmla="*/ 40 w 54"/>
                <a:gd name="T31" fmla="*/ 26 h 54"/>
                <a:gd name="T32" fmla="*/ 40 w 54"/>
                <a:gd name="T33" fmla="*/ 28 h 54"/>
                <a:gd name="T34" fmla="*/ 37 w 54"/>
                <a:gd name="T35" fmla="*/ 31 h 54"/>
                <a:gd name="T36" fmla="*/ 35 w 54"/>
                <a:gd name="T37" fmla="*/ 33 h 54"/>
                <a:gd name="T38" fmla="*/ 33 w 54"/>
                <a:gd name="T39" fmla="*/ 35 h 54"/>
                <a:gd name="T40" fmla="*/ 30 w 54"/>
                <a:gd name="T41" fmla="*/ 38 h 54"/>
                <a:gd name="T42" fmla="*/ 28 w 54"/>
                <a:gd name="T43" fmla="*/ 40 h 54"/>
                <a:gd name="T44" fmla="*/ 30 w 54"/>
                <a:gd name="T45" fmla="*/ 42 h 54"/>
                <a:gd name="T46" fmla="*/ 35 w 54"/>
                <a:gd name="T47" fmla="*/ 42 h 54"/>
                <a:gd name="T48" fmla="*/ 33 w 54"/>
                <a:gd name="T49" fmla="*/ 47 h 54"/>
                <a:gd name="T50" fmla="*/ 28 w 54"/>
                <a:gd name="T51" fmla="*/ 47 h 54"/>
                <a:gd name="T52" fmla="*/ 23 w 54"/>
                <a:gd name="T53" fmla="*/ 47 h 54"/>
                <a:gd name="T54" fmla="*/ 21 w 54"/>
                <a:gd name="T55" fmla="*/ 54 h 54"/>
                <a:gd name="T56" fmla="*/ 19 w 54"/>
                <a:gd name="T57" fmla="*/ 49 h 54"/>
                <a:gd name="T58" fmla="*/ 16 w 54"/>
                <a:gd name="T59" fmla="*/ 49 h 54"/>
                <a:gd name="T60" fmla="*/ 11 w 54"/>
                <a:gd name="T61" fmla="*/ 45 h 54"/>
                <a:gd name="T62" fmla="*/ 7 w 54"/>
                <a:gd name="T63" fmla="*/ 47 h 54"/>
                <a:gd name="T64" fmla="*/ 7 w 54"/>
                <a:gd name="T65" fmla="*/ 49 h 54"/>
                <a:gd name="T66" fmla="*/ 2 w 54"/>
                <a:gd name="T67" fmla="*/ 52 h 54"/>
                <a:gd name="T68" fmla="*/ 2 w 54"/>
                <a:gd name="T69" fmla="*/ 47 h 54"/>
                <a:gd name="T70" fmla="*/ 0 w 54"/>
                <a:gd name="T71" fmla="*/ 33 h 54"/>
                <a:gd name="T72" fmla="*/ 2 w 54"/>
                <a:gd name="T73" fmla="*/ 23 h 54"/>
                <a:gd name="T74" fmla="*/ 0 w 54"/>
                <a:gd name="T75" fmla="*/ 19 h 54"/>
                <a:gd name="T76" fmla="*/ 2 w 54"/>
                <a:gd name="T77" fmla="*/ 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54">
                  <a:moveTo>
                    <a:pt x="2" y="9"/>
                  </a:moveTo>
                  <a:lnTo>
                    <a:pt x="4" y="7"/>
                  </a:lnTo>
                  <a:lnTo>
                    <a:pt x="7" y="7"/>
                  </a:lnTo>
                  <a:lnTo>
                    <a:pt x="9" y="5"/>
                  </a:lnTo>
                  <a:lnTo>
                    <a:pt x="11" y="2"/>
                  </a:lnTo>
                  <a:lnTo>
                    <a:pt x="14" y="5"/>
                  </a:lnTo>
                  <a:lnTo>
                    <a:pt x="14" y="5"/>
                  </a:lnTo>
                  <a:lnTo>
                    <a:pt x="16" y="2"/>
                  </a:lnTo>
                  <a:lnTo>
                    <a:pt x="16" y="2"/>
                  </a:lnTo>
                  <a:lnTo>
                    <a:pt x="21" y="2"/>
                  </a:lnTo>
                  <a:lnTo>
                    <a:pt x="23" y="5"/>
                  </a:lnTo>
                  <a:lnTo>
                    <a:pt x="26" y="0"/>
                  </a:lnTo>
                  <a:lnTo>
                    <a:pt x="28" y="0"/>
                  </a:lnTo>
                  <a:lnTo>
                    <a:pt x="33" y="2"/>
                  </a:lnTo>
                  <a:lnTo>
                    <a:pt x="35" y="0"/>
                  </a:lnTo>
                  <a:lnTo>
                    <a:pt x="37" y="2"/>
                  </a:lnTo>
                  <a:lnTo>
                    <a:pt x="40" y="0"/>
                  </a:lnTo>
                  <a:lnTo>
                    <a:pt x="40" y="5"/>
                  </a:lnTo>
                  <a:lnTo>
                    <a:pt x="42" y="9"/>
                  </a:lnTo>
                  <a:lnTo>
                    <a:pt x="42" y="12"/>
                  </a:lnTo>
                  <a:lnTo>
                    <a:pt x="45" y="12"/>
                  </a:lnTo>
                  <a:lnTo>
                    <a:pt x="47" y="9"/>
                  </a:lnTo>
                  <a:lnTo>
                    <a:pt x="49" y="9"/>
                  </a:lnTo>
                  <a:lnTo>
                    <a:pt x="54" y="9"/>
                  </a:lnTo>
                  <a:lnTo>
                    <a:pt x="54" y="12"/>
                  </a:lnTo>
                  <a:lnTo>
                    <a:pt x="49" y="12"/>
                  </a:lnTo>
                  <a:lnTo>
                    <a:pt x="47" y="14"/>
                  </a:lnTo>
                  <a:lnTo>
                    <a:pt x="42" y="14"/>
                  </a:lnTo>
                  <a:lnTo>
                    <a:pt x="40" y="19"/>
                  </a:lnTo>
                  <a:lnTo>
                    <a:pt x="45" y="21"/>
                  </a:lnTo>
                  <a:lnTo>
                    <a:pt x="40" y="23"/>
                  </a:lnTo>
                  <a:lnTo>
                    <a:pt x="40" y="26"/>
                  </a:lnTo>
                  <a:lnTo>
                    <a:pt x="40" y="26"/>
                  </a:lnTo>
                  <a:lnTo>
                    <a:pt x="40" y="28"/>
                  </a:lnTo>
                  <a:lnTo>
                    <a:pt x="37" y="28"/>
                  </a:lnTo>
                  <a:lnTo>
                    <a:pt x="37" y="31"/>
                  </a:lnTo>
                  <a:lnTo>
                    <a:pt x="35" y="31"/>
                  </a:lnTo>
                  <a:lnTo>
                    <a:pt x="35" y="33"/>
                  </a:lnTo>
                  <a:lnTo>
                    <a:pt x="33" y="35"/>
                  </a:lnTo>
                  <a:lnTo>
                    <a:pt x="33" y="35"/>
                  </a:lnTo>
                  <a:lnTo>
                    <a:pt x="30" y="35"/>
                  </a:lnTo>
                  <a:lnTo>
                    <a:pt x="30" y="38"/>
                  </a:lnTo>
                  <a:lnTo>
                    <a:pt x="30" y="38"/>
                  </a:lnTo>
                  <a:lnTo>
                    <a:pt x="28" y="40"/>
                  </a:lnTo>
                  <a:lnTo>
                    <a:pt x="28" y="40"/>
                  </a:lnTo>
                  <a:lnTo>
                    <a:pt x="30" y="42"/>
                  </a:lnTo>
                  <a:lnTo>
                    <a:pt x="35" y="42"/>
                  </a:lnTo>
                  <a:lnTo>
                    <a:pt x="35" y="42"/>
                  </a:lnTo>
                  <a:lnTo>
                    <a:pt x="35" y="45"/>
                  </a:lnTo>
                  <a:lnTo>
                    <a:pt x="33" y="47"/>
                  </a:lnTo>
                  <a:lnTo>
                    <a:pt x="28" y="47"/>
                  </a:lnTo>
                  <a:lnTo>
                    <a:pt x="28" y="47"/>
                  </a:lnTo>
                  <a:lnTo>
                    <a:pt x="23" y="47"/>
                  </a:lnTo>
                  <a:lnTo>
                    <a:pt x="23" y="47"/>
                  </a:lnTo>
                  <a:lnTo>
                    <a:pt x="21" y="52"/>
                  </a:lnTo>
                  <a:lnTo>
                    <a:pt x="21" y="54"/>
                  </a:lnTo>
                  <a:lnTo>
                    <a:pt x="21" y="54"/>
                  </a:lnTo>
                  <a:lnTo>
                    <a:pt x="19" y="49"/>
                  </a:lnTo>
                  <a:lnTo>
                    <a:pt x="19" y="49"/>
                  </a:lnTo>
                  <a:lnTo>
                    <a:pt x="16" y="49"/>
                  </a:lnTo>
                  <a:lnTo>
                    <a:pt x="14" y="49"/>
                  </a:lnTo>
                  <a:lnTo>
                    <a:pt x="11" y="45"/>
                  </a:lnTo>
                  <a:lnTo>
                    <a:pt x="9" y="45"/>
                  </a:lnTo>
                  <a:lnTo>
                    <a:pt x="7" y="47"/>
                  </a:lnTo>
                  <a:lnTo>
                    <a:pt x="9" y="49"/>
                  </a:lnTo>
                  <a:lnTo>
                    <a:pt x="7" y="49"/>
                  </a:lnTo>
                  <a:lnTo>
                    <a:pt x="4" y="52"/>
                  </a:lnTo>
                  <a:lnTo>
                    <a:pt x="2" y="52"/>
                  </a:lnTo>
                  <a:lnTo>
                    <a:pt x="2" y="49"/>
                  </a:lnTo>
                  <a:lnTo>
                    <a:pt x="2" y="47"/>
                  </a:lnTo>
                  <a:lnTo>
                    <a:pt x="0" y="40"/>
                  </a:lnTo>
                  <a:lnTo>
                    <a:pt x="0" y="33"/>
                  </a:lnTo>
                  <a:lnTo>
                    <a:pt x="2" y="31"/>
                  </a:lnTo>
                  <a:lnTo>
                    <a:pt x="2" y="23"/>
                  </a:lnTo>
                  <a:lnTo>
                    <a:pt x="2" y="21"/>
                  </a:lnTo>
                  <a:lnTo>
                    <a:pt x="0" y="19"/>
                  </a:lnTo>
                  <a:lnTo>
                    <a:pt x="4" y="12"/>
                  </a:lnTo>
                  <a:lnTo>
                    <a:pt x="2"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69" name="Freeform 1669">
              <a:extLst>
                <a:ext uri="{FF2B5EF4-FFF2-40B4-BE49-F238E27FC236}">
                  <a16:creationId xmlns:a16="http://schemas.microsoft.com/office/drawing/2014/main" id="{93E264A6-D7A4-4F64-9F26-4AA71BD18EB6}"/>
                </a:ext>
              </a:extLst>
            </p:cNvPr>
            <p:cNvSpPr>
              <a:spLocks/>
            </p:cNvSpPr>
            <p:nvPr/>
          </p:nvSpPr>
          <p:spPr bwMode="auto">
            <a:xfrm>
              <a:off x="2156665" y="4522752"/>
              <a:ext cx="85725" cy="85725"/>
            </a:xfrm>
            <a:custGeom>
              <a:avLst/>
              <a:gdLst>
                <a:gd name="T0" fmla="*/ 4 w 54"/>
                <a:gd name="T1" fmla="*/ 7 h 54"/>
                <a:gd name="T2" fmla="*/ 9 w 54"/>
                <a:gd name="T3" fmla="*/ 5 h 54"/>
                <a:gd name="T4" fmla="*/ 14 w 54"/>
                <a:gd name="T5" fmla="*/ 5 h 54"/>
                <a:gd name="T6" fmla="*/ 16 w 54"/>
                <a:gd name="T7" fmla="*/ 2 h 54"/>
                <a:gd name="T8" fmla="*/ 21 w 54"/>
                <a:gd name="T9" fmla="*/ 2 h 54"/>
                <a:gd name="T10" fmla="*/ 26 w 54"/>
                <a:gd name="T11" fmla="*/ 0 h 54"/>
                <a:gd name="T12" fmla="*/ 33 w 54"/>
                <a:gd name="T13" fmla="*/ 2 h 54"/>
                <a:gd name="T14" fmla="*/ 37 w 54"/>
                <a:gd name="T15" fmla="*/ 2 h 54"/>
                <a:gd name="T16" fmla="*/ 40 w 54"/>
                <a:gd name="T17" fmla="*/ 5 h 54"/>
                <a:gd name="T18" fmla="*/ 42 w 54"/>
                <a:gd name="T19" fmla="*/ 12 h 54"/>
                <a:gd name="T20" fmla="*/ 47 w 54"/>
                <a:gd name="T21" fmla="*/ 9 h 54"/>
                <a:gd name="T22" fmla="*/ 54 w 54"/>
                <a:gd name="T23" fmla="*/ 9 h 54"/>
                <a:gd name="T24" fmla="*/ 49 w 54"/>
                <a:gd name="T25" fmla="*/ 12 h 54"/>
                <a:gd name="T26" fmla="*/ 42 w 54"/>
                <a:gd name="T27" fmla="*/ 14 h 54"/>
                <a:gd name="T28" fmla="*/ 45 w 54"/>
                <a:gd name="T29" fmla="*/ 21 h 54"/>
                <a:gd name="T30" fmla="*/ 40 w 54"/>
                <a:gd name="T31" fmla="*/ 26 h 54"/>
                <a:gd name="T32" fmla="*/ 40 w 54"/>
                <a:gd name="T33" fmla="*/ 28 h 54"/>
                <a:gd name="T34" fmla="*/ 37 w 54"/>
                <a:gd name="T35" fmla="*/ 31 h 54"/>
                <a:gd name="T36" fmla="*/ 35 w 54"/>
                <a:gd name="T37" fmla="*/ 33 h 54"/>
                <a:gd name="T38" fmla="*/ 33 w 54"/>
                <a:gd name="T39" fmla="*/ 35 h 54"/>
                <a:gd name="T40" fmla="*/ 30 w 54"/>
                <a:gd name="T41" fmla="*/ 38 h 54"/>
                <a:gd name="T42" fmla="*/ 28 w 54"/>
                <a:gd name="T43" fmla="*/ 40 h 54"/>
                <a:gd name="T44" fmla="*/ 30 w 54"/>
                <a:gd name="T45" fmla="*/ 42 h 54"/>
                <a:gd name="T46" fmla="*/ 35 w 54"/>
                <a:gd name="T47" fmla="*/ 42 h 54"/>
                <a:gd name="T48" fmla="*/ 33 w 54"/>
                <a:gd name="T49" fmla="*/ 47 h 54"/>
                <a:gd name="T50" fmla="*/ 28 w 54"/>
                <a:gd name="T51" fmla="*/ 47 h 54"/>
                <a:gd name="T52" fmla="*/ 23 w 54"/>
                <a:gd name="T53" fmla="*/ 47 h 54"/>
                <a:gd name="T54" fmla="*/ 21 w 54"/>
                <a:gd name="T55" fmla="*/ 54 h 54"/>
                <a:gd name="T56" fmla="*/ 19 w 54"/>
                <a:gd name="T57" fmla="*/ 49 h 54"/>
                <a:gd name="T58" fmla="*/ 16 w 54"/>
                <a:gd name="T59" fmla="*/ 49 h 54"/>
                <a:gd name="T60" fmla="*/ 11 w 54"/>
                <a:gd name="T61" fmla="*/ 45 h 54"/>
                <a:gd name="T62" fmla="*/ 7 w 54"/>
                <a:gd name="T63" fmla="*/ 47 h 54"/>
                <a:gd name="T64" fmla="*/ 7 w 54"/>
                <a:gd name="T65" fmla="*/ 49 h 54"/>
                <a:gd name="T66" fmla="*/ 2 w 54"/>
                <a:gd name="T67" fmla="*/ 52 h 54"/>
                <a:gd name="T68" fmla="*/ 2 w 54"/>
                <a:gd name="T69" fmla="*/ 47 h 54"/>
                <a:gd name="T70" fmla="*/ 0 w 54"/>
                <a:gd name="T71" fmla="*/ 33 h 54"/>
                <a:gd name="T72" fmla="*/ 2 w 54"/>
                <a:gd name="T73" fmla="*/ 23 h 54"/>
                <a:gd name="T74" fmla="*/ 0 w 54"/>
                <a:gd name="T75" fmla="*/ 19 h 54"/>
                <a:gd name="T76" fmla="*/ 2 w 54"/>
                <a:gd name="T77" fmla="*/ 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54">
                  <a:moveTo>
                    <a:pt x="2" y="9"/>
                  </a:moveTo>
                  <a:lnTo>
                    <a:pt x="4" y="7"/>
                  </a:lnTo>
                  <a:lnTo>
                    <a:pt x="7" y="7"/>
                  </a:lnTo>
                  <a:lnTo>
                    <a:pt x="9" y="5"/>
                  </a:lnTo>
                  <a:lnTo>
                    <a:pt x="11" y="2"/>
                  </a:lnTo>
                  <a:lnTo>
                    <a:pt x="14" y="5"/>
                  </a:lnTo>
                  <a:lnTo>
                    <a:pt x="14" y="5"/>
                  </a:lnTo>
                  <a:lnTo>
                    <a:pt x="16" y="2"/>
                  </a:lnTo>
                  <a:lnTo>
                    <a:pt x="16" y="2"/>
                  </a:lnTo>
                  <a:lnTo>
                    <a:pt x="21" y="2"/>
                  </a:lnTo>
                  <a:lnTo>
                    <a:pt x="23" y="5"/>
                  </a:lnTo>
                  <a:lnTo>
                    <a:pt x="26" y="0"/>
                  </a:lnTo>
                  <a:lnTo>
                    <a:pt x="28" y="0"/>
                  </a:lnTo>
                  <a:lnTo>
                    <a:pt x="33" y="2"/>
                  </a:lnTo>
                  <a:lnTo>
                    <a:pt x="35" y="0"/>
                  </a:lnTo>
                  <a:lnTo>
                    <a:pt x="37" y="2"/>
                  </a:lnTo>
                  <a:lnTo>
                    <a:pt x="40" y="0"/>
                  </a:lnTo>
                  <a:lnTo>
                    <a:pt x="40" y="5"/>
                  </a:lnTo>
                  <a:lnTo>
                    <a:pt x="42" y="9"/>
                  </a:lnTo>
                  <a:lnTo>
                    <a:pt x="42" y="12"/>
                  </a:lnTo>
                  <a:lnTo>
                    <a:pt x="45" y="12"/>
                  </a:lnTo>
                  <a:lnTo>
                    <a:pt x="47" y="9"/>
                  </a:lnTo>
                  <a:lnTo>
                    <a:pt x="49" y="9"/>
                  </a:lnTo>
                  <a:lnTo>
                    <a:pt x="54" y="9"/>
                  </a:lnTo>
                  <a:lnTo>
                    <a:pt x="54" y="12"/>
                  </a:lnTo>
                  <a:lnTo>
                    <a:pt x="49" y="12"/>
                  </a:lnTo>
                  <a:lnTo>
                    <a:pt x="47" y="14"/>
                  </a:lnTo>
                  <a:lnTo>
                    <a:pt x="42" y="14"/>
                  </a:lnTo>
                  <a:lnTo>
                    <a:pt x="40" y="19"/>
                  </a:lnTo>
                  <a:lnTo>
                    <a:pt x="45" y="21"/>
                  </a:lnTo>
                  <a:lnTo>
                    <a:pt x="40" y="23"/>
                  </a:lnTo>
                  <a:lnTo>
                    <a:pt x="40" y="26"/>
                  </a:lnTo>
                  <a:lnTo>
                    <a:pt x="40" y="26"/>
                  </a:lnTo>
                  <a:lnTo>
                    <a:pt x="40" y="28"/>
                  </a:lnTo>
                  <a:lnTo>
                    <a:pt x="37" y="28"/>
                  </a:lnTo>
                  <a:lnTo>
                    <a:pt x="37" y="31"/>
                  </a:lnTo>
                  <a:lnTo>
                    <a:pt x="35" y="31"/>
                  </a:lnTo>
                  <a:lnTo>
                    <a:pt x="35" y="33"/>
                  </a:lnTo>
                  <a:lnTo>
                    <a:pt x="33" y="35"/>
                  </a:lnTo>
                  <a:lnTo>
                    <a:pt x="33" y="35"/>
                  </a:lnTo>
                  <a:lnTo>
                    <a:pt x="30" y="35"/>
                  </a:lnTo>
                  <a:lnTo>
                    <a:pt x="30" y="38"/>
                  </a:lnTo>
                  <a:lnTo>
                    <a:pt x="30" y="38"/>
                  </a:lnTo>
                  <a:lnTo>
                    <a:pt x="28" y="40"/>
                  </a:lnTo>
                  <a:lnTo>
                    <a:pt x="28" y="40"/>
                  </a:lnTo>
                  <a:lnTo>
                    <a:pt x="30" y="42"/>
                  </a:lnTo>
                  <a:lnTo>
                    <a:pt x="35" y="42"/>
                  </a:lnTo>
                  <a:lnTo>
                    <a:pt x="35" y="42"/>
                  </a:lnTo>
                  <a:lnTo>
                    <a:pt x="35" y="45"/>
                  </a:lnTo>
                  <a:lnTo>
                    <a:pt x="33" y="47"/>
                  </a:lnTo>
                  <a:lnTo>
                    <a:pt x="28" y="47"/>
                  </a:lnTo>
                  <a:lnTo>
                    <a:pt x="28" y="47"/>
                  </a:lnTo>
                  <a:lnTo>
                    <a:pt x="23" y="47"/>
                  </a:lnTo>
                  <a:lnTo>
                    <a:pt x="23" y="47"/>
                  </a:lnTo>
                  <a:lnTo>
                    <a:pt x="21" y="52"/>
                  </a:lnTo>
                  <a:lnTo>
                    <a:pt x="21" y="54"/>
                  </a:lnTo>
                  <a:lnTo>
                    <a:pt x="21" y="54"/>
                  </a:lnTo>
                  <a:lnTo>
                    <a:pt x="19" y="49"/>
                  </a:lnTo>
                  <a:lnTo>
                    <a:pt x="19" y="49"/>
                  </a:lnTo>
                  <a:lnTo>
                    <a:pt x="16" y="49"/>
                  </a:lnTo>
                  <a:lnTo>
                    <a:pt x="14" y="49"/>
                  </a:lnTo>
                  <a:lnTo>
                    <a:pt x="11" y="45"/>
                  </a:lnTo>
                  <a:lnTo>
                    <a:pt x="9" y="45"/>
                  </a:lnTo>
                  <a:lnTo>
                    <a:pt x="7" y="47"/>
                  </a:lnTo>
                  <a:lnTo>
                    <a:pt x="9" y="49"/>
                  </a:lnTo>
                  <a:lnTo>
                    <a:pt x="7" y="49"/>
                  </a:lnTo>
                  <a:lnTo>
                    <a:pt x="4" y="52"/>
                  </a:lnTo>
                  <a:lnTo>
                    <a:pt x="2" y="52"/>
                  </a:lnTo>
                  <a:lnTo>
                    <a:pt x="2" y="49"/>
                  </a:lnTo>
                  <a:lnTo>
                    <a:pt x="2" y="47"/>
                  </a:lnTo>
                  <a:lnTo>
                    <a:pt x="0" y="40"/>
                  </a:lnTo>
                  <a:lnTo>
                    <a:pt x="0" y="33"/>
                  </a:lnTo>
                  <a:lnTo>
                    <a:pt x="2" y="31"/>
                  </a:lnTo>
                  <a:lnTo>
                    <a:pt x="2" y="23"/>
                  </a:lnTo>
                  <a:lnTo>
                    <a:pt x="2" y="21"/>
                  </a:lnTo>
                  <a:lnTo>
                    <a:pt x="0" y="19"/>
                  </a:lnTo>
                  <a:lnTo>
                    <a:pt x="4" y="12"/>
                  </a:lnTo>
                  <a:lnTo>
                    <a:pt x="2" y="9"/>
                  </a:lnTo>
                </a:path>
              </a:pathLst>
            </a:custGeom>
            <a:solidFill>
              <a:srgbClr val="FFFFFF"/>
            </a:solid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0" name="Freeform 1670">
              <a:extLst>
                <a:ext uri="{FF2B5EF4-FFF2-40B4-BE49-F238E27FC236}">
                  <a16:creationId xmlns:a16="http://schemas.microsoft.com/office/drawing/2014/main" id="{BC8BB8EE-6E30-492D-8CF0-A3921B777640}"/>
                </a:ext>
              </a:extLst>
            </p:cNvPr>
            <p:cNvSpPr>
              <a:spLocks/>
            </p:cNvSpPr>
            <p:nvPr/>
          </p:nvSpPr>
          <p:spPr bwMode="auto">
            <a:xfrm>
              <a:off x="2024903" y="4991065"/>
              <a:ext cx="52388" cy="38100"/>
            </a:xfrm>
            <a:custGeom>
              <a:avLst/>
              <a:gdLst>
                <a:gd name="T0" fmla="*/ 31 w 33"/>
                <a:gd name="T1" fmla="*/ 5 h 24"/>
                <a:gd name="T2" fmla="*/ 31 w 33"/>
                <a:gd name="T3" fmla="*/ 5 h 24"/>
                <a:gd name="T4" fmla="*/ 28 w 33"/>
                <a:gd name="T5" fmla="*/ 5 h 24"/>
                <a:gd name="T6" fmla="*/ 26 w 33"/>
                <a:gd name="T7" fmla="*/ 5 h 24"/>
                <a:gd name="T8" fmla="*/ 24 w 33"/>
                <a:gd name="T9" fmla="*/ 5 h 24"/>
                <a:gd name="T10" fmla="*/ 24 w 33"/>
                <a:gd name="T11" fmla="*/ 5 h 24"/>
                <a:gd name="T12" fmla="*/ 24 w 33"/>
                <a:gd name="T13" fmla="*/ 7 h 24"/>
                <a:gd name="T14" fmla="*/ 21 w 33"/>
                <a:gd name="T15" fmla="*/ 7 h 24"/>
                <a:gd name="T16" fmla="*/ 21 w 33"/>
                <a:gd name="T17" fmla="*/ 5 h 24"/>
                <a:gd name="T18" fmla="*/ 21 w 33"/>
                <a:gd name="T19" fmla="*/ 5 h 24"/>
                <a:gd name="T20" fmla="*/ 19 w 33"/>
                <a:gd name="T21" fmla="*/ 7 h 24"/>
                <a:gd name="T22" fmla="*/ 19 w 33"/>
                <a:gd name="T23" fmla="*/ 7 h 24"/>
                <a:gd name="T24" fmla="*/ 17 w 33"/>
                <a:gd name="T25" fmla="*/ 7 h 24"/>
                <a:gd name="T26" fmla="*/ 17 w 33"/>
                <a:gd name="T27" fmla="*/ 10 h 24"/>
                <a:gd name="T28" fmla="*/ 17 w 33"/>
                <a:gd name="T29" fmla="*/ 10 h 24"/>
                <a:gd name="T30" fmla="*/ 17 w 33"/>
                <a:gd name="T31" fmla="*/ 10 h 24"/>
                <a:gd name="T32" fmla="*/ 17 w 33"/>
                <a:gd name="T33" fmla="*/ 10 h 24"/>
                <a:gd name="T34" fmla="*/ 17 w 33"/>
                <a:gd name="T35" fmla="*/ 10 h 24"/>
                <a:gd name="T36" fmla="*/ 14 w 33"/>
                <a:gd name="T37" fmla="*/ 12 h 24"/>
                <a:gd name="T38" fmla="*/ 12 w 33"/>
                <a:gd name="T39" fmla="*/ 12 h 24"/>
                <a:gd name="T40" fmla="*/ 12 w 33"/>
                <a:gd name="T41" fmla="*/ 14 h 24"/>
                <a:gd name="T42" fmla="*/ 9 w 33"/>
                <a:gd name="T43" fmla="*/ 14 h 24"/>
                <a:gd name="T44" fmla="*/ 9 w 33"/>
                <a:gd name="T45" fmla="*/ 17 h 24"/>
                <a:gd name="T46" fmla="*/ 7 w 33"/>
                <a:gd name="T47" fmla="*/ 17 h 24"/>
                <a:gd name="T48" fmla="*/ 7 w 33"/>
                <a:gd name="T49" fmla="*/ 19 h 24"/>
                <a:gd name="T50" fmla="*/ 7 w 33"/>
                <a:gd name="T51" fmla="*/ 19 h 24"/>
                <a:gd name="T52" fmla="*/ 5 w 33"/>
                <a:gd name="T53" fmla="*/ 19 h 24"/>
                <a:gd name="T54" fmla="*/ 2 w 33"/>
                <a:gd name="T55" fmla="*/ 21 h 24"/>
                <a:gd name="T56" fmla="*/ 0 w 33"/>
                <a:gd name="T57" fmla="*/ 24 h 24"/>
                <a:gd name="T58" fmla="*/ 0 w 33"/>
                <a:gd name="T59" fmla="*/ 24 h 24"/>
                <a:gd name="T60" fmla="*/ 0 w 33"/>
                <a:gd name="T61" fmla="*/ 21 h 24"/>
                <a:gd name="T62" fmla="*/ 2 w 33"/>
                <a:gd name="T63" fmla="*/ 19 h 24"/>
                <a:gd name="T64" fmla="*/ 2 w 33"/>
                <a:gd name="T65" fmla="*/ 19 h 24"/>
                <a:gd name="T66" fmla="*/ 2 w 33"/>
                <a:gd name="T67" fmla="*/ 17 h 24"/>
                <a:gd name="T68" fmla="*/ 5 w 33"/>
                <a:gd name="T69" fmla="*/ 14 h 24"/>
                <a:gd name="T70" fmla="*/ 7 w 33"/>
                <a:gd name="T71" fmla="*/ 12 h 24"/>
                <a:gd name="T72" fmla="*/ 9 w 33"/>
                <a:gd name="T73" fmla="*/ 7 h 24"/>
                <a:gd name="T74" fmla="*/ 9 w 33"/>
                <a:gd name="T75" fmla="*/ 7 h 24"/>
                <a:gd name="T76" fmla="*/ 12 w 33"/>
                <a:gd name="T77" fmla="*/ 7 h 24"/>
                <a:gd name="T78" fmla="*/ 12 w 33"/>
                <a:gd name="T79" fmla="*/ 5 h 24"/>
                <a:gd name="T80" fmla="*/ 14 w 33"/>
                <a:gd name="T81" fmla="*/ 5 h 24"/>
                <a:gd name="T82" fmla="*/ 17 w 33"/>
                <a:gd name="T83" fmla="*/ 5 h 24"/>
                <a:gd name="T84" fmla="*/ 19 w 33"/>
                <a:gd name="T85" fmla="*/ 2 h 24"/>
                <a:gd name="T86" fmla="*/ 19 w 33"/>
                <a:gd name="T87" fmla="*/ 2 h 24"/>
                <a:gd name="T88" fmla="*/ 19 w 33"/>
                <a:gd name="T89" fmla="*/ 0 h 24"/>
                <a:gd name="T90" fmla="*/ 21 w 33"/>
                <a:gd name="T91" fmla="*/ 0 h 24"/>
                <a:gd name="T92" fmla="*/ 26 w 33"/>
                <a:gd name="T93" fmla="*/ 0 h 24"/>
                <a:gd name="T94" fmla="*/ 28 w 33"/>
                <a:gd name="T95" fmla="*/ 0 h 24"/>
                <a:gd name="T96" fmla="*/ 31 w 33"/>
                <a:gd name="T97" fmla="*/ 2 h 24"/>
                <a:gd name="T98" fmla="*/ 33 w 33"/>
                <a:gd name="T99" fmla="*/ 5 h 24"/>
                <a:gd name="T100" fmla="*/ 31 w 33"/>
                <a:gd name="T10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24">
                  <a:moveTo>
                    <a:pt x="31" y="5"/>
                  </a:moveTo>
                  <a:lnTo>
                    <a:pt x="31" y="5"/>
                  </a:lnTo>
                  <a:lnTo>
                    <a:pt x="28" y="5"/>
                  </a:lnTo>
                  <a:lnTo>
                    <a:pt x="26" y="5"/>
                  </a:lnTo>
                  <a:lnTo>
                    <a:pt x="24" y="5"/>
                  </a:lnTo>
                  <a:lnTo>
                    <a:pt x="24" y="5"/>
                  </a:lnTo>
                  <a:lnTo>
                    <a:pt x="24" y="7"/>
                  </a:lnTo>
                  <a:lnTo>
                    <a:pt x="21" y="7"/>
                  </a:lnTo>
                  <a:lnTo>
                    <a:pt x="21" y="5"/>
                  </a:lnTo>
                  <a:lnTo>
                    <a:pt x="21" y="5"/>
                  </a:lnTo>
                  <a:lnTo>
                    <a:pt x="19" y="7"/>
                  </a:lnTo>
                  <a:lnTo>
                    <a:pt x="19" y="7"/>
                  </a:lnTo>
                  <a:lnTo>
                    <a:pt x="17" y="7"/>
                  </a:lnTo>
                  <a:lnTo>
                    <a:pt x="17" y="10"/>
                  </a:lnTo>
                  <a:lnTo>
                    <a:pt x="17" y="10"/>
                  </a:lnTo>
                  <a:lnTo>
                    <a:pt x="17" y="10"/>
                  </a:lnTo>
                  <a:lnTo>
                    <a:pt x="17" y="10"/>
                  </a:lnTo>
                  <a:lnTo>
                    <a:pt x="17" y="10"/>
                  </a:lnTo>
                  <a:lnTo>
                    <a:pt x="14" y="12"/>
                  </a:lnTo>
                  <a:lnTo>
                    <a:pt x="12" y="12"/>
                  </a:lnTo>
                  <a:lnTo>
                    <a:pt x="12" y="14"/>
                  </a:lnTo>
                  <a:lnTo>
                    <a:pt x="9" y="14"/>
                  </a:lnTo>
                  <a:lnTo>
                    <a:pt x="9" y="17"/>
                  </a:lnTo>
                  <a:lnTo>
                    <a:pt x="7" y="17"/>
                  </a:lnTo>
                  <a:lnTo>
                    <a:pt x="7" y="19"/>
                  </a:lnTo>
                  <a:lnTo>
                    <a:pt x="7" y="19"/>
                  </a:lnTo>
                  <a:lnTo>
                    <a:pt x="5" y="19"/>
                  </a:lnTo>
                  <a:lnTo>
                    <a:pt x="2" y="21"/>
                  </a:lnTo>
                  <a:lnTo>
                    <a:pt x="0" y="24"/>
                  </a:lnTo>
                  <a:lnTo>
                    <a:pt x="0" y="24"/>
                  </a:lnTo>
                  <a:lnTo>
                    <a:pt x="0" y="21"/>
                  </a:lnTo>
                  <a:lnTo>
                    <a:pt x="2" y="19"/>
                  </a:lnTo>
                  <a:lnTo>
                    <a:pt x="2" y="19"/>
                  </a:lnTo>
                  <a:lnTo>
                    <a:pt x="2" y="17"/>
                  </a:lnTo>
                  <a:lnTo>
                    <a:pt x="5" y="14"/>
                  </a:lnTo>
                  <a:lnTo>
                    <a:pt x="7" y="12"/>
                  </a:lnTo>
                  <a:lnTo>
                    <a:pt x="9" y="7"/>
                  </a:lnTo>
                  <a:lnTo>
                    <a:pt x="9" y="7"/>
                  </a:lnTo>
                  <a:lnTo>
                    <a:pt x="12" y="7"/>
                  </a:lnTo>
                  <a:lnTo>
                    <a:pt x="12" y="5"/>
                  </a:lnTo>
                  <a:lnTo>
                    <a:pt x="14" y="5"/>
                  </a:lnTo>
                  <a:lnTo>
                    <a:pt x="17" y="5"/>
                  </a:lnTo>
                  <a:lnTo>
                    <a:pt x="19" y="2"/>
                  </a:lnTo>
                  <a:lnTo>
                    <a:pt x="19" y="2"/>
                  </a:lnTo>
                  <a:lnTo>
                    <a:pt x="19" y="0"/>
                  </a:lnTo>
                  <a:lnTo>
                    <a:pt x="21" y="0"/>
                  </a:lnTo>
                  <a:lnTo>
                    <a:pt x="26" y="0"/>
                  </a:lnTo>
                  <a:lnTo>
                    <a:pt x="28" y="0"/>
                  </a:lnTo>
                  <a:lnTo>
                    <a:pt x="31" y="2"/>
                  </a:lnTo>
                  <a:lnTo>
                    <a:pt x="33" y="5"/>
                  </a:lnTo>
                  <a:lnTo>
                    <a:pt x="31"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1" name="Freeform 1671">
              <a:extLst>
                <a:ext uri="{FF2B5EF4-FFF2-40B4-BE49-F238E27FC236}">
                  <a16:creationId xmlns:a16="http://schemas.microsoft.com/office/drawing/2014/main" id="{B039BFEC-6ACD-478D-82CB-C539F0247E43}"/>
                </a:ext>
              </a:extLst>
            </p:cNvPr>
            <p:cNvSpPr>
              <a:spLocks/>
            </p:cNvSpPr>
            <p:nvPr/>
          </p:nvSpPr>
          <p:spPr bwMode="auto">
            <a:xfrm>
              <a:off x="2024903" y="4991065"/>
              <a:ext cx="52388" cy="38100"/>
            </a:xfrm>
            <a:custGeom>
              <a:avLst/>
              <a:gdLst>
                <a:gd name="T0" fmla="*/ 31 w 33"/>
                <a:gd name="T1" fmla="*/ 5 h 24"/>
                <a:gd name="T2" fmla="*/ 31 w 33"/>
                <a:gd name="T3" fmla="*/ 5 h 24"/>
                <a:gd name="T4" fmla="*/ 28 w 33"/>
                <a:gd name="T5" fmla="*/ 5 h 24"/>
                <a:gd name="T6" fmla="*/ 26 w 33"/>
                <a:gd name="T7" fmla="*/ 5 h 24"/>
                <a:gd name="T8" fmla="*/ 24 w 33"/>
                <a:gd name="T9" fmla="*/ 5 h 24"/>
                <a:gd name="T10" fmla="*/ 24 w 33"/>
                <a:gd name="T11" fmla="*/ 5 h 24"/>
                <a:gd name="T12" fmla="*/ 24 w 33"/>
                <a:gd name="T13" fmla="*/ 7 h 24"/>
                <a:gd name="T14" fmla="*/ 21 w 33"/>
                <a:gd name="T15" fmla="*/ 7 h 24"/>
                <a:gd name="T16" fmla="*/ 21 w 33"/>
                <a:gd name="T17" fmla="*/ 5 h 24"/>
                <a:gd name="T18" fmla="*/ 21 w 33"/>
                <a:gd name="T19" fmla="*/ 5 h 24"/>
                <a:gd name="T20" fmla="*/ 19 w 33"/>
                <a:gd name="T21" fmla="*/ 7 h 24"/>
                <a:gd name="T22" fmla="*/ 19 w 33"/>
                <a:gd name="T23" fmla="*/ 7 h 24"/>
                <a:gd name="T24" fmla="*/ 17 w 33"/>
                <a:gd name="T25" fmla="*/ 7 h 24"/>
                <a:gd name="T26" fmla="*/ 17 w 33"/>
                <a:gd name="T27" fmla="*/ 10 h 24"/>
                <a:gd name="T28" fmla="*/ 17 w 33"/>
                <a:gd name="T29" fmla="*/ 10 h 24"/>
                <a:gd name="T30" fmla="*/ 17 w 33"/>
                <a:gd name="T31" fmla="*/ 10 h 24"/>
                <a:gd name="T32" fmla="*/ 17 w 33"/>
                <a:gd name="T33" fmla="*/ 10 h 24"/>
                <a:gd name="T34" fmla="*/ 17 w 33"/>
                <a:gd name="T35" fmla="*/ 10 h 24"/>
                <a:gd name="T36" fmla="*/ 14 w 33"/>
                <a:gd name="T37" fmla="*/ 12 h 24"/>
                <a:gd name="T38" fmla="*/ 12 w 33"/>
                <a:gd name="T39" fmla="*/ 12 h 24"/>
                <a:gd name="T40" fmla="*/ 12 w 33"/>
                <a:gd name="T41" fmla="*/ 14 h 24"/>
                <a:gd name="T42" fmla="*/ 9 w 33"/>
                <a:gd name="T43" fmla="*/ 14 h 24"/>
                <a:gd name="T44" fmla="*/ 9 w 33"/>
                <a:gd name="T45" fmla="*/ 17 h 24"/>
                <a:gd name="T46" fmla="*/ 7 w 33"/>
                <a:gd name="T47" fmla="*/ 17 h 24"/>
                <a:gd name="T48" fmla="*/ 7 w 33"/>
                <a:gd name="T49" fmla="*/ 19 h 24"/>
                <a:gd name="T50" fmla="*/ 7 w 33"/>
                <a:gd name="T51" fmla="*/ 19 h 24"/>
                <a:gd name="T52" fmla="*/ 5 w 33"/>
                <a:gd name="T53" fmla="*/ 19 h 24"/>
                <a:gd name="T54" fmla="*/ 2 w 33"/>
                <a:gd name="T55" fmla="*/ 21 h 24"/>
                <a:gd name="T56" fmla="*/ 0 w 33"/>
                <a:gd name="T57" fmla="*/ 24 h 24"/>
                <a:gd name="T58" fmla="*/ 0 w 33"/>
                <a:gd name="T59" fmla="*/ 24 h 24"/>
                <a:gd name="T60" fmla="*/ 0 w 33"/>
                <a:gd name="T61" fmla="*/ 21 h 24"/>
                <a:gd name="T62" fmla="*/ 2 w 33"/>
                <a:gd name="T63" fmla="*/ 19 h 24"/>
                <a:gd name="T64" fmla="*/ 2 w 33"/>
                <a:gd name="T65" fmla="*/ 19 h 24"/>
                <a:gd name="T66" fmla="*/ 2 w 33"/>
                <a:gd name="T67" fmla="*/ 17 h 24"/>
                <a:gd name="T68" fmla="*/ 5 w 33"/>
                <a:gd name="T69" fmla="*/ 14 h 24"/>
                <a:gd name="T70" fmla="*/ 7 w 33"/>
                <a:gd name="T71" fmla="*/ 12 h 24"/>
                <a:gd name="T72" fmla="*/ 9 w 33"/>
                <a:gd name="T73" fmla="*/ 7 h 24"/>
                <a:gd name="T74" fmla="*/ 9 w 33"/>
                <a:gd name="T75" fmla="*/ 7 h 24"/>
                <a:gd name="T76" fmla="*/ 12 w 33"/>
                <a:gd name="T77" fmla="*/ 7 h 24"/>
                <a:gd name="T78" fmla="*/ 12 w 33"/>
                <a:gd name="T79" fmla="*/ 5 h 24"/>
                <a:gd name="T80" fmla="*/ 14 w 33"/>
                <a:gd name="T81" fmla="*/ 5 h 24"/>
                <a:gd name="T82" fmla="*/ 17 w 33"/>
                <a:gd name="T83" fmla="*/ 5 h 24"/>
                <a:gd name="T84" fmla="*/ 19 w 33"/>
                <a:gd name="T85" fmla="*/ 2 h 24"/>
                <a:gd name="T86" fmla="*/ 19 w 33"/>
                <a:gd name="T87" fmla="*/ 2 h 24"/>
                <a:gd name="T88" fmla="*/ 19 w 33"/>
                <a:gd name="T89" fmla="*/ 0 h 24"/>
                <a:gd name="T90" fmla="*/ 21 w 33"/>
                <a:gd name="T91" fmla="*/ 0 h 24"/>
                <a:gd name="T92" fmla="*/ 26 w 33"/>
                <a:gd name="T93" fmla="*/ 0 h 24"/>
                <a:gd name="T94" fmla="*/ 28 w 33"/>
                <a:gd name="T95" fmla="*/ 0 h 24"/>
                <a:gd name="T96" fmla="*/ 31 w 33"/>
                <a:gd name="T97" fmla="*/ 2 h 24"/>
                <a:gd name="T98" fmla="*/ 33 w 33"/>
                <a:gd name="T99" fmla="*/ 5 h 24"/>
                <a:gd name="T100" fmla="*/ 31 w 33"/>
                <a:gd name="T10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24">
                  <a:moveTo>
                    <a:pt x="31" y="5"/>
                  </a:moveTo>
                  <a:lnTo>
                    <a:pt x="31" y="5"/>
                  </a:lnTo>
                  <a:lnTo>
                    <a:pt x="28" y="5"/>
                  </a:lnTo>
                  <a:lnTo>
                    <a:pt x="26" y="5"/>
                  </a:lnTo>
                  <a:lnTo>
                    <a:pt x="24" y="5"/>
                  </a:lnTo>
                  <a:lnTo>
                    <a:pt x="24" y="5"/>
                  </a:lnTo>
                  <a:lnTo>
                    <a:pt x="24" y="7"/>
                  </a:lnTo>
                  <a:lnTo>
                    <a:pt x="21" y="7"/>
                  </a:lnTo>
                  <a:lnTo>
                    <a:pt x="21" y="5"/>
                  </a:lnTo>
                  <a:lnTo>
                    <a:pt x="21" y="5"/>
                  </a:lnTo>
                  <a:lnTo>
                    <a:pt x="19" y="7"/>
                  </a:lnTo>
                  <a:lnTo>
                    <a:pt x="19" y="7"/>
                  </a:lnTo>
                  <a:lnTo>
                    <a:pt x="17" y="7"/>
                  </a:lnTo>
                  <a:lnTo>
                    <a:pt x="17" y="10"/>
                  </a:lnTo>
                  <a:lnTo>
                    <a:pt x="17" y="10"/>
                  </a:lnTo>
                  <a:lnTo>
                    <a:pt x="17" y="10"/>
                  </a:lnTo>
                  <a:lnTo>
                    <a:pt x="17" y="10"/>
                  </a:lnTo>
                  <a:lnTo>
                    <a:pt x="17" y="10"/>
                  </a:lnTo>
                  <a:lnTo>
                    <a:pt x="14" y="12"/>
                  </a:lnTo>
                  <a:lnTo>
                    <a:pt x="12" y="12"/>
                  </a:lnTo>
                  <a:lnTo>
                    <a:pt x="12" y="14"/>
                  </a:lnTo>
                  <a:lnTo>
                    <a:pt x="9" y="14"/>
                  </a:lnTo>
                  <a:lnTo>
                    <a:pt x="9" y="17"/>
                  </a:lnTo>
                  <a:lnTo>
                    <a:pt x="7" y="17"/>
                  </a:lnTo>
                  <a:lnTo>
                    <a:pt x="7" y="19"/>
                  </a:lnTo>
                  <a:lnTo>
                    <a:pt x="7" y="19"/>
                  </a:lnTo>
                  <a:lnTo>
                    <a:pt x="5" y="19"/>
                  </a:lnTo>
                  <a:lnTo>
                    <a:pt x="2" y="21"/>
                  </a:lnTo>
                  <a:lnTo>
                    <a:pt x="0" y="24"/>
                  </a:lnTo>
                  <a:lnTo>
                    <a:pt x="0" y="24"/>
                  </a:lnTo>
                  <a:lnTo>
                    <a:pt x="0" y="21"/>
                  </a:lnTo>
                  <a:lnTo>
                    <a:pt x="2" y="19"/>
                  </a:lnTo>
                  <a:lnTo>
                    <a:pt x="2" y="19"/>
                  </a:lnTo>
                  <a:lnTo>
                    <a:pt x="2" y="17"/>
                  </a:lnTo>
                  <a:lnTo>
                    <a:pt x="5" y="14"/>
                  </a:lnTo>
                  <a:lnTo>
                    <a:pt x="7" y="12"/>
                  </a:lnTo>
                  <a:lnTo>
                    <a:pt x="9" y="7"/>
                  </a:lnTo>
                  <a:lnTo>
                    <a:pt x="9" y="7"/>
                  </a:lnTo>
                  <a:lnTo>
                    <a:pt x="12" y="7"/>
                  </a:lnTo>
                  <a:lnTo>
                    <a:pt x="12" y="5"/>
                  </a:lnTo>
                  <a:lnTo>
                    <a:pt x="14" y="5"/>
                  </a:lnTo>
                  <a:lnTo>
                    <a:pt x="17" y="5"/>
                  </a:lnTo>
                  <a:lnTo>
                    <a:pt x="19" y="2"/>
                  </a:lnTo>
                  <a:lnTo>
                    <a:pt x="19" y="2"/>
                  </a:lnTo>
                  <a:lnTo>
                    <a:pt x="19" y="0"/>
                  </a:lnTo>
                  <a:lnTo>
                    <a:pt x="21" y="0"/>
                  </a:lnTo>
                  <a:lnTo>
                    <a:pt x="26" y="0"/>
                  </a:lnTo>
                  <a:lnTo>
                    <a:pt x="28" y="0"/>
                  </a:lnTo>
                  <a:lnTo>
                    <a:pt x="31" y="2"/>
                  </a:lnTo>
                  <a:lnTo>
                    <a:pt x="33" y="5"/>
                  </a:lnTo>
                  <a:lnTo>
                    <a:pt x="31" y="5"/>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2" name="Freeform 1672">
              <a:extLst>
                <a:ext uri="{FF2B5EF4-FFF2-40B4-BE49-F238E27FC236}">
                  <a16:creationId xmlns:a16="http://schemas.microsoft.com/office/drawing/2014/main" id="{FF084082-9B5E-4F73-A44D-C954500504DF}"/>
                </a:ext>
              </a:extLst>
            </p:cNvPr>
            <p:cNvSpPr>
              <a:spLocks/>
            </p:cNvSpPr>
            <p:nvPr/>
          </p:nvSpPr>
          <p:spPr bwMode="auto">
            <a:xfrm>
              <a:off x="2569415" y="3049551"/>
              <a:ext cx="223837" cy="396875"/>
            </a:xfrm>
            <a:custGeom>
              <a:avLst/>
              <a:gdLst>
                <a:gd name="T0" fmla="*/ 122 w 141"/>
                <a:gd name="T1" fmla="*/ 240 h 250"/>
                <a:gd name="T2" fmla="*/ 87 w 141"/>
                <a:gd name="T3" fmla="*/ 250 h 250"/>
                <a:gd name="T4" fmla="*/ 63 w 141"/>
                <a:gd name="T5" fmla="*/ 233 h 250"/>
                <a:gd name="T6" fmla="*/ 49 w 141"/>
                <a:gd name="T7" fmla="*/ 231 h 250"/>
                <a:gd name="T8" fmla="*/ 40 w 141"/>
                <a:gd name="T9" fmla="*/ 217 h 250"/>
                <a:gd name="T10" fmla="*/ 40 w 141"/>
                <a:gd name="T11" fmla="*/ 193 h 250"/>
                <a:gd name="T12" fmla="*/ 49 w 141"/>
                <a:gd name="T13" fmla="*/ 181 h 250"/>
                <a:gd name="T14" fmla="*/ 56 w 141"/>
                <a:gd name="T15" fmla="*/ 165 h 250"/>
                <a:gd name="T16" fmla="*/ 61 w 141"/>
                <a:gd name="T17" fmla="*/ 163 h 250"/>
                <a:gd name="T18" fmla="*/ 51 w 141"/>
                <a:gd name="T19" fmla="*/ 160 h 250"/>
                <a:gd name="T20" fmla="*/ 30 w 141"/>
                <a:gd name="T21" fmla="*/ 132 h 250"/>
                <a:gd name="T22" fmla="*/ 16 w 141"/>
                <a:gd name="T23" fmla="*/ 106 h 250"/>
                <a:gd name="T24" fmla="*/ 16 w 141"/>
                <a:gd name="T25" fmla="*/ 82 h 250"/>
                <a:gd name="T26" fmla="*/ 9 w 141"/>
                <a:gd name="T27" fmla="*/ 77 h 250"/>
                <a:gd name="T28" fmla="*/ 2 w 141"/>
                <a:gd name="T29" fmla="*/ 61 h 250"/>
                <a:gd name="T30" fmla="*/ 7 w 141"/>
                <a:gd name="T31" fmla="*/ 54 h 250"/>
                <a:gd name="T32" fmla="*/ 16 w 141"/>
                <a:gd name="T33" fmla="*/ 37 h 250"/>
                <a:gd name="T34" fmla="*/ 18 w 141"/>
                <a:gd name="T35" fmla="*/ 23 h 250"/>
                <a:gd name="T36" fmla="*/ 23 w 141"/>
                <a:gd name="T37" fmla="*/ 35 h 250"/>
                <a:gd name="T38" fmla="*/ 33 w 141"/>
                <a:gd name="T39" fmla="*/ 26 h 250"/>
                <a:gd name="T40" fmla="*/ 42 w 141"/>
                <a:gd name="T41" fmla="*/ 14 h 250"/>
                <a:gd name="T42" fmla="*/ 75 w 141"/>
                <a:gd name="T43" fmla="*/ 0 h 250"/>
                <a:gd name="T44" fmla="*/ 89 w 141"/>
                <a:gd name="T45" fmla="*/ 2 h 250"/>
                <a:gd name="T46" fmla="*/ 101 w 141"/>
                <a:gd name="T47" fmla="*/ 2 h 250"/>
                <a:gd name="T48" fmla="*/ 115 w 141"/>
                <a:gd name="T49" fmla="*/ 9 h 250"/>
                <a:gd name="T50" fmla="*/ 120 w 141"/>
                <a:gd name="T51" fmla="*/ 16 h 250"/>
                <a:gd name="T52" fmla="*/ 132 w 141"/>
                <a:gd name="T53" fmla="*/ 33 h 250"/>
                <a:gd name="T54" fmla="*/ 141 w 141"/>
                <a:gd name="T55" fmla="*/ 47 h 250"/>
                <a:gd name="T56" fmla="*/ 137 w 141"/>
                <a:gd name="T57" fmla="*/ 52 h 250"/>
                <a:gd name="T58" fmla="*/ 122 w 141"/>
                <a:gd name="T59" fmla="*/ 49 h 250"/>
                <a:gd name="T60" fmla="*/ 106 w 141"/>
                <a:gd name="T61" fmla="*/ 49 h 250"/>
                <a:gd name="T62" fmla="*/ 92 w 141"/>
                <a:gd name="T63" fmla="*/ 52 h 250"/>
                <a:gd name="T64" fmla="*/ 82 w 141"/>
                <a:gd name="T65" fmla="*/ 52 h 250"/>
                <a:gd name="T66" fmla="*/ 85 w 141"/>
                <a:gd name="T67" fmla="*/ 68 h 250"/>
                <a:gd name="T68" fmla="*/ 68 w 141"/>
                <a:gd name="T69" fmla="*/ 66 h 250"/>
                <a:gd name="T70" fmla="*/ 70 w 141"/>
                <a:gd name="T71" fmla="*/ 75 h 250"/>
                <a:gd name="T72" fmla="*/ 80 w 141"/>
                <a:gd name="T73" fmla="*/ 101 h 250"/>
                <a:gd name="T74" fmla="*/ 96 w 141"/>
                <a:gd name="T75" fmla="*/ 108 h 250"/>
                <a:gd name="T76" fmla="*/ 101 w 141"/>
                <a:gd name="T77" fmla="*/ 120 h 250"/>
                <a:gd name="T78" fmla="*/ 108 w 141"/>
                <a:gd name="T79" fmla="*/ 146 h 250"/>
                <a:gd name="T80" fmla="*/ 108 w 141"/>
                <a:gd name="T81" fmla="*/ 132 h 250"/>
                <a:gd name="T82" fmla="*/ 122 w 141"/>
                <a:gd name="T83" fmla="*/ 127 h 250"/>
                <a:gd name="T84" fmla="*/ 141 w 141"/>
                <a:gd name="T85" fmla="*/ 148 h 250"/>
                <a:gd name="T86" fmla="*/ 137 w 141"/>
                <a:gd name="T87" fmla="*/ 158 h 250"/>
                <a:gd name="T88" fmla="*/ 118 w 141"/>
                <a:gd name="T89" fmla="*/ 158 h 250"/>
                <a:gd name="T90" fmla="*/ 108 w 141"/>
                <a:gd name="T91" fmla="*/ 158 h 250"/>
                <a:gd name="T92" fmla="*/ 108 w 141"/>
                <a:gd name="T93" fmla="*/ 177 h 250"/>
                <a:gd name="T94" fmla="*/ 125 w 141"/>
                <a:gd name="T95" fmla="*/ 174 h 250"/>
                <a:gd name="T96" fmla="*/ 118 w 141"/>
                <a:gd name="T97" fmla="*/ 179 h 250"/>
                <a:gd name="T98" fmla="*/ 122 w 141"/>
                <a:gd name="T99" fmla="*/ 184 h 250"/>
                <a:gd name="T100" fmla="*/ 122 w 141"/>
                <a:gd name="T101" fmla="*/ 193 h 250"/>
                <a:gd name="T102" fmla="*/ 125 w 141"/>
                <a:gd name="T103" fmla="*/ 207 h 250"/>
                <a:gd name="T104" fmla="*/ 129 w 141"/>
                <a:gd name="T105" fmla="*/ 23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250">
                  <a:moveTo>
                    <a:pt x="122" y="245"/>
                  </a:moveTo>
                  <a:lnTo>
                    <a:pt x="115" y="243"/>
                  </a:lnTo>
                  <a:lnTo>
                    <a:pt x="120" y="243"/>
                  </a:lnTo>
                  <a:lnTo>
                    <a:pt x="122" y="240"/>
                  </a:lnTo>
                  <a:lnTo>
                    <a:pt x="115" y="243"/>
                  </a:lnTo>
                  <a:lnTo>
                    <a:pt x="108" y="245"/>
                  </a:lnTo>
                  <a:lnTo>
                    <a:pt x="92" y="250"/>
                  </a:lnTo>
                  <a:lnTo>
                    <a:pt x="87" y="250"/>
                  </a:lnTo>
                  <a:lnTo>
                    <a:pt x="75" y="245"/>
                  </a:lnTo>
                  <a:lnTo>
                    <a:pt x="70" y="243"/>
                  </a:lnTo>
                  <a:lnTo>
                    <a:pt x="66" y="238"/>
                  </a:lnTo>
                  <a:lnTo>
                    <a:pt x="63" y="233"/>
                  </a:lnTo>
                  <a:lnTo>
                    <a:pt x="61" y="231"/>
                  </a:lnTo>
                  <a:lnTo>
                    <a:pt x="56" y="231"/>
                  </a:lnTo>
                  <a:lnTo>
                    <a:pt x="54" y="231"/>
                  </a:lnTo>
                  <a:lnTo>
                    <a:pt x="49" y="231"/>
                  </a:lnTo>
                  <a:lnTo>
                    <a:pt x="47" y="231"/>
                  </a:lnTo>
                  <a:lnTo>
                    <a:pt x="42" y="226"/>
                  </a:lnTo>
                  <a:lnTo>
                    <a:pt x="40" y="222"/>
                  </a:lnTo>
                  <a:lnTo>
                    <a:pt x="40" y="217"/>
                  </a:lnTo>
                  <a:lnTo>
                    <a:pt x="37" y="207"/>
                  </a:lnTo>
                  <a:lnTo>
                    <a:pt x="37" y="203"/>
                  </a:lnTo>
                  <a:lnTo>
                    <a:pt x="37" y="196"/>
                  </a:lnTo>
                  <a:lnTo>
                    <a:pt x="40" y="193"/>
                  </a:lnTo>
                  <a:lnTo>
                    <a:pt x="42" y="191"/>
                  </a:lnTo>
                  <a:lnTo>
                    <a:pt x="44" y="196"/>
                  </a:lnTo>
                  <a:lnTo>
                    <a:pt x="47" y="186"/>
                  </a:lnTo>
                  <a:lnTo>
                    <a:pt x="49" y="181"/>
                  </a:lnTo>
                  <a:lnTo>
                    <a:pt x="49" y="177"/>
                  </a:lnTo>
                  <a:lnTo>
                    <a:pt x="49" y="170"/>
                  </a:lnTo>
                  <a:lnTo>
                    <a:pt x="51" y="167"/>
                  </a:lnTo>
                  <a:lnTo>
                    <a:pt x="56" y="165"/>
                  </a:lnTo>
                  <a:lnTo>
                    <a:pt x="61" y="165"/>
                  </a:lnTo>
                  <a:lnTo>
                    <a:pt x="63" y="167"/>
                  </a:lnTo>
                  <a:lnTo>
                    <a:pt x="63" y="165"/>
                  </a:lnTo>
                  <a:lnTo>
                    <a:pt x="61" y="163"/>
                  </a:lnTo>
                  <a:lnTo>
                    <a:pt x="59" y="160"/>
                  </a:lnTo>
                  <a:lnTo>
                    <a:pt x="56" y="160"/>
                  </a:lnTo>
                  <a:lnTo>
                    <a:pt x="54" y="160"/>
                  </a:lnTo>
                  <a:lnTo>
                    <a:pt x="51" y="160"/>
                  </a:lnTo>
                  <a:lnTo>
                    <a:pt x="47" y="155"/>
                  </a:lnTo>
                  <a:lnTo>
                    <a:pt x="44" y="151"/>
                  </a:lnTo>
                  <a:lnTo>
                    <a:pt x="40" y="141"/>
                  </a:lnTo>
                  <a:lnTo>
                    <a:pt x="30" y="132"/>
                  </a:lnTo>
                  <a:lnTo>
                    <a:pt x="28" y="129"/>
                  </a:lnTo>
                  <a:lnTo>
                    <a:pt x="26" y="120"/>
                  </a:lnTo>
                  <a:lnTo>
                    <a:pt x="18" y="111"/>
                  </a:lnTo>
                  <a:lnTo>
                    <a:pt x="16" y="106"/>
                  </a:lnTo>
                  <a:lnTo>
                    <a:pt x="14" y="101"/>
                  </a:lnTo>
                  <a:lnTo>
                    <a:pt x="14" y="96"/>
                  </a:lnTo>
                  <a:lnTo>
                    <a:pt x="16" y="87"/>
                  </a:lnTo>
                  <a:lnTo>
                    <a:pt x="16" y="82"/>
                  </a:lnTo>
                  <a:lnTo>
                    <a:pt x="14" y="89"/>
                  </a:lnTo>
                  <a:lnTo>
                    <a:pt x="11" y="87"/>
                  </a:lnTo>
                  <a:lnTo>
                    <a:pt x="11" y="82"/>
                  </a:lnTo>
                  <a:lnTo>
                    <a:pt x="9" y="77"/>
                  </a:lnTo>
                  <a:lnTo>
                    <a:pt x="4" y="70"/>
                  </a:lnTo>
                  <a:lnTo>
                    <a:pt x="2" y="70"/>
                  </a:lnTo>
                  <a:lnTo>
                    <a:pt x="0" y="66"/>
                  </a:lnTo>
                  <a:lnTo>
                    <a:pt x="2" y="61"/>
                  </a:lnTo>
                  <a:lnTo>
                    <a:pt x="2" y="59"/>
                  </a:lnTo>
                  <a:lnTo>
                    <a:pt x="7" y="56"/>
                  </a:lnTo>
                  <a:lnTo>
                    <a:pt x="7" y="56"/>
                  </a:lnTo>
                  <a:lnTo>
                    <a:pt x="7" y="54"/>
                  </a:lnTo>
                  <a:lnTo>
                    <a:pt x="7" y="52"/>
                  </a:lnTo>
                  <a:lnTo>
                    <a:pt x="11" y="49"/>
                  </a:lnTo>
                  <a:lnTo>
                    <a:pt x="14" y="37"/>
                  </a:lnTo>
                  <a:lnTo>
                    <a:pt x="16" y="37"/>
                  </a:lnTo>
                  <a:lnTo>
                    <a:pt x="16" y="33"/>
                  </a:lnTo>
                  <a:lnTo>
                    <a:pt x="16" y="28"/>
                  </a:lnTo>
                  <a:lnTo>
                    <a:pt x="14" y="23"/>
                  </a:lnTo>
                  <a:lnTo>
                    <a:pt x="18" y="23"/>
                  </a:lnTo>
                  <a:lnTo>
                    <a:pt x="21" y="23"/>
                  </a:lnTo>
                  <a:lnTo>
                    <a:pt x="21" y="26"/>
                  </a:lnTo>
                  <a:lnTo>
                    <a:pt x="23" y="30"/>
                  </a:lnTo>
                  <a:lnTo>
                    <a:pt x="23" y="35"/>
                  </a:lnTo>
                  <a:lnTo>
                    <a:pt x="26" y="35"/>
                  </a:lnTo>
                  <a:lnTo>
                    <a:pt x="28" y="35"/>
                  </a:lnTo>
                  <a:lnTo>
                    <a:pt x="30" y="35"/>
                  </a:lnTo>
                  <a:lnTo>
                    <a:pt x="33" y="26"/>
                  </a:lnTo>
                  <a:lnTo>
                    <a:pt x="35" y="23"/>
                  </a:lnTo>
                  <a:lnTo>
                    <a:pt x="42" y="21"/>
                  </a:lnTo>
                  <a:lnTo>
                    <a:pt x="35" y="16"/>
                  </a:lnTo>
                  <a:lnTo>
                    <a:pt x="42" y="14"/>
                  </a:lnTo>
                  <a:lnTo>
                    <a:pt x="49" y="14"/>
                  </a:lnTo>
                  <a:lnTo>
                    <a:pt x="56" y="11"/>
                  </a:lnTo>
                  <a:lnTo>
                    <a:pt x="63" y="11"/>
                  </a:lnTo>
                  <a:lnTo>
                    <a:pt x="75" y="0"/>
                  </a:lnTo>
                  <a:lnTo>
                    <a:pt x="80" y="0"/>
                  </a:lnTo>
                  <a:lnTo>
                    <a:pt x="82" y="2"/>
                  </a:lnTo>
                  <a:lnTo>
                    <a:pt x="85" y="2"/>
                  </a:lnTo>
                  <a:lnTo>
                    <a:pt x="89" y="2"/>
                  </a:lnTo>
                  <a:lnTo>
                    <a:pt x="89" y="4"/>
                  </a:lnTo>
                  <a:lnTo>
                    <a:pt x="94" y="4"/>
                  </a:lnTo>
                  <a:lnTo>
                    <a:pt x="96" y="2"/>
                  </a:lnTo>
                  <a:lnTo>
                    <a:pt x="101" y="2"/>
                  </a:lnTo>
                  <a:lnTo>
                    <a:pt x="103" y="2"/>
                  </a:lnTo>
                  <a:lnTo>
                    <a:pt x="103" y="4"/>
                  </a:lnTo>
                  <a:lnTo>
                    <a:pt x="108" y="4"/>
                  </a:lnTo>
                  <a:lnTo>
                    <a:pt x="115" y="9"/>
                  </a:lnTo>
                  <a:lnTo>
                    <a:pt x="115" y="14"/>
                  </a:lnTo>
                  <a:lnTo>
                    <a:pt x="118" y="14"/>
                  </a:lnTo>
                  <a:lnTo>
                    <a:pt x="120" y="18"/>
                  </a:lnTo>
                  <a:lnTo>
                    <a:pt x="120" y="16"/>
                  </a:lnTo>
                  <a:lnTo>
                    <a:pt x="122" y="21"/>
                  </a:lnTo>
                  <a:lnTo>
                    <a:pt x="125" y="28"/>
                  </a:lnTo>
                  <a:lnTo>
                    <a:pt x="127" y="33"/>
                  </a:lnTo>
                  <a:lnTo>
                    <a:pt x="132" y="33"/>
                  </a:lnTo>
                  <a:lnTo>
                    <a:pt x="132" y="37"/>
                  </a:lnTo>
                  <a:lnTo>
                    <a:pt x="137" y="40"/>
                  </a:lnTo>
                  <a:lnTo>
                    <a:pt x="139" y="42"/>
                  </a:lnTo>
                  <a:lnTo>
                    <a:pt x="141" y="47"/>
                  </a:lnTo>
                  <a:lnTo>
                    <a:pt x="139" y="47"/>
                  </a:lnTo>
                  <a:lnTo>
                    <a:pt x="141" y="52"/>
                  </a:lnTo>
                  <a:lnTo>
                    <a:pt x="139" y="54"/>
                  </a:lnTo>
                  <a:lnTo>
                    <a:pt x="137" y="52"/>
                  </a:lnTo>
                  <a:lnTo>
                    <a:pt x="132" y="54"/>
                  </a:lnTo>
                  <a:lnTo>
                    <a:pt x="129" y="52"/>
                  </a:lnTo>
                  <a:lnTo>
                    <a:pt x="122" y="49"/>
                  </a:lnTo>
                  <a:lnTo>
                    <a:pt x="122" y="49"/>
                  </a:lnTo>
                  <a:lnTo>
                    <a:pt x="120" y="47"/>
                  </a:lnTo>
                  <a:lnTo>
                    <a:pt x="118" y="49"/>
                  </a:lnTo>
                  <a:lnTo>
                    <a:pt x="113" y="52"/>
                  </a:lnTo>
                  <a:lnTo>
                    <a:pt x="106" y="49"/>
                  </a:lnTo>
                  <a:lnTo>
                    <a:pt x="101" y="47"/>
                  </a:lnTo>
                  <a:lnTo>
                    <a:pt x="96" y="47"/>
                  </a:lnTo>
                  <a:lnTo>
                    <a:pt x="94" y="49"/>
                  </a:lnTo>
                  <a:lnTo>
                    <a:pt x="92" y="52"/>
                  </a:lnTo>
                  <a:lnTo>
                    <a:pt x="89" y="54"/>
                  </a:lnTo>
                  <a:lnTo>
                    <a:pt x="85" y="54"/>
                  </a:lnTo>
                  <a:lnTo>
                    <a:pt x="85" y="52"/>
                  </a:lnTo>
                  <a:lnTo>
                    <a:pt x="82" y="52"/>
                  </a:lnTo>
                  <a:lnTo>
                    <a:pt x="80" y="56"/>
                  </a:lnTo>
                  <a:lnTo>
                    <a:pt x="82" y="61"/>
                  </a:lnTo>
                  <a:lnTo>
                    <a:pt x="82" y="66"/>
                  </a:lnTo>
                  <a:lnTo>
                    <a:pt x="85" y="68"/>
                  </a:lnTo>
                  <a:lnTo>
                    <a:pt x="80" y="68"/>
                  </a:lnTo>
                  <a:lnTo>
                    <a:pt x="77" y="68"/>
                  </a:lnTo>
                  <a:lnTo>
                    <a:pt x="75" y="66"/>
                  </a:lnTo>
                  <a:lnTo>
                    <a:pt x="68" y="66"/>
                  </a:lnTo>
                  <a:lnTo>
                    <a:pt x="63" y="66"/>
                  </a:lnTo>
                  <a:lnTo>
                    <a:pt x="61" y="68"/>
                  </a:lnTo>
                  <a:lnTo>
                    <a:pt x="63" y="73"/>
                  </a:lnTo>
                  <a:lnTo>
                    <a:pt x="70" y="75"/>
                  </a:lnTo>
                  <a:lnTo>
                    <a:pt x="73" y="80"/>
                  </a:lnTo>
                  <a:lnTo>
                    <a:pt x="75" y="82"/>
                  </a:lnTo>
                  <a:lnTo>
                    <a:pt x="80" y="89"/>
                  </a:lnTo>
                  <a:lnTo>
                    <a:pt x="80" y="101"/>
                  </a:lnTo>
                  <a:lnTo>
                    <a:pt x="85" y="101"/>
                  </a:lnTo>
                  <a:lnTo>
                    <a:pt x="87" y="101"/>
                  </a:lnTo>
                  <a:lnTo>
                    <a:pt x="89" y="106"/>
                  </a:lnTo>
                  <a:lnTo>
                    <a:pt x="96" y="108"/>
                  </a:lnTo>
                  <a:lnTo>
                    <a:pt x="101" y="108"/>
                  </a:lnTo>
                  <a:lnTo>
                    <a:pt x="103" y="111"/>
                  </a:lnTo>
                  <a:lnTo>
                    <a:pt x="103" y="115"/>
                  </a:lnTo>
                  <a:lnTo>
                    <a:pt x="101" y="120"/>
                  </a:lnTo>
                  <a:lnTo>
                    <a:pt x="101" y="132"/>
                  </a:lnTo>
                  <a:lnTo>
                    <a:pt x="101" y="139"/>
                  </a:lnTo>
                  <a:lnTo>
                    <a:pt x="106" y="146"/>
                  </a:lnTo>
                  <a:lnTo>
                    <a:pt x="108" y="146"/>
                  </a:lnTo>
                  <a:lnTo>
                    <a:pt x="106" y="139"/>
                  </a:lnTo>
                  <a:lnTo>
                    <a:pt x="106" y="139"/>
                  </a:lnTo>
                  <a:lnTo>
                    <a:pt x="106" y="134"/>
                  </a:lnTo>
                  <a:lnTo>
                    <a:pt x="108" y="132"/>
                  </a:lnTo>
                  <a:lnTo>
                    <a:pt x="113" y="129"/>
                  </a:lnTo>
                  <a:lnTo>
                    <a:pt x="120" y="127"/>
                  </a:lnTo>
                  <a:lnTo>
                    <a:pt x="122" y="127"/>
                  </a:lnTo>
                  <a:lnTo>
                    <a:pt x="122" y="127"/>
                  </a:lnTo>
                  <a:lnTo>
                    <a:pt x="127" y="132"/>
                  </a:lnTo>
                  <a:lnTo>
                    <a:pt x="129" y="139"/>
                  </a:lnTo>
                  <a:lnTo>
                    <a:pt x="134" y="144"/>
                  </a:lnTo>
                  <a:lnTo>
                    <a:pt x="141" y="148"/>
                  </a:lnTo>
                  <a:lnTo>
                    <a:pt x="137" y="155"/>
                  </a:lnTo>
                  <a:lnTo>
                    <a:pt x="132" y="155"/>
                  </a:lnTo>
                  <a:lnTo>
                    <a:pt x="132" y="158"/>
                  </a:lnTo>
                  <a:lnTo>
                    <a:pt x="137" y="158"/>
                  </a:lnTo>
                  <a:lnTo>
                    <a:pt x="132" y="160"/>
                  </a:lnTo>
                  <a:lnTo>
                    <a:pt x="127" y="158"/>
                  </a:lnTo>
                  <a:lnTo>
                    <a:pt x="125" y="158"/>
                  </a:lnTo>
                  <a:lnTo>
                    <a:pt x="118" y="158"/>
                  </a:lnTo>
                  <a:lnTo>
                    <a:pt x="111" y="158"/>
                  </a:lnTo>
                  <a:lnTo>
                    <a:pt x="111" y="153"/>
                  </a:lnTo>
                  <a:lnTo>
                    <a:pt x="108" y="148"/>
                  </a:lnTo>
                  <a:lnTo>
                    <a:pt x="108" y="158"/>
                  </a:lnTo>
                  <a:lnTo>
                    <a:pt x="108" y="158"/>
                  </a:lnTo>
                  <a:lnTo>
                    <a:pt x="106" y="163"/>
                  </a:lnTo>
                  <a:lnTo>
                    <a:pt x="106" y="167"/>
                  </a:lnTo>
                  <a:lnTo>
                    <a:pt x="108" y="177"/>
                  </a:lnTo>
                  <a:lnTo>
                    <a:pt x="111" y="177"/>
                  </a:lnTo>
                  <a:lnTo>
                    <a:pt x="113" y="174"/>
                  </a:lnTo>
                  <a:lnTo>
                    <a:pt x="118" y="172"/>
                  </a:lnTo>
                  <a:lnTo>
                    <a:pt x="125" y="174"/>
                  </a:lnTo>
                  <a:lnTo>
                    <a:pt x="125" y="179"/>
                  </a:lnTo>
                  <a:lnTo>
                    <a:pt x="122" y="177"/>
                  </a:lnTo>
                  <a:lnTo>
                    <a:pt x="120" y="174"/>
                  </a:lnTo>
                  <a:lnTo>
                    <a:pt x="118" y="179"/>
                  </a:lnTo>
                  <a:lnTo>
                    <a:pt x="120" y="181"/>
                  </a:lnTo>
                  <a:lnTo>
                    <a:pt x="122" y="181"/>
                  </a:lnTo>
                  <a:lnTo>
                    <a:pt x="125" y="184"/>
                  </a:lnTo>
                  <a:lnTo>
                    <a:pt x="122" y="184"/>
                  </a:lnTo>
                  <a:lnTo>
                    <a:pt x="118" y="189"/>
                  </a:lnTo>
                  <a:lnTo>
                    <a:pt x="118" y="189"/>
                  </a:lnTo>
                  <a:lnTo>
                    <a:pt x="120" y="189"/>
                  </a:lnTo>
                  <a:lnTo>
                    <a:pt x="122" y="193"/>
                  </a:lnTo>
                  <a:lnTo>
                    <a:pt x="125" y="196"/>
                  </a:lnTo>
                  <a:lnTo>
                    <a:pt x="129" y="196"/>
                  </a:lnTo>
                  <a:lnTo>
                    <a:pt x="125" y="200"/>
                  </a:lnTo>
                  <a:lnTo>
                    <a:pt x="125" y="207"/>
                  </a:lnTo>
                  <a:lnTo>
                    <a:pt x="125" y="217"/>
                  </a:lnTo>
                  <a:lnTo>
                    <a:pt x="127" y="229"/>
                  </a:lnTo>
                  <a:lnTo>
                    <a:pt x="127" y="231"/>
                  </a:lnTo>
                  <a:lnTo>
                    <a:pt x="129" y="238"/>
                  </a:lnTo>
                  <a:lnTo>
                    <a:pt x="129" y="243"/>
                  </a:lnTo>
                  <a:lnTo>
                    <a:pt x="122" y="24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3" name="Freeform 1673">
              <a:extLst>
                <a:ext uri="{FF2B5EF4-FFF2-40B4-BE49-F238E27FC236}">
                  <a16:creationId xmlns:a16="http://schemas.microsoft.com/office/drawing/2014/main" id="{CFAC4BC1-BF6F-474E-88E1-6F1D8CD8F4EB}"/>
                </a:ext>
              </a:extLst>
            </p:cNvPr>
            <p:cNvSpPr>
              <a:spLocks/>
            </p:cNvSpPr>
            <p:nvPr/>
          </p:nvSpPr>
          <p:spPr bwMode="auto">
            <a:xfrm>
              <a:off x="2569416" y="3049550"/>
              <a:ext cx="223838" cy="396875"/>
            </a:xfrm>
            <a:custGeom>
              <a:avLst/>
              <a:gdLst>
                <a:gd name="T0" fmla="*/ 122 w 141"/>
                <a:gd name="T1" fmla="*/ 240 h 250"/>
                <a:gd name="T2" fmla="*/ 87 w 141"/>
                <a:gd name="T3" fmla="*/ 250 h 250"/>
                <a:gd name="T4" fmla="*/ 63 w 141"/>
                <a:gd name="T5" fmla="*/ 233 h 250"/>
                <a:gd name="T6" fmla="*/ 49 w 141"/>
                <a:gd name="T7" fmla="*/ 231 h 250"/>
                <a:gd name="T8" fmla="*/ 40 w 141"/>
                <a:gd name="T9" fmla="*/ 217 h 250"/>
                <a:gd name="T10" fmla="*/ 40 w 141"/>
                <a:gd name="T11" fmla="*/ 193 h 250"/>
                <a:gd name="T12" fmla="*/ 49 w 141"/>
                <a:gd name="T13" fmla="*/ 181 h 250"/>
                <a:gd name="T14" fmla="*/ 56 w 141"/>
                <a:gd name="T15" fmla="*/ 165 h 250"/>
                <a:gd name="T16" fmla="*/ 61 w 141"/>
                <a:gd name="T17" fmla="*/ 163 h 250"/>
                <a:gd name="T18" fmla="*/ 51 w 141"/>
                <a:gd name="T19" fmla="*/ 160 h 250"/>
                <a:gd name="T20" fmla="*/ 30 w 141"/>
                <a:gd name="T21" fmla="*/ 132 h 250"/>
                <a:gd name="T22" fmla="*/ 16 w 141"/>
                <a:gd name="T23" fmla="*/ 106 h 250"/>
                <a:gd name="T24" fmla="*/ 16 w 141"/>
                <a:gd name="T25" fmla="*/ 82 h 250"/>
                <a:gd name="T26" fmla="*/ 9 w 141"/>
                <a:gd name="T27" fmla="*/ 77 h 250"/>
                <a:gd name="T28" fmla="*/ 2 w 141"/>
                <a:gd name="T29" fmla="*/ 61 h 250"/>
                <a:gd name="T30" fmla="*/ 7 w 141"/>
                <a:gd name="T31" fmla="*/ 54 h 250"/>
                <a:gd name="T32" fmla="*/ 16 w 141"/>
                <a:gd name="T33" fmla="*/ 37 h 250"/>
                <a:gd name="T34" fmla="*/ 18 w 141"/>
                <a:gd name="T35" fmla="*/ 23 h 250"/>
                <a:gd name="T36" fmla="*/ 23 w 141"/>
                <a:gd name="T37" fmla="*/ 35 h 250"/>
                <a:gd name="T38" fmla="*/ 33 w 141"/>
                <a:gd name="T39" fmla="*/ 26 h 250"/>
                <a:gd name="T40" fmla="*/ 42 w 141"/>
                <a:gd name="T41" fmla="*/ 14 h 250"/>
                <a:gd name="T42" fmla="*/ 75 w 141"/>
                <a:gd name="T43" fmla="*/ 0 h 250"/>
                <a:gd name="T44" fmla="*/ 89 w 141"/>
                <a:gd name="T45" fmla="*/ 2 h 250"/>
                <a:gd name="T46" fmla="*/ 101 w 141"/>
                <a:gd name="T47" fmla="*/ 2 h 250"/>
                <a:gd name="T48" fmla="*/ 115 w 141"/>
                <a:gd name="T49" fmla="*/ 9 h 250"/>
                <a:gd name="T50" fmla="*/ 120 w 141"/>
                <a:gd name="T51" fmla="*/ 16 h 250"/>
                <a:gd name="T52" fmla="*/ 132 w 141"/>
                <a:gd name="T53" fmla="*/ 33 h 250"/>
                <a:gd name="T54" fmla="*/ 141 w 141"/>
                <a:gd name="T55" fmla="*/ 47 h 250"/>
                <a:gd name="T56" fmla="*/ 137 w 141"/>
                <a:gd name="T57" fmla="*/ 52 h 250"/>
                <a:gd name="T58" fmla="*/ 122 w 141"/>
                <a:gd name="T59" fmla="*/ 49 h 250"/>
                <a:gd name="T60" fmla="*/ 106 w 141"/>
                <a:gd name="T61" fmla="*/ 49 h 250"/>
                <a:gd name="T62" fmla="*/ 92 w 141"/>
                <a:gd name="T63" fmla="*/ 52 h 250"/>
                <a:gd name="T64" fmla="*/ 82 w 141"/>
                <a:gd name="T65" fmla="*/ 52 h 250"/>
                <a:gd name="T66" fmla="*/ 85 w 141"/>
                <a:gd name="T67" fmla="*/ 68 h 250"/>
                <a:gd name="T68" fmla="*/ 68 w 141"/>
                <a:gd name="T69" fmla="*/ 66 h 250"/>
                <a:gd name="T70" fmla="*/ 70 w 141"/>
                <a:gd name="T71" fmla="*/ 75 h 250"/>
                <a:gd name="T72" fmla="*/ 80 w 141"/>
                <a:gd name="T73" fmla="*/ 101 h 250"/>
                <a:gd name="T74" fmla="*/ 96 w 141"/>
                <a:gd name="T75" fmla="*/ 108 h 250"/>
                <a:gd name="T76" fmla="*/ 101 w 141"/>
                <a:gd name="T77" fmla="*/ 120 h 250"/>
                <a:gd name="T78" fmla="*/ 108 w 141"/>
                <a:gd name="T79" fmla="*/ 146 h 250"/>
                <a:gd name="T80" fmla="*/ 108 w 141"/>
                <a:gd name="T81" fmla="*/ 132 h 250"/>
                <a:gd name="T82" fmla="*/ 122 w 141"/>
                <a:gd name="T83" fmla="*/ 127 h 250"/>
                <a:gd name="T84" fmla="*/ 141 w 141"/>
                <a:gd name="T85" fmla="*/ 148 h 250"/>
                <a:gd name="T86" fmla="*/ 137 w 141"/>
                <a:gd name="T87" fmla="*/ 158 h 250"/>
                <a:gd name="T88" fmla="*/ 118 w 141"/>
                <a:gd name="T89" fmla="*/ 158 h 250"/>
                <a:gd name="T90" fmla="*/ 108 w 141"/>
                <a:gd name="T91" fmla="*/ 158 h 250"/>
                <a:gd name="T92" fmla="*/ 108 w 141"/>
                <a:gd name="T93" fmla="*/ 177 h 250"/>
                <a:gd name="T94" fmla="*/ 125 w 141"/>
                <a:gd name="T95" fmla="*/ 174 h 250"/>
                <a:gd name="T96" fmla="*/ 118 w 141"/>
                <a:gd name="T97" fmla="*/ 179 h 250"/>
                <a:gd name="T98" fmla="*/ 122 w 141"/>
                <a:gd name="T99" fmla="*/ 184 h 250"/>
                <a:gd name="T100" fmla="*/ 122 w 141"/>
                <a:gd name="T101" fmla="*/ 193 h 250"/>
                <a:gd name="T102" fmla="*/ 125 w 141"/>
                <a:gd name="T103" fmla="*/ 207 h 250"/>
                <a:gd name="T104" fmla="*/ 129 w 141"/>
                <a:gd name="T105" fmla="*/ 23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250">
                  <a:moveTo>
                    <a:pt x="122" y="245"/>
                  </a:moveTo>
                  <a:lnTo>
                    <a:pt x="115" y="243"/>
                  </a:lnTo>
                  <a:lnTo>
                    <a:pt x="120" y="243"/>
                  </a:lnTo>
                  <a:lnTo>
                    <a:pt x="122" y="240"/>
                  </a:lnTo>
                  <a:lnTo>
                    <a:pt x="115" y="243"/>
                  </a:lnTo>
                  <a:lnTo>
                    <a:pt x="108" y="245"/>
                  </a:lnTo>
                  <a:lnTo>
                    <a:pt x="92" y="250"/>
                  </a:lnTo>
                  <a:lnTo>
                    <a:pt x="87" y="250"/>
                  </a:lnTo>
                  <a:lnTo>
                    <a:pt x="75" y="245"/>
                  </a:lnTo>
                  <a:lnTo>
                    <a:pt x="70" y="243"/>
                  </a:lnTo>
                  <a:lnTo>
                    <a:pt x="66" y="238"/>
                  </a:lnTo>
                  <a:lnTo>
                    <a:pt x="63" y="233"/>
                  </a:lnTo>
                  <a:lnTo>
                    <a:pt x="61" y="231"/>
                  </a:lnTo>
                  <a:lnTo>
                    <a:pt x="56" y="231"/>
                  </a:lnTo>
                  <a:lnTo>
                    <a:pt x="54" y="231"/>
                  </a:lnTo>
                  <a:lnTo>
                    <a:pt x="49" y="231"/>
                  </a:lnTo>
                  <a:lnTo>
                    <a:pt x="47" y="231"/>
                  </a:lnTo>
                  <a:lnTo>
                    <a:pt x="42" y="226"/>
                  </a:lnTo>
                  <a:lnTo>
                    <a:pt x="40" y="222"/>
                  </a:lnTo>
                  <a:lnTo>
                    <a:pt x="40" y="217"/>
                  </a:lnTo>
                  <a:lnTo>
                    <a:pt x="37" y="207"/>
                  </a:lnTo>
                  <a:lnTo>
                    <a:pt x="37" y="203"/>
                  </a:lnTo>
                  <a:lnTo>
                    <a:pt x="37" y="196"/>
                  </a:lnTo>
                  <a:lnTo>
                    <a:pt x="40" y="193"/>
                  </a:lnTo>
                  <a:lnTo>
                    <a:pt x="42" y="191"/>
                  </a:lnTo>
                  <a:lnTo>
                    <a:pt x="44" y="196"/>
                  </a:lnTo>
                  <a:lnTo>
                    <a:pt x="47" y="186"/>
                  </a:lnTo>
                  <a:lnTo>
                    <a:pt x="49" y="181"/>
                  </a:lnTo>
                  <a:lnTo>
                    <a:pt x="49" y="177"/>
                  </a:lnTo>
                  <a:lnTo>
                    <a:pt x="49" y="170"/>
                  </a:lnTo>
                  <a:lnTo>
                    <a:pt x="51" y="167"/>
                  </a:lnTo>
                  <a:lnTo>
                    <a:pt x="56" y="165"/>
                  </a:lnTo>
                  <a:lnTo>
                    <a:pt x="61" y="165"/>
                  </a:lnTo>
                  <a:lnTo>
                    <a:pt x="63" y="167"/>
                  </a:lnTo>
                  <a:lnTo>
                    <a:pt x="63" y="165"/>
                  </a:lnTo>
                  <a:lnTo>
                    <a:pt x="61" y="163"/>
                  </a:lnTo>
                  <a:lnTo>
                    <a:pt x="59" y="160"/>
                  </a:lnTo>
                  <a:lnTo>
                    <a:pt x="56" y="160"/>
                  </a:lnTo>
                  <a:lnTo>
                    <a:pt x="54" y="160"/>
                  </a:lnTo>
                  <a:lnTo>
                    <a:pt x="51" y="160"/>
                  </a:lnTo>
                  <a:lnTo>
                    <a:pt x="47" y="155"/>
                  </a:lnTo>
                  <a:lnTo>
                    <a:pt x="44" y="151"/>
                  </a:lnTo>
                  <a:lnTo>
                    <a:pt x="40" y="141"/>
                  </a:lnTo>
                  <a:lnTo>
                    <a:pt x="30" y="132"/>
                  </a:lnTo>
                  <a:lnTo>
                    <a:pt x="28" y="129"/>
                  </a:lnTo>
                  <a:lnTo>
                    <a:pt x="26" y="120"/>
                  </a:lnTo>
                  <a:lnTo>
                    <a:pt x="18" y="111"/>
                  </a:lnTo>
                  <a:lnTo>
                    <a:pt x="16" y="106"/>
                  </a:lnTo>
                  <a:lnTo>
                    <a:pt x="14" y="101"/>
                  </a:lnTo>
                  <a:lnTo>
                    <a:pt x="14" y="96"/>
                  </a:lnTo>
                  <a:lnTo>
                    <a:pt x="16" y="87"/>
                  </a:lnTo>
                  <a:lnTo>
                    <a:pt x="16" y="82"/>
                  </a:lnTo>
                  <a:lnTo>
                    <a:pt x="14" y="89"/>
                  </a:lnTo>
                  <a:lnTo>
                    <a:pt x="11" y="87"/>
                  </a:lnTo>
                  <a:lnTo>
                    <a:pt x="11" y="82"/>
                  </a:lnTo>
                  <a:lnTo>
                    <a:pt x="9" y="77"/>
                  </a:lnTo>
                  <a:lnTo>
                    <a:pt x="4" y="70"/>
                  </a:lnTo>
                  <a:lnTo>
                    <a:pt x="2" y="70"/>
                  </a:lnTo>
                  <a:lnTo>
                    <a:pt x="0" y="66"/>
                  </a:lnTo>
                  <a:lnTo>
                    <a:pt x="2" y="61"/>
                  </a:lnTo>
                  <a:lnTo>
                    <a:pt x="2" y="59"/>
                  </a:lnTo>
                  <a:lnTo>
                    <a:pt x="7" y="56"/>
                  </a:lnTo>
                  <a:lnTo>
                    <a:pt x="7" y="56"/>
                  </a:lnTo>
                  <a:lnTo>
                    <a:pt x="7" y="54"/>
                  </a:lnTo>
                  <a:lnTo>
                    <a:pt x="7" y="52"/>
                  </a:lnTo>
                  <a:lnTo>
                    <a:pt x="11" y="49"/>
                  </a:lnTo>
                  <a:lnTo>
                    <a:pt x="14" y="37"/>
                  </a:lnTo>
                  <a:lnTo>
                    <a:pt x="16" y="37"/>
                  </a:lnTo>
                  <a:lnTo>
                    <a:pt x="16" y="33"/>
                  </a:lnTo>
                  <a:lnTo>
                    <a:pt x="16" y="28"/>
                  </a:lnTo>
                  <a:lnTo>
                    <a:pt x="14" y="23"/>
                  </a:lnTo>
                  <a:lnTo>
                    <a:pt x="18" y="23"/>
                  </a:lnTo>
                  <a:lnTo>
                    <a:pt x="21" y="23"/>
                  </a:lnTo>
                  <a:lnTo>
                    <a:pt x="21" y="26"/>
                  </a:lnTo>
                  <a:lnTo>
                    <a:pt x="23" y="30"/>
                  </a:lnTo>
                  <a:lnTo>
                    <a:pt x="23" y="35"/>
                  </a:lnTo>
                  <a:lnTo>
                    <a:pt x="26" y="35"/>
                  </a:lnTo>
                  <a:lnTo>
                    <a:pt x="28" y="35"/>
                  </a:lnTo>
                  <a:lnTo>
                    <a:pt x="30" y="35"/>
                  </a:lnTo>
                  <a:lnTo>
                    <a:pt x="33" y="26"/>
                  </a:lnTo>
                  <a:lnTo>
                    <a:pt x="35" y="23"/>
                  </a:lnTo>
                  <a:lnTo>
                    <a:pt x="42" y="21"/>
                  </a:lnTo>
                  <a:lnTo>
                    <a:pt x="35" y="16"/>
                  </a:lnTo>
                  <a:lnTo>
                    <a:pt x="42" y="14"/>
                  </a:lnTo>
                  <a:lnTo>
                    <a:pt x="49" y="14"/>
                  </a:lnTo>
                  <a:lnTo>
                    <a:pt x="56" y="11"/>
                  </a:lnTo>
                  <a:lnTo>
                    <a:pt x="63" y="11"/>
                  </a:lnTo>
                  <a:lnTo>
                    <a:pt x="75" y="0"/>
                  </a:lnTo>
                  <a:lnTo>
                    <a:pt x="80" y="0"/>
                  </a:lnTo>
                  <a:lnTo>
                    <a:pt x="82" y="2"/>
                  </a:lnTo>
                  <a:lnTo>
                    <a:pt x="85" y="2"/>
                  </a:lnTo>
                  <a:lnTo>
                    <a:pt x="89" y="2"/>
                  </a:lnTo>
                  <a:lnTo>
                    <a:pt x="89" y="4"/>
                  </a:lnTo>
                  <a:lnTo>
                    <a:pt x="94" y="4"/>
                  </a:lnTo>
                  <a:lnTo>
                    <a:pt x="96" y="2"/>
                  </a:lnTo>
                  <a:lnTo>
                    <a:pt x="101" y="2"/>
                  </a:lnTo>
                  <a:lnTo>
                    <a:pt x="103" y="2"/>
                  </a:lnTo>
                  <a:lnTo>
                    <a:pt x="103" y="4"/>
                  </a:lnTo>
                  <a:lnTo>
                    <a:pt x="108" y="4"/>
                  </a:lnTo>
                  <a:lnTo>
                    <a:pt x="115" y="9"/>
                  </a:lnTo>
                  <a:lnTo>
                    <a:pt x="115" y="14"/>
                  </a:lnTo>
                  <a:lnTo>
                    <a:pt x="118" y="14"/>
                  </a:lnTo>
                  <a:lnTo>
                    <a:pt x="120" y="18"/>
                  </a:lnTo>
                  <a:lnTo>
                    <a:pt x="120" y="16"/>
                  </a:lnTo>
                  <a:lnTo>
                    <a:pt x="122" y="21"/>
                  </a:lnTo>
                  <a:lnTo>
                    <a:pt x="125" y="28"/>
                  </a:lnTo>
                  <a:lnTo>
                    <a:pt x="127" y="33"/>
                  </a:lnTo>
                  <a:lnTo>
                    <a:pt x="132" y="33"/>
                  </a:lnTo>
                  <a:lnTo>
                    <a:pt x="132" y="37"/>
                  </a:lnTo>
                  <a:lnTo>
                    <a:pt x="137" y="40"/>
                  </a:lnTo>
                  <a:lnTo>
                    <a:pt x="139" y="42"/>
                  </a:lnTo>
                  <a:lnTo>
                    <a:pt x="141" y="47"/>
                  </a:lnTo>
                  <a:lnTo>
                    <a:pt x="139" y="47"/>
                  </a:lnTo>
                  <a:lnTo>
                    <a:pt x="141" y="52"/>
                  </a:lnTo>
                  <a:lnTo>
                    <a:pt x="139" y="54"/>
                  </a:lnTo>
                  <a:lnTo>
                    <a:pt x="137" y="52"/>
                  </a:lnTo>
                  <a:lnTo>
                    <a:pt x="132" y="54"/>
                  </a:lnTo>
                  <a:lnTo>
                    <a:pt x="129" y="52"/>
                  </a:lnTo>
                  <a:lnTo>
                    <a:pt x="122" y="49"/>
                  </a:lnTo>
                  <a:lnTo>
                    <a:pt x="122" y="49"/>
                  </a:lnTo>
                  <a:lnTo>
                    <a:pt x="120" y="47"/>
                  </a:lnTo>
                  <a:lnTo>
                    <a:pt x="118" y="49"/>
                  </a:lnTo>
                  <a:lnTo>
                    <a:pt x="113" y="52"/>
                  </a:lnTo>
                  <a:lnTo>
                    <a:pt x="106" y="49"/>
                  </a:lnTo>
                  <a:lnTo>
                    <a:pt x="101" y="47"/>
                  </a:lnTo>
                  <a:lnTo>
                    <a:pt x="96" y="47"/>
                  </a:lnTo>
                  <a:lnTo>
                    <a:pt x="94" y="49"/>
                  </a:lnTo>
                  <a:lnTo>
                    <a:pt x="92" y="52"/>
                  </a:lnTo>
                  <a:lnTo>
                    <a:pt x="89" y="54"/>
                  </a:lnTo>
                  <a:lnTo>
                    <a:pt x="85" y="54"/>
                  </a:lnTo>
                  <a:lnTo>
                    <a:pt x="85" y="52"/>
                  </a:lnTo>
                  <a:lnTo>
                    <a:pt x="82" y="52"/>
                  </a:lnTo>
                  <a:lnTo>
                    <a:pt x="80" y="56"/>
                  </a:lnTo>
                  <a:lnTo>
                    <a:pt x="82" y="61"/>
                  </a:lnTo>
                  <a:lnTo>
                    <a:pt x="82" y="66"/>
                  </a:lnTo>
                  <a:lnTo>
                    <a:pt x="85" y="68"/>
                  </a:lnTo>
                  <a:lnTo>
                    <a:pt x="80" y="68"/>
                  </a:lnTo>
                  <a:lnTo>
                    <a:pt x="77" y="68"/>
                  </a:lnTo>
                  <a:lnTo>
                    <a:pt x="75" y="66"/>
                  </a:lnTo>
                  <a:lnTo>
                    <a:pt x="68" y="66"/>
                  </a:lnTo>
                  <a:lnTo>
                    <a:pt x="63" y="66"/>
                  </a:lnTo>
                  <a:lnTo>
                    <a:pt x="61" y="68"/>
                  </a:lnTo>
                  <a:lnTo>
                    <a:pt x="63" y="73"/>
                  </a:lnTo>
                  <a:lnTo>
                    <a:pt x="70" y="75"/>
                  </a:lnTo>
                  <a:lnTo>
                    <a:pt x="73" y="80"/>
                  </a:lnTo>
                  <a:lnTo>
                    <a:pt x="75" y="82"/>
                  </a:lnTo>
                  <a:lnTo>
                    <a:pt x="80" y="89"/>
                  </a:lnTo>
                  <a:lnTo>
                    <a:pt x="80" y="101"/>
                  </a:lnTo>
                  <a:lnTo>
                    <a:pt x="85" y="101"/>
                  </a:lnTo>
                  <a:lnTo>
                    <a:pt x="87" y="101"/>
                  </a:lnTo>
                  <a:lnTo>
                    <a:pt x="89" y="106"/>
                  </a:lnTo>
                  <a:lnTo>
                    <a:pt x="96" y="108"/>
                  </a:lnTo>
                  <a:lnTo>
                    <a:pt x="101" y="108"/>
                  </a:lnTo>
                  <a:lnTo>
                    <a:pt x="103" y="111"/>
                  </a:lnTo>
                  <a:lnTo>
                    <a:pt x="103" y="115"/>
                  </a:lnTo>
                  <a:lnTo>
                    <a:pt x="101" y="120"/>
                  </a:lnTo>
                  <a:lnTo>
                    <a:pt x="101" y="132"/>
                  </a:lnTo>
                  <a:lnTo>
                    <a:pt x="101" y="139"/>
                  </a:lnTo>
                  <a:lnTo>
                    <a:pt x="106" y="146"/>
                  </a:lnTo>
                  <a:lnTo>
                    <a:pt x="108" y="146"/>
                  </a:lnTo>
                  <a:lnTo>
                    <a:pt x="106" y="139"/>
                  </a:lnTo>
                  <a:lnTo>
                    <a:pt x="106" y="139"/>
                  </a:lnTo>
                  <a:lnTo>
                    <a:pt x="106" y="134"/>
                  </a:lnTo>
                  <a:lnTo>
                    <a:pt x="108" y="132"/>
                  </a:lnTo>
                  <a:lnTo>
                    <a:pt x="113" y="129"/>
                  </a:lnTo>
                  <a:lnTo>
                    <a:pt x="120" y="127"/>
                  </a:lnTo>
                  <a:lnTo>
                    <a:pt x="122" y="127"/>
                  </a:lnTo>
                  <a:lnTo>
                    <a:pt x="122" y="127"/>
                  </a:lnTo>
                  <a:lnTo>
                    <a:pt x="127" y="132"/>
                  </a:lnTo>
                  <a:lnTo>
                    <a:pt x="129" y="139"/>
                  </a:lnTo>
                  <a:lnTo>
                    <a:pt x="134" y="144"/>
                  </a:lnTo>
                  <a:lnTo>
                    <a:pt x="141" y="148"/>
                  </a:lnTo>
                  <a:lnTo>
                    <a:pt x="137" y="155"/>
                  </a:lnTo>
                  <a:lnTo>
                    <a:pt x="132" y="155"/>
                  </a:lnTo>
                  <a:lnTo>
                    <a:pt x="132" y="158"/>
                  </a:lnTo>
                  <a:lnTo>
                    <a:pt x="137" y="158"/>
                  </a:lnTo>
                  <a:lnTo>
                    <a:pt x="132" y="160"/>
                  </a:lnTo>
                  <a:lnTo>
                    <a:pt x="127" y="158"/>
                  </a:lnTo>
                  <a:lnTo>
                    <a:pt x="125" y="158"/>
                  </a:lnTo>
                  <a:lnTo>
                    <a:pt x="118" y="158"/>
                  </a:lnTo>
                  <a:lnTo>
                    <a:pt x="111" y="158"/>
                  </a:lnTo>
                  <a:lnTo>
                    <a:pt x="111" y="153"/>
                  </a:lnTo>
                  <a:lnTo>
                    <a:pt x="108" y="148"/>
                  </a:lnTo>
                  <a:lnTo>
                    <a:pt x="108" y="158"/>
                  </a:lnTo>
                  <a:lnTo>
                    <a:pt x="108" y="158"/>
                  </a:lnTo>
                  <a:lnTo>
                    <a:pt x="106" y="163"/>
                  </a:lnTo>
                  <a:lnTo>
                    <a:pt x="106" y="167"/>
                  </a:lnTo>
                  <a:lnTo>
                    <a:pt x="108" y="177"/>
                  </a:lnTo>
                  <a:lnTo>
                    <a:pt x="111" y="177"/>
                  </a:lnTo>
                  <a:lnTo>
                    <a:pt x="113" y="174"/>
                  </a:lnTo>
                  <a:lnTo>
                    <a:pt x="118" y="172"/>
                  </a:lnTo>
                  <a:lnTo>
                    <a:pt x="125" y="174"/>
                  </a:lnTo>
                  <a:lnTo>
                    <a:pt x="125" y="179"/>
                  </a:lnTo>
                  <a:lnTo>
                    <a:pt x="122" y="177"/>
                  </a:lnTo>
                  <a:lnTo>
                    <a:pt x="120" y="174"/>
                  </a:lnTo>
                  <a:lnTo>
                    <a:pt x="118" y="179"/>
                  </a:lnTo>
                  <a:lnTo>
                    <a:pt x="120" y="181"/>
                  </a:lnTo>
                  <a:lnTo>
                    <a:pt x="122" y="181"/>
                  </a:lnTo>
                  <a:lnTo>
                    <a:pt x="125" y="184"/>
                  </a:lnTo>
                  <a:lnTo>
                    <a:pt x="122" y="184"/>
                  </a:lnTo>
                  <a:lnTo>
                    <a:pt x="118" y="189"/>
                  </a:lnTo>
                  <a:lnTo>
                    <a:pt x="118" y="189"/>
                  </a:lnTo>
                  <a:lnTo>
                    <a:pt x="120" y="189"/>
                  </a:lnTo>
                  <a:lnTo>
                    <a:pt x="122" y="193"/>
                  </a:lnTo>
                  <a:lnTo>
                    <a:pt x="125" y="196"/>
                  </a:lnTo>
                  <a:lnTo>
                    <a:pt x="129" y="196"/>
                  </a:lnTo>
                  <a:lnTo>
                    <a:pt x="125" y="200"/>
                  </a:lnTo>
                  <a:lnTo>
                    <a:pt x="125" y="207"/>
                  </a:lnTo>
                  <a:lnTo>
                    <a:pt x="125" y="217"/>
                  </a:lnTo>
                  <a:lnTo>
                    <a:pt x="127" y="229"/>
                  </a:lnTo>
                  <a:lnTo>
                    <a:pt x="127" y="231"/>
                  </a:lnTo>
                  <a:lnTo>
                    <a:pt x="129" y="238"/>
                  </a:lnTo>
                  <a:lnTo>
                    <a:pt x="129" y="243"/>
                  </a:lnTo>
                  <a:lnTo>
                    <a:pt x="122" y="245"/>
                  </a:lnTo>
                </a:path>
              </a:pathLst>
            </a:custGeom>
            <a:solidFill>
              <a:srgbClr val="C3E2BC"/>
            </a:solid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4" name="Rectangle 1674">
              <a:extLst>
                <a:ext uri="{FF2B5EF4-FFF2-40B4-BE49-F238E27FC236}">
                  <a16:creationId xmlns:a16="http://schemas.microsoft.com/office/drawing/2014/main" id="{69000E2B-C06D-4837-A94D-A743231A3D9F}"/>
                </a:ext>
              </a:extLst>
            </p:cNvPr>
            <p:cNvSpPr>
              <a:spLocks noChangeArrowheads="1"/>
            </p:cNvSpPr>
            <p:nvPr/>
          </p:nvSpPr>
          <p:spPr bwMode="auto">
            <a:xfrm>
              <a:off x="2523379" y="3278150"/>
              <a:ext cx="1588" cy="1587"/>
            </a:xfrm>
            <a:prstGeom prst="rect">
              <a:avLst/>
            </a:prstGeom>
            <a:grp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5" name="Freeform 1675">
              <a:extLst>
                <a:ext uri="{FF2B5EF4-FFF2-40B4-BE49-F238E27FC236}">
                  <a16:creationId xmlns:a16="http://schemas.microsoft.com/office/drawing/2014/main" id="{A51FD07F-6D48-463F-8648-D78B317B5CD0}"/>
                </a:ext>
              </a:extLst>
            </p:cNvPr>
            <p:cNvSpPr>
              <a:spLocks/>
            </p:cNvSpPr>
            <p:nvPr/>
          </p:nvSpPr>
          <p:spPr bwMode="auto">
            <a:xfrm>
              <a:off x="2523380" y="327814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4763" cap="rnd">
              <a:solidFill>
                <a:srgbClr val="FFFF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
          <p:nvSpPr>
            <p:cNvPr id="6076" name="Freeform 652">
              <a:extLst>
                <a:ext uri="{FF2B5EF4-FFF2-40B4-BE49-F238E27FC236}">
                  <a16:creationId xmlns:a16="http://schemas.microsoft.com/office/drawing/2014/main" id="{1EAFBA9F-CDFE-4BE8-AF52-3B9C1DC1D3AF}"/>
                </a:ext>
              </a:extLst>
            </p:cNvPr>
            <p:cNvSpPr>
              <a:spLocks/>
            </p:cNvSpPr>
            <p:nvPr/>
          </p:nvSpPr>
          <p:spPr bwMode="auto">
            <a:xfrm>
              <a:off x="1885206" y="4171875"/>
              <a:ext cx="398446" cy="262017"/>
            </a:xfrm>
            <a:custGeom>
              <a:avLst/>
              <a:gdLst>
                <a:gd name="T0" fmla="*/ 38 w 288"/>
                <a:gd name="T1" fmla="*/ 118 h 349"/>
                <a:gd name="T2" fmla="*/ 24 w 288"/>
                <a:gd name="T3" fmla="*/ 134 h 349"/>
                <a:gd name="T4" fmla="*/ 19 w 288"/>
                <a:gd name="T5" fmla="*/ 141 h 349"/>
                <a:gd name="T6" fmla="*/ 7 w 288"/>
                <a:gd name="T7" fmla="*/ 160 h 349"/>
                <a:gd name="T8" fmla="*/ 5 w 288"/>
                <a:gd name="T9" fmla="*/ 167 h 349"/>
                <a:gd name="T10" fmla="*/ 3 w 288"/>
                <a:gd name="T11" fmla="*/ 179 h 349"/>
                <a:gd name="T12" fmla="*/ 3 w 288"/>
                <a:gd name="T13" fmla="*/ 189 h 349"/>
                <a:gd name="T14" fmla="*/ 10 w 288"/>
                <a:gd name="T15" fmla="*/ 198 h 349"/>
                <a:gd name="T16" fmla="*/ 17 w 288"/>
                <a:gd name="T17" fmla="*/ 212 h 349"/>
                <a:gd name="T18" fmla="*/ 19 w 288"/>
                <a:gd name="T19" fmla="*/ 222 h 349"/>
                <a:gd name="T20" fmla="*/ 29 w 288"/>
                <a:gd name="T21" fmla="*/ 245 h 349"/>
                <a:gd name="T22" fmla="*/ 36 w 288"/>
                <a:gd name="T23" fmla="*/ 259 h 349"/>
                <a:gd name="T24" fmla="*/ 52 w 288"/>
                <a:gd name="T25" fmla="*/ 266 h 349"/>
                <a:gd name="T26" fmla="*/ 57 w 288"/>
                <a:gd name="T27" fmla="*/ 276 h 349"/>
                <a:gd name="T28" fmla="*/ 73 w 288"/>
                <a:gd name="T29" fmla="*/ 290 h 349"/>
                <a:gd name="T30" fmla="*/ 83 w 288"/>
                <a:gd name="T31" fmla="*/ 302 h 349"/>
                <a:gd name="T32" fmla="*/ 97 w 288"/>
                <a:gd name="T33" fmla="*/ 316 h 349"/>
                <a:gd name="T34" fmla="*/ 107 w 288"/>
                <a:gd name="T35" fmla="*/ 328 h 349"/>
                <a:gd name="T36" fmla="*/ 118 w 288"/>
                <a:gd name="T37" fmla="*/ 335 h 349"/>
                <a:gd name="T38" fmla="*/ 137 w 288"/>
                <a:gd name="T39" fmla="*/ 330 h 349"/>
                <a:gd name="T40" fmla="*/ 154 w 288"/>
                <a:gd name="T41" fmla="*/ 347 h 349"/>
                <a:gd name="T42" fmla="*/ 166 w 288"/>
                <a:gd name="T43" fmla="*/ 347 h 349"/>
                <a:gd name="T44" fmla="*/ 177 w 288"/>
                <a:gd name="T45" fmla="*/ 349 h 349"/>
                <a:gd name="T46" fmla="*/ 196 w 288"/>
                <a:gd name="T47" fmla="*/ 344 h 349"/>
                <a:gd name="T48" fmla="*/ 210 w 288"/>
                <a:gd name="T49" fmla="*/ 340 h 349"/>
                <a:gd name="T50" fmla="*/ 234 w 288"/>
                <a:gd name="T51" fmla="*/ 333 h 349"/>
                <a:gd name="T52" fmla="*/ 246 w 288"/>
                <a:gd name="T53" fmla="*/ 321 h 349"/>
                <a:gd name="T54" fmla="*/ 232 w 288"/>
                <a:gd name="T55" fmla="*/ 314 h 349"/>
                <a:gd name="T56" fmla="*/ 225 w 288"/>
                <a:gd name="T57" fmla="*/ 295 h 349"/>
                <a:gd name="T58" fmla="*/ 213 w 288"/>
                <a:gd name="T59" fmla="*/ 283 h 349"/>
                <a:gd name="T60" fmla="*/ 201 w 288"/>
                <a:gd name="T61" fmla="*/ 276 h 349"/>
                <a:gd name="T62" fmla="*/ 196 w 288"/>
                <a:gd name="T63" fmla="*/ 271 h 349"/>
                <a:gd name="T64" fmla="*/ 208 w 288"/>
                <a:gd name="T65" fmla="*/ 264 h 349"/>
                <a:gd name="T66" fmla="*/ 215 w 288"/>
                <a:gd name="T67" fmla="*/ 243 h 349"/>
                <a:gd name="T68" fmla="*/ 215 w 288"/>
                <a:gd name="T69" fmla="*/ 229 h 349"/>
                <a:gd name="T70" fmla="*/ 222 w 288"/>
                <a:gd name="T71" fmla="*/ 222 h 349"/>
                <a:gd name="T72" fmla="*/ 232 w 288"/>
                <a:gd name="T73" fmla="*/ 207 h 349"/>
                <a:gd name="T74" fmla="*/ 251 w 288"/>
                <a:gd name="T75" fmla="*/ 184 h 349"/>
                <a:gd name="T76" fmla="*/ 255 w 288"/>
                <a:gd name="T77" fmla="*/ 151 h 349"/>
                <a:gd name="T78" fmla="*/ 262 w 288"/>
                <a:gd name="T79" fmla="*/ 122 h 349"/>
                <a:gd name="T80" fmla="*/ 270 w 288"/>
                <a:gd name="T81" fmla="*/ 111 h 349"/>
                <a:gd name="T82" fmla="*/ 281 w 288"/>
                <a:gd name="T83" fmla="*/ 101 h 349"/>
                <a:gd name="T84" fmla="*/ 288 w 288"/>
                <a:gd name="T85" fmla="*/ 89 h 349"/>
                <a:gd name="T86" fmla="*/ 284 w 288"/>
                <a:gd name="T87" fmla="*/ 85 h 349"/>
                <a:gd name="T88" fmla="*/ 272 w 288"/>
                <a:gd name="T89" fmla="*/ 80 h 349"/>
                <a:gd name="T90" fmla="*/ 267 w 288"/>
                <a:gd name="T91" fmla="*/ 49 h 349"/>
                <a:gd name="T92" fmla="*/ 262 w 288"/>
                <a:gd name="T93" fmla="*/ 28 h 349"/>
                <a:gd name="T94" fmla="*/ 255 w 288"/>
                <a:gd name="T95" fmla="*/ 14 h 349"/>
                <a:gd name="T96" fmla="*/ 239 w 288"/>
                <a:gd name="T97" fmla="*/ 0 h 349"/>
                <a:gd name="T98" fmla="*/ 215 w 288"/>
                <a:gd name="T99" fmla="*/ 16 h 349"/>
                <a:gd name="T100" fmla="*/ 168 w 288"/>
                <a:gd name="T101" fmla="*/ 21 h 349"/>
                <a:gd name="T102" fmla="*/ 166 w 288"/>
                <a:gd name="T103" fmla="*/ 16 h 349"/>
                <a:gd name="T104" fmla="*/ 121 w 288"/>
                <a:gd name="T105" fmla="*/ 21 h 349"/>
                <a:gd name="T106" fmla="*/ 55 w 288"/>
                <a:gd name="T107" fmla="*/ 21 h 349"/>
                <a:gd name="T108" fmla="*/ 38 w 288"/>
                <a:gd name="T109" fmla="*/ 56 h 349"/>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958 w 10000"/>
                <a:gd name="connsiteY190" fmla="*/ 401 h 10000"/>
                <a:gd name="connsiteX191" fmla="*/ 8854 w 10000"/>
                <a:gd name="connsiteY191" fmla="*/ 401 h 10000"/>
                <a:gd name="connsiteX192" fmla="*/ 8715 w 10000"/>
                <a:gd name="connsiteY192" fmla="*/ 258 h 10000"/>
                <a:gd name="connsiteX193" fmla="*/ 8611 w 10000"/>
                <a:gd name="connsiteY193" fmla="*/ 201 h 10000"/>
                <a:gd name="connsiteX194" fmla="*/ 8472 w 10000"/>
                <a:gd name="connsiteY194" fmla="*/ 115 h 10000"/>
                <a:gd name="connsiteX195" fmla="*/ 8299 w 10000"/>
                <a:gd name="connsiteY195" fmla="*/ 0 h 10000"/>
                <a:gd name="connsiteX196" fmla="*/ 8056 w 10000"/>
                <a:gd name="connsiteY196" fmla="*/ 201 h 10000"/>
                <a:gd name="connsiteX197" fmla="*/ 7882 w 10000"/>
                <a:gd name="connsiteY197" fmla="*/ 115 h 10000"/>
                <a:gd name="connsiteX198" fmla="*/ 7813 w 10000"/>
                <a:gd name="connsiteY198" fmla="*/ 401 h 10000"/>
                <a:gd name="connsiteX199" fmla="*/ 7465 w 10000"/>
                <a:gd name="connsiteY199" fmla="*/ 458 h 10000"/>
                <a:gd name="connsiteX200" fmla="*/ 7396 w 10000"/>
                <a:gd name="connsiteY200" fmla="*/ 659 h 10000"/>
                <a:gd name="connsiteX201" fmla="*/ 7049 w 10000"/>
                <a:gd name="connsiteY201" fmla="*/ 745 h 10000"/>
                <a:gd name="connsiteX202" fmla="*/ 6910 w 10000"/>
                <a:gd name="connsiteY202" fmla="*/ 602 h 10000"/>
                <a:gd name="connsiteX203" fmla="*/ 5833 w 10000"/>
                <a:gd name="connsiteY203" fmla="*/ 602 h 10000"/>
                <a:gd name="connsiteX204" fmla="*/ 5833 w 10000"/>
                <a:gd name="connsiteY204" fmla="*/ 458 h 10000"/>
                <a:gd name="connsiteX205" fmla="*/ 5833 w 10000"/>
                <a:gd name="connsiteY205" fmla="*/ 458 h 10000"/>
                <a:gd name="connsiteX206" fmla="*/ 5833 w 10000"/>
                <a:gd name="connsiteY206" fmla="*/ 458 h 10000"/>
                <a:gd name="connsiteX207" fmla="*/ 5764 w 10000"/>
                <a:gd name="connsiteY207" fmla="*/ 458 h 10000"/>
                <a:gd name="connsiteX208" fmla="*/ 5660 w 10000"/>
                <a:gd name="connsiteY208" fmla="*/ 602 h 10000"/>
                <a:gd name="connsiteX209" fmla="*/ 5347 w 10000"/>
                <a:gd name="connsiteY209" fmla="*/ 602 h 10000"/>
                <a:gd name="connsiteX210" fmla="*/ 4757 w 10000"/>
                <a:gd name="connsiteY210" fmla="*/ 602 h 10000"/>
                <a:gd name="connsiteX211" fmla="*/ 4201 w 10000"/>
                <a:gd name="connsiteY211" fmla="*/ 602 h 10000"/>
                <a:gd name="connsiteX212" fmla="*/ 3056 w 10000"/>
                <a:gd name="connsiteY212" fmla="*/ 602 h 10000"/>
                <a:gd name="connsiteX213" fmla="*/ 2465 w 10000"/>
                <a:gd name="connsiteY213" fmla="*/ 602 h 10000"/>
                <a:gd name="connsiteX214" fmla="*/ 1910 w 10000"/>
                <a:gd name="connsiteY214" fmla="*/ 602 h 10000"/>
                <a:gd name="connsiteX215" fmla="*/ 1910 w 10000"/>
                <a:gd name="connsiteY215" fmla="*/ 602 h 10000"/>
                <a:gd name="connsiteX216" fmla="*/ 1910 w 10000"/>
                <a:gd name="connsiteY216" fmla="*/ 1060 h 10000"/>
                <a:gd name="connsiteX217" fmla="*/ 1910 w 10000"/>
                <a:gd name="connsiteY217" fmla="*/ 1605 h 10000"/>
                <a:gd name="connsiteX218" fmla="*/ 1319 w 10000"/>
                <a:gd name="connsiteY218" fmla="*/ 1605 h 10000"/>
                <a:gd name="connsiteX219" fmla="*/ 1319 w 10000"/>
                <a:gd name="connsiteY219"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958 w 10000"/>
                <a:gd name="connsiteY190" fmla="*/ 401 h 10000"/>
                <a:gd name="connsiteX191" fmla="*/ 8854 w 10000"/>
                <a:gd name="connsiteY191" fmla="*/ 401 h 10000"/>
                <a:gd name="connsiteX192" fmla="*/ 8715 w 10000"/>
                <a:gd name="connsiteY192" fmla="*/ 258 h 10000"/>
                <a:gd name="connsiteX193" fmla="*/ 8611 w 10000"/>
                <a:gd name="connsiteY193" fmla="*/ 201 h 10000"/>
                <a:gd name="connsiteX194" fmla="*/ 8472 w 10000"/>
                <a:gd name="connsiteY194" fmla="*/ 115 h 10000"/>
                <a:gd name="connsiteX195" fmla="*/ 8299 w 10000"/>
                <a:gd name="connsiteY195" fmla="*/ 0 h 10000"/>
                <a:gd name="connsiteX196" fmla="*/ 8056 w 10000"/>
                <a:gd name="connsiteY196" fmla="*/ 201 h 10000"/>
                <a:gd name="connsiteX197" fmla="*/ 7882 w 10000"/>
                <a:gd name="connsiteY197" fmla="*/ 115 h 10000"/>
                <a:gd name="connsiteX198" fmla="*/ 7813 w 10000"/>
                <a:gd name="connsiteY198" fmla="*/ 401 h 10000"/>
                <a:gd name="connsiteX199" fmla="*/ 7465 w 10000"/>
                <a:gd name="connsiteY199" fmla="*/ 458 h 10000"/>
                <a:gd name="connsiteX200" fmla="*/ 7396 w 10000"/>
                <a:gd name="connsiteY200" fmla="*/ 659 h 10000"/>
                <a:gd name="connsiteX201" fmla="*/ 7049 w 10000"/>
                <a:gd name="connsiteY201" fmla="*/ 745 h 10000"/>
                <a:gd name="connsiteX202" fmla="*/ 6910 w 10000"/>
                <a:gd name="connsiteY202" fmla="*/ 602 h 10000"/>
                <a:gd name="connsiteX203" fmla="*/ 5833 w 10000"/>
                <a:gd name="connsiteY203" fmla="*/ 602 h 10000"/>
                <a:gd name="connsiteX204" fmla="*/ 5833 w 10000"/>
                <a:gd name="connsiteY204" fmla="*/ 458 h 10000"/>
                <a:gd name="connsiteX205" fmla="*/ 5833 w 10000"/>
                <a:gd name="connsiteY205" fmla="*/ 458 h 10000"/>
                <a:gd name="connsiteX206" fmla="*/ 5833 w 10000"/>
                <a:gd name="connsiteY206" fmla="*/ 458 h 10000"/>
                <a:gd name="connsiteX207" fmla="*/ 5764 w 10000"/>
                <a:gd name="connsiteY207" fmla="*/ 458 h 10000"/>
                <a:gd name="connsiteX208" fmla="*/ 5660 w 10000"/>
                <a:gd name="connsiteY208" fmla="*/ 602 h 10000"/>
                <a:gd name="connsiteX209" fmla="*/ 5347 w 10000"/>
                <a:gd name="connsiteY209" fmla="*/ 602 h 10000"/>
                <a:gd name="connsiteX210" fmla="*/ 4757 w 10000"/>
                <a:gd name="connsiteY210" fmla="*/ 602 h 10000"/>
                <a:gd name="connsiteX211" fmla="*/ 3056 w 10000"/>
                <a:gd name="connsiteY211" fmla="*/ 602 h 10000"/>
                <a:gd name="connsiteX212" fmla="*/ 2465 w 10000"/>
                <a:gd name="connsiteY212" fmla="*/ 602 h 10000"/>
                <a:gd name="connsiteX213" fmla="*/ 1910 w 10000"/>
                <a:gd name="connsiteY213" fmla="*/ 602 h 10000"/>
                <a:gd name="connsiteX214" fmla="*/ 1910 w 10000"/>
                <a:gd name="connsiteY214" fmla="*/ 602 h 10000"/>
                <a:gd name="connsiteX215" fmla="*/ 1910 w 10000"/>
                <a:gd name="connsiteY215" fmla="*/ 1060 h 10000"/>
                <a:gd name="connsiteX216" fmla="*/ 1910 w 10000"/>
                <a:gd name="connsiteY216" fmla="*/ 1605 h 10000"/>
                <a:gd name="connsiteX217" fmla="*/ 1319 w 10000"/>
                <a:gd name="connsiteY217" fmla="*/ 1605 h 10000"/>
                <a:gd name="connsiteX218" fmla="*/ 1319 w 10000"/>
                <a:gd name="connsiteY218"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958 w 10000"/>
                <a:gd name="connsiteY190" fmla="*/ 401 h 10000"/>
                <a:gd name="connsiteX191" fmla="*/ 8854 w 10000"/>
                <a:gd name="connsiteY191" fmla="*/ 401 h 10000"/>
                <a:gd name="connsiteX192" fmla="*/ 8715 w 10000"/>
                <a:gd name="connsiteY192" fmla="*/ 258 h 10000"/>
                <a:gd name="connsiteX193" fmla="*/ 8611 w 10000"/>
                <a:gd name="connsiteY193" fmla="*/ 201 h 10000"/>
                <a:gd name="connsiteX194" fmla="*/ 8472 w 10000"/>
                <a:gd name="connsiteY194" fmla="*/ 115 h 10000"/>
                <a:gd name="connsiteX195" fmla="*/ 8299 w 10000"/>
                <a:gd name="connsiteY195" fmla="*/ 0 h 10000"/>
                <a:gd name="connsiteX196" fmla="*/ 8056 w 10000"/>
                <a:gd name="connsiteY196" fmla="*/ 201 h 10000"/>
                <a:gd name="connsiteX197" fmla="*/ 7882 w 10000"/>
                <a:gd name="connsiteY197" fmla="*/ 115 h 10000"/>
                <a:gd name="connsiteX198" fmla="*/ 7813 w 10000"/>
                <a:gd name="connsiteY198" fmla="*/ 401 h 10000"/>
                <a:gd name="connsiteX199" fmla="*/ 7465 w 10000"/>
                <a:gd name="connsiteY199" fmla="*/ 458 h 10000"/>
                <a:gd name="connsiteX200" fmla="*/ 7396 w 10000"/>
                <a:gd name="connsiteY200" fmla="*/ 659 h 10000"/>
                <a:gd name="connsiteX201" fmla="*/ 7049 w 10000"/>
                <a:gd name="connsiteY201" fmla="*/ 745 h 10000"/>
                <a:gd name="connsiteX202" fmla="*/ 6910 w 10000"/>
                <a:gd name="connsiteY202" fmla="*/ 602 h 10000"/>
                <a:gd name="connsiteX203" fmla="*/ 5833 w 10000"/>
                <a:gd name="connsiteY203" fmla="*/ 602 h 10000"/>
                <a:gd name="connsiteX204" fmla="*/ 5833 w 10000"/>
                <a:gd name="connsiteY204" fmla="*/ 458 h 10000"/>
                <a:gd name="connsiteX205" fmla="*/ 5833 w 10000"/>
                <a:gd name="connsiteY205" fmla="*/ 458 h 10000"/>
                <a:gd name="connsiteX206" fmla="*/ 5833 w 10000"/>
                <a:gd name="connsiteY206" fmla="*/ 458 h 10000"/>
                <a:gd name="connsiteX207" fmla="*/ 5764 w 10000"/>
                <a:gd name="connsiteY207" fmla="*/ 458 h 10000"/>
                <a:gd name="connsiteX208" fmla="*/ 5660 w 10000"/>
                <a:gd name="connsiteY208" fmla="*/ 602 h 10000"/>
                <a:gd name="connsiteX209" fmla="*/ 5347 w 10000"/>
                <a:gd name="connsiteY209" fmla="*/ 602 h 10000"/>
                <a:gd name="connsiteX210" fmla="*/ 3056 w 10000"/>
                <a:gd name="connsiteY210" fmla="*/ 602 h 10000"/>
                <a:gd name="connsiteX211" fmla="*/ 2465 w 10000"/>
                <a:gd name="connsiteY211" fmla="*/ 602 h 10000"/>
                <a:gd name="connsiteX212" fmla="*/ 1910 w 10000"/>
                <a:gd name="connsiteY212" fmla="*/ 602 h 10000"/>
                <a:gd name="connsiteX213" fmla="*/ 1910 w 10000"/>
                <a:gd name="connsiteY213" fmla="*/ 602 h 10000"/>
                <a:gd name="connsiteX214" fmla="*/ 1910 w 10000"/>
                <a:gd name="connsiteY214" fmla="*/ 1060 h 10000"/>
                <a:gd name="connsiteX215" fmla="*/ 1910 w 10000"/>
                <a:gd name="connsiteY215" fmla="*/ 1605 h 10000"/>
                <a:gd name="connsiteX216" fmla="*/ 1319 w 10000"/>
                <a:gd name="connsiteY216" fmla="*/ 1605 h 10000"/>
                <a:gd name="connsiteX217" fmla="*/ 1319 w 10000"/>
                <a:gd name="connsiteY217"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958 w 10000"/>
                <a:gd name="connsiteY190" fmla="*/ 401 h 10000"/>
                <a:gd name="connsiteX191" fmla="*/ 8854 w 10000"/>
                <a:gd name="connsiteY191" fmla="*/ 401 h 10000"/>
                <a:gd name="connsiteX192" fmla="*/ 8715 w 10000"/>
                <a:gd name="connsiteY192" fmla="*/ 258 h 10000"/>
                <a:gd name="connsiteX193" fmla="*/ 8611 w 10000"/>
                <a:gd name="connsiteY193" fmla="*/ 201 h 10000"/>
                <a:gd name="connsiteX194" fmla="*/ 8472 w 10000"/>
                <a:gd name="connsiteY194" fmla="*/ 115 h 10000"/>
                <a:gd name="connsiteX195" fmla="*/ 8299 w 10000"/>
                <a:gd name="connsiteY195" fmla="*/ 0 h 10000"/>
                <a:gd name="connsiteX196" fmla="*/ 8056 w 10000"/>
                <a:gd name="connsiteY196" fmla="*/ 201 h 10000"/>
                <a:gd name="connsiteX197" fmla="*/ 7882 w 10000"/>
                <a:gd name="connsiteY197" fmla="*/ 115 h 10000"/>
                <a:gd name="connsiteX198" fmla="*/ 7813 w 10000"/>
                <a:gd name="connsiteY198" fmla="*/ 401 h 10000"/>
                <a:gd name="connsiteX199" fmla="*/ 7465 w 10000"/>
                <a:gd name="connsiteY199" fmla="*/ 458 h 10000"/>
                <a:gd name="connsiteX200" fmla="*/ 7396 w 10000"/>
                <a:gd name="connsiteY200" fmla="*/ 659 h 10000"/>
                <a:gd name="connsiteX201" fmla="*/ 7049 w 10000"/>
                <a:gd name="connsiteY201" fmla="*/ 745 h 10000"/>
                <a:gd name="connsiteX202" fmla="*/ 6910 w 10000"/>
                <a:gd name="connsiteY202" fmla="*/ 602 h 10000"/>
                <a:gd name="connsiteX203" fmla="*/ 6444 w 10000"/>
                <a:gd name="connsiteY203" fmla="*/ 574 h 10000"/>
                <a:gd name="connsiteX204" fmla="*/ 5833 w 10000"/>
                <a:gd name="connsiteY204" fmla="*/ 602 h 10000"/>
                <a:gd name="connsiteX205" fmla="*/ 5833 w 10000"/>
                <a:gd name="connsiteY205" fmla="*/ 458 h 10000"/>
                <a:gd name="connsiteX206" fmla="*/ 5833 w 10000"/>
                <a:gd name="connsiteY206" fmla="*/ 458 h 10000"/>
                <a:gd name="connsiteX207" fmla="*/ 5833 w 10000"/>
                <a:gd name="connsiteY207" fmla="*/ 458 h 10000"/>
                <a:gd name="connsiteX208" fmla="*/ 5764 w 10000"/>
                <a:gd name="connsiteY208" fmla="*/ 458 h 10000"/>
                <a:gd name="connsiteX209" fmla="*/ 5660 w 10000"/>
                <a:gd name="connsiteY209" fmla="*/ 602 h 10000"/>
                <a:gd name="connsiteX210" fmla="*/ 5347 w 10000"/>
                <a:gd name="connsiteY210" fmla="*/ 602 h 10000"/>
                <a:gd name="connsiteX211" fmla="*/ 3056 w 10000"/>
                <a:gd name="connsiteY211" fmla="*/ 602 h 10000"/>
                <a:gd name="connsiteX212" fmla="*/ 2465 w 10000"/>
                <a:gd name="connsiteY212" fmla="*/ 602 h 10000"/>
                <a:gd name="connsiteX213" fmla="*/ 1910 w 10000"/>
                <a:gd name="connsiteY213" fmla="*/ 602 h 10000"/>
                <a:gd name="connsiteX214" fmla="*/ 1910 w 10000"/>
                <a:gd name="connsiteY214" fmla="*/ 602 h 10000"/>
                <a:gd name="connsiteX215" fmla="*/ 1910 w 10000"/>
                <a:gd name="connsiteY215" fmla="*/ 1060 h 10000"/>
                <a:gd name="connsiteX216" fmla="*/ 1910 w 10000"/>
                <a:gd name="connsiteY216" fmla="*/ 1605 h 10000"/>
                <a:gd name="connsiteX217" fmla="*/ 1319 w 10000"/>
                <a:gd name="connsiteY217" fmla="*/ 1605 h 10000"/>
                <a:gd name="connsiteX218" fmla="*/ 1319 w 10000"/>
                <a:gd name="connsiteY218"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958 w 10000"/>
                <a:gd name="connsiteY190" fmla="*/ 401 h 10000"/>
                <a:gd name="connsiteX191" fmla="*/ 8854 w 10000"/>
                <a:gd name="connsiteY191" fmla="*/ 401 h 10000"/>
                <a:gd name="connsiteX192" fmla="*/ 8715 w 10000"/>
                <a:gd name="connsiteY192" fmla="*/ 258 h 10000"/>
                <a:gd name="connsiteX193" fmla="*/ 8611 w 10000"/>
                <a:gd name="connsiteY193" fmla="*/ 201 h 10000"/>
                <a:gd name="connsiteX194" fmla="*/ 8472 w 10000"/>
                <a:gd name="connsiteY194" fmla="*/ 115 h 10000"/>
                <a:gd name="connsiteX195" fmla="*/ 8299 w 10000"/>
                <a:gd name="connsiteY195" fmla="*/ 0 h 10000"/>
                <a:gd name="connsiteX196" fmla="*/ 8056 w 10000"/>
                <a:gd name="connsiteY196" fmla="*/ 201 h 10000"/>
                <a:gd name="connsiteX197" fmla="*/ 7882 w 10000"/>
                <a:gd name="connsiteY197" fmla="*/ 115 h 10000"/>
                <a:gd name="connsiteX198" fmla="*/ 7813 w 10000"/>
                <a:gd name="connsiteY198" fmla="*/ 401 h 10000"/>
                <a:gd name="connsiteX199" fmla="*/ 7465 w 10000"/>
                <a:gd name="connsiteY199" fmla="*/ 458 h 10000"/>
                <a:gd name="connsiteX200" fmla="*/ 7049 w 10000"/>
                <a:gd name="connsiteY200" fmla="*/ 745 h 10000"/>
                <a:gd name="connsiteX201" fmla="*/ 6910 w 10000"/>
                <a:gd name="connsiteY201" fmla="*/ 602 h 10000"/>
                <a:gd name="connsiteX202" fmla="*/ 6444 w 10000"/>
                <a:gd name="connsiteY202" fmla="*/ 574 h 10000"/>
                <a:gd name="connsiteX203" fmla="*/ 5833 w 10000"/>
                <a:gd name="connsiteY203" fmla="*/ 602 h 10000"/>
                <a:gd name="connsiteX204" fmla="*/ 5833 w 10000"/>
                <a:gd name="connsiteY204" fmla="*/ 458 h 10000"/>
                <a:gd name="connsiteX205" fmla="*/ 5833 w 10000"/>
                <a:gd name="connsiteY205" fmla="*/ 458 h 10000"/>
                <a:gd name="connsiteX206" fmla="*/ 5833 w 10000"/>
                <a:gd name="connsiteY206" fmla="*/ 458 h 10000"/>
                <a:gd name="connsiteX207" fmla="*/ 5764 w 10000"/>
                <a:gd name="connsiteY207" fmla="*/ 458 h 10000"/>
                <a:gd name="connsiteX208" fmla="*/ 5660 w 10000"/>
                <a:gd name="connsiteY208" fmla="*/ 602 h 10000"/>
                <a:gd name="connsiteX209" fmla="*/ 5347 w 10000"/>
                <a:gd name="connsiteY209" fmla="*/ 602 h 10000"/>
                <a:gd name="connsiteX210" fmla="*/ 3056 w 10000"/>
                <a:gd name="connsiteY210" fmla="*/ 602 h 10000"/>
                <a:gd name="connsiteX211" fmla="*/ 2465 w 10000"/>
                <a:gd name="connsiteY211" fmla="*/ 602 h 10000"/>
                <a:gd name="connsiteX212" fmla="*/ 1910 w 10000"/>
                <a:gd name="connsiteY212" fmla="*/ 602 h 10000"/>
                <a:gd name="connsiteX213" fmla="*/ 1910 w 10000"/>
                <a:gd name="connsiteY213" fmla="*/ 602 h 10000"/>
                <a:gd name="connsiteX214" fmla="*/ 1910 w 10000"/>
                <a:gd name="connsiteY214" fmla="*/ 1060 h 10000"/>
                <a:gd name="connsiteX215" fmla="*/ 1910 w 10000"/>
                <a:gd name="connsiteY215" fmla="*/ 1605 h 10000"/>
                <a:gd name="connsiteX216" fmla="*/ 1319 w 10000"/>
                <a:gd name="connsiteY216" fmla="*/ 1605 h 10000"/>
                <a:gd name="connsiteX217" fmla="*/ 1319 w 10000"/>
                <a:gd name="connsiteY217"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958 w 10000"/>
                <a:gd name="connsiteY190" fmla="*/ 401 h 10000"/>
                <a:gd name="connsiteX191" fmla="*/ 8854 w 10000"/>
                <a:gd name="connsiteY191" fmla="*/ 401 h 10000"/>
                <a:gd name="connsiteX192" fmla="*/ 8715 w 10000"/>
                <a:gd name="connsiteY192" fmla="*/ 258 h 10000"/>
                <a:gd name="connsiteX193" fmla="*/ 8611 w 10000"/>
                <a:gd name="connsiteY193" fmla="*/ 201 h 10000"/>
                <a:gd name="connsiteX194" fmla="*/ 8472 w 10000"/>
                <a:gd name="connsiteY194" fmla="*/ 115 h 10000"/>
                <a:gd name="connsiteX195" fmla="*/ 8299 w 10000"/>
                <a:gd name="connsiteY195" fmla="*/ 0 h 10000"/>
                <a:gd name="connsiteX196" fmla="*/ 8056 w 10000"/>
                <a:gd name="connsiteY196" fmla="*/ 201 h 10000"/>
                <a:gd name="connsiteX197" fmla="*/ 7813 w 10000"/>
                <a:gd name="connsiteY197" fmla="*/ 401 h 10000"/>
                <a:gd name="connsiteX198" fmla="*/ 7465 w 10000"/>
                <a:gd name="connsiteY198" fmla="*/ 458 h 10000"/>
                <a:gd name="connsiteX199" fmla="*/ 7049 w 10000"/>
                <a:gd name="connsiteY199" fmla="*/ 745 h 10000"/>
                <a:gd name="connsiteX200" fmla="*/ 6910 w 10000"/>
                <a:gd name="connsiteY200" fmla="*/ 602 h 10000"/>
                <a:gd name="connsiteX201" fmla="*/ 6444 w 10000"/>
                <a:gd name="connsiteY201" fmla="*/ 574 h 10000"/>
                <a:gd name="connsiteX202" fmla="*/ 5833 w 10000"/>
                <a:gd name="connsiteY202" fmla="*/ 602 h 10000"/>
                <a:gd name="connsiteX203" fmla="*/ 5833 w 10000"/>
                <a:gd name="connsiteY203" fmla="*/ 458 h 10000"/>
                <a:gd name="connsiteX204" fmla="*/ 5833 w 10000"/>
                <a:gd name="connsiteY204" fmla="*/ 458 h 10000"/>
                <a:gd name="connsiteX205" fmla="*/ 5833 w 10000"/>
                <a:gd name="connsiteY205" fmla="*/ 458 h 10000"/>
                <a:gd name="connsiteX206" fmla="*/ 5764 w 10000"/>
                <a:gd name="connsiteY206" fmla="*/ 458 h 10000"/>
                <a:gd name="connsiteX207" fmla="*/ 5660 w 10000"/>
                <a:gd name="connsiteY207" fmla="*/ 602 h 10000"/>
                <a:gd name="connsiteX208" fmla="*/ 5347 w 10000"/>
                <a:gd name="connsiteY208" fmla="*/ 602 h 10000"/>
                <a:gd name="connsiteX209" fmla="*/ 3056 w 10000"/>
                <a:gd name="connsiteY209" fmla="*/ 602 h 10000"/>
                <a:gd name="connsiteX210" fmla="*/ 2465 w 10000"/>
                <a:gd name="connsiteY210" fmla="*/ 602 h 10000"/>
                <a:gd name="connsiteX211" fmla="*/ 1910 w 10000"/>
                <a:gd name="connsiteY211" fmla="*/ 602 h 10000"/>
                <a:gd name="connsiteX212" fmla="*/ 1910 w 10000"/>
                <a:gd name="connsiteY212" fmla="*/ 602 h 10000"/>
                <a:gd name="connsiteX213" fmla="*/ 1910 w 10000"/>
                <a:gd name="connsiteY213" fmla="*/ 1060 h 10000"/>
                <a:gd name="connsiteX214" fmla="*/ 1910 w 10000"/>
                <a:gd name="connsiteY214" fmla="*/ 1605 h 10000"/>
                <a:gd name="connsiteX215" fmla="*/ 1319 w 10000"/>
                <a:gd name="connsiteY215" fmla="*/ 1605 h 10000"/>
                <a:gd name="connsiteX216" fmla="*/ 1319 w 10000"/>
                <a:gd name="connsiteY216"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404 h 10000"/>
                <a:gd name="connsiteX184" fmla="*/ 9271 w 10000"/>
                <a:gd name="connsiteY184" fmla="*/ 1060 h 10000"/>
                <a:gd name="connsiteX185" fmla="*/ 9271 w 10000"/>
                <a:gd name="connsiteY185" fmla="*/ 1060 h 10000"/>
                <a:gd name="connsiteX186" fmla="*/ 9271 w 10000"/>
                <a:gd name="connsiteY186" fmla="*/ 1003 h 10000"/>
                <a:gd name="connsiteX187" fmla="*/ 9097 w 10000"/>
                <a:gd name="connsiteY187" fmla="*/ 802 h 10000"/>
                <a:gd name="connsiteX188" fmla="*/ 9097 w 10000"/>
                <a:gd name="connsiteY188" fmla="*/ 745 h 10000"/>
                <a:gd name="connsiteX189" fmla="*/ 9097 w 10000"/>
                <a:gd name="connsiteY189" fmla="*/ 602 h 10000"/>
                <a:gd name="connsiteX190" fmla="*/ 8854 w 10000"/>
                <a:gd name="connsiteY190" fmla="*/ 401 h 10000"/>
                <a:gd name="connsiteX191" fmla="*/ 8715 w 10000"/>
                <a:gd name="connsiteY191" fmla="*/ 258 h 10000"/>
                <a:gd name="connsiteX192" fmla="*/ 8611 w 10000"/>
                <a:gd name="connsiteY192" fmla="*/ 201 h 10000"/>
                <a:gd name="connsiteX193" fmla="*/ 8472 w 10000"/>
                <a:gd name="connsiteY193" fmla="*/ 115 h 10000"/>
                <a:gd name="connsiteX194" fmla="*/ 8299 w 10000"/>
                <a:gd name="connsiteY194" fmla="*/ 0 h 10000"/>
                <a:gd name="connsiteX195" fmla="*/ 8056 w 10000"/>
                <a:gd name="connsiteY195" fmla="*/ 201 h 10000"/>
                <a:gd name="connsiteX196" fmla="*/ 7813 w 10000"/>
                <a:gd name="connsiteY196" fmla="*/ 401 h 10000"/>
                <a:gd name="connsiteX197" fmla="*/ 7465 w 10000"/>
                <a:gd name="connsiteY197" fmla="*/ 458 h 10000"/>
                <a:gd name="connsiteX198" fmla="*/ 7049 w 10000"/>
                <a:gd name="connsiteY198" fmla="*/ 745 h 10000"/>
                <a:gd name="connsiteX199" fmla="*/ 6910 w 10000"/>
                <a:gd name="connsiteY199" fmla="*/ 602 h 10000"/>
                <a:gd name="connsiteX200" fmla="*/ 6444 w 10000"/>
                <a:gd name="connsiteY200" fmla="*/ 574 h 10000"/>
                <a:gd name="connsiteX201" fmla="*/ 5833 w 10000"/>
                <a:gd name="connsiteY201" fmla="*/ 602 h 10000"/>
                <a:gd name="connsiteX202" fmla="*/ 5833 w 10000"/>
                <a:gd name="connsiteY202" fmla="*/ 458 h 10000"/>
                <a:gd name="connsiteX203" fmla="*/ 5833 w 10000"/>
                <a:gd name="connsiteY203" fmla="*/ 458 h 10000"/>
                <a:gd name="connsiteX204" fmla="*/ 5833 w 10000"/>
                <a:gd name="connsiteY204" fmla="*/ 458 h 10000"/>
                <a:gd name="connsiteX205" fmla="*/ 5764 w 10000"/>
                <a:gd name="connsiteY205" fmla="*/ 458 h 10000"/>
                <a:gd name="connsiteX206" fmla="*/ 5660 w 10000"/>
                <a:gd name="connsiteY206" fmla="*/ 602 h 10000"/>
                <a:gd name="connsiteX207" fmla="*/ 5347 w 10000"/>
                <a:gd name="connsiteY207" fmla="*/ 602 h 10000"/>
                <a:gd name="connsiteX208" fmla="*/ 3056 w 10000"/>
                <a:gd name="connsiteY208" fmla="*/ 602 h 10000"/>
                <a:gd name="connsiteX209" fmla="*/ 2465 w 10000"/>
                <a:gd name="connsiteY209" fmla="*/ 602 h 10000"/>
                <a:gd name="connsiteX210" fmla="*/ 1910 w 10000"/>
                <a:gd name="connsiteY210" fmla="*/ 602 h 10000"/>
                <a:gd name="connsiteX211" fmla="*/ 1910 w 10000"/>
                <a:gd name="connsiteY211" fmla="*/ 602 h 10000"/>
                <a:gd name="connsiteX212" fmla="*/ 1910 w 10000"/>
                <a:gd name="connsiteY212" fmla="*/ 1060 h 10000"/>
                <a:gd name="connsiteX213" fmla="*/ 1910 w 10000"/>
                <a:gd name="connsiteY213" fmla="*/ 1605 h 10000"/>
                <a:gd name="connsiteX214" fmla="*/ 1319 w 10000"/>
                <a:gd name="connsiteY214" fmla="*/ 1605 h 10000"/>
                <a:gd name="connsiteX215" fmla="*/ 1319 w 10000"/>
                <a:gd name="connsiteY215"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948 h 10000"/>
                <a:gd name="connsiteX182" fmla="*/ 9271 w 10000"/>
                <a:gd name="connsiteY182" fmla="*/ 1748 h 10000"/>
                <a:gd name="connsiteX183" fmla="*/ 9271 w 10000"/>
                <a:gd name="connsiteY183" fmla="*/ 1060 h 10000"/>
                <a:gd name="connsiteX184" fmla="*/ 9271 w 10000"/>
                <a:gd name="connsiteY184" fmla="*/ 1060 h 10000"/>
                <a:gd name="connsiteX185" fmla="*/ 9271 w 10000"/>
                <a:gd name="connsiteY185" fmla="*/ 1003 h 10000"/>
                <a:gd name="connsiteX186" fmla="*/ 9097 w 10000"/>
                <a:gd name="connsiteY186" fmla="*/ 802 h 10000"/>
                <a:gd name="connsiteX187" fmla="*/ 9097 w 10000"/>
                <a:gd name="connsiteY187" fmla="*/ 745 h 10000"/>
                <a:gd name="connsiteX188" fmla="*/ 9097 w 10000"/>
                <a:gd name="connsiteY188" fmla="*/ 602 h 10000"/>
                <a:gd name="connsiteX189" fmla="*/ 8854 w 10000"/>
                <a:gd name="connsiteY189" fmla="*/ 401 h 10000"/>
                <a:gd name="connsiteX190" fmla="*/ 8715 w 10000"/>
                <a:gd name="connsiteY190" fmla="*/ 258 h 10000"/>
                <a:gd name="connsiteX191" fmla="*/ 8611 w 10000"/>
                <a:gd name="connsiteY191" fmla="*/ 201 h 10000"/>
                <a:gd name="connsiteX192" fmla="*/ 8472 w 10000"/>
                <a:gd name="connsiteY192" fmla="*/ 115 h 10000"/>
                <a:gd name="connsiteX193" fmla="*/ 8299 w 10000"/>
                <a:gd name="connsiteY193" fmla="*/ 0 h 10000"/>
                <a:gd name="connsiteX194" fmla="*/ 8056 w 10000"/>
                <a:gd name="connsiteY194" fmla="*/ 201 h 10000"/>
                <a:gd name="connsiteX195" fmla="*/ 7813 w 10000"/>
                <a:gd name="connsiteY195" fmla="*/ 401 h 10000"/>
                <a:gd name="connsiteX196" fmla="*/ 7465 w 10000"/>
                <a:gd name="connsiteY196" fmla="*/ 458 h 10000"/>
                <a:gd name="connsiteX197" fmla="*/ 7049 w 10000"/>
                <a:gd name="connsiteY197" fmla="*/ 745 h 10000"/>
                <a:gd name="connsiteX198" fmla="*/ 6910 w 10000"/>
                <a:gd name="connsiteY198" fmla="*/ 602 h 10000"/>
                <a:gd name="connsiteX199" fmla="*/ 6444 w 10000"/>
                <a:gd name="connsiteY199" fmla="*/ 574 h 10000"/>
                <a:gd name="connsiteX200" fmla="*/ 5833 w 10000"/>
                <a:gd name="connsiteY200" fmla="*/ 602 h 10000"/>
                <a:gd name="connsiteX201" fmla="*/ 5833 w 10000"/>
                <a:gd name="connsiteY201" fmla="*/ 458 h 10000"/>
                <a:gd name="connsiteX202" fmla="*/ 5833 w 10000"/>
                <a:gd name="connsiteY202" fmla="*/ 458 h 10000"/>
                <a:gd name="connsiteX203" fmla="*/ 5833 w 10000"/>
                <a:gd name="connsiteY203" fmla="*/ 458 h 10000"/>
                <a:gd name="connsiteX204" fmla="*/ 5764 w 10000"/>
                <a:gd name="connsiteY204" fmla="*/ 458 h 10000"/>
                <a:gd name="connsiteX205" fmla="*/ 5660 w 10000"/>
                <a:gd name="connsiteY205" fmla="*/ 602 h 10000"/>
                <a:gd name="connsiteX206" fmla="*/ 5347 w 10000"/>
                <a:gd name="connsiteY206" fmla="*/ 602 h 10000"/>
                <a:gd name="connsiteX207" fmla="*/ 3056 w 10000"/>
                <a:gd name="connsiteY207" fmla="*/ 602 h 10000"/>
                <a:gd name="connsiteX208" fmla="*/ 2465 w 10000"/>
                <a:gd name="connsiteY208" fmla="*/ 602 h 10000"/>
                <a:gd name="connsiteX209" fmla="*/ 1910 w 10000"/>
                <a:gd name="connsiteY209" fmla="*/ 602 h 10000"/>
                <a:gd name="connsiteX210" fmla="*/ 1910 w 10000"/>
                <a:gd name="connsiteY210" fmla="*/ 602 h 10000"/>
                <a:gd name="connsiteX211" fmla="*/ 1910 w 10000"/>
                <a:gd name="connsiteY211" fmla="*/ 1060 h 10000"/>
                <a:gd name="connsiteX212" fmla="*/ 1910 w 10000"/>
                <a:gd name="connsiteY212" fmla="*/ 1605 h 10000"/>
                <a:gd name="connsiteX213" fmla="*/ 1319 w 10000"/>
                <a:gd name="connsiteY213" fmla="*/ 1605 h 10000"/>
                <a:gd name="connsiteX214" fmla="*/ 1319 w 10000"/>
                <a:gd name="connsiteY214"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375 w 10000"/>
                <a:gd name="connsiteY180" fmla="*/ 2206 h 10000"/>
                <a:gd name="connsiteX181" fmla="*/ 9271 w 10000"/>
                <a:gd name="connsiteY181" fmla="*/ 1748 h 10000"/>
                <a:gd name="connsiteX182" fmla="*/ 9271 w 10000"/>
                <a:gd name="connsiteY182" fmla="*/ 1060 h 10000"/>
                <a:gd name="connsiteX183" fmla="*/ 9271 w 10000"/>
                <a:gd name="connsiteY183" fmla="*/ 1060 h 10000"/>
                <a:gd name="connsiteX184" fmla="*/ 9271 w 10000"/>
                <a:gd name="connsiteY184" fmla="*/ 1003 h 10000"/>
                <a:gd name="connsiteX185" fmla="*/ 9097 w 10000"/>
                <a:gd name="connsiteY185" fmla="*/ 802 h 10000"/>
                <a:gd name="connsiteX186" fmla="*/ 9097 w 10000"/>
                <a:gd name="connsiteY186" fmla="*/ 745 h 10000"/>
                <a:gd name="connsiteX187" fmla="*/ 9097 w 10000"/>
                <a:gd name="connsiteY187" fmla="*/ 602 h 10000"/>
                <a:gd name="connsiteX188" fmla="*/ 8854 w 10000"/>
                <a:gd name="connsiteY188" fmla="*/ 401 h 10000"/>
                <a:gd name="connsiteX189" fmla="*/ 8715 w 10000"/>
                <a:gd name="connsiteY189" fmla="*/ 258 h 10000"/>
                <a:gd name="connsiteX190" fmla="*/ 8611 w 10000"/>
                <a:gd name="connsiteY190" fmla="*/ 201 h 10000"/>
                <a:gd name="connsiteX191" fmla="*/ 8472 w 10000"/>
                <a:gd name="connsiteY191" fmla="*/ 115 h 10000"/>
                <a:gd name="connsiteX192" fmla="*/ 8299 w 10000"/>
                <a:gd name="connsiteY192" fmla="*/ 0 h 10000"/>
                <a:gd name="connsiteX193" fmla="*/ 8056 w 10000"/>
                <a:gd name="connsiteY193" fmla="*/ 201 h 10000"/>
                <a:gd name="connsiteX194" fmla="*/ 7813 w 10000"/>
                <a:gd name="connsiteY194" fmla="*/ 401 h 10000"/>
                <a:gd name="connsiteX195" fmla="*/ 7465 w 10000"/>
                <a:gd name="connsiteY195" fmla="*/ 458 h 10000"/>
                <a:gd name="connsiteX196" fmla="*/ 7049 w 10000"/>
                <a:gd name="connsiteY196" fmla="*/ 745 h 10000"/>
                <a:gd name="connsiteX197" fmla="*/ 6910 w 10000"/>
                <a:gd name="connsiteY197" fmla="*/ 602 h 10000"/>
                <a:gd name="connsiteX198" fmla="*/ 6444 w 10000"/>
                <a:gd name="connsiteY198" fmla="*/ 574 h 10000"/>
                <a:gd name="connsiteX199" fmla="*/ 5833 w 10000"/>
                <a:gd name="connsiteY199" fmla="*/ 602 h 10000"/>
                <a:gd name="connsiteX200" fmla="*/ 5833 w 10000"/>
                <a:gd name="connsiteY200" fmla="*/ 458 h 10000"/>
                <a:gd name="connsiteX201" fmla="*/ 5833 w 10000"/>
                <a:gd name="connsiteY201" fmla="*/ 458 h 10000"/>
                <a:gd name="connsiteX202" fmla="*/ 5833 w 10000"/>
                <a:gd name="connsiteY202" fmla="*/ 458 h 10000"/>
                <a:gd name="connsiteX203" fmla="*/ 5764 w 10000"/>
                <a:gd name="connsiteY203" fmla="*/ 458 h 10000"/>
                <a:gd name="connsiteX204" fmla="*/ 5660 w 10000"/>
                <a:gd name="connsiteY204" fmla="*/ 602 h 10000"/>
                <a:gd name="connsiteX205" fmla="*/ 5347 w 10000"/>
                <a:gd name="connsiteY205" fmla="*/ 602 h 10000"/>
                <a:gd name="connsiteX206" fmla="*/ 3056 w 10000"/>
                <a:gd name="connsiteY206" fmla="*/ 602 h 10000"/>
                <a:gd name="connsiteX207" fmla="*/ 2465 w 10000"/>
                <a:gd name="connsiteY207" fmla="*/ 602 h 10000"/>
                <a:gd name="connsiteX208" fmla="*/ 1910 w 10000"/>
                <a:gd name="connsiteY208" fmla="*/ 602 h 10000"/>
                <a:gd name="connsiteX209" fmla="*/ 1910 w 10000"/>
                <a:gd name="connsiteY209" fmla="*/ 602 h 10000"/>
                <a:gd name="connsiteX210" fmla="*/ 1910 w 10000"/>
                <a:gd name="connsiteY210" fmla="*/ 1060 h 10000"/>
                <a:gd name="connsiteX211" fmla="*/ 1910 w 10000"/>
                <a:gd name="connsiteY211" fmla="*/ 1605 h 10000"/>
                <a:gd name="connsiteX212" fmla="*/ 1319 w 10000"/>
                <a:gd name="connsiteY212" fmla="*/ 1605 h 10000"/>
                <a:gd name="connsiteX213" fmla="*/ 1319 w 10000"/>
                <a:gd name="connsiteY213"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28 w 10000"/>
                <a:gd name="connsiteY158" fmla="*/ 3696 h 10000"/>
                <a:gd name="connsiteX159" fmla="*/ 9097 w 10000"/>
                <a:gd name="connsiteY159" fmla="*/ 3496 h 10000"/>
                <a:gd name="connsiteX160" fmla="*/ 9097 w 10000"/>
                <a:gd name="connsiteY160" fmla="*/ 3438 h 10000"/>
                <a:gd name="connsiteX161" fmla="*/ 9097 w 10000"/>
                <a:gd name="connsiteY161" fmla="*/ 3238 h 10000"/>
                <a:gd name="connsiteX162" fmla="*/ 9201 w 10000"/>
                <a:gd name="connsiteY162" fmla="*/ 3181 h 10000"/>
                <a:gd name="connsiteX163" fmla="*/ 9375 w 10000"/>
                <a:gd name="connsiteY163" fmla="*/ 3181 h 10000"/>
                <a:gd name="connsiteX164" fmla="*/ 9444 w 10000"/>
                <a:gd name="connsiteY164" fmla="*/ 3095 h 10000"/>
                <a:gd name="connsiteX165" fmla="*/ 9514 w 10000"/>
                <a:gd name="connsiteY165" fmla="*/ 3037 h 10000"/>
                <a:gd name="connsiteX166" fmla="*/ 9688 w 10000"/>
                <a:gd name="connsiteY166" fmla="*/ 2951 h 10000"/>
                <a:gd name="connsiteX167" fmla="*/ 9757 w 10000"/>
                <a:gd name="connsiteY167" fmla="*/ 2894 h 10000"/>
                <a:gd name="connsiteX168" fmla="*/ 9931 w 10000"/>
                <a:gd name="connsiteY168" fmla="*/ 2894 h 10000"/>
                <a:gd name="connsiteX169" fmla="*/ 10000 w 10000"/>
                <a:gd name="connsiteY169" fmla="*/ 2751 h 10000"/>
                <a:gd name="connsiteX170" fmla="*/ 10000 w 10000"/>
                <a:gd name="connsiteY170" fmla="*/ 2636 h 10000"/>
                <a:gd name="connsiteX171" fmla="*/ 10000 w 10000"/>
                <a:gd name="connsiteY171" fmla="*/ 2550 h 10000"/>
                <a:gd name="connsiteX172" fmla="*/ 9931 w 10000"/>
                <a:gd name="connsiteY172" fmla="*/ 2550 h 10000"/>
                <a:gd name="connsiteX173" fmla="*/ 9931 w 10000"/>
                <a:gd name="connsiteY173" fmla="*/ 2550 h 10000"/>
                <a:gd name="connsiteX174" fmla="*/ 9861 w 10000"/>
                <a:gd name="connsiteY174" fmla="*/ 2550 h 10000"/>
                <a:gd name="connsiteX175" fmla="*/ 9861 w 10000"/>
                <a:gd name="connsiteY175" fmla="*/ 2436 h 10000"/>
                <a:gd name="connsiteX176" fmla="*/ 9757 w 10000"/>
                <a:gd name="connsiteY176" fmla="*/ 2350 h 10000"/>
                <a:gd name="connsiteX177" fmla="*/ 9688 w 10000"/>
                <a:gd name="connsiteY177" fmla="*/ 2350 h 10000"/>
                <a:gd name="connsiteX178" fmla="*/ 9514 w 10000"/>
                <a:gd name="connsiteY178" fmla="*/ 2292 h 10000"/>
                <a:gd name="connsiteX179" fmla="*/ 9444 w 10000"/>
                <a:gd name="connsiteY179" fmla="*/ 2292 h 10000"/>
                <a:gd name="connsiteX180" fmla="*/ 9271 w 10000"/>
                <a:gd name="connsiteY180" fmla="*/ 1748 h 10000"/>
                <a:gd name="connsiteX181" fmla="*/ 9271 w 10000"/>
                <a:gd name="connsiteY181" fmla="*/ 1060 h 10000"/>
                <a:gd name="connsiteX182" fmla="*/ 9271 w 10000"/>
                <a:gd name="connsiteY182" fmla="*/ 1060 h 10000"/>
                <a:gd name="connsiteX183" fmla="*/ 9271 w 10000"/>
                <a:gd name="connsiteY183" fmla="*/ 1003 h 10000"/>
                <a:gd name="connsiteX184" fmla="*/ 9097 w 10000"/>
                <a:gd name="connsiteY184" fmla="*/ 802 h 10000"/>
                <a:gd name="connsiteX185" fmla="*/ 9097 w 10000"/>
                <a:gd name="connsiteY185" fmla="*/ 745 h 10000"/>
                <a:gd name="connsiteX186" fmla="*/ 9097 w 10000"/>
                <a:gd name="connsiteY186" fmla="*/ 602 h 10000"/>
                <a:gd name="connsiteX187" fmla="*/ 8854 w 10000"/>
                <a:gd name="connsiteY187" fmla="*/ 401 h 10000"/>
                <a:gd name="connsiteX188" fmla="*/ 8715 w 10000"/>
                <a:gd name="connsiteY188" fmla="*/ 258 h 10000"/>
                <a:gd name="connsiteX189" fmla="*/ 8611 w 10000"/>
                <a:gd name="connsiteY189" fmla="*/ 201 h 10000"/>
                <a:gd name="connsiteX190" fmla="*/ 8472 w 10000"/>
                <a:gd name="connsiteY190" fmla="*/ 115 h 10000"/>
                <a:gd name="connsiteX191" fmla="*/ 8299 w 10000"/>
                <a:gd name="connsiteY191" fmla="*/ 0 h 10000"/>
                <a:gd name="connsiteX192" fmla="*/ 8056 w 10000"/>
                <a:gd name="connsiteY192" fmla="*/ 201 h 10000"/>
                <a:gd name="connsiteX193" fmla="*/ 7813 w 10000"/>
                <a:gd name="connsiteY193" fmla="*/ 401 h 10000"/>
                <a:gd name="connsiteX194" fmla="*/ 7465 w 10000"/>
                <a:gd name="connsiteY194" fmla="*/ 458 h 10000"/>
                <a:gd name="connsiteX195" fmla="*/ 7049 w 10000"/>
                <a:gd name="connsiteY195" fmla="*/ 745 h 10000"/>
                <a:gd name="connsiteX196" fmla="*/ 6910 w 10000"/>
                <a:gd name="connsiteY196" fmla="*/ 602 h 10000"/>
                <a:gd name="connsiteX197" fmla="*/ 6444 w 10000"/>
                <a:gd name="connsiteY197" fmla="*/ 574 h 10000"/>
                <a:gd name="connsiteX198" fmla="*/ 5833 w 10000"/>
                <a:gd name="connsiteY198" fmla="*/ 602 h 10000"/>
                <a:gd name="connsiteX199" fmla="*/ 5833 w 10000"/>
                <a:gd name="connsiteY199" fmla="*/ 458 h 10000"/>
                <a:gd name="connsiteX200" fmla="*/ 5833 w 10000"/>
                <a:gd name="connsiteY200" fmla="*/ 458 h 10000"/>
                <a:gd name="connsiteX201" fmla="*/ 5833 w 10000"/>
                <a:gd name="connsiteY201" fmla="*/ 458 h 10000"/>
                <a:gd name="connsiteX202" fmla="*/ 5764 w 10000"/>
                <a:gd name="connsiteY202" fmla="*/ 458 h 10000"/>
                <a:gd name="connsiteX203" fmla="*/ 5660 w 10000"/>
                <a:gd name="connsiteY203" fmla="*/ 602 h 10000"/>
                <a:gd name="connsiteX204" fmla="*/ 5347 w 10000"/>
                <a:gd name="connsiteY204" fmla="*/ 602 h 10000"/>
                <a:gd name="connsiteX205" fmla="*/ 3056 w 10000"/>
                <a:gd name="connsiteY205" fmla="*/ 602 h 10000"/>
                <a:gd name="connsiteX206" fmla="*/ 2465 w 10000"/>
                <a:gd name="connsiteY206" fmla="*/ 602 h 10000"/>
                <a:gd name="connsiteX207" fmla="*/ 1910 w 10000"/>
                <a:gd name="connsiteY207" fmla="*/ 602 h 10000"/>
                <a:gd name="connsiteX208" fmla="*/ 1910 w 10000"/>
                <a:gd name="connsiteY208" fmla="*/ 602 h 10000"/>
                <a:gd name="connsiteX209" fmla="*/ 1910 w 10000"/>
                <a:gd name="connsiteY209" fmla="*/ 1060 h 10000"/>
                <a:gd name="connsiteX210" fmla="*/ 1910 w 10000"/>
                <a:gd name="connsiteY210" fmla="*/ 1605 h 10000"/>
                <a:gd name="connsiteX211" fmla="*/ 1319 w 10000"/>
                <a:gd name="connsiteY211" fmla="*/ 1605 h 10000"/>
                <a:gd name="connsiteX212" fmla="*/ 1319 w 10000"/>
                <a:gd name="connsiteY212"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97 w 10000"/>
                <a:gd name="connsiteY158" fmla="*/ 3496 h 10000"/>
                <a:gd name="connsiteX159" fmla="*/ 9097 w 10000"/>
                <a:gd name="connsiteY159" fmla="*/ 3438 h 10000"/>
                <a:gd name="connsiteX160" fmla="*/ 9097 w 10000"/>
                <a:gd name="connsiteY160" fmla="*/ 3238 h 10000"/>
                <a:gd name="connsiteX161" fmla="*/ 9201 w 10000"/>
                <a:gd name="connsiteY161" fmla="*/ 3181 h 10000"/>
                <a:gd name="connsiteX162" fmla="*/ 9375 w 10000"/>
                <a:gd name="connsiteY162" fmla="*/ 3181 h 10000"/>
                <a:gd name="connsiteX163" fmla="*/ 9444 w 10000"/>
                <a:gd name="connsiteY163" fmla="*/ 3095 h 10000"/>
                <a:gd name="connsiteX164" fmla="*/ 9514 w 10000"/>
                <a:gd name="connsiteY164" fmla="*/ 3037 h 10000"/>
                <a:gd name="connsiteX165" fmla="*/ 9688 w 10000"/>
                <a:gd name="connsiteY165" fmla="*/ 2951 h 10000"/>
                <a:gd name="connsiteX166" fmla="*/ 9757 w 10000"/>
                <a:gd name="connsiteY166" fmla="*/ 2894 h 10000"/>
                <a:gd name="connsiteX167" fmla="*/ 9931 w 10000"/>
                <a:gd name="connsiteY167" fmla="*/ 2894 h 10000"/>
                <a:gd name="connsiteX168" fmla="*/ 10000 w 10000"/>
                <a:gd name="connsiteY168" fmla="*/ 2751 h 10000"/>
                <a:gd name="connsiteX169" fmla="*/ 10000 w 10000"/>
                <a:gd name="connsiteY169" fmla="*/ 2636 h 10000"/>
                <a:gd name="connsiteX170" fmla="*/ 10000 w 10000"/>
                <a:gd name="connsiteY170" fmla="*/ 2550 h 10000"/>
                <a:gd name="connsiteX171" fmla="*/ 9931 w 10000"/>
                <a:gd name="connsiteY171" fmla="*/ 2550 h 10000"/>
                <a:gd name="connsiteX172" fmla="*/ 9931 w 10000"/>
                <a:gd name="connsiteY172" fmla="*/ 2550 h 10000"/>
                <a:gd name="connsiteX173" fmla="*/ 9861 w 10000"/>
                <a:gd name="connsiteY173" fmla="*/ 2550 h 10000"/>
                <a:gd name="connsiteX174" fmla="*/ 9861 w 10000"/>
                <a:gd name="connsiteY174" fmla="*/ 2436 h 10000"/>
                <a:gd name="connsiteX175" fmla="*/ 9757 w 10000"/>
                <a:gd name="connsiteY175" fmla="*/ 2350 h 10000"/>
                <a:gd name="connsiteX176" fmla="*/ 9688 w 10000"/>
                <a:gd name="connsiteY176" fmla="*/ 2350 h 10000"/>
                <a:gd name="connsiteX177" fmla="*/ 9514 w 10000"/>
                <a:gd name="connsiteY177" fmla="*/ 2292 h 10000"/>
                <a:gd name="connsiteX178" fmla="*/ 9444 w 10000"/>
                <a:gd name="connsiteY178" fmla="*/ 2292 h 10000"/>
                <a:gd name="connsiteX179" fmla="*/ 9271 w 10000"/>
                <a:gd name="connsiteY179" fmla="*/ 1748 h 10000"/>
                <a:gd name="connsiteX180" fmla="*/ 9271 w 10000"/>
                <a:gd name="connsiteY180" fmla="*/ 1060 h 10000"/>
                <a:gd name="connsiteX181" fmla="*/ 9271 w 10000"/>
                <a:gd name="connsiteY181" fmla="*/ 1060 h 10000"/>
                <a:gd name="connsiteX182" fmla="*/ 9271 w 10000"/>
                <a:gd name="connsiteY182" fmla="*/ 1003 h 10000"/>
                <a:gd name="connsiteX183" fmla="*/ 9097 w 10000"/>
                <a:gd name="connsiteY183" fmla="*/ 802 h 10000"/>
                <a:gd name="connsiteX184" fmla="*/ 9097 w 10000"/>
                <a:gd name="connsiteY184" fmla="*/ 745 h 10000"/>
                <a:gd name="connsiteX185" fmla="*/ 9097 w 10000"/>
                <a:gd name="connsiteY185" fmla="*/ 602 h 10000"/>
                <a:gd name="connsiteX186" fmla="*/ 8854 w 10000"/>
                <a:gd name="connsiteY186" fmla="*/ 401 h 10000"/>
                <a:gd name="connsiteX187" fmla="*/ 8715 w 10000"/>
                <a:gd name="connsiteY187" fmla="*/ 258 h 10000"/>
                <a:gd name="connsiteX188" fmla="*/ 8611 w 10000"/>
                <a:gd name="connsiteY188" fmla="*/ 201 h 10000"/>
                <a:gd name="connsiteX189" fmla="*/ 8472 w 10000"/>
                <a:gd name="connsiteY189" fmla="*/ 115 h 10000"/>
                <a:gd name="connsiteX190" fmla="*/ 8299 w 10000"/>
                <a:gd name="connsiteY190" fmla="*/ 0 h 10000"/>
                <a:gd name="connsiteX191" fmla="*/ 8056 w 10000"/>
                <a:gd name="connsiteY191" fmla="*/ 201 h 10000"/>
                <a:gd name="connsiteX192" fmla="*/ 7813 w 10000"/>
                <a:gd name="connsiteY192" fmla="*/ 401 h 10000"/>
                <a:gd name="connsiteX193" fmla="*/ 7465 w 10000"/>
                <a:gd name="connsiteY193" fmla="*/ 458 h 10000"/>
                <a:gd name="connsiteX194" fmla="*/ 7049 w 10000"/>
                <a:gd name="connsiteY194" fmla="*/ 745 h 10000"/>
                <a:gd name="connsiteX195" fmla="*/ 6910 w 10000"/>
                <a:gd name="connsiteY195" fmla="*/ 602 h 10000"/>
                <a:gd name="connsiteX196" fmla="*/ 6444 w 10000"/>
                <a:gd name="connsiteY196" fmla="*/ 574 h 10000"/>
                <a:gd name="connsiteX197" fmla="*/ 5833 w 10000"/>
                <a:gd name="connsiteY197" fmla="*/ 602 h 10000"/>
                <a:gd name="connsiteX198" fmla="*/ 5833 w 10000"/>
                <a:gd name="connsiteY198" fmla="*/ 458 h 10000"/>
                <a:gd name="connsiteX199" fmla="*/ 5833 w 10000"/>
                <a:gd name="connsiteY199" fmla="*/ 458 h 10000"/>
                <a:gd name="connsiteX200" fmla="*/ 5833 w 10000"/>
                <a:gd name="connsiteY200" fmla="*/ 458 h 10000"/>
                <a:gd name="connsiteX201" fmla="*/ 5764 w 10000"/>
                <a:gd name="connsiteY201" fmla="*/ 458 h 10000"/>
                <a:gd name="connsiteX202" fmla="*/ 5660 w 10000"/>
                <a:gd name="connsiteY202" fmla="*/ 602 h 10000"/>
                <a:gd name="connsiteX203" fmla="*/ 5347 w 10000"/>
                <a:gd name="connsiteY203" fmla="*/ 602 h 10000"/>
                <a:gd name="connsiteX204" fmla="*/ 3056 w 10000"/>
                <a:gd name="connsiteY204" fmla="*/ 602 h 10000"/>
                <a:gd name="connsiteX205" fmla="*/ 2465 w 10000"/>
                <a:gd name="connsiteY205" fmla="*/ 602 h 10000"/>
                <a:gd name="connsiteX206" fmla="*/ 1910 w 10000"/>
                <a:gd name="connsiteY206" fmla="*/ 602 h 10000"/>
                <a:gd name="connsiteX207" fmla="*/ 1910 w 10000"/>
                <a:gd name="connsiteY207" fmla="*/ 602 h 10000"/>
                <a:gd name="connsiteX208" fmla="*/ 1910 w 10000"/>
                <a:gd name="connsiteY208" fmla="*/ 1060 h 10000"/>
                <a:gd name="connsiteX209" fmla="*/ 1910 w 10000"/>
                <a:gd name="connsiteY209" fmla="*/ 1605 h 10000"/>
                <a:gd name="connsiteX210" fmla="*/ 1319 w 10000"/>
                <a:gd name="connsiteY210" fmla="*/ 1605 h 10000"/>
                <a:gd name="connsiteX211" fmla="*/ 1319 w 10000"/>
                <a:gd name="connsiteY211"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97 w 10000"/>
                <a:gd name="connsiteY158" fmla="*/ 3496 h 10000"/>
                <a:gd name="connsiteX159" fmla="*/ 9097 w 10000"/>
                <a:gd name="connsiteY159" fmla="*/ 3438 h 10000"/>
                <a:gd name="connsiteX160" fmla="*/ 9097 w 10000"/>
                <a:gd name="connsiteY160" fmla="*/ 3238 h 10000"/>
                <a:gd name="connsiteX161" fmla="*/ 9201 w 10000"/>
                <a:gd name="connsiteY161" fmla="*/ 3181 h 10000"/>
                <a:gd name="connsiteX162" fmla="*/ 9375 w 10000"/>
                <a:gd name="connsiteY162" fmla="*/ 3181 h 10000"/>
                <a:gd name="connsiteX163" fmla="*/ 9514 w 10000"/>
                <a:gd name="connsiteY163" fmla="*/ 3037 h 10000"/>
                <a:gd name="connsiteX164" fmla="*/ 9688 w 10000"/>
                <a:gd name="connsiteY164" fmla="*/ 2951 h 10000"/>
                <a:gd name="connsiteX165" fmla="*/ 9757 w 10000"/>
                <a:gd name="connsiteY165" fmla="*/ 2894 h 10000"/>
                <a:gd name="connsiteX166" fmla="*/ 9931 w 10000"/>
                <a:gd name="connsiteY166" fmla="*/ 2894 h 10000"/>
                <a:gd name="connsiteX167" fmla="*/ 10000 w 10000"/>
                <a:gd name="connsiteY167" fmla="*/ 2751 h 10000"/>
                <a:gd name="connsiteX168" fmla="*/ 10000 w 10000"/>
                <a:gd name="connsiteY168" fmla="*/ 2636 h 10000"/>
                <a:gd name="connsiteX169" fmla="*/ 10000 w 10000"/>
                <a:gd name="connsiteY169" fmla="*/ 2550 h 10000"/>
                <a:gd name="connsiteX170" fmla="*/ 9931 w 10000"/>
                <a:gd name="connsiteY170" fmla="*/ 2550 h 10000"/>
                <a:gd name="connsiteX171" fmla="*/ 9931 w 10000"/>
                <a:gd name="connsiteY171" fmla="*/ 2550 h 10000"/>
                <a:gd name="connsiteX172" fmla="*/ 9861 w 10000"/>
                <a:gd name="connsiteY172" fmla="*/ 2550 h 10000"/>
                <a:gd name="connsiteX173" fmla="*/ 9861 w 10000"/>
                <a:gd name="connsiteY173" fmla="*/ 2436 h 10000"/>
                <a:gd name="connsiteX174" fmla="*/ 9757 w 10000"/>
                <a:gd name="connsiteY174" fmla="*/ 2350 h 10000"/>
                <a:gd name="connsiteX175" fmla="*/ 9688 w 10000"/>
                <a:gd name="connsiteY175" fmla="*/ 2350 h 10000"/>
                <a:gd name="connsiteX176" fmla="*/ 9514 w 10000"/>
                <a:gd name="connsiteY176" fmla="*/ 2292 h 10000"/>
                <a:gd name="connsiteX177" fmla="*/ 9444 w 10000"/>
                <a:gd name="connsiteY177" fmla="*/ 2292 h 10000"/>
                <a:gd name="connsiteX178" fmla="*/ 9271 w 10000"/>
                <a:gd name="connsiteY178" fmla="*/ 1748 h 10000"/>
                <a:gd name="connsiteX179" fmla="*/ 9271 w 10000"/>
                <a:gd name="connsiteY179" fmla="*/ 1060 h 10000"/>
                <a:gd name="connsiteX180" fmla="*/ 9271 w 10000"/>
                <a:gd name="connsiteY180" fmla="*/ 1060 h 10000"/>
                <a:gd name="connsiteX181" fmla="*/ 9271 w 10000"/>
                <a:gd name="connsiteY181" fmla="*/ 1003 h 10000"/>
                <a:gd name="connsiteX182" fmla="*/ 9097 w 10000"/>
                <a:gd name="connsiteY182" fmla="*/ 802 h 10000"/>
                <a:gd name="connsiteX183" fmla="*/ 9097 w 10000"/>
                <a:gd name="connsiteY183" fmla="*/ 745 h 10000"/>
                <a:gd name="connsiteX184" fmla="*/ 9097 w 10000"/>
                <a:gd name="connsiteY184" fmla="*/ 602 h 10000"/>
                <a:gd name="connsiteX185" fmla="*/ 8854 w 10000"/>
                <a:gd name="connsiteY185" fmla="*/ 401 h 10000"/>
                <a:gd name="connsiteX186" fmla="*/ 8715 w 10000"/>
                <a:gd name="connsiteY186" fmla="*/ 258 h 10000"/>
                <a:gd name="connsiteX187" fmla="*/ 8611 w 10000"/>
                <a:gd name="connsiteY187" fmla="*/ 201 h 10000"/>
                <a:gd name="connsiteX188" fmla="*/ 8472 w 10000"/>
                <a:gd name="connsiteY188" fmla="*/ 115 h 10000"/>
                <a:gd name="connsiteX189" fmla="*/ 8299 w 10000"/>
                <a:gd name="connsiteY189" fmla="*/ 0 h 10000"/>
                <a:gd name="connsiteX190" fmla="*/ 8056 w 10000"/>
                <a:gd name="connsiteY190" fmla="*/ 201 h 10000"/>
                <a:gd name="connsiteX191" fmla="*/ 7813 w 10000"/>
                <a:gd name="connsiteY191" fmla="*/ 401 h 10000"/>
                <a:gd name="connsiteX192" fmla="*/ 7465 w 10000"/>
                <a:gd name="connsiteY192" fmla="*/ 458 h 10000"/>
                <a:gd name="connsiteX193" fmla="*/ 7049 w 10000"/>
                <a:gd name="connsiteY193" fmla="*/ 745 h 10000"/>
                <a:gd name="connsiteX194" fmla="*/ 6910 w 10000"/>
                <a:gd name="connsiteY194" fmla="*/ 602 h 10000"/>
                <a:gd name="connsiteX195" fmla="*/ 6444 w 10000"/>
                <a:gd name="connsiteY195" fmla="*/ 574 h 10000"/>
                <a:gd name="connsiteX196" fmla="*/ 5833 w 10000"/>
                <a:gd name="connsiteY196" fmla="*/ 602 h 10000"/>
                <a:gd name="connsiteX197" fmla="*/ 5833 w 10000"/>
                <a:gd name="connsiteY197" fmla="*/ 458 h 10000"/>
                <a:gd name="connsiteX198" fmla="*/ 5833 w 10000"/>
                <a:gd name="connsiteY198" fmla="*/ 458 h 10000"/>
                <a:gd name="connsiteX199" fmla="*/ 5833 w 10000"/>
                <a:gd name="connsiteY199" fmla="*/ 458 h 10000"/>
                <a:gd name="connsiteX200" fmla="*/ 5764 w 10000"/>
                <a:gd name="connsiteY200" fmla="*/ 458 h 10000"/>
                <a:gd name="connsiteX201" fmla="*/ 5660 w 10000"/>
                <a:gd name="connsiteY201" fmla="*/ 602 h 10000"/>
                <a:gd name="connsiteX202" fmla="*/ 5347 w 10000"/>
                <a:gd name="connsiteY202" fmla="*/ 602 h 10000"/>
                <a:gd name="connsiteX203" fmla="*/ 3056 w 10000"/>
                <a:gd name="connsiteY203" fmla="*/ 602 h 10000"/>
                <a:gd name="connsiteX204" fmla="*/ 2465 w 10000"/>
                <a:gd name="connsiteY204" fmla="*/ 602 h 10000"/>
                <a:gd name="connsiteX205" fmla="*/ 1910 w 10000"/>
                <a:gd name="connsiteY205" fmla="*/ 602 h 10000"/>
                <a:gd name="connsiteX206" fmla="*/ 1910 w 10000"/>
                <a:gd name="connsiteY206" fmla="*/ 602 h 10000"/>
                <a:gd name="connsiteX207" fmla="*/ 1910 w 10000"/>
                <a:gd name="connsiteY207" fmla="*/ 1060 h 10000"/>
                <a:gd name="connsiteX208" fmla="*/ 1910 w 10000"/>
                <a:gd name="connsiteY208" fmla="*/ 1605 h 10000"/>
                <a:gd name="connsiteX209" fmla="*/ 1319 w 10000"/>
                <a:gd name="connsiteY209" fmla="*/ 1605 h 10000"/>
                <a:gd name="connsiteX210" fmla="*/ 1319 w 10000"/>
                <a:gd name="connsiteY210"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97 w 10000"/>
                <a:gd name="connsiteY158" fmla="*/ 3496 h 10000"/>
                <a:gd name="connsiteX159" fmla="*/ 9097 w 10000"/>
                <a:gd name="connsiteY159" fmla="*/ 3438 h 10000"/>
                <a:gd name="connsiteX160" fmla="*/ 9097 w 10000"/>
                <a:gd name="connsiteY160" fmla="*/ 3238 h 10000"/>
                <a:gd name="connsiteX161" fmla="*/ 9201 w 10000"/>
                <a:gd name="connsiteY161" fmla="*/ 3181 h 10000"/>
                <a:gd name="connsiteX162" fmla="*/ 9375 w 10000"/>
                <a:gd name="connsiteY162" fmla="*/ 3181 h 10000"/>
                <a:gd name="connsiteX163" fmla="*/ 9514 w 10000"/>
                <a:gd name="connsiteY163" fmla="*/ 3037 h 10000"/>
                <a:gd name="connsiteX164" fmla="*/ 9688 w 10000"/>
                <a:gd name="connsiteY164" fmla="*/ 2951 h 10000"/>
                <a:gd name="connsiteX165" fmla="*/ 9757 w 10000"/>
                <a:gd name="connsiteY165" fmla="*/ 2894 h 10000"/>
                <a:gd name="connsiteX166" fmla="*/ 9931 w 10000"/>
                <a:gd name="connsiteY166" fmla="*/ 2894 h 10000"/>
                <a:gd name="connsiteX167" fmla="*/ 10000 w 10000"/>
                <a:gd name="connsiteY167" fmla="*/ 2751 h 10000"/>
                <a:gd name="connsiteX168" fmla="*/ 10000 w 10000"/>
                <a:gd name="connsiteY168" fmla="*/ 2636 h 10000"/>
                <a:gd name="connsiteX169" fmla="*/ 10000 w 10000"/>
                <a:gd name="connsiteY169" fmla="*/ 2550 h 10000"/>
                <a:gd name="connsiteX170" fmla="*/ 9931 w 10000"/>
                <a:gd name="connsiteY170" fmla="*/ 2550 h 10000"/>
                <a:gd name="connsiteX171" fmla="*/ 9931 w 10000"/>
                <a:gd name="connsiteY171" fmla="*/ 2550 h 10000"/>
                <a:gd name="connsiteX172" fmla="*/ 9861 w 10000"/>
                <a:gd name="connsiteY172" fmla="*/ 2550 h 10000"/>
                <a:gd name="connsiteX173" fmla="*/ 9861 w 10000"/>
                <a:gd name="connsiteY173" fmla="*/ 2436 h 10000"/>
                <a:gd name="connsiteX174" fmla="*/ 9757 w 10000"/>
                <a:gd name="connsiteY174" fmla="*/ 2350 h 10000"/>
                <a:gd name="connsiteX175" fmla="*/ 9688 w 10000"/>
                <a:gd name="connsiteY175" fmla="*/ 2350 h 10000"/>
                <a:gd name="connsiteX176" fmla="*/ 9514 w 10000"/>
                <a:gd name="connsiteY176" fmla="*/ 2292 h 10000"/>
                <a:gd name="connsiteX177" fmla="*/ 9271 w 10000"/>
                <a:gd name="connsiteY177" fmla="*/ 1748 h 10000"/>
                <a:gd name="connsiteX178" fmla="*/ 9271 w 10000"/>
                <a:gd name="connsiteY178" fmla="*/ 1060 h 10000"/>
                <a:gd name="connsiteX179" fmla="*/ 9271 w 10000"/>
                <a:gd name="connsiteY179" fmla="*/ 1060 h 10000"/>
                <a:gd name="connsiteX180" fmla="*/ 9271 w 10000"/>
                <a:gd name="connsiteY180" fmla="*/ 1003 h 10000"/>
                <a:gd name="connsiteX181" fmla="*/ 9097 w 10000"/>
                <a:gd name="connsiteY181" fmla="*/ 802 h 10000"/>
                <a:gd name="connsiteX182" fmla="*/ 9097 w 10000"/>
                <a:gd name="connsiteY182" fmla="*/ 745 h 10000"/>
                <a:gd name="connsiteX183" fmla="*/ 9097 w 10000"/>
                <a:gd name="connsiteY183" fmla="*/ 602 h 10000"/>
                <a:gd name="connsiteX184" fmla="*/ 8854 w 10000"/>
                <a:gd name="connsiteY184" fmla="*/ 401 h 10000"/>
                <a:gd name="connsiteX185" fmla="*/ 8715 w 10000"/>
                <a:gd name="connsiteY185" fmla="*/ 258 h 10000"/>
                <a:gd name="connsiteX186" fmla="*/ 8611 w 10000"/>
                <a:gd name="connsiteY186" fmla="*/ 201 h 10000"/>
                <a:gd name="connsiteX187" fmla="*/ 8472 w 10000"/>
                <a:gd name="connsiteY187" fmla="*/ 115 h 10000"/>
                <a:gd name="connsiteX188" fmla="*/ 8299 w 10000"/>
                <a:gd name="connsiteY188" fmla="*/ 0 h 10000"/>
                <a:gd name="connsiteX189" fmla="*/ 8056 w 10000"/>
                <a:gd name="connsiteY189" fmla="*/ 201 h 10000"/>
                <a:gd name="connsiteX190" fmla="*/ 7813 w 10000"/>
                <a:gd name="connsiteY190" fmla="*/ 401 h 10000"/>
                <a:gd name="connsiteX191" fmla="*/ 7465 w 10000"/>
                <a:gd name="connsiteY191" fmla="*/ 458 h 10000"/>
                <a:gd name="connsiteX192" fmla="*/ 7049 w 10000"/>
                <a:gd name="connsiteY192" fmla="*/ 745 h 10000"/>
                <a:gd name="connsiteX193" fmla="*/ 6910 w 10000"/>
                <a:gd name="connsiteY193" fmla="*/ 602 h 10000"/>
                <a:gd name="connsiteX194" fmla="*/ 6444 w 10000"/>
                <a:gd name="connsiteY194" fmla="*/ 574 h 10000"/>
                <a:gd name="connsiteX195" fmla="*/ 5833 w 10000"/>
                <a:gd name="connsiteY195" fmla="*/ 602 h 10000"/>
                <a:gd name="connsiteX196" fmla="*/ 5833 w 10000"/>
                <a:gd name="connsiteY196" fmla="*/ 458 h 10000"/>
                <a:gd name="connsiteX197" fmla="*/ 5833 w 10000"/>
                <a:gd name="connsiteY197" fmla="*/ 458 h 10000"/>
                <a:gd name="connsiteX198" fmla="*/ 5833 w 10000"/>
                <a:gd name="connsiteY198" fmla="*/ 458 h 10000"/>
                <a:gd name="connsiteX199" fmla="*/ 5764 w 10000"/>
                <a:gd name="connsiteY199" fmla="*/ 458 h 10000"/>
                <a:gd name="connsiteX200" fmla="*/ 5660 w 10000"/>
                <a:gd name="connsiteY200" fmla="*/ 602 h 10000"/>
                <a:gd name="connsiteX201" fmla="*/ 5347 w 10000"/>
                <a:gd name="connsiteY201" fmla="*/ 602 h 10000"/>
                <a:gd name="connsiteX202" fmla="*/ 3056 w 10000"/>
                <a:gd name="connsiteY202" fmla="*/ 602 h 10000"/>
                <a:gd name="connsiteX203" fmla="*/ 2465 w 10000"/>
                <a:gd name="connsiteY203" fmla="*/ 602 h 10000"/>
                <a:gd name="connsiteX204" fmla="*/ 1910 w 10000"/>
                <a:gd name="connsiteY204" fmla="*/ 602 h 10000"/>
                <a:gd name="connsiteX205" fmla="*/ 1910 w 10000"/>
                <a:gd name="connsiteY205" fmla="*/ 602 h 10000"/>
                <a:gd name="connsiteX206" fmla="*/ 1910 w 10000"/>
                <a:gd name="connsiteY206" fmla="*/ 1060 h 10000"/>
                <a:gd name="connsiteX207" fmla="*/ 1910 w 10000"/>
                <a:gd name="connsiteY207" fmla="*/ 1605 h 10000"/>
                <a:gd name="connsiteX208" fmla="*/ 1319 w 10000"/>
                <a:gd name="connsiteY208" fmla="*/ 1605 h 10000"/>
                <a:gd name="connsiteX209" fmla="*/ 1319 w 10000"/>
                <a:gd name="connsiteY209"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97 w 10000"/>
                <a:gd name="connsiteY158" fmla="*/ 3496 h 10000"/>
                <a:gd name="connsiteX159" fmla="*/ 9097 w 10000"/>
                <a:gd name="connsiteY159" fmla="*/ 3438 h 10000"/>
                <a:gd name="connsiteX160" fmla="*/ 9097 w 10000"/>
                <a:gd name="connsiteY160" fmla="*/ 3238 h 10000"/>
                <a:gd name="connsiteX161" fmla="*/ 9201 w 10000"/>
                <a:gd name="connsiteY161" fmla="*/ 3181 h 10000"/>
                <a:gd name="connsiteX162" fmla="*/ 9375 w 10000"/>
                <a:gd name="connsiteY162" fmla="*/ 3181 h 10000"/>
                <a:gd name="connsiteX163" fmla="*/ 9514 w 10000"/>
                <a:gd name="connsiteY163" fmla="*/ 3037 h 10000"/>
                <a:gd name="connsiteX164" fmla="*/ 9688 w 10000"/>
                <a:gd name="connsiteY164" fmla="*/ 2951 h 10000"/>
                <a:gd name="connsiteX165" fmla="*/ 9757 w 10000"/>
                <a:gd name="connsiteY165" fmla="*/ 2894 h 10000"/>
                <a:gd name="connsiteX166" fmla="*/ 9931 w 10000"/>
                <a:gd name="connsiteY166" fmla="*/ 2894 h 10000"/>
                <a:gd name="connsiteX167" fmla="*/ 10000 w 10000"/>
                <a:gd name="connsiteY167" fmla="*/ 2751 h 10000"/>
                <a:gd name="connsiteX168" fmla="*/ 10000 w 10000"/>
                <a:gd name="connsiteY168" fmla="*/ 2636 h 10000"/>
                <a:gd name="connsiteX169" fmla="*/ 10000 w 10000"/>
                <a:gd name="connsiteY169" fmla="*/ 2550 h 10000"/>
                <a:gd name="connsiteX170" fmla="*/ 9931 w 10000"/>
                <a:gd name="connsiteY170" fmla="*/ 2550 h 10000"/>
                <a:gd name="connsiteX171" fmla="*/ 9931 w 10000"/>
                <a:gd name="connsiteY171" fmla="*/ 2550 h 10000"/>
                <a:gd name="connsiteX172" fmla="*/ 9861 w 10000"/>
                <a:gd name="connsiteY172" fmla="*/ 2550 h 10000"/>
                <a:gd name="connsiteX173" fmla="*/ 9861 w 10000"/>
                <a:gd name="connsiteY173" fmla="*/ 2436 h 10000"/>
                <a:gd name="connsiteX174" fmla="*/ 9757 w 10000"/>
                <a:gd name="connsiteY174" fmla="*/ 2350 h 10000"/>
                <a:gd name="connsiteX175" fmla="*/ 9688 w 10000"/>
                <a:gd name="connsiteY175" fmla="*/ 2350 h 10000"/>
                <a:gd name="connsiteX176" fmla="*/ 9514 w 10000"/>
                <a:gd name="connsiteY176" fmla="*/ 2292 h 10000"/>
                <a:gd name="connsiteX177" fmla="*/ 9271 w 10000"/>
                <a:gd name="connsiteY177" fmla="*/ 1060 h 10000"/>
                <a:gd name="connsiteX178" fmla="*/ 9271 w 10000"/>
                <a:gd name="connsiteY178" fmla="*/ 1060 h 10000"/>
                <a:gd name="connsiteX179" fmla="*/ 9271 w 10000"/>
                <a:gd name="connsiteY179" fmla="*/ 1003 h 10000"/>
                <a:gd name="connsiteX180" fmla="*/ 9097 w 10000"/>
                <a:gd name="connsiteY180" fmla="*/ 802 h 10000"/>
                <a:gd name="connsiteX181" fmla="*/ 9097 w 10000"/>
                <a:gd name="connsiteY181" fmla="*/ 745 h 10000"/>
                <a:gd name="connsiteX182" fmla="*/ 9097 w 10000"/>
                <a:gd name="connsiteY182" fmla="*/ 602 h 10000"/>
                <a:gd name="connsiteX183" fmla="*/ 8854 w 10000"/>
                <a:gd name="connsiteY183" fmla="*/ 401 h 10000"/>
                <a:gd name="connsiteX184" fmla="*/ 8715 w 10000"/>
                <a:gd name="connsiteY184" fmla="*/ 258 h 10000"/>
                <a:gd name="connsiteX185" fmla="*/ 8611 w 10000"/>
                <a:gd name="connsiteY185" fmla="*/ 201 h 10000"/>
                <a:gd name="connsiteX186" fmla="*/ 8472 w 10000"/>
                <a:gd name="connsiteY186" fmla="*/ 115 h 10000"/>
                <a:gd name="connsiteX187" fmla="*/ 8299 w 10000"/>
                <a:gd name="connsiteY187" fmla="*/ 0 h 10000"/>
                <a:gd name="connsiteX188" fmla="*/ 8056 w 10000"/>
                <a:gd name="connsiteY188" fmla="*/ 201 h 10000"/>
                <a:gd name="connsiteX189" fmla="*/ 7813 w 10000"/>
                <a:gd name="connsiteY189" fmla="*/ 401 h 10000"/>
                <a:gd name="connsiteX190" fmla="*/ 7465 w 10000"/>
                <a:gd name="connsiteY190" fmla="*/ 458 h 10000"/>
                <a:gd name="connsiteX191" fmla="*/ 7049 w 10000"/>
                <a:gd name="connsiteY191" fmla="*/ 745 h 10000"/>
                <a:gd name="connsiteX192" fmla="*/ 6910 w 10000"/>
                <a:gd name="connsiteY192" fmla="*/ 602 h 10000"/>
                <a:gd name="connsiteX193" fmla="*/ 6444 w 10000"/>
                <a:gd name="connsiteY193" fmla="*/ 574 h 10000"/>
                <a:gd name="connsiteX194" fmla="*/ 5833 w 10000"/>
                <a:gd name="connsiteY194" fmla="*/ 602 h 10000"/>
                <a:gd name="connsiteX195" fmla="*/ 5833 w 10000"/>
                <a:gd name="connsiteY195" fmla="*/ 458 h 10000"/>
                <a:gd name="connsiteX196" fmla="*/ 5833 w 10000"/>
                <a:gd name="connsiteY196" fmla="*/ 458 h 10000"/>
                <a:gd name="connsiteX197" fmla="*/ 5833 w 10000"/>
                <a:gd name="connsiteY197" fmla="*/ 458 h 10000"/>
                <a:gd name="connsiteX198" fmla="*/ 5764 w 10000"/>
                <a:gd name="connsiteY198" fmla="*/ 458 h 10000"/>
                <a:gd name="connsiteX199" fmla="*/ 5660 w 10000"/>
                <a:gd name="connsiteY199" fmla="*/ 602 h 10000"/>
                <a:gd name="connsiteX200" fmla="*/ 5347 w 10000"/>
                <a:gd name="connsiteY200" fmla="*/ 602 h 10000"/>
                <a:gd name="connsiteX201" fmla="*/ 3056 w 10000"/>
                <a:gd name="connsiteY201" fmla="*/ 602 h 10000"/>
                <a:gd name="connsiteX202" fmla="*/ 2465 w 10000"/>
                <a:gd name="connsiteY202" fmla="*/ 602 h 10000"/>
                <a:gd name="connsiteX203" fmla="*/ 1910 w 10000"/>
                <a:gd name="connsiteY203" fmla="*/ 602 h 10000"/>
                <a:gd name="connsiteX204" fmla="*/ 1910 w 10000"/>
                <a:gd name="connsiteY204" fmla="*/ 602 h 10000"/>
                <a:gd name="connsiteX205" fmla="*/ 1910 w 10000"/>
                <a:gd name="connsiteY205" fmla="*/ 1060 h 10000"/>
                <a:gd name="connsiteX206" fmla="*/ 1910 w 10000"/>
                <a:gd name="connsiteY206" fmla="*/ 1605 h 10000"/>
                <a:gd name="connsiteX207" fmla="*/ 1319 w 10000"/>
                <a:gd name="connsiteY207" fmla="*/ 1605 h 10000"/>
                <a:gd name="connsiteX208" fmla="*/ 1319 w 10000"/>
                <a:gd name="connsiteY208" fmla="*/ 1891 h 10000"/>
                <a:gd name="connsiteX0" fmla="*/ 1319 w 10000"/>
                <a:gd name="connsiteY0" fmla="*/ 1891 h 10000"/>
                <a:gd name="connsiteX1" fmla="*/ 1319 w 10000"/>
                <a:gd name="connsiteY1" fmla="*/ 2436 h 10000"/>
                <a:gd name="connsiteX2" fmla="*/ 1319 w 10000"/>
                <a:gd name="connsiteY2" fmla="*/ 2894 h 10000"/>
                <a:gd name="connsiteX3" fmla="*/ 1319 w 10000"/>
                <a:gd name="connsiteY3" fmla="*/ 3381 h 10000"/>
                <a:gd name="connsiteX4" fmla="*/ 1319 w 10000"/>
                <a:gd name="connsiteY4" fmla="*/ 3840 h 10000"/>
                <a:gd name="connsiteX5" fmla="*/ 1250 w 10000"/>
                <a:gd name="connsiteY5" fmla="*/ 3840 h 10000"/>
                <a:gd name="connsiteX6" fmla="*/ 903 w 10000"/>
                <a:gd name="connsiteY6" fmla="*/ 3840 h 10000"/>
                <a:gd name="connsiteX7" fmla="*/ 833 w 10000"/>
                <a:gd name="connsiteY7" fmla="*/ 3840 h 10000"/>
                <a:gd name="connsiteX8" fmla="*/ 660 w 10000"/>
                <a:gd name="connsiteY8" fmla="*/ 3840 h 10000"/>
                <a:gd name="connsiteX9" fmla="*/ 660 w 10000"/>
                <a:gd name="connsiteY9" fmla="*/ 3926 h 10000"/>
                <a:gd name="connsiteX10" fmla="*/ 660 w 10000"/>
                <a:gd name="connsiteY10" fmla="*/ 3983 h 10000"/>
                <a:gd name="connsiteX11" fmla="*/ 660 w 10000"/>
                <a:gd name="connsiteY11" fmla="*/ 4040 h 10000"/>
                <a:gd name="connsiteX12" fmla="*/ 590 w 10000"/>
                <a:gd name="connsiteY12" fmla="*/ 4183 h 10000"/>
                <a:gd name="connsiteX13" fmla="*/ 486 w 10000"/>
                <a:gd name="connsiteY13" fmla="*/ 4327 h 10000"/>
                <a:gd name="connsiteX14" fmla="*/ 243 w 10000"/>
                <a:gd name="connsiteY14" fmla="*/ 4527 h 10000"/>
                <a:gd name="connsiteX15" fmla="*/ 243 w 10000"/>
                <a:gd name="connsiteY15" fmla="*/ 4585 h 10000"/>
                <a:gd name="connsiteX16" fmla="*/ 347 w 10000"/>
                <a:gd name="connsiteY16" fmla="*/ 4670 h 10000"/>
                <a:gd name="connsiteX17" fmla="*/ 243 w 10000"/>
                <a:gd name="connsiteY17" fmla="*/ 4728 h 10000"/>
                <a:gd name="connsiteX18" fmla="*/ 243 w 10000"/>
                <a:gd name="connsiteY18" fmla="*/ 4728 h 10000"/>
                <a:gd name="connsiteX19" fmla="*/ 174 w 10000"/>
                <a:gd name="connsiteY19" fmla="*/ 4785 h 10000"/>
                <a:gd name="connsiteX20" fmla="*/ 174 w 10000"/>
                <a:gd name="connsiteY20" fmla="*/ 4785 h 10000"/>
                <a:gd name="connsiteX21" fmla="*/ 174 w 10000"/>
                <a:gd name="connsiteY21" fmla="*/ 4928 h 10000"/>
                <a:gd name="connsiteX22" fmla="*/ 174 w 10000"/>
                <a:gd name="connsiteY22" fmla="*/ 5072 h 10000"/>
                <a:gd name="connsiteX23" fmla="*/ 104 w 10000"/>
                <a:gd name="connsiteY23" fmla="*/ 5129 h 10000"/>
                <a:gd name="connsiteX24" fmla="*/ 0 w 10000"/>
                <a:gd name="connsiteY24" fmla="*/ 5186 h 10000"/>
                <a:gd name="connsiteX25" fmla="*/ 0 w 10000"/>
                <a:gd name="connsiteY25" fmla="*/ 5272 h 10000"/>
                <a:gd name="connsiteX26" fmla="*/ 0 w 10000"/>
                <a:gd name="connsiteY26" fmla="*/ 5415 h 10000"/>
                <a:gd name="connsiteX27" fmla="*/ 104 w 10000"/>
                <a:gd name="connsiteY27" fmla="*/ 5415 h 10000"/>
                <a:gd name="connsiteX28" fmla="*/ 104 w 10000"/>
                <a:gd name="connsiteY28" fmla="*/ 5415 h 10000"/>
                <a:gd name="connsiteX29" fmla="*/ 347 w 10000"/>
                <a:gd name="connsiteY29" fmla="*/ 5330 h 10000"/>
                <a:gd name="connsiteX30" fmla="*/ 243 w 10000"/>
                <a:gd name="connsiteY30" fmla="*/ 5530 h 10000"/>
                <a:gd name="connsiteX31" fmla="*/ 347 w 10000"/>
                <a:gd name="connsiteY31" fmla="*/ 5673 h 10000"/>
                <a:gd name="connsiteX32" fmla="*/ 486 w 10000"/>
                <a:gd name="connsiteY32" fmla="*/ 5931 h 10000"/>
                <a:gd name="connsiteX33" fmla="*/ 486 w 10000"/>
                <a:gd name="connsiteY33" fmla="*/ 6017 h 10000"/>
                <a:gd name="connsiteX34" fmla="*/ 590 w 10000"/>
                <a:gd name="connsiteY34" fmla="*/ 6017 h 10000"/>
                <a:gd name="connsiteX35" fmla="*/ 590 w 10000"/>
                <a:gd name="connsiteY35" fmla="*/ 6074 h 10000"/>
                <a:gd name="connsiteX36" fmla="*/ 660 w 10000"/>
                <a:gd name="connsiteY36" fmla="*/ 6132 h 10000"/>
                <a:gd name="connsiteX37" fmla="*/ 660 w 10000"/>
                <a:gd name="connsiteY37" fmla="*/ 6218 h 10000"/>
                <a:gd name="connsiteX38" fmla="*/ 486 w 10000"/>
                <a:gd name="connsiteY38" fmla="*/ 6275 h 10000"/>
                <a:gd name="connsiteX39" fmla="*/ 660 w 10000"/>
                <a:gd name="connsiteY39" fmla="*/ 6361 h 10000"/>
                <a:gd name="connsiteX40" fmla="*/ 833 w 10000"/>
                <a:gd name="connsiteY40" fmla="*/ 6562 h 10000"/>
                <a:gd name="connsiteX41" fmla="*/ 1007 w 10000"/>
                <a:gd name="connsiteY41" fmla="*/ 6762 h 10000"/>
                <a:gd name="connsiteX42" fmla="*/ 1076 w 10000"/>
                <a:gd name="connsiteY42" fmla="*/ 6877 h 10000"/>
                <a:gd name="connsiteX43" fmla="*/ 1007 w 10000"/>
                <a:gd name="connsiteY43" fmla="*/ 7020 h 10000"/>
                <a:gd name="connsiteX44" fmla="*/ 1007 w 10000"/>
                <a:gd name="connsiteY44" fmla="*/ 7221 h 10000"/>
                <a:gd name="connsiteX45" fmla="*/ 1007 w 10000"/>
                <a:gd name="connsiteY45" fmla="*/ 7307 h 10000"/>
                <a:gd name="connsiteX46" fmla="*/ 1146 w 10000"/>
                <a:gd name="connsiteY46" fmla="*/ 7421 h 10000"/>
                <a:gd name="connsiteX47" fmla="*/ 1250 w 10000"/>
                <a:gd name="connsiteY47" fmla="*/ 7421 h 10000"/>
                <a:gd name="connsiteX48" fmla="*/ 1389 w 10000"/>
                <a:gd name="connsiteY48" fmla="*/ 7421 h 10000"/>
                <a:gd name="connsiteX49" fmla="*/ 1493 w 10000"/>
                <a:gd name="connsiteY49" fmla="*/ 7564 h 10000"/>
                <a:gd name="connsiteX50" fmla="*/ 1563 w 10000"/>
                <a:gd name="connsiteY50" fmla="*/ 7622 h 10000"/>
                <a:gd name="connsiteX51" fmla="*/ 1806 w 10000"/>
                <a:gd name="connsiteY51" fmla="*/ 7622 h 10000"/>
                <a:gd name="connsiteX52" fmla="*/ 1910 w 10000"/>
                <a:gd name="connsiteY52" fmla="*/ 7708 h 10000"/>
                <a:gd name="connsiteX53" fmla="*/ 1979 w 10000"/>
                <a:gd name="connsiteY53" fmla="*/ 7765 h 10000"/>
                <a:gd name="connsiteX54" fmla="*/ 2049 w 10000"/>
                <a:gd name="connsiteY54" fmla="*/ 7765 h 10000"/>
                <a:gd name="connsiteX55" fmla="*/ 1979 w 10000"/>
                <a:gd name="connsiteY55" fmla="*/ 7908 h 10000"/>
                <a:gd name="connsiteX56" fmla="*/ 2049 w 10000"/>
                <a:gd name="connsiteY56" fmla="*/ 7966 h 10000"/>
                <a:gd name="connsiteX57" fmla="*/ 2292 w 10000"/>
                <a:gd name="connsiteY57" fmla="*/ 8109 h 10000"/>
                <a:gd name="connsiteX58" fmla="*/ 2465 w 10000"/>
                <a:gd name="connsiteY58" fmla="*/ 8252 h 10000"/>
                <a:gd name="connsiteX59" fmla="*/ 2535 w 10000"/>
                <a:gd name="connsiteY59" fmla="*/ 8309 h 10000"/>
                <a:gd name="connsiteX60" fmla="*/ 2708 w 10000"/>
                <a:gd name="connsiteY60" fmla="*/ 8367 h 10000"/>
                <a:gd name="connsiteX61" fmla="*/ 2708 w 10000"/>
                <a:gd name="connsiteY61" fmla="*/ 8453 h 10000"/>
                <a:gd name="connsiteX62" fmla="*/ 2813 w 10000"/>
                <a:gd name="connsiteY62" fmla="*/ 8596 h 10000"/>
                <a:gd name="connsiteX63" fmla="*/ 2882 w 10000"/>
                <a:gd name="connsiteY63" fmla="*/ 8653 h 10000"/>
                <a:gd name="connsiteX64" fmla="*/ 2882 w 10000"/>
                <a:gd name="connsiteY64" fmla="*/ 8711 h 10000"/>
                <a:gd name="connsiteX65" fmla="*/ 2951 w 10000"/>
                <a:gd name="connsiteY65" fmla="*/ 8797 h 10000"/>
                <a:gd name="connsiteX66" fmla="*/ 3299 w 10000"/>
                <a:gd name="connsiteY66" fmla="*/ 8911 h 10000"/>
                <a:gd name="connsiteX67" fmla="*/ 3368 w 10000"/>
                <a:gd name="connsiteY67" fmla="*/ 9054 h 10000"/>
                <a:gd name="connsiteX68" fmla="*/ 3368 w 10000"/>
                <a:gd name="connsiteY68" fmla="*/ 9112 h 10000"/>
                <a:gd name="connsiteX69" fmla="*/ 3438 w 10000"/>
                <a:gd name="connsiteY69" fmla="*/ 9198 h 10000"/>
                <a:gd name="connsiteX70" fmla="*/ 3542 w 10000"/>
                <a:gd name="connsiteY70" fmla="*/ 9255 h 10000"/>
                <a:gd name="connsiteX71" fmla="*/ 3715 w 10000"/>
                <a:gd name="connsiteY71" fmla="*/ 9398 h 10000"/>
                <a:gd name="connsiteX72" fmla="*/ 3715 w 10000"/>
                <a:gd name="connsiteY72" fmla="*/ 9456 h 10000"/>
                <a:gd name="connsiteX73" fmla="*/ 3785 w 10000"/>
                <a:gd name="connsiteY73" fmla="*/ 9542 h 10000"/>
                <a:gd name="connsiteX74" fmla="*/ 4028 w 10000"/>
                <a:gd name="connsiteY74" fmla="*/ 9599 h 10000"/>
                <a:gd name="connsiteX75" fmla="*/ 4097 w 10000"/>
                <a:gd name="connsiteY75" fmla="*/ 9599 h 10000"/>
                <a:gd name="connsiteX76" fmla="*/ 4201 w 10000"/>
                <a:gd name="connsiteY76" fmla="*/ 9542 h 10000"/>
                <a:gd name="connsiteX77" fmla="*/ 4444 w 10000"/>
                <a:gd name="connsiteY77" fmla="*/ 9599 h 10000"/>
                <a:gd name="connsiteX78" fmla="*/ 4618 w 10000"/>
                <a:gd name="connsiteY78" fmla="*/ 9542 h 10000"/>
                <a:gd name="connsiteX79" fmla="*/ 4757 w 10000"/>
                <a:gd name="connsiteY79" fmla="*/ 9456 h 10000"/>
                <a:gd name="connsiteX80" fmla="*/ 4861 w 10000"/>
                <a:gd name="connsiteY80" fmla="*/ 9542 h 10000"/>
                <a:gd name="connsiteX81" fmla="*/ 5174 w 10000"/>
                <a:gd name="connsiteY81" fmla="*/ 9742 h 10000"/>
                <a:gd name="connsiteX82" fmla="*/ 5243 w 10000"/>
                <a:gd name="connsiteY82" fmla="*/ 9857 h 10000"/>
                <a:gd name="connsiteX83" fmla="*/ 5347 w 10000"/>
                <a:gd name="connsiteY83" fmla="*/ 9943 h 10000"/>
                <a:gd name="connsiteX84" fmla="*/ 5417 w 10000"/>
                <a:gd name="connsiteY84" fmla="*/ 9943 h 10000"/>
                <a:gd name="connsiteX85" fmla="*/ 5486 w 10000"/>
                <a:gd name="connsiteY85" fmla="*/ 9943 h 10000"/>
                <a:gd name="connsiteX86" fmla="*/ 5590 w 10000"/>
                <a:gd name="connsiteY86" fmla="*/ 9943 h 10000"/>
                <a:gd name="connsiteX87" fmla="*/ 5764 w 10000"/>
                <a:gd name="connsiteY87" fmla="*/ 9943 h 10000"/>
                <a:gd name="connsiteX88" fmla="*/ 5833 w 10000"/>
                <a:gd name="connsiteY88" fmla="*/ 9943 h 10000"/>
                <a:gd name="connsiteX89" fmla="*/ 6007 w 10000"/>
                <a:gd name="connsiteY89" fmla="*/ 9943 h 10000"/>
                <a:gd name="connsiteX90" fmla="*/ 6076 w 10000"/>
                <a:gd name="connsiteY90" fmla="*/ 9943 h 10000"/>
                <a:gd name="connsiteX91" fmla="*/ 6146 w 10000"/>
                <a:gd name="connsiteY91" fmla="*/ 10000 h 10000"/>
                <a:gd name="connsiteX92" fmla="*/ 6319 w 10000"/>
                <a:gd name="connsiteY92" fmla="*/ 9943 h 10000"/>
                <a:gd name="connsiteX93" fmla="*/ 6493 w 10000"/>
                <a:gd name="connsiteY93" fmla="*/ 9943 h 10000"/>
                <a:gd name="connsiteX94" fmla="*/ 6667 w 10000"/>
                <a:gd name="connsiteY94" fmla="*/ 9857 h 10000"/>
                <a:gd name="connsiteX95" fmla="*/ 6806 w 10000"/>
                <a:gd name="connsiteY95" fmla="*/ 9857 h 10000"/>
                <a:gd name="connsiteX96" fmla="*/ 7049 w 10000"/>
                <a:gd name="connsiteY96" fmla="*/ 9857 h 10000"/>
                <a:gd name="connsiteX97" fmla="*/ 7292 w 10000"/>
                <a:gd name="connsiteY97" fmla="*/ 9742 h 10000"/>
                <a:gd name="connsiteX98" fmla="*/ 7292 w 10000"/>
                <a:gd name="connsiteY98" fmla="*/ 9742 h 10000"/>
                <a:gd name="connsiteX99" fmla="*/ 7292 w 10000"/>
                <a:gd name="connsiteY99" fmla="*/ 9742 h 10000"/>
                <a:gd name="connsiteX100" fmla="*/ 7569 w 10000"/>
                <a:gd name="connsiteY100" fmla="*/ 9542 h 10000"/>
                <a:gd name="connsiteX101" fmla="*/ 7639 w 10000"/>
                <a:gd name="connsiteY101" fmla="*/ 9456 h 10000"/>
                <a:gd name="connsiteX102" fmla="*/ 7813 w 10000"/>
                <a:gd name="connsiteY102" fmla="*/ 9456 h 10000"/>
                <a:gd name="connsiteX103" fmla="*/ 8125 w 10000"/>
                <a:gd name="connsiteY103" fmla="*/ 9542 h 10000"/>
                <a:gd name="connsiteX104" fmla="*/ 8299 w 10000"/>
                <a:gd name="connsiteY104" fmla="*/ 9542 h 10000"/>
                <a:gd name="connsiteX105" fmla="*/ 8472 w 10000"/>
                <a:gd name="connsiteY105" fmla="*/ 9456 h 10000"/>
                <a:gd name="connsiteX106" fmla="*/ 8472 w 10000"/>
                <a:gd name="connsiteY106" fmla="*/ 9255 h 10000"/>
                <a:gd name="connsiteX107" fmla="*/ 8542 w 10000"/>
                <a:gd name="connsiteY107" fmla="*/ 9198 h 10000"/>
                <a:gd name="connsiteX108" fmla="*/ 8472 w 10000"/>
                <a:gd name="connsiteY108" fmla="*/ 9112 h 10000"/>
                <a:gd name="connsiteX109" fmla="*/ 8472 w 10000"/>
                <a:gd name="connsiteY109" fmla="*/ 9054 h 10000"/>
                <a:gd name="connsiteX110" fmla="*/ 8125 w 10000"/>
                <a:gd name="connsiteY110" fmla="*/ 9054 h 10000"/>
                <a:gd name="connsiteX111" fmla="*/ 8056 w 10000"/>
                <a:gd name="connsiteY111" fmla="*/ 8997 h 10000"/>
                <a:gd name="connsiteX112" fmla="*/ 8056 w 10000"/>
                <a:gd name="connsiteY112" fmla="*/ 8911 h 10000"/>
                <a:gd name="connsiteX113" fmla="*/ 7882 w 10000"/>
                <a:gd name="connsiteY113" fmla="*/ 8653 h 10000"/>
                <a:gd name="connsiteX114" fmla="*/ 7882 w 10000"/>
                <a:gd name="connsiteY114" fmla="*/ 8510 h 10000"/>
                <a:gd name="connsiteX115" fmla="*/ 7813 w 10000"/>
                <a:gd name="connsiteY115" fmla="*/ 8453 h 10000"/>
                <a:gd name="connsiteX116" fmla="*/ 7569 w 10000"/>
                <a:gd name="connsiteY116" fmla="*/ 8309 h 10000"/>
                <a:gd name="connsiteX117" fmla="*/ 7465 w 10000"/>
                <a:gd name="connsiteY117" fmla="*/ 8252 h 10000"/>
                <a:gd name="connsiteX118" fmla="*/ 7396 w 10000"/>
                <a:gd name="connsiteY118" fmla="*/ 8166 h 10000"/>
                <a:gd name="connsiteX119" fmla="*/ 7396 w 10000"/>
                <a:gd name="connsiteY119" fmla="*/ 8109 h 10000"/>
                <a:gd name="connsiteX120" fmla="*/ 7292 w 10000"/>
                <a:gd name="connsiteY120" fmla="*/ 7966 h 10000"/>
                <a:gd name="connsiteX121" fmla="*/ 7222 w 10000"/>
                <a:gd name="connsiteY121" fmla="*/ 7966 h 10000"/>
                <a:gd name="connsiteX122" fmla="*/ 7049 w 10000"/>
                <a:gd name="connsiteY122" fmla="*/ 7908 h 10000"/>
                <a:gd name="connsiteX123" fmla="*/ 6979 w 10000"/>
                <a:gd name="connsiteY123" fmla="*/ 7908 h 10000"/>
                <a:gd name="connsiteX124" fmla="*/ 6910 w 10000"/>
                <a:gd name="connsiteY124" fmla="*/ 7908 h 10000"/>
                <a:gd name="connsiteX125" fmla="*/ 6806 w 10000"/>
                <a:gd name="connsiteY125" fmla="*/ 7908 h 10000"/>
                <a:gd name="connsiteX126" fmla="*/ 6736 w 10000"/>
                <a:gd name="connsiteY126" fmla="*/ 7851 h 10000"/>
                <a:gd name="connsiteX127" fmla="*/ 6806 w 10000"/>
                <a:gd name="connsiteY127" fmla="*/ 7765 h 10000"/>
                <a:gd name="connsiteX128" fmla="*/ 6910 w 10000"/>
                <a:gd name="connsiteY128" fmla="*/ 7708 h 10000"/>
                <a:gd name="connsiteX129" fmla="*/ 6910 w 10000"/>
                <a:gd name="connsiteY129" fmla="*/ 7564 h 10000"/>
                <a:gd name="connsiteX130" fmla="*/ 6979 w 10000"/>
                <a:gd name="connsiteY130" fmla="*/ 7564 h 10000"/>
                <a:gd name="connsiteX131" fmla="*/ 7222 w 10000"/>
                <a:gd name="connsiteY131" fmla="*/ 7564 h 10000"/>
                <a:gd name="connsiteX132" fmla="*/ 7396 w 10000"/>
                <a:gd name="connsiteY132" fmla="*/ 7564 h 10000"/>
                <a:gd name="connsiteX133" fmla="*/ 7465 w 10000"/>
                <a:gd name="connsiteY133" fmla="*/ 7507 h 10000"/>
                <a:gd name="connsiteX134" fmla="*/ 7465 w 10000"/>
                <a:gd name="connsiteY134" fmla="*/ 7364 h 10000"/>
                <a:gd name="connsiteX135" fmla="*/ 7465 w 10000"/>
                <a:gd name="connsiteY135" fmla="*/ 6963 h 10000"/>
                <a:gd name="connsiteX136" fmla="*/ 7465 w 10000"/>
                <a:gd name="connsiteY136" fmla="*/ 6819 h 10000"/>
                <a:gd name="connsiteX137" fmla="*/ 7569 w 10000"/>
                <a:gd name="connsiteY137" fmla="*/ 6676 h 10000"/>
                <a:gd name="connsiteX138" fmla="*/ 7465 w 10000"/>
                <a:gd name="connsiteY138" fmla="*/ 6619 h 10000"/>
                <a:gd name="connsiteX139" fmla="*/ 7465 w 10000"/>
                <a:gd name="connsiteY139" fmla="*/ 6562 h 10000"/>
                <a:gd name="connsiteX140" fmla="*/ 7569 w 10000"/>
                <a:gd name="connsiteY140" fmla="*/ 6562 h 10000"/>
                <a:gd name="connsiteX141" fmla="*/ 7569 w 10000"/>
                <a:gd name="connsiteY141" fmla="*/ 6476 h 10000"/>
                <a:gd name="connsiteX142" fmla="*/ 7639 w 10000"/>
                <a:gd name="connsiteY142" fmla="*/ 6361 h 10000"/>
                <a:gd name="connsiteX143" fmla="*/ 7708 w 10000"/>
                <a:gd name="connsiteY143" fmla="*/ 6361 h 10000"/>
                <a:gd name="connsiteX144" fmla="*/ 7882 w 10000"/>
                <a:gd name="connsiteY144" fmla="*/ 6361 h 10000"/>
                <a:gd name="connsiteX145" fmla="*/ 7882 w 10000"/>
                <a:gd name="connsiteY145" fmla="*/ 6275 h 10000"/>
                <a:gd name="connsiteX146" fmla="*/ 7951 w 10000"/>
                <a:gd name="connsiteY146" fmla="*/ 6017 h 10000"/>
                <a:gd name="connsiteX147" fmla="*/ 8056 w 10000"/>
                <a:gd name="connsiteY147" fmla="*/ 5931 h 10000"/>
                <a:gd name="connsiteX148" fmla="*/ 8368 w 10000"/>
                <a:gd name="connsiteY148" fmla="*/ 5473 h 10000"/>
                <a:gd name="connsiteX149" fmla="*/ 8542 w 10000"/>
                <a:gd name="connsiteY149" fmla="*/ 5415 h 10000"/>
                <a:gd name="connsiteX150" fmla="*/ 8611 w 10000"/>
                <a:gd name="connsiteY150" fmla="*/ 5330 h 10000"/>
                <a:gd name="connsiteX151" fmla="*/ 8715 w 10000"/>
                <a:gd name="connsiteY151" fmla="*/ 5272 h 10000"/>
                <a:gd name="connsiteX152" fmla="*/ 8854 w 10000"/>
                <a:gd name="connsiteY152" fmla="*/ 4728 h 10000"/>
                <a:gd name="connsiteX153" fmla="*/ 8854 w 10000"/>
                <a:gd name="connsiteY153" fmla="*/ 4585 h 10000"/>
                <a:gd name="connsiteX154" fmla="*/ 8854 w 10000"/>
                <a:gd name="connsiteY154" fmla="*/ 4441 h 10000"/>
                <a:gd name="connsiteX155" fmla="*/ 8854 w 10000"/>
                <a:gd name="connsiteY155" fmla="*/ 4327 h 10000"/>
                <a:gd name="connsiteX156" fmla="*/ 8854 w 10000"/>
                <a:gd name="connsiteY156" fmla="*/ 4126 h 10000"/>
                <a:gd name="connsiteX157" fmla="*/ 8958 w 10000"/>
                <a:gd name="connsiteY157" fmla="*/ 3983 h 10000"/>
                <a:gd name="connsiteX158" fmla="*/ 9097 w 10000"/>
                <a:gd name="connsiteY158" fmla="*/ 3496 h 10000"/>
                <a:gd name="connsiteX159" fmla="*/ 9097 w 10000"/>
                <a:gd name="connsiteY159" fmla="*/ 3438 h 10000"/>
                <a:gd name="connsiteX160" fmla="*/ 9097 w 10000"/>
                <a:gd name="connsiteY160" fmla="*/ 3238 h 10000"/>
                <a:gd name="connsiteX161" fmla="*/ 9201 w 10000"/>
                <a:gd name="connsiteY161" fmla="*/ 3181 h 10000"/>
                <a:gd name="connsiteX162" fmla="*/ 9375 w 10000"/>
                <a:gd name="connsiteY162" fmla="*/ 3181 h 10000"/>
                <a:gd name="connsiteX163" fmla="*/ 9514 w 10000"/>
                <a:gd name="connsiteY163" fmla="*/ 3037 h 10000"/>
                <a:gd name="connsiteX164" fmla="*/ 9688 w 10000"/>
                <a:gd name="connsiteY164" fmla="*/ 2951 h 10000"/>
                <a:gd name="connsiteX165" fmla="*/ 9757 w 10000"/>
                <a:gd name="connsiteY165" fmla="*/ 2894 h 10000"/>
                <a:gd name="connsiteX166" fmla="*/ 9931 w 10000"/>
                <a:gd name="connsiteY166" fmla="*/ 2894 h 10000"/>
                <a:gd name="connsiteX167" fmla="*/ 10000 w 10000"/>
                <a:gd name="connsiteY167" fmla="*/ 2751 h 10000"/>
                <a:gd name="connsiteX168" fmla="*/ 10000 w 10000"/>
                <a:gd name="connsiteY168" fmla="*/ 2636 h 10000"/>
                <a:gd name="connsiteX169" fmla="*/ 10000 w 10000"/>
                <a:gd name="connsiteY169" fmla="*/ 2550 h 10000"/>
                <a:gd name="connsiteX170" fmla="*/ 9931 w 10000"/>
                <a:gd name="connsiteY170" fmla="*/ 2550 h 10000"/>
                <a:gd name="connsiteX171" fmla="*/ 9931 w 10000"/>
                <a:gd name="connsiteY171" fmla="*/ 2550 h 10000"/>
                <a:gd name="connsiteX172" fmla="*/ 9861 w 10000"/>
                <a:gd name="connsiteY172" fmla="*/ 2550 h 10000"/>
                <a:gd name="connsiteX173" fmla="*/ 9861 w 10000"/>
                <a:gd name="connsiteY173" fmla="*/ 2436 h 10000"/>
                <a:gd name="connsiteX174" fmla="*/ 9757 w 10000"/>
                <a:gd name="connsiteY174" fmla="*/ 2350 h 10000"/>
                <a:gd name="connsiteX175" fmla="*/ 9688 w 10000"/>
                <a:gd name="connsiteY175" fmla="*/ 2350 h 10000"/>
                <a:gd name="connsiteX176" fmla="*/ 9514 w 10000"/>
                <a:gd name="connsiteY176" fmla="*/ 2292 h 10000"/>
                <a:gd name="connsiteX177" fmla="*/ 9271 w 10000"/>
                <a:gd name="connsiteY177" fmla="*/ 1060 h 10000"/>
                <a:gd name="connsiteX178" fmla="*/ 9271 w 10000"/>
                <a:gd name="connsiteY178" fmla="*/ 1060 h 10000"/>
                <a:gd name="connsiteX179" fmla="*/ 9271 w 10000"/>
                <a:gd name="connsiteY179" fmla="*/ 1003 h 10000"/>
                <a:gd name="connsiteX180" fmla="*/ 9097 w 10000"/>
                <a:gd name="connsiteY180" fmla="*/ 802 h 10000"/>
                <a:gd name="connsiteX181" fmla="*/ 9097 w 10000"/>
                <a:gd name="connsiteY181" fmla="*/ 602 h 10000"/>
                <a:gd name="connsiteX182" fmla="*/ 8854 w 10000"/>
                <a:gd name="connsiteY182" fmla="*/ 401 h 10000"/>
                <a:gd name="connsiteX183" fmla="*/ 8715 w 10000"/>
                <a:gd name="connsiteY183" fmla="*/ 258 h 10000"/>
                <a:gd name="connsiteX184" fmla="*/ 8611 w 10000"/>
                <a:gd name="connsiteY184" fmla="*/ 201 h 10000"/>
                <a:gd name="connsiteX185" fmla="*/ 8472 w 10000"/>
                <a:gd name="connsiteY185" fmla="*/ 115 h 10000"/>
                <a:gd name="connsiteX186" fmla="*/ 8299 w 10000"/>
                <a:gd name="connsiteY186" fmla="*/ 0 h 10000"/>
                <a:gd name="connsiteX187" fmla="*/ 8056 w 10000"/>
                <a:gd name="connsiteY187" fmla="*/ 201 h 10000"/>
                <a:gd name="connsiteX188" fmla="*/ 7813 w 10000"/>
                <a:gd name="connsiteY188" fmla="*/ 401 h 10000"/>
                <a:gd name="connsiteX189" fmla="*/ 7465 w 10000"/>
                <a:gd name="connsiteY189" fmla="*/ 458 h 10000"/>
                <a:gd name="connsiteX190" fmla="*/ 7049 w 10000"/>
                <a:gd name="connsiteY190" fmla="*/ 745 h 10000"/>
                <a:gd name="connsiteX191" fmla="*/ 6910 w 10000"/>
                <a:gd name="connsiteY191" fmla="*/ 602 h 10000"/>
                <a:gd name="connsiteX192" fmla="*/ 6444 w 10000"/>
                <a:gd name="connsiteY192" fmla="*/ 574 h 10000"/>
                <a:gd name="connsiteX193" fmla="*/ 5833 w 10000"/>
                <a:gd name="connsiteY193" fmla="*/ 602 h 10000"/>
                <a:gd name="connsiteX194" fmla="*/ 5833 w 10000"/>
                <a:gd name="connsiteY194" fmla="*/ 458 h 10000"/>
                <a:gd name="connsiteX195" fmla="*/ 5833 w 10000"/>
                <a:gd name="connsiteY195" fmla="*/ 458 h 10000"/>
                <a:gd name="connsiteX196" fmla="*/ 5833 w 10000"/>
                <a:gd name="connsiteY196" fmla="*/ 458 h 10000"/>
                <a:gd name="connsiteX197" fmla="*/ 5764 w 10000"/>
                <a:gd name="connsiteY197" fmla="*/ 458 h 10000"/>
                <a:gd name="connsiteX198" fmla="*/ 5660 w 10000"/>
                <a:gd name="connsiteY198" fmla="*/ 602 h 10000"/>
                <a:gd name="connsiteX199" fmla="*/ 5347 w 10000"/>
                <a:gd name="connsiteY199" fmla="*/ 602 h 10000"/>
                <a:gd name="connsiteX200" fmla="*/ 3056 w 10000"/>
                <a:gd name="connsiteY200" fmla="*/ 602 h 10000"/>
                <a:gd name="connsiteX201" fmla="*/ 2465 w 10000"/>
                <a:gd name="connsiteY201" fmla="*/ 602 h 10000"/>
                <a:gd name="connsiteX202" fmla="*/ 1910 w 10000"/>
                <a:gd name="connsiteY202" fmla="*/ 602 h 10000"/>
                <a:gd name="connsiteX203" fmla="*/ 1910 w 10000"/>
                <a:gd name="connsiteY203" fmla="*/ 602 h 10000"/>
                <a:gd name="connsiteX204" fmla="*/ 1910 w 10000"/>
                <a:gd name="connsiteY204" fmla="*/ 1060 h 10000"/>
                <a:gd name="connsiteX205" fmla="*/ 1910 w 10000"/>
                <a:gd name="connsiteY205" fmla="*/ 1605 h 10000"/>
                <a:gd name="connsiteX206" fmla="*/ 1319 w 10000"/>
                <a:gd name="connsiteY206" fmla="*/ 1605 h 10000"/>
                <a:gd name="connsiteX207" fmla="*/ 1319 w 10000"/>
                <a:gd name="connsiteY207" fmla="*/ 1891 h 10000"/>
                <a:gd name="connsiteX0" fmla="*/ 1319 w 10000"/>
                <a:gd name="connsiteY0" fmla="*/ 1776 h 9885"/>
                <a:gd name="connsiteX1" fmla="*/ 1319 w 10000"/>
                <a:gd name="connsiteY1" fmla="*/ 2321 h 9885"/>
                <a:gd name="connsiteX2" fmla="*/ 1319 w 10000"/>
                <a:gd name="connsiteY2" fmla="*/ 2779 h 9885"/>
                <a:gd name="connsiteX3" fmla="*/ 1319 w 10000"/>
                <a:gd name="connsiteY3" fmla="*/ 3266 h 9885"/>
                <a:gd name="connsiteX4" fmla="*/ 1319 w 10000"/>
                <a:gd name="connsiteY4" fmla="*/ 3725 h 9885"/>
                <a:gd name="connsiteX5" fmla="*/ 1250 w 10000"/>
                <a:gd name="connsiteY5" fmla="*/ 3725 h 9885"/>
                <a:gd name="connsiteX6" fmla="*/ 903 w 10000"/>
                <a:gd name="connsiteY6" fmla="*/ 3725 h 9885"/>
                <a:gd name="connsiteX7" fmla="*/ 833 w 10000"/>
                <a:gd name="connsiteY7" fmla="*/ 3725 h 9885"/>
                <a:gd name="connsiteX8" fmla="*/ 660 w 10000"/>
                <a:gd name="connsiteY8" fmla="*/ 3725 h 9885"/>
                <a:gd name="connsiteX9" fmla="*/ 660 w 10000"/>
                <a:gd name="connsiteY9" fmla="*/ 3811 h 9885"/>
                <a:gd name="connsiteX10" fmla="*/ 660 w 10000"/>
                <a:gd name="connsiteY10" fmla="*/ 3868 h 9885"/>
                <a:gd name="connsiteX11" fmla="*/ 660 w 10000"/>
                <a:gd name="connsiteY11" fmla="*/ 3925 h 9885"/>
                <a:gd name="connsiteX12" fmla="*/ 590 w 10000"/>
                <a:gd name="connsiteY12" fmla="*/ 4068 h 9885"/>
                <a:gd name="connsiteX13" fmla="*/ 486 w 10000"/>
                <a:gd name="connsiteY13" fmla="*/ 4212 h 9885"/>
                <a:gd name="connsiteX14" fmla="*/ 243 w 10000"/>
                <a:gd name="connsiteY14" fmla="*/ 4412 h 9885"/>
                <a:gd name="connsiteX15" fmla="*/ 243 w 10000"/>
                <a:gd name="connsiteY15" fmla="*/ 4470 h 9885"/>
                <a:gd name="connsiteX16" fmla="*/ 347 w 10000"/>
                <a:gd name="connsiteY16" fmla="*/ 4555 h 9885"/>
                <a:gd name="connsiteX17" fmla="*/ 243 w 10000"/>
                <a:gd name="connsiteY17" fmla="*/ 4613 h 9885"/>
                <a:gd name="connsiteX18" fmla="*/ 243 w 10000"/>
                <a:gd name="connsiteY18" fmla="*/ 4613 h 9885"/>
                <a:gd name="connsiteX19" fmla="*/ 174 w 10000"/>
                <a:gd name="connsiteY19" fmla="*/ 4670 h 9885"/>
                <a:gd name="connsiteX20" fmla="*/ 174 w 10000"/>
                <a:gd name="connsiteY20" fmla="*/ 4670 h 9885"/>
                <a:gd name="connsiteX21" fmla="*/ 174 w 10000"/>
                <a:gd name="connsiteY21" fmla="*/ 4813 h 9885"/>
                <a:gd name="connsiteX22" fmla="*/ 174 w 10000"/>
                <a:gd name="connsiteY22" fmla="*/ 4957 h 9885"/>
                <a:gd name="connsiteX23" fmla="*/ 104 w 10000"/>
                <a:gd name="connsiteY23" fmla="*/ 5014 h 9885"/>
                <a:gd name="connsiteX24" fmla="*/ 0 w 10000"/>
                <a:gd name="connsiteY24" fmla="*/ 5071 h 9885"/>
                <a:gd name="connsiteX25" fmla="*/ 0 w 10000"/>
                <a:gd name="connsiteY25" fmla="*/ 5157 h 9885"/>
                <a:gd name="connsiteX26" fmla="*/ 0 w 10000"/>
                <a:gd name="connsiteY26" fmla="*/ 5300 h 9885"/>
                <a:gd name="connsiteX27" fmla="*/ 104 w 10000"/>
                <a:gd name="connsiteY27" fmla="*/ 5300 h 9885"/>
                <a:gd name="connsiteX28" fmla="*/ 104 w 10000"/>
                <a:gd name="connsiteY28" fmla="*/ 5300 h 9885"/>
                <a:gd name="connsiteX29" fmla="*/ 347 w 10000"/>
                <a:gd name="connsiteY29" fmla="*/ 5215 h 9885"/>
                <a:gd name="connsiteX30" fmla="*/ 243 w 10000"/>
                <a:gd name="connsiteY30" fmla="*/ 5415 h 9885"/>
                <a:gd name="connsiteX31" fmla="*/ 347 w 10000"/>
                <a:gd name="connsiteY31" fmla="*/ 5558 h 9885"/>
                <a:gd name="connsiteX32" fmla="*/ 486 w 10000"/>
                <a:gd name="connsiteY32" fmla="*/ 5816 h 9885"/>
                <a:gd name="connsiteX33" fmla="*/ 486 w 10000"/>
                <a:gd name="connsiteY33" fmla="*/ 5902 h 9885"/>
                <a:gd name="connsiteX34" fmla="*/ 590 w 10000"/>
                <a:gd name="connsiteY34" fmla="*/ 5902 h 9885"/>
                <a:gd name="connsiteX35" fmla="*/ 590 w 10000"/>
                <a:gd name="connsiteY35" fmla="*/ 5959 h 9885"/>
                <a:gd name="connsiteX36" fmla="*/ 660 w 10000"/>
                <a:gd name="connsiteY36" fmla="*/ 6017 h 9885"/>
                <a:gd name="connsiteX37" fmla="*/ 660 w 10000"/>
                <a:gd name="connsiteY37" fmla="*/ 6103 h 9885"/>
                <a:gd name="connsiteX38" fmla="*/ 486 w 10000"/>
                <a:gd name="connsiteY38" fmla="*/ 6160 h 9885"/>
                <a:gd name="connsiteX39" fmla="*/ 660 w 10000"/>
                <a:gd name="connsiteY39" fmla="*/ 6246 h 9885"/>
                <a:gd name="connsiteX40" fmla="*/ 833 w 10000"/>
                <a:gd name="connsiteY40" fmla="*/ 6447 h 9885"/>
                <a:gd name="connsiteX41" fmla="*/ 1007 w 10000"/>
                <a:gd name="connsiteY41" fmla="*/ 6647 h 9885"/>
                <a:gd name="connsiteX42" fmla="*/ 1076 w 10000"/>
                <a:gd name="connsiteY42" fmla="*/ 6762 h 9885"/>
                <a:gd name="connsiteX43" fmla="*/ 1007 w 10000"/>
                <a:gd name="connsiteY43" fmla="*/ 6905 h 9885"/>
                <a:gd name="connsiteX44" fmla="*/ 1007 w 10000"/>
                <a:gd name="connsiteY44" fmla="*/ 7106 h 9885"/>
                <a:gd name="connsiteX45" fmla="*/ 1007 w 10000"/>
                <a:gd name="connsiteY45" fmla="*/ 7192 h 9885"/>
                <a:gd name="connsiteX46" fmla="*/ 1146 w 10000"/>
                <a:gd name="connsiteY46" fmla="*/ 7306 h 9885"/>
                <a:gd name="connsiteX47" fmla="*/ 1250 w 10000"/>
                <a:gd name="connsiteY47" fmla="*/ 7306 h 9885"/>
                <a:gd name="connsiteX48" fmla="*/ 1389 w 10000"/>
                <a:gd name="connsiteY48" fmla="*/ 7306 h 9885"/>
                <a:gd name="connsiteX49" fmla="*/ 1493 w 10000"/>
                <a:gd name="connsiteY49" fmla="*/ 7449 h 9885"/>
                <a:gd name="connsiteX50" fmla="*/ 1563 w 10000"/>
                <a:gd name="connsiteY50" fmla="*/ 7507 h 9885"/>
                <a:gd name="connsiteX51" fmla="*/ 1806 w 10000"/>
                <a:gd name="connsiteY51" fmla="*/ 7507 h 9885"/>
                <a:gd name="connsiteX52" fmla="*/ 1910 w 10000"/>
                <a:gd name="connsiteY52" fmla="*/ 7593 h 9885"/>
                <a:gd name="connsiteX53" fmla="*/ 1979 w 10000"/>
                <a:gd name="connsiteY53" fmla="*/ 7650 h 9885"/>
                <a:gd name="connsiteX54" fmla="*/ 2049 w 10000"/>
                <a:gd name="connsiteY54" fmla="*/ 7650 h 9885"/>
                <a:gd name="connsiteX55" fmla="*/ 1979 w 10000"/>
                <a:gd name="connsiteY55" fmla="*/ 7793 h 9885"/>
                <a:gd name="connsiteX56" fmla="*/ 2049 w 10000"/>
                <a:gd name="connsiteY56" fmla="*/ 7851 h 9885"/>
                <a:gd name="connsiteX57" fmla="*/ 2292 w 10000"/>
                <a:gd name="connsiteY57" fmla="*/ 7994 h 9885"/>
                <a:gd name="connsiteX58" fmla="*/ 2465 w 10000"/>
                <a:gd name="connsiteY58" fmla="*/ 8137 h 9885"/>
                <a:gd name="connsiteX59" fmla="*/ 2535 w 10000"/>
                <a:gd name="connsiteY59" fmla="*/ 8194 h 9885"/>
                <a:gd name="connsiteX60" fmla="*/ 2708 w 10000"/>
                <a:gd name="connsiteY60" fmla="*/ 8252 h 9885"/>
                <a:gd name="connsiteX61" fmla="*/ 2708 w 10000"/>
                <a:gd name="connsiteY61" fmla="*/ 8338 h 9885"/>
                <a:gd name="connsiteX62" fmla="*/ 2813 w 10000"/>
                <a:gd name="connsiteY62" fmla="*/ 8481 h 9885"/>
                <a:gd name="connsiteX63" fmla="*/ 2882 w 10000"/>
                <a:gd name="connsiteY63" fmla="*/ 8538 h 9885"/>
                <a:gd name="connsiteX64" fmla="*/ 2882 w 10000"/>
                <a:gd name="connsiteY64" fmla="*/ 8596 h 9885"/>
                <a:gd name="connsiteX65" fmla="*/ 2951 w 10000"/>
                <a:gd name="connsiteY65" fmla="*/ 8682 h 9885"/>
                <a:gd name="connsiteX66" fmla="*/ 3299 w 10000"/>
                <a:gd name="connsiteY66" fmla="*/ 8796 h 9885"/>
                <a:gd name="connsiteX67" fmla="*/ 3368 w 10000"/>
                <a:gd name="connsiteY67" fmla="*/ 8939 h 9885"/>
                <a:gd name="connsiteX68" fmla="*/ 3368 w 10000"/>
                <a:gd name="connsiteY68" fmla="*/ 8997 h 9885"/>
                <a:gd name="connsiteX69" fmla="*/ 3438 w 10000"/>
                <a:gd name="connsiteY69" fmla="*/ 9083 h 9885"/>
                <a:gd name="connsiteX70" fmla="*/ 3542 w 10000"/>
                <a:gd name="connsiteY70" fmla="*/ 9140 h 9885"/>
                <a:gd name="connsiteX71" fmla="*/ 3715 w 10000"/>
                <a:gd name="connsiteY71" fmla="*/ 9283 h 9885"/>
                <a:gd name="connsiteX72" fmla="*/ 3715 w 10000"/>
                <a:gd name="connsiteY72" fmla="*/ 9341 h 9885"/>
                <a:gd name="connsiteX73" fmla="*/ 3785 w 10000"/>
                <a:gd name="connsiteY73" fmla="*/ 9427 h 9885"/>
                <a:gd name="connsiteX74" fmla="*/ 4028 w 10000"/>
                <a:gd name="connsiteY74" fmla="*/ 9484 h 9885"/>
                <a:gd name="connsiteX75" fmla="*/ 4097 w 10000"/>
                <a:gd name="connsiteY75" fmla="*/ 9484 h 9885"/>
                <a:gd name="connsiteX76" fmla="*/ 4201 w 10000"/>
                <a:gd name="connsiteY76" fmla="*/ 9427 h 9885"/>
                <a:gd name="connsiteX77" fmla="*/ 4444 w 10000"/>
                <a:gd name="connsiteY77" fmla="*/ 9484 h 9885"/>
                <a:gd name="connsiteX78" fmla="*/ 4618 w 10000"/>
                <a:gd name="connsiteY78" fmla="*/ 9427 h 9885"/>
                <a:gd name="connsiteX79" fmla="*/ 4757 w 10000"/>
                <a:gd name="connsiteY79" fmla="*/ 9341 h 9885"/>
                <a:gd name="connsiteX80" fmla="*/ 4861 w 10000"/>
                <a:gd name="connsiteY80" fmla="*/ 9427 h 9885"/>
                <a:gd name="connsiteX81" fmla="*/ 5174 w 10000"/>
                <a:gd name="connsiteY81" fmla="*/ 9627 h 9885"/>
                <a:gd name="connsiteX82" fmla="*/ 5243 w 10000"/>
                <a:gd name="connsiteY82" fmla="*/ 9742 h 9885"/>
                <a:gd name="connsiteX83" fmla="*/ 5347 w 10000"/>
                <a:gd name="connsiteY83" fmla="*/ 9828 h 9885"/>
                <a:gd name="connsiteX84" fmla="*/ 5417 w 10000"/>
                <a:gd name="connsiteY84" fmla="*/ 9828 h 9885"/>
                <a:gd name="connsiteX85" fmla="*/ 5486 w 10000"/>
                <a:gd name="connsiteY85" fmla="*/ 9828 h 9885"/>
                <a:gd name="connsiteX86" fmla="*/ 5590 w 10000"/>
                <a:gd name="connsiteY86" fmla="*/ 9828 h 9885"/>
                <a:gd name="connsiteX87" fmla="*/ 5764 w 10000"/>
                <a:gd name="connsiteY87" fmla="*/ 9828 h 9885"/>
                <a:gd name="connsiteX88" fmla="*/ 5833 w 10000"/>
                <a:gd name="connsiteY88" fmla="*/ 9828 h 9885"/>
                <a:gd name="connsiteX89" fmla="*/ 6007 w 10000"/>
                <a:gd name="connsiteY89" fmla="*/ 9828 h 9885"/>
                <a:gd name="connsiteX90" fmla="*/ 6076 w 10000"/>
                <a:gd name="connsiteY90" fmla="*/ 9828 h 9885"/>
                <a:gd name="connsiteX91" fmla="*/ 6146 w 10000"/>
                <a:gd name="connsiteY91" fmla="*/ 9885 h 9885"/>
                <a:gd name="connsiteX92" fmla="*/ 6319 w 10000"/>
                <a:gd name="connsiteY92" fmla="*/ 9828 h 9885"/>
                <a:gd name="connsiteX93" fmla="*/ 6493 w 10000"/>
                <a:gd name="connsiteY93" fmla="*/ 9828 h 9885"/>
                <a:gd name="connsiteX94" fmla="*/ 6667 w 10000"/>
                <a:gd name="connsiteY94" fmla="*/ 9742 h 9885"/>
                <a:gd name="connsiteX95" fmla="*/ 6806 w 10000"/>
                <a:gd name="connsiteY95" fmla="*/ 9742 h 9885"/>
                <a:gd name="connsiteX96" fmla="*/ 7049 w 10000"/>
                <a:gd name="connsiteY96" fmla="*/ 9742 h 9885"/>
                <a:gd name="connsiteX97" fmla="*/ 7292 w 10000"/>
                <a:gd name="connsiteY97" fmla="*/ 9627 h 9885"/>
                <a:gd name="connsiteX98" fmla="*/ 7292 w 10000"/>
                <a:gd name="connsiteY98" fmla="*/ 9627 h 9885"/>
                <a:gd name="connsiteX99" fmla="*/ 7292 w 10000"/>
                <a:gd name="connsiteY99" fmla="*/ 9627 h 9885"/>
                <a:gd name="connsiteX100" fmla="*/ 7569 w 10000"/>
                <a:gd name="connsiteY100" fmla="*/ 9427 h 9885"/>
                <a:gd name="connsiteX101" fmla="*/ 7639 w 10000"/>
                <a:gd name="connsiteY101" fmla="*/ 9341 h 9885"/>
                <a:gd name="connsiteX102" fmla="*/ 7813 w 10000"/>
                <a:gd name="connsiteY102" fmla="*/ 9341 h 9885"/>
                <a:gd name="connsiteX103" fmla="*/ 8125 w 10000"/>
                <a:gd name="connsiteY103" fmla="*/ 9427 h 9885"/>
                <a:gd name="connsiteX104" fmla="*/ 8299 w 10000"/>
                <a:gd name="connsiteY104" fmla="*/ 9427 h 9885"/>
                <a:gd name="connsiteX105" fmla="*/ 8472 w 10000"/>
                <a:gd name="connsiteY105" fmla="*/ 9341 h 9885"/>
                <a:gd name="connsiteX106" fmla="*/ 8472 w 10000"/>
                <a:gd name="connsiteY106" fmla="*/ 9140 h 9885"/>
                <a:gd name="connsiteX107" fmla="*/ 8542 w 10000"/>
                <a:gd name="connsiteY107" fmla="*/ 9083 h 9885"/>
                <a:gd name="connsiteX108" fmla="*/ 8472 w 10000"/>
                <a:gd name="connsiteY108" fmla="*/ 8997 h 9885"/>
                <a:gd name="connsiteX109" fmla="*/ 8472 w 10000"/>
                <a:gd name="connsiteY109" fmla="*/ 8939 h 9885"/>
                <a:gd name="connsiteX110" fmla="*/ 8125 w 10000"/>
                <a:gd name="connsiteY110" fmla="*/ 8939 h 9885"/>
                <a:gd name="connsiteX111" fmla="*/ 8056 w 10000"/>
                <a:gd name="connsiteY111" fmla="*/ 8882 h 9885"/>
                <a:gd name="connsiteX112" fmla="*/ 8056 w 10000"/>
                <a:gd name="connsiteY112" fmla="*/ 8796 h 9885"/>
                <a:gd name="connsiteX113" fmla="*/ 7882 w 10000"/>
                <a:gd name="connsiteY113" fmla="*/ 8538 h 9885"/>
                <a:gd name="connsiteX114" fmla="*/ 7882 w 10000"/>
                <a:gd name="connsiteY114" fmla="*/ 8395 h 9885"/>
                <a:gd name="connsiteX115" fmla="*/ 7813 w 10000"/>
                <a:gd name="connsiteY115" fmla="*/ 8338 h 9885"/>
                <a:gd name="connsiteX116" fmla="*/ 7569 w 10000"/>
                <a:gd name="connsiteY116" fmla="*/ 8194 h 9885"/>
                <a:gd name="connsiteX117" fmla="*/ 7465 w 10000"/>
                <a:gd name="connsiteY117" fmla="*/ 8137 h 9885"/>
                <a:gd name="connsiteX118" fmla="*/ 7396 w 10000"/>
                <a:gd name="connsiteY118" fmla="*/ 8051 h 9885"/>
                <a:gd name="connsiteX119" fmla="*/ 7396 w 10000"/>
                <a:gd name="connsiteY119" fmla="*/ 7994 h 9885"/>
                <a:gd name="connsiteX120" fmla="*/ 7292 w 10000"/>
                <a:gd name="connsiteY120" fmla="*/ 7851 h 9885"/>
                <a:gd name="connsiteX121" fmla="*/ 7222 w 10000"/>
                <a:gd name="connsiteY121" fmla="*/ 7851 h 9885"/>
                <a:gd name="connsiteX122" fmla="*/ 7049 w 10000"/>
                <a:gd name="connsiteY122" fmla="*/ 7793 h 9885"/>
                <a:gd name="connsiteX123" fmla="*/ 6979 w 10000"/>
                <a:gd name="connsiteY123" fmla="*/ 7793 h 9885"/>
                <a:gd name="connsiteX124" fmla="*/ 6910 w 10000"/>
                <a:gd name="connsiteY124" fmla="*/ 7793 h 9885"/>
                <a:gd name="connsiteX125" fmla="*/ 6806 w 10000"/>
                <a:gd name="connsiteY125" fmla="*/ 7793 h 9885"/>
                <a:gd name="connsiteX126" fmla="*/ 6736 w 10000"/>
                <a:gd name="connsiteY126" fmla="*/ 7736 h 9885"/>
                <a:gd name="connsiteX127" fmla="*/ 6806 w 10000"/>
                <a:gd name="connsiteY127" fmla="*/ 7650 h 9885"/>
                <a:gd name="connsiteX128" fmla="*/ 6910 w 10000"/>
                <a:gd name="connsiteY128" fmla="*/ 7593 h 9885"/>
                <a:gd name="connsiteX129" fmla="*/ 6910 w 10000"/>
                <a:gd name="connsiteY129" fmla="*/ 7449 h 9885"/>
                <a:gd name="connsiteX130" fmla="*/ 6979 w 10000"/>
                <a:gd name="connsiteY130" fmla="*/ 7449 h 9885"/>
                <a:gd name="connsiteX131" fmla="*/ 7222 w 10000"/>
                <a:gd name="connsiteY131" fmla="*/ 7449 h 9885"/>
                <a:gd name="connsiteX132" fmla="*/ 7396 w 10000"/>
                <a:gd name="connsiteY132" fmla="*/ 7449 h 9885"/>
                <a:gd name="connsiteX133" fmla="*/ 7465 w 10000"/>
                <a:gd name="connsiteY133" fmla="*/ 7392 h 9885"/>
                <a:gd name="connsiteX134" fmla="*/ 7465 w 10000"/>
                <a:gd name="connsiteY134" fmla="*/ 7249 h 9885"/>
                <a:gd name="connsiteX135" fmla="*/ 7465 w 10000"/>
                <a:gd name="connsiteY135" fmla="*/ 6848 h 9885"/>
                <a:gd name="connsiteX136" fmla="*/ 7465 w 10000"/>
                <a:gd name="connsiteY136" fmla="*/ 6704 h 9885"/>
                <a:gd name="connsiteX137" fmla="*/ 7569 w 10000"/>
                <a:gd name="connsiteY137" fmla="*/ 6561 h 9885"/>
                <a:gd name="connsiteX138" fmla="*/ 7465 w 10000"/>
                <a:gd name="connsiteY138" fmla="*/ 6504 h 9885"/>
                <a:gd name="connsiteX139" fmla="*/ 7465 w 10000"/>
                <a:gd name="connsiteY139" fmla="*/ 6447 h 9885"/>
                <a:gd name="connsiteX140" fmla="*/ 7569 w 10000"/>
                <a:gd name="connsiteY140" fmla="*/ 6447 h 9885"/>
                <a:gd name="connsiteX141" fmla="*/ 7569 w 10000"/>
                <a:gd name="connsiteY141" fmla="*/ 6361 h 9885"/>
                <a:gd name="connsiteX142" fmla="*/ 7639 w 10000"/>
                <a:gd name="connsiteY142" fmla="*/ 6246 h 9885"/>
                <a:gd name="connsiteX143" fmla="*/ 7708 w 10000"/>
                <a:gd name="connsiteY143" fmla="*/ 6246 h 9885"/>
                <a:gd name="connsiteX144" fmla="*/ 7882 w 10000"/>
                <a:gd name="connsiteY144" fmla="*/ 6246 h 9885"/>
                <a:gd name="connsiteX145" fmla="*/ 7882 w 10000"/>
                <a:gd name="connsiteY145" fmla="*/ 6160 h 9885"/>
                <a:gd name="connsiteX146" fmla="*/ 7951 w 10000"/>
                <a:gd name="connsiteY146" fmla="*/ 5902 h 9885"/>
                <a:gd name="connsiteX147" fmla="*/ 8056 w 10000"/>
                <a:gd name="connsiteY147" fmla="*/ 5816 h 9885"/>
                <a:gd name="connsiteX148" fmla="*/ 8368 w 10000"/>
                <a:gd name="connsiteY148" fmla="*/ 5358 h 9885"/>
                <a:gd name="connsiteX149" fmla="*/ 8542 w 10000"/>
                <a:gd name="connsiteY149" fmla="*/ 5300 h 9885"/>
                <a:gd name="connsiteX150" fmla="*/ 8611 w 10000"/>
                <a:gd name="connsiteY150" fmla="*/ 5215 h 9885"/>
                <a:gd name="connsiteX151" fmla="*/ 8715 w 10000"/>
                <a:gd name="connsiteY151" fmla="*/ 5157 h 9885"/>
                <a:gd name="connsiteX152" fmla="*/ 8854 w 10000"/>
                <a:gd name="connsiteY152" fmla="*/ 4613 h 9885"/>
                <a:gd name="connsiteX153" fmla="*/ 8854 w 10000"/>
                <a:gd name="connsiteY153" fmla="*/ 4470 h 9885"/>
                <a:gd name="connsiteX154" fmla="*/ 8854 w 10000"/>
                <a:gd name="connsiteY154" fmla="*/ 4326 h 9885"/>
                <a:gd name="connsiteX155" fmla="*/ 8854 w 10000"/>
                <a:gd name="connsiteY155" fmla="*/ 4212 h 9885"/>
                <a:gd name="connsiteX156" fmla="*/ 8854 w 10000"/>
                <a:gd name="connsiteY156" fmla="*/ 4011 h 9885"/>
                <a:gd name="connsiteX157" fmla="*/ 8958 w 10000"/>
                <a:gd name="connsiteY157" fmla="*/ 3868 h 9885"/>
                <a:gd name="connsiteX158" fmla="*/ 9097 w 10000"/>
                <a:gd name="connsiteY158" fmla="*/ 3381 h 9885"/>
                <a:gd name="connsiteX159" fmla="*/ 9097 w 10000"/>
                <a:gd name="connsiteY159" fmla="*/ 3323 h 9885"/>
                <a:gd name="connsiteX160" fmla="*/ 9097 w 10000"/>
                <a:gd name="connsiteY160" fmla="*/ 3123 h 9885"/>
                <a:gd name="connsiteX161" fmla="*/ 9201 w 10000"/>
                <a:gd name="connsiteY161" fmla="*/ 3066 h 9885"/>
                <a:gd name="connsiteX162" fmla="*/ 9375 w 10000"/>
                <a:gd name="connsiteY162" fmla="*/ 3066 h 9885"/>
                <a:gd name="connsiteX163" fmla="*/ 9514 w 10000"/>
                <a:gd name="connsiteY163" fmla="*/ 2922 h 9885"/>
                <a:gd name="connsiteX164" fmla="*/ 9688 w 10000"/>
                <a:gd name="connsiteY164" fmla="*/ 2836 h 9885"/>
                <a:gd name="connsiteX165" fmla="*/ 9757 w 10000"/>
                <a:gd name="connsiteY165" fmla="*/ 2779 h 9885"/>
                <a:gd name="connsiteX166" fmla="*/ 9931 w 10000"/>
                <a:gd name="connsiteY166" fmla="*/ 2779 h 9885"/>
                <a:gd name="connsiteX167" fmla="*/ 10000 w 10000"/>
                <a:gd name="connsiteY167" fmla="*/ 2636 h 9885"/>
                <a:gd name="connsiteX168" fmla="*/ 10000 w 10000"/>
                <a:gd name="connsiteY168" fmla="*/ 2521 h 9885"/>
                <a:gd name="connsiteX169" fmla="*/ 10000 w 10000"/>
                <a:gd name="connsiteY169" fmla="*/ 2435 h 9885"/>
                <a:gd name="connsiteX170" fmla="*/ 9931 w 10000"/>
                <a:gd name="connsiteY170" fmla="*/ 2435 h 9885"/>
                <a:gd name="connsiteX171" fmla="*/ 9931 w 10000"/>
                <a:gd name="connsiteY171" fmla="*/ 2435 h 9885"/>
                <a:gd name="connsiteX172" fmla="*/ 9861 w 10000"/>
                <a:gd name="connsiteY172" fmla="*/ 2435 h 9885"/>
                <a:gd name="connsiteX173" fmla="*/ 9861 w 10000"/>
                <a:gd name="connsiteY173" fmla="*/ 2321 h 9885"/>
                <a:gd name="connsiteX174" fmla="*/ 9757 w 10000"/>
                <a:gd name="connsiteY174" fmla="*/ 2235 h 9885"/>
                <a:gd name="connsiteX175" fmla="*/ 9688 w 10000"/>
                <a:gd name="connsiteY175" fmla="*/ 2235 h 9885"/>
                <a:gd name="connsiteX176" fmla="*/ 9514 w 10000"/>
                <a:gd name="connsiteY176" fmla="*/ 2177 h 9885"/>
                <a:gd name="connsiteX177" fmla="*/ 9271 w 10000"/>
                <a:gd name="connsiteY177" fmla="*/ 945 h 9885"/>
                <a:gd name="connsiteX178" fmla="*/ 9271 w 10000"/>
                <a:gd name="connsiteY178" fmla="*/ 945 h 9885"/>
                <a:gd name="connsiteX179" fmla="*/ 9271 w 10000"/>
                <a:gd name="connsiteY179" fmla="*/ 888 h 9885"/>
                <a:gd name="connsiteX180" fmla="*/ 9097 w 10000"/>
                <a:gd name="connsiteY180" fmla="*/ 687 h 9885"/>
                <a:gd name="connsiteX181" fmla="*/ 9097 w 10000"/>
                <a:gd name="connsiteY181" fmla="*/ 487 h 9885"/>
                <a:gd name="connsiteX182" fmla="*/ 8854 w 10000"/>
                <a:gd name="connsiteY182" fmla="*/ 286 h 9885"/>
                <a:gd name="connsiteX183" fmla="*/ 8715 w 10000"/>
                <a:gd name="connsiteY183" fmla="*/ 143 h 9885"/>
                <a:gd name="connsiteX184" fmla="*/ 8611 w 10000"/>
                <a:gd name="connsiteY184" fmla="*/ 86 h 9885"/>
                <a:gd name="connsiteX185" fmla="*/ 8472 w 10000"/>
                <a:gd name="connsiteY185" fmla="*/ 0 h 9885"/>
                <a:gd name="connsiteX186" fmla="*/ 8056 w 10000"/>
                <a:gd name="connsiteY186" fmla="*/ 86 h 9885"/>
                <a:gd name="connsiteX187" fmla="*/ 7813 w 10000"/>
                <a:gd name="connsiteY187" fmla="*/ 286 h 9885"/>
                <a:gd name="connsiteX188" fmla="*/ 7465 w 10000"/>
                <a:gd name="connsiteY188" fmla="*/ 343 h 9885"/>
                <a:gd name="connsiteX189" fmla="*/ 7049 w 10000"/>
                <a:gd name="connsiteY189" fmla="*/ 630 h 9885"/>
                <a:gd name="connsiteX190" fmla="*/ 6910 w 10000"/>
                <a:gd name="connsiteY190" fmla="*/ 487 h 9885"/>
                <a:gd name="connsiteX191" fmla="*/ 6444 w 10000"/>
                <a:gd name="connsiteY191" fmla="*/ 459 h 9885"/>
                <a:gd name="connsiteX192" fmla="*/ 5833 w 10000"/>
                <a:gd name="connsiteY192" fmla="*/ 487 h 9885"/>
                <a:gd name="connsiteX193" fmla="*/ 5833 w 10000"/>
                <a:gd name="connsiteY193" fmla="*/ 343 h 9885"/>
                <a:gd name="connsiteX194" fmla="*/ 5833 w 10000"/>
                <a:gd name="connsiteY194" fmla="*/ 343 h 9885"/>
                <a:gd name="connsiteX195" fmla="*/ 5833 w 10000"/>
                <a:gd name="connsiteY195" fmla="*/ 343 h 9885"/>
                <a:gd name="connsiteX196" fmla="*/ 5764 w 10000"/>
                <a:gd name="connsiteY196" fmla="*/ 343 h 9885"/>
                <a:gd name="connsiteX197" fmla="*/ 5660 w 10000"/>
                <a:gd name="connsiteY197" fmla="*/ 487 h 9885"/>
                <a:gd name="connsiteX198" fmla="*/ 5347 w 10000"/>
                <a:gd name="connsiteY198" fmla="*/ 487 h 9885"/>
                <a:gd name="connsiteX199" fmla="*/ 3056 w 10000"/>
                <a:gd name="connsiteY199" fmla="*/ 487 h 9885"/>
                <a:gd name="connsiteX200" fmla="*/ 2465 w 10000"/>
                <a:gd name="connsiteY200" fmla="*/ 487 h 9885"/>
                <a:gd name="connsiteX201" fmla="*/ 1910 w 10000"/>
                <a:gd name="connsiteY201" fmla="*/ 487 h 9885"/>
                <a:gd name="connsiteX202" fmla="*/ 1910 w 10000"/>
                <a:gd name="connsiteY202" fmla="*/ 487 h 9885"/>
                <a:gd name="connsiteX203" fmla="*/ 1910 w 10000"/>
                <a:gd name="connsiteY203" fmla="*/ 945 h 9885"/>
                <a:gd name="connsiteX204" fmla="*/ 1910 w 10000"/>
                <a:gd name="connsiteY204" fmla="*/ 1490 h 9885"/>
                <a:gd name="connsiteX205" fmla="*/ 1319 w 10000"/>
                <a:gd name="connsiteY205" fmla="*/ 1490 h 9885"/>
                <a:gd name="connsiteX206" fmla="*/ 1319 w 10000"/>
                <a:gd name="connsiteY206" fmla="*/ 1776 h 9885"/>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6910 w 10000"/>
                <a:gd name="connsiteY189" fmla="*/ 493 h 10000"/>
                <a:gd name="connsiteX190" fmla="*/ 6444 w 10000"/>
                <a:gd name="connsiteY190" fmla="*/ 464 h 10000"/>
                <a:gd name="connsiteX191" fmla="*/ 5833 w 10000"/>
                <a:gd name="connsiteY191" fmla="*/ 493 h 10000"/>
                <a:gd name="connsiteX192" fmla="*/ 5833 w 10000"/>
                <a:gd name="connsiteY192" fmla="*/ 347 h 10000"/>
                <a:gd name="connsiteX193" fmla="*/ 5833 w 10000"/>
                <a:gd name="connsiteY193" fmla="*/ 347 h 10000"/>
                <a:gd name="connsiteX194" fmla="*/ 5833 w 10000"/>
                <a:gd name="connsiteY194" fmla="*/ 347 h 10000"/>
                <a:gd name="connsiteX195" fmla="*/ 5764 w 10000"/>
                <a:gd name="connsiteY195" fmla="*/ 347 h 10000"/>
                <a:gd name="connsiteX196" fmla="*/ 5660 w 10000"/>
                <a:gd name="connsiteY196" fmla="*/ 493 h 10000"/>
                <a:gd name="connsiteX197" fmla="*/ 5347 w 10000"/>
                <a:gd name="connsiteY197" fmla="*/ 493 h 10000"/>
                <a:gd name="connsiteX198" fmla="*/ 3056 w 10000"/>
                <a:gd name="connsiteY198" fmla="*/ 493 h 10000"/>
                <a:gd name="connsiteX199" fmla="*/ 2465 w 10000"/>
                <a:gd name="connsiteY199" fmla="*/ 493 h 10000"/>
                <a:gd name="connsiteX200" fmla="*/ 1910 w 10000"/>
                <a:gd name="connsiteY200" fmla="*/ 493 h 10000"/>
                <a:gd name="connsiteX201" fmla="*/ 1910 w 10000"/>
                <a:gd name="connsiteY201" fmla="*/ 493 h 10000"/>
                <a:gd name="connsiteX202" fmla="*/ 1910 w 10000"/>
                <a:gd name="connsiteY202" fmla="*/ 956 h 10000"/>
                <a:gd name="connsiteX203" fmla="*/ 1910 w 10000"/>
                <a:gd name="connsiteY203" fmla="*/ 1507 h 10000"/>
                <a:gd name="connsiteX204" fmla="*/ 1319 w 10000"/>
                <a:gd name="connsiteY204" fmla="*/ 1507 h 10000"/>
                <a:gd name="connsiteX205" fmla="*/ 1319 w 10000"/>
                <a:gd name="connsiteY205" fmla="*/ 1797 h 10000"/>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6444 w 10000"/>
                <a:gd name="connsiteY189" fmla="*/ 464 h 10000"/>
                <a:gd name="connsiteX190" fmla="*/ 5833 w 10000"/>
                <a:gd name="connsiteY190" fmla="*/ 493 h 10000"/>
                <a:gd name="connsiteX191" fmla="*/ 5833 w 10000"/>
                <a:gd name="connsiteY191" fmla="*/ 347 h 10000"/>
                <a:gd name="connsiteX192" fmla="*/ 5833 w 10000"/>
                <a:gd name="connsiteY192" fmla="*/ 347 h 10000"/>
                <a:gd name="connsiteX193" fmla="*/ 5833 w 10000"/>
                <a:gd name="connsiteY193" fmla="*/ 347 h 10000"/>
                <a:gd name="connsiteX194" fmla="*/ 5764 w 10000"/>
                <a:gd name="connsiteY194" fmla="*/ 347 h 10000"/>
                <a:gd name="connsiteX195" fmla="*/ 5660 w 10000"/>
                <a:gd name="connsiteY195" fmla="*/ 493 h 10000"/>
                <a:gd name="connsiteX196" fmla="*/ 5347 w 10000"/>
                <a:gd name="connsiteY196" fmla="*/ 493 h 10000"/>
                <a:gd name="connsiteX197" fmla="*/ 3056 w 10000"/>
                <a:gd name="connsiteY197" fmla="*/ 493 h 10000"/>
                <a:gd name="connsiteX198" fmla="*/ 2465 w 10000"/>
                <a:gd name="connsiteY198" fmla="*/ 493 h 10000"/>
                <a:gd name="connsiteX199" fmla="*/ 1910 w 10000"/>
                <a:gd name="connsiteY199" fmla="*/ 493 h 10000"/>
                <a:gd name="connsiteX200" fmla="*/ 1910 w 10000"/>
                <a:gd name="connsiteY200" fmla="*/ 493 h 10000"/>
                <a:gd name="connsiteX201" fmla="*/ 1910 w 10000"/>
                <a:gd name="connsiteY201" fmla="*/ 956 h 10000"/>
                <a:gd name="connsiteX202" fmla="*/ 1910 w 10000"/>
                <a:gd name="connsiteY202" fmla="*/ 1507 h 10000"/>
                <a:gd name="connsiteX203" fmla="*/ 1319 w 10000"/>
                <a:gd name="connsiteY203" fmla="*/ 1507 h 10000"/>
                <a:gd name="connsiteX204" fmla="*/ 1319 w 10000"/>
                <a:gd name="connsiteY204" fmla="*/ 1797 h 10000"/>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5833 w 10000"/>
                <a:gd name="connsiteY189" fmla="*/ 493 h 10000"/>
                <a:gd name="connsiteX190" fmla="*/ 5833 w 10000"/>
                <a:gd name="connsiteY190" fmla="*/ 347 h 10000"/>
                <a:gd name="connsiteX191" fmla="*/ 5833 w 10000"/>
                <a:gd name="connsiteY191" fmla="*/ 347 h 10000"/>
                <a:gd name="connsiteX192" fmla="*/ 5833 w 10000"/>
                <a:gd name="connsiteY192" fmla="*/ 347 h 10000"/>
                <a:gd name="connsiteX193" fmla="*/ 5764 w 10000"/>
                <a:gd name="connsiteY193" fmla="*/ 347 h 10000"/>
                <a:gd name="connsiteX194" fmla="*/ 5660 w 10000"/>
                <a:gd name="connsiteY194" fmla="*/ 493 h 10000"/>
                <a:gd name="connsiteX195" fmla="*/ 5347 w 10000"/>
                <a:gd name="connsiteY195" fmla="*/ 493 h 10000"/>
                <a:gd name="connsiteX196" fmla="*/ 3056 w 10000"/>
                <a:gd name="connsiteY196" fmla="*/ 493 h 10000"/>
                <a:gd name="connsiteX197" fmla="*/ 2465 w 10000"/>
                <a:gd name="connsiteY197" fmla="*/ 493 h 10000"/>
                <a:gd name="connsiteX198" fmla="*/ 1910 w 10000"/>
                <a:gd name="connsiteY198" fmla="*/ 493 h 10000"/>
                <a:gd name="connsiteX199" fmla="*/ 1910 w 10000"/>
                <a:gd name="connsiteY199" fmla="*/ 493 h 10000"/>
                <a:gd name="connsiteX200" fmla="*/ 1910 w 10000"/>
                <a:gd name="connsiteY200" fmla="*/ 956 h 10000"/>
                <a:gd name="connsiteX201" fmla="*/ 1910 w 10000"/>
                <a:gd name="connsiteY201" fmla="*/ 1507 h 10000"/>
                <a:gd name="connsiteX202" fmla="*/ 1319 w 10000"/>
                <a:gd name="connsiteY202" fmla="*/ 1507 h 10000"/>
                <a:gd name="connsiteX203" fmla="*/ 1319 w 10000"/>
                <a:gd name="connsiteY203" fmla="*/ 1797 h 10000"/>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5833 w 10000"/>
                <a:gd name="connsiteY189" fmla="*/ 493 h 10000"/>
                <a:gd name="connsiteX190" fmla="*/ 5833 w 10000"/>
                <a:gd name="connsiteY190" fmla="*/ 347 h 10000"/>
                <a:gd name="connsiteX191" fmla="*/ 5833 w 10000"/>
                <a:gd name="connsiteY191" fmla="*/ 347 h 10000"/>
                <a:gd name="connsiteX192" fmla="*/ 5833 w 10000"/>
                <a:gd name="connsiteY192" fmla="*/ 347 h 10000"/>
                <a:gd name="connsiteX193" fmla="*/ 5764 w 10000"/>
                <a:gd name="connsiteY193" fmla="*/ 347 h 10000"/>
                <a:gd name="connsiteX194" fmla="*/ 5660 w 10000"/>
                <a:gd name="connsiteY194" fmla="*/ 493 h 10000"/>
                <a:gd name="connsiteX195" fmla="*/ 3056 w 10000"/>
                <a:gd name="connsiteY195" fmla="*/ 493 h 10000"/>
                <a:gd name="connsiteX196" fmla="*/ 2465 w 10000"/>
                <a:gd name="connsiteY196" fmla="*/ 493 h 10000"/>
                <a:gd name="connsiteX197" fmla="*/ 1910 w 10000"/>
                <a:gd name="connsiteY197" fmla="*/ 493 h 10000"/>
                <a:gd name="connsiteX198" fmla="*/ 1910 w 10000"/>
                <a:gd name="connsiteY198" fmla="*/ 493 h 10000"/>
                <a:gd name="connsiteX199" fmla="*/ 1910 w 10000"/>
                <a:gd name="connsiteY199" fmla="*/ 956 h 10000"/>
                <a:gd name="connsiteX200" fmla="*/ 1910 w 10000"/>
                <a:gd name="connsiteY200" fmla="*/ 1507 h 10000"/>
                <a:gd name="connsiteX201" fmla="*/ 1319 w 10000"/>
                <a:gd name="connsiteY201" fmla="*/ 1507 h 10000"/>
                <a:gd name="connsiteX202" fmla="*/ 1319 w 10000"/>
                <a:gd name="connsiteY202" fmla="*/ 1797 h 10000"/>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5833 w 10000"/>
                <a:gd name="connsiteY189" fmla="*/ 493 h 10000"/>
                <a:gd name="connsiteX190" fmla="*/ 5833 w 10000"/>
                <a:gd name="connsiteY190" fmla="*/ 347 h 10000"/>
                <a:gd name="connsiteX191" fmla="*/ 5833 w 10000"/>
                <a:gd name="connsiteY191" fmla="*/ 347 h 10000"/>
                <a:gd name="connsiteX192" fmla="*/ 5833 w 10000"/>
                <a:gd name="connsiteY192" fmla="*/ 347 h 10000"/>
                <a:gd name="connsiteX193" fmla="*/ 5764 w 10000"/>
                <a:gd name="connsiteY193" fmla="*/ 347 h 10000"/>
                <a:gd name="connsiteX194" fmla="*/ 3056 w 10000"/>
                <a:gd name="connsiteY194" fmla="*/ 493 h 10000"/>
                <a:gd name="connsiteX195" fmla="*/ 2465 w 10000"/>
                <a:gd name="connsiteY195" fmla="*/ 493 h 10000"/>
                <a:gd name="connsiteX196" fmla="*/ 1910 w 10000"/>
                <a:gd name="connsiteY196" fmla="*/ 493 h 10000"/>
                <a:gd name="connsiteX197" fmla="*/ 1910 w 10000"/>
                <a:gd name="connsiteY197" fmla="*/ 493 h 10000"/>
                <a:gd name="connsiteX198" fmla="*/ 1910 w 10000"/>
                <a:gd name="connsiteY198" fmla="*/ 956 h 10000"/>
                <a:gd name="connsiteX199" fmla="*/ 1910 w 10000"/>
                <a:gd name="connsiteY199" fmla="*/ 1507 h 10000"/>
                <a:gd name="connsiteX200" fmla="*/ 1319 w 10000"/>
                <a:gd name="connsiteY200" fmla="*/ 1507 h 10000"/>
                <a:gd name="connsiteX201" fmla="*/ 1319 w 10000"/>
                <a:gd name="connsiteY201" fmla="*/ 1797 h 10000"/>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5833 w 10000"/>
                <a:gd name="connsiteY189" fmla="*/ 493 h 10000"/>
                <a:gd name="connsiteX190" fmla="*/ 5833 w 10000"/>
                <a:gd name="connsiteY190" fmla="*/ 347 h 10000"/>
                <a:gd name="connsiteX191" fmla="*/ 5833 w 10000"/>
                <a:gd name="connsiteY191" fmla="*/ 347 h 10000"/>
                <a:gd name="connsiteX192" fmla="*/ 5833 w 10000"/>
                <a:gd name="connsiteY192" fmla="*/ 347 h 10000"/>
                <a:gd name="connsiteX193" fmla="*/ 5764 w 10000"/>
                <a:gd name="connsiteY193" fmla="*/ 347 h 10000"/>
                <a:gd name="connsiteX194" fmla="*/ 3056 w 10000"/>
                <a:gd name="connsiteY194" fmla="*/ 493 h 10000"/>
                <a:gd name="connsiteX195" fmla="*/ 1910 w 10000"/>
                <a:gd name="connsiteY195" fmla="*/ 493 h 10000"/>
                <a:gd name="connsiteX196" fmla="*/ 1910 w 10000"/>
                <a:gd name="connsiteY196" fmla="*/ 493 h 10000"/>
                <a:gd name="connsiteX197" fmla="*/ 1910 w 10000"/>
                <a:gd name="connsiteY197" fmla="*/ 956 h 10000"/>
                <a:gd name="connsiteX198" fmla="*/ 1910 w 10000"/>
                <a:gd name="connsiteY198" fmla="*/ 1507 h 10000"/>
                <a:gd name="connsiteX199" fmla="*/ 1319 w 10000"/>
                <a:gd name="connsiteY199" fmla="*/ 1507 h 10000"/>
                <a:gd name="connsiteX200" fmla="*/ 1319 w 10000"/>
                <a:gd name="connsiteY200" fmla="*/ 1797 h 10000"/>
                <a:gd name="connsiteX0" fmla="*/ 1319 w 10000"/>
                <a:gd name="connsiteY0" fmla="*/ 179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5833 w 10000"/>
                <a:gd name="connsiteY189" fmla="*/ 493 h 10000"/>
                <a:gd name="connsiteX190" fmla="*/ 5833 w 10000"/>
                <a:gd name="connsiteY190" fmla="*/ 347 h 10000"/>
                <a:gd name="connsiteX191" fmla="*/ 5833 w 10000"/>
                <a:gd name="connsiteY191" fmla="*/ 347 h 10000"/>
                <a:gd name="connsiteX192" fmla="*/ 5833 w 10000"/>
                <a:gd name="connsiteY192" fmla="*/ 347 h 10000"/>
                <a:gd name="connsiteX193" fmla="*/ 5764 w 10000"/>
                <a:gd name="connsiteY193" fmla="*/ 347 h 10000"/>
                <a:gd name="connsiteX194" fmla="*/ 3056 w 10000"/>
                <a:gd name="connsiteY194" fmla="*/ 493 h 10000"/>
                <a:gd name="connsiteX195" fmla="*/ 2333 w 10000"/>
                <a:gd name="connsiteY195" fmla="*/ 371 h 10000"/>
                <a:gd name="connsiteX196" fmla="*/ 1910 w 10000"/>
                <a:gd name="connsiteY196" fmla="*/ 493 h 10000"/>
                <a:gd name="connsiteX197" fmla="*/ 1910 w 10000"/>
                <a:gd name="connsiteY197" fmla="*/ 493 h 10000"/>
                <a:gd name="connsiteX198" fmla="*/ 1910 w 10000"/>
                <a:gd name="connsiteY198" fmla="*/ 956 h 10000"/>
                <a:gd name="connsiteX199" fmla="*/ 1910 w 10000"/>
                <a:gd name="connsiteY199" fmla="*/ 1507 h 10000"/>
                <a:gd name="connsiteX200" fmla="*/ 1319 w 10000"/>
                <a:gd name="connsiteY200" fmla="*/ 1507 h 10000"/>
                <a:gd name="connsiteX201" fmla="*/ 1319 w 10000"/>
                <a:gd name="connsiteY201" fmla="*/ 1797 h 10000"/>
                <a:gd name="connsiteX0" fmla="*/ 1319 w 10000"/>
                <a:gd name="connsiteY0" fmla="*/ 1507 h 10000"/>
                <a:gd name="connsiteX1" fmla="*/ 1319 w 10000"/>
                <a:gd name="connsiteY1" fmla="*/ 2348 h 10000"/>
                <a:gd name="connsiteX2" fmla="*/ 1319 w 10000"/>
                <a:gd name="connsiteY2" fmla="*/ 2811 h 10000"/>
                <a:gd name="connsiteX3" fmla="*/ 1319 w 10000"/>
                <a:gd name="connsiteY3" fmla="*/ 3304 h 10000"/>
                <a:gd name="connsiteX4" fmla="*/ 1319 w 10000"/>
                <a:gd name="connsiteY4" fmla="*/ 3768 h 10000"/>
                <a:gd name="connsiteX5" fmla="*/ 1250 w 10000"/>
                <a:gd name="connsiteY5" fmla="*/ 3768 h 10000"/>
                <a:gd name="connsiteX6" fmla="*/ 903 w 10000"/>
                <a:gd name="connsiteY6" fmla="*/ 3768 h 10000"/>
                <a:gd name="connsiteX7" fmla="*/ 833 w 10000"/>
                <a:gd name="connsiteY7" fmla="*/ 3768 h 10000"/>
                <a:gd name="connsiteX8" fmla="*/ 660 w 10000"/>
                <a:gd name="connsiteY8" fmla="*/ 3768 h 10000"/>
                <a:gd name="connsiteX9" fmla="*/ 660 w 10000"/>
                <a:gd name="connsiteY9" fmla="*/ 3855 h 10000"/>
                <a:gd name="connsiteX10" fmla="*/ 660 w 10000"/>
                <a:gd name="connsiteY10" fmla="*/ 3913 h 10000"/>
                <a:gd name="connsiteX11" fmla="*/ 660 w 10000"/>
                <a:gd name="connsiteY11" fmla="*/ 3971 h 10000"/>
                <a:gd name="connsiteX12" fmla="*/ 590 w 10000"/>
                <a:gd name="connsiteY12" fmla="*/ 4115 h 10000"/>
                <a:gd name="connsiteX13" fmla="*/ 486 w 10000"/>
                <a:gd name="connsiteY13" fmla="*/ 4261 h 10000"/>
                <a:gd name="connsiteX14" fmla="*/ 243 w 10000"/>
                <a:gd name="connsiteY14" fmla="*/ 4463 h 10000"/>
                <a:gd name="connsiteX15" fmla="*/ 243 w 10000"/>
                <a:gd name="connsiteY15" fmla="*/ 4522 h 10000"/>
                <a:gd name="connsiteX16" fmla="*/ 347 w 10000"/>
                <a:gd name="connsiteY16" fmla="*/ 4608 h 10000"/>
                <a:gd name="connsiteX17" fmla="*/ 243 w 10000"/>
                <a:gd name="connsiteY17" fmla="*/ 4667 h 10000"/>
                <a:gd name="connsiteX18" fmla="*/ 243 w 10000"/>
                <a:gd name="connsiteY18" fmla="*/ 4667 h 10000"/>
                <a:gd name="connsiteX19" fmla="*/ 174 w 10000"/>
                <a:gd name="connsiteY19" fmla="*/ 4724 h 10000"/>
                <a:gd name="connsiteX20" fmla="*/ 174 w 10000"/>
                <a:gd name="connsiteY20" fmla="*/ 4724 h 10000"/>
                <a:gd name="connsiteX21" fmla="*/ 174 w 10000"/>
                <a:gd name="connsiteY21" fmla="*/ 4869 h 10000"/>
                <a:gd name="connsiteX22" fmla="*/ 174 w 10000"/>
                <a:gd name="connsiteY22" fmla="*/ 5015 h 10000"/>
                <a:gd name="connsiteX23" fmla="*/ 104 w 10000"/>
                <a:gd name="connsiteY23" fmla="*/ 5072 h 10000"/>
                <a:gd name="connsiteX24" fmla="*/ 0 w 10000"/>
                <a:gd name="connsiteY24" fmla="*/ 5130 h 10000"/>
                <a:gd name="connsiteX25" fmla="*/ 0 w 10000"/>
                <a:gd name="connsiteY25" fmla="*/ 5217 h 10000"/>
                <a:gd name="connsiteX26" fmla="*/ 0 w 10000"/>
                <a:gd name="connsiteY26" fmla="*/ 5362 h 10000"/>
                <a:gd name="connsiteX27" fmla="*/ 104 w 10000"/>
                <a:gd name="connsiteY27" fmla="*/ 5362 h 10000"/>
                <a:gd name="connsiteX28" fmla="*/ 104 w 10000"/>
                <a:gd name="connsiteY28" fmla="*/ 5362 h 10000"/>
                <a:gd name="connsiteX29" fmla="*/ 347 w 10000"/>
                <a:gd name="connsiteY29" fmla="*/ 5276 h 10000"/>
                <a:gd name="connsiteX30" fmla="*/ 243 w 10000"/>
                <a:gd name="connsiteY30" fmla="*/ 5478 h 10000"/>
                <a:gd name="connsiteX31" fmla="*/ 347 w 10000"/>
                <a:gd name="connsiteY31" fmla="*/ 5623 h 10000"/>
                <a:gd name="connsiteX32" fmla="*/ 486 w 10000"/>
                <a:gd name="connsiteY32" fmla="*/ 5884 h 10000"/>
                <a:gd name="connsiteX33" fmla="*/ 486 w 10000"/>
                <a:gd name="connsiteY33" fmla="*/ 5971 h 10000"/>
                <a:gd name="connsiteX34" fmla="*/ 590 w 10000"/>
                <a:gd name="connsiteY34" fmla="*/ 5971 h 10000"/>
                <a:gd name="connsiteX35" fmla="*/ 590 w 10000"/>
                <a:gd name="connsiteY35" fmla="*/ 6028 h 10000"/>
                <a:gd name="connsiteX36" fmla="*/ 660 w 10000"/>
                <a:gd name="connsiteY36" fmla="*/ 6087 h 10000"/>
                <a:gd name="connsiteX37" fmla="*/ 660 w 10000"/>
                <a:gd name="connsiteY37" fmla="*/ 6174 h 10000"/>
                <a:gd name="connsiteX38" fmla="*/ 486 w 10000"/>
                <a:gd name="connsiteY38" fmla="*/ 6232 h 10000"/>
                <a:gd name="connsiteX39" fmla="*/ 660 w 10000"/>
                <a:gd name="connsiteY39" fmla="*/ 6319 h 10000"/>
                <a:gd name="connsiteX40" fmla="*/ 833 w 10000"/>
                <a:gd name="connsiteY40" fmla="*/ 6522 h 10000"/>
                <a:gd name="connsiteX41" fmla="*/ 1007 w 10000"/>
                <a:gd name="connsiteY41" fmla="*/ 6724 h 10000"/>
                <a:gd name="connsiteX42" fmla="*/ 1076 w 10000"/>
                <a:gd name="connsiteY42" fmla="*/ 6841 h 10000"/>
                <a:gd name="connsiteX43" fmla="*/ 1007 w 10000"/>
                <a:gd name="connsiteY43" fmla="*/ 6985 h 10000"/>
                <a:gd name="connsiteX44" fmla="*/ 1007 w 10000"/>
                <a:gd name="connsiteY44" fmla="*/ 7189 h 10000"/>
                <a:gd name="connsiteX45" fmla="*/ 1007 w 10000"/>
                <a:gd name="connsiteY45" fmla="*/ 7276 h 10000"/>
                <a:gd name="connsiteX46" fmla="*/ 1146 w 10000"/>
                <a:gd name="connsiteY46" fmla="*/ 7391 h 10000"/>
                <a:gd name="connsiteX47" fmla="*/ 1250 w 10000"/>
                <a:gd name="connsiteY47" fmla="*/ 7391 h 10000"/>
                <a:gd name="connsiteX48" fmla="*/ 1389 w 10000"/>
                <a:gd name="connsiteY48" fmla="*/ 7391 h 10000"/>
                <a:gd name="connsiteX49" fmla="*/ 1493 w 10000"/>
                <a:gd name="connsiteY49" fmla="*/ 7536 h 10000"/>
                <a:gd name="connsiteX50" fmla="*/ 1563 w 10000"/>
                <a:gd name="connsiteY50" fmla="*/ 7594 h 10000"/>
                <a:gd name="connsiteX51" fmla="*/ 1806 w 10000"/>
                <a:gd name="connsiteY51" fmla="*/ 7594 h 10000"/>
                <a:gd name="connsiteX52" fmla="*/ 1910 w 10000"/>
                <a:gd name="connsiteY52" fmla="*/ 7681 h 10000"/>
                <a:gd name="connsiteX53" fmla="*/ 1979 w 10000"/>
                <a:gd name="connsiteY53" fmla="*/ 7739 h 10000"/>
                <a:gd name="connsiteX54" fmla="*/ 2049 w 10000"/>
                <a:gd name="connsiteY54" fmla="*/ 7739 h 10000"/>
                <a:gd name="connsiteX55" fmla="*/ 1979 w 10000"/>
                <a:gd name="connsiteY55" fmla="*/ 7884 h 10000"/>
                <a:gd name="connsiteX56" fmla="*/ 2049 w 10000"/>
                <a:gd name="connsiteY56" fmla="*/ 7942 h 10000"/>
                <a:gd name="connsiteX57" fmla="*/ 2292 w 10000"/>
                <a:gd name="connsiteY57" fmla="*/ 8087 h 10000"/>
                <a:gd name="connsiteX58" fmla="*/ 2465 w 10000"/>
                <a:gd name="connsiteY58" fmla="*/ 8232 h 10000"/>
                <a:gd name="connsiteX59" fmla="*/ 2535 w 10000"/>
                <a:gd name="connsiteY59" fmla="*/ 8289 h 10000"/>
                <a:gd name="connsiteX60" fmla="*/ 2708 w 10000"/>
                <a:gd name="connsiteY60" fmla="*/ 8348 h 10000"/>
                <a:gd name="connsiteX61" fmla="*/ 2708 w 10000"/>
                <a:gd name="connsiteY61" fmla="*/ 8435 h 10000"/>
                <a:gd name="connsiteX62" fmla="*/ 2813 w 10000"/>
                <a:gd name="connsiteY62" fmla="*/ 8580 h 10000"/>
                <a:gd name="connsiteX63" fmla="*/ 2882 w 10000"/>
                <a:gd name="connsiteY63" fmla="*/ 8637 h 10000"/>
                <a:gd name="connsiteX64" fmla="*/ 2882 w 10000"/>
                <a:gd name="connsiteY64" fmla="*/ 8696 h 10000"/>
                <a:gd name="connsiteX65" fmla="*/ 2951 w 10000"/>
                <a:gd name="connsiteY65" fmla="*/ 8783 h 10000"/>
                <a:gd name="connsiteX66" fmla="*/ 3299 w 10000"/>
                <a:gd name="connsiteY66" fmla="*/ 8898 h 10000"/>
                <a:gd name="connsiteX67" fmla="*/ 3368 w 10000"/>
                <a:gd name="connsiteY67" fmla="*/ 9043 h 10000"/>
                <a:gd name="connsiteX68" fmla="*/ 3368 w 10000"/>
                <a:gd name="connsiteY68" fmla="*/ 9102 h 10000"/>
                <a:gd name="connsiteX69" fmla="*/ 3438 w 10000"/>
                <a:gd name="connsiteY69" fmla="*/ 9189 h 10000"/>
                <a:gd name="connsiteX70" fmla="*/ 3542 w 10000"/>
                <a:gd name="connsiteY70" fmla="*/ 9246 h 10000"/>
                <a:gd name="connsiteX71" fmla="*/ 3715 w 10000"/>
                <a:gd name="connsiteY71" fmla="*/ 9391 h 10000"/>
                <a:gd name="connsiteX72" fmla="*/ 3715 w 10000"/>
                <a:gd name="connsiteY72" fmla="*/ 9450 h 10000"/>
                <a:gd name="connsiteX73" fmla="*/ 3785 w 10000"/>
                <a:gd name="connsiteY73" fmla="*/ 9537 h 10000"/>
                <a:gd name="connsiteX74" fmla="*/ 4028 w 10000"/>
                <a:gd name="connsiteY74" fmla="*/ 9594 h 10000"/>
                <a:gd name="connsiteX75" fmla="*/ 4097 w 10000"/>
                <a:gd name="connsiteY75" fmla="*/ 9594 h 10000"/>
                <a:gd name="connsiteX76" fmla="*/ 4201 w 10000"/>
                <a:gd name="connsiteY76" fmla="*/ 9537 h 10000"/>
                <a:gd name="connsiteX77" fmla="*/ 4444 w 10000"/>
                <a:gd name="connsiteY77" fmla="*/ 9594 h 10000"/>
                <a:gd name="connsiteX78" fmla="*/ 4618 w 10000"/>
                <a:gd name="connsiteY78" fmla="*/ 9537 h 10000"/>
                <a:gd name="connsiteX79" fmla="*/ 4757 w 10000"/>
                <a:gd name="connsiteY79" fmla="*/ 9450 h 10000"/>
                <a:gd name="connsiteX80" fmla="*/ 4861 w 10000"/>
                <a:gd name="connsiteY80" fmla="*/ 9537 h 10000"/>
                <a:gd name="connsiteX81" fmla="*/ 5174 w 10000"/>
                <a:gd name="connsiteY81" fmla="*/ 9739 h 10000"/>
                <a:gd name="connsiteX82" fmla="*/ 5243 w 10000"/>
                <a:gd name="connsiteY82" fmla="*/ 9855 h 10000"/>
                <a:gd name="connsiteX83" fmla="*/ 5347 w 10000"/>
                <a:gd name="connsiteY83" fmla="*/ 9942 h 10000"/>
                <a:gd name="connsiteX84" fmla="*/ 5417 w 10000"/>
                <a:gd name="connsiteY84" fmla="*/ 9942 h 10000"/>
                <a:gd name="connsiteX85" fmla="*/ 5486 w 10000"/>
                <a:gd name="connsiteY85" fmla="*/ 9942 h 10000"/>
                <a:gd name="connsiteX86" fmla="*/ 5590 w 10000"/>
                <a:gd name="connsiteY86" fmla="*/ 9942 h 10000"/>
                <a:gd name="connsiteX87" fmla="*/ 5764 w 10000"/>
                <a:gd name="connsiteY87" fmla="*/ 9942 h 10000"/>
                <a:gd name="connsiteX88" fmla="*/ 5833 w 10000"/>
                <a:gd name="connsiteY88" fmla="*/ 9942 h 10000"/>
                <a:gd name="connsiteX89" fmla="*/ 6007 w 10000"/>
                <a:gd name="connsiteY89" fmla="*/ 9942 h 10000"/>
                <a:gd name="connsiteX90" fmla="*/ 6076 w 10000"/>
                <a:gd name="connsiteY90" fmla="*/ 9942 h 10000"/>
                <a:gd name="connsiteX91" fmla="*/ 6146 w 10000"/>
                <a:gd name="connsiteY91" fmla="*/ 10000 h 10000"/>
                <a:gd name="connsiteX92" fmla="*/ 6319 w 10000"/>
                <a:gd name="connsiteY92" fmla="*/ 9942 h 10000"/>
                <a:gd name="connsiteX93" fmla="*/ 6493 w 10000"/>
                <a:gd name="connsiteY93" fmla="*/ 9942 h 10000"/>
                <a:gd name="connsiteX94" fmla="*/ 6667 w 10000"/>
                <a:gd name="connsiteY94" fmla="*/ 9855 h 10000"/>
                <a:gd name="connsiteX95" fmla="*/ 6806 w 10000"/>
                <a:gd name="connsiteY95" fmla="*/ 9855 h 10000"/>
                <a:gd name="connsiteX96" fmla="*/ 7049 w 10000"/>
                <a:gd name="connsiteY96" fmla="*/ 9855 h 10000"/>
                <a:gd name="connsiteX97" fmla="*/ 7292 w 10000"/>
                <a:gd name="connsiteY97" fmla="*/ 9739 h 10000"/>
                <a:gd name="connsiteX98" fmla="*/ 7292 w 10000"/>
                <a:gd name="connsiteY98" fmla="*/ 9739 h 10000"/>
                <a:gd name="connsiteX99" fmla="*/ 7292 w 10000"/>
                <a:gd name="connsiteY99" fmla="*/ 9739 h 10000"/>
                <a:gd name="connsiteX100" fmla="*/ 7569 w 10000"/>
                <a:gd name="connsiteY100" fmla="*/ 9537 h 10000"/>
                <a:gd name="connsiteX101" fmla="*/ 7639 w 10000"/>
                <a:gd name="connsiteY101" fmla="*/ 9450 h 10000"/>
                <a:gd name="connsiteX102" fmla="*/ 7813 w 10000"/>
                <a:gd name="connsiteY102" fmla="*/ 9450 h 10000"/>
                <a:gd name="connsiteX103" fmla="*/ 8125 w 10000"/>
                <a:gd name="connsiteY103" fmla="*/ 9537 h 10000"/>
                <a:gd name="connsiteX104" fmla="*/ 8299 w 10000"/>
                <a:gd name="connsiteY104" fmla="*/ 9537 h 10000"/>
                <a:gd name="connsiteX105" fmla="*/ 8472 w 10000"/>
                <a:gd name="connsiteY105" fmla="*/ 9450 h 10000"/>
                <a:gd name="connsiteX106" fmla="*/ 8472 w 10000"/>
                <a:gd name="connsiteY106" fmla="*/ 9246 h 10000"/>
                <a:gd name="connsiteX107" fmla="*/ 8542 w 10000"/>
                <a:gd name="connsiteY107" fmla="*/ 9189 h 10000"/>
                <a:gd name="connsiteX108" fmla="*/ 8472 w 10000"/>
                <a:gd name="connsiteY108" fmla="*/ 9102 h 10000"/>
                <a:gd name="connsiteX109" fmla="*/ 8472 w 10000"/>
                <a:gd name="connsiteY109" fmla="*/ 9043 h 10000"/>
                <a:gd name="connsiteX110" fmla="*/ 8125 w 10000"/>
                <a:gd name="connsiteY110" fmla="*/ 9043 h 10000"/>
                <a:gd name="connsiteX111" fmla="*/ 8056 w 10000"/>
                <a:gd name="connsiteY111" fmla="*/ 8985 h 10000"/>
                <a:gd name="connsiteX112" fmla="*/ 8056 w 10000"/>
                <a:gd name="connsiteY112" fmla="*/ 8898 h 10000"/>
                <a:gd name="connsiteX113" fmla="*/ 7882 w 10000"/>
                <a:gd name="connsiteY113" fmla="*/ 8637 h 10000"/>
                <a:gd name="connsiteX114" fmla="*/ 7882 w 10000"/>
                <a:gd name="connsiteY114" fmla="*/ 8493 h 10000"/>
                <a:gd name="connsiteX115" fmla="*/ 7813 w 10000"/>
                <a:gd name="connsiteY115" fmla="*/ 8435 h 10000"/>
                <a:gd name="connsiteX116" fmla="*/ 7569 w 10000"/>
                <a:gd name="connsiteY116" fmla="*/ 8289 h 10000"/>
                <a:gd name="connsiteX117" fmla="*/ 7465 w 10000"/>
                <a:gd name="connsiteY117" fmla="*/ 8232 h 10000"/>
                <a:gd name="connsiteX118" fmla="*/ 7396 w 10000"/>
                <a:gd name="connsiteY118" fmla="*/ 8145 h 10000"/>
                <a:gd name="connsiteX119" fmla="*/ 7396 w 10000"/>
                <a:gd name="connsiteY119" fmla="*/ 8087 h 10000"/>
                <a:gd name="connsiteX120" fmla="*/ 7292 w 10000"/>
                <a:gd name="connsiteY120" fmla="*/ 7942 h 10000"/>
                <a:gd name="connsiteX121" fmla="*/ 7222 w 10000"/>
                <a:gd name="connsiteY121" fmla="*/ 7942 h 10000"/>
                <a:gd name="connsiteX122" fmla="*/ 7049 w 10000"/>
                <a:gd name="connsiteY122" fmla="*/ 7884 h 10000"/>
                <a:gd name="connsiteX123" fmla="*/ 6979 w 10000"/>
                <a:gd name="connsiteY123" fmla="*/ 7884 h 10000"/>
                <a:gd name="connsiteX124" fmla="*/ 6910 w 10000"/>
                <a:gd name="connsiteY124" fmla="*/ 7884 h 10000"/>
                <a:gd name="connsiteX125" fmla="*/ 6806 w 10000"/>
                <a:gd name="connsiteY125" fmla="*/ 7884 h 10000"/>
                <a:gd name="connsiteX126" fmla="*/ 6736 w 10000"/>
                <a:gd name="connsiteY126" fmla="*/ 7826 h 10000"/>
                <a:gd name="connsiteX127" fmla="*/ 6806 w 10000"/>
                <a:gd name="connsiteY127" fmla="*/ 7739 h 10000"/>
                <a:gd name="connsiteX128" fmla="*/ 6910 w 10000"/>
                <a:gd name="connsiteY128" fmla="*/ 7681 h 10000"/>
                <a:gd name="connsiteX129" fmla="*/ 6910 w 10000"/>
                <a:gd name="connsiteY129" fmla="*/ 7536 h 10000"/>
                <a:gd name="connsiteX130" fmla="*/ 6979 w 10000"/>
                <a:gd name="connsiteY130" fmla="*/ 7536 h 10000"/>
                <a:gd name="connsiteX131" fmla="*/ 7222 w 10000"/>
                <a:gd name="connsiteY131" fmla="*/ 7536 h 10000"/>
                <a:gd name="connsiteX132" fmla="*/ 7396 w 10000"/>
                <a:gd name="connsiteY132" fmla="*/ 7536 h 10000"/>
                <a:gd name="connsiteX133" fmla="*/ 7465 w 10000"/>
                <a:gd name="connsiteY133" fmla="*/ 7478 h 10000"/>
                <a:gd name="connsiteX134" fmla="*/ 7465 w 10000"/>
                <a:gd name="connsiteY134" fmla="*/ 7333 h 10000"/>
                <a:gd name="connsiteX135" fmla="*/ 7465 w 10000"/>
                <a:gd name="connsiteY135" fmla="*/ 6928 h 10000"/>
                <a:gd name="connsiteX136" fmla="*/ 7465 w 10000"/>
                <a:gd name="connsiteY136" fmla="*/ 6782 h 10000"/>
                <a:gd name="connsiteX137" fmla="*/ 7569 w 10000"/>
                <a:gd name="connsiteY137" fmla="*/ 6637 h 10000"/>
                <a:gd name="connsiteX138" fmla="*/ 7465 w 10000"/>
                <a:gd name="connsiteY138" fmla="*/ 6580 h 10000"/>
                <a:gd name="connsiteX139" fmla="*/ 7465 w 10000"/>
                <a:gd name="connsiteY139" fmla="*/ 6522 h 10000"/>
                <a:gd name="connsiteX140" fmla="*/ 7569 w 10000"/>
                <a:gd name="connsiteY140" fmla="*/ 6522 h 10000"/>
                <a:gd name="connsiteX141" fmla="*/ 7569 w 10000"/>
                <a:gd name="connsiteY141" fmla="*/ 6435 h 10000"/>
                <a:gd name="connsiteX142" fmla="*/ 7639 w 10000"/>
                <a:gd name="connsiteY142" fmla="*/ 6319 h 10000"/>
                <a:gd name="connsiteX143" fmla="*/ 7708 w 10000"/>
                <a:gd name="connsiteY143" fmla="*/ 6319 h 10000"/>
                <a:gd name="connsiteX144" fmla="*/ 7882 w 10000"/>
                <a:gd name="connsiteY144" fmla="*/ 6319 h 10000"/>
                <a:gd name="connsiteX145" fmla="*/ 7882 w 10000"/>
                <a:gd name="connsiteY145" fmla="*/ 6232 h 10000"/>
                <a:gd name="connsiteX146" fmla="*/ 7951 w 10000"/>
                <a:gd name="connsiteY146" fmla="*/ 5971 h 10000"/>
                <a:gd name="connsiteX147" fmla="*/ 8056 w 10000"/>
                <a:gd name="connsiteY147" fmla="*/ 5884 h 10000"/>
                <a:gd name="connsiteX148" fmla="*/ 8368 w 10000"/>
                <a:gd name="connsiteY148" fmla="*/ 5420 h 10000"/>
                <a:gd name="connsiteX149" fmla="*/ 8542 w 10000"/>
                <a:gd name="connsiteY149" fmla="*/ 5362 h 10000"/>
                <a:gd name="connsiteX150" fmla="*/ 8611 w 10000"/>
                <a:gd name="connsiteY150" fmla="*/ 5276 h 10000"/>
                <a:gd name="connsiteX151" fmla="*/ 8715 w 10000"/>
                <a:gd name="connsiteY151" fmla="*/ 5217 h 10000"/>
                <a:gd name="connsiteX152" fmla="*/ 8854 w 10000"/>
                <a:gd name="connsiteY152" fmla="*/ 4667 h 10000"/>
                <a:gd name="connsiteX153" fmla="*/ 8854 w 10000"/>
                <a:gd name="connsiteY153" fmla="*/ 4522 h 10000"/>
                <a:gd name="connsiteX154" fmla="*/ 8854 w 10000"/>
                <a:gd name="connsiteY154" fmla="*/ 4376 h 10000"/>
                <a:gd name="connsiteX155" fmla="*/ 8854 w 10000"/>
                <a:gd name="connsiteY155" fmla="*/ 4261 h 10000"/>
                <a:gd name="connsiteX156" fmla="*/ 8854 w 10000"/>
                <a:gd name="connsiteY156" fmla="*/ 4058 h 10000"/>
                <a:gd name="connsiteX157" fmla="*/ 8958 w 10000"/>
                <a:gd name="connsiteY157" fmla="*/ 3913 h 10000"/>
                <a:gd name="connsiteX158" fmla="*/ 9097 w 10000"/>
                <a:gd name="connsiteY158" fmla="*/ 3420 h 10000"/>
                <a:gd name="connsiteX159" fmla="*/ 9097 w 10000"/>
                <a:gd name="connsiteY159" fmla="*/ 3362 h 10000"/>
                <a:gd name="connsiteX160" fmla="*/ 9097 w 10000"/>
                <a:gd name="connsiteY160" fmla="*/ 3159 h 10000"/>
                <a:gd name="connsiteX161" fmla="*/ 9201 w 10000"/>
                <a:gd name="connsiteY161" fmla="*/ 3102 h 10000"/>
                <a:gd name="connsiteX162" fmla="*/ 9375 w 10000"/>
                <a:gd name="connsiteY162" fmla="*/ 3102 h 10000"/>
                <a:gd name="connsiteX163" fmla="*/ 9514 w 10000"/>
                <a:gd name="connsiteY163" fmla="*/ 2956 h 10000"/>
                <a:gd name="connsiteX164" fmla="*/ 9688 w 10000"/>
                <a:gd name="connsiteY164" fmla="*/ 2869 h 10000"/>
                <a:gd name="connsiteX165" fmla="*/ 9757 w 10000"/>
                <a:gd name="connsiteY165" fmla="*/ 2811 h 10000"/>
                <a:gd name="connsiteX166" fmla="*/ 9931 w 10000"/>
                <a:gd name="connsiteY166" fmla="*/ 2811 h 10000"/>
                <a:gd name="connsiteX167" fmla="*/ 10000 w 10000"/>
                <a:gd name="connsiteY167" fmla="*/ 2667 h 10000"/>
                <a:gd name="connsiteX168" fmla="*/ 10000 w 10000"/>
                <a:gd name="connsiteY168" fmla="*/ 2550 h 10000"/>
                <a:gd name="connsiteX169" fmla="*/ 10000 w 10000"/>
                <a:gd name="connsiteY169" fmla="*/ 2463 h 10000"/>
                <a:gd name="connsiteX170" fmla="*/ 9931 w 10000"/>
                <a:gd name="connsiteY170" fmla="*/ 2463 h 10000"/>
                <a:gd name="connsiteX171" fmla="*/ 9931 w 10000"/>
                <a:gd name="connsiteY171" fmla="*/ 2463 h 10000"/>
                <a:gd name="connsiteX172" fmla="*/ 9861 w 10000"/>
                <a:gd name="connsiteY172" fmla="*/ 2463 h 10000"/>
                <a:gd name="connsiteX173" fmla="*/ 9861 w 10000"/>
                <a:gd name="connsiteY173" fmla="*/ 2348 h 10000"/>
                <a:gd name="connsiteX174" fmla="*/ 9757 w 10000"/>
                <a:gd name="connsiteY174" fmla="*/ 2261 h 10000"/>
                <a:gd name="connsiteX175" fmla="*/ 9688 w 10000"/>
                <a:gd name="connsiteY175" fmla="*/ 2261 h 10000"/>
                <a:gd name="connsiteX176" fmla="*/ 9514 w 10000"/>
                <a:gd name="connsiteY176" fmla="*/ 2202 h 10000"/>
                <a:gd name="connsiteX177" fmla="*/ 9271 w 10000"/>
                <a:gd name="connsiteY177" fmla="*/ 956 h 10000"/>
                <a:gd name="connsiteX178" fmla="*/ 9271 w 10000"/>
                <a:gd name="connsiteY178" fmla="*/ 956 h 10000"/>
                <a:gd name="connsiteX179" fmla="*/ 9271 w 10000"/>
                <a:gd name="connsiteY179" fmla="*/ 898 h 10000"/>
                <a:gd name="connsiteX180" fmla="*/ 9097 w 10000"/>
                <a:gd name="connsiteY180" fmla="*/ 695 h 10000"/>
                <a:gd name="connsiteX181" fmla="*/ 9097 w 10000"/>
                <a:gd name="connsiteY181" fmla="*/ 493 h 10000"/>
                <a:gd name="connsiteX182" fmla="*/ 8854 w 10000"/>
                <a:gd name="connsiteY182" fmla="*/ 289 h 10000"/>
                <a:gd name="connsiteX183" fmla="*/ 8715 w 10000"/>
                <a:gd name="connsiteY183" fmla="*/ 145 h 10000"/>
                <a:gd name="connsiteX184" fmla="*/ 8611 w 10000"/>
                <a:gd name="connsiteY184" fmla="*/ 87 h 10000"/>
                <a:gd name="connsiteX185" fmla="*/ 8472 w 10000"/>
                <a:gd name="connsiteY185" fmla="*/ 0 h 10000"/>
                <a:gd name="connsiteX186" fmla="*/ 8056 w 10000"/>
                <a:gd name="connsiteY186" fmla="*/ 87 h 10000"/>
                <a:gd name="connsiteX187" fmla="*/ 7813 w 10000"/>
                <a:gd name="connsiteY187" fmla="*/ 289 h 10000"/>
                <a:gd name="connsiteX188" fmla="*/ 7049 w 10000"/>
                <a:gd name="connsiteY188" fmla="*/ 637 h 10000"/>
                <a:gd name="connsiteX189" fmla="*/ 5833 w 10000"/>
                <a:gd name="connsiteY189" fmla="*/ 493 h 10000"/>
                <a:gd name="connsiteX190" fmla="*/ 5833 w 10000"/>
                <a:gd name="connsiteY190" fmla="*/ 347 h 10000"/>
                <a:gd name="connsiteX191" fmla="*/ 5833 w 10000"/>
                <a:gd name="connsiteY191" fmla="*/ 347 h 10000"/>
                <a:gd name="connsiteX192" fmla="*/ 5833 w 10000"/>
                <a:gd name="connsiteY192" fmla="*/ 347 h 10000"/>
                <a:gd name="connsiteX193" fmla="*/ 5764 w 10000"/>
                <a:gd name="connsiteY193" fmla="*/ 347 h 10000"/>
                <a:gd name="connsiteX194" fmla="*/ 3056 w 10000"/>
                <a:gd name="connsiteY194" fmla="*/ 493 h 10000"/>
                <a:gd name="connsiteX195" fmla="*/ 2333 w 10000"/>
                <a:gd name="connsiteY195" fmla="*/ 371 h 10000"/>
                <a:gd name="connsiteX196" fmla="*/ 1910 w 10000"/>
                <a:gd name="connsiteY196" fmla="*/ 493 h 10000"/>
                <a:gd name="connsiteX197" fmla="*/ 1910 w 10000"/>
                <a:gd name="connsiteY197" fmla="*/ 493 h 10000"/>
                <a:gd name="connsiteX198" fmla="*/ 1910 w 10000"/>
                <a:gd name="connsiteY198" fmla="*/ 956 h 10000"/>
                <a:gd name="connsiteX199" fmla="*/ 1910 w 10000"/>
                <a:gd name="connsiteY199" fmla="*/ 1507 h 10000"/>
                <a:gd name="connsiteX200" fmla="*/ 1319 w 10000"/>
                <a:gd name="connsiteY200" fmla="*/ 1507 h 10000"/>
                <a:gd name="connsiteX0" fmla="*/ 1319 w 10000"/>
                <a:gd name="connsiteY0" fmla="*/ 1507 h 10000"/>
                <a:gd name="connsiteX1" fmla="*/ 1319 w 10000"/>
                <a:gd name="connsiteY1" fmla="*/ 2811 h 10000"/>
                <a:gd name="connsiteX2" fmla="*/ 1319 w 10000"/>
                <a:gd name="connsiteY2" fmla="*/ 3304 h 10000"/>
                <a:gd name="connsiteX3" fmla="*/ 1319 w 10000"/>
                <a:gd name="connsiteY3" fmla="*/ 3768 h 10000"/>
                <a:gd name="connsiteX4" fmla="*/ 1250 w 10000"/>
                <a:gd name="connsiteY4" fmla="*/ 3768 h 10000"/>
                <a:gd name="connsiteX5" fmla="*/ 903 w 10000"/>
                <a:gd name="connsiteY5" fmla="*/ 3768 h 10000"/>
                <a:gd name="connsiteX6" fmla="*/ 833 w 10000"/>
                <a:gd name="connsiteY6" fmla="*/ 3768 h 10000"/>
                <a:gd name="connsiteX7" fmla="*/ 660 w 10000"/>
                <a:gd name="connsiteY7" fmla="*/ 3768 h 10000"/>
                <a:gd name="connsiteX8" fmla="*/ 660 w 10000"/>
                <a:gd name="connsiteY8" fmla="*/ 3855 h 10000"/>
                <a:gd name="connsiteX9" fmla="*/ 660 w 10000"/>
                <a:gd name="connsiteY9" fmla="*/ 3913 h 10000"/>
                <a:gd name="connsiteX10" fmla="*/ 660 w 10000"/>
                <a:gd name="connsiteY10" fmla="*/ 3971 h 10000"/>
                <a:gd name="connsiteX11" fmla="*/ 590 w 10000"/>
                <a:gd name="connsiteY11" fmla="*/ 4115 h 10000"/>
                <a:gd name="connsiteX12" fmla="*/ 486 w 10000"/>
                <a:gd name="connsiteY12" fmla="*/ 4261 h 10000"/>
                <a:gd name="connsiteX13" fmla="*/ 243 w 10000"/>
                <a:gd name="connsiteY13" fmla="*/ 4463 h 10000"/>
                <a:gd name="connsiteX14" fmla="*/ 243 w 10000"/>
                <a:gd name="connsiteY14" fmla="*/ 4522 h 10000"/>
                <a:gd name="connsiteX15" fmla="*/ 347 w 10000"/>
                <a:gd name="connsiteY15" fmla="*/ 4608 h 10000"/>
                <a:gd name="connsiteX16" fmla="*/ 243 w 10000"/>
                <a:gd name="connsiteY16" fmla="*/ 4667 h 10000"/>
                <a:gd name="connsiteX17" fmla="*/ 243 w 10000"/>
                <a:gd name="connsiteY17" fmla="*/ 4667 h 10000"/>
                <a:gd name="connsiteX18" fmla="*/ 174 w 10000"/>
                <a:gd name="connsiteY18" fmla="*/ 4724 h 10000"/>
                <a:gd name="connsiteX19" fmla="*/ 174 w 10000"/>
                <a:gd name="connsiteY19" fmla="*/ 4724 h 10000"/>
                <a:gd name="connsiteX20" fmla="*/ 174 w 10000"/>
                <a:gd name="connsiteY20" fmla="*/ 4869 h 10000"/>
                <a:gd name="connsiteX21" fmla="*/ 174 w 10000"/>
                <a:gd name="connsiteY21" fmla="*/ 5015 h 10000"/>
                <a:gd name="connsiteX22" fmla="*/ 104 w 10000"/>
                <a:gd name="connsiteY22" fmla="*/ 5072 h 10000"/>
                <a:gd name="connsiteX23" fmla="*/ 0 w 10000"/>
                <a:gd name="connsiteY23" fmla="*/ 5130 h 10000"/>
                <a:gd name="connsiteX24" fmla="*/ 0 w 10000"/>
                <a:gd name="connsiteY24" fmla="*/ 5217 h 10000"/>
                <a:gd name="connsiteX25" fmla="*/ 0 w 10000"/>
                <a:gd name="connsiteY25" fmla="*/ 5362 h 10000"/>
                <a:gd name="connsiteX26" fmla="*/ 104 w 10000"/>
                <a:gd name="connsiteY26" fmla="*/ 5362 h 10000"/>
                <a:gd name="connsiteX27" fmla="*/ 104 w 10000"/>
                <a:gd name="connsiteY27" fmla="*/ 5362 h 10000"/>
                <a:gd name="connsiteX28" fmla="*/ 347 w 10000"/>
                <a:gd name="connsiteY28" fmla="*/ 5276 h 10000"/>
                <a:gd name="connsiteX29" fmla="*/ 243 w 10000"/>
                <a:gd name="connsiteY29" fmla="*/ 5478 h 10000"/>
                <a:gd name="connsiteX30" fmla="*/ 347 w 10000"/>
                <a:gd name="connsiteY30" fmla="*/ 5623 h 10000"/>
                <a:gd name="connsiteX31" fmla="*/ 486 w 10000"/>
                <a:gd name="connsiteY31" fmla="*/ 5884 h 10000"/>
                <a:gd name="connsiteX32" fmla="*/ 486 w 10000"/>
                <a:gd name="connsiteY32" fmla="*/ 5971 h 10000"/>
                <a:gd name="connsiteX33" fmla="*/ 590 w 10000"/>
                <a:gd name="connsiteY33" fmla="*/ 5971 h 10000"/>
                <a:gd name="connsiteX34" fmla="*/ 590 w 10000"/>
                <a:gd name="connsiteY34" fmla="*/ 6028 h 10000"/>
                <a:gd name="connsiteX35" fmla="*/ 660 w 10000"/>
                <a:gd name="connsiteY35" fmla="*/ 6087 h 10000"/>
                <a:gd name="connsiteX36" fmla="*/ 660 w 10000"/>
                <a:gd name="connsiteY36" fmla="*/ 6174 h 10000"/>
                <a:gd name="connsiteX37" fmla="*/ 486 w 10000"/>
                <a:gd name="connsiteY37" fmla="*/ 6232 h 10000"/>
                <a:gd name="connsiteX38" fmla="*/ 660 w 10000"/>
                <a:gd name="connsiteY38" fmla="*/ 6319 h 10000"/>
                <a:gd name="connsiteX39" fmla="*/ 833 w 10000"/>
                <a:gd name="connsiteY39" fmla="*/ 6522 h 10000"/>
                <a:gd name="connsiteX40" fmla="*/ 1007 w 10000"/>
                <a:gd name="connsiteY40" fmla="*/ 6724 h 10000"/>
                <a:gd name="connsiteX41" fmla="*/ 1076 w 10000"/>
                <a:gd name="connsiteY41" fmla="*/ 6841 h 10000"/>
                <a:gd name="connsiteX42" fmla="*/ 1007 w 10000"/>
                <a:gd name="connsiteY42" fmla="*/ 6985 h 10000"/>
                <a:gd name="connsiteX43" fmla="*/ 1007 w 10000"/>
                <a:gd name="connsiteY43" fmla="*/ 7189 h 10000"/>
                <a:gd name="connsiteX44" fmla="*/ 1007 w 10000"/>
                <a:gd name="connsiteY44" fmla="*/ 7276 h 10000"/>
                <a:gd name="connsiteX45" fmla="*/ 1146 w 10000"/>
                <a:gd name="connsiteY45" fmla="*/ 7391 h 10000"/>
                <a:gd name="connsiteX46" fmla="*/ 1250 w 10000"/>
                <a:gd name="connsiteY46" fmla="*/ 7391 h 10000"/>
                <a:gd name="connsiteX47" fmla="*/ 1389 w 10000"/>
                <a:gd name="connsiteY47" fmla="*/ 7391 h 10000"/>
                <a:gd name="connsiteX48" fmla="*/ 1493 w 10000"/>
                <a:gd name="connsiteY48" fmla="*/ 7536 h 10000"/>
                <a:gd name="connsiteX49" fmla="*/ 1563 w 10000"/>
                <a:gd name="connsiteY49" fmla="*/ 7594 h 10000"/>
                <a:gd name="connsiteX50" fmla="*/ 1806 w 10000"/>
                <a:gd name="connsiteY50" fmla="*/ 7594 h 10000"/>
                <a:gd name="connsiteX51" fmla="*/ 1910 w 10000"/>
                <a:gd name="connsiteY51" fmla="*/ 7681 h 10000"/>
                <a:gd name="connsiteX52" fmla="*/ 1979 w 10000"/>
                <a:gd name="connsiteY52" fmla="*/ 7739 h 10000"/>
                <a:gd name="connsiteX53" fmla="*/ 2049 w 10000"/>
                <a:gd name="connsiteY53" fmla="*/ 7739 h 10000"/>
                <a:gd name="connsiteX54" fmla="*/ 1979 w 10000"/>
                <a:gd name="connsiteY54" fmla="*/ 7884 h 10000"/>
                <a:gd name="connsiteX55" fmla="*/ 2049 w 10000"/>
                <a:gd name="connsiteY55" fmla="*/ 7942 h 10000"/>
                <a:gd name="connsiteX56" fmla="*/ 2292 w 10000"/>
                <a:gd name="connsiteY56" fmla="*/ 8087 h 10000"/>
                <a:gd name="connsiteX57" fmla="*/ 2465 w 10000"/>
                <a:gd name="connsiteY57" fmla="*/ 8232 h 10000"/>
                <a:gd name="connsiteX58" fmla="*/ 2535 w 10000"/>
                <a:gd name="connsiteY58" fmla="*/ 8289 h 10000"/>
                <a:gd name="connsiteX59" fmla="*/ 2708 w 10000"/>
                <a:gd name="connsiteY59" fmla="*/ 8348 h 10000"/>
                <a:gd name="connsiteX60" fmla="*/ 2708 w 10000"/>
                <a:gd name="connsiteY60" fmla="*/ 8435 h 10000"/>
                <a:gd name="connsiteX61" fmla="*/ 2813 w 10000"/>
                <a:gd name="connsiteY61" fmla="*/ 8580 h 10000"/>
                <a:gd name="connsiteX62" fmla="*/ 2882 w 10000"/>
                <a:gd name="connsiteY62" fmla="*/ 8637 h 10000"/>
                <a:gd name="connsiteX63" fmla="*/ 2882 w 10000"/>
                <a:gd name="connsiteY63" fmla="*/ 8696 h 10000"/>
                <a:gd name="connsiteX64" fmla="*/ 2951 w 10000"/>
                <a:gd name="connsiteY64" fmla="*/ 8783 h 10000"/>
                <a:gd name="connsiteX65" fmla="*/ 3299 w 10000"/>
                <a:gd name="connsiteY65" fmla="*/ 8898 h 10000"/>
                <a:gd name="connsiteX66" fmla="*/ 3368 w 10000"/>
                <a:gd name="connsiteY66" fmla="*/ 9043 h 10000"/>
                <a:gd name="connsiteX67" fmla="*/ 3368 w 10000"/>
                <a:gd name="connsiteY67" fmla="*/ 9102 h 10000"/>
                <a:gd name="connsiteX68" fmla="*/ 3438 w 10000"/>
                <a:gd name="connsiteY68" fmla="*/ 9189 h 10000"/>
                <a:gd name="connsiteX69" fmla="*/ 3542 w 10000"/>
                <a:gd name="connsiteY69" fmla="*/ 9246 h 10000"/>
                <a:gd name="connsiteX70" fmla="*/ 3715 w 10000"/>
                <a:gd name="connsiteY70" fmla="*/ 9391 h 10000"/>
                <a:gd name="connsiteX71" fmla="*/ 3715 w 10000"/>
                <a:gd name="connsiteY71" fmla="*/ 9450 h 10000"/>
                <a:gd name="connsiteX72" fmla="*/ 3785 w 10000"/>
                <a:gd name="connsiteY72" fmla="*/ 9537 h 10000"/>
                <a:gd name="connsiteX73" fmla="*/ 4028 w 10000"/>
                <a:gd name="connsiteY73" fmla="*/ 9594 h 10000"/>
                <a:gd name="connsiteX74" fmla="*/ 4097 w 10000"/>
                <a:gd name="connsiteY74" fmla="*/ 9594 h 10000"/>
                <a:gd name="connsiteX75" fmla="*/ 4201 w 10000"/>
                <a:gd name="connsiteY75" fmla="*/ 9537 h 10000"/>
                <a:gd name="connsiteX76" fmla="*/ 4444 w 10000"/>
                <a:gd name="connsiteY76" fmla="*/ 9594 h 10000"/>
                <a:gd name="connsiteX77" fmla="*/ 4618 w 10000"/>
                <a:gd name="connsiteY77" fmla="*/ 9537 h 10000"/>
                <a:gd name="connsiteX78" fmla="*/ 4757 w 10000"/>
                <a:gd name="connsiteY78" fmla="*/ 9450 h 10000"/>
                <a:gd name="connsiteX79" fmla="*/ 4861 w 10000"/>
                <a:gd name="connsiteY79" fmla="*/ 9537 h 10000"/>
                <a:gd name="connsiteX80" fmla="*/ 5174 w 10000"/>
                <a:gd name="connsiteY80" fmla="*/ 9739 h 10000"/>
                <a:gd name="connsiteX81" fmla="*/ 5243 w 10000"/>
                <a:gd name="connsiteY81" fmla="*/ 9855 h 10000"/>
                <a:gd name="connsiteX82" fmla="*/ 5347 w 10000"/>
                <a:gd name="connsiteY82" fmla="*/ 9942 h 10000"/>
                <a:gd name="connsiteX83" fmla="*/ 5417 w 10000"/>
                <a:gd name="connsiteY83" fmla="*/ 9942 h 10000"/>
                <a:gd name="connsiteX84" fmla="*/ 5486 w 10000"/>
                <a:gd name="connsiteY84" fmla="*/ 9942 h 10000"/>
                <a:gd name="connsiteX85" fmla="*/ 5590 w 10000"/>
                <a:gd name="connsiteY85" fmla="*/ 9942 h 10000"/>
                <a:gd name="connsiteX86" fmla="*/ 5764 w 10000"/>
                <a:gd name="connsiteY86" fmla="*/ 9942 h 10000"/>
                <a:gd name="connsiteX87" fmla="*/ 5833 w 10000"/>
                <a:gd name="connsiteY87" fmla="*/ 9942 h 10000"/>
                <a:gd name="connsiteX88" fmla="*/ 6007 w 10000"/>
                <a:gd name="connsiteY88" fmla="*/ 9942 h 10000"/>
                <a:gd name="connsiteX89" fmla="*/ 6076 w 10000"/>
                <a:gd name="connsiteY89" fmla="*/ 9942 h 10000"/>
                <a:gd name="connsiteX90" fmla="*/ 6146 w 10000"/>
                <a:gd name="connsiteY90" fmla="*/ 10000 h 10000"/>
                <a:gd name="connsiteX91" fmla="*/ 6319 w 10000"/>
                <a:gd name="connsiteY91" fmla="*/ 9942 h 10000"/>
                <a:gd name="connsiteX92" fmla="*/ 6493 w 10000"/>
                <a:gd name="connsiteY92" fmla="*/ 9942 h 10000"/>
                <a:gd name="connsiteX93" fmla="*/ 6667 w 10000"/>
                <a:gd name="connsiteY93" fmla="*/ 9855 h 10000"/>
                <a:gd name="connsiteX94" fmla="*/ 6806 w 10000"/>
                <a:gd name="connsiteY94" fmla="*/ 9855 h 10000"/>
                <a:gd name="connsiteX95" fmla="*/ 7049 w 10000"/>
                <a:gd name="connsiteY95" fmla="*/ 9855 h 10000"/>
                <a:gd name="connsiteX96" fmla="*/ 7292 w 10000"/>
                <a:gd name="connsiteY96" fmla="*/ 9739 h 10000"/>
                <a:gd name="connsiteX97" fmla="*/ 7292 w 10000"/>
                <a:gd name="connsiteY97" fmla="*/ 9739 h 10000"/>
                <a:gd name="connsiteX98" fmla="*/ 7292 w 10000"/>
                <a:gd name="connsiteY98" fmla="*/ 9739 h 10000"/>
                <a:gd name="connsiteX99" fmla="*/ 7569 w 10000"/>
                <a:gd name="connsiteY99" fmla="*/ 9537 h 10000"/>
                <a:gd name="connsiteX100" fmla="*/ 7639 w 10000"/>
                <a:gd name="connsiteY100" fmla="*/ 9450 h 10000"/>
                <a:gd name="connsiteX101" fmla="*/ 7813 w 10000"/>
                <a:gd name="connsiteY101" fmla="*/ 9450 h 10000"/>
                <a:gd name="connsiteX102" fmla="*/ 8125 w 10000"/>
                <a:gd name="connsiteY102" fmla="*/ 9537 h 10000"/>
                <a:gd name="connsiteX103" fmla="*/ 8299 w 10000"/>
                <a:gd name="connsiteY103" fmla="*/ 9537 h 10000"/>
                <a:gd name="connsiteX104" fmla="*/ 8472 w 10000"/>
                <a:gd name="connsiteY104" fmla="*/ 9450 h 10000"/>
                <a:gd name="connsiteX105" fmla="*/ 8472 w 10000"/>
                <a:gd name="connsiteY105" fmla="*/ 9246 h 10000"/>
                <a:gd name="connsiteX106" fmla="*/ 8542 w 10000"/>
                <a:gd name="connsiteY106" fmla="*/ 9189 h 10000"/>
                <a:gd name="connsiteX107" fmla="*/ 8472 w 10000"/>
                <a:gd name="connsiteY107" fmla="*/ 9102 h 10000"/>
                <a:gd name="connsiteX108" fmla="*/ 8472 w 10000"/>
                <a:gd name="connsiteY108" fmla="*/ 9043 h 10000"/>
                <a:gd name="connsiteX109" fmla="*/ 8125 w 10000"/>
                <a:gd name="connsiteY109" fmla="*/ 9043 h 10000"/>
                <a:gd name="connsiteX110" fmla="*/ 8056 w 10000"/>
                <a:gd name="connsiteY110" fmla="*/ 8985 h 10000"/>
                <a:gd name="connsiteX111" fmla="*/ 8056 w 10000"/>
                <a:gd name="connsiteY111" fmla="*/ 8898 h 10000"/>
                <a:gd name="connsiteX112" fmla="*/ 7882 w 10000"/>
                <a:gd name="connsiteY112" fmla="*/ 8637 h 10000"/>
                <a:gd name="connsiteX113" fmla="*/ 7882 w 10000"/>
                <a:gd name="connsiteY113" fmla="*/ 8493 h 10000"/>
                <a:gd name="connsiteX114" fmla="*/ 7813 w 10000"/>
                <a:gd name="connsiteY114" fmla="*/ 8435 h 10000"/>
                <a:gd name="connsiteX115" fmla="*/ 7569 w 10000"/>
                <a:gd name="connsiteY115" fmla="*/ 8289 h 10000"/>
                <a:gd name="connsiteX116" fmla="*/ 7465 w 10000"/>
                <a:gd name="connsiteY116" fmla="*/ 8232 h 10000"/>
                <a:gd name="connsiteX117" fmla="*/ 7396 w 10000"/>
                <a:gd name="connsiteY117" fmla="*/ 8145 h 10000"/>
                <a:gd name="connsiteX118" fmla="*/ 7396 w 10000"/>
                <a:gd name="connsiteY118" fmla="*/ 8087 h 10000"/>
                <a:gd name="connsiteX119" fmla="*/ 7292 w 10000"/>
                <a:gd name="connsiteY119" fmla="*/ 7942 h 10000"/>
                <a:gd name="connsiteX120" fmla="*/ 7222 w 10000"/>
                <a:gd name="connsiteY120" fmla="*/ 7942 h 10000"/>
                <a:gd name="connsiteX121" fmla="*/ 7049 w 10000"/>
                <a:gd name="connsiteY121" fmla="*/ 7884 h 10000"/>
                <a:gd name="connsiteX122" fmla="*/ 6979 w 10000"/>
                <a:gd name="connsiteY122" fmla="*/ 7884 h 10000"/>
                <a:gd name="connsiteX123" fmla="*/ 6910 w 10000"/>
                <a:gd name="connsiteY123" fmla="*/ 7884 h 10000"/>
                <a:gd name="connsiteX124" fmla="*/ 6806 w 10000"/>
                <a:gd name="connsiteY124" fmla="*/ 7884 h 10000"/>
                <a:gd name="connsiteX125" fmla="*/ 6736 w 10000"/>
                <a:gd name="connsiteY125" fmla="*/ 7826 h 10000"/>
                <a:gd name="connsiteX126" fmla="*/ 6806 w 10000"/>
                <a:gd name="connsiteY126" fmla="*/ 7739 h 10000"/>
                <a:gd name="connsiteX127" fmla="*/ 6910 w 10000"/>
                <a:gd name="connsiteY127" fmla="*/ 7681 h 10000"/>
                <a:gd name="connsiteX128" fmla="*/ 6910 w 10000"/>
                <a:gd name="connsiteY128" fmla="*/ 7536 h 10000"/>
                <a:gd name="connsiteX129" fmla="*/ 6979 w 10000"/>
                <a:gd name="connsiteY129" fmla="*/ 7536 h 10000"/>
                <a:gd name="connsiteX130" fmla="*/ 7222 w 10000"/>
                <a:gd name="connsiteY130" fmla="*/ 7536 h 10000"/>
                <a:gd name="connsiteX131" fmla="*/ 7396 w 10000"/>
                <a:gd name="connsiteY131" fmla="*/ 7536 h 10000"/>
                <a:gd name="connsiteX132" fmla="*/ 7465 w 10000"/>
                <a:gd name="connsiteY132" fmla="*/ 7478 h 10000"/>
                <a:gd name="connsiteX133" fmla="*/ 7465 w 10000"/>
                <a:gd name="connsiteY133" fmla="*/ 7333 h 10000"/>
                <a:gd name="connsiteX134" fmla="*/ 7465 w 10000"/>
                <a:gd name="connsiteY134" fmla="*/ 6928 h 10000"/>
                <a:gd name="connsiteX135" fmla="*/ 7465 w 10000"/>
                <a:gd name="connsiteY135" fmla="*/ 6782 h 10000"/>
                <a:gd name="connsiteX136" fmla="*/ 7569 w 10000"/>
                <a:gd name="connsiteY136" fmla="*/ 6637 h 10000"/>
                <a:gd name="connsiteX137" fmla="*/ 7465 w 10000"/>
                <a:gd name="connsiteY137" fmla="*/ 6580 h 10000"/>
                <a:gd name="connsiteX138" fmla="*/ 7465 w 10000"/>
                <a:gd name="connsiteY138" fmla="*/ 6522 h 10000"/>
                <a:gd name="connsiteX139" fmla="*/ 7569 w 10000"/>
                <a:gd name="connsiteY139" fmla="*/ 6522 h 10000"/>
                <a:gd name="connsiteX140" fmla="*/ 7569 w 10000"/>
                <a:gd name="connsiteY140" fmla="*/ 6435 h 10000"/>
                <a:gd name="connsiteX141" fmla="*/ 7639 w 10000"/>
                <a:gd name="connsiteY141" fmla="*/ 6319 h 10000"/>
                <a:gd name="connsiteX142" fmla="*/ 7708 w 10000"/>
                <a:gd name="connsiteY142" fmla="*/ 6319 h 10000"/>
                <a:gd name="connsiteX143" fmla="*/ 7882 w 10000"/>
                <a:gd name="connsiteY143" fmla="*/ 6319 h 10000"/>
                <a:gd name="connsiteX144" fmla="*/ 7882 w 10000"/>
                <a:gd name="connsiteY144" fmla="*/ 6232 h 10000"/>
                <a:gd name="connsiteX145" fmla="*/ 7951 w 10000"/>
                <a:gd name="connsiteY145" fmla="*/ 5971 h 10000"/>
                <a:gd name="connsiteX146" fmla="*/ 8056 w 10000"/>
                <a:gd name="connsiteY146" fmla="*/ 5884 h 10000"/>
                <a:gd name="connsiteX147" fmla="*/ 8368 w 10000"/>
                <a:gd name="connsiteY147" fmla="*/ 5420 h 10000"/>
                <a:gd name="connsiteX148" fmla="*/ 8542 w 10000"/>
                <a:gd name="connsiteY148" fmla="*/ 5362 h 10000"/>
                <a:gd name="connsiteX149" fmla="*/ 8611 w 10000"/>
                <a:gd name="connsiteY149" fmla="*/ 5276 h 10000"/>
                <a:gd name="connsiteX150" fmla="*/ 8715 w 10000"/>
                <a:gd name="connsiteY150" fmla="*/ 5217 h 10000"/>
                <a:gd name="connsiteX151" fmla="*/ 8854 w 10000"/>
                <a:gd name="connsiteY151" fmla="*/ 4667 h 10000"/>
                <a:gd name="connsiteX152" fmla="*/ 8854 w 10000"/>
                <a:gd name="connsiteY152" fmla="*/ 4522 h 10000"/>
                <a:gd name="connsiteX153" fmla="*/ 8854 w 10000"/>
                <a:gd name="connsiteY153" fmla="*/ 4376 h 10000"/>
                <a:gd name="connsiteX154" fmla="*/ 8854 w 10000"/>
                <a:gd name="connsiteY154" fmla="*/ 4261 h 10000"/>
                <a:gd name="connsiteX155" fmla="*/ 8854 w 10000"/>
                <a:gd name="connsiteY155" fmla="*/ 4058 h 10000"/>
                <a:gd name="connsiteX156" fmla="*/ 8958 w 10000"/>
                <a:gd name="connsiteY156" fmla="*/ 3913 h 10000"/>
                <a:gd name="connsiteX157" fmla="*/ 9097 w 10000"/>
                <a:gd name="connsiteY157" fmla="*/ 3420 h 10000"/>
                <a:gd name="connsiteX158" fmla="*/ 9097 w 10000"/>
                <a:gd name="connsiteY158" fmla="*/ 3362 h 10000"/>
                <a:gd name="connsiteX159" fmla="*/ 9097 w 10000"/>
                <a:gd name="connsiteY159" fmla="*/ 3159 h 10000"/>
                <a:gd name="connsiteX160" fmla="*/ 9201 w 10000"/>
                <a:gd name="connsiteY160" fmla="*/ 3102 h 10000"/>
                <a:gd name="connsiteX161" fmla="*/ 9375 w 10000"/>
                <a:gd name="connsiteY161" fmla="*/ 3102 h 10000"/>
                <a:gd name="connsiteX162" fmla="*/ 9514 w 10000"/>
                <a:gd name="connsiteY162" fmla="*/ 2956 h 10000"/>
                <a:gd name="connsiteX163" fmla="*/ 9688 w 10000"/>
                <a:gd name="connsiteY163" fmla="*/ 2869 h 10000"/>
                <a:gd name="connsiteX164" fmla="*/ 9757 w 10000"/>
                <a:gd name="connsiteY164" fmla="*/ 2811 h 10000"/>
                <a:gd name="connsiteX165" fmla="*/ 9931 w 10000"/>
                <a:gd name="connsiteY165" fmla="*/ 2811 h 10000"/>
                <a:gd name="connsiteX166" fmla="*/ 10000 w 10000"/>
                <a:gd name="connsiteY166" fmla="*/ 2667 h 10000"/>
                <a:gd name="connsiteX167" fmla="*/ 10000 w 10000"/>
                <a:gd name="connsiteY167" fmla="*/ 2550 h 10000"/>
                <a:gd name="connsiteX168" fmla="*/ 10000 w 10000"/>
                <a:gd name="connsiteY168" fmla="*/ 2463 h 10000"/>
                <a:gd name="connsiteX169" fmla="*/ 9931 w 10000"/>
                <a:gd name="connsiteY169" fmla="*/ 2463 h 10000"/>
                <a:gd name="connsiteX170" fmla="*/ 9931 w 10000"/>
                <a:gd name="connsiteY170" fmla="*/ 2463 h 10000"/>
                <a:gd name="connsiteX171" fmla="*/ 9861 w 10000"/>
                <a:gd name="connsiteY171" fmla="*/ 2463 h 10000"/>
                <a:gd name="connsiteX172" fmla="*/ 9861 w 10000"/>
                <a:gd name="connsiteY172" fmla="*/ 2348 h 10000"/>
                <a:gd name="connsiteX173" fmla="*/ 9757 w 10000"/>
                <a:gd name="connsiteY173" fmla="*/ 2261 h 10000"/>
                <a:gd name="connsiteX174" fmla="*/ 9688 w 10000"/>
                <a:gd name="connsiteY174" fmla="*/ 2261 h 10000"/>
                <a:gd name="connsiteX175" fmla="*/ 9514 w 10000"/>
                <a:gd name="connsiteY175" fmla="*/ 2202 h 10000"/>
                <a:gd name="connsiteX176" fmla="*/ 9271 w 10000"/>
                <a:gd name="connsiteY176" fmla="*/ 956 h 10000"/>
                <a:gd name="connsiteX177" fmla="*/ 9271 w 10000"/>
                <a:gd name="connsiteY177" fmla="*/ 956 h 10000"/>
                <a:gd name="connsiteX178" fmla="*/ 9271 w 10000"/>
                <a:gd name="connsiteY178" fmla="*/ 898 h 10000"/>
                <a:gd name="connsiteX179" fmla="*/ 9097 w 10000"/>
                <a:gd name="connsiteY179" fmla="*/ 695 h 10000"/>
                <a:gd name="connsiteX180" fmla="*/ 9097 w 10000"/>
                <a:gd name="connsiteY180" fmla="*/ 493 h 10000"/>
                <a:gd name="connsiteX181" fmla="*/ 8854 w 10000"/>
                <a:gd name="connsiteY181" fmla="*/ 289 h 10000"/>
                <a:gd name="connsiteX182" fmla="*/ 8715 w 10000"/>
                <a:gd name="connsiteY182" fmla="*/ 145 h 10000"/>
                <a:gd name="connsiteX183" fmla="*/ 8611 w 10000"/>
                <a:gd name="connsiteY183" fmla="*/ 87 h 10000"/>
                <a:gd name="connsiteX184" fmla="*/ 8472 w 10000"/>
                <a:gd name="connsiteY184" fmla="*/ 0 h 10000"/>
                <a:gd name="connsiteX185" fmla="*/ 8056 w 10000"/>
                <a:gd name="connsiteY185" fmla="*/ 87 h 10000"/>
                <a:gd name="connsiteX186" fmla="*/ 7813 w 10000"/>
                <a:gd name="connsiteY186" fmla="*/ 289 h 10000"/>
                <a:gd name="connsiteX187" fmla="*/ 7049 w 10000"/>
                <a:gd name="connsiteY187" fmla="*/ 637 h 10000"/>
                <a:gd name="connsiteX188" fmla="*/ 5833 w 10000"/>
                <a:gd name="connsiteY188" fmla="*/ 493 h 10000"/>
                <a:gd name="connsiteX189" fmla="*/ 5833 w 10000"/>
                <a:gd name="connsiteY189" fmla="*/ 347 h 10000"/>
                <a:gd name="connsiteX190" fmla="*/ 5833 w 10000"/>
                <a:gd name="connsiteY190" fmla="*/ 347 h 10000"/>
                <a:gd name="connsiteX191" fmla="*/ 5833 w 10000"/>
                <a:gd name="connsiteY191" fmla="*/ 347 h 10000"/>
                <a:gd name="connsiteX192" fmla="*/ 5764 w 10000"/>
                <a:gd name="connsiteY192" fmla="*/ 347 h 10000"/>
                <a:gd name="connsiteX193" fmla="*/ 3056 w 10000"/>
                <a:gd name="connsiteY193" fmla="*/ 493 h 10000"/>
                <a:gd name="connsiteX194" fmla="*/ 2333 w 10000"/>
                <a:gd name="connsiteY194" fmla="*/ 371 h 10000"/>
                <a:gd name="connsiteX195" fmla="*/ 1910 w 10000"/>
                <a:gd name="connsiteY195" fmla="*/ 493 h 10000"/>
                <a:gd name="connsiteX196" fmla="*/ 1910 w 10000"/>
                <a:gd name="connsiteY196" fmla="*/ 493 h 10000"/>
                <a:gd name="connsiteX197" fmla="*/ 1910 w 10000"/>
                <a:gd name="connsiteY197" fmla="*/ 956 h 10000"/>
                <a:gd name="connsiteX198" fmla="*/ 1910 w 10000"/>
                <a:gd name="connsiteY198" fmla="*/ 1507 h 10000"/>
                <a:gd name="connsiteX199" fmla="*/ 1319 w 10000"/>
                <a:gd name="connsiteY199" fmla="*/ 1507 h 10000"/>
                <a:gd name="connsiteX0" fmla="*/ 1319 w 10000"/>
                <a:gd name="connsiteY0" fmla="*/ 1507 h 10000"/>
                <a:gd name="connsiteX1" fmla="*/ 1319 w 10000"/>
                <a:gd name="connsiteY1" fmla="*/ 3304 h 10000"/>
                <a:gd name="connsiteX2" fmla="*/ 1319 w 10000"/>
                <a:gd name="connsiteY2" fmla="*/ 3768 h 10000"/>
                <a:gd name="connsiteX3" fmla="*/ 1250 w 10000"/>
                <a:gd name="connsiteY3" fmla="*/ 3768 h 10000"/>
                <a:gd name="connsiteX4" fmla="*/ 903 w 10000"/>
                <a:gd name="connsiteY4" fmla="*/ 3768 h 10000"/>
                <a:gd name="connsiteX5" fmla="*/ 833 w 10000"/>
                <a:gd name="connsiteY5" fmla="*/ 3768 h 10000"/>
                <a:gd name="connsiteX6" fmla="*/ 660 w 10000"/>
                <a:gd name="connsiteY6" fmla="*/ 3768 h 10000"/>
                <a:gd name="connsiteX7" fmla="*/ 660 w 10000"/>
                <a:gd name="connsiteY7" fmla="*/ 3855 h 10000"/>
                <a:gd name="connsiteX8" fmla="*/ 660 w 10000"/>
                <a:gd name="connsiteY8" fmla="*/ 3913 h 10000"/>
                <a:gd name="connsiteX9" fmla="*/ 660 w 10000"/>
                <a:gd name="connsiteY9" fmla="*/ 3971 h 10000"/>
                <a:gd name="connsiteX10" fmla="*/ 590 w 10000"/>
                <a:gd name="connsiteY10" fmla="*/ 4115 h 10000"/>
                <a:gd name="connsiteX11" fmla="*/ 486 w 10000"/>
                <a:gd name="connsiteY11" fmla="*/ 4261 h 10000"/>
                <a:gd name="connsiteX12" fmla="*/ 243 w 10000"/>
                <a:gd name="connsiteY12" fmla="*/ 4463 h 10000"/>
                <a:gd name="connsiteX13" fmla="*/ 243 w 10000"/>
                <a:gd name="connsiteY13" fmla="*/ 4522 h 10000"/>
                <a:gd name="connsiteX14" fmla="*/ 347 w 10000"/>
                <a:gd name="connsiteY14" fmla="*/ 4608 h 10000"/>
                <a:gd name="connsiteX15" fmla="*/ 243 w 10000"/>
                <a:gd name="connsiteY15" fmla="*/ 4667 h 10000"/>
                <a:gd name="connsiteX16" fmla="*/ 243 w 10000"/>
                <a:gd name="connsiteY16" fmla="*/ 4667 h 10000"/>
                <a:gd name="connsiteX17" fmla="*/ 174 w 10000"/>
                <a:gd name="connsiteY17" fmla="*/ 4724 h 10000"/>
                <a:gd name="connsiteX18" fmla="*/ 174 w 10000"/>
                <a:gd name="connsiteY18" fmla="*/ 4724 h 10000"/>
                <a:gd name="connsiteX19" fmla="*/ 174 w 10000"/>
                <a:gd name="connsiteY19" fmla="*/ 4869 h 10000"/>
                <a:gd name="connsiteX20" fmla="*/ 174 w 10000"/>
                <a:gd name="connsiteY20" fmla="*/ 5015 h 10000"/>
                <a:gd name="connsiteX21" fmla="*/ 104 w 10000"/>
                <a:gd name="connsiteY21" fmla="*/ 5072 h 10000"/>
                <a:gd name="connsiteX22" fmla="*/ 0 w 10000"/>
                <a:gd name="connsiteY22" fmla="*/ 5130 h 10000"/>
                <a:gd name="connsiteX23" fmla="*/ 0 w 10000"/>
                <a:gd name="connsiteY23" fmla="*/ 5217 h 10000"/>
                <a:gd name="connsiteX24" fmla="*/ 0 w 10000"/>
                <a:gd name="connsiteY24" fmla="*/ 5362 h 10000"/>
                <a:gd name="connsiteX25" fmla="*/ 104 w 10000"/>
                <a:gd name="connsiteY25" fmla="*/ 5362 h 10000"/>
                <a:gd name="connsiteX26" fmla="*/ 104 w 10000"/>
                <a:gd name="connsiteY26" fmla="*/ 5362 h 10000"/>
                <a:gd name="connsiteX27" fmla="*/ 347 w 10000"/>
                <a:gd name="connsiteY27" fmla="*/ 5276 h 10000"/>
                <a:gd name="connsiteX28" fmla="*/ 243 w 10000"/>
                <a:gd name="connsiteY28" fmla="*/ 5478 h 10000"/>
                <a:gd name="connsiteX29" fmla="*/ 347 w 10000"/>
                <a:gd name="connsiteY29" fmla="*/ 5623 h 10000"/>
                <a:gd name="connsiteX30" fmla="*/ 486 w 10000"/>
                <a:gd name="connsiteY30" fmla="*/ 5884 h 10000"/>
                <a:gd name="connsiteX31" fmla="*/ 486 w 10000"/>
                <a:gd name="connsiteY31" fmla="*/ 5971 h 10000"/>
                <a:gd name="connsiteX32" fmla="*/ 590 w 10000"/>
                <a:gd name="connsiteY32" fmla="*/ 5971 h 10000"/>
                <a:gd name="connsiteX33" fmla="*/ 590 w 10000"/>
                <a:gd name="connsiteY33" fmla="*/ 6028 h 10000"/>
                <a:gd name="connsiteX34" fmla="*/ 660 w 10000"/>
                <a:gd name="connsiteY34" fmla="*/ 6087 h 10000"/>
                <a:gd name="connsiteX35" fmla="*/ 660 w 10000"/>
                <a:gd name="connsiteY35" fmla="*/ 6174 h 10000"/>
                <a:gd name="connsiteX36" fmla="*/ 486 w 10000"/>
                <a:gd name="connsiteY36" fmla="*/ 6232 h 10000"/>
                <a:gd name="connsiteX37" fmla="*/ 660 w 10000"/>
                <a:gd name="connsiteY37" fmla="*/ 6319 h 10000"/>
                <a:gd name="connsiteX38" fmla="*/ 833 w 10000"/>
                <a:gd name="connsiteY38" fmla="*/ 6522 h 10000"/>
                <a:gd name="connsiteX39" fmla="*/ 1007 w 10000"/>
                <a:gd name="connsiteY39" fmla="*/ 6724 h 10000"/>
                <a:gd name="connsiteX40" fmla="*/ 1076 w 10000"/>
                <a:gd name="connsiteY40" fmla="*/ 6841 h 10000"/>
                <a:gd name="connsiteX41" fmla="*/ 1007 w 10000"/>
                <a:gd name="connsiteY41" fmla="*/ 6985 h 10000"/>
                <a:gd name="connsiteX42" fmla="*/ 1007 w 10000"/>
                <a:gd name="connsiteY42" fmla="*/ 7189 h 10000"/>
                <a:gd name="connsiteX43" fmla="*/ 1007 w 10000"/>
                <a:gd name="connsiteY43" fmla="*/ 7276 h 10000"/>
                <a:gd name="connsiteX44" fmla="*/ 1146 w 10000"/>
                <a:gd name="connsiteY44" fmla="*/ 7391 h 10000"/>
                <a:gd name="connsiteX45" fmla="*/ 1250 w 10000"/>
                <a:gd name="connsiteY45" fmla="*/ 7391 h 10000"/>
                <a:gd name="connsiteX46" fmla="*/ 1389 w 10000"/>
                <a:gd name="connsiteY46" fmla="*/ 7391 h 10000"/>
                <a:gd name="connsiteX47" fmla="*/ 1493 w 10000"/>
                <a:gd name="connsiteY47" fmla="*/ 7536 h 10000"/>
                <a:gd name="connsiteX48" fmla="*/ 1563 w 10000"/>
                <a:gd name="connsiteY48" fmla="*/ 7594 h 10000"/>
                <a:gd name="connsiteX49" fmla="*/ 1806 w 10000"/>
                <a:gd name="connsiteY49" fmla="*/ 7594 h 10000"/>
                <a:gd name="connsiteX50" fmla="*/ 1910 w 10000"/>
                <a:gd name="connsiteY50" fmla="*/ 7681 h 10000"/>
                <a:gd name="connsiteX51" fmla="*/ 1979 w 10000"/>
                <a:gd name="connsiteY51" fmla="*/ 7739 h 10000"/>
                <a:gd name="connsiteX52" fmla="*/ 2049 w 10000"/>
                <a:gd name="connsiteY52" fmla="*/ 7739 h 10000"/>
                <a:gd name="connsiteX53" fmla="*/ 1979 w 10000"/>
                <a:gd name="connsiteY53" fmla="*/ 7884 h 10000"/>
                <a:gd name="connsiteX54" fmla="*/ 2049 w 10000"/>
                <a:gd name="connsiteY54" fmla="*/ 7942 h 10000"/>
                <a:gd name="connsiteX55" fmla="*/ 2292 w 10000"/>
                <a:gd name="connsiteY55" fmla="*/ 8087 h 10000"/>
                <a:gd name="connsiteX56" fmla="*/ 2465 w 10000"/>
                <a:gd name="connsiteY56" fmla="*/ 8232 h 10000"/>
                <a:gd name="connsiteX57" fmla="*/ 2535 w 10000"/>
                <a:gd name="connsiteY57" fmla="*/ 8289 h 10000"/>
                <a:gd name="connsiteX58" fmla="*/ 2708 w 10000"/>
                <a:gd name="connsiteY58" fmla="*/ 8348 h 10000"/>
                <a:gd name="connsiteX59" fmla="*/ 2708 w 10000"/>
                <a:gd name="connsiteY59" fmla="*/ 8435 h 10000"/>
                <a:gd name="connsiteX60" fmla="*/ 2813 w 10000"/>
                <a:gd name="connsiteY60" fmla="*/ 8580 h 10000"/>
                <a:gd name="connsiteX61" fmla="*/ 2882 w 10000"/>
                <a:gd name="connsiteY61" fmla="*/ 8637 h 10000"/>
                <a:gd name="connsiteX62" fmla="*/ 2882 w 10000"/>
                <a:gd name="connsiteY62" fmla="*/ 8696 h 10000"/>
                <a:gd name="connsiteX63" fmla="*/ 2951 w 10000"/>
                <a:gd name="connsiteY63" fmla="*/ 8783 h 10000"/>
                <a:gd name="connsiteX64" fmla="*/ 3299 w 10000"/>
                <a:gd name="connsiteY64" fmla="*/ 8898 h 10000"/>
                <a:gd name="connsiteX65" fmla="*/ 3368 w 10000"/>
                <a:gd name="connsiteY65" fmla="*/ 9043 h 10000"/>
                <a:gd name="connsiteX66" fmla="*/ 3368 w 10000"/>
                <a:gd name="connsiteY66" fmla="*/ 9102 h 10000"/>
                <a:gd name="connsiteX67" fmla="*/ 3438 w 10000"/>
                <a:gd name="connsiteY67" fmla="*/ 9189 h 10000"/>
                <a:gd name="connsiteX68" fmla="*/ 3542 w 10000"/>
                <a:gd name="connsiteY68" fmla="*/ 9246 h 10000"/>
                <a:gd name="connsiteX69" fmla="*/ 3715 w 10000"/>
                <a:gd name="connsiteY69" fmla="*/ 9391 h 10000"/>
                <a:gd name="connsiteX70" fmla="*/ 3715 w 10000"/>
                <a:gd name="connsiteY70" fmla="*/ 9450 h 10000"/>
                <a:gd name="connsiteX71" fmla="*/ 3785 w 10000"/>
                <a:gd name="connsiteY71" fmla="*/ 9537 h 10000"/>
                <a:gd name="connsiteX72" fmla="*/ 4028 w 10000"/>
                <a:gd name="connsiteY72" fmla="*/ 9594 h 10000"/>
                <a:gd name="connsiteX73" fmla="*/ 4097 w 10000"/>
                <a:gd name="connsiteY73" fmla="*/ 9594 h 10000"/>
                <a:gd name="connsiteX74" fmla="*/ 4201 w 10000"/>
                <a:gd name="connsiteY74" fmla="*/ 9537 h 10000"/>
                <a:gd name="connsiteX75" fmla="*/ 4444 w 10000"/>
                <a:gd name="connsiteY75" fmla="*/ 9594 h 10000"/>
                <a:gd name="connsiteX76" fmla="*/ 4618 w 10000"/>
                <a:gd name="connsiteY76" fmla="*/ 9537 h 10000"/>
                <a:gd name="connsiteX77" fmla="*/ 4757 w 10000"/>
                <a:gd name="connsiteY77" fmla="*/ 9450 h 10000"/>
                <a:gd name="connsiteX78" fmla="*/ 4861 w 10000"/>
                <a:gd name="connsiteY78" fmla="*/ 9537 h 10000"/>
                <a:gd name="connsiteX79" fmla="*/ 5174 w 10000"/>
                <a:gd name="connsiteY79" fmla="*/ 9739 h 10000"/>
                <a:gd name="connsiteX80" fmla="*/ 5243 w 10000"/>
                <a:gd name="connsiteY80" fmla="*/ 9855 h 10000"/>
                <a:gd name="connsiteX81" fmla="*/ 5347 w 10000"/>
                <a:gd name="connsiteY81" fmla="*/ 9942 h 10000"/>
                <a:gd name="connsiteX82" fmla="*/ 5417 w 10000"/>
                <a:gd name="connsiteY82" fmla="*/ 9942 h 10000"/>
                <a:gd name="connsiteX83" fmla="*/ 5486 w 10000"/>
                <a:gd name="connsiteY83" fmla="*/ 9942 h 10000"/>
                <a:gd name="connsiteX84" fmla="*/ 5590 w 10000"/>
                <a:gd name="connsiteY84" fmla="*/ 9942 h 10000"/>
                <a:gd name="connsiteX85" fmla="*/ 5764 w 10000"/>
                <a:gd name="connsiteY85" fmla="*/ 9942 h 10000"/>
                <a:gd name="connsiteX86" fmla="*/ 5833 w 10000"/>
                <a:gd name="connsiteY86" fmla="*/ 9942 h 10000"/>
                <a:gd name="connsiteX87" fmla="*/ 6007 w 10000"/>
                <a:gd name="connsiteY87" fmla="*/ 9942 h 10000"/>
                <a:gd name="connsiteX88" fmla="*/ 6076 w 10000"/>
                <a:gd name="connsiteY88" fmla="*/ 9942 h 10000"/>
                <a:gd name="connsiteX89" fmla="*/ 6146 w 10000"/>
                <a:gd name="connsiteY89" fmla="*/ 10000 h 10000"/>
                <a:gd name="connsiteX90" fmla="*/ 6319 w 10000"/>
                <a:gd name="connsiteY90" fmla="*/ 9942 h 10000"/>
                <a:gd name="connsiteX91" fmla="*/ 6493 w 10000"/>
                <a:gd name="connsiteY91" fmla="*/ 9942 h 10000"/>
                <a:gd name="connsiteX92" fmla="*/ 6667 w 10000"/>
                <a:gd name="connsiteY92" fmla="*/ 9855 h 10000"/>
                <a:gd name="connsiteX93" fmla="*/ 6806 w 10000"/>
                <a:gd name="connsiteY93" fmla="*/ 9855 h 10000"/>
                <a:gd name="connsiteX94" fmla="*/ 7049 w 10000"/>
                <a:gd name="connsiteY94" fmla="*/ 9855 h 10000"/>
                <a:gd name="connsiteX95" fmla="*/ 7292 w 10000"/>
                <a:gd name="connsiteY95" fmla="*/ 9739 h 10000"/>
                <a:gd name="connsiteX96" fmla="*/ 7292 w 10000"/>
                <a:gd name="connsiteY96" fmla="*/ 9739 h 10000"/>
                <a:gd name="connsiteX97" fmla="*/ 7292 w 10000"/>
                <a:gd name="connsiteY97" fmla="*/ 9739 h 10000"/>
                <a:gd name="connsiteX98" fmla="*/ 7569 w 10000"/>
                <a:gd name="connsiteY98" fmla="*/ 9537 h 10000"/>
                <a:gd name="connsiteX99" fmla="*/ 7639 w 10000"/>
                <a:gd name="connsiteY99" fmla="*/ 9450 h 10000"/>
                <a:gd name="connsiteX100" fmla="*/ 7813 w 10000"/>
                <a:gd name="connsiteY100" fmla="*/ 9450 h 10000"/>
                <a:gd name="connsiteX101" fmla="*/ 8125 w 10000"/>
                <a:gd name="connsiteY101" fmla="*/ 9537 h 10000"/>
                <a:gd name="connsiteX102" fmla="*/ 8299 w 10000"/>
                <a:gd name="connsiteY102" fmla="*/ 9537 h 10000"/>
                <a:gd name="connsiteX103" fmla="*/ 8472 w 10000"/>
                <a:gd name="connsiteY103" fmla="*/ 9450 h 10000"/>
                <a:gd name="connsiteX104" fmla="*/ 8472 w 10000"/>
                <a:gd name="connsiteY104" fmla="*/ 9246 h 10000"/>
                <a:gd name="connsiteX105" fmla="*/ 8542 w 10000"/>
                <a:gd name="connsiteY105" fmla="*/ 9189 h 10000"/>
                <a:gd name="connsiteX106" fmla="*/ 8472 w 10000"/>
                <a:gd name="connsiteY106" fmla="*/ 9102 h 10000"/>
                <a:gd name="connsiteX107" fmla="*/ 8472 w 10000"/>
                <a:gd name="connsiteY107" fmla="*/ 9043 h 10000"/>
                <a:gd name="connsiteX108" fmla="*/ 8125 w 10000"/>
                <a:gd name="connsiteY108" fmla="*/ 9043 h 10000"/>
                <a:gd name="connsiteX109" fmla="*/ 8056 w 10000"/>
                <a:gd name="connsiteY109" fmla="*/ 8985 h 10000"/>
                <a:gd name="connsiteX110" fmla="*/ 8056 w 10000"/>
                <a:gd name="connsiteY110" fmla="*/ 8898 h 10000"/>
                <a:gd name="connsiteX111" fmla="*/ 7882 w 10000"/>
                <a:gd name="connsiteY111" fmla="*/ 8637 h 10000"/>
                <a:gd name="connsiteX112" fmla="*/ 7882 w 10000"/>
                <a:gd name="connsiteY112" fmla="*/ 8493 h 10000"/>
                <a:gd name="connsiteX113" fmla="*/ 7813 w 10000"/>
                <a:gd name="connsiteY113" fmla="*/ 8435 h 10000"/>
                <a:gd name="connsiteX114" fmla="*/ 7569 w 10000"/>
                <a:gd name="connsiteY114" fmla="*/ 8289 h 10000"/>
                <a:gd name="connsiteX115" fmla="*/ 7465 w 10000"/>
                <a:gd name="connsiteY115" fmla="*/ 8232 h 10000"/>
                <a:gd name="connsiteX116" fmla="*/ 7396 w 10000"/>
                <a:gd name="connsiteY116" fmla="*/ 8145 h 10000"/>
                <a:gd name="connsiteX117" fmla="*/ 7396 w 10000"/>
                <a:gd name="connsiteY117" fmla="*/ 8087 h 10000"/>
                <a:gd name="connsiteX118" fmla="*/ 7292 w 10000"/>
                <a:gd name="connsiteY118" fmla="*/ 7942 h 10000"/>
                <a:gd name="connsiteX119" fmla="*/ 7222 w 10000"/>
                <a:gd name="connsiteY119" fmla="*/ 7942 h 10000"/>
                <a:gd name="connsiteX120" fmla="*/ 7049 w 10000"/>
                <a:gd name="connsiteY120" fmla="*/ 7884 h 10000"/>
                <a:gd name="connsiteX121" fmla="*/ 6979 w 10000"/>
                <a:gd name="connsiteY121" fmla="*/ 7884 h 10000"/>
                <a:gd name="connsiteX122" fmla="*/ 6910 w 10000"/>
                <a:gd name="connsiteY122" fmla="*/ 7884 h 10000"/>
                <a:gd name="connsiteX123" fmla="*/ 6806 w 10000"/>
                <a:gd name="connsiteY123" fmla="*/ 7884 h 10000"/>
                <a:gd name="connsiteX124" fmla="*/ 6736 w 10000"/>
                <a:gd name="connsiteY124" fmla="*/ 7826 h 10000"/>
                <a:gd name="connsiteX125" fmla="*/ 6806 w 10000"/>
                <a:gd name="connsiteY125" fmla="*/ 7739 h 10000"/>
                <a:gd name="connsiteX126" fmla="*/ 6910 w 10000"/>
                <a:gd name="connsiteY126" fmla="*/ 7681 h 10000"/>
                <a:gd name="connsiteX127" fmla="*/ 6910 w 10000"/>
                <a:gd name="connsiteY127" fmla="*/ 7536 h 10000"/>
                <a:gd name="connsiteX128" fmla="*/ 6979 w 10000"/>
                <a:gd name="connsiteY128" fmla="*/ 7536 h 10000"/>
                <a:gd name="connsiteX129" fmla="*/ 7222 w 10000"/>
                <a:gd name="connsiteY129" fmla="*/ 7536 h 10000"/>
                <a:gd name="connsiteX130" fmla="*/ 7396 w 10000"/>
                <a:gd name="connsiteY130" fmla="*/ 7536 h 10000"/>
                <a:gd name="connsiteX131" fmla="*/ 7465 w 10000"/>
                <a:gd name="connsiteY131" fmla="*/ 7478 h 10000"/>
                <a:gd name="connsiteX132" fmla="*/ 7465 w 10000"/>
                <a:gd name="connsiteY132" fmla="*/ 7333 h 10000"/>
                <a:gd name="connsiteX133" fmla="*/ 7465 w 10000"/>
                <a:gd name="connsiteY133" fmla="*/ 6928 h 10000"/>
                <a:gd name="connsiteX134" fmla="*/ 7465 w 10000"/>
                <a:gd name="connsiteY134" fmla="*/ 6782 h 10000"/>
                <a:gd name="connsiteX135" fmla="*/ 7569 w 10000"/>
                <a:gd name="connsiteY135" fmla="*/ 6637 h 10000"/>
                <a:gd name="connsiteX136" fmla="*/ 7465 w 10000"/>
                <a:gd name="connsiteY136" fmla="*/ 6580 h 10000"/>
                <a:gd name="connsiteX137" fmla="*/ 7465 w 10000"/>
                <a:gd name="connsiteY137" fmla="*/ 6522 h 10000"/>
                <a:gd name="connsiteX138" fmla="*/ 7569 w 10000"/>
                <a:gd name="connsiteY138" fmla="*/ 6522 h 10000"/>
                <a:gd name="connsiteX139" fmla="*/ 7569 w 10000"/>
                <a:gd name="connsiteY139" fmla="*/ 6435 h 10000"/>
                <a:gd name="connsiteX140" fmla="*/ 7639 w 10000"/>
                <a:gd name="connsiteY140" fmla="*/ 6319 h 10000"/>
                <a:gd name="connsiteX141" fmla="*/ 7708 w 10000"/>
                <a:gd name="connsiteY141" fmla="*/ 6319 h 10000"/>
                <a:gd name="connsiteX142" fmla="*/ 7882 w 10000"/>
                <a:gd name="connsiteY142" fmla="*/ 6319 h 10000"/>
                <a:gd name="connsiteX143" fmla="*/ 7882 w 10000"/>
                <a:gd name="connsiteY143" fmla="*/ 6232 h 10000"/>
                <a:gd name="connsiteX144" fmla="*/ 7951 w 10000"/>
                <a:gd name="connsiteY144" fmla="*/ 5971 h 10000"/>
                <a:gd name="connsiteX145" fmla="*/ 8056 w 10000"/>
                <a:gd name="connsiteY145" fmla="*/ 5884 h 10000"/>
                <a:gd name="connsiteX146" fmla="*/ 8368 w 10000"/>
                <a:gd name="connsiteY146" fmla="*/ 5420 h 10000"/>
                <a:gd name="connsiteX147" fmla="*/ 8542 w 10000"/>
                <a:gd name="connsiteY147" fmla="*/ 5362 h 10000"/>
                <a:gd name="connsiteX148" fmla="*/ 8611 w 10000"/>
                <a:gd name="connsiteY148" fmla="*/ 5276 h 10000"/>
                <a:gd name="connsiteX149" fmla="*/ 8715 w 10000"/>
                <a:gd name="connsiteY149" fmla="*/ 5217 h 10000"/>
                <a:gd name="connsiteX150" fmla="*/ 8854 w 10000"/>
                <a:gd name="connsiteY150" fmla="*/ 4667 h 10000"/>
                <a:gd name="connsiteX151" fmla="*/ 8854 w 10000"/>
                <a:gd name="connsiteY151" fmla="*/ 4522 h 10000"/>
                <a:gd name="connsiteX152" fmla="*/ 8854 w 10000"/>
                <a:gd name="connsiteY152" fmla="*/ 4376 h 10000"/>
                <a:gd name="connsiteX153" fmla="*/ 8854 w 10000"/>
                <a:gd name="connsiteY153" fmla="*/ 4261 h 10000"/>
                <a:gd name="connsiteX154" fmla="*/ 8854 w 10000"/>
                <a:gd name="connsiteY154" fmla="*/ 4058 h 10000"/>
                <a:gd name="connsiteX155" fmla="*/ 8958 w 10000"/>
                <a:gd name="connsiteY155" fmla="*/ 3913 h 10000"/>
                <a:gd name="connsiteX156" fmla="*/ 9097 w 10000"/>
                <a:gd name="connsiteY156" fmla="*/ 3420 h 10000"/>
                <a:gd name="connsiteX157" fmla="*/ 9097 w 10000"/>
                <a:gd name="connsiteY157" fmla="*/ 3362 h 10000"/>
                <a:gd name="connsiteX158" fmla="*/ 9097 w 10000"/>
                <a:gd name="connsiteY158" fmla="*/ 3159 h 10000"/>
                <a:gd name="connsiteX159" fmla="*/ 9201 w 10000"/>
                <a:gd name="connsiteY159" fmla="*/ 3102 h 10000"/>
                <a:gd name="connsiteX160" fmla="*/ 9375 w 10000"/>
                <a:gd name="connsiteY160" fmla="*/ 3102 h 10000"/>
                <a:gd name="connsiteX161" fmla="*/ 9514 w 10000"/>
                <a:gd name="connsiteY161" fmla="*/ 2956 h 10000"/>
                <a:gd name="connsiteX162" fmla="*/ 9688 w 10000"/>
                <a:gd name="connsiteY162" fmla="*/ 2869 h 10000"/>
                <a:gd name="connsiteX163" fmla="*/ 9757 w 10000"/>
                <a:gd name="connsiteY163" fmla="*/ 2811 h 10000"/>
                <a:gd name="connsiteX164" fmla="*/ 9931 w 10000"/>
                <a:gd name="connsiteY164" fmla="*/ 2811 h 10000"/>
                <a:gd name="connsiteX165" fmla="*/ 10000 w 10000"/>
                <a:gd name="connsiteY165" fmla="*/ 2667 h 10000"/>
                <a:gd name="connsiteX166" fmla="*/ 10000 w 10000"/>
                <a:gd name="connsiteY166" fmla="*/ 2550 h 10000"/>
                <a:gd name="connsiteX167" fmla="*/ 10000 w 10000"/>
                <a:gd name="connsiteY167" fmla="*/ 2463 h 10000"/>
                <a:gd name="connsiteX168" fmla="*/ 9931 w 10000"/>
                <a:gd name="connsiteY168" fmla="*/ 2463 h 10000"/>
                <a:gd name="connsiteX169" fmla="*/ 9931 w 10000"/>
                <a:gd name="connsiteY169" fmla="*/ 2463 h 10000"/>
                <a:gd name="connsiteX170" fmla="*/ 9861 w 10000"/>
                <a:gd name="connsiteY170" fmla="*/ 2463 h 10000"/>
                <a:gd name="connsiteX171" fmla="*/ 9861 w 10000"/>
                <a:gd name="connsiteY171" fmla="*/ 2348 h 10000"/>
                <a:gd name="connsiteX172" fmla="*/ 9757 w 10000"/>
                <a:gd name="connsiteY172" fmla="*/ 2261 h 10000"/>
                <a:gd name="connsiteX173" fmla="*/ 9688 w 10000"/>
                <a:gd name="connsiteY173" fmla="*/ 2261 h 10000"/>
                <a:gd name="connsiteX174" fmla="*/ 9514 w 10000"/>
                <a:gd name="connsiteY174" fmla="*/ 2202 h 10000"/>
                <a:gd name="connsiteX175" fmla="*/ 9271 w 10000"/>
                <a:gd name="connsiteY175" fmla="*/ 956 h 10000"/>
                <a:gd name="connsiteX176" fmla="*/ 9271 w 10000"/>
                <a:gd name="connsiteY176" fmla="*/ 956 h 10000"/>
                <a:gd name="connsiteX177" fmla="*/ 9271 w 10000"/>
                <a:gd name="connsiteY177" fmla="*/ 898 h 10000"/>
                <a:gd name="connsiteX178" fmla="*/ 9097 w 10000"/>
                <a:gd name="connsiteY178" fmla="*/ 695 h 10000"/>
                <a:gd name="connsiteX179" fmla="*/ 9097 w 10000"/>
                <a:gd name="connsiteY179" fmla="*/ 493 h 10000"/>
                <a:gd name="connsiteX180" fmla="*/ 8854 w 10000"/>
                <a:gd name="connsiteY180" fmla="*/ 289 h 10000"/>
                <a:gd name="connsiteX181" fmla="*/ 8715 w 10000"/>
                <a:gd name="connsiteY181" fmla="*/ 145 h 10000"/>
                <a:gd name="connsiteX182" fmla="*/ 8611 w 10000"/>
                <a:gd name="connsiteY182" fmla="*/ 87 h 10000"/>
                <a:gd name="connsiteX183" fmla="*/ 8472 w 10000"/>
                <a:gd name="connsiteY183" fmla="*/ 0 h 10000"/>
                <a:gd name="connsiteX184" fmla="*/ 8056 w 10000"/>
                <a:gd name="connsiteY184" fmla="*/ 87 h 10000"/>
                <a:gd name="connsiteX185" fmla="*/ 7813 w 10000"/>
                <a:gd name="connsiteY185" fmla="*/ 289 h 10000"/>
                <a:gd name="connsiteX186" fmla="*/ 7049 w 10000"/>
                <a:gd name="connsiteY186" fmla="*/ 637 h 10000"/>
                <a:gd name="connsiteX187" fmla="*/ 5833 w 10000"/>
                <a:gd name="connsiteY187" fmla="*/ 493 h 10000"/>
                <a:gd name="connsiteX188" fmla="*/ 5833 w 10000"/>
                <a:gd name="connsiteY188" fmla="*/ 347 h 10000"/>
                <a:gd name="connsiteX189" fmla="*/ 5833 w 10000"/>
                <a:gd name="connsiteY189" fmla="*/ 347 h 10000"/>
                <a:gd name="connsiteX190" fmla="*/ 5833 w 10000"/>
                <a:gd name="connsiteY190" fmla="*/ 347 h 10000"/>
                <a:gd name="connsiteX191" fmla="*/ 5764 w 10000"/>
                <a:gd name="connsiteY191" fmla="*/ 347 h 10000"/>
                <a:gd name="connsiteX192" fmla="*/ 3056 w 10000"/>
                <a:gd name="connsiteY192" fmla="*/ 493 h 10000"/>
                <a:gd name="connsiteX193" fmla="*/ 2333 w 10000"/>
                <a:gd name="connsiteY193" fmla="*/ 371 h 10000"/>
                <a:gd name="connsiteX194" fmla="*/ 1910 w 10000"/>
                <a:gd name="connsiteY194" fmla="*/ 493 h 10000"/>
                <a:gd name="connsiteX195" fmla="*/ 1910 w 10000"/>
                <a:gd name="connsiteY195" fmla="*/ 493 h 10000"/>
                <a:gd name="connsiteX196" fmla="*/ 1910 w 10000"/>
                <a:gd name="connsiteY196" fmla="*/ 956 h 10000"/>
                <a:gd name="connsiteX197" fmla="*/ 1910 w 10000"/>
                <a:gd name="connsiteY197" fmla="*/ 1507 h 10000"/>
                <a:gd name="connsiteX198" fmla="*/ 1319 w 10000"/>
                <a:gd name="connsiteY198" fmla="*/ 1507 h 10000"/>
                <a:gd name="connsiteX0" fmla="*/ 1319 w 10000"/>
                <a:gd name="connsiteY0" fmla="*/ 1507 h 10000"/>
                <a:gd name="connsiteX1" fmla="*/ 1319 w 10000"/>
                <a:gd name="connsiteY1" fmla="*/ 3768 h 10000"/>
                <a:gd name="connsiteX2" fmla="*/ 1250 w 10000"/>
                <a:gd name="connsiteY2" fmla="*/ 3768 h 10000"/>
                <a:gd name="connsiteX3" fmla="*/ 903 w 10000"/>
                <a:gd name="connsiteY3" fmla="*/ 3768 h 10000"/>
                <a:gd name="connsiteX4" fmla="*/ 83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193" fmla="*/ 1910 w 10000"/>
                <a:gd name="connsiteY193" fmla="*/ 493 h 10000"/>
                <a:gd name="connsiteX194" fmla="*/ 1910 w 10000"/>
                <a:gd name="connsiteY194" fmla="*/ 493 h 10000"/>
                <a:gd name="connsiteX195" fmla="*/ 1910 w 10000"/>
                <a:gd name="connsiteY195" fmla="*/ 956 h 10000"/>
                <a:gd name="connsiteX196" fmla="*/ 1910 w 10000"/>
                <a:gd name="connsiteY196" fmla="*/ 1507 h 10000"/>
                <a:gd name="connsiteX197" fmla="*/ 1319 w 10000"/>
                <a:gd name="connsiteY197" fmla="*/ 1507 h 10000"/>
                <a:gd name="connsiteX0" fmla="*/ 1319 w 10000"/>
                <a:gd name="connsiteY0" fmla="*/ 1507 h 10000"/>
                <a:gd name="connsiteX1" fmla="*/ 1319 w 10000"/>
                <a:gd name="connsiteY1" fmla="*/ 3768 h 10000"/>
                <a:gd name="connsiteX2" fmla="*/ 1250 w 10000"/>
                <a:gd name="connsiteY2" fmla="*/ 3768 h 10000"/>
                <a:gd name="connsiteX3" fmla="*/ 903 w 10000"/>
                <a:gd name="connsiteY3" fmla="*/ 3768 h 10000"/>
                <a:gd name="connsiteX4" fmla="*/ 660 w 10000"/>
                <a:gd name="connsiteY4" fmla="*/ 3768 h 10000"/>
                <a:gd name="connsiteX5" fmla="*/ 660 w 10000"/>
                <a:gd name="connsiteY5" fmla="*/ 3855 h 10000"/>
                <a:gd name="connsiteX6" fmla="*/ 660 w 10000"/>
                <a:gd name="connsiteY6" fmla="*/ 3913 h 10000"/>
                <a:gd name="connsiteX7" fmla="*/ 660 w 10000"/>
                <a:gd name="connsiteY7" fmla="*/ 3971 h 10000"/>
                <a:gd name="connsiteX8" fmla="*/ 590 w 10000"/>
                <a:gd name="connsiteY8" fmla="*/ 4115 h 10000"/>
                <a:gd name="connsiteX9" fmla="*/ 486 w 10000"/>
                <a:gd name="connsiteY9" fmla="*/ 4261 h 10000"/>
                <a:gd name="connsiteX10" fmla="*/ 243 w 10000"/>
                <a:gd name="connsiteY10" fmla="*/ 4463 h 10000"/>
                <a:gd name="connsiteX11" fmla="*/ 243 w 10000"/>
                <a:gd name="connsiteY11" fmla="*/ 4522 h 10000"/>
                <a:gd name="connsiteX12" fmla="*/ 347 w 10000"/>
                <a:gd name="connsiteY12" fmla="*/ 4608 h 10000"/>
                <a:gd name="connsiteX13" fmla="*/ 243 w 10000"/>
                <a:gd name="connsiteY13" fmla="*/ 4667 h 10000"/>
                <a:gd name="connsiteX14" fmla="*/ 243 w 10000"/>
                <a:gd name="connsiteY14" fmla="*/ 4667 h 10000"/>
                <a:gd name="connsiteX15" fmla="*/ 174 w 10000"/>
                <a:gd name="connsiteY15" fmla="*/ 4724 h 10000"/>
                <a:gd name="connsiteX16" fmla="*/ 174 w 10000"/>
                <a:gd name="connsiteY16" fmla="*/ 4724 h 10000"/>
                <a:gd name="connsiteX17" fmla="*/ 174 w 10000"/>
                <a:gd name="connsiteY17" fmla="*/ 4869 h 10000"/>
                <a:gd name="connsiteX18" fmla="*/ 174 w 10000"/>
                <a:gd name="connsiteY18" fmla="*/ 5015 h 10000"/>
                <a:gd name="connsiteX19" fmla="*/ 104 w 10000"/>
                <a:gd name="connsiteY19" fmla="*/ 5072 h 10000"/>
                <a:gd name="connsiteX20" fmla="*/ 0 w 10000"/>
                <a:gd name="connsiteY20" fmla="*/ 5130 h 10000"/>
                <a:gd name="connsiteX21" fmla="*/ 0 w 10000"/>
                <a:gd name="connsiteY21" fmla="*/ 5217 h 10000"/>
                <a:gd name="connsiteX22" fmla="*/ 0 w 10000"/>
                <a:gd name="connsiteY22" fmla="*/ 5362 h 10000"/>
                <a:gd name="connsiteX23" fmla="*/ 104 w 10000"/>
                <a:gd name="connsiteY23" fmla="*/ 5362 h 10000"/>
                <a:gd name="connsiteX24" fmla="*/ 104 w 10000"/>
                <a:gd name="connsiteY24" fmla="*/ 5362 h 10000"/>
                <a:gd name="connsiteX25" fmla="*/ 347 w 10000"/>
                <a:gd name="connsiteY25" fmla="*/ 5276 h 10000"/>
                <a:gd name="connsiteX26" fmla="*/ 243 w 10000"/>
                <a:gd name="connsiteY26" fmla="*/ 5478 h 10000"/>
                <a:gd name="connsiteX27" fmla="*/ 347 w 10000"/>
                <a:gd name="connsiteY27" fmla="*/ 5623 h 10000"/>
                <a:gd name="connsiteX28" fmla="*/ 486 w 10000"/>
                <a:gd name="connsiteY28" fmla="*/ 5884 h 10000"/>
                <a:gd name="connsiteX29" fmla="*/ 486 w 10000"/>
                <a:gd name="connsiteY29" fmla="*/ 5971 h 10000"/>
                <a:gd name="connsiteX30" fmla="*/ 590 w 10000"/>
                <a:gd name="connsiteY30" fmla="*/ 5971 h 10000"/>
                <a:gd name="connsiteX31" fmla="*/ 590 w 10000"/>
                <a:gd name="connsiteY31" fmla="*/ 6028 h 10000"/>
                <a:gd name="connsiteX32" fmla="*/ 660 w 10000"/>
                <a:gd name="connsiteY32" fmla="*/ 6087 h 10000"/>
                <a:gd name="connsiteX33" fmla="*/ 660 w 10000"/>
                <a:gd name="connsiteY33" fmla="*/ 6174 h 10000"/>
                <a:gd name="connsiteX34" fmla="*/ 486 w 10000"/>
                <a:gd name="connsiteY34" fmla="*/ 6232 h 10000"/>
                <a:gd name="connsiteX35" fmla="*/ 660 w 10000"/>
                <a:gd name="connsiteY35" fmla="*/ 6319 h 10000"/>
                <a:gd name="connsiteX36" fmla="*/ 833 w 10000"/>
                <a:gd name="connsiteY36" fmla="*/ 6522 h 10000"/>
                <a:gd name="connsiteX37" fmla="*/ 1007 w 10000"/>
                <a:gd name="connsiteY37" fmla="*/ 6724 h 10000"/>
                <a:gd name="connsiteX38" fmla="*/ 1076 w 10000"/>
                <a:gd name="connsiteY38" fmla="*/ 6841 h 10000"/>
                <a:gd name="connsiteX39" fmla="*/ 1007 w 10000"/>
                <a:gd name="connsiteY39" fmla="*/ 6985 h 10000"/>
                <a:gd name="connsiteX40" fmla="*/ 1007 w 10000"/>
                <a:gd name="connsiteY40" fmla="*/ 7189 h 10000"/>
                <a:gd name="connsiteX41" fmla="*/ 1007 w 10000"/>
                <a:gd name="connsiteY41" fmla="*/ 7276 h 10000"/>
                <a:gd name="connsiteX42" fmla="*/ 1146 w 10000"/>
                <a:gd name="connsiteY42" fmla="*/ 7391 h 10000"/>
                <a:gd name="connsiteX43" fmla="*/ 1250 w 10000"/>
                <a:gd name="connsiteY43" fmla="*/ 7391 h 10000"/>
                <a:gd name="connsiteX44" fmla="*/ 1389 w 10000"/>
                <a:gd name="connsiteY44" fmla="*/ 7391 h 10000"/>
                <a:gd name="connsiteX45" fmla="*/ 1493 w 10000"/>
                <a:gd name="connsiteY45" fmla="*/ 7536 h 10000"/>
                <a:gd name="connsiteX46" fmla="*/ 1563 w 10000"/>
                <a:gd name="connsiteY46" fmla="*/ 7594 h 10000"/>
                <a:gd name="connsiteX47" fmla="*/ 1806 w 10000"/>
                <a:gd name="connsiteY47" fmla="*/ 7594 h 10000"/>
                <a:gd name="connsiteX48" fmla="*/ 1910 w 10000"/>
                <a:gd name="connsiteY48" fmla="*/ 7681 h 10000"/>
                <a:gd name="connsiteX49" fmla="*/ 1979 w 10000"/>
                <a:gd name="connsiteY49" fmla="*/ 7739 h 10000"/>
                <a:gd name="connsiteX50" fmla="*/ 2049 w 10000"/>
                <a:gd name="connsiteY50" fmla="*/ 7739 h 10000"/>
                <a:gd name="connsiteX51" fmla="*/ 1979 w 10000"/>
                <a:gd name="connsiteY51" fmla="*/ 7884 h 10000"/>
                <a:gd name="connsiteX52" fmla="*/ 2049 w 10000"/>
                <a:gd name="connsiteY52" fmla="*/ 7942 h 10000"/>
                <a:gd name="connsiteX53" fmla="*/ 2292 w 10000"/>
                <a:gd name="connsiteY53" fmla="*/ 8087 h 10000"/>
                <a:gd name="connsiteX54" fmla="*/ 2465 w 10000"/>
                <a:gd name="connsiteY54" fmla="*/ 8232 h 10000"/>
                <a:gd name="connsiteX55" fmla="*/ 2535 w 10000"/>
                <a:gd name="connsiteY55" fmla="*/ 8289 h 10000"/>
                <a:gd name="connsiteX56" fmla="*/ 2708 w 10000"/>
                <a:gd name="connsiteY56" fmla="*/ 8348 h 10000"/>
                <a:gd name="connsiteX57" fmla="*/ 2708 w 10000"/>
                <a:gd name="connsiteY57" fmla="*/ 8435 h 10000"/>
                <a:gd name="connsiteX58" fmla="*/ 2813 w 10000"/>
                <a:gd name="connsiteY58" fmla="*/ 8580 h 10000"/>
                <a:gd name="connsiteX59" fmla="*/ 2882 w 10000"/>
                <a:gd name="connsiteY59" fmla="*/ 8637 h 10000"/>
                <a:gd name="connsiteX60" fmla="*/ 2882 w 10000"/>
                <a:gd name="connsiteY60" fmla="*/ 8696 h 10000"/>
                <a:gd name="connsiteX61" fmla="*/ 2951 w 10000"/>
                <a:gd name="connsiteY61" fmla="*/ 8783 h 10000"/>
                <a:gd name="connsiteX62" fmla="*/ 3299 w 10000"/>
                <a:gd name="connsiteY62" fmla="*/ 8898 h 10000"/>
                <a:gd name="connsiteX63" fmla="*/ 3368 w 10000"/>
                <a:gd name="connsiteY63" fmla="*/ 9043 h 10000"/>
                <a:gd name="connsiteX64" fmla="*/ 3368 w 10000"/>
                <a:gd name="connsiteY64" fmla="*/ 9102 h 10000"/>
                <a:gd name="connsiteX65" fmla="*/ 3438 w 10000"/>
                <a:gd name="connsiteY65" fmla="*/ 9189 h 10000"/>
                <a:gd name="connsiteX66" fmla="*/ 3542 w 10000"/>
                <a:gd name="connsiteY66" fmla="*/ 9246 h 10000"/>
                <a:gd name="connsiteX67" fmla="*/ 3715 w 10000"/>
                <a:gd name="connsiteY67" fmla="*/ 9391 h 10000"/>
                <a:gd name="connsiteX68" fmla="*/ 3715 w 10000"/>
                <a:gd name="connsiteY68" fmla="*/ 9450 h 10000"/>
                <a:gd name="connsiteX69" fmla="*/ 3785 w 10000"/>
                <a:gd name="connsiteY69" fmla="*/ 9537 h 10000"/>
                <a:gd name="connsiteX70" fmla="*/ 4028 w 10000"/>
                <a:gd name="connsiteY70" fmla="*/ 9594 h 10000"/>
                <a:gd name="connsiteX71" fmla="*/ 4097 w 10000"/>
                <a:gd name="connsiteY71" fmla="*/ 9594 h 10000"/>
                <a:gd name="connsiteX72" fmla="*/ 4201 w 10000"/>
                <a:gd name="connsiteY72" fmla="*/ 9537 h 10000"/>
                <a:gd name="connsiteX73" fmla="*/ 4444 w 10000"/>
                <a:gd name="connsiteY73" fmla="*/ 9594 h 10000"/>
                <a:gd name="connsiteX74" fmla="*/ 4618 w 10000"/>
                <a:gd name="connsiteY74" fmla="*/ 9537 h 10000"/>
                <a:gd name="connsiteX75" fmla="*/ 4757 w 10000"/>
                <a:gd name="connsiteY75" fmla="*/ 9450 h 10000"/>
                <a:gd name="connsiteX76" fmla="*/ 4861 w 10000"/>
                <a:gd name="connsiteY76" fmla="*/ 9537 h 10000"/>
                <a:gd name="connsiteX77" fmla="*/ 5174 w 10000"/>
                <a:gd name="connsiteY77" fmla="*/ 9739 h 10000"/>
                <a:gd name="connsiteX78" fmla="*/ 5243 w 10000"/>
                <a:gd name="connsiteY78" fmla="*/ 9855 h 10000"/>
                <a:gd name="connsiteX79" fmla="*/ 5347 w 10000"/>
                <a:gd name="connsiteY79" fmla="*/ 9942 h 10000"/>
                <a:gd name="connsiteX80" fmla="*/ 5417 w 10000"/>
                <a:gd name="connsiteY80" fmla="*/ 9942 h 10000"/>
                <a:gd name="connsiteX81" fmla="*/ 5486 w 10000"/>
                <a:gd name="connsiteY81" fmla="*/ 9942 h 10000"/>
                <a:gd name="connsiteX82" fmla="*/ 5590 w 10000"/>
                <a:gd name="connsiteY82" fmla="*/ 9942 h 10000"/>
                <a:gd name="connsiteX83" fmla="*/ 5764 w 10000"/>
                <a:gd name="connsiteY83" fmla="*/ 9942 h 10000"/>
                <a:gd name="connsiteX84" fmla="*/ 5833 w 10000"/>
                <a:gd name="connsiteY84" fmla="*/ 9942 h 10000"/>
                <a:gd name="connsiteX85" fmla="*/ 6007 w 10000"/>
                <a:gd name="connsiteY85" fmla="*/ 9942 h 10000"/>
                <a:gd name="connsiteX86" fmla="*/ 6076 w 10000"/>
                <a:gd name="connsiteY86" fmla="*/ 9942 h 10000"/>
                <a:gd name="connsiteX87" fmla="*/ 6146 w 10000"/>
                <a:gd name="connsiteY87" fmla="*/ 10000 h 10000"/>
                <a:gd name="connsiteX88" fmla="*/ 6319 w 10000"/>
                <a:gd name="connsiteY88" fmla="*/ 9942 h 10000"/>
                <a:gd name="connsiteX89" fmla="*/ 6493 w 10000"/>
                <a:gd name="connsiteY89" fmla="*/ 9942 h 10000"/>
                <a:gd name="connsiteX90" fmla="*/ 6667 w 10000"/>
                <a:gd name="connsiteY90" fmla="*/ 9855 h 10000"/>
                <a:gd name="connsiteX91" fmla="*/ 6806 w 10000"/>
                <a:gd name="connsiteY91" fmla="*/ 9855 h 10000"/>
                <a:gd name="connsiteX92" fmla="*/ 7049 w 10000"/>
                <a:gd name="connsiteY92" fmla="*/ 9855 h 10000"/>
                <a:gd name="connsiteX93" fmla="*/ 7292 w 10000"/>
                <a:gd name="connsiteY93" fmla="*/ 9739 h 10000"/>
                <a:gd name="connsiteX94" fmla="*/ 7292 w 10000"/>
                <a:gd name="connsiteY94" fmla="*/ 9739 h 10000"/>
                <a:gd name="connsiteX95" fmla="*/ 7292 w 10000"/>
                <a:gd name="connsiteY95" fmla="*/ 9739 h 10000"/>
                <a:gd name="connsiteX96" fmla="*/ 7569 w 10000"/>
                <a:gd name="connsiteY96" fmla="*/ 9537 h 10000"/>
                <a:gd name="connsiteX97" fmla="*/ 7639 w 10000"/>
                <a:gd name="connsiteY97" fmla="*/ 9450 h 10000"/>
                <a:gd name="connsiteX98" fmla="*/ 7813 w 10000"/>
                <a:gd name="connsiteY98" fmla="*/ 9450 h 10000"/>
                <a:gd name="connsiteX99" fmla="*/ 8125 w 10000"/>
                <a:gd name="connsiteY99" fmla="*/ 9537 h 10000"/>
                <a:gd name="connsiteX100" fmla="*/ 8299 w 10000"/>
                <a:gd name="connsiteY100" fmla="*/ 9537 h 10000"/>
                <a:gd name="connsiteX101" fmla="*/ 8472 w 10000"/>
                <a:gd name="connsiteY101" fmla="*/ 9450 h 10000"/>
                <a:gd name="connsiteX102" fmla="*/ 8472 w 10000"/>
                <a:gd name="connsiteY102" fmla="*/ 9246 h 10000"/>
                <a:gd name="connsiteX103" fmla="*/ 8542 w 10000"/>
                <a:gd name="connsiteY103" fmla="*/ 9189 h 10000"/>
                <a:gd name="connsiteX104" fmla="*/ 8472 w 10000"/>
                <a:gd name="connsiteY104" fmla="*/ 9102 h 10000"/>
                <a:gd name="connsiteX105" fmla="*/ 8472 w 10000"/>
                <a:gd name="connsiteY105" fmla="*/ 9043 h 10000"/>
                <a:gd name="connsiteX106" fmla="*/ 8125 w 10000"/>
                <a:gd name="connsiteY106" fmla="*/ 9043 h 10000"/>
                <a:gd name="connsiteX107" fmla="*/ 8056 w 10000"/>
                <a:gd name="connsiteY107" fmla="*/ 8985 h 10000"/>
                <a:gd name="connsiteX108" fmla="*/ 8056 w 10000"/>
                <a:gd name="connsiteY108" fmla="*/ 8898 h 10000"/>
                <a:gd name="connsiteX109" fmla="*/ 7882 w 10000"/>
                <a:gd name="connsiteY109" fmla="*/ 8637 h 10000"/>
                <a:gd name="connsiteX110" fmla="*/ 7882 w 10000"/>
                <a:gd name="connsiteY110" fmla="*/ 8493 h 10000"/>
                <a:gd name="connsiteX111" fmla="*/ 7813 w 10000"/>
                <a:gd name="connsiteY111" fmla="*/ 8435 h 10000"/>
                <a:gd name="connsiteX112" fmla="*/ 7569 w 10000"/>
                <a:gd name="connsiteY112" fmla="*/ 8289 h 10000"/>
                <a:gd name="connsiteX113" fmla="*/ 7465 w 10000"/>
                <a:gd name="connsiteY113" fmla="*/ 8232 h 10000"/>
                <a:gd name="connsiteX114" fmla="*/ 7396 w 10000"/>
                <a:gd name="connsiteY114" fmla="*/ 8145 h 10000"/>
                <a:gd name="connsiteX115" fmla="*/ 7396 w 10000"/>
                <a:gd name="connsiteY115" fmla="*/ 8087 h 10000"/>
                <a:gd name="connsiteX116" fmla="*/ 7292 w 10000"/>
                <a:gd name="connsiteY116" fmla="*/ 7942 h 10000"/>
                <a:gd name="connsiteX117" fmla="*/ 7222 w 10000"/>
                <a:gd name="connsiteY117" fmla="*/ 7942 h 10000"/>
                <a:gd name="connsiteX118" fmla="*/ 7049 w 10000"/>
                <a:gd name="connsiteY118" fmla="*/ 7884 h 10000"/>
                <a:gd name="connsiteX119" fmla="*/ 6979 w 10000"/>
                <a:gd name="connsiteY119" fmla="*/ 7884 h 10000"/>
                <a:gd name="connsiteX120" fmla="*/ 6910 w 10000"/>
                <a:gd name="connsiteY120" fmla="*/ 7884 h 10000"/>
                <a:gd name="connsiteX121" fmla="*/ 6806 w 10000"/>
                <a:gd name="connsiteY121" fmla="*/ 7884 h 10000"/>
                <a:gd name="connsiteX122" fmla="*/ 6736 w 10000"/>
                <a:gd name="connsiteY122" fmla="*/ 7826 h 10000"/>
                <a:gd name="connsiteX123" fmla="*/ 6806 w 10000"/>
                <a:gd name="connsiteY123" fmla="*/ 7739 h 10000"/>
                <a:gd name="connsiteX124" fmla="*/ 6910 w 10000"/>
                <a:gd name="connsiteY124" fmla="*/ 7681 h 10000"/>
                <a:gd name="connsiteX125" fmla="*/ 6910 w 10000"/>
                <a:gd name="connsiteY125" fmla="*/ 7536 h 10000"/>
                <a:gd name="connsiteX126" fmla="*/ 6979 w 10000"/>
                <a:gd name="connsiteY126" fmla="*/ 7536 h 10000"/>
                <a:gd name="connsiteX127" fmla="*/ 7222 w 10000"/>
                <a:gd name="connsiteY127" fmla="*/ 7536 h 10000"/>
                <a:gd name="connsiteX128" fmla="*/ 7396 w 10000"/>
                <a:gd name="connsiteY128" fmla="*/ 7536 h 10000"/>
                <a:gd name="connsiteX129" fmla="*/ 7465 w 10000"/>
                <a:gd name="connsiteY129" fmla="*/ 7478 h 10000"/>
                <a:gd name="connsiteX130" fmla="*/ 7465 w 10000"/>
                <a:gd name="connsiteY130" fmla="*/ 7333 h 10000"/>
                <a:gd name="connsiteX131" fmla="*/ 7465 w 10000"/>
                <a:gd name="connsiteY131" fmla="*/ 6928 h 10000"/>
                <a:gd name="connsiteX132" fmla="*/ 7465 w 10000"/>
                <a:gd name="connsiteY132" fmla="*/ 6782 h 10000"/>
                <a:gd name="connsiteX133" fmla="*/ 7569 w 10000"/>
                <a:gd name="connsiteY133" fmla="*/ 6637 h 10000"/>
                <a:gd name="connsiteX134" fmla="*/ 7465 w 10000"/>
                <a:gd name="connsiteY134" fmla="*/ 6580 h 10000"/>
                <a:gd name="connsiteX135" fmla="*/ 7465 w 10000"/>
                <a:gd name="connsiteY135" fmla="*/ 6522 h 10000"/>
                <a:gd name="connsiteX136" fmla="*/ 7569 w 10000"/>
                <a:gd name="connsiteY136" fmla="*/ 6522 h 10000"/>
                <a:gd name="connsiteX137" fmla="*/ 7569 w 10000"/>
                <a:gd name="connsiteY137" fmla="*/ 6435 h 10000"/>
                <a:gd name="connsiteX138" fmla="*/ 7639 w 10000"/>
                <a:gd name="connsiteY138" fmla="*/ 6319 h 10000"/>
                <a:gd name="connsiteX139" fmla="*/ 7708 w 10000"/>
                <a:gd name="connsiteY139" fmla="*/ 6319 h 10000"/>
                <a:gd name="connsiteX140" fmla="*/ 7882 w 10000"/>
                <a:gd name="connsiteY140" fmla="*/ 6319 h 10000"/>
                <a:gd name="connsiteX141" fmla="*/ 7882 w 10000"/>
                <a:gd name="connsiteY141" fmla="*/ 6232 h 10000"/>
                <a:gd name="connsiteX142" fmla="*/ 7951 w 10000"/>
                <a:gd name="connsiteY142" fmla="*/ 5971 h 10000"/>
                <a:gd name="connsiteX143" fmla="*/ 8056 w 10000"/>
                <a:gd name="connsiteY143" fmla="*/ 5884 h 10000"/>
                <a:gd name="connsiteX144" fmla="*/ 8368 w 10000"/>
                <a:gd name="connsiteY144" fmla="*/ 5420 h 10000"/>
                <a:gd name="connsiteX145" fmla="*/ 8542 w 10000"/>
                <a:gd name="connsiteY145" fmla="*/ 5362 h 10000"/>
                <a:gd name="connsiteX146" fmla="*/ 8611 w 10000"/>
                <a:gd name="connsiteY146" fmla="*/ 5276 h 10000"/>
                <a:gd name="connsiteX147" fmla="*/ 8715 w 10000"/>
                <a:gd name="connsiteY147" fmla="*/ 5217 h 10000"/>
                <a:gd name="connsiteX148" fmla="*/ 8854 w 10000"/>
                <a:gd name="connsiteY148" fmla="*/ 4667 h 10000"/>
                <a:gd name="connsiteX149" fmla="*/ 8854 w 10000"/>
                <a:gd name="connsiteY149" fmla="*/ 4522 h 10000"/>
                <a:gd name="connsiteX150" fmla="*/ 8854 w 10000"/>
                <a:gd name="connsiteY150" fmla="*/ 4376 h 10000"/>
                <a:gd name="connsiteX151" fmla="*/ 8854 w 10000"/>
                <a:gd name="connsiteY151" fmla="*/ 4261 h 10000"/>
                <a:gd name="connsiteX152" fmla="*/ 8854 w 10000"/>
                <a:gd name="connsiteY152" fmla="*/ 4058 h 10000"/>
                <a:gd name="connsiteX153" fmla="*/ 8958 w 10000"/>
                <a:gd name="connsiteY153" fmla="*/ 3913 h 10000"/>
                <a:gd name="connsiteX154" fmla="*/ 9097 w 10000"/>
                <a:gd name="connsiteY154" fmla="*/ 3420 h 10000"/>
                <a:gd name="connsiteX155" fmla="*/ 9097 w 10000"/>
                <a:gd name="connsiteY155" fmla="*/ 3362 h 10000"/>
                <a:gd name="connsiteX156" fmla="*/ 9097 w 10000"/>
                <a:gd name="connsiteY156" fmla="*/ 3159 h 10000"/>
                <a:gd name="connsiteX157" fmla="*/ 9201 w 10000"/>
                <a:gd name="connsiteY157" fmla="*/ 3102 h 10000"/>
                <a:gd name="connsiteX158" fmla="*/ 9375 w 10000"/>
                <a:gd name="connsiteY158" fmla="*/ 3102 h 10000"/>
                <a:gd name="connsiteX159" fmla="*/ 9514 w 10000"/>
                <a:gd name="connsiteY159" fmla="*/ 2956 h 10000"/>
                <a:gd name="connsiteX160" fmla="*/ 9688 w 10000"/>
                <a:gd name="connsiteY160" fmla="*/ 2869 h 10000"/>
                <a:gd name="connsiteX161" fmla="*/ 9757 w 10000"/>
                <a:gd name="connsiteY161" fmla="*/ 2811 h 10000"/>
                <a:gd name="connsiteX162" fmla="*/ 9931 w 10000"/>
                <a:gd name="connsiteY162" fmla="*/ 2811 h 10000"/>
                <a:gd name="connsiteX163" fmla="*/ 10000 w 10000"/>
                <a:gd name="connsiteY163" fmla="*/ 2667 h 10000"/>
                <a:gd name="connsiteX164" fmla="*/ 10000 w 10000"/>
                <a:gd name="connsiteY164" fmla="*/ 2550 h 10000"/>
                <a:gd name="connsiteX165" fmla="*/ 10000 w 10000"/>
                <a:gd name="connsiteY165" fmla="*/ 2463 h 10000"/>
                <a:gd name="connsiteX166" fmla="*/ 9931 w 10000"/>
                <a:gd name="connsiteY166" fmla="*/ 2463 h 10000"/>
                <a:gd name="connsiteX167" fmla="*/ 9931 w 10000"/>
                <a:gd name="connsiteY167" fmla="*/ 2463 h 10000"/>
                <a:gd name="connsiteX168" fmla="*/ 9861 w 10000"/>
                <a:gd name="connsiteY168" fmla="*/ 2463 h 10000"/>
                <a:gd name="connsiteX169" fmla="*/ 9861 w 10000"/>
                <a:gd name="connsiteY169" fmla="*/ 2348 h 10000"/>
                <a:gd name="connsiteX170" fmla="*/ 9757 w 10000"/>
                <a:gd name="connsiteY170" fmla="*/ 2261 h 10000"/>
                <a:gd name="connsiteX171" fmla="*/ 9688 w 10000"/>
                <a:gd name="connsiteY171" fmla="*/ 2261 h 10000"/>
                <a:gd name="connsiteX172" fmla="*/ 9514 w 10000"/>
                <a:gd name="connsiteY172" fmla="*/ 2202 h 10000"/>
                <a:gd name="connsiteX173" fmla="*/ 9271 w 10000"/>
                <a:gd name="connsiteY173" fmla="*/ 956 h 10000"/>
                <a:gd name="connsiteX174" fmla="*/ 9271 w 10000"/>
                <a:gd name="connsiteY174" fmla="*/ 956 h 10000"/>
                <a:gd name="connsiteX175" fmla="*/ 9271 w 10000"/>
                <a:gd name="connsiteY175" fmla="*/ 898 h 10000"/>
                <a:gd name="connsiteX176" fmla="*/ 9097 w 10000"/>
                <a:gd name="connsiteY176" fmla="*/ 695 h 10000"/>
                <a:gd name="connsiteX177" fmla="*/ 9097 w 10000"/>
                <a:gd name="connsiteY177" fmla="*/ 493 h 10000"/>
                <a:gd name="connsiteX178" fmla="*/ 8854 w 10000"/>
                <a:gd name="connsiteY178" fmla="*/ 289 h 10000"/>
                <a:gd name="connsiteX179" fmla="*/ 8715 w 10000"/>
                <a:gd name="connsiteY179" fmla="*/ 145 h 10000"/>
                <a:gd name="connsiteX180" fmla="*/ 8611 w 10000"/>
                <a:gd name="connsiteY180" fmla="*/ 87 h 10000"/>
                <a:gd name="connsiteX181" fmla="*/ 8472 w 10000"/>
                <a:gd name="connsiteY181" fmla="*/ 0 h 10000"/>
                <a:gd name="connsiteX182" fmla="*/ 8056 w 10000"/>
                <a:gd name="connsiteY182" fmla="*/ 87 h 10000"/>
                <a:gd name="connsiteX183" fmla="*/ 7813 w 10000"/>
                <a:gd name="connsiteY183" fmla="*/ 289 h 10000"/>
                <a:gd name="connsiteX184" fmla="*/ 7049 w 10000"/>
                <a:gd name="connsiteY184" fmla="*/ 637 h 10000"/>
                <a:gd name="connsiteX185" fmla="*/ 5833 w 10000"/>
                <a:gd name="connsiteY185" fmla="*/ 493 h 10000"/>
                <a:gd name="connsiteX186" fmla="*/ 5833 w 10000"/>
                <a:gd name="connsiteY186" fmla="*/ 347 h 10000"/>
                <a:gd name="connsiteX187" fmla="*/ 5833 w 10000"/>
                <a:gd name="connsiteY187" fmla="*/ 347 h 10000"/>
                <a:gd name="connsiteX188" fmla="*/ 5833 w 10000"/>
                <a:gd name="connsiteY188" fmla="*/ 347 h 10000"/>
                <a:gd name="connsiteX189" fmla="*/ 5764 w 10000"/>
                <a:gd name="connsiteY189" fmla="*/ 347 h 10000"/>
                <a:gd name="connsiteX190" fmla="*/ 3056 w 10000"/>
                <a:gd name="connsiteY190" fmla="*/ 493 h 10000"/>
                <a:gd name="connsiteX191" fmla="*/ 2333 w 10000"/>
                <a:gd name="connsiteY191" fmla="*/ 371 h 10000"/>
                <a:gd name="connsiteX192" fmla="*/ 1910 w 10000"/>
                <a:gd name="connsiteY192" fmla="*/ 493 h 10000"/>
                <a:gd name="connsiteX193" fmla="*/ 1910 w 10000"/>
                <a:gd name="connsiteY193" fmla="*/ 493 h 10000"/>
                <a:gd name="connsiteX194" fmla="*/ 1910 w 10000"/>
                <a:gd name="connsiteY194" fmla="*/ 956 h 10000"/>
                <a:gd name="connsiteX195" fmla="*/ 1910 w 10000"/>
                <a:gd name="connsiteY195" fmla="*/ 1507 h 10000"/>
                <a:gd name="connsiteX196" fmla="*/ 1319 w 10000"/>
                <a:gd name="connsiteY196" fmla="*/ 1507 h 10000"/>
                <a:gd name="connsiteX0" fmla="*/ 1319 w 10000"/>
                <a:gd name="connsiteY0" fmla="*/ 1507 h 10000"/>
                <a:gd name="connsiteX1" fmla="*/ 1222 w 10000"/>
                <a:gd name="connsiteY1" fmla="*/ 1855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193" fmla="*/ 1910 w 10000"/>
                <a:gd name="connsiteY193" fmla="*/ 493 h 10000"/>
                <a:gd name="connsiteX194" fmla="*/ 1910 w 10000"/>
                <a:gd name="connsiteY194" fmla="*/ 493 h 10000"/>
                <a:gd name="connsiteX195" fmla="*/ 1910 w 10000"/>
                <a:gd name="connsiteY195" fmla="*/ 956 h 10000"/>
                <a:gd name="connsiteX196" fmla="*/ 1910 w 10000"/>
                <a:gd name="connsiteY196" fmla="*/ 1507 h 10000"/>
                <a:gd name="connsiteX197" fmla="*/ 1319 w 10000"/>
                <a:gd name="connsiteY197" fmla="*/ 1507 h 10000"/>
                <a:gd name="connsiteX0" fmla="*/ 1319 w 10000"/>
                <a:gd name="connsiteY0" fmla="*/ 1507 h 10000"/>
                <a:gd name="connsiteX1" fmla="*/ 1222 w 10000"/>
                <a:gd name="connsiteY1" fmla="*/ 1855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193" fmla="*/ 1910 w 10000"/>
                <a:gd name="connsiteY193" fmla="*/ 493 h 10000"/>
                <a:gd name="connsiteX194" fmla="*/ 1910 w 10000"/>
                <a:gd name="connsiteY194" fmla="*/ 493 h 10000"/>
                <a:gd name="connsiteX195" fmla="*/ 1910 w 10000"/>
                <a:gd name="connsiteY195" fmla="*/ 956 h 10000"/>
                <a:gd name="connsiteX196" fmla="*/ 1319 w 10000"/>
                <a:gd name="connsiteY196" fmla="*/ 1507 h 10000"/>
                <a:gd name="connsiteX0" fmla="*/ 1319 w 10000"/>
                <a:gd name="connsiteY0" fmla="*/ 1507 h 10000"/>
                <a:gd name="connsiteX1" fmla="*/ 1319 w 10000"/>
                <a:gd name="connsiteY1" fmla="*/ 3768 h 10000"/>
                <a:gd name="connsiteX2" fmla="*/ 1250 w 10000"/>
                <a:gd name="connsiteY2" fmla="*/ 3768 h 10000"/>
                <a:gd name="connsiteX3" fmla="*/ 903 w 10000"/>
                <a:gd name="connsiteY3" fmla="*/ 3768 h 10000"/>
                <a:gd name="connsiteX4" fmla="*/ 660 w 10000"/>
                <a:gd name="connsiteY4" fmla="*/ 3768 h 10000"/>
                <a:gd name="connsiteX5" fmla="*/ 660 w 10000"/>
                <a:gd name="connsiteY5" fmla="*/ 3855 h 10000"/>
                <a:gd name="connsiteX6" fmla="*/ 660 w 10000"/>
                <a:gd name="connsiteY6" fmla="*/ 3913 h 10000"/>
                <a:gd name="connsiteX7" fmla="*/ 660 w 10000"/>
                <a:gd name="connsiteY7" fmla="*/ 3971 h 10000"/>
                <a:gd name="connsiteX8" fmla="*/ 590 w 10000"/>
                <a:gd name="connsiteY8" fmla="*/ 4115 h 10000"/>
                <a:gd name="connsiteX9" fmla="*/ 486 w 10000"/>
                <a:gd name="connsiteY9" fmla="*/ 4261 h 10000"/>
                <a:gd name="connsiteX10" fmla="*/ 243 w 10000"/>
                <a:gd name="connsiteY10" fmla="*/ 4463 h 10000"/>
                <a:gd name="connsiteX11" fmla="*/ 243 w 10000"/>
                <a:gd name="connsiteY11" fmla="*/ 4522 h 10000"/>
                <a:gd name="connsiteX12" fmla="*/ 347 w 10000"/>
                <a:gd name="connsiteY12" fmla="*/ 4608 h 10000"/>
                <a:gd name="connsiteX13" fmla="*/ 243 w 10000"/>
                <a:gd name="connsiteY13" fmla="*/ 4667 h 10000"/>
                <a:gd name="connsiteX14" fmla="*/ 243 w 10000"/>
                <a:gd name="connsiteY14" fmla="*/ 4667 h 10000"/>
                <a:gd name="connsiteX15" fmla="*/ 174 w 10000"/>
                <a:gd name="connsiteY15" fmla="*/ 4724 h 10000"/>
                <a:gd name="connsiteX16" fmla="*/ 174 w 10000"/>
                <a:gd name="connsiteY16" fmla="*/ 4724 h 10000"/>
                <a:gd name="connsiteX17" fmla="*/ 174 w 10000"/>
                <a:gd name="connsiteY17" fmla="*/ 4869 h 10000"/>
                <a:gd name="connsiteX18" fmla="*/ 174 w 10000"/>
                <a:gd name="connsiteY18" fmla="*/ 5015 h 10000"/>
                <a:gd name="connsiteX19" fmla="*/ 104 w 10000"/>
                <a:gd name="connsiteY19" fmla="*/ 5072 h 10000"/>
                <a:gd name="connsiteX20" fmla="*/ 0 w 10000"/>
                <a:gd name="connsiteY20" fmla="*/ 5130 h 10000"/>
                <a:gd name="connsiteX21" fmla="*/ 0 w 10000"/>
                <a:gd name="connsiteY21" fmla="*/ 5217 h 10000"/>
                <a:gd name="connsiteX22" fmla="*/ 0 w 10000"/>
                <a:gd name="connsiteY22" fmla="*/ 5362 h 10000"/>
                <a:gd name="connsiteX23" fmla="*/ 104 w 10000"/>
                <a:gd name="connsiteY23" fmla="*/ 5362 h 10000"/>
                <a:gd name="connsiteX24" fmla="*/ 104 w 10000"/>
                <a:gd name="connsiteY24" fmla="*/ 5362 h 10000"/>
                <a:gd name="connsiteX25" fmla="*/ 347 w 10000"/>
                <a:gd name="connsiteY25" fmla="*/ 5276 h 10000"/>
                <a:gd name="connsiteX26" fmla="*/ 243 w 10000"/>
                <a:gd name="connsiteY26" fmla="*/ 5478 h 10000"/>
                <a:gd name="connsiteX27" fmla="*/ 347 w 10000"/>
                <a:gd name="connsiteY27" fmla="*/ 5623 h 10000"/>
                <a:gd name="connsiteX28" fmla="*/ 486 w 10000"/>
                <a:gd name="connsiteY28" fmla="*/ 5884 h 10000"/>
                <a:gd name="connsiteX29" fmla="*/ 486 w 10000"/>
                <a:gd name="connsiteY29" fmla="*/ 5971 h 10000"/>
                <a:gd name="connsiteX30" fmla="*/ 590 w 10000"/>
                <a:gd name="connsiteY30" fmla="*/ 5971 h 10000"/>
                <a:gd name="connsiteX31" fmla="*/ 590 w 10000"/>
                <a:gd name="connsiteY31" fmla="*/ 6028 h 10000"/>
                <a:gd name="connsiteX32" fmla="*/ 660 w 10000"/>
                <a:gd name="connsiteY32" fmla="*/ 6087 h 10000"/>
                <a:gd name="connsiteX33" fmla="*/ 660 w 10000"/>
                <a:gd name="connsiteY33" fmla="*/ 6174 h 10000"/>
                <a:gd name="connsiteX34" fmla="*/ 486 w 10000"/>
                <a:gd name="connsiteY34" fmla="*/ 6232 h 10000"/>
                <a:gd name="connsiteX35" fmla="*/ 660 w 10000"/>
                <a:gd name="connsiteY35" fmla="*/ 6319 h 10000"/>
                <a:gd name="connsiteX36" fmla="*/ 833 w 10000"/>
                <a:gd name="connsiteY36" fmla="*/ 6522 h 10000"/>
                <a:gd name="connsiteX37" fmla="*/ 1007 w 10000"/>
                <a:gd name="connsiteY37" fmla="*/ 6724 h 10000"/>
                <a:gd name="connsiteX38" fmla="*/ 1076 w 10000"/>
                <a:gd name="connsiteY38" fmla="*/ 6841 h 10000"/>
                <a:gd name="connsiteX39" fmla="*/ 1007 w 10000"/>
                <a:gd name="connsiteY39" fmla="*/ 6985 h 10000"/>
                <a:gd name="connsiteX40" fmla="*/ 1007 w 10000"/>
                <a:gd name="connsiteY40" fmla="*/ 7189 h 10000"/>
                <a:gd name="connsiteX41" fmla="*/ 1007 w 10000"/>
                <a:gd name="connsiteY41" fmla="*/ 7276 h 10000"/>
                <a:gd name="connsiteX42" fmla="*/ 1146 w 10000"/>
                <a:gd name="connsiteY42" fmla="*/ 7391 h 10000"/>
                <a:gd name="connsiteX43" fmla="*/ 1250 w 10000"/>
                <a:gd name="connsiteY43" fmla="*/ 7391 h 10000"/>
                <a:gd name="connsiteX44" fmla="*/ 1389 w 10000"/>
                <a:gd name="connsiteY44" fmla="*/ 7391 h 10000"/>
                <a:gd name="connsiteX45" fmla="*/ 1493 w 10000"/>
                <a:gd name="connsiteY45" fmla="*/ 7536 h 10000"/>
                <a:gd name="connsiteX46" fmla="*/ 1563 w 10000"/>
                <a:gd name="connsiteY46" fmla="*/ 7594 h 10000"/>
                <a:gd name="connsiteX47" fmla="*/ 1806 w 10000"/>
                <a:gd name="connsiteY47" fmla="*/ 7594 h 10000"/>
                <a:gd name="connsiteX48" fmla="*/ 1910 w 10000"/>
                <a:gd name="connsiteY48" fmla="*/ 7681 h 10000"/>
                <a:gd name="connsiteX49" fmla="*/ 1979 w 10000"/>
                <a:gd name="connsiteY49" fmla="*/ 7739 h 10000"/>
                <a:gd name="connsiteX50" fmla="*/ 2049 w 10000"/>
                <a:gd name="connsiteY50" fmla="*/ 7739 h 10000"/>
                <a:gd name="connsiteX51" fmla="*/ 1979 w 10000"/>
                <a:gd name="connsiteY51" fmla="*/ 7884 h 10000"/>
                <a:gd name="connsiteX52" fmla="*/ 2049 w 10000"/>
                <a:gd name="connsiteY52" fmla="*/ 7942 h 10000"/>
                <a:gd name="connsiteX53" fmla="*/ 2292 w 10000"/>
                <a:gd name="connsiteY53" fmla="*/ 8087 h 10000"/>
                <a:gd name="connsiteX54" fmla="*/ 2465 w 10000"/>
                <a:gd name="connsiteY54" fmla="*/ 8232 h 10000"/>
                <a:gd name="connsiteX55" fmla="*/ 2535 w 10000"/>
                <a:gd name="connsiteY55" fmla="*/ 8289 h 10000"/>
                <a:gd name="connsiteX56" fmla="*/ 2708 w 10000"/>
                <a:gd name="connsiteY56" fmla="*/ 8348 h 10000"/>
                <a:gd name="connsiteX57" fmla="*/ 2708 w 10000"/>
                <a:gd name="connsiteY57" fmla="*/ 8435 h 10000"/>
                <a:gd name="connsiteX58" fmla="*/ 2813 w 10000"/>
                <a:gd name="connsiteY58" fmla="*/ 8580 h 10000"/>
                <a:gd name="connsiteX59" fmla="*/ 2882 w 10000"/>
                <a:gd name="connsiteY59" fmla="*/ 8637 h 10000"/>
                <a:gd name="connsiteX60" fmla="*/ 2882 w 10000"/>
                <a:gd name="connsiteY60" fmla="*/ 8696 h 10000"/>
                <a:gd name="connsiteX61" fmla="*/ 2951 w 10000"/>
                <a:gd name="connsiteY61" fmla="*/ 8783 h 10000"/>
                <a:gd name="connsiteX62" fmla="*/ 3299 w 10000"/>
                <a:gd name="connsiteY62" fmla="*/ 8898 h 10000"/>
                <a:gd name="connsiteX63" fmla="*/ 3368 w 10000"/>
                <a:gd name="connsiteY63" fmla="*/ 9043 h 10000"/>
                <a:gd name="connsiteX64" fmla="*/ 3368 w 10000"/>
                <a:gd name="connsiteY64" fmla="*/ 9102 h 10000"/>
                <a:gd name="connsiteX65" fmla="*/ 3438 w 10000"/>
                <a:gd name="connsiteY65" fmla="*/ 9189 h 10000"/>
                <a:gd name="connsiteX66" fmla="*/ 3542 w 10000"/>
                <a:gd name="connsiteY66" fmla="*/ 9246 h 10000"/>
                <a:gd name="connsiteX67" fmla="*/ 3715 w 10000"/>
                <a:gd name="connsiteY67" fmla="*/ 9391 h 10000"/>
                <a:gd name="connsiteX68" fmla="*/ 3715 w 10000"/>
                <a:gd name="connsiteY68" fmla="*/ 9450 h 10000"/>
                <a:gd name="connsiteX69" fmla="*/ 3785 w 10000"/>
                <a:gd name="connsiteY69" fmla="*/ 9537 h 10000"/>
                <a:gd name="connsiteX70" fmla="*/ 4028 w 10000"/>
                <a:gd name="connsiteY70" fmla="*/ 9594 h 10000"/>
                <a:gd name="connsiteX71" fmla="*/ 4097 w 10000"/>
                <a:gd name="connsiteY71" fmla="*/ 9594 h 10000"/>
                <a:gd name="connsiteX72" fmla="*/ 4201 w 10000"/>
                <a:gd name="connsiteY72" fmla="*/ 9537 h 10000"/>
                <a:gd name="connsiteX73" fmla="*/ 4444 w 10000"/>
                <a:gd name="connsiteY73" fmla="*/ 9594 h 10000"/>
                <a:gd name="connsiteX74" fmla="*/ 4618 w 10000"/>
                <a:gd name="connsiteY74" fmla="*/ 9537 h 10000"/>
                <a:gd name="connsiteX75" fmla="*/ 4757 w 10000"/>
                <a:gd name="connsiteY75" fmla="*/ 9450 h 10000"/>
                <a:gd name="connsiteX76" fmla="*/ 4861 w 10000"/>
                <a:gd name="connsiteY76" fmla="*/ 9537 h 10000"/>
                <a:gd name="connsiteX77" fmla="*/ 5174 w 10000"/>
                <a:gd name="connsiteY77" fmla="*/ 9739 h 10000"/>
                <a:gd name="connsiteX78" fmla="*/ 5243 w 10000"/>
                <a:gd name="connsiteY78" fmla="*/ 9855 h 10000"/>
                <a:gd name="connsiteX79" fmla="*/ 5347 w 10000"/>
                <a:gd name="connsiteY79" fmla="*/ 9942 h 10000"/>
                <a:gd name="connsiteX80" fmla="*/ 5417 w 10000"/>
                <a:gd name="connsiteY80" fmla="*/ 9942 h 10000"/>
                <a:gd name="connsiteX81" fmla="*/ 5486 w 10000"/>
                <a:gd name="connsiteY81" fmla="*/ 9942 h 10000"/>
                <a:gd name="connsiteX82" fmla="*/ 5590 w 10000"/>
                <a:gd name="connsiteY82" fmla="*/ 9942 h 10000"/>
                <a:gd name="connsiteX83" fmla="*/ 5764 w 10000"/>
                <a:gd name="connsiteY83" fmla="*/ 9942 h 10000"/>
                <a:gd name="connsiteX84" fmla="*/ 5833 w 10000"/>
                <a:gd name="connsiteY84" fmla="*/ 9942 h 10000"/>
                <a:gd name="connsiteX85" fmla="*/ 6007 w 10000"/>
                <a:gd name="connsiteY85" fmla="*/ 9942 h 10000"/>
                <a:gd name="connsiteX86" fmla="*/ 6076 w 10000"/>
                <a:gd name="connsiteY86" fmla="*/ 9942 h 10000"/>
                <a:gd name="connsiteX87" fmla="*/ 6146 w 10000"/>
                <a:gd name="connsiteY87" fmla="*/ 10000 h 10000"/>
                <a:gd name="connsiteX88" fmla="*/ 6319 w 10000"/>
                <a:gd name="connsiteY88" fmla="*/ 9942 h 10000"/>
                <a:gd name="connsiteX89" fmla="*/ 6493 w 10000"/>
                <a:gd name="connsiteY89" fmla="*/ 9942 h 10000"/>
                <a:gd name="connsiteX90" fmla="*/ 6667 w 10000"/>
                <a:gd name="connsiteY90" fmla="*/ 9855 h 10000"/>
                <a:gd name="connsiteX91" fmla="*/ 6806 w 10000"/>
                <a:gd name="connsiteY91" fmla="*/ 9855 h 10000"/>
                <a:gd name="connsiteX92" fmla="*/ 7049 w 10000"/>
                <a:gd name="connsiteY92" fmla="*/ 9855 h 10000"/>
                <a:gd name="connsiteX93" fmla="*/ 7292 w 10000"/>
                <a:gd name="connsiteY93" fmla="*/ 9739 h 10000"/>
                <a:gd name="connsiteX94" fmla="*/ 7292 w 10000"/>
                <a:gd name="connsiteY94" fmla="*/ 9739 h 10000"/>
                <a:gd name="connsiteX95" fmla="*/ 7292 w 10000"/>
                <a:gd name="connsiteY95" fmla="*/ 9739 h 10000"/>
                <a:gd name="connsiteX96" fmla="*/ 7569 w 10000"/>
                <a:gd name="connsiteY96" fmla="*/ 9537 h 10000"/>
                <a:gd name="connsiteX97" fmla="*/ 7639 w 10000"/>
                <a:gd name="connsiteY97" fmla="*/ 9450 h 10000"/>
                <a:gd name="connsiteX98" fmla="*/ 7813 w 10000"/>
                <a:gd name="connsiteY98" fmla="*/ 9450 h 10000"/>
                <a:gd name="connsiteX99" fmla="*/ 8125 w 10000"/>
                <a:gd name="connsiteY99" fmla="*/ 9537 h 10000"/>
                <a:gd name="connsiteX100" fmla="*/ 8299 w 10000"/>
                <a:gd name="connsiteY100" fmla="*/ 9537 h 10000"/>
                <a:gd name="connsiteX101" fmla="*/ 8472 w 10000"/>
                <a:gd name="connsiteY101" fmla="*/ 9450 h 10000"/>
                <a:gd name="connsiteX102" fmla="*/ 8472 w 10000"/>
                <a:gd name="connsiteY102" fmla="*/ 9246 h 10000"/>
                <a:gd name="connsiteX103" fmla="*/ 8542 w 10000"/>
                <a:gd name="connsiteY103" fmla="*/ 9189 h 10000"/>
                <a:gd name="connsiteX104" fmla="*/ 8472 w 10000"/>
                <a:gd name="connsiteY104" fmla="*/ 9102 h 10000"/>
                <a:gd name="connsiteX105" fmla="*/ 8472 w 10000"/>
                <a:gd name="connsiteY105" fmla="*/ 9043 h 10000"/>
                <a:gd name="connsiteX106" fmla="*/ 8125 w 10000"/>
                <a:gd name="connsiteY106" fmla="*/ 9043 h 10000"/>
                <a:gd name="connsiteX107" fmla="*/ 8056 w 10000"/>
                <a:gd name="connsiteY107" fmla="*/ 8985 h 10000"/>
                <a:gd name="connsiteX108" fmla="*/ 8056 w 10000"/>
                <a:gd name="connsiteY108" fmla="*/ 8898 h 10000"/>
                <a:gd name="connsiteX109" fmla="*/ 7882 w 10000"/>
                <a:gd name="connsiteY109" fmla="*/ 8637 h 10000"/>
                <a:gd name="connsiteX110" fmla="*/ 7882 w 10000"/>
                <a:gd name="connsiteY110" fmla="*/ 8493 h 10000"/>
                <a:gd name="connsiteX111" fmla="*/ 7813 w 10000"/>
                <a:gd name="connsiteY111" fmla="*/ 8435 h 10000"/>
                <a:gd name="connsiteX112" fmla="*/ 7569 w 10000"/>
                <a:gd name="connsiteY112" fmla="*/ 8289 h 10000"/>
                <a:gd name="connsiteX113" fmla="*/ 7465 w 10000"/>
                <a:gd name="connsiteY113" fmla="*/ 8232 h 10000"/>
                <a:gd name="connsiteX114" fmla="*/ 7396 w 10000"/>
                <a:gd name="connsiteY114" fmla="*/ 8145 h 10000"/>
                <a:gd name="connsiteX115" fmla="*/ 7396 w 10000"/>
                <a:gd name="connsiteY115" fmla="*/ 8087 h 10000"/>
                <a:gd name="connsiteX116" fmla="*/ 7292 w 10000"/>
                <a:gd name="connsiteY116" fmla="*/ 7942 h 10000"/>
                <a:gd name="connsiteX117" fmla="*/ 7222 w 10000"/>
                <a:gd name="connsiteY117" fmla="*/ 7942 h 10000"/>
                <a:gd name="connsiteX118" fmla="*/ 7049 w 10000"/>
                <a:gd name="connsiteY118" fmla="*/ 7884 h 10000"/>
                <a:gd name="connsiteX119" fmla="*/ 6979 w 10000"/>
                <a:gd name="connsiteY119" fmla="*/ 7884 h 10000"/>
                <a:gd name="connsiteX120" fmla="*/ 6910 w 10000"/>
                <a:gd name="connsiteY120" fmla="*/ 7884 h 10000"/>
                <a:gd name="connsiteX121" fmla="*/ 6806 w 10000"/>
                <a:gd name="connsiteY121" fmla="*/ 7884 h 10000"/>
                <a:gd name="connsiteX122" fmla="*/ 6736 w 10000"/>
                <a:gd name="connsiteY122" fmla="*/ 7826 h 10000"/>
                <a:gd name="connsiteX123" fmla="*/ 6806 w 10000"/>
                <a:gd name="connsiteY123" fmla="*/ 7739 h 10000"/>
                <a:gd name="connsiteX124" fmla="*/ 6910 w 10000"/>
                <a:gd name="connsiteY124" fmla="*/ 7681 h 10000"/>
                <a:gd name="connsiteX125" fmla="*/ 6910 w 10000"/>
                <a:gd name="connsiteY125" fmla="*/ 7536 h 10000"/>
                <a:gd name="connsiteX126" fmla="*/ 6979 w 10000"/>
                <a:gd name="connsiteY126" fmla="*/ 7536 h 10000"/>
                <a:gd name="connsiteX127" fmla="*/ 7222 w 10000"/>
                <a:gd name="connsiteY127" fmla="*/ 7536 h 10000"/>
                <a:gd name="connsiteX128" fmla="*/ 7396 w 10000"/>
                <a:gd name="connsiteY128" fmla="*/ 7536 h 10000"/>
                <a:gd name="connsiteX129" fmla="*/ 7465 w 10000"/>
                <a:gd name="connsiteY129" fmla="*/ 7478 h 10000"/>
                <a:gd name="connsiteX130" fmla="*/ 7465 w 10000"/>
                <a:gd name="connsiteY130" fmla="*/ 7333 h 10000"/>
                <a:gd name="connsiteX131" fmla="*/ 7465 w 10000"/>
                <a:gd name="connsiteY131" fmla="*/ 6928 h 10000"/>
                <a:gd name="connsiteX132" fmla="*/ 7465 w 10000"/>
                <a:gd name="connsiteY132" fmla="*/ 6782 h 10000"/>
                <a:gd name="connsiteX133" fmla="*/ 7569 w 10000"/>
                <a:gd name="connsiteY133" fmla="*/ 6637 h 10000"/>
                <a:gd name="connsiteX134" fmla="*/ 7465 w 10000"/>
                <a:gd name="connsiteY134" fmla="*/ 6580 h 10000"/>
                <a:gd name="connsiteX135" fmla="*/ 7465 w 10000"/>
                <a:gd name="connsiteY135" fmla="*/ 6522 h 10000"/>
                <a:gd name="connsiteX136" fmla="*/ 7569 w 10000"/>
                <a:gd name="connsiteY136" fmla="*/ 6522 h 10000"/>
                <a:gd name="connsiteX137" fmla="*/ 7569 w 10000"/>
                <a:gd name="connsiteY137" fmla="*/ 6435 h 10000"/>
                <a:gd name="connsiteX138" fmla="*/ 7639 w 10000"/>
                <a:gd name="connsiteY138" fmla="*/ 6319 h 10000"/>
                <a:gd name="connsiteX139" fmla="*/ 7708 w 10000"/>
                <a:gd name="connsiteY139" fmla="*/ 6319 h 10000"/>
                <a:gd name="connsiteX140" fmla="*/ 7882 w 10000"/>
                <a:gd name="connsiteY140" fmla="*/ 6319 h 10000"/>
                <a:gd name="connsiteX141" fmla="*/ 7882 w 10000"/>
                <a:gd name="connsiteY141" fmla="*/ 6232 h 10000"/>
                <a:gd name="connsiteX142" fmla="*/ 7951 w 10000"/>
                <a:gd name="connsiteY142" fmla="*/ 5971 h 10000"/>
                <a:gd name="connsiteX143" fmla="*/ 8056 w 10000"/>
                <a:gd name="connsiteY143" fmla="*/ 5884 h 10000"/>
                <a:gd name="connsiteX144" fmla="*/ 8368 w 10000"/>
                <a:gd name="connsiteY144" fmla="*/ 5420 h 10000"/>
                <a:gd name="connsiteX145" fmla="*/ 8542 w 10000"/>
                <a:gd name="connsiteY145" fmla="*/ 5362 h 10000"/>
                <a:gd name="connsiteX146" fmla="*/ 8611 w 10000"/>
                <a:gd name="connsiteY146" fmla="*/ 5276 h 10000"/>
                <a:gd name="connsiteX147" fmla="*/ 8715 w 10000"/>
                <a:gd name="connsiteY147" fmla="*/ 5217 h 10000"/>
                <a:gd name="connsiteX148" fmla="*/ 8854 w 10000"/>
                <a:gd name="connsiteY148" fmla="*/ 4667 h 10000"/>
                <a:gd name="connsiteX149" fmla="*/ 8854 w 10000"/>
                <a:gd name="connsiteY149" fmla="*/ 4522 h 10000"/>
                <a:gd name="connsiteX150" fmla="*/ 8854 w 10000"/>
                <a:gd name="connsiteY150" fmla="*/ 4376 h 10000"/>
                <a:gd name="connsiteX151" fmla="*/ 8854 w 10000"/>
                <a:gd name="connsiteY151" fmla="*/ 4261 h 10000"/>
                <a:gd name="connsiteX152" fmla="*/ 8854 w 10000"/>
                <a:gd name="connsiteY152" fmla="*/ 4058 h 10000"/>
                <a:gd name="connsiteX153" fmla="*/ 8958 w 10000"/>
                <a:gd name="connsiteY153" fmla="*/ 3913 h 10000"/>
                <a:gd name="connsiteX154" fmla="*/ 9097 w 10000"/>
                <a:gd name="connsiteY154" fmla="*/ 3420 h 10000"/>
                <a:gd name="connsiteX155" fmla="*/ 9097 w 10000"/>
                <a:gd name="connsiteY155" fmla="*/ 3362 h 10000"/>
                <a:gd name="connsiteX156" fmla="*/ 9097 w 10000"/>
                <a:gd name="connsiteY156" fmla="*/ 3159 h 10000"/>
                <a:gd name="connsiteX157" fmla="*/ 9201 w 10000"/>
                <a:gd name="connsiteY157" fmla="*/ 3102 h 10000"/>
                <a:gd name="connsiteX158" fmla="*/ 9375 w 10000"/>
                <a:gd name="connsiteY158" fmla="*/ 3102 h 10000"/>
                <a:gd name="connsiteX159" fmla="*/ 9514 w 10000"/>
                <a:gd name="connsiteY159" fmla="*/ 2956 h 10000"/>
                <a:gd name="connsiteX160" fmla="*/ 9688 w 10000"/>
                <a:gd name="connsiteY160" fmla="*/ 2869 h 10000"/>
                <a:gd name="connsiteX161" fmla="*/ 9757 w 10000"/>
                <a:gd name="connsiteY161" fmla="*/ 2811 h 10000"/>
                <a:gd name="connsiteX162" fmla="*/ 9931 w 10000"/>
                <a:gd name="connsiteY162" fmla="*/ 2811 h 10000"/>
                <a:gd name="connsiteX163" fmla="*/ 10000 w 10000"/>
                <a:gd name="connsiteY163" fmla="*/ 2667 h 10000"/>
                <a:gd name="connsiteX164" fmla="*/ 10000 w 10000"/>
                <a:gd name="connsiteY164" fmla="*/ 2550 h 10000"/>
                <a:gd name="connsiteX165" fmla="*/ 10000 w 10000"/>
                <a:gd name="connsiteY165" fmla="*/ 2463 h 10000"/>
                <a:gd name="connsiteX166" fmla="*/ 9931 w 10000"/>
                <a:gd name="connsiteY166" fmla="*/ 2463 h 10000"/>
                <a:gd name="connsiteX167" fmla="*/ 9931 w 10000"/>
                <a:gd name="connsiteY167" fmla="*/ 2463 h 10000"/>
                <a:gd name="connsiteX168" fmla="*/ 9861 w 10000"/>
                <a:gd name="connsiteY168" fmla="*/ 2463 h 10000"/>
                <a:gd name="connsiteX169" fmla="*/ 9861 w 10000"/>
                <a:gd name="connsiteY169" fmla="*/ 2348 h 10000"/>
                <a:gd name="connsiteX170" fmla="*/ 9757 w 10000"/>
                <a:gd name="connsiteY170" fmla="*/ 2261 h 10000"/>
                <a:gd name="connsiteX171" fmla="*/ 9688 w 10000"/>
                <a:gd name="connsiteY171" fmla="*/ 2261 h 10000"/>
                <a:gd name="connsiteX172" fmla="*/ 9514 w 10000"/>
                <a:gd name="connsiteY172" fmla="*/ 2202 h 10000"/>
                <a:gd name="connsiteX173" fmla="*/ 9271 w 10000"/>
                <a:gd name="connsiteY173" fmla="*/ 956 h 10000"/>
                <a:gd name="connsiteX174" fmla="*/ 9271 w 10000"/>
                <a:gd name="connsiteY174" fmla="*/ 956 h 10000"/>
                <a:gd name="connsiteX175" fmla="*/ 9271 w 10000"/>
                <a:gd name="connsiteY175" fmla="*/ 898 h 10000"/>
                <a:gd name="connsiteX176" fmla="*/ 9097 w 10000"/>
                <a:gd name="connsiteY176" fmla="*/ 695 h 10000"/>
                <a:gd name="connsiteX177" fmla="*/ 9097 w 10000"/>
                <a:gd name="connsiteY177" fmla="*/ 493 h 10000"/>
                <a:gd name="connsiteX178" fmla="*/ 8854 w 10000"/>
                <a:gd name="connsiteY178" fmla="*/ 289 h 10000"/>
                <a:gd name="connsiteX179" fmla="*/ 8715 w 10000"/>
                <a:gd name="connsiteY179" fmla="*/ 145 h 10000"/>
                <a:gd name="connsiteX180" fmla="*/ 8611 w 10000"/>
                <a:gd name="connsiteY180" fmla="*/ 87 h 10000"/>
                <a:gd name="connsiteX181" fmla="*/ 8472 w 10000"/>
                <a:gd name="connsiteY181" fmla="*/ 0 h 10000"/>
                <a:gd name="connsiteX182" fmla="*/ 8056 w 10000"/>
                <a:gd name="connsiteY182" fmla="*/ 87 h 10000"/>
                <a:gd name="connsiteX183" fmla="*/ 7813 w 10000"/>
                <a:gd name="connsiteY183" fmla="*/ 289 h 10000"/>
                <a:gd name="connsiteX184" fmla="*/ 7049 w 10000"/>
                <a:gd name="connsiteY184" fmla="*/ 637 h 10000"/>
                <a:gd name="connsiteX185" fmla="*/ 5833 w 10000"/>
                <a:gd name="connsiteY185" fmla="*/ 493 h 10000"/>
                <a:gd name="connsiteX186" fmla="*/ 5833 w 10000"/>
                <a:gd name="connsiteY186" fmla="*/ 347 h 10000"/>
                <a:gd name="connsiteX187" fmla="*/ 5833 w 10000"/>
                <a:gd name="connsiteY187" fmla="*/ 347 h 10000"/>
                <a:gd name="connsiteX188" fmla="*/ 5833 w 10000"/>
                <a:gd name="connsiteY188" fmla="*/ 347 h 10000"/>
                <a:gd name="connsiteX189" fmla="*/ 5764 w 10000"/>
                <a:gd name="connsiteY189" fmla="*/ 347 h 10000"/>
                <a:gd name="connsiteX190" fmla="*/ 3056 w 10000"/>
                <a:gd name="connsiteY190" fmla="*/ 493 h 10000"/>
                <a:gd name="connsiteX191" fmla="*/ 2333 w 10000"/>
                <a:gd name="connsiteY191" fmla="*/ 371 h 10000"/>
                <a:gd name="connsiteX192" fmla="*/ 1910 w 10000"/>
                <a:gd name="connsiteY192" fmla="*/ 493 h 10000"/>
                <a:gd name="connsiteX193" fmla="*/ 1910 w 10000"/>
                <a:gd name="connsiteY193" fmla="*/ 493 h 10000"/>
                <a:gd name="connsiteX194" fmla="*/ 1910 w 10000"/>
                <a:gd name="connsiteY194" fmla="*/ 956 h 10000"/>
                <a:gd name="connsiteX195" fmla="*/ 1319 w 10000"/>
                <a:gd name="connsiteY195" fmla="*/ 1507 h 10000"/>
                <a:gd name="connsiteX0" fmla="*/ 1910 w 10000"/>
                <a:gd name="connsiteY0" fmla="*/ 956 h 10000"/>
                <a:gd name="connsiteX1" fmla="*/ 1319 w 10000"/>
                <a:gd name="connsiteY1" fmla="*/ 3768 h 10000"/>
                <a:gd name="connsiteX2" fmla="*/ 1250 w 10000"/>
                <a:gd name="connsiteY2" fmla="*/ 3768 h 10000"/>
                <a:gd name="connsiteX3" fmla="*/ 903 w 10000"/>
                <a:gd name="connsiteY3" fmla="*/ 3768 h 10000"/>
                <a:gd name="connsiteX4" fmla="*/ 660 w 10000"/>
                <a:gd name="connsiteY4" fmla="*/ 3768 h 10000"/>
                <a:gd name="connsiteX5" fmla="*/ 660 w 10000"/>
                <a:gd name="connsiteY5" fmla="*/ 3855 h 10000"/>
                <a:gd name="connsiteX6" fmla="*/ 660 w 10000"/>
                <a:gd name="connsiteY6" fmla="*/ 3913 h 10000"/>
                <a:gd name="connsiteX7" fmla="*/ 660 w 10000"/>
                <a:gd name="connsiteY7" fmla="*/ 3971 h 10000"/>
                <a:gd name="connsiteX8" fmla="*/ 590 w 10000"/>
                <a:gd name="connsiteY8" fmla="*/ 4115 h 10000"/>
                <a:gd name="connsiteX9" fmla="*/ 486 w 10000"/>
                <a:gd name="connsiteY9" fmla="*/ 4261 h 10000"/>
                <a:gd name="connsiteX10" fmla="*/ 243 w 10000"/>
                <a:gd name="connsiteY10" fmla="*/ 4463 h 10000"/>
                <a:gd name="connsiteX11" fmla="*/ 243 w 10000"/>
                <a:gd name="connsiteY11" fmla="*/ 4522 h 10000"/>
                <a:gd name="connsiteX12" fmla="*/ 347 w 10000"/>
                <a:gd name="connsiteY12" fmla="*/ 4608 h 10000"/>
                <a:gd name="connsiteX13" fmla="*/ 243 w 10000"/>
                <a:gd name="connsiteY13" fmla="*/ 4667 h 10000"/>
                <a:gd name="connsiteX14" fmla="*/ 243 w 10000"/>
                <a:gd name="connsiteY14" fmla="*/ 4667 h 10000"/>
                <a:gd name="connsiteX15" fmla="*/ 174 w 10000"/>
                <a:gd name="connsiteY15" fmla="*/ 4724 h 10000"/>
                <a:gd name="connsiteX16" fmla="*/ 174 w 10000"/>
                <a:gd name="connsiteY16" fmla="*/ 4724 h 10000"/>
                <a:gd name="connsiteX17" fmla="*/ 174 w 10000"/>
                <a:gd name="connsiteY17" fmla="*/ 4869 h 10000"/>
                <a:gd name="connsiteX18" fmla="*/ 174 w 10000"/>
                <a:gd name="connsiteY18" fmla="*/ 5015 h 10000"/>
                <a:gd name="connsiteX19" fmla="*/ 104 w 10000"/>
                <a:gd name="connsiteY19" fmla="*/ 5072 h 10000"/>
                <a:gd name="connsiteX20" fmla="*/ 0 w 10000"/>
                <a:gd name="connsiteY20" fmla="*/ 5130 h 10000"/>
                <a:gd name="connsiteX21" fmla="*/ 0 w 10000"/>
                <a:gd name="connsiteY21" fmla="*/ 5217 h 10000"/>
                <a:gd name="connsiteX22" fmla="*/ 0 w 10000"/>
                <a:gd name="connsiteY22" fmla="*/ 5362 h 10000"/>
                <a:gd name="connsiteX23" fmla="*/ 104 w 10000"/>
                <a:gd name="connsiteY23" fmla="*/ 5362 h 10000"/>
                <a:gd name="connsiteX24" fmla="*/ 104 w 10000"/>
                <a:gd name="connsiteY24" fmla="*/ 5362 h 10000"/>
                <a:gd name="connsiteX25" fmla="*/ 347 w 10000"/>
                <a:gd name="connsiteY25" fmla="*/ 5276 h 10000"/>
                <a:gd name="connsiteX26" fmla="*/ 243 w 10000"/>
                <a:gd name="connsiteY26" fmla="*/ 5478 h 10000"/>
                <a:gd name="connsiteX27" fmla="*/ 347 w 10000"/>
                <a:gd name="connsiteY27" fmla="*/ 5623 h 10000"/>
                <a:gd name="connsiteX28" fmla="*/ 486 w 10000"/>
                <a:gd name="connsiteY28" fmla="*/ 5884 h 10000"/>
                <a:gd name="connsiteX29" fmla="*/ 486 w 10000"/>
                <a:gd name="connsiteY29" fmla="*/ 5971 h 10000"/>
                <a:gd name="connsiteX30" fmla="*/ 590 w 10000"/>
                <a:gd name="connsiteY30" fmla="*/ 5971 h 10000"/>
                <a:gd name="connsiteX31" fmla="*/ 590 w 10000"/>
                <a:gd name="connsiteY31" fmla="*/ 6028 h 10000"/>
                <a:gd name="connsiteX32" fmla="*/ 660 w 10000"/>
                <a:gd name="connsiteY32" fmla="*/ 6087 h 10000"/>
                <a:gd name="connsiteX33" fmla="*/ 660 w 10000"/>
                <a:gd name="connsiteY33" fmla="*/ 6174 h 10000"/>
                <a:gd name="connsiteX34" fmla="*/ 486 w 10000"/>
                <a:gd name="connsiteY34" fmla="*/ 6232 h 10000"/>
                <a:gd name="connsiteX35" fmla="*/ 660 w 10000"/>
                <a:gd name="connsiteY35" fmla="*/ 6319 h 10000"/>
                <a:gd name="connsiteX36" fmla="*/ 833 w 10000"/>
                <a:gd name="connsiteY36" fmla="*/ 6522 h 10000"/>
                <a:gd name="connsiteX37" fmla="*/ 1007 w 10000"/>
                <a:gd name="connsiteY37" fmla="*/ 6724 h 10000"/>
                <a:gd name="connsiteX38" fmla="*/ 1076 w 10000"/>
                <a:gd name="connsiteY38" fmla="*/ 6841 h 10000"/>
                <a:gd name="connsiteX39" fmla="*/ 1007 w 10000"/>
                <a:gd name="connsiteY39" fmla="*/ 6985 h 10000"/>
                <a:gd name="connsiteX40" fmla="*/ 1007 w 10000"/>
                <a:gd name="connsiteY40" fmla="*/ 7189 h 10000"/>
                <a:gd name="connsiteX41" fmla="*/ 1007 w 10000"/>
                <a:gd name="connsiteY41" fmla="*/ 7276 h 10000"/>
                <a:gd name="connsiteX42" fmla="*/ 1146 w 10000"/>
                <a:gd name="connsiteY42" fmla="*/ 7391 h 10000"/>
                <a:gd name="connsiteX43" fmla="*/ 1250 w 10000"/>
                <a:gd name="connsiteY43" fmla="*/ 7391 h 10000"/>
                <a:gd name="connsiteX44" fmla="*/ 1389 w 10000"/>
                <a:gd name="connsiteY44" fmla="*/ 7391 h 10000"/>
                <a:gd name="connsiteX45" fmla="*/ 1493 w 10000"/>
                <a:gd name="connsiteY45" fmla="*/ 7536 h 10000"/>
                <a:gd name="connsiteX46" fmla="*/ 1563 w 10000"/>
                <a:gd name="connsiteY46" fmla="*/ 7594 h 10000"/>
                <a:gd name="connsiteX47" fmla="*/ 1806 w 10000"/>
                <a:gd name="connsiteY47" fmla="*/ 7594 h 10000"/>
                <a:gd name="connsiteX48" fmla="*/ 1910 w 10000"/>
                <a:gd name="connsiteY48" fmla="*/ 7681 h 10000"/>
                <a:gd name="connsiteX49" fmla="*/ 1979 w 10000"/>
                <a:gd name="connsiteY49" fmla="*/ 7739 h 10000"/>
                <a:gd name="connsiteX50" fmla="*/ 2049 w 10000"/>
                <a:gd name="connsiteY50" fmla="*/ 7739 h 10000"/>
                <a:gd name="connsiteX51" fmla="*/ 1979 w 10000"/>
                <a:gd name="connsiteY51" fmla="*/ 7884 h 10000"/>
                <a:gd name="connsiteX52" fmla="*/ 2049 w 10000"/>
                <a:gd name="connsiteY52" fmla="*/ 7942 h 10000"/>
                <a:gd name="connsiteX53" fmla="*/ 2292 w 10000"/>
                <a:gd name="connsiteY53" fmla="*/ 8087 h 10000"/>
                <a:gd name="connsiteX54" fmla="*/ 2465 w 10000"/>
                <a:gd name="connsiteY54" fmla="*/ 8232 h 10000"/>
                <a:gd name="connsiteX55" fmla="*/ 2535 w 10000"/>
                <a:gd name="connsiteY55" fmla="*/ 8289 h 10000"/>
                <a:gd name="connsiteX56" fmla="*/ 2708 w 10000"/>
                <a:gd name="connsiteY56" fmla="*/ 8348 h 10000"/>
                <a:gd name="connsiteX57" fmla="*/ 2708 w 10000"/>
                <a:gd name="connsiteY57" fmla="*/ 8435 h 10000"/>
                <a:gd name="connsiteX58" fmla="*/ 2813 w 10000"/>
                <a:gd name="connsiteY58" fmla="*/ 8580 h 10000"/>
                <a:gd name="connsiteX59" fmla="*/ 2882 w 10000"/>
                <a:gd name="connsiteY59" fmla="*/ 8637 h 10000"/>
                <a:gd name="connsiteX60" fmla="*/ 2882 w 10000"/>
                <a:gd name="connsiteY60" fmla="*/ 8696 h 10000"/>
                <a:gd name="connsiteX61" fmla="*/ 2951 w 10000"/>
                <a:gd name="connsiteY61" fmla="*/ 8783 h 10000"/>
                <a:gd name="connsiteX62" fmla="*/ 3299 w 10000"/>
                <a:gd name="connsiteY62" fmla="*/ 8898 h 10000"/>
                <a:gd name="connsiteX63" fmla="*/ 3368 w 10000"/>
                <a:gd name="connsiteY63" fmla="*/ 9043 h 10000"/>
                <a:gd name="connsiteX64" fmla="*/ 3368 w 10000"/>
                <a:gd name="connsiteY64" fmla="*/ 9102 h 10000"/>
                <a:gd name="connsiteX65" fmla="*/ 3438 w 10000"/>
                <a:gd name="connsiteY65" fmla="*/ 9189 h 10000"/>
                <a:gd name="connsiteX66" fmla="*/ 3542 w 10000"/>
                <a:gd name="connsiteY66" fmla="*/ 9246 h 10000"/>
                <a:gd name="connsiteX67" fmla="*/ 3715 w 10000"/>
                <a:gd name="connsiteY67" fmla="*/ 9391 h 10000"/>
                <a:gd name="connsiteX68" fmla="*/ 3715 w 10000"/>
                <a:gd name="connsiteY68" fmla="*/ 9450 h 10000"/>
                <a:gd name="connsiteX69" fmla="*/ 3785 w 10000"/>
                <a:gd name="connsiteY69" fmla="*/ 9537 h 10000"/>
                <a:gd name="connsiteX70" fmla="*/ 4028 w 10000"/>
                <a:gd name="connsiteY70" fmla="*/ 9594 h 10000"/>
                <a:gd name="connsiteX71" fmla="*/ 4097 w 10000"/>
                <a:gd name="connsiteY71" fmla="*/ 9594 h 10000"/>
                <a:gd name="connsiteX72" fmla="*/ 4201 w 10000"/>
                <a:gd name="connsiteY72" fmla="*/ 9537 h 10000"/>
                <a:gd name="connsiteX73" fmla="*/ 4444 w 10000"/>
                <a:gd name="connsiteY73" fmla="*/ 9594 h 10000"/>
                <a:gd name="connsiteX74" fmla="*/ 4618 w 10000"/>
                <a:gd name="connsiteY74" fmla="*/ 9537 h 10000"/>
                <a:gd name="connsiteX75" fmla="*/ 4757 w 10000"/>
                <a:gd name="connsiteY75" fmla="*/ 9450 h 10000"/>
                <a:gd name="connsiteX76" fmla="*/ 4861 w 10000"/>
                <a:gd name="connsiteY76" fmla="*/ 9537 h 10000"/>
                <a:gd name="connsiteX77" fmla="*/ 5174 w 10000"/>
                <a:gd name="connsiteY77" fmla="*/ 9739 h 10000"/>
                <a:gd name="connsiteX78" fmla="*/ 5243 w 10000"/>
                <a:gd name="connsiteY78" fmla="*/ 9855 h 10000"/>
                <a:gd name="connsiteX79" fmla="*/ 5347 w 10000"/>
                <a:gd name="connsiteY79" fmla="*/ 9942 h 10000"/>
                <a:gd name="connsiteX80" fmla="*/ 5417 w 10000"/>
                <a:gd name="connsiteY80" fmla="*/ 9942 h 10000"/>
                <a:gd name="connsiteX81" fmla="*/ 5486 w 10000"/>
                <a:gd name="connsiteY81" fmla="*/ 9942 h 10000"/>
                <a:gd name="connsiteX82" fmla="*/ 5590 w 10000"/>
                <a:gd name="connsiteY82" fmla="*/ 9942 h 10000"/>
                <a:gd name="connsiteX83" fmla="*/ 5764 w 10000"/>
                <a:gd name="connsiteY83" fmla="*/ 9942 h 10000"/>
                <a:gd name="connsiteX84" fmla="*/ 5833 w 10000"/>
                <a:gd name="connsiteY84" fmla="*/ 9942 h 10000"/>
                <a:gd name="connsiteX85" fmla="*/ 6007 w 10000"/>
                <a:gd name="connsiteY85" fmla="*/ 9942 h 10000"/>
                <a:gd name="connsiteX86" fmla="*/ 6076 w 10000"/>
                <a:gd name="connsiteY86" fmla="*/ 9942 h 10000"/>
                <a:gd name="connsiteX87" fmla="*/ 6146 w 10000"/>
                <a:gd name="connsiteY87" fmla="*/ 10000 h 10000"/>
                <a:gd name="connsiteX88" fmla="*/ 6319 w 10000"/>
                <a:gd name="connsiteY88" fmla="*/ 9942 h 10000"/>
                <a:gd name="connsiteX89" fmla="*/ 6493 w 10000"/>
                <a:gd name="connsiteY89" fmla="*/ 9942 h 10000"/>
                <a:gd name="connsiteX90" fmla="*/ 6667 w 10000"/>
                <a:gd name="connsiteY90" fmla="*/ 9855 h 10000"/>
                <a:gd name="connsiteX91" fmla="*/ 6806 w 10000"/>
                <a:gd name="connsiteY91" fmla="*/ 9855 h 10000"/>
                <a:gd name="connsiteX92" fmla="*/ 7049 w 10000"/>
                <a:gd name="connsiteY92" fmla="*/ 9855 h 10000"/>
                <a:gd name="connsiteX93" fmla="*/ 7292 w 10000"/>
                <a:gd name="connsiteY93" fmla="*/ 9739 h 10000"/>
                <a:gd name="connsiteX94" fmla="*/ 7292 w 10000"/>
                <a:gd name="connsiteY94" fmla="*/ 9739 h 10000"/>
                <a:gd name="connsiteX95" fmla="*/ 7292 w 10000"/>
                <a:gd name="connsiteY95" fmla="*/ 9739 h 10000"/>
                <a:gd name="connsiteX96" fmla="*/ 7569 w 10000"/>
                <a:gd name="connsiteY96" fmla="*/ 9537 h 10000"/>
                <a:gd name="connsiteX97" fmla="*/ 7639 w 10000"/>
                <a:gd name="connsiteY97" fmla="*/ 9450 h 10000"/>
                <a:gd name="connsiteX98" fmla="*/ 7813 w 10000"/>
                <a:gd name="connsiteY98" fmla="*/ 9450 h 10000"/>
                <a:gd name="connsiteX99" fmla="*/ 8125 w 10000"/>
                <a:gd name="connsiteY99" fmla="*/ 9537 h 10000"/>
                <a:gd name="connsiteX100" fmla="*/ 8299 w 10000"/>
                <a:gd name="connsiteY100" fmla="*/ 9537 h 10000"/>
                <a:gd name="connsiteX101" fmla="*/ 8472 w 10000"/>
                <a:gd name="connsiteY101" fmla="*/ 9450 h 10000"/>
                <a:gd name="connsiteX102" fmla="*/ 8472 w 10000"/>
                <a:gd name="connsiteY102" fmla="*/ 9246 h 10000"/>
                <a:gd name="connsiteX103" fmla="*/ 8542 w 10000"/>
                <a:gd name="connsiteY103" fmla="*/ 9189 h 10000"/>
                <a:gd name="connsiteX104" fmla="*/ 8472 w 10000"/>
                <a:gd name="connsiteY104" fmla="*/ 9102 h 10000"/>
                <a:gd name="connsiteX105" fmla="*/ 8472 w 10000"/>
                <a:gd name="connsiteY105" fmla="*/ 9043 h 10000"/>
                <a:gd name="connsiteX106" fmla="*/ 8125 w 10000"/>
                <a:gd name="connsiteY106" fmla="*/ 9043 h 10000"/>
                <a:gd name="connsiteX107" fmla="*/ 8056 w 10000"/>
                <a:gd name="connsiteY107" fmla="*/ 8985 h 10000"/>
                <a:gd name="connsiteX108" fmla="*/ 8056 w 10000"/>
                <a:gd name="connsiteY108" fmla="*/ 8898 h 10000"/>
                <a:gd name="connsiteX109" fmla="*/ 7882 w 10000"/>
                <a:gd name="connsiteY109" fmla="*/ 8637 h 10000"/>
                <a:gd name="connsiteX110" fmla="*/ 7882 w 10000"/>
                <a:gd name="connsiteY110" fmla="*/ 8493 h 10000"/>
                <a:gd name="connsiteX111" fmla="*/ 7813 w 10000"/>
                <a:gd name="connsiteY111" fmla="*/ 8435 h 10000"/>
                <a:gd name="connsiteX112" fmla="*/ 7569 w 10000"/>
                <a:gd name="connsiteY112" fmla="*/ 8289 h 10000"/>
                <a:gd name="connsiteX113" fmla="*/ 7465 w 10000"/>
                <a:gd name="connsiteY113" fmla="*/ 8232 h 10000"/>
                <a:gd name="connsiteX114" fmla="*/ 7396 w 10000"/>
                <a:gd name="connsiteY114" fmla="*/ 8145 h 10000"/>
                <a:gd name="connsiteX115" fmla="*/ 7396 w 10000"/>
                <a:gd name="connsiteY115" fmla="*/ 8087 h 10000"/>
                <a:gd name="connsiteX116" fmla="*/ 7292 w 10000"/>
                <a:gd name="connsiteY116" fmla="*/ 7942 h 10000"/>
                <a:gd name="connsiteX117" fmla="*/ 7222 w 10000"/>
                <a:gd name="connsiteY117" fmla="*/ 7942 h 10000"/>
                <a:gd name="connsiteX118" fmla="*/ 7049 w 10000"/>
                <a:gd name="connsiteY118" fmla="*/ 7884 h 10000"/>
                <a:gd name="connsiteX119" fmla="*/ 6979 w 10000"/>
                <a:gd name="connsiteY119" fmla="*/ 7884 h 10000"/>
                <a:gd name="connsiteX120" fmla="*/ 6910 w 10000"/>
                <a:gd name="connsiteY120" fmla="*/ 7884 h 10000"/>
                <a:gd name="connsiteX121" fmla="*/ 6806 w 10000"/>
                <a:gd name="connsiteY121" fmla="*/ 7884 h 10000"/>
                <a:gd name="connsiteX122" fmla="*/ 6736 w 10000"/>
                <a:gd name="connsiteY122" fmla="*/ 7826 h 10000"/>
                <a:gd name="connsiteX123" fmla="*/ 6806 w 10000"/>
                <a:gd name="connsiteY123" fmla="*/ 7739 h 10000"/>
                <a:gd name="connsiteX124" fmla="*/ 6910 w 10000"/>
                <a:gd name="connsiteY124" fmla="*/ 7681 h 10000"/>
                <a:gd name="connsiteX125" fmla="*/ 6910 w 10000"/>
                <a:gd name="connsiteY125" fmla="*/ 7536 h 10000"/>
                <a:gd name="connsiteX126" fmla="*/ 6979 w 10000"/>
                <a:gd name="connsiteY126" fmla="*/ 7536 h 10000"/>
                <a:gd name="connsiteX127" fmla="*/ 7222 w 10000"/>
                <a:gd name="connsiteY127" fmla="*/ 7536 h 10000"/>
                <a:gd name="connsiteX128" fmla="*/ 7396 w 10000"/>
                <a:gd name="connsiteY128" fmla="*/ 7536 h 10000"/>
                <a:gd name="connsiteX129" fmla="*/ 7465 w 10000"/>
                <a:gd name="connsiteY129" fmla="*/ 7478 h 10000"/>
                <a:gd name="connsiteX130" fmla="*/ 7465 w 10000"/>
                <a:gd name="connsiteY130" fmla="*/ 7333 h 10000"/>
                <a:gd name="connsiteX131" fmla="*/ 7465 w 10000"/>
                <a:gd name="connsiteY131" fmla="*/ 6928 h 10000"/>
                <a:gd name="connsiteX132" fmla="*/ 7465 w 10000"/>
                <a:gd name="connsiteY132" fmla="*/ 6782 h 10000"/>
                <a:gd name="connsiteX133" fmla="*/ 7569 w 10000"/>
                <a:gd name="connsiteY133" fmla="*/ 6637 h 10000"/>
                <a:gd name="connsiteX134" fmla="*/ 7465 w 10000"/>
                <a:gd name="connsiteY134" fmla="*/ 6580 h 10000"/>
                <a:gd name="connsiteX135" fmla="*/ 7465 w 10000"/>
                <a:gd name="connsiteY135" fmla="*/ 6522 h 10000"/>
                <a:gd name="connsiteX136" fmla="*/ 7569 w 10000"/>
                <a:gd name="connsiteY136" fmla="*/ 6522 h 10000"/>
                <a:gd name="connsiteX137" fmla="*/ 7569 w 10000"/>
                <a:gd name="connsiteY137" fmla="*/ 6435 h 10000"/>
                <a:gd name="connsiteX138" fmla="*/ 7639 w 10000"/>
                <a:gd name="connsiteY138" fmla="*/ 6319 h 10000"/>
                <a:gd name="connsiteX139" fmla="*/ 7708 w 10000"/>
                <a:gd name="connsiteY139" fmla="*/ 6319 h 10000"/>
                <a:gd name="connsiteX140" fmla="*/ 7882 w 10000"/>
                <a:gd name="connsiteY140" fmla="*/ 6319 h 10000"/>
                <a:gd name="connsiteX141" fmla="*/ 7882 w 10000"/>
                <a:gd name="connsiteY141" fmla="*/ 6232 h 10000"/>
                <a:gd name="connsiteX142" fmla="*/ 7951 w 10000"/>
                <a:gd name="connsiteY142" fmla="*/ 5971 h 10000"/>
                <a:gd name="connsiteX143" fmla="*/ 8056 w 10000"/>
                <a:gd name="connsiteY143" fmla="*/ 5884 h 10000"/>
                <a:gd name="connsiteX144" fmla="*/ 8368 w 10000"/>
                <a:gd name="connsiteY144" fmla="*/ 5420 h 10000"/>
                <a:gd name="connsiteX145" fmla="*/ 8542 w 10000"/>
                <a:gd name="connsiteY145" fmla="*/ 5362 h 10000"/>
                <a:gd name="connsiteX146" fmla="*/ 8611 w 10000"/>
                <a:gd name="connsiteY146" fmla="*/ 5276 h 10000"/>
                <a:gd name="connsiteX147" fmla="*/ 8715 w 10000"/>
                <a:gd name="connsiteY147" fmla="*/ 5217 h 10000"/>
                <a:gd name="connsiteX148" fmla="*/ 8854 w 10000"/>
                <a:gd name="connsiteY148" fmla="*/ 4667 h 10000"/>
                <a:gd name="connsiteX149" fmla="*/ 8854 w 10000"/>
                <a:gd name="connsiteY149" fmla="*/ 4522 h 10000"/>
                <a:gd name="connsiteX150" fmla="*/ 8854 w 10000"/>
                <a:gd name="connsiteY150" fmla="*/ 4376 h 10000"/>
                <a:gd name="connsiteX151" fmla="*/ 8854 w 10000"/>
                <a:gd name="connsiteY151" fmla="*/ 4261 h 10000"/>
                <a:gd name="connsiteX152" fmla="*/ 8854 w 10000"/>
                <a:gd name="connsiteY152" fmla="*/ 4058 h 10000"/>
                <a:gd name="connsiteX153" fmla="*/ 8958 w 10000"/>
                <a:gd name="connsiteY153" fmla="*/ 3913 h 10000"/>
                <a:gd name="connsiteX154" fmla="*/ 9097 w 10000"/>
                <a:gd name="connsiteY154" fmla="*/ 3420 h 10000"/>
                <a:gd name="connsiteX155" fmla="*/ 9097 w 10000"/>
                <a:gd name="connsiteY155" fmla="*/ 3362 h 10000"/>
                <a:gd name="connsiteX156" fmla="*/ 9097 w 10000"/>
                <a:gd name="connsiteY156" fmla="*/ 3159 h 10000"/>
                <a:gd name="connsiteX157" fmla="*/ 9201 w 10000"/>
                <a:gd name="connsiteY157" fmla="*/ 3102 h 10000"/>
                <a:gd name="connsiteX158" fmla="*/ 9375 w 10000"/>
                <a:gd name="connsiteY158" fmla="*/ 3102 h 10000"/>
                <a:gd name="connsiteX159" fmla="*/ 9514 w 10000"/>
                <a:gd name="connsiteY159" fmla="*/ 2956 h 10000"/>
                <a:gd name="connsiteX160" fmla="*/ 9688 w 10000"/>
                <a:gd name="connsiteY160" fmla="*/ 2869 h 10000"/>
                <a:gd name="connsiteX161" fmla="*/ 9757 w 10000"/>
                <a:gd name="connsiteY161" fmla="*/ 2811 h 10000"/>
                <a:gd name="connsiteX162" fmla="*/ 9931 w 10000"/>
                <a:gd name="connsiteY162" fmla="*/ 2811 h 10000"/>
                <a:gd name="connsiteX163" fmla="*/ 10000 w 10000"/>
                <a:gd name="connsiteY163" fmla="*/ 2667 h 10000"/>
                <a:gd name="connsiteX164" fmla="*/ 10000 w 10000"/>
                <a:gd name="connsiteY164" fmla="*/ 2550 h 10000"/>
                <a:gd name="connsiteX165" fmla="*/ 10000 w 10000"/>
                <a:gd name="connsiteY165" fmla="*/ 2463 h 10000"/>
                <a:gd name="connsiteX166" fmla="*/ 9931 w 10000"/>
                <a:gd name="connsiteY166" fmla="*/ 2463 h 10000"/>
                <a:gd name="connsiteX167" fmla="*/ 9931 w 10000"/>
                <a:gd name="connsiteY167" fmla="*/ 2463 h 10000"/>
                <a:gd name="connsiteX168" fmla="*/ 9861 w 10000"/>
                <a:gd name="connsiteY168" fmla="*/ 2463 h 10000"/>
                <a:gd name="connsiteX169" fmla="*/ 9861 w 10000"/>
                <a:gd name="connsiteY169" fmla="*/ 2348 h 10000"/>
                <a:gd name="connsiteX170" fmla="*/ 9757 w 10000"/>
                <a:gd name="connsiteY170" fmla="*/ 2261 h 10000"/>
                <a:gd name="connsiteX171" fmla="*/ 9688 w 10000"/>
                <a:gd name="connsiteY171" fmla="*/ 2261 h 10000"/>
                <a:gd name="connsiteX172" fmla="*/ 9514 w 10000"/>
                <a:gd name="connsiteY172" fmla="*/ 2202 h 10000"/>
                <a:gd name="connsiteX173" fmla="*/ 9271 w 10000"/>
                <a:gd name="connsiteY173" fmla="*/ 956 h 10000"/>
                <a:gd name="connsiteX174" fmla="*/ 9271 w 10000"/>
                <a:gd name="connsiteY174" fmla="*/ 956 h 10000"/>
                <a:gd name="connsiteX175" fmla="*/ 9271 w 10000"/>
                <a:gd name="connsiteY175" fmla="*/ 898 h 10000"/>
                <a:gd name="connsiteX176" fmla="*/ 9097 w 10000"/>
                <a:gd name="connsiteY176" fmla="*/ 695 h 10000"/>
                <a:gd name="connsiteX177" fmla="*/ 9097 w 10000"/>
                <a:gd name="connsiteY177" fmla="*/ 493 h 10000"/>
                <a:gd name="connsiteX178" fmla="*/ 8854 w 10000"/>
                <a:gd name="connsiteY178" fmla="*/ 289 h 10000"/>
                <a:gd name="connsiteX179" fmla="*/ 8715 w 10000"/>
                <a:gd name="connsiteY179" fmla="*/ 145 h 10000"/>
                <a:gd name="connsiteX180" fmla="*/ 8611 w 10000"/>
                <a:gd name="connsiteY180" fmla="*/ 87 h 10000"/>
                <a:gd name="connsiteX181" fmla="*/ 8472 w 10000"/>
                <a:gd name="connsiteY181" fmla="*/ 0 h 10000"/>
                <a:gd name="connsiteX182" fmla="*/ 8056 w 10000"/>
                <a:gd name="connsiteY182" fmla="*/ 87 h 10000"/>
                <a:gd name="connsiteX183" fmla="*/ 7813 w 10000"/>
                <a:gd name="connsiteY183" fmla="*/ 289 h 10000"/>
                <a:gd name="connsiteX184" fmla="*/ 7049 w 10000"/>
                <a:gd name="connsiteY184" fmla="*/ 637 h 10000"/>
                <a:gd name="connsiteX185" fmla="*/ 5833 w 10000"/>
                <a:gd name="connsiteY185" fmla="*/ 493 h 10000"/>
                <a:gd name="connsiteX186" fmla="*/ 5833 w 10000"/>
                <a:gd name="connsiteY186" fmla="*/ 347 h 10000"/>
                <a:gd name="connsiteX187" fmla="*/ 5833 w 10000"/>
                <a:gd name="connsiteY187" fmla="*/ 347 h 10000"/>
                <a:gd name="connsiteX188" fmla="*/ 5833 w 10000"/>
                <a:gd name="connsiteY188" fmla="*/ 347 h 10000"/>
                <a:gd name="connsiteX189" fmla="*/ 5764 w 10000"/>
                <a:gd name="connsiteY189" fmla="*/ 347 h 10000"/>
                <a:gd name="connsiteX190" fmla="*/ 3056 w 10000"/>
                <a:gd name="connsiteY190" fmla="*/ 493 h 10000"/>
                <a:gd name="connsiteX191" fmla="*/ 2333 w 10000"/>
                <a:gd name="connsiteY191" fmla="*/ 371 h 10000"/>
                <a:gd name="connsiteX192" fmla="*/ 1910 w 10000"/>
                <a:gd name="connsiteY192" fmla="*/ 493 h 10000"/>
                <a:gd name="connsiteX193" fmla="*/ 1910 w 10000"/>
                <a:gd name="connsiteY193" fmla="*/ 493 h 10000"/>
                <a:gd name="connsiteX194" fmla="*/ 1910 w 10000"/>
                <a:gd name="connsiteY194" fmla="*/ 956 h 10000"/>
                <a:gd name="connsiteX0" fmla="*/ 1910 w 10000"/>
                <a:gd name="connsiteY0" fmla="*/ 956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193" fmla="*/ 1910 w 10000"/>
                <a:gd name="connsiteY193" fmla="*/ 493 h 10000"/>
                <a:gd name="connsiteX194" fmla="*/ 1910 w 10000"/>
                <a:gd name="connsiteY194" fmla="*/ 493 h 10000"/>
                <a:gd name="connsiteX195" fmla="*/ 1910 w 10000"/>
                <a:gd name="connsiteY195" fmla="*/ 956 h 10000"/>
                <a:gd name="connsiteX0" fmla="*/ 1910 w 10000"/>
                <a:gd name="connsiteY0" fmla="*/ 956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193" fmla="*/ 1910 w 10000"/>
                <a:gd name="connsiteY193" fmla="*/ 493 h 10000"/>
                <a:gd name="connsiteX194" fmla="*/ 1910 w 10000"/>
                <a:gd name="connsiteY194" fmla="*/ 956 h 10000"/>
                <a:gd name="connsiteX0" fmla="*/ 1910 w 10000"/>
                <a:gd name="connsiteY0" fmla="*/ 493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193" fmla="*/ 1910 w 10000"/>
                <a:gd name="connsiteY193" fmla="*/ 493 h 10000"/>
                <a:gd name="connsiteX0" fmla="*/ 2333 w 10000"/>
                <a:gd name="connsiteY0" fmla="*/ 371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271 w 10000"/>
                <a:gd name="connsiteY176" fmla="*/ 898 h 10000"/>
                <a:gd name="connsiteX177" fmla="*/ 9097 w 10000"/>
                <a:gd name="connsiteY177" fmla="*/ 695 h 10000"/>
                <a:gd name="connsiteX178" fmla="*/ 9097 w 10000"/>
                <a:gd name="connsiteY178" fmla="*/ 493 h 10000"/>
                <a:gd name="connsiteX179" fmla="*/ 8854 w 10000"/>
                <a:gd name="connsiteY179" fmla="*/ 289 h 10000"/>
                <a:gd name="connsiteX180" fmla="*/ 8715 w 10000"/>
                <a:gd name="connsiteY180" fmla="*/ 145 h 10000"/>
                <a:gd name="connsiteX181" fmla="*/ 8611 w 10000"/>
                <a:gd name="connsiteY181" fmla="*/ 87 h 10000"/>
                <a:gd name="connsiteX182" fmla="*/ 8472 w 10000"/>
                <a:gd name="connsiteY182" fmla="*/ 0 h 10000"/>
                <a:gd name="connsiteX183" fmla="*/ 8056 w 10000"/>
                <a:gd name="connsiteY183" fmla="*/ 87 h 10000"/>
                <a:gd name="connsiteX184" fmla="*/ 7813 w 10000"/>
                <a:gd name="connsiteY184" fmla="*/ 289 h 10000"/>
                <a:gd name="connsiteX185" fmla="*/ 7049 w 10000"/>
                <a:gd name="connsiteY185" fmla="*/ 637 h 10000"/>
                <a:gd name="connsiteX186" fmla="*/ 5833 w 10000"/>
                <a:gd name="connsiteY186" fmla="*/ 493 h 10000"/>
                <a:gd name="connsiteX187" fmla="*/ 5833 w 10000"/>
                <a:gd name="connsiteY187" fmla="*/ 347 h 10000"/>
                <a:gd name="connsiteX188" fmla="*/ 5833 w 10000"/>
                <a:gd name="connsiteY188" fmla="*/ 347 h 10000"/>
                <a:gd name="connsiteX189" fmla="*/ 5833 w 10000"/>
                <a:gd name="connsiteY189" fmla="*/ 347 h 10000"/>
                <a:gd name="connsiteX190" fmla="*/ 5764 w 10000"/>
                <a:gd name="connsiteY190" fmla="*/ 347 h 10000"/>
                <a:gd name="connsiteX191" fmla="*/ 3056 w 10000"/>
                <a:gd name="connsiteY191" fmla="*/ 493 h 10000"/>
                <a:gd name="connsiteX192" fmla="*/ 2333 w 10000"/>
                <a:gd name="connsiteY192" fmla="*/ 371 h 10000"/>
                <a:gd name="connsiteX0" fmla="*/ 2333 w 10000"/>
                <a:gd name="connsiteY0" fmla="*/ 371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097 w 10000"/>
                <a:gd name="connsiteY176" fmla="*/ 695 h 10000"/>
                <a:gd name="connsiteX177" fmla="*/ 9097 w 10000"/>
                <a:gd name="connsiteY177" fmla="*/ 493 h 10000"/>
                <a:gd name="connsiteX178" fmla="*/ 8854 w 10000"/>
                <a:gd name="connsiteY178" fmla="*/ 289 h 10000"/>
                <a:gd name="connsiteX179" fmla="*/ 8715 w 10000"/>
                <a:gd name="connsiteY179" fmla="*/ 145 h 10000"/>
                <a:gd name="connsiteX180" fmla="*/ 8611 w 10000"/>
                <a:gd name="connsiteY180" fmla="*/ 87 h 10000"/>
                <a:gd name="connsiteX181" fmla="*/ 8472 w 10000"/>
                <a:gd name="connsiteY181" fmla="*/ 0 h 10000"/>
                <a:gd name="connsiteX182" fmla="*/ 8056 w 10000"/>
                <a:gd name="connsiteY182" fmla="*/ 87 h 10000"/>
                <a:gd name="connsiteX183" fmla="*/ 7813 w 10000"/>
                <a:gd name="connsiteY183" fmla="*/ 289 h 10000"/>
                <a:gd name="connsiteX184" fmla="*/ 7049 w 10000"/>
                <a:gd name="connsiteY184" fmla="*/ 637 h 10000"/>
                <a:gd name="connsiteX185" fmla="*/ 5833 w 10000"/>
                <a:gd name="connsiteY185" fmla="*/ 493 h 10000"/>
                <a:gd name="connsiteX186" fmla="*/ 5833 w 10000"/>
                <a:gd name="connsiteY186" fmla="*/ 347 h 10000"/>
                <a:gd name="connsiteX187" fmla="*/ 5833 w 10000"/>
                <a:gd name="connsiteY187" fmla="*/ 347 h 10000"/>
                <a:gd name="connsiteX188" fmla="*/ 5833 w 10000"/>
                <a:gd name="connsiteY188" fmla="*/ 347 h 10000"/>
                <a:gd name="connsiteX189" fmla="*/ 5764 w 10000"/>
                <a:gd name="connsiteY189" fmla="*/ 347 h 10000"/>
                <a:gd name="connsiteX190" fmla="*/ 3056 w 10000"/>
                <a:gd name="connsiteY190" fmla="*/ 493 h 10000"/>
                <a:gd name="connsiteX191" fmla="*/ 2333 w 10000"/>
                <a:gd name="connsiteY191" fmla="*/ 371 h 10000"/>
                <a:gd name="connsiteX0" fmla="*/ 2333 w 10000"/>
                <a:gd name="connsiteY0" fmla="*/ 371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097 w 10000"/>
                <a:gd name="connsiteY176" fmla="*/ 695 h 10000"/>
                <a:gd name="connsiteX177" fmla="*/ 8854 w 10000"/>
                <a:gd name="connsiteY177" fmla="*/ 289 h 10000"/>
                <a:gd name="connsiteX178" fmla="*/ 8715 w 10000"/>
                <a:gd name="connsiteY178" fmla="*/ 145 h 10000"/>
                <a:gd name="connsiteX179" fmla="*/ 8611 w 10000"/>
                <a:gd name="connsiteY179" fmla="*/ 87 h 10000"/>
                <a:gd name="connsiteX180" fmla="*/ 8472 w 10000"/>
                <a:gd name="connsiteY180" fmla="*/ 0 h 10000"/>
                <a:gd name="connsiteX181" fmla="*/ 8056 w 10000"/>
                <a:gd name="connsiteY181" fmla="*/ 87 h 10000"/>
                <a:gd name="connsiteX182" fmla="*/ 7813 w 10000"/>
                <a:gd name="connsiteY182" fmla="*/ 289 h 10000"/>
                <a:gd name="connsiteX183" fmla="*/ 7049 w 10000"/>
                <a:gd name="connsiteY183" fmla="*/ 637 h 10000"/>
                <a:gd name="connsiteX184" fmla="*/ 5833 w 10000"/>
                <a:gd name="connsiteY184" fmla="*/ 493 h 10000"/>
                <a:gd name="connsiteX185" fmla="*/ 5833 w 10000"/>
                <a:gd name="connsiteY185" fmla="*/ 347 h 10000"/>
                <a:gd name="connsiteX186" fmla="*/ 5833 w 10000"/>
                <a:gd name="connsiteY186" fmla="*/ 347 h 10000"/>
                <a:gd name="connsiteX187" fmla="*/ 5833 w 10000"/>
                <a:gd name="connsiteY187" fmla="*/ 347 h 10000"/>
                <a:gd name="connsiteX188" fmla="*/ 5764 w 10000"/>
                <a:gd name="connsiteY188" fmla="*/ 347 h 10000"/>
                <a:gd name="connsiteX189" fmla="*/ 3056 w 10000"/>
                <a:gd name="connsiteY189" fmla="*/ 493 h 10000"/>
                <a:gd name="connsiteX190" fmla="*/ 2333 w 10000"/>
                <a:gd name="connsiteY190" fmla="*/ 371 h 10000"/>
                <a:gd name="connsiteX0" fmla="*/ 2333 w 10000"/>
                <a:gd name="connsiteY0" fmla="*/ 371 h 10000"/>
                <a:gd name="connsiteX1" fmla="*/ 1889 w 10000"/>
                <a:gd name="connsiteY1" fmla="*/ 1392 h 10000"/>
                <a:gd name="connsiteX2" fmla="*/ 1319 w 10000"/>
                <a:gd name="connsiteY2" fmla="*/ 3768 h 10000"/>
                <a:gd name="connsiteX3" fmla="*/ 1250 w 10000"/>
                <a:gd name="connsiteY3" fmla="*/ 3768 h 10000"/>
                <a:gd name="connsiteX4" fmla="*/ 903 w 10000"/>
                <a:gd name="connsiteY4" fmla="*/ 3768 h 10000"/>
                <a:gd name="connsiteX5" fmla="*/ 660 w 10000"/>
                <a:gd name="connsiteY5" fmla="*/ 3768 h 10000"/>
                <a:gd name="connsiteX6" fmla="*/ 660 w 10000"/>
                <a:gd name="connsiteY6" fmla="*/ 3855 h 10000"/>
                <a:gd name="connsiteX7" fmla="*/ 660 w 10000"/>
                <a:gd name="connsiteY7" fmla="*/ 3913 h 10000"/>
                <a:gd name="connsiteX8" fmla="*/ 660 w 10000"/>
                <a:gd name="connsiteY8" fmla="*/ 3971 h 10000"/>
                <a:gd name="connsiteX9" fmla="*/ 590 w 10000"/>
                <a:gd name="connsiteY9" fmla="*/ 4115 h 10000"/>
                <a:gd name="connsiteX10" fmla="*/ 486 w 10000"/>
                <a:gd name="connsiteY10" fmla="*/ 4261 h 10000"/>
                <a:gd name="connsiteX11" fmla="*/ 243 w 10000"/>
                <a:gd name="connsiteY11" fmla="*/ 4463 h 10000"/>
                <a:gd name="connsiteX12" fmla="*/ 243 w 10000"/>
                <a:gd name="connsiteY12" fmla="*/ 4522 h 10000"/>
                <a:gd name="connsiteX13" fmla="*/ 347 w 10000"/>
                <a:gd name="connsiteY13" fmla="*/ 4608 h 10000"/>
                <a:gd name="connsiteX14" fmla="*/ 243 w 10000"/>
                <a:gd name="connsiteY14" fmla="*/ 4667 h 10000"/>
                <a:gd name="connsiteX15" fmla="*/ 243 w 10000"/>
                <a:gd name="connsiteY15" fmla="*/ 4667 h 10000"/>
                <a:gd name="connsiteX16" fmla="*/ 174 w 10000"/>
                <a:gd name="connsiteY16" fmla="*/ 4724 h 10000"/>
                <a:gd name="connsiteX17" fmla="*/ 174 w 10000"/>
                <a:gd name="connsiteY17" fmla="*/ 4724 h 10000"/>
                <a:gd name="connsiteX18" fmla="*/ 174 w 10000"/>
                <a:gd name="connsiteY18" fmla="*/ 4869 h 10000"/>
                <a:gd name="connsiteX19" fmla="*/ 174 w 10000"/>
                <a:gd name="connsiteY19" fmla="*/ 5015 h 10000"/>
                <a:gd name="connsiteX20" fmla="*/ 104 w 10000"/>
                <a:gd name="connsiteY20" fmla="*/ 5072 h 10000"/>
                <a:gd name="connsiteX21" fmla="*/ 0 w 10000"/>
                <a:gd name="connsiteY21" fmla="*/ 5130 h 10000"/>
                <a:gd name="connsiteX22" fmla="*/ 0 w 10000"/>
                <a:gd name="connsiteY22" fmla="*/ 5217 h 10000"/>
                <a:gd name="connsiteX23" fmla="*/ 0 w 10000"/>
                <a:gd name="connsiteY23" fmla="*/ 5362 h 10000"/>
                <a:gd name="connsiteX24" fmla="*/ 104 w 10000"/>
                <a:gd name="connsiteY24" fmla="*/ 5362 h 10000"/>
                <a:gd name="connsiteX25" fmla="*/ 104 w 10000"/>
                <a:gd name="connsiteY25" fmla="*/ 5362 h 10000"/>
                <a:gd name="connsiteX26" fmla="*/ 347 w 10000"/>
                <a:gd name="connsiteY26" fmla="*/ 5276 h 10000"/>
                <a:gd name="connsiteX27" fmla="*/ 243 w 10000"/>
                <a:gd name="connsiteY27" fmla="*/ 5478 h 10000"/>
                <a:gd name="connsiteX28" fmla="*/ 347 w 10000"/>
                <a:gd name="connsiteY28" fmla="*/ 5623 h 10000"/>
                <a:gd name="connsiteX29" fmla="*/ 486 w 10000"/>
                <a:gd name="connsiteY29" fmla="*/ 5884 h 10000"/>
                <a:gd name="connsiteX30" fmla="*/ 486 w 10000"/>
                <a:gd name="connsiteY30" fmla="*/ 5971 h 10000"/>
                <a:gd name="connsiteX31" fmla="*/ 590 w 10000"/>
                <a:gd name="connsiteY31" fmla="*/ 5971 h 10000"/>
                <a:gd name="connsiteX32" fmla="*/ 590 w 10000"/>
                <a:gd name="connsiteY32" fmla="*/ 6028 h 10000"/>
                <a:gd name="connsiteX33" fmla="*/ 660 w 10000"/>
                <a:gd name="connsiteY33" fmla="*/ 6087 h 10000"/>
                <a:gd name="connsiteX34" fmla="*/ 660 w 10000"/>
                <a:gd name="connsiteY34" fmla="*/ 6174 h 10000"/>
                <a:gd name="connsiteX35" fmla="*/ 486 w 10000"/>
                <a:gd name="connsiteY35" fmla="*/ 6232 h 10000"/>
                <a:gd name="connsiteX36" fmla="*/ 660 w 10000"/>
                <a:gd name="connsiteY36" fmla="*/ 6319 h 10000"/>
                <a:gd name="connsiteX37" fmla="*/ 833 w 10000"/>
                <a:gd name="connsiteY37" fmla="*/ 6522 h 10000"/>
                <a:gd name="connsiteX38" fmla="*/ 1007 w 10000"/>
                <a:gd name="connsiteY38" fmla="*/ 6724 h 10000"/>
                <a:gd name="connsiteX39" fmla="*/ 1076 w 10000"/>
                <a:gd name="connsiteY39" fmla="*/ 6841 h 10000"/>
                <a:gd name="connsiteX40" fmla="*/ 1007 w 10000"/>
                <a:gd name="connsiteY40" fmla="*/ 6985 h 10000"/>
                <a:gd name="connsiteX41" fmla="*/ 1007 w 10000"/>
                <a:gd name="connsiteY41" fmla="*/ 7189 h 10000"/>
                <a:gd name="connsiteX42" fmla="*/ 1007 w 10000"/>
                <a:gd name="connsiteY42" fmla="*/ 7276 h 10000"/>
                <a:gd name="connsiteX43" fmla="*/ 1146 w 10000"/>
                <a:gd name="connsiteY43" fmla="*/ 7391 h 10000"/>
                <a:gd name="connsiteX44" fmla="*/ 1250 w 10000"/>
                <a:gd name="connsiteY44" fmla="*/ 7391 h 10000"/>
                <a:gd name="connsiteX45" fmla="*/ 1389 w 10000"/>
                <a:gd name="connsiteY45" fmla="*/ 7391 h 10000"/>
                <a:gd name="connsiteX46" fmla="*/ 1493 w 10000"/>
                <a:gd name="connsiteY46" fmla="*/ 7536 h 10000"/>
                <a:gd name="connsiteX47" fmla="*/ 1563 w 10000"/>
                <a:gd name="connsiteY47" fmla="*/ 7594 h 10000"/>
                <a:gd name="connsiteX48" fmla="*/ 1806 w 10000"/>
                <a:gd name="connsiteY48" fmla="*/ 7594 h 10000"/>
                <a:gd name="connsiteX49" fmla="*/ 1910 w 10000"/>
                <a:gd name="connsiteY49" fmla="*/ 7681 h 10000"/>
                <a:gd name="connsiteX50" fmla="*/ 1979 w 10000"/>
                <a:gd name="connsiteY50" fmla="*/ 7739 h 10000"/>
                <a:gd name="connsiteX51" fmla="*/ 2049 w 10000"/>
                <a:gd name="connsiteY51" fmla="*/ 7739 h 10000"/>
                <a:gd name="connsiteX52" fmla="*/ 1979 w 10000"/>
                <a:gd name="connsiteY52" fmla="*/ 7884 h 10000"/>
                <a:gd name="connsiteX53" fmla="*/ 2049 w 10000"/>
                <a:gd name="connsiteY53" fmla="*/ 7942 h 10000"/>
                <a:gd name="connsiteX54" fmla="*/ 2292 w 10000"/>
                <a:gd name="connsiteY54" fmla="*/ 8087 h 10000"/>
                <a:gd name="connsiteX55" fmla="*/ 2465 w 10000"/>
                <a:gd name="connsiteY55" fmla="*/ 8232 h 10000"/>
                <a:gd name="connsiteX56" fmla="*/ 2535 w 10000"/>
                <a:gd name="connsiteY56" fmla="*/ 8289 h 10000"/>
                <a:gd name="connsiteX57" fmla="*/ 2708 w 10000"/>
                <a:gd name="connsiteY57" fmla="*/ 8348 h 10000"/>
                <a:gd name="connsiteX58" fmla="*/ 2708 w 10000"/>
                <a:gd name="connsiteY58" fmla="*/ 8435 h 10000"/>
                <a:gd name="connsiteX59" fmla="*/ 2813 w 10000"/>
                <a:gd name="connsiteY59" fmla="*/ 8580 h 10000"/>
                <a:gd name="connsiteX60" fmla="*/ 2882 w 10000"/>
                <a:gd name="connsiteY60" fmla="*/ 8637 h 10000"/>
                <a:gd name="connsiteX61" fmla="*/ 2882 w 10000"/>
                <a:gd name="connsiteY61" fmla="*/ 8696 h 10000"/>
                <a:gd name="connsiteX62" fmla="*/ 2951 w 10000"/>
                <a:gd name="connsiteY62" fmla="*/ 8783 h 10000"/>
                <a:gd name="connsiteX63" fmla="*/ 3299 w 10000"/>
                <a:gd name="connsiteY63" fmla="*/ 8898 h 10000"/>
                <a:gd name="connsiteX64" fmla="*/ 3368 w 10000"/>
                <a:gd name="connsiteY64" fmla="*/ 9043 h 10000"/>
                <a:gd name="connsiteX65" fmla="*/ 3368 w 10000"/>
                <a:gd name="connsiteY65" fmla="*/ 9102 h 10000"/>
                <a:gd name="connsiteX66" fmla="*/ 3438 w 10000"/>
                <a:gd name="connsiteY66" fmla="*/ 9189 h 10000"/>
                <a:gd name="connsiteX67" fmla="*/ 3542 w 10000"/>
                <a:gd name="connsiteY67" fmla="*/ 9246 h 10000"/>
                <a:gd name="connsiteX68" fmla="*/ 3715 w 10000"/>
                <a:gd name="connsiteY68" fmla="*/ 9391 h 10000"/>
                <a:gd name="connsiteX69" fmla="*/ 3715 w 10000"/>
                <a:gd name="connsiteY69" fmla="*/ 9450 h 10000"/>
                <a:gd name="connsiteX70" fmla="*/ 3785 w 10000"/>
                <a:gd name="connsiteY70" fmla="*/ 9537 h 10000"/>
                <a:gd name="connsiteX71" fmla="*/ 4028 w 10000"/>
                <a:gd name="connsiteY71" fmla="*/ 9594 h 10000"/>
                <a:gd name="connsiteX72" fmla="*/ 4097 w 10000"/>
                <a:gd name="connsiteY72" fmla="*/ 9594 h 10000"/>
                <a:gd name="connsiteX73" fmla="*/ 4201 w 10000"/>
                <a:gd name="connsiteY73" fmla="*/ 9537 h 10000"/>
                <a:gd name="connsiteX74" fmla="*/ 4444 w 10000"/>
                <a:gd name="connsiteY74" fmla="*/ 9594 h 10000"/>
                <a:gd name="connsiteX75" fmla="*/ 4618 w 10000"/>
                <a:gd name="connsiteY75" fmla="*/ 9537 h 10000"/>
                <a:gd name="connsiteX76" fmla="*/ 4757 w 10000"/>
                <a:gd name="connsiteY76" fmla="*/ 9450 h 10000"/>
                <a:gd name="connsiteX77" fmla="*/ 4861 w 10000"/>
                <a:gd name="connsiteY77" fmla="*/ 9537 h 10000"/>
                <a:gd name="connsiteX78" fmla="*/ 5174 w 10000"/>
                <a:gd name="connsiteY78" fmla="*/ 9739 h 10000"/>
                <a:gd name="connsiteX79" fmla="*/ 5243 w 10000"/>
                <a:gd name="connsiteY79" fmla="*/ 9855 h 10000"/>
                <a:gd name="connsiteX80" fmla="*/ 5347 w 10000"/>
                <a:gd name="connsiteY80" fmla="*/ 9942 h 10000"/>
                <a:gd name="connsiteX81" fmla="*/ 5417 w 10000"/>
                <a:gd name="connsiteY81" fmla="*/ 9942 h 10000"/>
                <a:gd name="connsiteX82" fmla="*/ 5486 w 10000"/>
                <a:gd name="connsiteY82" fmla="*/ 9942 h 10000"/>
                <a:gd name="connsiteX83" fmla="*/ 5590 w 10000"/>
                <a:gd name="connsiteY83" fmla="*/ 9942 h 10000"/>
                <a:gd name="connsiteX84" fmla="*/ 5764 w 10000"/>
                <a:gd name="connsiteY84" fmla="*/ 9942 h 10000"/>
                <a:gd name="connsiteX85" fmla="*/ 5833 w 10000"/>
                <a:gd name="connsiteY85" fmla="*/ 9942 h 10000"/>
                <a:gd name="connsiteX86" fmla="*/ 6007 w 10000"/>
                <a:gd name="connsiteY86" fmla="*/ 9942 h 10000"/>
                <a:gd name="connsiteX87" fmla="*/ 6076 w 10000"/>
                <a:gd name="connsiteY87" fmla="*/ 9942 h 10000"/>
                <a:gd name="connsiteX88" fmla="*/ 6146 w 10000"/>
                <a:gd name="connsiteY88" fmla="*/ 10000 h 10000"/>
                <a:gd name="connsiteX89" fmla="*/ 6319 w 10000"/>
                <a:gd name="connsiteY89" fmla="*/ 9942 h 10000"/>
                <a:gd name="connsiteX90" fmla="*/ 6493 w 10000"/>
                <a:gd name="connsiteY90" fmla="*/ 9942 h 10000"/>
                <a:gd name="connsiteX91" fmla="*/ 6667 w 10000"/>
                <a:gd name="connsiteY91" fmla="*/ 9855 h 10000"/>
                <a:gd name="connsiteX92" fmla="*/ 6806 w 10000"/>
                <a:gd name="connsiteY92" fmla="*/ 9855 h 10000"/>
                <a:gd name="connsiteX93" fmla="*/ 7049 w 10000"/>
                <a:gd name="connsiteY93" fmla="*/ 9855 h 10000"/>
                <a:gd name="connsiteX94" fmla="*/ 7292 w 10000"/>
                <a:gd name="connsiteY94" fmla="*/ 9739 h 10000"/>
                <a:gd name="connsiteX95" fmla="*/ 7292 w 10000"/>
                <a:gd name="connsiteY95" fmla="*/ 9739 h 10000"/>
                <a:gd name="connsiteX96" fmla="*/ 7292 w 10000"/>
                <a:gd name="connsiteY96" fmla="*/ 9739 h 10000"/>
                <a:gd name="connsiteX97" fmla="*/ 7569 w 10000"/>
                <a:gd name="connsiteY97" fmla="*/ 9537 h 10000"/>
                <a:gd name="connsiteX98" fmla="*/ 7639 w 10000"/>
                <a:gd name="connsiteY98" fmla="*/ 9450 h 10000"/>
                <a:gd name="connsiteX99" fmla="*/ 7813 w 10000"/>
                <a:gd name="connsiteY99" fmla="*/ 9450 h 10000"/>
                <a:gd name="connsiteX100" fmla="*/ 8125 w 10000"/>
                <a:gd name="connsiteY100" fmla="*/ 9537 h 10000"/>
                <a:gd name="connsiteX101" fmla="*/ 8299 w 10000"/>
                <a:gd name="connsiteY101" fmla="*/ 9537 h 10000"/>
                <a:gd name="connsiteX102" fmla="*/ 8472 w 10000"/>
                <a:gd name="connsiteY102" fmla="*/ 9450 h 10000"/>
                <a:gd name="connsiteX103" fmla="*/ 8472 w 10000"/>
                <a:gd name="connsiteY103" fmla="*/ 9246 h 10000"/>
                <a:gd name="connsiteX104" fmla="*/ 8542 w 10000"/>
                <a:gd name="connsiteY104" fmla="*/ 9189 h 10000"/>
                <a:gd name="connsiteX105" fmla="*/ 8472 w 10000"/>
                <a:gd name="connsiteY105" fmla="*/ 9102 h 10000"/>
                <a:gd name="connsiteX106" fmla="*/ 8472 w 10000"/>
                <a:gd name="connsiteY106" fmla="*/ 9043 h 10000"/>
                <a:gd name="connsiteX107" fmla="*/ 8125 w 10000"/>
                <a:gd name="connsiteY107" fmla="*/ 9043 h 10000"/>
                <a:gd name="connsiteX108" fmla="*/ 8056 w 10000"/>
                <a:gd name="connsiteY108" fmla="*/ 8985 h 10000"/>
                <a:gd name="connsiteX109" fmla="*/ 8056 w 10000"/>
                <a:gd name="connsiteY109" fmla="*/ 8898 h 10000"/>
                <a:gd name="connsiteX110" fmla="*/ 7882 w 10000"/>
                <a:gd name="connsiteY110" fmla="*/ 8637 h 10000"/>
                <a:gd name="connsiteX111" fmla="*/ 7882 w 10000"/>
                <a:gd name="connsiteY111" fmla="*/ 8493 h 10000"/>
                <a:gd name="connsiteX112" fmla="*/ 7813 w 10000"/>
                <a:gd name="connsiteY112" fmla="*/ 8435 h 10000"/>
                <a:gd name="connsiteX113" fmla="*/ 7569 w 10000"/>
                <a:gd name="connsiteY113" fmla="*/ 8289 h 10000"/>
                <a:gd name="connsiteX114" fmla="*/ 7465 w 10000"/>
                <a:gd name="connsiteY114" fmla="*/ 8232 h 10000"/>
                <a:gd name="connsiteX115" fmla="*/ 7396 w 10000"/>
                <a:gd name="connsiteY115" fmla="*/ 8145 h 10000"/>
                <a:gd name="connsiteX116" fmla="*/ 7396 w 10000"/>
                <a:gd name="connsiteY116" fmla="*/ 8087 h 10000"/>
                <a:gd name="connsiteX117" fmla="*/ 7292 w 10000"/>
                <a:gd name="connsiteY117" fmla="*/ 7942 h 10000"/>
                <a:gd name="connsiteX118" fmla="*/ 7222 w 10000"/>
                <a:gd name="connsiteY118" fmla="*/ 7942 h 10000"/>
                <a:gd name="connsiteX119" fmla="*/ 7049 w 10000"/>
                <a:gd name="connsiteY119" fmla="*/ 7884 h 10000"/>
                <a:gd name="connsiteX120" fmla="*/ 6979 w 10000"/>
                <a:gd name="connsiteY120" fmla="*/ 7884 h 10000"/>
                <a:gd name="connsiteX121" fmla="*/ 6910 w 10000"/>
                <a:gd name="connsiteY121" fmla="*/ 7884 h 10000"/>
                <a:gd name="connsiteX122" fmla="*/ 6806 w 10000"/>
                <a:gd name="connsiteY122" fmla="*/ 7884 h 10000"/>
                <a:gd name="connsiteX123" fmla="*/ 6736 w 10000"/>
                <a:gd name="connsiteY123" fmla="*/ 7826 h 10000"/>
                <a:gd name="connsiteX124" fmla="*/ 6806 w 10000"/>
                <a:gd name="connsiteY124" fmla="*/ 7739 h 10000"/>
                <a:gd name="connsiteX125" fmla="*/ 6910 w 10000"/>
                <a:gd name="connsiteY125" fmla="*/ 7681 h 10000"/>
                <a:gd name="connsiteX126" fmla="*/ 6910 w 10000"/>
                <a:gd name="connsiteY126" fmla="*/ 7536 h 10000"/>
                <a:gd name="connsiteX127" fmla="*/ 6979 w 10000"/>
                <a:gd name="connsiteY127" fmla="*/ 7536 h 10000"/>
                <a:gd name="connsiteX128" fmla="*/ 7222 w 10000"/>
                <a:gd name="connsiteY128" fmla="*/ 7536 h 10000"/>
                <a:gd name="connsiteX129" fmla="*/ 7396 w 10000"/>
                <a:gd name="connsiteY129" fmla="*/ 7536 h 10000"/>
                <a:gd name="connsiteX130" fmla="*/ 7465 w 10000"/>
                <a:gd name="connsiteY130" fmla="*/ 7478 h 10000"/>
                <a:gd name="connsiteX131" fmla="*/ 7465 w 10000"/>
                <a:gd name="connsiteY131" fmla="*/ 7333 h 10000"/>
                <a:gd name="connsiteX132" fmla="*/ 7465 w 10000"/>
                <a:gd name="connsiteY132" fmla="*/ 6928 h 10000"/>
                <a:gd name="connsiteX133" fmla="*/ 7465 w 10000"/>
                <a:gd name="connsiteY133" fmla="*/ 6782 h 10000"/>
                <a:gd name="connsiteX134" fmla="*/ 7569 w 10000"/>
                <a:gd name="connsiteY134" fmla="*/ 6637 h 10000"/>
                <a:gd name="connsiteX135" fmla="*/ 7465 w 10000"/>
                <a:gd name="connsiteY135" fmla="*/ 6580 h 10000"/>
                <a:gd name="connsiteX136" fmla="*/ 7465 w 10000"/>
                <a:gd name="connsiteY136" fmla="*/ 6522 h 10000"/>
                <a:gd name="connsiteX137" fmla="*/ 7569 w 10000"/>
                <a:gd name="connsiteY137" fmla="*/ 6522 h 10000"/>
                <a:gd name="connsiteX138" fmla="*/ 7569 w 10000"/>
                <a:gd name="connsiteY138" fmla="*/ 6435 h 10000"/>
                <a:gd name="connsiteX139" fmla="*/ 7639 w 10000"/>
                <a:gd name="connsiteY139" fmla="*/ 6319 h 10000"/>
                <a:gd name="connsiteX140" fmla="*/ 7708 w 10000"/>
                <a:gd name="connsiteY140" fmla="*/ 6319 h 10000"/>
                <a:gd name="connsiteX141" fmla="*/ 7882 w 10000"/>
                <a:gd name="connsiteY141" fmla="*/ 6319 h 10000"/>
                <a:gd name="connsiteX142" fmla="*/ 7882 w 10000"/>
                <a:gd name="connsiteY142" fmla="*/ 6232 h 10000"/>
                <a:gd name="connsiteX143" fmla="*/ 7951 w 10000"/>
                <a:gd name="connsiteY143" fmla="*/ 5971 h 10000"/>
                <a:gd name="connsiteX144" fmla="*/ 8056 w 10000"/>
                <a:gd name="connsiteY144" fmla="*/ 5884 h 10000"/>
                <a:gd name="connsiteX145" fmla="*/ 8368 w 10000"/>
                <a:gd name="connsiteY145" fmla="*/ 5420 h 10000"/>
                <a:gd name="connsiteX146" fmla="*/ 8542 w 10000"/>
                <a:gd name="connsiteY146" fmla="*/ 5362 h 10000"/>
                <a:gd name="connsiteX147" fmla="*/ 8611 w 10000"/>
                <a:gd name="connsiteY147" fmla="*/ 5276 h 10000"/>
                <a:gd name="connsiteX148" fmla="*/ 8715 w 10000"/>
                <a:gd name="connsiteY148" fmla="*/ 5217 h 10000"/>
                <a:gd name="connsiteX149" fmla="*/ 8854 w 10000"/>
                <a:gd name="connsiteY149" fmla="*/ 4667 h 10000"/>
                <a:gd name="connsiteX150" fmla="*/ 8854 w 10000"/>
                <a:gd name="connsiteY150" fmla="*/ 4522 h 10000"/>
                <a:gd name="connsiteX151" fmla="*/ 8854 w 10000"/>
                <a:gd name="connsiteY151" fmla="*/ 4376 h 10000"/>
                <a:gd name="connsiteX152" fmla="*/ 8854 w 10000"/>
                <a:gd name="connsiteY152" fmla="*/ 4261 h 10000"/>
                <a:gd name="connsiteX153" fmla="*/ 8854 w 10000"/>
                <a:gd name="connsiteY153" fmla="*/ 4058 h 10000"/>
                <a:gd name="connsiteX154" fmla="*/ 8958 w 10000"/>
                <a:gd name="connsiteY154" fmla="*/ 3913 h 10000"/>
                <a:gd name="connsiteX155" fmla="*/ 9097 w 10000"/>
                <a:gd name="connsiteY155" fmla="*/ 3420 h 10000"/>
                <a:gd name="connsiteX156" fmla="*/ 9097 w 10000"/>
                <a:gd name="connsiteY156" fmla="*/ 3362 h 10000"/>
                <a:gd name="connsiteX157" fmla="*/ 9097 w 10000"/>
                <a:gd name="connsiteY157" fmla="*/ 3159 h 10000"/>
                <a:gd name="connsiteX158" fmla="*/ 9201 w 10000"/>
                <a:gd name="connsiteY158" fmla="*/ 3102 h 10000"/>
                <a:gd name="connsiteX159" fmla="*/ 9375 w 10000"/>
                <a:gd name="connsiteY159" fmla="*/ 3102 h 10000"/>
                <a:gd name="connsiteX160" fmla="*/ 9514 w 10000"/>
                <a:gd name="connsiteY160" fmla="*/ 2956 h 10000"/>
                <a:gd name="connsiteX161" fmla="*/ 9688 w 10000"/>
                <a:gd name="connsiteY161" fmla="*/ 2869 h 10000"/>
                <a:gd name="connsiteX162" fmla="*/ 9757 w 10000"/>
                <a:gd name="connsiteY162" fmla="*/ 2811 h 10000"/>
                <a:gd name="connsiteX163" fmla="*/ 9931 w 10000"/>
                <a:gd name="connsiteY163" fmla="*/ 2811 h 10000"/>
                <a:gd name="connsiteX164" fmla="*/ 10000 w 10000"/>
                <a:gd name="connsiteY164" fmla="*/ 2667 h 10000"/>
                <a:gd name="connsiteX165" fmla="*/ 10000 w 10000"/>
                <a:gd name="connsiteY165" fmla="*/ 2550 h 10000"/>
                <a:gd name="connsiteX166" fmla="*/ 10000 w 10000"/>
                <a:gd name="connsiteY166" fmla="*/ 2463 h 10000"/>
                <a:gd name="connsiteX167" fmla="*/ 9931 w 10000"/>
                <a:gd name="connsiteY167" fmla="*/ 2463 h 10000"/>
                <a:gd name="connsiteX168" fmla="*/ 9931 w 10000"/>
                <a:gd name="connsiteY168" fmla="*/ 2463 h 10000"/>
                <a:gd name="connsiteX169" fmla="*/ 9861 w 10000"/>
                <a:gd name="connsiteY169" fmla="*/ 2463 h 10000"/>
                <a:gd name="connsiteX170" fmla="*/ 9861 w 10000"/>
                <a:gd name="connsiteY170" fmla="*/ 2348 h 10000"/>
                <a:gd name="connsiteX171" fmla="*/ 9757 w 10000"/>
                <a:gd name="connsiteY171" fmla="*/ 2261 h 10000"/>
                <a:gd name="connsiteX172" fmla="*/ 9688 w 10000"/>
                <a:gd name="connsiteY172" fmla="*/ 2261 h 10000"/>
                <a:gd name="connsiteX173" fmla="*/ 9514 w 10000"/>
                <a:gd name="connsiteY173" fmla="*/ 2202 h 10000"/>
                <a:gd name="connsiteX174" fmla="*/ 9271 w 10000"/>
                <a:gd name="connsiteY174" fmla="*/ 956 h 10000"/>
                <a:gd name="connsiteX175" fmla="*/ 9271 w 10000"/>
                <a:gd name="connsiteY175" fmla="*/ 956 h 10000"/>
                <a:gd name="connsiteX176" fmla="*/ 9097 w 10000"/>
                <a:gd name="connsiteY176" fmla="*/ 695 h 10000"/>
                <a:gd name="connsiteX177" fmla="*/ 8715 w 10000"/>
                <a:gd name="connsiteY177" fmla="*/ 145 h 10000"/>
                <a:gd name="connsiteX178" fmla="*/ 8611 w 10000"/>
                <a:gd name="connsiteY178" fmla="*/ 87 h 10000"/>
                <a:gd name="connsiteX179" fmla="*/ 8472 w 10000"/>
                <a:gd name="connsiteY179" fmla="*/ 0 h 10000"/>
                <a:gd name="connsiteX180" fmla="*/ 8056 w 10000"/>
                <a:gd name="connsiteY180" fmla="*/ 87 h 10000"/>
                <a:gd name="connsiteX181" fmla="*/ 7813 w 10000"/>
                <a:gd name="connsiteY181" fmla="*/ 289 h 10000"/>
                <a:gd name="connsiteX182" fmla="*/ 7049 w 10000"/>
                <a:gd name="connsiteY182" fmla="*/ 637 h 10000"/>
                <a:gd name="connsiteX183" fmla="*/ 5833 w 10000"/>
                <a:gd name="connsiteY183" fmla="*/ 493 h 10000"/>
                <a:gd name="connsiteX184" fmla="*/ 5833 w 10000"/>
                <a:gd name="connsiteY184" fmla="*/ 347 h 10000"/>
                <a:gd name="connsiteX185" fmla="*/ 5833 w 10000"/>
                <a:gd name="connsiteY185" fmla="*/ 347 h 10000"/>
                <a:gd name="connsiteX186" fmla="*/ 5833 w 10000"/>
                <a:gd name="connsiteY186" fmla="*/ 347 h 10000"/>
                <a:gd name="connsiteX187" fmla="*/ 5764 w 10000"/>
                <a:gd name="connsiteY187" fmla="*/ 347 h 10000"/>
                <a:gd name="connsiteX188" fmla="*/ 3056 w 10000"/>
                <a:gd name="connsiteY188" fmla="*/ 493 h 10000"/>
                <a:gd name="connsiteX189" fmla="*/ 2333 w 10000"/>
                <a:gd name="connsiteY189" fmla="*/ 371 h 10000"/>
                <a:gd name="connsiteX0" fmla="*/ 2333 w 10000"/>
                <a:gd name="connsiteY0" fmla="*/ 284 h 9913"/>
                <a:gd name="connsiteX1" fmla="*/ 1889 w 10000"/>
                <a:gd name="connsiteY1" fmla="*/ 1305 h 9913"/>
                <a:gd name="connsiteX2" fmla="*/ 1319 w 10000"/>
                <a:gd name="connsiteY2" fmla="*/ 3681 h 9913"/>
                <a:gd name="connsiteX3" fmla="*/ 1250 w 10000"/>
                <a:gd name="connsiteY3" fmla="*/ 3681 h 9913"/>
                <a:gd name="connsiteX4" fmla="*/ 903 w 10000"/>
                <a:gd name="connsiteY4" fmla="*/ 3681 h 9913"/>
                <a:gd name="connsiteX5" fmla="*/ 660 w 10000"/>
                <a:gd name="connsiteY5" fmla="*/ 3681 h 9913"/>
                <a:gd name="connsiteX6" fmla="*/ 660 w 10000"/>
                <a:gd name="connsiteY6" fmla="*/ 3768 h 9913"/>
                <a:gd name="connsiteX7" fmla="*/ 660 w 10000"/>
                <a:gd name="connsiteY7" fmla="*/ 3826 h 9913"/>
                <a:gd name="connsiteX8" fmla="*/ 660 w 10000"/>
                <a:gd name="connsiteY8" fmla="*/ 3884 h 9913"/>
                <a:gd name="connsiteX9" fmla="*/ 590 w 10000"/>
                <a:gd name="connsiteY9" fmla="*/ 4028 h 9913"/>
                <a:gd name="connsiteX10" fmla="*/ 486 w 10000"/>
                <a:gd name="connsiteY10" fmla="*/ 4174 h 9913"/>
                <a:gd name="connsiteX11" fmla="*/ 243 w 10000"/>
                <a:gd name="connsiteY11" fmla="*/ 4376 h 9913"/>
                <a:gd name="connsiteX12" fmla="*/ 243 w 10000"/>
                <a:gd name="connsiteY12" fmla="*/ 4435 h 9913"/>
                <a:gd name="connsiteX13" fmla="*/ 347 w 10000"/>
                <a:gd name="connsiteY13" fmla="*/ 4521 h 9913"/>
                <a:gd name="connsiteX14" fmla="*/ 243 w 10000"/>
                <a:gd name="connsiteY14" fmla="*/ 4580 h 9913"/>
                <a:gd name="connsiteX15" fmla="*/ 243 w 10000"/>
                <a:gd name="connsiteY15" fmla="*/ 4580 h 9913"/>
                <a:gd name="connsiteX16" fmla="*/ 174 w 10000"/>
                <a:gd name="connsiteY16" fmla="*/ 4637 h 9913"/>
                <a:gd name="connsiteX17" fmla="*/ 174 w 10000"/>
                <a:gd name="connsiteY17" fmla="*/ 4637 h 9913"/>
                <a:gd name="connsiteX18" fmla="*/ 174 w 10000"/>
                <a:gd name="connsiteY18" fmla="*/ 4782 h 9913"/>
                <a:gd name="connsiteX19" fmla="*/ 174 w 10000"/>
                <a:gd name="connsiteY19" fmla="*/ 4928 h 9913"/>
                <a:gd name="connsiteX20" fmla="*/ 104 w 10000"/>
                <a:gd name="connsiteY20" fmla="*/ 4985 h 9913"/>
                <a:gd name="connsiteX21" fmla="*/ 0 w 10000"/>
                <a:gd name="connsiteY21" fmla="*/ 5043 h 9913"/>
                <a:gd name="connsiteX22" fmla="*/ 0 w 10000"/>
                <a:gd name="connsiteY22" fmla="*/ 5130 h 9913"/>
                <a:gd name="connsiteX23" fmla="*/ 0 w 10000"/>
                <a:gd name="connsiteY23" fmla="*/ 5275 h 9913"/>
                <a:gd name="connsiteX24" fmla="*/ 104 w 10000"/>
                <a:gd name="connsiteY24" fmla="*/ 5275 h 9913"/>
                <a:gd name="connsiteX25" fmla="*/ 104 w 10000"/>
                <a:gd name="connsiteY25" fmla="*/ 5275 h 9913"/>
                <a:gd name="connsiteX26" fmla="*/ 347 w 10000"/>
                <a:gd name="connsiteY26" fmla="*/ 5189 h 9913"/>
                <a:gd name="connsiteX27" fmla="*/ 243 w 10000"/>
                <a:gd name="connsiteY27" fmla="*/ 5391 h 9913"/>
                <a:gd name="connsiteX28" fmla="*/ 347 w 10000"/>
                <a:gd name="connsiteY28" fmla="*/ 5536 h 9913"/>
                <a:gd name="connsiteX29" fmla="*/ 486 w 10000"/>
                <a:gd name="connsiteY29" fmla="*/ 5797 h 9913"/>
                <a:gd name="connsiteX30" fmla="*/ 486 w 10000"/>
                <a:gd name="connsiteY30" fmla="*/ 5884 h 9913"/>
                <a:gd name="connsiteX31" fmla="*/ 590 w 10000"/>
                <a:gd name="connsiteY31" fmla="*/ 5884 h 9913"/>
                <a:gd name="connsiteX32" fmla="*/ 590 w 10000"/>
                <a:gd name="connsiteY32" fmla="*/ 5941 h 9913"/>
                <a:gd name="connsiteX33" fmla="*/ 660 w 10000"/>
                <a:gd name="connsiteY33" fmla="*/ 6000 h 9913"/>
                <a:gd name="connsiteX34" fmla="*/ 660 w 10000"/>
                <a:gd name="connsiteY34" fmla="*/ 6087 h 9913"/>
                <a:gd name="connsiteX35" fmla="*/ 486 w 10000"/>
                <a:gd name="connsiteY35" fmla="*/ 6145 h 9913"/>
                <a:gd name="connsiteX36" fmla="*/ 660 w 10000"/>
                <a:gd name="connsiteY36" fmla="*/ 6232 h 9913"/>
                <a:gd name="connsiteX37" fmla="*/ 833 w 10000"/>
                <a:gd name="connsiteY37" fmla="*/ 6435 h 9913"/>
                <a:gd name="connsiteX38" fmla="*/ 1007 w 10000"/>
                <a:gd name="connsiteY38" fmla="*/ 6637 h 9913"/>
                <a:gd name="connsiteX39" fmla="*/ 1076 w 10000"/>
                <a:gd name="connsiteY39" fmla="*/ 6754 h 9913"/>
                <a:gd name="connsiteX40" fmla="*/ 1007 w 10000"/>
                <a:gd name="connsiteY40" fmla="*/ 6898 h 9913"/>
                <a:gd name="connsiteX41" fmla="*/ 1007 w 10000"/>
                <a:gd name="connsiteY41" fmla="*/ 7102 h 9913"/>
                <a:gd name="connsiteX42" fmla="*/ 1007 w 10000"/>
                <a:gd name="connsiteY42" fmla="*/ 7189 h 9913"/>
                <a:gd name="connsiteX43" fmla="*/ 1146 w 10000"/>
                <a:gd name="connsiteY43" fmla="*/ 7304 h 9913"/>
                <a:gd name="connsiteX44" fmla="*/ 1250 w 10000"/>
                <a:gd name="connsiteY44" fmla="*/ 7304 h 9913"/>
                <a:gd name="connsiteX45" fmla="*/ 1389 w 10000"/>
                <a:gd name="connsiteY45" fmla="*/ 7304 h 9913"/>
                <a:gd name="connsiteX46" fmla="*/ 1493 w 10000"/>
                <a:gd name="connsiteY46" fmla="*/ 7449 h 9913"/>
                <a:gd name="connsiteX47" fmla="*/ 1563 w 10000"/>
                <a:gd name="connsiteY47" fmla="*/ 7507 h 9913"/>
                <a:gd name="connsiteX48" fmla="*/ 1806 w 10000"/>
                <a:gd name="connsiteY48" fmla="*/ 7507 h 9913"/>
                <a:gd name="connsiteX49" fmla="*/ 1910 w 10000"/>
                <a:gd name="connsiteY49" fmla="*/ 7594 h 9913"/>
                <a:gd name="connsiteX50" fmla="*/ 1979 w 10000"/>
                <a:gd name="connsiteY50" fmla="*/ 7652 h 9913"/>
                <a:gd name="connsiteX51" fmla="*/ 2049 w 10000"/>
                <a:gd name="connsiteY51" fmla="*/ 7652 h 9913"/>
                <a:gd name="connsiteX52" fmla="*/ 1979 w 10000"/>
                <a:gd name="connsiteY52" fmla="*/ 7797 h 9913"/>
                <a:gd name="connsiteX53" fmla="*/ 2049 w 10000"/>
                <a:gd name="connsiteY53" fmla="*/ 7855 h 9913"/>
                <a:gd name="connsiteX54" fmla="*/ 2292 w 10000"/>
                <a:gd name="connsiteY54" fmla="*/ 8000 h 9913"/>
                <a:gd name="connsiteX55" fmla="*/ 2465 w 10000"/>
                <a:gd name="connsiteY55" fmla="*/ 8145 h 9913"/>
                <a:gd name="connsiteX56" fmla="*/ 2535 w 10000"/>
                <a:gd name="connsiteY56" fmla="*/ 8202 h 9913"/>
                <a:gd name="connsiteX57" fmla="*/ 2708 w 10000"/>
                <a:gd name="connsiteY57" fmla="*/ 8261 h 9913"/>
                <a:gd name="connsiteX58" fmla="*/ 2708 w 10000"/>
                <a:gd name="connsiteY58" fmla="*/ 8348 h 9913"/>
                <a:gd name="connsiteX59" fmla="*/ 2813 w 10000"/>
                <a:gd name="connsiteY59" fmla="*/ 8493 h 9913"/>
                <a:gd name="connsiteX60" fmla="*/ 2882 w 10000"/>
                <a:gd name="connsiteY60" fmla="*/ 8550 h 9913"/>
                <a:gd name="connsiteX61" fmla="*/ 2882 w 10000"/>
                <a:gd name="connsiteY61" fmla="*/ 8609 h 9913"/>
                <a:gd name="connsiteX62" fmla="*/ 2951 w 10000"/>
                <a:gd name="connsiteY62" fmla="*/ 8696 h 9913"/>
                <a:gd name="connsiteX63" fmla="*/ 3299 w 10000"/>
                <a:gd name="connsiteY63" fmla="*/ 8811 h 9913"/>
                <a:gd name="connsiteX64" fmla="*/ 3368 w 10000"/>
                <a:gd name="connsiteY64" fmla="*/ 8956 h 9913"/>
                <a:gd name="connsiteX65" fmla="*/ 3368 w 10000"/>
                <a:gd name="connsiteY65" fmla="*/ 9015 h 9913"/>
                <a:gd name="connsiteX66" fmla="*/ 3438 w 10000"/>
                <a:gd name="connsiteY66" fmla="*/ 9102 h 9913"/>
                <a:gd name="connsiteX67" fmla="*/ 3542 w 10000"/>
                <a:gd name="connsiteY67" fmla="*/ 9159 h 9913"/>
                <a:gd name="connsiteX68" fmla="*/ 3715 w 10000"/>
                <a:gd name="connsiteY68" fmla="*/ 9304 h 9913"/>
                <a:gd name="connsiteX69" fmla="*/ 3715 w 10000"/>
                <a:gd name="connsiteY69" fmla="*/ 9363 h 9913"/>
                <a:gd name="connsiteX70" fmla="*/ 3785 w 10000"/>
                <a:gd name="connsiteY70" fmla="*/ 9450 h 9913"/>
                <a:gd name="connsiteX71" fmla="*/ 4028 w 10000"/>
                <a:gd name="connsiteY71" fmla="*/ 9507 h 9913"/>
                <a:gd name="connsiteX72" fmla="*/ 4097 w 10000"/>
                <a:gd name="connsiteY72" fmla="*/ 9507 h 9913"/>
                <a:gd name="connsiteX73" fmla="*/ 4201 w 10000"/>
                <a:gd name="connsiteY73" fmla="*/ 9450 h 9913"/>
                <a:gd name="connsiteX74" fmla="*/ 4444 w 10000"/>
                <a:gd name="connsiteY74" fmla="*/ 9507 h 9913"/>
                <a:gd name="connsiteX75" fmla="*/ 4618 w 10000"/>
                <a:gd name="connsiteY75" fmla="*/ 9450 h 9913"/>
                <a:gd name="connsiteX76" fmla="*/ 4757 w 10000"/>
                <a:gd name="connsiteY76" fmla="*/ 9363 h 9913"/>
                <a:gd name="connsiteX77" fmla="*/ 4861 w 10000"/>
                <a:gd name="connsiteY77" fmla="*/ 9450 h 9913"/>
                <a:gd name="connsiteX78" fmla="*/ 5174 w 10000"/>
                <a:gd name="connsiteY78" fmla="*/ 9652 h 9913"/>
                <a:gd name="connsiteX79" fmla="*/ 5243 w 10000"/>
                <a:gd name="connsiteY79" fmla="*/ 9768 h 9913"/>
                <a:gd name="connsiteX80" fmla="*/ 5347 w 10000"/>
                <a:gd name="connsiteY80" fmla="*/ 9855 h 9913"/>
                <a:gd name="connsiteX81" fmla="*/ 5417 w 10000"/>
                <a:gd name="connsiteY81" fmla="*/ 9855 h 9913"/>
                <a:gd name="connsiteX82" fmla="*/ 5486 w 10000"/>
                <a:gd name="connsiteY82" fmla="*/ 9855 h 9913"/>
                <a:gd name="connsiteX83" fmla="*/ 5590 w 10000"/>
                <a:gd name="connsiteY83" fmla="*/ 9855 h 9913"/>
                <a:gd name="connsiteX84" fmla="*/ 5764 w 10000"/>
                <a:gd name="connsiteY84" fmla="*/ 9855 h 9913"/>
                <a:gd name="connsiteX85" fmla="*/ 5833 w 10000"/>
                <a:gd name="connsiteY85" fmla="*/ 9855 h 9913"/>
                <a:gd name="connsiteX86" fmla="*/ 6007 w 10000"/>
                <a:gd name="connsiteY86" fmla="*/ 9855 h 9913"/>
                <a:gd name="connsiteX87" fmla="*/ 6076 w 10000"/>
                <a:gd name="connsiteY87" fmla="*/ 9855 h 9913"/>
                <a:gd name="connsiteX88" fmla="*/ 6146 w 10000"/>
                <a:gd name="connsiteY88" fmla="*/ 9913 h 9913"/>
                <a:gd name="connsiteX89" fmla="*/ 6319 w 10000"/>
                <a:gd name="connsiteY89" fmla="*/ 9855 h 9913"/>
                <a:gd name="connsiteX90" fmla="*/ 6493 w 10000"/>
                <a:gd name="connsiteY90" fmla="*/ 9855 h 9913"/>
                <a:gd name="connsiteX91" fmla="*/ 6667 w 10000"/>
                <a:gd name="connsiteY91" fmla="*/ 9768 h 9913"/>
                <a:gd name="connsiteX92" fmla="*/ 6806 w 10000"/>
                <a:gd name="connsiteY92" fmla="*/ 9768 h 9913"/>
                <a:gd name="connsiteX93" fmla="*/ 7049 w 10000"/>
                <a:gd name="connsiteY93" fmla="*/ 9768 h 9913"/>
                <a:gd name="connsiteX94" fmla="*/ 7292 w 10000"/>
                <a:gd name="connsiteY94" fmla="*/ 9652 h 9913"/>
                <a:gd name="connsiteX95" fmla="*/ 7292 w 10000"/>
                <a:gd name="connsiteY95" fmla="*/ 9652 h 9913"/>
                <a:gd name="connsiteX96" fmla="*/ 7292 w 10000"/>
                <a:gd name="connsiteY96" fmla="*/ 9652 h 9913"/>
                <a:gd name="connsiteX97" fmla="*/ 7569 w 10000"/>
                <a:gd name="connsiteY97" fmla="*/ 9450 h 9913"/>
                <a:gd name="connsiteX98" fmla="*/ 7639 w 10000"/>
                <a:gd name="connsiteY98" fmla="*/ 9363 h 9913"/>
                <a:gd name="connsiteX99" fmla="*/ 7813 w 10000"/>
                <a:gd name="connsiteY99" fmla="*/ 9363 h 9913"/>
                <a:gd name="connsiteX100" fmla="*/ 8125 w 10000"/>
                <a:gd name="connsiteY100" fmla="*/ 9450 h 9913"/>
                <a:gd name="connsiteX101" fmla="*/ 8299 w 10000"/>
                <a:gd name="connsiteY101" fmla="*/ 9450 h 9913"/>
                <a:gd name="connsiteX102" fmla="*/ 8472 w 10000"/>
                <a:gd name="connsiteY102" fmla="*/ 9363 h 9913"/>
                <a:gd name="connsiteX103" fmla="*/ 8472 w 10000"/>
                <a:gd name="connsiteY103" fmla="*/ 9159 h 9913"/>
                <a:gd name="connsiteX104" fmla="*/ 8542 w 10000"/>
                <a:gd name="connsiteY104" fmla="*/ 9102 h 9913"/>
                <a:gd name="connsiteX105" fmla="*/ 8472 w 10000"/>
                <a:gd name="connsiteY105" fmla="*/ 9015 h 9913"/>
                <a:gd name="connsiteX106" fmla="*/ 8472 w 10000"/>
                <a:gd name="connsiteY106" fmla="*/ 8956 h 9913"/>
                <a:gd name="connsiteX107" fmla="*/ 8125 w 10000"/>
                <a:gd name="connsiteY107" fmla="*/ 8956 h 9913"/>
                <a:gd name="connsiteX108" fmla="*/ 8056 w 10000"/>
                <a:gd name="connsiteY108" fmla="*/ 8898 h 9913"/>
                <a:gd name="connsiteX109" fmla="*/ 8056 w 10000"/>
                <a:gd name="connsiteY109" fmla="*/ 8811 h 9913"/>
                <a:gd name="connsiteX110" fmla="*/ 7882 w 10000"/>
                <a:gd name="connsiteY110" fmla="*/ 8550 h 9913"/>
                <a:gd name="connsiteX111" fmla="*/ 7882 w 10000"/>
                <a:gd name="connsiteY111" fmla="*/ 8406 h 9913"/>
                <a:gd name="connsiteX112" fmla="*/ 7813 w 10000"/>
                <a:gd name="connsiteY112" fmla="*/ 8348 h 9913"/>
                <a:gd name="connsiteX113" fmla="*/ 7569 w 10000"/>
                <a:gd name="connsiteY113" fmla="*/ 8202 h 9913"/>
                <a:gd name="connsiteX114" fmla="*/ 7465 w 10000"/>
                <a:gd name="connsiteY114" fmla="*/ 8145 h 9913"/>
                <a:gd name="connsiteX115" fmla="*/ 7396 w 10000"/>
                <a:gd name="connsiteY115" fmla="*/ 8058 h 9913"/>
                <a:gd name="connsiteX116" fmla="*/ 7396 w 10000"/>
                <a:gd name="connsiteY116" fmla="*/ 8000 h 9913"/>
                <a:gd name="connsiteX117" fmla="*/ 7292 w 10000"/>
                <a:gd name="connsiteY117" fmla="*/ 7855 h 9913"/>
                <a:gd name="connsiteX118" fmla="*/ 7222 w 10000"/>
                <a:gd name="connsiteY118" fmla="*/ 7855 h 9913"/>
                <a:gd name="connsiteX119" fmla="*/ 7049 w 10000"/>
                <a:gd name="connsiteY119" fmla="*/ 7797 h 9913"/>
                <a:gd name="connsiteX120" fmla="*/ 6979 w 10000"/>
                <a:gd name="connsiteY120" fmla="*/ 7797 h 9913"/>
                <a:gd name="connsiteX121" fmla="*/ 6910 w 10000"/>
                <a:gd name="connsiteY121" fmla="*/ 7797 h 9913"/>
                <a:gd name="connsiteX122" fmla="*/ 6806 w 10000"/>
                <a:gd name="connsiteY122" fmla="*/ 7797 h 9913"/>
                <a:gd name="connsiteX123" fmla="*/ 6736 w 10000"/>
                <a:gd name="connsiteY123" fmla="*/ 7739 h 9913"/>
                <a:gd name="connsiteX124" fmla="*/ 6806 w 10000"/>
                <a:gd name="connsiteY124" fmla="*/ 7652 h 9913"/>
                <a:gd name="connsiteX125" fmla="*/ 6910 w 10000"/>
                <a:gd name="connsiteY125" fmla="*/ 7594 h 9913"/>
                <a:gd name="connsiteX126" fmla="*/ 6910 w 10000"/>
                <a:gd name="connsiteY126" fmla="*/ 7449 h 9913"/>
                <a:gd name="connsiteX127" fmla="*/ 6979 w 10000"/>
                <a:gd name="connsiteY127" fmla="*/ 7449 h 9913"/>
                <a:gd name="connsiteX128" fmla="*/ 7222 w 10000"/>
                <a:gd name="connsiteY128" fmla="*/ 7449 h 9913"/>
                <a:gd name="connsiteX129" fmla="*/ 7396 w 10000"/>
                <a:gd name="connsiteY129" fmla="*/ 7449 h 9913"/>
                <a:gd name="connsiteX130" fmla="*/ 7465 w 10000"/>
                <a:gd name="connsiteY130" fmla="*/ 7391 h 9913"/>
                <a:gd name="connsiteX131" fmla="*/ 7465 w 10000"/>
                <a:gd name="connsiteY131" fmla="*/ 7246 h 9913"/>
                <a:gd name="connsiteX132" fmla="*/ 7465 w 10000"/>
                <a:gd name="connsiteY132" fmla="*/ 6841 h 9913"/>
                <a:gd name="connsiteX133" fmla="*/ 7465 w 10000"/>
                <a:gd name="connsiteY133" fmla="*/ 6695 h 9913"/>
                <a:gd name="connsiteX134" fmla="*/ 7569 w 10000"/>
                <a:gd name="connsiteY134" fmla="*/ 6550 h 9913"/>
                <a:gd name="connsiteX135" fmla="*/ 7465 w 10000"/>
                <a:gd name="connsiteY135" fmla="*/ 6493 h 9913"/>
                <a:gd name="connsiteX136" fmla="*/ 7465 w 10000"/>
                <a:gd name="connsiteY136" fmla="*/ 6435 h 9913"/>
                <a:gd name="connsiteX137" fmla="*/ 7569 w 10000"/>
                <a:gd name="connsiteY137" fmla="*/ 6435 h 9913"/>
                <a:gd name="connsiteX138" fmla="*/ 7569 w 10000"/>
                <a:gd name="connsiteY138" fmla="*/ 6348 h 9913"/>
                <a:gd name="connsiteX139" fmla="*/ 7639 w 10000"/>
                <a:gd name="connsiteY139" fmla="*/ 6232 h 9913"/>
                <a:gd name="connsiteX140" fmla="*/ 7708 w 10000"/>
                <a:gd name="connsiteY140" fmla="*/ 6232 h 9913"/>
                <a:gd name="connsiteX141" fmla="*/ 7882 w 10000"/>
                <a:gd name="connsiteY141" fmla="*/ 6232 h 9913"/>
                <a:gd name="connsiteX142" fmla="*/ 7882 w 10000"/>
                <a:gd name="connsiteY142" fmla="*/ 6145 h 9913"/>
                <a:gd name="connsiteX143" fmla="*/ 7951 w 10000"/>
                <a:gd name="connsiteY143" fmla="*/ 5884 h 9913"/>
                <a:gd name="connsiteX144" fmla="*/ 8056 w 10000"/>
                <a:gd name="connsiteY144" fmla="*/ 5797 h 9913"/>
                <a:gd name="connsiteX145" fmla="*/ 8368 w 10000"/>
                <a:gd name="connsiteY145" fmla="*/ 5333 h 9913"/>
                <a:gd name="connsiteX146" fmla="*/ 8542 w 10000"/>
                <a:gd name="connsiteY146" fmla="*/ 5275 h 9913"/>
                <a:gd name="connsiteX147" fmla="*/ 8611 w 10000"/>
                <a:gd name="connsiteY147" fmla="*/ 5189 h 9913"/>
                <a:gd name="connsiteX148" fmla="*/ 8715 w 10000"/>
                <a:gd name="connsiteY148" fmla="*/ 5130 h 9913"/>
                <a:gd name="connsiteX149" fmla="*/ 8854 w 10000"/>
                <a:gd name="connsiteY149" fmla="*/ 4580 h 9913"/>
                <a:gd name="connsiteX150" fmla="*/ 8854 w 10000"/>
                <a:gd name="connsiteY150" fmla="*/ 4435 h 9913"/>
                <a:gd name="connsiteX151" fmla="*/ 8854 w 10000"/>
                <a:gd name="connsiteY151" fmla="*/ 4289 h 9913"/>
                <a:gd name="connsiteX152" fmla="*/ 8854 w 10000"/>
                <a:gd name="connsiteY152" fmla="*/ 4174 h 9913"/>
                <a:gd name="connsiteX153" fmla="*/ 8854 w 10000"/>
                <a:gd name="connsiteY153" fmla="*/ 3971 h 9913"/>
                <a:gd name="connsiteX154" fmla="*/ 8958 w 10000"/>
                <a:gd name="connsiteY154" fmla="*/ 3826 h 9913"/>
                <a:gd name="connsiteX155" fmla="*/ 9097 w 10000"/>
                <a:gd name="connsiteY155" fmla="*/ 3333 h 9913"/>
                <a:gd name="connsiteX156" fmla="*/ 9097 w 10000"/>
                <a:gd name="connsiteY156" fmla="*/ 3275 h 9913"/>
                <a:gd name="connsiteX157" fmla="*/ 9097 w 10000"/>
                <a:gd name="connsiteY157" fmla="*/ 3072 h 9913"/>
                <a:gd name="connsiteX158" fmla="*/ 9201 w 10000"/>
                <a:gd name="connsiteY158" fmla="*/ 3015 h 9913"/>
                <a:gd name="connsiteX159" fmla="*/ 9375 w 10000"/>
                <a:gd name="connsiteY159" fmla="*/ 3015 h 9913"/>
                <a:gd name="connsiteX160" fmla="*/ 9514 w 10000"/>
                <a:gd name="connsiteY160" fmla="*/ 2869 h 9913"/>
                <a:gd name="connsiteX161" fmla="*/ 9688 w 10000"/>
                <a:gd name="connsiteY161" fmla="*/ 2782 h 9913"/>
                <a:gd name="connsiteX162" fmla="*/ 9757 w 10000"/>
                <a:gd name="connsiteY162" fmla="*/ 2724 h 9913"/>
                <a:gd name="connsiteX163" fmla="*/ 9931 w 10000"/>
                <a:gd name="connsiteY163" fmla="*/ 2724 h 9913"/>
                <a:gd name="connsiteX164" fmla="*/ 10000 w 10000"/>
                <a:gd name="connsiteY164" fmla="*/ 2580 h 9913"/>
                <a:gd name="connsiteX165" fmla="*/ 10000 w 10000"/>
                <a:gd name="connsiteY165" fmla="*/ 2463 h 9913"/>
                <a:gd name="connsiteX166" fmla="*/ 10000 w 10000"/>
                <a:gd name="connsiteY166" fmla="*/ 2376 h 9913"/>
                <a:gd name="connsiteX167" fmla="*/ 9931 w 10000"/>
                <a:gd name="connsiteY167" fmla="*/ 2376 h 9913"/>
                <a:gd name="connsiteX168" fmla="*/ 9931 w 10000"/>
                <a:gd name="connsiteY168" fmla="*/ 2376 h 9913"/>
                <a:gd name="connsiteX169" fmla="*/ 9861 w 10000"/>
                <a:gd name="connsiteY169" fmla="*/ 2376 h 9913"/>
                <a:gd name="connsiteX170" fmla="*/ 9861 w 10000"/>
                <a:gd name="connsiteY170" fmla="*/ 2261 h 9913"/>
                <a:gd name="connsiteX171" fmla="*/ 9757 w 10000"/>
                <a:gd name="connsiteY171" fmla="*/ 2174 h 9913"/>
                <a:gd name="connsiteX172" fmla="*/ 9688 w 10000"/>
                <a:gd name="connsiteY172" fmla="*/ 2174 h 9913"/>
                <a:gd name="connsiteX173" fmla="*/ 9514 w 10000"/>
                <a:gd name="connsiteY173" fmla="*/ 2115 h 9913"/>
                <a:gd name="connsiteX174" fmla="*/ 9271 w 10000"/>
                <a:gd name="connsiteY174" fmla="*/ 869 h 9913"/>
                <a:gd name="connsiteX175" fmla="*/ 9271 w 10000"/>
                <a:gd name="connsiteY175" fmla="*/ 869 h 9913"/>
                <a:gd name="connsiteX176" fmla="*/ 9097 w 10000"/>
                <a:gd name="connsiteY176" fmla="*/ 608 h 9913"/>
                <a:gd name="connsiteX177" fmla="*/ 8715 w 10000"/>
                <a:gd name="connsiteY177" fmla="*/ 58 h 9913"/>
                <a:gd name="connsiteX178" fmla="*/ 8611 w 10000"/>
                <a:gd name="connsiteY178" fmla="*/ 0 h 9913"/>
                <a:gd name="connsiteX179" fmla="*/ 8056 w 10000"/>
                <a:gd name="connsiteY179" fmla="*/ 0 h 9913"/>
                <a:gd name="connsiteX180" fmla="*/ 7813 w 10000"/>
                <a:gd name="connsiteY180" fmla="*/ 202 h 9913"/>
                <a:gd name="connsiteX181" fmla="*/ 7049 w 10000"/>
                <a:gd name="connsiteY181" fmla="*/ 550 h 9913"/>
                <a:gd name="connsiteX182" fmla="*/ 5833 w 10000"/>
                <a:gd name="connsiteY182" fmla="*/ 406 h 9913"/>
                <a:gd name="connsiteX183" fmla="*/ 5833 w 10000"/>
                <a:gd name="connsiteY183" fmla="*/ 260 h 9913"/>
                <a:gd name="connsiteX184" fmla="*/ 5833 w 10000"/>
                <a:gd name="connsiteY184" fmla="*/ 260 h 9913"/>
                <a:gd name="connsiteX185" fmla="*/ 5833 w 10000"/>
                <a:gd name="connsiteY185" fmla="*/ 260 h 9913"/>
                <a:gd name="connsiteX186" fmla="*/ 5764 w 10000"/>
                <a:gd name="connsiteY186" fmla="*/ 260 h 9913"/>
                <a:gd name="connsiteX187" fmla="*/ 3056 w 10000"/>
                <a:gd name="connsiteY187" fmla="*/ 406 h 9913"/>
                <a:gd name="connsiteX188" fmla="*/ 2333 w 10000"/>
                <a:gd name="connsiteY188" fmla="*/ 284 h 9913"/>
                <a:gd name="connsiteX0" fmla="*/ 2333 w 10000"/>
                <a:gd name="connsiteY0" fmla="*/ 286 h 10000"/>
                <a:gd name="connsiteX1" fmla="*/ 1889 w 10000"/>
                <a:gd name="connsiteY1" fmla="*/ 1316 h 10000"/>
                <a:gd name="connsiteX2" fmla="*/ 1319 w 10000"/>
                <a:gd name="connsiteY2" fmla="*/ 3713 h 10000"/>
                <a:gd name="connsiteX3" fmla="*/ 1250 w 10000"/>
                <a:gd name="connsiteY3" fmla="*/ 3713 h 10000"/>
                <a:gd name="connsiteX4" fmla="*/ 903 w 10000"/>
                <a:gd name="connsiteY4" fmla="*/ 3713 h 10000"/>
                <a:gd name="connsiteX5" fmla="*/ 660 w 10000"/>
                <a:gd name="connsiteY5" fmla="*/ 3713 h 10000"/>
                <a:gd name="connsiteX6" fmla="*/ 660 w 10000"/>
                <a:gd name="connsiteY6" fmla="*/ 3801 h 10000"/>
                <a:gd name="connsiteX7" fmla="*/ 660 w 10000"/>
                <a:gd name="connsiteY7" fmla="*/ 3860 h 10000"/>
                <a:gd name="connsiteX8" fmla="*/ 660 w 10000"/>
                <a:gd name="connsiteY8" fmla="*/ 3918 h 10000"/>
                <a:gd name="connsiteX9" fmla="*/ 590 w 10000"/>
                <a:gd name="connsiteY9" fmla="*/ 4063 h 10000"/>
                <a:gd name="connsiteX10" fmla="*/ 486 w 10000"/>
                <a:gd name="connsiteY10" fmla="*/ 4211 h 10000"/>
                <a:gd name="connsiteX11" fmla="*/ 243 w 10000"/>
                <a:gd name="connsiteY11" fmla="*/ 4414 h 10000"/>
                <a:gd name="connsiteX12" fmla="*/ 243 w 10000"/>
                <a:gd name="connsiteY12" fmla="*/ 4474 h 10000"/>
                <a:gd name="connsiteX13" fmla="*/ 347 w 10000"/>
                <a:gd name="connsiteY13" fmla="*/ 4561 h 10000"/>
                <a:gd name="connsiteX14" fmla="*/ 243 w 10000"/>
                <a:gd name="connsiteY14" fmla="*/ 4620 h 10000"/>
                <a:gd name="connsiteX15" fmla="*/ 243 w 10000"/>
                <a:gd name="connsiteY15" fmla="*/ 4620 h 10000"/>
                <a:gd name="connsiteX16" fmla="*/ 174 w 10000"/>
                <a:gd name="connsiteY16" fmla="*/ 4678 h 10000"/>
                <a:gd name="connsiteX17" fmla="*/ 174 w 10000"/>
                <a:gd name="connsiteY17" fmla="*/ 4678 h 10000"/>
                <a:gd name="connsiteX18" fmla="*/ 174 w 10000"/>
                <a:gd name="connsiteY18" fmla="*/ 4824 h 10000"/>
                <a:gd name="connsiteX19" fmla="*/ 174 w 10000"/>
                <a:gd name="connsiteY19" fmla="*/ 4971 h 10000"/>
                <a:gd name="connsiteX20" fmla="*/ 104 w 10000"/>
                <a:gd name="connsiteY20" fmla="*/ 5029 h 10000"/>
                <a:gd name="connsiteX21" fmla="*/ 0 w 10000"/>
                <a:gd name="connsiteY21" fmla="*/ 5087 h 10000"/>
                <a:gd name="connsiteX22" fmla="*/ 0 w 10000"/>
                <a:gd name="connsiteY22" fmla="*/ 5175 h 10000"/>
                <a:gd name="connsiteX23" fmla="*/ 0 w 10000"/>
                <a:gd name="connsiteY23" fmla="*/ 5321 h 10000"/>
                <a:gd name="connsiteX24" fmla="*/ 104 w 10000"/>
                <a:gd name="connsiteY24" fmla="*/ 5321 h 10000"/>
                <a:gd name="connsiteX25" fmla="*/ 104 w 10000"/>
                <a:gd name="connsiteY25" fmla="*/ 5321 h 10000"/>
                <a:gd name="connsiteX26" fmla="*/ 347 w 10000"/>
                <a:gd name="connsiteY26" fmla="*/ 5235 h 10000"/>
                <a:gd name="connsiteX27" fmla="*/ 243 w 10000"/>
                <a:gd name="connsiteY27" fmla="*/ 5438 h 10000"/>
                <a:gd name="connsiteX28" fmla="*/ 347 w 10000"/>
                <a:gd name="connsiteY28" fmla="*/ 5585 h 10000"/>
                <a:gd name="connsiteX29" fmla="*/ 486 w 10000"/>
                <a:gd name="connsiteY29" fmla="*/ 5848 h 10000"/>
                <a:gd name="connsiteX30" fmla="*/ 486 w 10000"/>
                <a:gd name="connsiteY30" fmla="*/ 5936 h 10000"/>
                <a:gd name="connsiteX31" fmla="*/ 590 w 10000"/>
                <a:gd name="connsiteY31" fmla="*/ 5936 h 10000"/>
                <a:gd name="connsiteX32" fmla="*/ 590 w 10000"/>
                <a:gd name="connsiteY32" fmla="*/ 5993 h 10000"/>
                <a:gd name="connsiteX33" fmla="*/ 660 w 10000"/>
                <a:gd name="connsiteY33" fmla="*/ 6053 h 10000"/>
                <a:gd name="connsiteX34" fmla="*/ 660 w 10000"/>
                <a:gd name="connsiteY34" fmla="*/ 6140 h 10000"/>
                <a:gd name="connsiteX35" fmla="*/ 486 w 10000"/>
                <a:gd name="connsiteY35" fmla="*/ 6199 h 10000"/>
                <a:gd name="connsiteX36" fmla="*/ 660 w 10000"/>
                <a:gd name="connsiteY36" fmla="*/ 6287 h 10000"/>
                <a:gd name="connsiteX37" fmla="*/ 833 w 10000"/>
                <a:gd name="connsiteY37" fmla="*/ 6491 h 10000"/>
                <a:gd name="connsiteX38" fmla="*/ 1007 w 10000"/>
                <a:gd name="connsiteY38" fmla="*/ 6695 h 10000"/>
                <a:gd name="connsiteX39" fmla="*/ 1076 w 10000"/>
                <a:gd name="connsiteY39" fmla="*/ 6813 h 10000"/>
                <a:gd name="connsiteX40" fmla="*/ 1007 w 10000"/>
                <a:gd name="connsiteY40" fmla="*/ 6959 h 10000"/>
                <a:gd name="connsiteX41" fmla="*/ 1007 w 10000"/>
                <a:gd name="connsiteY41" fmla="*/ 7164 h 10000"/>
                <a:gd name="connsiteX42" fmla="*/ 1007 w 10000"/>
                <a:gd name="connsiteY42" fmla="*/ 7252 h 10000"/>
                <a:gd name="connsiteX43" fmla="*/ 1146 w 10000"/>
                <a:gd name="connsiteY43" fmla="*/ 7368 h 10000"/>
                <a:gd name="connsiteX44" fmla="*/ 1250 w 10000"/>
                <a:gd name="connsiteY44" fmla="*/ 7368 h 10000"/>
                <a:gd name="connsiteX45" fmla="*/ 1389 w 10000"/>
                <a:gd name="connsiteY45" fmla="*/ 7368 h 10000"/>
                <a:gd name="connsiteX46" fmla="*/ 1493 w 10000"/>
                <a:gd name="connsiteY46" fmla="*/ 7514 h 10000"/>
                <a:gd name="connsiteX47" fmla="*/ 1563 w 10000"/>
                <a:gd name="connsiteY47" fmla="*/ 7573 h 10000"/>
                <a:gd name="connsiteX48" fmla="*/ 1806 w 10000"/>
                <a:gd name="connsiteY48" fmla="*/ 7573 h 10000"/>
                <a:gd name="connsiteX49" fmla="*/ 1910 w 10000"/>
                <a:gd name="connsiteY49" fmla="*/ 7661 h 10000"/>
                <a:gd name="connsiteX50" fmla="*/ 1979 w 10000"/>
                <a:gd name="connsiteY50" fmla="*/ 7719 h 10000"/>
                <a:gd name="connsiteX51" fmla="*/ 2049 w 10000"/>
                <a:gd name="connsiteY51" fmla="*/ 7719 h 10000"/>
                <a:gd name="connsiteX52" fmla="*/ 1979 w 10000"/>
                <a:gd name="connsiteY52" fmla="*/ 7865 h 10000"/>
                <a:gd name="connsiteX53" fmla="*/ 2049 w 10000"/>
                <a:gd name="connsiteY53" fmla="*/ 7924 h 10000"/>
                <a:gd name="connsiteX54" fmla="*/ 2292 w 10000"/>
                <a:gd name="connsiteY54" fmla="*/ 8070 h 10000"/>
                <a:gd name="connsiteX55" fmla="*/ 2465 w 10000"/>
                <a:gd name="connsiteY55" fmla="*/ 8216 h 10000"/>
                <a:gd name="connsiteX56" fmla="*/ 2535 w 10000"/>
                <a:gd name="connsiteY56" fmla="*/ 8274 h 10000"/>
                <a:gd name="connsiteX57" fmla="*/ 2708 w 10000"/>
                <a:gd name="connsiteY57" fmla="*/ 8334 h 10000"/>
                <a:gd name="connsiteX58" fmla="*/ 2708 w 10000"/>
                <a:gd name="connsiteY58" fmla="*/ 8421 h 10000"/>
                <a:gd name="connsiteX59" fmla="*/ 2813 w 10000"/>
                <a:gd name="connsiteY59" fmla="*/ 8568 h 10000"/>
                <a:gd name="connsiteX60" fmla="*/ 2882 w 10000"/>
                <a:gd name="connsiteY60" fmla="*/ 8625 h 10000"/>
                <a:gd name="connsiteX61" fmla="*/ 2882 w 10000"/>
                <a:gd name="connsiteY61" fmla="*/ 8685 h 10000"/>
                <a:gd name="connsiteX62" fmla="*/ 2951 w 10000"/>
                <a:gd name="connsiteY62" fmla="*/ 8772 h 10000"/>
                <a:gd name="connsiteX63" fmla="*/ 3299 w 10000"/>
                <a:gd name="connsiteY63" fmla="*/ 8888 h 10000"/>
                <a:gd name="connsiteX64" fmla="*/ 3368 w 10000"/>
                <a:gd name="connsiteY64" fmla="*/ 9035 h 10000"/>
                <a:gd name="connsiteX65" fmla="*/ 3368 w 10000"/>
                <a:gd name="connsiteY65" fmla="*/ 9094 h 10000"/>
                <a:gd name="connsiteX66" fmla="*/ 3438 w 10000"/>
                <a:gd name="connsiteY66" fmla="*/ 9182 h 10000"/>
                <a:gd name="connsiteX67" fmla="*/ 3542 w 10000"/>
                <a:gd name="connsiteY67" fmla="*/ 9239 h 10000"/>
                <a:gd name="connsiteX68" fmla="*/ 3715 w 10000"/>
                <a:gd name="connsiteY68" fmla="*/ 9386 h 10000"/>
                <a:gd name="connsiteX69" fmla="*/ 3715 w 10000"/>
                <a:gd name="connsiteY69" fmla="*/ 9445 h 10000"/>
                <a:gd name="connsiteX70" fmla="*/ 3785 w 10000"/>
                <a:gd name="connsiteY70" fmla="*/ 9533 h 10000"/>
                <a:gd name="connsiteX71" fmla="*/ 4028 w 10000"/>
                <a:gd name="connsiteY71" fmla="*/ 9590 h 10000"/>
                <a:gd name="connsiteX72" fmla="*/ 4097 w 10000"/>
                <a:gd name="connsiteY72" fmla="*/ 9590 h 10000"/>
                <a:gd name="connsiteX73" fmla="*/ 4201 w 10000"/>
                <a:gd name="connsiteY73" fmla="*/ 9533 h 10000"/>
                <a:gd name="connsiteX74" fmla="*/ 4444 w 10000"/>
                <a:gd name="connsiteY74" fmla="*/ 9590 h 10000"/>
                <a:gd name="connsiteX75" fmla="*/ 4618 w 10000"/>
                <a:gd name="connsiteY75" fmla="*/ 9533 h 10000"/>
                <a:gd name="connsiteX76" fmla="*/ 4757 w 10000"/>
                <a:gd name="connsiteY76" fmla="*/ 9445 h 10000"/>
                <a:gd name="connsiteX77" fmla="*/ 4861 w 10000"/>
                <a:gd name="connsiteY77" fmla="*/ 9533 h 10000"/>
                <a:gd name="connsiteX78" fmla="*/ 5174 w 10000"/>
                <a:gd name="connsiteY78" fmla="*/ 9737 h 10000"/>
                <a:gd name="connsiteX79" fmla="*/ 5243 w 10000"/>
                <a:gd name="connsiteY79" fmla="*/ 9854 h 10000"/>
                <a:gd name="connsiteX80" fmla="*/ 5347 w 10000"/>
                <a:gd name="connsiteY80" fmla="*/ 9941 h 10000"/>
                <a:gd name="connsiteX81" fmla="*/ 5417 w 10000"/>
                <a:gd name="connsiteY81" fmla="*/ 9941 h 10000"/>
                <a:gd name="connsiteX82" fmla="*/ 5486 w 10000"/>
                <a:gd name="connsiteY82" fmla="*/ 9941 h 10000"/>
                <a:gd name="connsiteX83" fmla="*/ 5590 w 10000"/>
                <a:gd name="connsiteY83" fmla="*/ 9941 h 10000"/>
                <a:gd name="connsiteX84" fmla="*/ 5764 w 10000"/>
                <a:gd name="connsiteY84" fmla="*/ 9941 h 10000"/>
                <a:gd name="connsiteX85" fmla="*/ 5833 w 10000"/>
                <a:gd name="connsiteY85" fmla="*/ 9941 h 10000"/>
                <a:gd name="connsiteX86" fmla="*/ 6007 w 10000"/>
                <a:gd name="connsiteY86" fmla="*/ 9941 h 10000"/>
                <a:gd name="connsiteX87" fmla="*/ 6076 w 10000"/>
                <a:gd name="connsiteY87" fmla="*/ 9941 h 10000"/>
                <a:gd name="connsiteX88" fmla="*/ 6146 w 10000"/>
                <a:gd name="connsiteY88" fmla="*/ 10000 h 10000"/>
                <a:gd name="connsiteX89" fmla="*/ 6319 w 10000"/>
                <a:gd name="connsiteY89" fmla="*/ 9941 h 10000"/>
                <a:gd name="connsiteX90" fmla="*/ 6493 w 10000"/>
                <a:gd name="connsiteY90" fmla="*/ 9941 h 10000"/>
                <a:gd name="connsiteX91" fmla="*/ 6667 w 10000"/>
                <a:gd name="connsiteY91" fmla="*/ 9854 h 10000"/>
                <a:gd name="connsiteX92" fmla="*/ 6806 w 10000"/>
                <a:gd name="connsiteY92" fmla="*/ 9854 h 10000"/>
                <a:gd name="connsiteX93" fmla="*/ 7049 w 10000"/>
                <a:gd name="connsiteY93" fmla="*/ 9854 h 10000"/>
                <a:gd name="connsiteX94" fmla="*/ 7292 w 10000"/>
                <a:gd name="connsiteY94" fmla="*/ 9737 h 10000"/>
                <a:gd name="connsiteX95" fmla="*/ 7292 w 10000"/>
                <a:gd name="connsiteY95" fmla="*/ 9737 h 10000"/>
                <a:gd name="connsiteX96" fmla="*/ 7292 w 10000"/>
                <a:gd name="connsiteY96" fmla="*/ 9737 h 10000"/>
                <a:gd name="connsiteX97" fmla="*/ 7569 w 10000"/>
                <a:gd name="connsiteY97" fmla="*/ 9533 h 10000"/>
                <a:gd name="connsiteX98" fmla="*/ 7639 w 10000"/>
                <a:gd name="connsiteY98" fmla="*/ 9445 h 10000"/>
                <a:gd name="connsiteX99" fmla="*/ 7813 w 10000"/>
                <a:gd name="connsiteY99" fmla="*/ 9445 h 10000"/>
                <a:gd name="connsiteX100" fmla="*/ 8125 w 10000"/>
                <a:gd name="connsiteY100" fmla="*/ 9533 h 10000"/>
                <a:gd name="connsiteX101" fmla="*/ 8299 w 10000"/>
                <a:gd name="connsiteY101" fmla="*/ 9533 h 10000"/>
                <a:gd name="connsiteX102" fmla="*/ 8472 w 10000"/>
                <a:gd name="connsiteY102" fmla="*/ 9445 h 10000"/>
                <a:gd name="connsiteX103" fmla="*/ 8472 w 10000"/>
                <a:gd name="connsiteY103" fmla="*/ 9239 h 10000"/>
                <a:gd name="connsiteX104" fmla="*/ 8542 w 10000"/>
                <a:gd name="connsiteY104" fmla="*/ 9182 h 10000"/>
                <a:gd name="connsiteX105" fmla="*/ 8472 w 10000"/>
                <a:gd name="connsiteY105" fmla="*/ 9094 h 10000"/>
                <a:gd name="connsiteX106" fmla="*/ 8472 w 10000"/>
                <a:gd name="connsiteY106" fmla="*/ 9035 h 10000"/>
                <a:gd name="connsiteX107" fmla="*/ 8125 w 10000"/>
                <a:gd name="connsiteY107" fmla="*/ 9035 h 10000"/>
                <a:gd name="connsiteX108" fmla="*/ 8056 w 10000"/>
                <a:gd name="connsiteY108" fmla="*/ 8976 h 10000"/>
                <a:gd name="connsiteX109" fmla="*/ 8056 w 10000"/>
                <a:gd name="connsiteY109" fmla="*/ 8888 h 10000"/>
                <a:gd name="connsiteX110" fmla="*/ 7882 w 10000"/>
                <a:gd name="connsiteY110" fmla="*/ 8625 h 10000"/>
                <a:gd name="connsiteX111" fmla="*/ 7882 w 10000"/>
                <a:gd name="connsiteY111" fmla="*/ 8480 h 10000"/>
                <a:gd name="connsiteX112" fmla="*/ 7813 w 10000"/>
                <a:gd name="connsiteY112" fmla="*/ 8421 h 10000"/>
                <a:gd name="connsiteX113" fmla="*/ 7569 w 10000"/>
                <a:gd name="connsiteY113" fmla="*/ 8274 h 10000"/>
                <a:gd name="connsiteX114" fmla="*/ 7465 w 10000"/>
                <a:gd name="connsiteY114" fmla="*/ 8216 h 10000"/>
                <a:gd name="connsiteX115" fmla="*/ 7396 w 10000"/>
                <a:gd name="connsiteY115" fmla="*/ 8129 h 10000"/>
                <a:gd name="connsiteX116" fmla="*/ 7396 w 10000"/>
                <a:gd name="connsiteY116" fmla="*/ 8070 h 10000"/>
                <a:gd name="connsiteX117" fmla="*/ 7292 w 10000"/>
                <a:gd name="connsiteY117" fmla="*/ 7924 h 10000"/>
                <a:gd name="connsiteX118" fmla="*/ 7222 w 10000"/>
                <a:gd name="connsiteY118" fmla="*/ 7924 h 10000"/>
                <a:gd name="connsiteX119" fmla="*/ 7049 w 10000"/>
                <a:gd name="connsiteY119" fmla="*/ 7865 h 10000"/>
                <a:gd name="connsiteX120" fmla="*/ 6979 w 10000"/>
                <a:gd name="connsiteY120" fmla="*/ 7865 h 10000"/>
                <a:gd name="connsiteX121" fmla="*/ 6910 w 10000"/>
                <a:gd name="connsiteY121" fmla="*/ 7865 h 10000"/>
                <a:gd name="connsiteX122" fmla="*/ 6806 w 10000"/>
                <a:gd name="connsiteY122" fmla="*/ 7865 h 10000"/>
                <a:gd name="connsiteX123" fmla="*/ 6736 w 10000"/>
                <a:gd name="connsiteY123" fmla="*/ 7807 h 10000"/>
                <a:gd name="connsiteX124" fmla="*/ 6806 w 10000"/>
                <a:gd name="connsiteY124" fmla="*/ 7719 h 10000"/>
                <a:gd name="connsiteX125" fmla="*/ 6910 w 10000"/>
                <a:gd name="connsiteY125" fmla="*/ 7661 h 10000"/>
                <a:gd name="connsiteX126" fmla="*/ 6910 w 10000"/>
                <a:gd name="connsiteY126" fmla="*/ 7514 h 10000"/>
                <a:gd name="connsiteX127" fmla="*/ 6979 w 10000"/>
                <a:gd name="connsiteY127" fmla="*/ 7514 h 10000"/>
                <a:gd name="connsiteX128" fmla="*/ 7222 w 10000"/>
                <a:gd name="connsiteY128" fmla="*/ 7514 h 10000"/>
                <a:gd name="connsiteX129" fmla="*/ 7396 w 10000"/>
                <a:gd name="connsiteY129" fmla="*/ 7514 h 10000"/>
                <a:gd name="connsiteX130" fmla="*/ 7465 w 10000"/>
                <a:gd name="connsiteY130" fmla="*/ 7456 h 10000"/>
                <a:gd name="connsiteX131" fmla="*/ 7465 w 10000"/>
                <a:gd name="connsiteY131" fmla="*/ 7310 h 10000"/>
                <a:gd name="connsiteX132" fmla="*/ 7465 w 10000"/>
                <a:gd name="connsiteY132" fmla="*/ 6901 h 10000"/>
                <a:gd name="connsiteX133" fmla="*/ 7465 w 10000"/>
                <a:gd name="connsiteY133" fmla="*/ 6754 h 10000"/>
                <a:gd name="connsiteX134" fmla="*/ 7569 w 10000"/>
                <a:gd name="connsiteY134" fmla="*/ 6607 h 10000"/>
                <a:gd name="connsiteX135" fmla="*/ 7465 w 10000"/>
                <a:gd name="connsiteY135" fmla="*/ 6550 h 10000"/>
                <a:gd name="connsiteX136" fmla="*/ 7465 w 10000"/>
                <a:gd name="connsiteY136" fmla="*/ 6491 h 10000"/>
                <a:gd name="connsiteX137" fmla="*/ 7569 w 10000"/>
                <a:gd name="connsiteY137" fmla="*/ 6491 h 10000"/>
                <a:gd name="connsiteX138" fmla="*/ 7569 w 10000"/>
                <a:gd name="connsiteY138" fmla="*/ 6404 h 10000"/>
                <a:gd name="connsiteX139" fmla="*/ 7639 w 10000"/>
                <a:gd name="connsiteY139" fmla="*/ 6287 h 10000"/>
                <a:gd name="connsiteX140" fmla="*/ 7708 w 10000"/>
                <a:gd name="connsiteY140" fmla="*/ 6287 h 10000"/>
                <a:gd name="connsiteX141" fmla="*/ 7882 w 10000"/>
                <a:gd name="connsiteY141" fmla="*/ 6287 h 10000"/>
                <a:gd name="connsiteX142" fmla="*/ 7882 w 10000"/>
                <a:gd name="connsiteY142" fmla="*/ 6199 h 10000"/>
                <a:gd name="connsiteX143" fmla="*/ 7951 w 10000"/>
                <a:gd name="connsiteY143" fmla="*/ 5936 h 10000"/>
                <a:gd name="connsiteX144" fmla="*/ 8056 w 10000"/>
                <a:gd name="connsiteY144" fmla="*/ 5848 h 10000"/>
                <a:gd name="connsiteX145" fmla="*/ 8368 w 10000"/>
                <a:gd name="connsiteY145" fmla="*/ 5380 h 10000"/>
                <a:gd name="connsiteX146" fmla="*/ 8542 w 10000"/>
                <a:gd name="connsiteY146" fmla="*/ 5321 h 10000"/>
                <a:gd name="connsiteX147" fmla="*/ 8611 w 10000"/>
                <a:gd name="connsiteY147" fmla="*/ 5235 h 10000"/>
                <a:gd name="connsiteX148" fmla="*/ 8715 w 10000"/>
                <a:gd name="connsiteY148" fmla="*/ 5175 h 10000"/>
                <a:gd name="connsiteX149" fmla="*/ 8854 w 10000"/>
                <a:gd name="connsiteY149" fmla="*/ 4620 h 10000"/>
                <a:gd name="connsiteX150" fmla="*/ 8854 w 10000"/>
                <a:gd name="connsiteY150" fmla="*/ 4474 h 10000"/>
                <a:gd name="connsiteX151" fmla="*/ 8854 w 10000"/>
                <a:gd name="connsiteY151" fmla="*/ 4327 h 10000"/>
                <a:gd name="connsiteX152" fmla="*/ 8854 w 10000"/>
                <a:gd name="connsiteY152" fmla="*/ 4211 h 10000"/>
                <a:gd name="connsiteX153" fmla="*/ 8854 w 10000"/>
                <a:gd name="connsiteY153" fmla="*/ 4006 h 10000"/>
                <a:gd name="connsiteX154" fmla="*/ 8958 w 10000"/>
                <a:gd name="connsiteY154" fmla="*/ 3860 h 10000"/>
                <a:gd name="connsiteX155" fmla="*/ 9097 w 10000"/>
                <a:gd name="connsiteY155" fmla="*/ 3362 h 10000"/>
                <a:gd name="connsiteX156" fmla="*/ 9097 w 10000"/>
                <a:gd name="connsiteY156" fmla="*/ 3304 h 10000"/>
                <a:gd name="connsiteX157" fmla="*/ 9097 w 10000"/>
                <a:gd name="connsiteY157" fmla="*/ 3099 h 10000"/>
                <a:gd name="connsiteX158" fmla="*/ 9201 w 10000"/>
                <a:gd name="connsiteY158" fmla="*/ 3041 h 10000"/>
                <a:gd name="connsiteX159" fmla="*/ 9375 w 10000"/>
                <a:gd name="connsiteY159" fmla="*/ 3041 h 10000"/>
                <a:gd name="connsiteX160" fmla="*/ 9514 w 10000"/>
                <a:gd name="connsiteY160" fmla="*/ 2894 h 10000"/>
                <a:gd name="connsiteX161" fmla="*/ 9688 w 10000"/>
                <a:gd name="connsiteY161" fmla="*/ 2806 h 10000"/>
                <a:gd name="connsiteX162" fmla="*/ 9757 w 10000"/>
                <a:gd name="connsiteY162" fmla="*/ 2748 h 10000"/>
                <a:gd name="connsiteX163" fmla="*/ 9931 w 10000"/>
                <a:gd name="connsiteY163" fmla="*/ 2748 h 10000"/>
                <a:gd name="connsiteX164" fmla="*/ 10000 w 10000"/>
                <a:gd name="connsiteY164" fmla="*/ 2603 h 10000"/>
                <a:gd name="connsiteX165" fmla="*/ 10000 w 10000"/>
                <a:gd name="connsiteY165" fmla="*/ 2485 h 10000"/>
                <a:gd name="connsiteX166" fmla="*/ 10000 w 10000"/>
                <a:gd name="connsiteY166" fmla="*/ 2397 h 10000"/>
                <a:gd name="connsiteX167" fmla="*/ 9931 w 10000"/>
                <a:gd name="connsiteY167" fmla="*/ 2397 h 10000"/>
                <a:gd name="connsiteX168" fmla="*/ 9931 w 10000"/>
                <a:gd name="connsiteY168" fmla="*/ 2397 h 10000"/>
                <a:gd name="connsiteX169" fmla="*/ 9861 w 10000"/>
                <a:gd name="connsiteY169" fmla="*/ 2397 h 10000"/>
                <a:gd name="connsiteX170" fmla="*/ 9861 w 10000"/>
                <a:gd name="connsiteY170" fmla="*/ 2281 h 10000"/>
                <a:gd name="connsiteX171" fmla="*/ 9757 w 10000"/>
                <a:gd name="connsiteY171" fmla="*/ 2193 h 10000"/>
                <a:gd name="connsiteX172" fmla="*/ 9688 w 10000"/>
                <a:gd name="connsiteY172" fmla="*/ 2193 h 10000"/>
                <a:gd name="connsiteX173" fmla="*/ 9514 w 10000"/>
                <a:gd name="connsiteY173" fmla="*/ 2134 h 10000"/>
                <a:gd name="connsiteX174" fmla="*/ 9271 w 10000"/>
                <a:gd name="connsiteY174" fmla="*/ 877 h 10000"/>
                <a:gd name="connsiteX175" fmla="*/ 9271 w 10000"/>
                <a:gd name="connsiteY175" fmla="*/ 877 h 10000"/>
                <a:gd name="connsiteX176" fmla="*/ 9097 w 10000"/>
                <a:gd name="connsiteY176" fmla="*/ 613 h 10000"/>
                <a:gd name="connsiteX177" fmla="*/ 8715 w 10000"/>
                <a:gd name="connsiteY177" fmla="*/ 59 h 10000"/>
                <a:gd name="connsiteX178" fmla="*/ 8611 w 10000"/>
                <a:gd name="connsiteY178" fmla="*/ 0 h 10000"/>
                <a:gd name="connsiteX179" fmla="*/ 7813 w 10000"/>
                <a:gd name="connsiteY179" fmla="*/ 204 h 10000"/>
                <a:gd name="connsiteX180" fmla="*/ 7049 w 10000"/>
                <a:gd name="connsiteY180" fmla="*/ 555 h 10000"/>
                <a:gd name="connsiteX181" fmla="*/ 5833 w 10000"/>
                <a:gd name="connsiteY181" fmla="*/ 410 h 10000"/>
                <a:gd name="connsiteX182" fmla="*/ 5833 w 10000"/>
                <a:gd name="connsiteY182" fmla="*/ 262 h 10000"/>
                <a:gd name="connsiteX183" fmla="*/ 5833 w 10000"/>
                <a:gd name="connsiteY183" fmla="*/ 262 h 10000"/>
                <a:gd name="connsiteX184" fmla="*/ 5833 w 10000"/>
                <a:gd name="connsiteY184" fmla="*/ 262 h 10000"/>
                <a:gd name="connsiteX185" fmla="*/ 5764 w 10000"/>
                <a:gd name="connsiteY185" fmla="*/ 262 h 10000"/>
                <a:gd name="connsiteX186" fmla="*/ 3056 w 10000"/>
                <a:gd name="connsiteY186" fmla="*/ 410 h 10000"/>
                <a:gd name="connsiteX187" fmla="*/ 2333 w 10000"/>
                <a:gd name="connsiteY187" fmla="*/ 286 h 10000"/>
                <a:gd name="connsiteX0" fmla="*/ 2333 w 10000"/>
                <a:gd name="connsiteY0" fmla="*/ 247 h 9961"/>
                <a:gd name="connsiteX1" fmla="*/ 1889 w 10000"/>
                <a:gd name="connsiteY1" fmla="*/ 1277 h 9961"/>
                <a:gd name="connsiteX2" fmla="*/ 1319 w 10000"/>
                <a:gd name="connsiteY2" fmla="*/ 3674 h 9961"/>
                <a:gd name="connsiteX3" fmla="*/ 1250 w 10000"/>
                <a:gd name="connsiteY3" fmla="*/ 3674 h 9961"/>
                <a:gd name="connsiteX4" fmla="*/ 903 w 10000"/>
                <a:gd name="connsiteY4" fmla="*/ 3674 h 9961"/>
                <a:gd name="connsiteX5" fmla="*/ 660 w 10000"/>
                <a:gd name="connsiteY5" fmla="*/ 3674 h 9961"/>
                <a:gd name="connsiteX6" fmla="*/ 660 w 10000"/>
                <a:gd name="connsiteY6" fmla="*/ 3762 h 9961"/>
                <a:gd name="connsiteX7" fmla="*/ 660 w 10000"/>
                <a:gd name="connsiteY7" fmla="*/ 3821 h 9961"/>
                <a:gd name="connsiteX8" fmla="*/ 660 w 10000"/>
                <a:gd name="connsiteY8" fmla="*/ 3879 h 9961"/>
                <a:gd name="connsiteX9" fmla="*/ 590 w 10000"/>
                <a:gd name="connsiteY9" fmla="*/ 4024 h 9961"/>
                <a:gd name="connsiteX10" fmla="*/ 486 w 10000"/>
                <a:gd name="connsiteY10" fmla="*/ 4172 h 9961"/>
                <a:gd name="connsiteX11" fmla="*/ 243 w 10000"/>
                <a:gd name="connsiteY11" fmla="*/ 4375 h 9961"/>
                <a:gd name="connsiteX12" fmla="*/ 243 w 10000"/>
                <a:gd name="connsiteY12" fmla="*/ 4435 h 9961"/>
                <a:gd name="connsiteX13" fmla="*/ 347 w 10000"/>
                <a:gd name="connsiteY13" fmla="*/ 4522 h 9961"/>
                <a:gd name="connsiteX14" fmla="*/ 243 w 10000"/>
                <a:gd name="connsiteY14" fmla="*/ 4581 h 9961"/>
                <a:gd name="connsiteX15" fmla="*/ 243 w 10000"/>
                <a:gd name="connsiteY15" fmla="*/ 4581 h 9961"/>
                <a:gd name="connsiteX16" fmla="*/ 174 w 10000"/>
                <a:gd name="connsiteY16" fmla="*/ 4639 h 9961"/>
                <a:gd name="connsiteX17" fmla="*/ 174 w 10000"/>
                <a:gd name="connsiteY17" fmla="*/ 4639 h 9961"/>
                <a:gd name="connsiteX18" fmla="*/ 174 w 10000"/>
                <a:gd name="connsiteY18" fmla="*/ 4785 h 9961"/>
                <a:gd name="connsiteX19" fmla="*/ 174 w 10000"/>
                <a:gd name="connsiteY19" fmla="*/ 4932 h 9961"/>
                <a:gd name="connsiteX20" fmla="*/ 104 w 10000"/>
                <a:gd name="connsiteY20" fmla="*/ 4990 h 9961"/>
                <a:gd name="connsiteX21" fmla="*/ 0 w 10000"/>
                <a:gd name="connsiteY21" fmla="*/ 5048 h 9961"/>
                <a:gd name="connsiteX22" fmla="*/ 0 w 10000"/>
                <a:gd name="connsiteY22" fmla="*/ 5136 h 9961"/>
                <a:gd name="connsiteX23" fmla="*/ 0 w 10000"/>
                <a:gd name="connsiteY23" fmla="*/ 5282 h 9961"/>
                <a:gd name="connsiteX24" fmla="*/ 104 w 10000"/>
                <a:gd name="connsiteY24" fmla="*/ 5282 h 9961"/>
                <a:gd name="connsiteX25" fmla="*/ 104 w 10000"/>
                <a:gd name="connsiteY25" fmla="*/ 5282 h 9961"/>
                <a:gd name="connsiteX26" fmla="*/ 347 w 10000"/>
                <a:gd name="connsiteY26" fmla="*/ 5196 h 9961"/>
                <a:gd name="connsiteX27" fmla="*/ 243 w 10000"/>
                <a:gd name="connsiteY27" fmla="*/ 5399 h 9961"/>
                <a:gd name="connsiteX28" fmla="*/ 347 w 10000"/>
                <a:gd name="connsiteY28" fmla="*/ 5546 h 9961"/>
                <a:gd name="connsiteX29" fmla="*/ 486 w 10000"/>
                <a:gd name="connsiteY29" fmla="*/ 5809 h 9961"/>
                <a:gd name="connsiteX30" fmla="*/ 486 w 10000"/>
                <a:gd name="connsiteY30" fmla="*/ 5897 h 9961"/>
                <a:gd name="connsiteX31" fmla="*/ 590 w 10000"/>
                <a:gd name="connsiteY31" fmla="*/ 5897 h 9961"/>
                <a:gd name="connsiteX32" fmla="*/ 590 w 10000"/>
                <a:gd name="connsiteY32" fmla="*/ 5954 h 9961"/>
                <a:gd name="connsiteX33" fmla="*/ 660 w 10000"/>
                <a:gd name="connsiteY33" fmla="*/ 6014 h 9961"/>
                <a:gd name="connsiteX34" fmla="*/ 660 w 10000"/>
                <a:gd name="connsiteY34" fmla="*/ 6101 h 9961"/>
                <a:gd name="connsiteX35" fmla="*/ 486 w 10000"/>
                <a:gd name="connsiteY35" fmla="*/ 6160 h 9961"/>
                <a:gd name="connsiteX36" fmla="*/ 660 w 10000"/>
                <a:gd name="connsiteY36" fmla="*/ 6248 h 9961"/>
                <a:gd name="connsiteX37" fmla="*/ 833 w 10000"/>
                <a:gd name="connsiteY37" fmla="*/ 6452 h 9961"/>
                <a:gd name="connsiteX38" fmla="*/ 1007 w 10000"/>
                <a:gd name="connsiteY38" fmla="*/ 6656 h 9961"/>
                <a:gd name="connsiteX39" fmla="*/ 1076 w 10000"/>
                <a:gd name="connsiteY39" fmla="*/ 6774 h 9961"/>
                <a:gd name="connsiteX40" fmla="*/ 1007 w 10000"/>
                <a:gd name="connsiteY40" fmla="*/ 6920 h 9961"/>
                <a:gd name="connsiteX41" fmla="*/ 1007 w 10000"/>
                <a:gd name="connsiteY41" fmla="*/ 7125 h 9961"/>
                <a:gd name="connsiteX42" fmla="*/ 1007 w 10000"/>
                <a:gd name="connsiteY42" fmla="*/ 7213 h 9961"/>
                <a:gd name="connsiteX43" fmla="*/ 1146 w 10000"/>
                <a:gd name="connsiteY43" fmla="*/ 7329 h 9961"/>
                <a:gd name="connsiteX44" fmla="*/ 1250 w 10000"/>
                <a:gd name="connsiteY44" fmla="*/ 7329 h 9961"/>
                <a:gd name="connsiteX45" fmla="*/ 1389 w 10000"/>
                <a:gd name="connsiteY45" fmla="*/ 7329 h 9961"/>
                <a:gd name="connsiteX46" fmla="*/ 1493 w 10000"/>
                <a:gd name="connsiteY46" fmla="*/ 7475 h 9961"/>
                <a:gd name="connsiteX47" fmla="*/ 1563 w 10000"/>
                <a:gd name="connsiteY47" fmla="*/ 7534 h 9961"/>
                <a:gd name="connsiteX48" fmla="*/ 1806 w 10000"/>
                <a:gd name="connsiteY48" fmla="*/ 7534 h 9961"/>
                <a:gd name="connsiteX49" fmla="*/ 1910 w 10000"/>
                <a:gd name="connsiteY49" fmla="*/ 7622 h 9961"/>
                <a:gd name="connsiteX50" fmla="*/ 1979 w 10000"/>
                <a:gd name="connsiteY50" fmla="*/ 7680 h 9961"/>
                <a:gd name="connsiteX51" fmla="*/ 2049 w 10000"/>
                <a:gd name="connsiteY51" fmla="*/ 7680 h 9961"/>
                <a:gd name="connsiteX52" fmla="*/ 1979 w 10000"/>
                <a:gd name="connsiteY52" fmla="*/ 7826 h 9961"/>
                <a:gd name="connsiteX53" fmla="*/ 2049 w 10000"/>
                <a:gd name="connsiteY53" fmla="*/ 7885 h 9961"/>
                <a:gd name="connsiteX54" fmla="*/ 2292 w 10000"/>
                <a:gd name="connsiteY54" fmla="*/ 8031 h 9961"/>
                <a:gd name="connsiteX55" fmla="*/ 2465 w 10000"/>
                <a:gd name="connsiteY55" fmla="*/ 8177 h 9961"/>
                <a:gd name="connsiteX56" fmla="*/ 2535 w 10000"/>
                <a:gd name="connsiteY56" fmla="*/ 8235 h 9961"/>
                <a:gd name="connsiteX57" fmla="*/ 2708 w 10000"/>
                <a:gd name="connsiteY57" fmla="*/ 8295 h 9961"/>
                <a:gd name="connsiteX58" fmla="*/ 2708 w 10000"/>
                <a:gd name="connsiteY58" fmla="*/ 8382 h 9961"/>
                <a:gd name="connsiteX59" fmla="*/ 2813 w 10000"/>
                <a:gd name="connsiteY59" fmla="*/ 8529 h 9961"/>
                <a:gd name="connsiteX60" fmla="*/ 2882 w 10000"/>
                <a:gd name="connsiteY60" fmla="*/ 8586 h 9961"/>
                <a:gd name="connsiteX61" fmla="*/ 2882 w 10000"/>
                <a:gd name="connsiteY61" fmla="*/ 8646 h 9961"/>
                <a:gd name="connsiteX62" fmla="*/ 2951 w 10000"/>
                <a:gd name="connsiteY62" fmla="*/ 8733 h 9961"/>
                <a:gd name="connsiteX63" fmla="*/ 3299 w 10000"/>
                <a:gd name="connsiteY63" fmla="*/ 8849 h 9961"/>
                <a:gd name="connsiteX64" fmla="*/ 3368 w 10000"/>
                <a:gd name="connsiteY64" fmla="*/ 8996 h 9961"/>
                <a:gd name="connsiteX65" fmla="*/ 3368 w 10000"/>
                <a:gd name="connsiteY65" fmla="*/ 9055 h 9961"/>
                <a:gd name="connsiteX66" fmla="*/ 3438 w 10000"/>
                <a:gd name="connsiteY66" fmla="*/ 9143 h 9961"/>
                <a:gd name="connsiteX67" fmla="*/ 3542 w 10000"/>
                <a:gd name="connsiteY67" fmla="*/ 9200 h 9961"/>
                <a:gd name="connsiteX68" fmla="*/ 3715 w 10000"/>
                <a:gd name="connsiteY68" fmla="*/ 9347 h 9961"/>
                <a:gd name="connsiteX69" fmla="*/ 3715 w 10000"/>
                <a:gd name="connsiteY69" fmla="*/ 9406 h 9961"/>
                <a:gd name="connsiteX70" fmla="*/ 3785 w 10000"/>
                <a:gd name="connsiteY70" fmla="*/ 9494 h 9961"/>
                <a:gd name="connsiteX71" fmla="*/ 4028 w 10000"/>
                <a:gd name="connsiteY71" fmla="*/ 9551 h 9961"/>
                <a:gd name="connsiteX72" fmla="*/ 4097 w 10000"/>
                <a:gd name="connsiteY72" fmla="*/ 9551 h 9961"/>
                <a:gd name="connsiteX73" fmla="*/ 4201 w 10000"/>
                <a:gd name="connsiteY73" fmla="*/ 9494 h 9961"/>
                <a:gd name="connsiteX74" fmla="*/ 4444 w 10000"/>
                <a:gd name="connsiteY74" fmla="*/ 9551 h 9961"/>
                <a:gd name="connsiteX75" fmla="*/ 4618 w 10000"/>
                <a:gd name="connsiteY75" fmla="*/ 9494 h 9961"/>
                <a:gd name="connsiteX76" fmla="*/ 4757 w 10000"/>
                <a:gd name="connsiteY76" fmla="*/ 9406 h 9961"/>
                <a:gd name="connsiteX77" fmla="*/ 4861 w 10000"/>
                <a:gd name="connsiteY77" fmla="*/ 9494 h 9961"/>
                <a:gd name="connsiteX78" fmla="*/ 5174 w 10000"/>
                <a:gd name="connsiteY78" fmla="*/ 9698 h 9961"/>
                <a:gd name="connsiteX79" fmla="*/ 5243 w 10000"/>
                <a:gd name="connsiteY79" fmla="*/ 9815 h 9961"/>
                <a:gd name="connsiteX80" fmla="*/ 5347 w 10000"/>
                <a:gd name="connsiteY80" fmla="*/ 9902 h 9961"/>
                <a:gd name="connsiteX81" fmla="*/ 5417 w 10000"/>
                <a:gd name="connsiteY81" fmla="*/ 9902 h 9961"/>
                <a:gd name="connsiteX82" fmla="*/ 5486 w 10000"/>
                <a:gd name="connsiteY82" fmla="*/ 9902 h 9961"/>
                <a:gd name="connsiteX83" fmla="*/ 5590 w 10000"/>
                <a:gd name="connsiteY83" fmla="*/ 9902 h 9961"/>
                <a:gd name="connsiteX84" fmla="*/ 5764 w 10000"/>
                <a:gd name="connsiteY84" fmla="*/ 9902 h 9961"/>
                <a:gd name="connsiteX85" fmla="*/ 5833 w 10000"/>
                <a:gd name="connsiteY85" fmla="*/ 9902 h 9961"/>
                <a:gd name="connsiteX86" fmla="*/ 6007 w 10000"/>
                <a:gd name="connsiteY86" fmla="*/ 9902 h 9961"/>
                <a:gd name="connsiteX87" fmla="*/ 6076 w 10000"/>
                <a:gd name="connsiteY87" fmla="*/ 9902 h 9961"/>
                <a:gd name="connsiteX88" fmla="*/ 6146 w 10000"/>
                <a:gd name="connsiteY88" fmla="*/ 9961 h 9961"/>
                <a:gd name="connsiteX89" fmla="*/ 6319 w 10000"/>
                <a:gd name="connsiteY89" fmla="*/ 9902 h 9961"/>
                <a:gd name="connsiteX90" fmla="*/ 6493 w 10000"/>
                <a:gd name="connsiteY90" fmla="*/ 9902 h 9961"/>
                <a:gd name="connsiteX91" fmla="*/ 6667 w 10000"/>
                <a:gd name="connsiteY91" fmla="*/ 9815 h 9961"/>
                <a:gd name="connsiteX92" fmla="*/ 6806 w 10000"/>
                <a:gd name="connsiteY92" fmla="*/ 9815 h 9961"/>
                <a:gd name="connsiteX93" fmla="*/ 7049 w 10000"/>
                <a:gd name="connsiteY93" fmla="*/ 9815 h 9961"/>
                <a:gd name="connsiteX94" fmla="*/ 7292 w 10000"/>
                <a:gd name="connsiteY94" fmla="*/ 9698 h 9961"/>
                <a:gd name="connsiteX95" fmla="*/ 7292 w 10000"/>
                <a:gd name="connsiteY95" fmla="*/ 9698 h 9961"/>
                <a:gd name="connsiteX96" fmla="*/ 7292 w 10000"/>
                <a:gd name="connsiteY96" fmla="*/ 9698 h 9961"/>
                <a:gd name="connsiteX97" fmla="*/ 7569 w 10000"/>
                <a:gd name="connsiteY97" fmla="*/ 9494 h 9961"/>
                <a:gd name="connsiteX98" fmla="*/ 7639 w 10000"/>
                <a:gd name="connsiteY98" fmla="*/ 9406 h 9961"/>
                <a:gd name="connsiteX99" fmla="*/ 7813 w 10000"/>
                <a:gd name="connsiteY99" fmla="*/ 9406 h 9961"/>
                <a:gd name="connsiteX100" fmla="*/ 8125 w 10000"/>
                <a:gd name="connsiteY100" fmla="*/ 9494 h 9961"/>
                <a:gd name="connsiteX101" fmla="*/ 8299 w 10000"/>
                <a:gd name="connsiteY101" fmla="*/ 9494 h 9961"/>
                <a:gd name="connsiteX102" fmla="*/ 8472 w 10000"/>
                <a:gd name="connsiteY102" fmla="*/ 9406 h 9961"/>
                <a:gd name="connsiteX103" fmla="*/ 8472 w 10000"/>
                <a:gd name="connsiteY103" fmla="*/ 9200 h 9961"/>
                <a:gd name="connsiteX104" fmla="*/ 8542 w 10000"/>
                <a:gd name="connsiteY104" fmla="*/ 9143 h 9961"/>
                <a:gd name="connsiteX105" fmla="*/ 8472 w 10000"/>
                <a:gd name="connsiteY105" fmla="*/ 9055 h 9961"/>
                <a:gd name="connsiteX106" fmla="*/ 8472 w 10000"/>
                <a:gd name="connsiteY106" fmla="*/ 8996 h 9961"/>
                <a:gd name="connsiteX107" fmla="*/ 8125 w 10000"/>
                <a:gd name="connsiteY107" fmla="*/ 8996 h 9961"/>
                <a:gd name="connsiteX108" fmla="*/ 8056 w 10000"/>
                <a:gd name="connsiteY108" fmla="*/ 8937 h 9961"/>
                <a:gd name="connsiteX109" fmla="*/ 8056 w 10000"/>
                <a:gd name="connsiteY109" fmla="*/ 8849 h 9961"/>
                <a:gd name="connsiteX110" fmla="*/ 7882 w 10000"/>
                <a:gd name="connsiteY110" fmla="*/ 8586 h 9961"/>
                <a:gd name="connsiteX111" fmla="*/ 7882 w 10000"/>
                <a:gd name="connsiteY111" fmla="*/ 8441 h 9961"/>
                <a:gd name="connsiteX112" fmla="*/ 7813 w 10000"/>
                <a:gd name="connsiteY112" fmla="*/ 8382 h 9961"/>
                <a:gd name="connsiteX113" fmla="*/ 7569 w 10000"/>
                <a:gd name="connsiteY113" fmla="*/ 8235 h 9961"/>
                <a:gd name="connsiteX114" fmla="*/ 7465 w 10000"/>
                <a:gd name="connsiteY114" fmla="*/ 8177 h 9961"/>
                <a:gd name="connsiteX115" fmla="*/ 7396 w 10000"/>
                <a:gd name="connsiteY115" fmla="*/ 8090 h 9961"/>
                <a:gd name="connsiteX116" fmla="*/ 7396 w 10000"/>
                <a:gd name="connsiteY116" fmla="*/ 8031 h 9961"/>
                <a:gd name="connsiteX117" fmla="*/ 7292 w 10000"/>
                <a:gd name="connsiteY117" fmla="*/ 7885 h 9961"/>
                <a:gd name="connsiteX118" fmla="*/ 7222 w 10000"/>
                <a:gd name="connsiteY118" fmla="*/ 7885 h 9961"/>
                <a:gd name="connsiteX119" fmla="*/ 7049 w 10000"/>
                <a:gd name="connsiteY119" fmla="*/ 7826 h 9961"/>
                <a:gd name="connsiteX120" fmla="*/ 6979 w 10000"/>
                <a:gd name="connsiteY120" fmla="*/ 7826 h 9961"/>
                <a:gd name="connsiteX121" fmla="*/ 6910 w 10000"/>
                <a:gd name="connsiteY121" fmla="*/ 7826 h 9961"/>
                <a:gd name="connsiteX122" fmla="*/ 6806 w 10000"/>
                <a:gd name="connsiteY122" fmla="*/ 7826 h 9961"/>
                <a:gd name="connsiteX123" fmla="*/ 6736 w 10000"/>
                <a:gd name="connsiteY123" fmla="*/ 7768 h 9961"/>
                <a:gd name="connsiteX124" fmla="*/ 6806 w 10000"/>
                <a:gd name="connsiteY124" fmla="*/ 7680 h 9961"/>
                <a:gd name="connsiteX125" fmla="*/ 6910 w 10000"/>
                <a:gd name="connsiteY125" fmla="*/ 7622 h 9961"/>
                <a:gd name="connsiteX126" fmla="*/ 6910 w 10000"/>
                <a:gd name="connsiteY126" fmla="*/ 7475 h 9961"/>
                <a:gd name="connsiteX127" fmla="*/ 6979 w 10000"/>
                <a:gd name="connsiteY127" fmla="*/ 7475 h 9961"/>
                <a:gd name="connsiteX128" fmla="*/ 7222 w 10000"/>
                <a:gd name="connsiteY128" fmla="*/ 7475 h 9961"/>
                <a:gd name="connsiteX129" fmla="*/ 7396 w 10000"/>
                <a:gd name="connsiteY129" fmla="*/ 7475 h 9961"/>
                <a:gd name="connsiteX130" fmla="*/ 7465 w 10000"/>
                <a:gd name="connsiteY130" fmla="*/ 7417 h 9961"/>
                <a:gd name="connsiteX131" fmla="*/ 7465 w 10000"/>
                <a:gd name="connsiteY131" fmla="*/ 7271 h 9961"/>
                <a:gd name="connsiteX132" fmla="*/ 7465 w 10000"/>
                <a:gd name="connsiteY132" fmla="*/ 6862 h 9961"/>
                <a:gd name="connsiteX133" fmla="*/ 7465 w 10000"/>
                <a:gd name="connsiteY133" fmla="*/ 6715 h 9961"/>
                <a:gd name="connsiteX134" fmla="*/ 7569 w 10000"/>
                <a:gd name="connsiteY134" fmla="*/ 6568 h 9961"/>
                <a:gd name="connsiteX135" fmla="*/ 7465 w 10000"/>
                <a:gd name="connsiteY135" fmla="*/ 6511 h 9961"/>
                <a:gd name="connsiteX136" fmla="*/ 7465 w 10000"/>
                <a:gd name="connsiteY136" fmla="*/ 6452 h 9961"/>
                <a:gd name="connsiteX137" fmla="*/ 7569 w 10000"/>
                <a:gd name="connsiteY137" fmla="*/ 6452 h 9961"/>
                <a:gd name="connsiteX138" fmla="*/ 7569 w 10000"/>
                <a:gd name="connsiteY138" fmla="*/ 6365 h 9961"/>
                <a:gd name="connsiteX139" fmla="*/ 7639 w 10000"/>
                <a:gd name="connsiteY139" fmla="*/ 6248 h 9961"/>
                <a:gd name="connsiteX140" fmla="*/ 7708 w 10000"/>
                <a:gd name="connsiteY140" fmla="*/ 6248 h 9961"/>
                <a:gd name="connsiteX141" fmla="*/ 7882 w 10000"/>
                <a:gd name="connsiteY141" fmla="*/ 6248 h 9961"/>
                <a:gd name="connsiteX142" fmla="*/ 7882 w 10000"/>
                <a:gd name="connsiteY142" fmla="*/ 6160 h 9961"/>
                <a:gd name="connsiteX143" fmla="*/ 7951 w 10000"/>
                <a:gd name="connsiteY143" fmla="*/ 5897 h 9961"/>
                <a:gd name="connsiteX144" fmla="*/ 8056 w 10000"/>
                <a:gd name="connsiteY144" fmla="*/ 5809 h 9961"/>
                <a:gd name="connsiteX145" fmla="*/ 8368 w 10000"/>
                <a:gd name="connsiteY145" fmla="*/ 5341 h 9961"/>
                <a:gd name="connsiteX146" fmla="*/ 8542 w 10000"/>
                <a:gd name="connsiteY146" fmla="*/ 5282 h 9961"/>
                <a:gd name="connsiteX147" fmla="*/ 8611 w 10000"/>
                <a:gd name="connsiteY147" fmla="*/ 5196 h 9961"/>
                <a:gd name="connsiteX148" fmla="*/ 8715 w 10000"/>
                <a:gd name="connsiteY148" fmla="*/ 5136 h 9961"/>
                <a:gd name="connsiteX149" fmla="*/ 8854 w 10000"/>
                <a:gd name="connsiteY149" fmla="*/ 4581 h 9961"/>
                <a:gd name="connsiteX150" fmla="*/ 8854 w 10000"/>
                <a:gd name="connsiteY150" fmla="*/ 4435 h 9961"/>
                <a:gd name="connsiteX151" fmla="*/ 8854 w 10000"/>
                <a:gd name="connsiteY151" fmla="*/ 4288 h 9961"/>
                <a:gd name="connsiteX152" fmla="*/ 8854 w 10000"/>
                <a:gd name="connsiteY152" fmla="*/ 4172 h 9961"/>
                <a:gd name="connsiteX153" fmla="*/ 8854 w 10000"/>
                <a:gd name="connsiteY153" fmla="*/ 3967 h 9961"/>
                <a:gd name="connsiteX154" fmla="*/ 8958 w 10000"/>
                <a:gd name="connsiteY154" fmla="*/ 3821 h 9961"/>
                <a:gd name="connsiteX155" fmla="*/ 9097 w 10000"/>
                <a:gd name="connsiteY155" fmla="*/ 3323 h 9961"/>
                <a:gd name="connsiteX156" fmla="*/ 9097 w 10000"/>
                <a:gd name="connsiteY156" fmla="*/ 3265 h 9961"/>
                <a:gd name="connsiteX157" fmla="*/ 9097 w 10000"/>
                <a:gd name="connsiteY157" fmla="*/ 3060 h 9961"/>
                <a:gd name="connsiteX158" fmla="*/ 9201 w 10000"/>
                <a:gd name="connsiteY158" fmla="*/ 3002 h 9961"/>
                <a:gd name="connsiteX159" fmla="*/ 9375 w 10000"/>
                <a:gd name="connsiteY159" fmla="*/ 3002 h 9961"/>
                <a:gd name="connsiteX160" fmla="*/ 9514 w 10000"/>
                <a:gd name="connsiteY160" fmla="*/ 2855 h 9961"/>
                <a:gd name="connsiteX161" fmla="*/ 9688 w 10000"/>
                <a:gd name="connsiteY161" fmla="*/ 2767 h 9961"/>
                <a:gd name="connsiteX162" fmla="*/ 9757 w 10000"/>
                <a:gd name="connsiteY162" fmla="*/ 2709 h 9961"/>
                <a:gd name="connsiteX163" fmla="*/ 9931 w 10000"/>
                <a:gd name="connsiteY163" fmla="*/ 2709 h 9961"/>
                <a:gd name="connsiteX164" fmla="*/ 10000 w 10000"/>
                <a:gd name="connsiteY164" fmla="*/ 2564 h 9961"/>
                <a:gd name="connsiteX165" fmla="*/ 10000 w 10000"/>
                <a:gd name="connsiteY165" fmla="*/ 2446 h 9961"/>
                <a:gd name="connsiteX166" fmla="*/ 10000 w 10000"/>
                <a:gd name="connsiteY166" fmla="*/ 2358 h 9961"/>
                <a:gd name="connsiteX167" fmla="*/ 9931 w 10000"/>
                <a:gd name="connsiteY167" fmla="*/ 2358 h 9961"/>
                <a:gd name="connsiteX168" fmla="*/ 9931 w 10000"/>
                <a:gd name="connsiteY168" fmla="*/ 2358 h 9961"/>
                <a:gd name="connsiteX169" fmla="*/ 9861 w 10000"/>
                <a:gd name="connsiteY169" fmla="*/ 2358 h 9961"/>
                <a:gd name="connsiteX170" fmla="*/ 9861 w 10000"/>
                <a:gd name="connsiteY170" fmla="*/ 2242 h 9961"/>
                <a:gd name="connsiteX171" fmla="*/ 9757 w 10000"/>
                <a:gd name="connsiteY171" fmla="*/ 2154 h 9961"/>
                <a:gd name="connsiteX172" fmla="*/ 9688 w 10000"/>
                <a:gd name="connsiteY172" fmla="*/ 2154 h 9961"/>
                <a:gd name="connsiteX173" fmla="*/ 9514 w 10000"/>
                <a:gd name="connsiteY173" fmla="*/ 2095 h 9961"/>
                <a:gd name="connsiteX174" fmla="*/ 9271 w 10000"/>
                <a:gd name="connsiteY174" fmla="*/ 838 h 9961"/>
                <a:gd name="connsiteX175" fmla="*/ 9271 w 10000"/>
                <a:gd name="connsiteY175" fmla="*/ 838 h 9961"/>
                <a:gd name="connsiteX176" fmla="*/ 9097 w 10000"/>
                <a:gd name="connsiteY176" fmla="*/ 574 h 9961"/>
                <a:gd name="connsiteX177" fmla="*/ 8715 w 10000"/>
                <a:gd name="connsiteY177" fmla="*/ 20 h 9961"/>
                <a:gd name="connsiteX178" fmla="*/ 7813 w 10000"/>
                <a:gd name="connsiteY178" fmla="*/ 165 h 9961"/>
                <a:gd name="connsiteX179" fmla="*/ 7049 w 10000"/>
                <a:gd name="connsiteY179" fmla="*/ 516 h 9961"/>
                <a:gd name="connsiteX180" fmla="*/ 5833 w 10000"/>
                <a:gd name="connsiteY180" fmla="*/ 371 h 9961"/>
                <a:gd name="connsiteX181" fmla="*/ 5833 w 10000"/>
                <a:gd name="connsiteY181" fmla="*/ 223 h 9961"/>
                <a:gd name="connsiteX182" fmla="*/ 5833 w 10000"/>
                <a:gd name="connsiteY182" fmla="*/ 223 h 9961"/>
                <a:gd name="connsiteX183" fmla="*/ 5833 w 10000"/>
                <a:gd name="connsiteY183" fmla="*/ 223 h 9961"/>
                <a:gd name="connsiteX184" fmla="*/ 5764 w 10000"/>
                <a:gd name="connsiteY184" fmla="*/ 223 h 9961"/>
                <a:gd name="connsiteX185" fmla="*/ 3056 w 10000"/>
                <a:gd name="connsiteY185" fmla="*/ 371 h 9961"/>
                <a:gd name="connsiteX186" fmla="*/ 2333 w 10000"/>
                <a:gd name="connsiteY186" fmla="*/ 247 h 9961"/>
                <a:gd name="connsiteX0" fmla="*/ 2333 w 10000"/>
                <a:gd name="connsiteY0" fmla="*/ 229 h 9981"/>
                <a:gd name="connsiteX1" fmla="*/ 1889 w 10000"/>
                <a:gd name="connsiteY1" fmla="*/ 1263 h 9981"/>
                <a:gd name="connsiteX2" fmla="*/ 1319 w 10000"/>
                <a:gd name="connsiteY2" fmla="*/ 3669 h 9981"/>
                <a:gd name="connsiteX3" fmla="*/ 1250 w 10000"/>
                <a:gd name="connsiteY3" fmla="*/ 3669 h 9981"/>
                <a:gd name="connsiteX4" fmla="*/ 903 w 10000"/>
                <a:gd name="connsiteY4" fmla="*/ 3669 h 9981"/>
                <a:gd name="connsiteX5" fmla="*/ 660 w 10000"/>
                <a:gd name="connsiteY5" fmla="*/ 3669 h 9981"/>
                <a:gd name="connsiteX6" fmla="*/ 660 w 10000"/>
                <a:gd name="connsiteY6" fmla="*/ 3758 h 9981"/>
                <a:gd name="connsiteX7" fmla="*/ 660 w 10000"/>
                <a:gd name="connsiteY7" fmla="*/ 3817 h 9981"/>
                <a:gd name="connsiteX8" fmla="*/ 660 w 10000"/>
                <a:gd name="connsiteY8" fmla="*/ 3875 h 9981"/>
                <a:gd name="connsiteX9" fmla="*/ 590 w 10000"/>
                <a:gd name="connsiteY9" fmla="*/ 4021 h 9981"/>
                <a:gd name="connsiteX10" fmla="*/ 486 w 10000"/>
                <a:gd name="connsiteY10" fmla="*/ 4169 h 9981"/>
                <a:gd name="connsiteX11" fmla="*/ 243 w 10000"/>
                <a:gd name="connsiteY11" fmla="*/ 4373 h 9981"/>
                <a:gd name="connsiteX12" fmla="*/ 243 w 10000"/>
                <a:gd name="connsiteY12" fmla="*/ 4433 h 9981"/>
                <a:gd name="connsiteX13" fmla="*/ 347 w 10000"/>
                <a:gd name="connsiteY13" fmla="*/ 4521 h 9981"/>
                <a:gd name="connsiteX14" fmla="*/ 243 w 10000"/>
                <a:gd name="connsiteY14" fmla="*/ 4580 h 9981"/>
                <a:gd name="connsiteX15" fmla="*/ 243 w 10000"/>
                <a:gd name="connsiteY15" fmla="*/ 4580 h 9981"/>
                <a:gd name="connsiteX16" fmla="*/ 174 w 10000"/>
                <a:gd name="connsiteY16" fmla="*/ 4638 h 9981"/>
                <a:gd name="connsiteX17" fmla="*/ 174 w 10000"/>
                <a:gd name="connsiteY17" fmla="*/ 4638 h 9981"/>
                <a:gd name="connsiteX18" fmla="*/ 174 w 10000"/>
                <a:gd name="connsiteY18" fmla="*/ 4785 h 9981"/>
                <a:gd name="connsiteX19" fmla="*/ 174 w 10000"/>
                <a:gd name="connsiteY19" fmla="*/ 4932 h 9981"/>
                <a:gd name="connsiteX20" fmla="*/ 104 w 10000"/>
                <a:gd name="connsiteY20" fmla="*/ 4991 h 9981"/>
                <a:gd name="connsiteX21" fmla="*/ 0 w 10000"/>
                <a:gd name="connsiteY21" fmla="*/ 5049 h 9981"/>
                <a:gd name="connsiteX22" fmla="*/ 0 w 10000"/>
                <a:gd name="connsiteY22" fmla="*/ 5137 h 9981"/>
                <a:gd name="connsiteX23" fmla="*/ 0 w 10000"/>
                <a:gd name="connsiteY23" fmla="*/ 5284 h 9981"/>
                <a:gd name="connsiteX24" fmla="*/ 104 w 10000"/>
                <a:gd name="connsiteY24" fmla="*/ 5284 h 9981"/>
                <a:gd name="connsiteX25" fmla="*/ 104 w 10000"/>
                <a:gd name="connsiteY25" fmla="*/ 5284 h 9981"/>
                <a:gd name="connsiteX26" fmla="*/ 347 w 10000"/>
                <a:gd name="connsiteY26" fmla="*/ 5197 h 9981"/>
                <a:gd name="connsiteX27" fmla="*/ 243 w 10000"/>
                <a:gd name="connsiteY27" fmla="*/ 5401 h 9981"/>
                <a:gd name="connsiteX28" fmla="*/ 347 w 10000"/>
                <a:gd name="connsiteY28" fmla="*/ 5549 h 9981"/>
                <a:gd name="connsiteX29" fmla="*/ 486 w 10000"/>
                <a:gd name="connsiteY29" fmla="*/ 5813 h 9981"/>
                <a:gd name="connsiteX30" fmla="*/ 486 w 10000"/>
                <a:gd name="connsiteY30" fmla="*/ 5901 h 9981"/>
                <a:gd name="connsiteX31" fmla="*/ 590 w 10000"/>
                <a:gd name="connsiteY31" fmla="*/ 5901 h 9981"/>
                <a:gd name="connsiteX32" fmla="*/ 590 w 10000"/>
                <a:gd name="connsiteY32" fmla="*/ 5958 h 9981"/>
                <a:gd name="connsiteX33" fmla="*/ 660 w 10000"/>
                <a:gd name="connsiteY33" fmla="*/ 6019 h 9981"/>
                <a:gd name="connsiteX34" fmla="*/ 660 w 10000"/>
                <a:gd name="connsiteY34" fmla="*/ 6106 h 9981"/>
                <a:gd name="connsiteX35" fmla="*/ 486 w 10000"/>
                <a:gd name="connsiteY35" fmla="*/ 6165 h 9981"/>
                <a:gd name="connsiteX36" fmla="*/ 660 w 10000"/>
                <a:gd name="connsiteY36" fmla="*/ 6253 h 9981"/>
                <a:gd name="connsiteX37" fmla="*/ 833 w 10000"/>
                <a:gd name="connsiteY37" fmla="*/ 6458 h 9981"/>
                <a:gd name="connsiteX38" fmla="*/ 1007 w 10000"/>
                <a:gd name="connsiteY38" fmla="*/ 6663 h 9981"/>
                <a:gd name="connsiteX39" fmla="*/ 1076 w 10000"/>
                <a:gd name="connsiteY39" fmla="*/ 6782 h 9981"/>
                <a:gd name="connsiteX40" fmla="*/ 1007 w 10000"/>
                <a:gd name="connsiteY40" fmla="*/ 6928 h 9981"/>
                <a:gd name="connsiteX41" fmla="*/ 1007 w 10000"/>
                <a:gd name="connsiteY41" fmla="*/ 7134 h 9981"/>
                <a:gd name="connsiteX42" fmla="*/ 1007 w 10000"/>
                <a:gd name="connsiteY42" fmla="*/ 7222 h 9981"/>
                <a:gd name="connsiteX43" fmla="*/ 1146 w 10000"/>
                <a:gd name="connsiteY43" fmla="*/ 7339 h 9981"/>
                <a:gd name="connsiteX44" fmla="*/ 1250 w 10000"/>
                <a:gd name="connsiteY44" fmla="*/ 7339 h 9981"/>
                <a:gd name="connsiteX45" fmla="*/ 1389 w 10000"/>
                <a:gd name="connsiteY45" fmla="*/ 7339 h 9981"/>
                <a:gd name="connsiteX46" fmla="*/ 1493 w 10000"/>
                <a:gd name="connsiteY46" fmla="*/ 7485 h 9981"/>
                <a:gd name="connsiteX47" fmla="*/ 1563 w 10000"/>
                <a:gd name="connsiteY47" fmla="*/ 7544 h 9981"/>
                <a:gd name="connsiteX48" fmla="*/ 1806 w 10000"/>
                <a:gd name="connsiteY48" fmla="*/ 7544 h 9981"/>
                <a:gd name="connsiteX49" fmla="*/ 1910 w 10000"/>
                <a:gd name="connsiteY49" fmla="*/ 7633 h 9981"/>
                <a:gd name="connsiteX50" fmla="*/ 1979 w 10000"/>
                <a:gd name="connsiteY50" fmla="*/ 7691 h 9981"/>
                <a:gd name="connsiteX51" fmla="*/ 2049 w 10000"/>
                <a:gd name="connsiteY51" fmla="*/ 7691 h 9981"/>
                <a:gd name="connsiteX52" fmla="*/ 1979 w 10000"/>
                <a:gd name="connsiteY52" fmla="*/ 7838 h 9981"/>
                <a:gd name="connsiteX53" fmla="*/ 2049 w 10000"/>
                <a:gd name="connsiteY53" fmla="*/ 7897 h 9981"/>
                <a:gd name="connsiteX54" fmla="*/ 2292 w 10000"/>
                <a:gd name="connsiteY54" fmla="*/ 8043 h 9981"/>
                <a:gd name="connsiteX55" fmla="*/ 2465 w 10000"/>
                <a:gd name="connsiteY55" fmla="*/ 8190 h 9981"/>
                <a:gd name="connsiteX56" fmla="*/ 2535 w 10000"/>
                <a:gd name="connsiteY56" fmla="*/ 8248 h 9981"/>
                <a:gd name="connsiteX57" fmla="*/ 2708 w 10000"/>
                <a:gd name="connsiteY57" fmla="*/ 8308 h 9981"/>
                <a:gd name="connsiteX58" fmla="*/ 2708 w 10000"/>
                <a:gd name="connsiteY58" fmla="*/ 8396 h 9981"/>
                <a:gd name="connsiteX59" fmla="*/ 2813 w 10000"/>
                <a:gd name="connsiteY59" fmla="*/ 8543 h 9981"/>
                <a:gd name="connsiteX60" fmla="*/ 2882 w 10000"/>
                <a:gd name="connsiteY60" fmla="*/ 8601 h 9981"/>
                <a:gd name="connsiteX61" fmla="*/ 2882 w 10000"/>
                <a:gd name="connsiteY61" fmla="*/ 8661 h 9981"/>
                <a:gd name="connsiteX62" fmla="*/ 2951 w 10000"/>
                <a:gd name="connsiteY62" fmla="*/ 8748 h 9981"/>
                <a:gd name="connsiteX63" fmla="*/ 3299 w 10000"/>
                <a:gd name="connsiteY63" fmla="*/ 8865 h 9981"/>
                <a:gd name="connsiteX64" fmla="*/ 3368 w 10000"/>
                <a:gd name="connsiteY64" fmla="*/ 9012 h 9981"/>
                <a:gd name="connsiteX65" fmla="*/ 3368 w 10000"/>
                <a:gd name="connsiteY65" fmla="*/ 9071 h 9981"/>
                <a:gd name="connsiteX66" fmla="*/ 3438 w 10000"/>
                <a:gd name="connsiteY66" fmla="*/ 9160 h 9981"/>
                <a:gd name="connsiteX67" fmla="*/ 3542 w 10000"/>
                <a:gd name="connsiteY67" fmla="*/ 9217 h 9981"/>
                <a:gd name="connsiteX68" fmla="*/ 3715 w 10000"/>
                <a:gd name="connsiteY68" fmla="*/ 9365 h 9981"/>
                <a:gd name="connsiteX69" fmla="*/ 3715 w 10000"/>
                <a:gd name="connsiteY69" fmla="*/ 9424 h 9981"/>
                <a:gd name="connsiteX70" fmla="*/ 3785 w 10000"/>
                <a:gd name="connsiteY70" fmla="*/ 9512 h 9981"/>
                <a:gd name="connsiteX71" fmla="*/ 4028 w 10000"/>
                <a:gd name="connsiteY71" fmla="*/ 9569 h 9981"/>
                <a:gd name="connsiteX72" fmla="*/ 4097 w 10000"/>
                <a:gd name="connsiteY72" fmla="*/ 9569 h 9981"/>
                <a:gd name="connsiteX73" fmla="*/ 4201 w 10000"/>
                <a:gd name="connsiteY73" fmla="*/ 9512 h 9981"/>
                <a:gd name="connsiteX74" fmla="*/ 4444 w 10000"/>
                <a:gd name="connsiteY74" fmla="*/ 9569 h 9981"/>
                <a:gd name="connsiteX75" fmla="*/ 4618 w 10000"/>
                <a:gd name="connsiteY75" fmla="*/ 9512 h 9981"/>
                <a:gd name="connsiteX76" fmla="*/ 4757 w 10000"/>
                <a:gd name="connsiteY76" fmla="*/ 9424 h 9981"/>
                <a:gd name="connsiteX77" fmla="*/ 4861 w 10000"/>
                <a:gd name="connsiteY77" fmla="*/ 9512 h 9981"/>
                <a:gd name="connsiteX78" fmla="*/ 5174 w 10000"/>
                <a:gd name="connsiteY78" fmla="*/ 9717 h 9981"/>
                <a:gd name="connsiteX79" fmla="*/ 5243 w 10000"/>
                <a:gd name="connsiteY79" fmla="*/ 9834 h 9981"/>
                <a:gd name="connsiteX80" fmla="*/ 5347 w 10000"/>
                <a:gd name="connsiteY80" fmla="*/ 9922 h 9981"/>
                <a:gd name="connsiteX81" fmla="*/ 5417 w 10000"/>
                <a:gd name="connsiteY81" fmla="*/ 9922 h 9981"/>
                <a:gd name="connsiteX82" fmla="*/ 5486 w 10000"/>
                <a:gd name="connsiteY82" fmla="*/ 9922 h 9981"/>
                <a:gd name="connsiteX83" fmla="*/ 5590 w 10000"/>
                <a:gd name="connsiteY83" fmla="*/ 9922 h 9981"/>
                <a:gd name="connsiteX84" fmla="*/ 5764 w 10000"/>
                <a:gd name="connsiteY84" fmla="*/ 9922 h 9981"/>
                <a:gd name="connsiteX85" fmla="*/ 5833 w 10000"/>
                <a:gd name="connsiteY85" fmla="*/ 9922 h 9981"/>
                <a:gd name="connsiteX86" fmla="*/ 6007 w 10000"/>
                <a:gd name="connsiteY86" fmla="*/ 9922 h 9981"/>
                <a:gd name="connsiteX87" fmla="*/ 6076 w 10000"/>
                <a:gd name="connsiteY87" fmla="*/ 9922 h 9981"/>
                <a:gd name="connsiteX88" fmla="*/ 6146 w 10000"/>
                <a:gd name="connsiteY88" fmla="*/ 9981 h 9981"/>
                <a:gd name="connsiteX89" fmla="*/ 6319 w 10000"/>
                <a:gd name="connsiteY89" fmla="*/ 9922 h 9981"/>
                <a:gd name="connsiteX90" fmla="*/ 6493 w 10000"/>
                <a:gd name="connsiteY90" fmla="*/ 9922 h 9981"/>
                <a:gd name="connsiteX91" fmla="*/ 6667 w 10000"/>
                <a:gd name="connsiteY91" fmla="*/ 9834 h 9981"/>
                <a:gd name="connsiteX92" fmla="*/ 6806 w 10000"/>
                <a:gd name="connsiteY92" fmla="*/ 9834 h 9981"/>
                <a:gd name="connsiteX93" fmla="*/ 7049 w 10000"/>
                <a:gd name="connsiteY93" fmla="*/ 9834 h 9981"/>
                <a:gd name="connsiteX94" fmla="*/ 7292 w 10000"/>
                <a:gd name="connsiteY94" fmla="*/ 9717 h 9981"/>
                <a:gd name="connsiteX95" fmla="*/ 7292 w 10000"/>
                <a:gd name="connsiteY95" fmla="*/ 9717 h 9981"/>
                <a:gd name="connsiteX96" fmla="*/ 7292 w 10000"/>
                <a:gd name="connsiteY96" fmla="*/ 9717 h 9981"/>
                <a:gd name="connsiteX97" fmla="*/ 7569 w 10000"/>
                <a:gd name="connsiteY97" fmla="*/ 9512 h 9981"/>
                <a:gd name="connsiteX98" fmla="*/ 7639 w 10000"/>
                <a:gd name="connsiteY98" fmla="*/ 9424 h 9981"/>
                <a:gd name="connsiteX99" fmla="*/ 7813 w 10000"/>
                <a:gd name="connsiteY99" fmla="*/ 9424 h 9981"/>
                <a:gd name="connsiteX100" fmla="*/ 8125 w 10000"/>
                <a:gd name="connsiteY100" fmla="*/ 9512 h 9981"/>
                <a:gd name="connsiteX101" fmla="*/ 8299 w 10000"/>
                <a:gd name="connsiteY101" fmla="*/ 9512 h 9981"/>
                <a:gd name="connsiteX102" fmla="*/ 8472 w 10000"/>
                <a:gd name="connsiteY102" fmla="*/ 9424 h 9981"/>
                <a:gd name="connsiteX103" fmla="*/ 8472 w 10000"/>
                <a:gd name="connsiteY103" fmla="*/ 9217 h 9981"/>
                <a:gd name="connsiteX104" fmla="*/ 8542 w 10000"/>
                <a:gd name="connsiteY104" fmla="*/ 9160 h 9981"/>
                <a:gd name="connsiteX105" fmla="*/ 8472 w 10000"/>
                <a:gd name="connsiteY105" fmla="*/ 9071 h 9981"/>
                <a:gd name="connsiteX106" fmla="*/ 8472 w 10000"/>
                <a:gd name="connsiteY106" fmla="*/ 9012 h 9981"/>
                <a:gd name="connsiteX107" fmla="*/ 8125 w 10000"/>
                <a:gd name="connsiteY107" fmla="*/ 9012 h 9981"/>
                <a:gd name="connsiteX108" fmla="*/ 8056 w 10000"/>
                <a:gd name="connsiteY108" fmla="*/ 8953 h 9981"/>
                <a:gd name="connsiteX109" fmla="*/ 8056 w 10000"/>
                <a:gd name="connsiteY109" fmla="*/ 8865 h 9981"/>
                <a:gd name="connsiteX110" fmla="*/ 7882 w 10000"/>
                <a:gd name="connsiteY110" fmla="*/ 8601 h 9981"/>
                <a:gd name="connsiteX111" fmla="*/ 7882 w 10000"/>
                <a:gd name="connsiteY111" fmla="*/ 8455 h 9981"/>
                <a:gd name="connsiteX112" fmla="*/ 7813 w 10000"/>
                <a:gd name="connsiteY112" fmla="*/ 8396 h 9981"/>
                <a:gd name="connsiteX113" fmla="*/ 7569 w 10000"/>
                <a:gd name="connsiteY113" fmla="*/ 8248 h 9981"/>
                <a:gd name="connsiteX114" fmla="*/ 7465 w 10000"/>
                <a:gd name="connsiteY114" fmla="*/ 8190 h 9981"/>
                <a:gd name="connsiteX115" fmla="*/ 7396 w 10000"/>
                <a:gd name="connsiteY115" fmla="*/ 8103 h 9981"/>
                <a:gd name="connsiteX116" fmla="*/ 7396 w 10000"/>
                <a:gd name="connsiteY116" fmla="*/ 8043 h 9981"/>
                <a:gd name="connsiteX117" fmla="*/ 7292 w 10000"/>
                <a:gd name="connsiteY117" fmla="*/ 7897 h 9981"/>
                <a:gd name="connsiteX118" fmla="*/ 7222 w 10000"/>
                <a:gd name="connsiteY118" fmla="*/ 7897 h 9981"/>
                <a:gd name="connsiteX119" fmla="*/ 7049 w 10000"/>
                <a:gd name="connsiteY119" fmla="*/ 7838 h 9981"/>
                <a:gd name="connsiteX120" fmla="*/ 6979 w 10000"/>
                <a:gd name="connsiteY120" fmla="*/ 7838 h 9981"/>
                <a:gd name="connsiteX121" fmla="*/ 6910 w 10000"/>
                <a:gd name="connsiteY121" fmla="*/ 7838 h 9981"/>
                <a:gd name="connsiteX122" fmla="*/ 6806 w 10000"/>
                <a:gd name="connsiteY122" fmla="*/ 7838 h 9981"/>
                <a:gd name="connsiteX123" fmla="*/ 6736 w 10000"/>
                <a:gd name="connsiteY123" fmla="*/ 7779 h 9981"/>
                <a:gd name="connsiteX124" fmla="*/ 6806 w 10000"/>
                <a:gd name="connsiteY124" fmla="*/ 7691 h 9981"/>
                <a:gd name="connsiteX125" fmla="*/ 6910 w 10000"/>
                <a:gd name="connsiteY125" fmla="*/ 7633 h 9981"/>
                <a:gd name="connsiteX126" fmla="*/ 6910 w 10000"/>
                <a:gd name="connsiteY126" fmla="*/ 7485 h 9981"/>
                <a:gd name="connsiteX127" fmla="*/ 6979 w 10000"/>
                <a:gd name="connsiteY127" fmla="*/ 7485 h 9981"/>
                <a:gd name="connsiteX128" fmla="*/ 7222 w 10000"/>
                <a:gd name="connsiteY128" fmla="*/ 7485 h 9981"/>
                <a:gd name="connsiteX129" fmla="*/ 7396 w 10000"/>
                <a:gd name="connsiteY129" fmla="*/ 7485 h 9981"/>
                <a:gd name="connsiteX130" fmla="*/ 7465 w 10000"/>
                <a:gd name="connsiteY130" fmla="*/ 7427 h 9981"/>
                <a:gd name="connsiteX131" fmla="*/ 7465 w 10000"/>
                <a:gd name="connsiteY131" fmla="*/ 7280 h 9981"/>
                <a:gd name="connsiteX132" fmla="*/ 7465 w 10000"/>
                <a:gd name="connsiteY132" fmla="*/ 6870 h 9981"/>
                <a:gd name="connsiteX133" fmla="*/ 7465 w 10000"/>
                <a:gd name="connsiteY133" fmla="*/ 6722 h 9981"/>
                <a:gd name="connsiteX134" fmla="*/ 7569 w 10000"/>
                <a:gd name="connsiteY134" fmla="*/ 6575 h 9981"/>
                <a:gd name="connsiteX135" fmla="*/ 7465 w 10000"/>
                <a:gd name="connsiteY135" fmla="*/ 6517 h 9981"/>
                <a:gd name="connsiteX136" fmla="*/ 7465 w 10000"/>
                <a:gd name="connsiteY136" fmla="*/ 6458 h 9981"/>
                <a:gd name="connsiteX137" fmla="*/ 7569 w 10000"/>
                <a:gd name="connsiteY137" fmla="*/ 6458 h 9981"/>
                <a:gd name="connsiteX138" fmla="*/ 7569 w 10000"/>
                <a:gd name="connsiteY138" fmla="*/ 6371 h 9981"/>
                <a:gd name="connsiteX139" fmla="*/ 7639 w 10000"/>
                <a:gd name="connsiteY139" fmla="*/ 6253 h 9981"/>
                <a:gd name="connsiteX140" fmla="*/ 7708 w 10000"/>
                <a:gd name="connsiteY140" fmla="*/ 6253 h 9981"/>
                <a:gd name="connsiteX141" fmla="*/ 7882 w 10000"/>
                <a:gd name="connsiteY141" fmla="*/ 6253 h 9981"/>
                <a:gd name="connsiteX142" fmla="*/ 7882 w 10000"/>
                <a:gd name="connsiteY142" fmla="*/ 6165 h 9981"/>
                <a:gd name="connsiteX143" fmla="*/ 7951 w 10000"/>
                <a:gd name="connsiteY143" fmla="*/ 5901 h 9981"/>
                <a:gd name="connsiteX144" fmla="*/ 8056 w 10000"/>
                <a:gd name="connsiteY144" fmla="*/ 5813 h 9981"/>
                <a:gd name="connsiteX145" fmla="*/ 8368 w 10000"/>
                <a:gd name="connsiteY145" fmla="*/ 5343 h 9981"/>
                <a:gd name="connsiteX146" fmla="*/ 8542 w 10000"/>
                <a:gd name="connsiteY146" fmla="*/ 5284 h 9981"/>
                <a:gd name="connsiteX147" fmla="*/ 8611 w 10000"/>
                <a:gd name="connsiteY147" fmla="*/ 5197 h 9981"/>
                <a:gd name="connsiteX148" fmla="*/ 8715 w 10000"/>
                <a:gd name="connsiteY148" fmla="*/ 5137 h 9981"/>
                <a:gd name="connsiteX149" fmla="*/ 8854 w 10000"/>
                <a:gd name="connsiteY149" fmla="*/ 4580 h 9981"/>
                <a:gd name="connsiteX150" fmla="*/ 8854 w 10000"/>
                <a:gd name="connsiteY150" fmla="*/ 4433 h 9981"/>
                <a:gd name="connsiteX151" fmla="*/ 8854 w 10000"/>
                <a:gd name="connsiteY151" fmla="*/ 4286 h 9981"/>
                <a:gd name="connsiteX152" fmla="*/ 8854 w 10000"/>
                <a:gd name="connsiteY152" fmla="*/ 4169 h 9981"/>
                <a:gd name="connsiteX153" fmla="*/ 8854 w 10000"/>
                <a:gd name="connsiteY153" fmla="*/ 3964 h 9981"/>
                <a:gd name="connsiteX154" fmla="*/ 8958 w 10000"/>
                <a:gd name="connsiteY154" fmla="*/ 3817 h 9981"/>
                <a:gd name="connsiteX155" fmla="*/ 9097 w 10000"/>
                <a:gd name="connsiteY155" fmla="*/ 3317 h 9981"/>
                <a:gd name="connsiteX156" fmla="*/ 9097 w 10000"/>
                <a:gd name="connsiteY156" fmla="*/ 3259 h 9981"/>
                <a:gd name="connsiteX157" fmla="*/ 9097 w 10000"/>
                <a:gd name="connsiteY157" fmla="*/ 3053 h 9981"/>
                <a:gd name="connsiteX158" fmla="*/ 9201 w 10000"/>
                <a:gd name="connsiteY158" fmla="*/ 2995 h 9981"/>
                <a:gd name="connsiteX159" fmla="*/ 9375 w 10000"/>
                <a:gd name="connsiteY159" fmla="*/ 2995 h 9981"/>
                <a:gd name="connsiteX160" fmla="*/ 9514 w 10000"/>
                <a:gd name="connsiteY160" fmla="*/ 2847 h 9981"/>
                <a:gd name="connsiteX161" fmla="*/ 9688 w 10000"/>
                <a:gd name="connsiteY161" fmla="*/ 2759 h 9981"/>
                <a:gd name="connsiteX162" fmla="*/ 9757 w 10000"/>
                <a:gd name="connsiteY162" fmla="*/ 2701 h 9981"/>
                <a:gd name="connsiteX163" fmla="*/ 9931 w 10000"/>
                <a:gd name="connsiteY163" fmla="*/ 2701 h 9981"/>
                <a:gd name="connsiteX164" fmla="*/ 10000 w 10000"/>
                <a:gd name="connsiteY164" fmla="*/ 2555 h 9981"/>
                <a:gd name="connsiteX165" fmla="*/ 10000 w 10000"/>
                <a:gd name="connsiteY165" fmla="*/ 2437 h 9981"/>
                <a:gd name="connsiteX166" fmla="*/ 10000 w 10000"/>
                <a:gd name="connsiteY166" fmla="*/ 2348 h 9981"/>
                <a:gd name="connsiteX167" fmla="*/ 9931 w 10000"/>
                <a:gd name="connsiteY167" fmla="*/ 2348 h 9981"/>
                <a:gd name="connsiteX168" fmla="*/ 9931 w 10000"/>
                <a:gd name="connsiteY168" fmla="*/ 2348 h 9981"/>
                <a:gd name="connsiteX169" fmla="*/ 9861 w 10000"/>
                <a:gd name="connsiteY169" fmla="*/ 2348 h 9981"/>
                <a:gd name="connsiteX170" fmla="*/ 9861 w 10000"/>
                <a:gd name="connsiteY170" fmla="*/ 2232 h 9981"/>
                <a:gd name="connsiteX171" fmla="*/ 9757 w 10000"/>
                <a:gd name="connsiteY171" fmla="*/ 2143 h 9981"/>
                <a:gd name="connsiteX172" fmla="*/ 9688 w 10000"/>
                <a:gd name="connsiteY172" fmla="*/ 2143 h 9981"/>
                <a:gd name="connsiteX173" fmla="*/ 9514 w 10000"/>
                <a:gd name="connsiteY173" fmla="*/ 2084 h 9981"/>
                <a:gd name="connsiteX174" fmla="*/ 9271 w 10000"/>
                <a:gd name="connsiteY174" fmla="*/ 822 h 9981"/>
                <a:gd name="connsiteX175" fmla="*/ 9271 w 10000"/>
                <a:gd name="connsiteY175" fmla="*/ 822 h 9981"/>
                <a:gd name="connsiteX176" fmla="*/ 9097 w 10000"/>
                <a:gd name="connsiteY176" fmla="*/ 557 h 9981"/>
                <a:gd name="connsiteX177" fmla="*/ 8715 w 10000"/>
                <a:gd name="connsiteY177" fmla="*/ 1 h 9981"/>
                <a:gd name="connsiteX178" fmla="*/ 7049 w 10000"/>
                <a:gd name="connsiteY178" fmla="*/ 499 h 9981"/>
                <a:gd name="connsiteX179" fmla="*/ 5833 w 10000"/>
                <a:gd name="connsiteY179" fmla="*/ 353 h 9981"/>
                <a:gd name="connsiteX180" fmla="*/ 5833 w 10000"/>
                <a:gd name="connsiteY180" fmla="*/ 205 h 9981"/>
                <a:gd name="connsiteX181" fmla="*/ 5833 w 10000"/>
                <a:gd name="connsiteY181" fmla="*/ 205 h 9981"/>
                <a:gd name="connsiteX182" fmla="*/ 5833 w 10000"/>
                <a:gd name="connsiteY182" fmla="*/ 205 h 9981"/>
                <a:gd name="connsiteX183" fmla="*/ 5764 w 10000"/>
                <a:gd name="connsiteY183" fmla="*/ 205 h 9981"/>
                <a:gd name="connsiteX184" fmla="*/ 3056 w 10000"/>
                <a:gd name="connsiteY184" fmla="*/ 353 h 9981"/>
                <a:gd name="connsiteX185" fmla="*/ 2333 w 10000"/>
                <a:gd name="connsiteY185" fmla="*/ 229 h 9981"/>
                <a:gd name="connsiteX0" fmla="*/ 2333 w 10000"/>
                <a:gd name="connsiteY0" fmla="*/ 229 h 10000"/>
                <a:gd name="connsiteX1" fmla="*/ 1889 w 10000"/>
                <a:gd name="connsiteY1" fmla="*/ 1265 h 10000"/>
                <a:gd name="connsiteX2" fmla="*/ 1319 w 10000"/>
                <a:gd name="connsiteY2" fmla="*/ 3676 h 10000"/>
                <a:gd name="connsiteX3" fmla="*/ 1250 w 10000"/>
                <a:gd name="connsiteY3" fmla="*/ 3676 h 10000"/>
                <a:gd name="connsiteX4" fmla="*/ 903 w 10000"/>
                <a:gd name="connsiteY4" fmla="*/ 3676 h 10000"/>
                <a:gd name="connsiteX5" fmla="*/ 660 w 10000"/>
                <a:gd name="connsiteY5" fmla="*/ 3676 h 10000"/>
                <a:gd name="connsiteX6" fmla="*/ 660 w 10000"/>
                <a:gd name="connsiteY6" fmla="*/ 3765 h 10000"/>
                <a:gd name="connsiteX7" fmla="*/ 660 w 10000"/>
                <a:gd name="connsiteY7" fmla="*/ 3824 h 10000"/>
                <a:gd name="connsiteX8" fmla="*/ 660 w 10000"/>
                <a:gd name="connsiteY8" fmla="*/ 3882 h 10000"/>
                <a:gd name="connsiteX9" fmla="*/ 590 w 10000"/>
                <a:gd name="connsiteY9" fmla="*/ 4029 h 10000"/>
                <a:gd name="connsiteX10" fmla="*/ 486 w 10000"/>
                <a:gd name="connsiteY10" fmla="*/ 4177 h 10000"/>
                <a:gd name="connsiteX11" fmla="*/ 243 w 10000"/>
                <a:gd name="connsiteY11" fmla="*/ 4381 h 10000"/>
                <a:gd name="connsiteX12" fmla="*/ 243 w 10000"/>
                <a:gd name="connsiteY12" fmla="*/ 4441 h 10000"/>
                <a:gd name="connsiteX13" fmla="*/ 347 w 10000"/>
                <a:gd name="connsiteY13" fmla="*/ 4530 h 10000"/>
                <a:gd name="connsiteX14" fmla="*/ 243 w 10000"/>
                <a:gd name="connsiteY14" fmla="*/ 4589 h 10000"/>
                <a:gd name="connsiteX15" fmla="*/ 243 w 10000"/>
                <a:gd name="connsiteY15" fmla="*/ 4589 h 10000"/>
                <a:gd name="connsiteX16" fmla="*/ 174 w 10000"/>
                <a:gd name="connsiteY16" fmla="*/ 4647 h 10000"/>
                <a:gd name="connsiteX17" fmla="*/ 174 w 10000"/>
                <a:gd name="connsiteY17" fmla="*/ 4647 h 10000"/>
                <a:gd name="connsiteX18" fmla="*/ 174 w 10000"/>
                <a:gd name="connsiteY18" fmla="*/ 4794 h 10000"/>
                <a:gd name="connsiteX19" fmla="*/ 174 w 10000"/>
                <a:gd name="connsiteY19" fmla="*/ 4941 h 10000"/>
                <a:gd name="connsiteX20" fmla="*/ 104 w 10000"/>
                <a:gd name="connsiteY20" fmla="*/ 5001 h 10000"/>
                <a:gd name="connsiteX21" fmla="*/ 0 w 10000"/>
                <a:gd name="connsiteY21" fmla="*/ 5059 h 10000"/>
                <a:gd name="connsiteX22" fmla="*/ 0 w 10000"/>
                <a:gd name="connsiteY22" fmla="*/ 5147 h 10000"/>
                <a:gd name="connsiteX23" fmla="*/ 0 w 10000"/>
                <a:gd name="connsiteY23" fmla="*/ 5294 h 10000"/>
                <a:gd name="connsiteX24" fmla="*/ 104 w 10000"/>
                <a:gd name="connsiteY24" fmla="*/ 5294 h 10000"/>
                <a:gd name="connsiteX25" fmla="*/ 104 w 10000"/>
                <a:gd name="connsiteY25" fmla="*/ 5294 h 10000"/>
                <a:gd name="connsiteX26" fmla="*/ 347 w 10000"/>
                <a:gd name="connsiteY26" fmla="*/ 5207 h 10000"/>
                <a:gd name="connsiteX27" fmla="*/ 243 w 10000"/>
                <a:gd name="connsiteY27" fmla="*/ 5411 h 10000"/>
                <a:gd name="connsiteX28" fmla="*/ 347 w 10000"/>
                <a:gd name="connsiteY28" fmla="*/ 5560 h 10000"/>
                <a:gd name="connsiteX29" fmla="*/ 486 w 10000"/>
                <a:gd name="connsiteY29" fmla="*/ 5824 h 10000"/>
                <a:gd name="connsiteX30" fmla="*/ 486 w 10000"/>
                <a:gd name="connsiteY30" fmla="*/ 5912 h 10000"/>
                <a:gd name="connsiteX31" fmla="*/ 590 w 10000"/>
                <a:gd name="connsiteY31" fmla="*/ 5912 h 10000"/>
                <a:gd name="connsiteX32" fmla="*/ 590 w 10000"/>
                <a:gd name="connsiteY32" fmla="*/ 5969 h 10000"/>
                <a:gd name="connsiteX33" fmla="*/ 660 w 10000"/>
                <a:gd name="connsiteY33" fmla="*/ 6030 h 10000"/>
                <a:gd name="connsiteX34" fmla="*/ 660 w 10000"/>
                <a:gd name="connsiteY34" fmla="*/ 6118 h 10000"/>
                <a:gd name="connsiteX35" fmla="*/ 486 w 10000"/>
                <a:gd name="connsiteY35" fmla="*/ 6177 h 10000"/>
                <a:gd name="connsiteX36" fmla="*/ 660 w 10000"/>
                <a:gd name="connsiteY36" fmla="*/ 6265 h 10000"/>
                <a:gd name="connsiteX37" fmla="*/ 833 w 10000"/>
                <a:gd name="connsiteY37" fmla="*/ 6470 h 10000"/>
                <a:gd name="connsiteX38" fmla="*/ 1007 w 10000"/>
                <a:gd name="connsiteY38" fmla="*/ 6676 h 10000"/>
                <a:gd name="connsiteX39" fmla="*/ 1076 w 10000"/>
                <a:gd name="connsiteY39" fmla="*/ 6795 h 10000"/>
                <a:gd name="connsiteX40" fmla="*/ 1007 w 10000"/>
                <a:gd name="connsiteY40" fmla="*/ 6941 h 10000"/>
                <a:gd name="connsiteX41" fmla="*/ 1007 w 10000"/>
                <a:gd name="connsiteY41" fmla="*/ 7148 h 10000"/>
                <a:gd name="connsiteX42" fmla="*/ 1007 w 10000"/>
                <a:gd name="connsiteY42" fmla="*/ 7236 h 10000"/>
                <a:gd name="connsiteX43" fmla="*/ 1146 w 10000"/>
                <a:gd name="connsiteY43" fmla="*/ 7353 h 10000"/>
                <a:gd name="connsiteX44" fmla="*/ 1250 w 10000"/>
                <a:gd name="connsiteY44" fmla="*/ 7353 h 10000"/>
                <a:gd name="connsiteX45" fmla="*/ 1389 w 10000"/>
                <a:gd name="connsiteY45" fmla="*/ 7353 h 10000"/>
                <a:gd name="connsiteX46" fmla="*/ 1493 w 10000"/>
                <a:gd name="connsiteY46" fmla="*/ 7499 h 10000"/>
                <a:gd name="connsiteX47" fmla="*/ 1563 w 10000"/>
                <a:gd name="connsiteY47" fmla="*/ 7558 h 10000"/>
                <a:gd name="connsiteX48" fmla="*/ 1806 w 10000"/>
                <a:gd name="connsiteY48" fmla="*/ 7558 h 10000"/>
                <a:gd name="connsiteX49" fmla="*/ 1910 w 10000"/>
                <a:gd name="connsiteY49" fmla="*/ 7648 h 10000"/>
                <a:gd name="connsiteX50" fmla="*/ 1979 w 10000"/>
                <a:gd name="connsiteY50" fmla="*/ 7706 h 10000"/>
                <a:gd name="connsiteX51" fmla="*/ 2049 w 10000"/>
                <a:gd name="connsiteY51" fmla="*/ 7706 h 10000"/>
                <a:gd name="connsiteX52" fmla="*/ 1979 w 10000"/>
                <a:gd name="connsiteY52" fmla="*/ 7853 h 10000"/>
                <a:gd name="connsiteX53" fmla="*/ 2049 w 10000"/>
                <a:gd name="connsiteY53" fmla="*/ 7912 h 10000"/>
                <a:gd name="connsiteX54" fmla="*/ 2292 w 10000"/>
                <a:gd name="connsiteY54" fmla="*/ 8058 h 10000"/>
                <a:gd name="connsiteX55" fmla="*/ 2465 w 10000"/>
                <a:gd name="connsiteY55" fmla="*/ 8206 h 10000"/>
                <a:gd name="connsiteX56" fmla="*/ 2535 w 10000"/>
                <a:gd name="connsiteY56" fmla="*/ 8264 h 10000"/>
                <a:gd name="connsiteX57" fmla="*/ 2708 w 10000"/>
                <a:gd name="connsiteY57" fmla="*/ 8324 h 10000"/>
                <a:gd name="connsiteX58" fmla="*/ 2708 w 10000"/>
                <a:gd name="connsiteY58" fmla="*/ 8412 h 10000"/>
                <a:gd name="connsiteX59" fmla="*/ 2813 w 10000"/>
                <a:gd name="connsiteY59" fmla="*/ 8559 h 10000"/>
                <a:gd name="connsiteX60" fmla="*/ 2882 w 10000"/>
                <a:gd name="connsiteY60" fmla="*/ 8617 h 10000"/>
                <a:gd name="connsiteX61" fmla="*/ 2882 w 10000"/>
                <a:gd name="connsiteY61" fmla="*/ 8677 h 10000"/>
                <a:gd name="connsiteX62" fmla="*/ 2951 w 10000"/>
                <a:gd name="connsiteY62" fmla="*/ 8765 h 10000"/>
                <a:gd name="connsiteX63" fmla="*/ 3299 w 10000"/>
                <a:gd name="connsiteY63" fmla="*/ 8882 h 10000"/>
                <a:gd name="connsiteX64" fmla="*/ 3368 w 10000"/>
                <a:gd name="connsiteY64" fmla="*/ 9029 h 10000"/>
                <a:gd name="connsiteX65" fmla="*/ 3368 w 10000"/>
                <a:gd name="connsiteY65" fmla="*/ 9088 h 10000"/>
                <a:gd name="connsiteX66" fmla="*/ 3438 w 10000"/>
                <a:gd name="connsiteY66" fmla="*/ 9177 h 10000"/>
                <a:gd name="connsiteX67" fmla="*/ 3542 w 10000"/>
                <a:gd name="connsiteY67" fmla="*/ 9235 h 10000"/>
                <a:gd name="connsiteX68" fmla="*/ 3715 w 10000"/>
                <a:gd name="connsiteY68" fmla="*/ 9383 h 10000"/>
                <a:gd name="connsiteX69" fmla="*/ 3715 w 10000"/>
                <a:gd name="connsiteY69" fmla="*/ 9442 h 10000"/>
                <a:gd name="connsiteX70" fmla="*/ 3785 w 10000"/>
                <a:gd name="connsiteY70" fmla="*/ 9530 h 10000"/>
                <a:gd name="connsiteX71" fmla="*/ 4028 w 10000"/>
                <a:gd name="connsiteY71" fmla="*/ 9587 h 10000"/>
                <a:gd name="connsiteX72" fmla="*/ 4097 w 10000"/>
                <a:gd name="connsiteY72" fmla="*/ 9587 h 10000"/>
                <a:gd name="connsiteX73" fmla="*/ 4201 w 10000"/>
                <a:gd name="connsiteY73" fmla="*/ 9530 h 10000"/>
                <a:gd name="connsiteX74" fmla="*/ 4444 w 10000"/>
                <a:gd name="connsiteY74" fmla="*/ 9587 h 10000"/>
                <a:gd name="connsiteX75" fmla="*/ 4618 w 10000"/>
                <a:gd name="connsiteY75" fmla="*/ 9530 h 10000"/>
                <a:gd name="connsiteX76" fmla="*/ 4757 w 10000"/>
                <a:gd name="connsiteY76" fmla="*/ 9442 h 10000"/>
                <a:gd name="connsiteX77" fmla="*/ 4861 w 10000"/>
                <a:gd name="connsiteY77" fmla="*/ 9530 h 10000"/>
                <a:gd name="connsiteX78" fmla="*/ 5174 w 10000"/>
                <a:gd name="connsiteY78" fmla="*/ 9735 h 10000"/>
                <a:gd name="connsiteX79" fmla="*/ 5243 w 10000"/>
                <a:gd name="connsiteY79" fmla="*/ 9853 h 10000"/>
                <a:gd name="connsiteX80" fmla="*/ 5347 w 10000"/>
                <a:gd name="connsiteY80" fmla="*/ 9941 h 10000"/>
                <a:gd name="connsiteX81" fmla="*/ 5417 w 10000"/>
                <a:gd name="connsiteY81" fmla="*/ 9941 h 10000"/>
                <a:gd name="connsiteX82" fmla="*/ 5486 w 10000"/>
                <a:gd name="connsiteY82" fmla="*/ 9941 h 10000"/>
                <a:gd name="connsiteX83" fmla="*/ 5590 w 10000"/>
                <a:gd name="connsiteY83" fmla="*/ 9941 h 10000"/>
                <a:gd name="connsiteX84" fmla="*/ 5764 w 10000"/>
                <a:gd name="connsiteY84" fmla="*/ 9941 h 10000"/>
                <a:gd name="connsiteX85" fmla="*/ 5833 w 10000"/>
                <a:gd name="connsiteY85" fmla="*/ 9941 h 10000"/>
                <a:gd name="connsiteX86" fmla="*/ 6007 w 10000"/>
                <a:gd name="connsiteY86" fmla="*/ 9941 h 10000"/>
                <a:gd name="connsiteX87" fmla="*/ 6076 w 10000"/>
                <a:gd name="connsiteY87" fmla="*/ 9941 h 10000"/>
                <a:gd name="connsiteX88" fmla="*/ 6146 w 10000"/>
                <a:gd name="connsiteY88" fmla="*/ 10000 h 10000"/>
                <a:gd name="connsiteX89" fmla="*/ 6319 w 10000"/>
                <a:gd name="connsiteY89" fmla="*/ 9941 h 10000"/>
                <a:gd name="connsiteX90" fmla="*/ 6493 w 10000"/>
                <a:gd name="connsiteY90" fmla="*/ 9941 h 10000"/>
                <a:gd name="connsiteX91" fmla="*/ 6667 w 10000"/>
                <a:gd name="connsiteY91" fmla="*/ 9853 h 10000"/>
                <a:gd name="connsiteX92" fmla="*/ 6806 w 10000"/>
                <a:gd name="connsiteY92" fmla="*/ 9853 h 10000"/>
                <a:gd name="connsiteX93" fmla="*/ 7049 w 10000"/>
                <a:gd name="connsiteY93" fmla="*/ 9853 h 10000"/>
                <a:gd name="connsiteX94" fmla="*/ 7292 w 10000"/>
                <a:gd name="connsiteY94" fmla="*/ 9735 h 10000"/>
                <a:gd name="connsiteX95" fmla="*/ 7292 w 10000"/>
                <a:gd name="connsiteY95" fmla="*/ 9735 h 10000"/>
                <a:gd name="connsiteX96" fmla="*/ 7292 w 10000"/>
                <a:gd name="connsiteY96" fmla="*/ 9735 h 10000"/>
                <a:gd name="connsiteX97" fmla="*/ 7569 w 10000"/>
                <a:gd name="connsiteY97" fmla="*/ 9530 h 10000"/>
                <a:gd name="connsiteX98" fmla="*/ 7639 w 10000"/>
                <a:gd name="connsiteY98" fmla="*/ 9442 h 10000"/>
                <a:gd name="connsiteX99" fmla="*/ 7813 w 10000"/>
                <a:gd name="connsiteY99" fmla="*/ 9442 h 10000"/>
                <a:gd name="connsiteX100" fmla="*/ 8125 w 10000"/>
                <a:gd name="connsiteY100" fmla="*/ 9530 h 10000"/>
                <a:gd name="connsiteX101" fmla="*/ 8299 w 10000"/>
                <a:gd name="connsiteY101" fmla="*/ 9530 h 10000"/>
                <a:gd name="connsiteX102" fmla="*/ 8472 w 10000"/>
                <a:gd name="connsiteY102" fmla="*/ 9442 h 10000"/>
                <a:gd name="connsiteX103" fmla="*/ 8472 w 10000"/>
                <a:gd name="connsiteY103" fmla="*/ 9235 h 10000"/>
                <a:gd name="connsiteX104" fmla="*/ 8542 w 10000"/>
                <a:gd name="connsiteY104" fmla="*/ 9177 h 10000"/>
                <a:gd name="connsiteX105" fmla="*/ 8472 w 10000"/>
                <a:gd name="connsiteY105" fmla="*/ 9088 h 10000"/>
                <a:gd name="connsiteX106" fmla="*/ 8472 w 10000"/>
                <a:gd name="connsiteY106" fmla="*/ 9029 h 10000"/>
                <a:gd name="connsiteX107" fmla="*/ 8125 w 10000"/>
                <a:gd name="connsiteY107" fmla="*/ 9029 h 10000"/>
                <a:gd name="connsiteX108" fmla="*/ 8056 w 10000"/>
                <a:gd name="connsiteY108" fmla="*/ 8970 h 10000"/>
                <a:gd name="connsiteX109" fmla="*/ 8056 w 10000"/>
                <a:gd name="connsiteY109" fmla="*/ 8882 h 10000"/>
                <a:gd name="connsiteX110" fmla="*/ 7882 w 10000"/>
                <a:gd name="connsiteY110" fmla="*/ 8617 h 10000"/>
                <a:gd name="connsiteX111" fmla="*/ 7882 w 10000"/>
                <a:gd name="connsiteY111" fmla="*/ 8471 h 10000"/>
                <a:gd name="connsiteX112" fmla="*/ 7813 w 10000"/>
                <a:gd name="connsiteY112" fmla="*/ 8412 h 10000"/>
                <a:gd name="connsiteX113" fmla="*/ 7569 w 10000"/>
                <a:gd name="connsiteY113" fmla="*/ 8264 h 10000"/>
                <a:gd name="connsiteX114" fmla="*/ 7465 w 10000"/>
                <a:gd name="connsiteY114" fmla="*/ 8206 h 10000"/>
                <a:gd name="connsiteX115" fmla="*/ 7396 w 10000"/>
                <a:gd name="connsiteY115" fmla="*/ 8118 h 10000"/>
                <a:gd name="connsiteX116" fmla="*/ 7396 w 10000"/>
                <a:gd name="connsiteY116" fmla="*/ 8058 h 10000"/>
                <a:gd name="connsiteX117" fmla="*/ 7292 w 10000"/>
                <a:gd name="connsiteY117" fmla="*/ 7912 h 10000"/>
                <a:gd name="connsiteX118" fmla="*/ 7222 w 10000"/>
                <a:gd name="connsiteY118" fmla="*/ 7912 h 10000"/>
                <a:gd name="connsiteX119" fmla="*/ 7049 w 10000"/>
                <a:gd name="connsiteY119" fmla="*/ 7853 h 10000"/>
                <a:gd name="connsiteX120" fmla="*/ 6979 w 10000"/>
                <a:gd name="connsiteY120" fmla="*/ 7853 h 10000"/>
                <a:gd name="connsiteX121" fmla="*/ 6910 w 10000"/>
                <a:gd name="connsiteY121" fmla="*/ 7853 h 10000"/>
                <a:gd name="connsiteX122" fmla="*/ 6806 w 10000"/>
                <a:gd name="connsiteY122" fmla="*/ 7853 h 10000"/>
                <a:gd name="connsiteX123" fmla="*/ 6736 w 10000"/>
                <a:gd name="connsiteY123" fmla="*/ 7794 h 10000"/>
                <a:gd name="connsiteX124" fmla="*/ 6806 w 10000"/>
                <a:gd name="connsiteY124" fmla="*/ 7706 h 10000"/>
                <a:gd name="connsiteX125" fmla="*/ 6910 w 10000"/>
                <a:gd name="connsiteY125" fmla="*/ 7648 h 10000"/>
                <a:gd name="connsiteX126" fmla="*/ 6910 w 10000"/>
                <a:gd name="connsiteY126" fmla="*/ 7499 h 10000"/>
                <a:gd name="connsiteX127" fmla="*/ 6979 w 10000"/>
                <a:gd name="connsiteY127" fmla="*/ 7499 h 10000"/>
                <a:gd name="connsiteX128" fmla="*/ 7222 w 10000"/>
                <a:gd name="connsiteY128" fmla="*/ 7499 h 10000"/>
                <a:gd name="connsiteX129" fmla="*/ 7396 w 10000"/>
                <a:gd name="connsiteY129" fmla="*/ 7499 h 10000"/>
                <a:gd name="connsiteX130" fmla="*/ 7465 w 10000"/>
                <a:gd name="connsiteY130" fmla="*/ 7441 h 10000"/>
                <a:gd name="connsiteX131" fmla="*/ 7465 w 10000"/>
                <a:gd name="connsiteY131" fmla="*/ 7294 h 10000"/>
                <a:gd name="connsiteX132" fmla="*/ 7465 w 10000"/>
                <a:gd name="connsiteY132" fmla="*/ 6883 h 10000"/>
                <a:gd name="connsiteX133" fmla="*/ 7465 w 10000"/>
                <a:gd name="connsiteY133" fmla="*/ 6735 h 10000"/>
                <a:gd name="connsiteX134" fmla="*/ 7569 w 10000"/>
                <a:gd name="connsiteY134" fmla="*/ 6588 h 10000"/>
                <a:gd name="connsiteX135" fmla="*/ 7465 w 10000"/>
                <a:gd name="connsiteY135" fmla="*/ 6529 h 10000"/>
                <a:gd name="connsiteX136" fmla="*/ 7465 w 10000"/>
                <a:gd name="connsiteY136" fmla="*/ 6470 h 10000"/>
                <a:gd name="connsiteX137" fmla="*/ 7569 w 10000"/>
                <a:gd name="connsiteY137" fmla="*/ 6470 h 10000"/>
                <a:gd name="connsiteX138" fmla="*/ 7569 w 10000"/>
                <a:gd name="connsiteY138" fmla="*/ 6383 h 10000"/>
                <a:gd name="connsiteX139" fmla="*/ 7639 w 10000"/>
                <a:gd name="connsiteY139" fmla="*/ 6265 h 10000"/>
                <a:gd name="connsiteX140" fmla="*/ 7708 w 10000"/>
                <a:gd name="connsiteY140" fmla="*/ 6265 h 10000"/>
                <a:gd name="connsiteX141" fmla="*/ 7882 w 10000"/>
                <a:gd name="connsiteY141" fmla="*/ 6265 h 10000"/>
                <a:gd name="connsiteX142" fmla="*/ 7882 w 10000"/>
                <a:gd name="connsiteY142" fmla="*/ 6177 h 10000"/>
                <a:gd name="connsiteX143" fmla="*/ 7951 w 10000"/>
                <a:gd name="connsiteY143" fmla="*/ 5912 h 10000"/>
                <a:gd name="connsiteX144" fmla="*/ 8056 w 10000"/>
                <a:gd name="connsiteY144" fmla="*/ 5824 h 10000"/>
                <a:gd name="connsiteX145" fmla="*/ 8368 w 10000"/>
                <a:gd name="connsiteY145" fmla="*/ 5353 h 10000"/>
                <a:gd name="connsiteX146" fmla="*/ 8542 w 10000"/>
                <a:gd name="connsiteY146" fmla="*/ 5294 h 10000"/>
                <a:gd name="connsiteX147" fmla="*/ 8611 w 10000"/>
                <a:gd name="connsiteY147" fmla="*/ 5207 h 10000"/>
                <a:gd name="connsiteX148" fmla="*/ 8715 w 10000"/>
                <a:gd name="connsiteY148" fmla="*/ 5147 h 10000"/>
                <a:gd name="connsiteX149" fmla="*/ 8854 w 10000"/>
                <a:gd name="connsiteY149" fmla="*/ 4589 h 10000"/>
                <a:gd name="connsiteX150" fmla="*/ 8854 w 10000"/>
                <a:gd name="connsiteY150" fmla="*/ 4441 h 10000"/>
                <a:gd name="connsiteX151" fmla="*/ 8854 w 10000"/>
                <a:gd name="connsiteY151" fmla="*/ 4294 h 10000"/>
                <a:gd name="connsiteX152" fmla="*/ 8854 w 10000"/>
                <a:gd name="connsiteY152" fmla="*/ 4177 h 10000"/>
                <a:gd name="connsiteX153" fmla="*/ 8854 w 10000"/>
                <a:gd name="connsiteY153" fmla="*/ 3972 h 10000"/>
                <a:gd name="connsiteX154" fmla="*/ 8958 w 10000"/>
                <a:gd name="connsiteY154" fmla="*/ 3824 h 10000"/>
                <a:gd name="connsiteX155" fmla="*/ 9097 w 10000"/>
                <a:gd name="connsiteY155" fmla="*/ 3323 h 10000"/>
                <a:gd name="connsiteX156" fmla="*/ 9097 w 10000"/>
                <a:gd name="connsiteY156" fmla="*/ 3265 h 10000"/>
                <a:gd name="connsiteX157" fmla="*/ 9097 w 10000"/>
                <a:gd name="connsiteY157" fmla="*/ 3059 h 10000"/>
                <a:gd name="connsiteX158" fmla="*/ 9201 w 10000"/>
                <a:gd name="connsiteY158" fmla="*/ 3001 h 10000"/>
                <a:gd name="connsiteX159" fmla="*/ 9375 w 10000"/>
                <a:gd name="connsiteY159" fmla="*/ 3001 h 10000"/>
                <a:gd name="connsiteX160" fmla="*/ 9514 w 10000"/>
                <a:gd name="connsiteY160" fmla="*/ 2852 h 10000"/>
                <a:gd name="connsiteX161" fmla="*/ 9688 w 10000"/>
                <a:gd name="connsiteY161" fmla="*/ 2764 h 10000"/>
                <a:gd name="connsiteX162" fmla="*/ 9757 w 10000"/>
                <a:gd name="connsiteY162" fmla="*/ 2706 h 10000"/>
                <a:gd name="connsiteX163" fmla="*/ 9931 w 10000"/>
                <a:gd name="connsiteY163" fmla="*/ 2706 h 10000"/>
                <a:gd name="connsiteX164" fmla="*/ 10000 w 10000"/>
                <a:gd name="connsiteY164" fmla="*/ 2560 h 10000"/>
                <a:gd name="connsiteX165" fmla="*/ 10000 w 10000"/>
                <a:gd name="connsiteY165" fmla="*/ 2442 h 10000"/>
                <a:gd name="connsiteX166" fmla="*/ 10000 w 10000"/>
                <a:gd name="connsiteY166" fmla="*/ 2352 h 10000"/>
                <a:gd name="connsiteX167" fmla="*/ 9931 w 10000"/>
                <a:gd name="connsiteY167" fmla="*/ 2352 h 10000"/>
                <a:gd name="connsiteX168" fmla="*/ 9931 w 10000"/>
                <a:gd name="connsiteY168" fmla="*/ 2352 h 10000"/>
                <a:gd name="connsiteX169" fmla="*/ 9861 w 10000"/>
                <a:gd name="connsiteY169" fmla="*/ 2352 h 10000"/>
                <a:gd name="connsiteX170" fmla="*/ 9861 w 10000"/>
                <a:gd name="connsiteY170" fmla="*/ 2236 h 10000"/>
                <a:gd name="connsiteX171" fmla="*/ 9757 w 10000"/>
                <a:gd name="connsiteY171" fmla="*/ 2147 h 10000"/>
                <a:gd name="connsiteX172" fmla="*/ 9688 w 10000"/>
                <a:gd name="connsiteY172" fmla="*/ 2147 h 10000"/>
                <a:gd name="connsiteX173" fmla="*/ 9514 w 10000"/>
                <a:gd name="connsiteY173" fmla="*/ 2088 h 10000"/>
                <a:gd name="connsiteX174" fmla="*/ 9271 w 10000"/>
                <a:gd name="connsiteY174" fmla="*/ 824 h 10000"/>
                <a:gd name="connsiteX175" fmla="*/ 9271 w 10000"/>
                <a:gd name="connsiteY175" fmla="*/ 824 h 10000"/>
                <a:gd name="connsiteX176" fmla="*/ 9097 w 10000"/>
                <a:gd name="connsiteY176" fmla="*/ 558 h 10000"/>
                <a:gd name="connsiteX177" fmla="*/ 8715 w 10000"/>
                <a:gd name="connsiteY177" fmla="*/ 1 h 10000"/>
                <a:gd name="connsiteX178" fmla="*/ 7049 w 10000"/>
                <a:gd name="connsiteY178" fmla="*/ 500 h 10000"/>
                <a:gd name="connsiteX179" fmla="*/ 5833 w 10000"/>
                <a:gd name="connsiteY179" fmla="*/ 205 h 10000"/>
                <a:gd name="connsiteX180" fmla="*/ 5833 w 10000"/>
                <a:gd name="connsiteY180" fmla="*/ 205 h 10000"/>
                <a:gd name="connsiteX181" fmla="*/ 5833 w 10000"/>
                <a:gd name="connsiteY181" fmla="*/ 205 h 10000"/>
                <a:gd name="connsiteX182" fmla="*/ 5764 w 10000"/>
                <a:gd name="connsiteY182" fmla="*/ 205 h 10000"/>
                <a:gd name="connsiteX183" fmla="*/ 3056 w 10000"/>
                <a:gd name="connsiteY183" fmla="*/ 354 h 10000"/>
                <a:gd name="connsiteX184" fmla="*/ 2333 w 10000"/>
                <a:gd name="connsiteY184" fmla="*/ 229 h 10000"/>
                <a:gd name="connsiteX0" fmla="*/ 2333 w 10000"/>
                <a:gd name="connsiteY0" fmla="*/ 229 h 10000"/>
                <a:gd name="connsiteX1" fmla="*/ 1889 w 10000"/>
                <a:gd name="connsiteY1" fmla="*/ 1265 h 10000"/>
                <a:gd name="connsiteX2" fmla="*/ 1319 w 10000"/>
                <a:gd name="connsiteY2" fmla="*/ 3676 h 10000"/>
                <a:gd name="connsiteX3" fmla="*/ 1250 w 10000"/>
                <a:gd name="connsiteY3" fmla="*/ 3676 h 10000"/>
                <a:gd name="connsiteX4" fmla="*/ 903 w 10000"/>
                <a:gd name="connsiteY4" fmla="*/ 3676 h 10000"/>
                <a:gd name="connsiteX5" fmla="*/ 660 w 10000"/>
                <a:gd name="connsiteY5" fmla="*/ 3676 h 10000"/>
                <a:gd name="connsiteX6" fmla="*/ 660 w 10000"/>
                <a:gd name="connsiteY6" fmla="*/ 3765 h 10000"/>
                <a:gd name="connsiteX7" fmla="*/ 660 w 10000"/>
                <a:gd name="connsiteY7" fmla="*/ 3824 h 10000"/>
                <a:gd name="connsiteX8" fmla="*/ 660 w 10000"/>
                <a:gd name="connsiteY8" fmla="*/ 3882 h 10000"/>
                <a:gd name="connsiteX9" fmla="*/ 590 w 10000"/>
                <a:gd name="connsiteY9" fmla="*/ 4029 h 10000"/>
                <a:gd name="connsiteX10" fmla="*/ 486 w 10000"/>
                <a:gd name="connsiteY10" fmla="*/ 4177 h 10000"/>
                <a:gd name="connsiteX11" fmla="*/ 243 w 10000"/>
                <a:gd name="connsiteY11" fmla="*/ 4381 h 10000"/>
                <a:gd name="connsiteX12" fmla="*/ 243 w 10000"/>
                <a:gd name="connsiteY12" fmla="*/ 4441 h 10000"/>
                <a:gd name="connsiteX13" fmla="*/ 347 w 10000"/>
                <a:gd name="connsiteY13" fmla="*/ 4530 h 10000"/>
                <a:gd name="connsiteX14" fmla="*/ 243 w 10000"/>
                <a:gd name="connsiteY14" fmla="*/ 4589 h 10000"/>
                <a:gd name="connsiteX15" fmla="*/ 243 w 10000"/>
                <a:gd name="connsiteY15" fmla="*/ 4589 h 10000"/>
                <a:gd name="connsiteX16" fmla="*/ 174 w 10000"/>
                <a:gd name="connsiteY16" fmla="*/ 4647 h 10000"/>
                <a:gd name="connsiteX17" fmla="*/ 174 w 10000"/>
                <a:gd name="connsiteY17" fmla="*/ 4647 h 10000"/>
                <a:gd name="connsiteX18" fmla="*/ 174 w 10000"/>
                <a:gd name="connsiteY18" fmla="*/ 4794 h 10000"/>
                <a:gd name="connsiteX19" fmla="*/ 174 w 10000"/>
                <a:gd name="connsiteY19" fmla="*/ 4941 h 10000"/>
                <a:gd name="connsiteX20" fmla="*/ 104 w 10000"/>
                <a:gd name="connsiteY20" fmla="*/ 5001 h 10000"/>
                <a:gd name="connsiteX21" fmla="*/ 0 w 10000"/>
                <a:gd name="connsiteY21" fmla="*/ 5059 h 10000"/>
                <a:gd name="connsiteX22" fmla="*/ 0 w 10000"/>
                <a:gd name="connsiteY22" fmla="*/ 5147 h 10000"/>
                <a:gd name="connsiteX23" fmla="*/ 0 w 10000"/>
                <a:gd name="connsiteY23" fmla="*/ 5294 h 10000"/>
                <a:gd name="connsiteX24" fmla="*/ 104 w 10000"/>
                <a:gd name="connsiteY24" fmla="*/ 5294 h 10000"/>
                <a:gd name="connsiteX25" fmla="*/ 104 w 10000"/>
                <a:gd name="connsiteY25" fmla="*/ 5294 h 10000"/>
                <a:gd name="connsiteX26" fmla="*/ 347 w 10000"/>
                <a:gd name="connsiteY26" fmla="*/ 5207 h 10000"/>
                <a:gd name="connsiteX27" fmla="*/ 243 w 10000"/>
                <a:gd name="connsiteY27" fmla="*/ 5411 h 10000"/>
                <a:gd name="connsiteX28" fmla="*/ 347 w 10000"/>
                <a:gd name="connsiteY28" fmla="*/ 5560 h 10000"/>
                <a:gd name="connsiteX29" fmla="*/ 486 w 10000"/>
                <a:gd name="connsiteY29" fmla="*/ 5824 h 10000"/>
                <a:gd name="connsiteX30" fmla="*/ 486 w 10000"/>
                <a:gd name="connsiteY30" fmla="*/ 5912 h 10000"/>
                <a:gd name="connsiteX31" fmla="*/ 590 w 10000"/>
                <a:gd name="connsiteY31" fmla="*/ 5912 h 10000"/>
                <a:gd name="connsiteX32" fmla="*/ 590 w 10000"/>
                <a:gd name="connsiteY32" fmla="*/ 5969 h 10000"/>
                <a:gd name="connsiteX33" fmla="*/ 660 w 10000"/>
                <a:gd name="connsiteY33" fmla="*/ 6030 h 10000"/>
                <a:gd name="connsiteX34" fmla="*/ 660 w 10000"/>
                <a:gd name="connsiteY34" fmla="*/ 6118 h 10000"/>
                <a:gd name="connsiteX35" fmla="*/ 486 w 10000"/>
                <a:gd name="connsiteY35" fmla="*/ 6177 h 10000"/>
                <a:gd name="connsiteX36" fmla="*/ 660 w 10000"/>
                <a:gd name="connsiteY36" fmla="*/ 6265 h 10000"/>
                <a:gd name="connsiteX37" fmla="*/ 833 w 10000"/>
                <a:gd name="connsiteY37" fmla="*/ 6470 h 10000"/>
                <a:gd name="connsiteX38" fmla="*/ 1007 w 10000"/>
                <a:gd name="connsiteY38" fmla="*/ 6676 h 10000"/>
                <a:gd name="connsiteX39" fmla="*/ 1076 w 10000"/>
                <a:gd name="connsiteY39" fmla="*/ 6795 h 10000"/>
                <a:gd name="connsiteX40" fmla="*/ 1007 w 10000"/>
                <a:gd name="connsiteY40" fmla="*/ 6941 h 10000"/>
                <a:gd name="connsiteX41" fmla="*/ 1007 w 10000"/>
                <a:gd name="connsiteY41" fmla="*/ 7148 h 10000"/>
                <a:gd name="connsiteX42" fmla="*/ 1007 w 10000"/>
                <a:gd name="connsiteY42" fmla="*/ 7236 h 10000"/>
                <a:gd name="connsiteX43" fmla="*/ 1146 w 10000"/>
                <a:gd name="connsiteY43" fmla="*/ 7353 h 10000"/>
                <a:gd name="connsiteX44" fmla="*/ 1250 w 10000"/>
                <a:gd name="connsiteY44" fmla="*/ 7353 h 10000"/>
                <a:gd name="connsiteX45" fmla="*/ 1389 w 10000"/>
                <a:gd name="connsiteY45" fmla="*/ 7353 h 10000"/>
                <a:gd name="connsiteX46" fmla="*/ 1493 w 10000"/>
                <a:gd name="connsiteY46" fmla="*/ 7499 h 10000"/>
                <a:gd name="connsiteX47" fmla="*/ 1563 w 10000"/>
                <a:gd name="connsiteY47" fmla="*/ 7558 h 10000"/>
                <a:gd name="connsiteX48" fmla="*/ 1806 w 10000"/>
                <a:gd name="connsiteY48" fmla="*/ 7558 h 10000"/>
                <a:gd name="connsiteX49" fmla="*/ 1910 w 10000"/>
                <a:gd name="connsiteY49" fmla="*/ 7648 h 10000"/>
                <a:gd name="connsiteX50" fmla="*/ 1979 w 10000"/>
                <a:gd name="connsiteY50" fmla="*/ 7706 h 10000"/>
                <a:gd name="connsiteX51" fmla="*/ 2049 w 10000"/>
                <a:gd name="connsiteY51" fmla="*/ 7706 h 10000"/>
                <a:gd name="connsiteX52" fmla="*/ 1979 w 10000"/>
                <a:gd name="connsiteY52" fmla="*/ 7853 h 10000"/>
                <a:gd name="connsiteX53" fmla="*/ 2049 w 10000"/>
                <a:gd name="connsiteY53" fmla="*/ 7912 h 10000"/>
                <a:gd name="connsiteX54" fmla="*/ 2292 w 10000"/>
                <a:gd name="connsiteY54" fmla="*/ 8058 h 10000"/>
                <a:gd name="connsiteX55" fmla="*/ 2465 w 10000"/>
                <a:gd name="connsiteY55" fmla="*/ 8206 h 10000"/>
                <a:gd name="connsiteX56" fmla="*/ 2535 w 10000"/>
                <a:gd name="connsiteY56" fmla="*/ 8264 h 10000"/>
                <a:gd name="connsiteX57" fmla="*/ 2708 w 10000"/>
                <a:gd name="connsiteY57" fmla="*/ 8324 h 10000"/>
                <a:gd name="connsiteX58" fmla="*/ 2708 w 10000"/>
                <a:gd name="connsiteY58" fmla="*/ 8412 h 10000"/>
                <a:gd name="connsiteX59" fmla="*/ 2813 w 10000"/>
                <a:gd name="connsiteY59" fmla="*/ 8559 h 10000"/>
                <a:gd name="connsiteX60" fmla="*/ 2882 w 10000"/>
                <a:gd name="connsiteY60" fmla="*/ 8617 h 10000"/>
                <a:gd name="connsiteX61" fmla="*/ 2882 w 10000"/>
                <a:gd name="connsiteY61" fmla="*/ 8677 h 10000"/>
                <a:gd name="connsiteX62" fmla="*/ 2951 w 10000"/>
                <a:gd name="connsiteY62" fmla="*/ 8765 h 10000"/>
                <a:gd name="connsiteX63" fmla="*/ 3299 w 10000"/>
                <a:gd name="connsiteY63" fmla="*/ 8882 h 10000"/>
                <a:gd name="connsiteX64" fmla="*/ 3368 w 10000"/>
                <a:gd name="connsiteY64" fmla="*/ 9029 h 10000"/>
                <a:gd name="connsiteX65" fmla="*/ 3368 w 10000"/>
                <a:gd name="connsiteY65" fmla="*/ 9088 h 10000"/>
                <a:gd name="connsiteX66" fmla="*/ 3438 w 10000"/>
                <a:gd name="connsiteY66" fmla="*/ 9177 h 10000"/>
                <a:gd name="connsiteX67" fmla="*/ 3542 w 10000"/>
                <a:gd name="connsiteY67" fmla="*/ 9235 h 10000"/>
                <a:gd name="connsiteX68" fmla="*/ 3715 w 10000"/>
                <a:gd name="connsiteY68" fmla="*/ 9383 h 10000"/>
                <a:gd name="connsiteX69" fmla="*/ 3715 w 10000"/>
                <a:gd name="connsiteY69" fmla="*/ 9442 h 10000"/>
                <a:gd name="connsiteX70" fmla="*/ 3785 w 10000"/>
                <a:gd name="connsiteY70" fmla="*/ 9530 h 10000"/>
                <a:gd name="connsiteX71" fmla="*/ 4028 w 10000"/>
                <a:gd name="connsiteY71" fmla="*/ 9587 h 10000"/>
                <a:gd name="connsiteX72" fmla="*/ 4097 w 10000"/>
                <a:gd name="connsiteY72" fmla="*/ 9587 h 10000"/>
                <a:gd name="connsiteX73" fmla="*/ 4201 w 10000"/>
                <a:gd name="connsiteY73" fmla="*/ 9530 h 10000"/>
                <a:gd name="connsiteX74" fmla="*/ 4444 w 10000"/>
                <a:gd name="connsiteY74" fmla="*/ 9587 h 10000"/>
                <a:gd name="connsiteX75" fmla="*/ 4618 w 10000"/>
                <a:gd name="connsiteY75" fmla="*/ 9530 h 10000"/>
                <a:gd name="connsiteX76" fmla="*/ 4757 w 10000"/>
                <a:gd name="connsiteY76" fmla="*/ 9442 h 10000"/>
                <a:gd name="connsiteX77" fmla="*/ 4861 w 10000"/>
                <a:gd name="connsiteY77" fmla="*/ 9530 h 10000"/>
                <a:gd name="connsiteX78" fmla="*/ 5174 w 10000"/>
                <a:gd name="connsiteY78" fmla="*/ 9735 h 10000"/>
                <a:gd name="connsiteX79" fmla="*/ 5243 w 10000"/>
                <a:gd name="connsiteY79" fmla="*/ 9853 h 10000"/>
                <a:gd name="connsiteX80" fmla="*/ 5347 w 10000"/>
                <a:gd name="connsiteY80" fmla="*/ 9941 h 10000"/>
                <a:gd name="connsiteX81" fmla="*/ 5417 w 10000"/>
                <a:gd name="connsiteY81" fmla="*/ 9941 h 10000"/>
                <a:gd name="connsiteX82" fmla="*/ 5486 w 10000"/>
                <a:gd name="connsiteY82" fmla="*/ 9941 h 10000"/>
                <a:gd name="connsiteX83" fmla="*/ 5590 w 10000"/>
                <a:gd name="connsiteY83" fmla="*/ 9941 h 10000"/>
                <a:gd name="connsiteX84" fmla="*/ 5764 w 10000"/>
                <a:gd name="connsiteY84" fmla="*/ 9941 h 10000"/>
                <a:gd name="connsiteX85" fmla="*/ 5833 w 10000"/>
                <a:gd name="connsiteY85" fmla="*/ 9941 h 10000"/>
                <a:gd name="connsiteX86" fmla="*/ 6007 w 10000"/>
                <a:gd name="connsiteY86" fmla="*/ 9941 h 10000"/>
                <a:gd name="connsiteX87" fmla="*/ 6076 w 10000"/>
                <a:gd name="connsiteY87" fmla="*/ 9941 h 10000"/>
                <a:gd name="connsiteX88" fmla="*/ 6146 w 10000"/>
                <a:gd name="connsiteY88" fmla="*/ 10000 h 10000"/>
                <a:gd name="connsiteX89" fmla="*/ 6319 w 10000"/>
                <a:gd name="connsiteY89" fmla="*/ 9941 h 10000"/>
                <a:gd name="connsiteX90" fmla="*/ 6493 w 10000"/>
                <a:gd name="connsiteY90" fmla="*/ 9941 h 10000"/>
                <a:gd name="connsiteX91" fmla="*/ 6667 w 10000"/>
                <a:gd name="connsiteY91" fmla="*/ 9853 h 10000"/>
                <a:gd name="connsiteX92" fmla="*/ 6806 w 10000"/>
                <a:gd name="connsiteY92" fmla="*/ 9853 h 10000"/>
                <a:gd name="connsiteX93" fmla="*/ 7049 w 10000"/>
                <a:gd name="connsiteY93" fmla="*/ 9853 h 10000"/>
                <a:gd name="connsiteX94" fmla="*/ 7292 w 10000"/>
                <a:gd name="connsiteY94" fmla="*/ 9735 h 10000"/>
                <a:gd name="connsiteX95" fmla="*/ 7292 w 10000"/>
                <a:gd name="connsiteY95" fmla="*/ 9735 h 10000"/>
                <a:gd name="connsiteX96" fmla="*/ 7292 w 10000"/>
                <a:gd name="connsiteY96" fmla="*/ 9735 h 10000"/>
                <a:gd name="connsiteX97" fmla="*/ 7569 w 10000"/>
                <a:gd name="connsiteY97" fmla="*/ 9530 h 10000"/>
                <a:gd name="connsiteX98" fmla="*/ 7639 w 10000"/>
                <a:gd name="connsiteY98" fmla="*/ 9442 h 10000"/>
                <a:gd name="connsiteX99" fmla="*/ 7813 w 10000"/>
                <a:gd name="connsiteY99" fmla="*/ 9442 h 10000"/>
                <a:gd name="connsiteX100" fmla="*/ 8125 w 10000"/>
                <a:gd name="connsiteY100" fmla="*/ 9530 h 10000"/>
                <a:gd name="connsiteX101" fmla="*/ 8299 w 10000"/>
                <a:gd name="connsiteY101" fmla="*/ 9530 h 10000"/>
                <a:gd name="connsiteX102" fmla="*/ 8472 w 10000"/>
                <a:gd name="connsiteY102" fmla="*/ 9442 h 10000"/>
                <a:gd name="connsiteX103" fmla="*/ 8472 w 10000"/>
                <a:gd name="connsiteY103" fmla="*/ 9235 h 10000"/>
                <a:gd name="connsiteX104" fmla="*/ 8542 w 10000"/>
                <a:gd name="connsiteY104" fmla="*/ 9177 h 10000"/>
                <a:gd name="connsiteX105" fmla="*/ 8472 w 10000"/>
                <a:gd name="connsiteY105" fmla="*/ 9088 h 10000"/>
                <a:gd name="connsiteX106" fmla="*/ 8472 w 10000"/>
                <a:gd name="connsiteY106" fmla="*/ 9029 h 10000"/>
                <a:gd name="connsiteX107" fmla="*/ 8125 w 10000"/>
                <a:gd name="connsiteY107" fmla="*/ 9029 h 10000"/>
                <a:gd name="connsiteX108" fmla="*/ 8056 w 10000"/>
                <a:gd name="connsiteY108" fmla="*/ 8970 h 10000"/>
                <a:gd name="connsiteX109" fmla="*/ 8056 w 10000"/>
                <a:gd name="connsiteY109" fmla="*/ 8882 h 10000"/>
                <a:gd name="connsiteX110" fmla="*/ 7882 w 10000"/>
                <a:gd name="connsiteY110" fmla="*/ 8617 h 10000"/>
                <a:gd name="connsiteX111" fmla="*/ 7882 w 10000"/>
                <a:gd name="connsiteY111" fmla="*/ 8471 h 10000"/>
                <a:gd name="connsiteX112" fmla="*/ 7813 w 10000"/>
                <a:gd name="connsiteY112" fmla="*/ 8412 h 10000"/>
                <a:gd name="connsiteX113" fmla="*/ 7569 w 10000"/>
                <a:gd name="connsiteY113" fmla="*/ 8264 h 10000"/>
                <a:gd name="connsiteX114" fmla="*/ 7465 w 10000"/>
                <a:gd name="connsiteY114" fmla="*/ 8206 h 10000"/>
                <a:gd name="connsiteX115" fmla="*/ 7396 w 10000"/>
                <a:gd name="connsiteY115" fmla="*/ 8118 h 10000"/>
                <a:gd name="connsiteX116" fmla="*/ 7396 w 10000"/>
                <a:gd name="connsiteY116" fmla="*/ 8058 h 10000"/>
                <a:gd name="connsiteX117" fmla="*/ 7292 w 10000"/>
                <a:gd name="connsiteY117" fmla="*/ 7912 h 10000"/>
                <a:gd name="connsiteX118" fmla="*/ 7222 w 10000"/>
                <a:gd name="connsiteY118" fmla="*/ 7912 h 10000"/>
                <a:gd name="connsiteX119" fmla="*/ 7049 w 10000"/>
                <a:gd name="connsiteY119" fmla="*/ 7853 h 10000"/>
                <a:gd name="connsiteX120" fmla="*/ 6979 w 10000"/>
                <a:gd name="connsiteY120" fmla="*/ 7853 h 10000"/>
                <a:gd name="connsiteX121" fmla="*/ 6910 w 10000"/>
                <a:gd name="connsiteY121" fmla="*/ 7853 h 10000"/>
                <a:gd name="connsiteX122" fmla="*/ 6806 w 10000"/>
                <a:gd name="connsiteY122" fmla="*/ 7853 h 10000"/>
                <a:gd name="connsiteX123" fmla="*/ 6736 w 10000"/>
                <a:gd name="connsiteY123" fmla="*/ 7794 h 10000"/>
                <a:gd name="connsiteX124" fmla="*/ 6806 w 10000"/>
                <a:gd name="connsiteY124" fmla="*/ 7706 h 10000"/>
                <a:gd name="connsiteX125" fmla="*/ 6910 w 10000"/>
                <a:gd name="connsiteY125" fmla="*/ 7648 h 10000"/>
                <a:gd name="connsiteX126" fmla="*/ 6910 w 10000"/>
                <a:gd name="connsiteY126" fmla="*/ 7499 h 10000"/>
                <a:gd name="connsiteX127" fmla="*/ 6979 w 10000"/>
                <a:gd name="connsiteY127" fmla="*/ 7499 h 10000"/>
                <a:gd name="connsiteX128" fmla="*/ 7222 w 10000"/>
                <a:gd name="connsiteY128" fmla="*/ 7499 h 10000"/>
                <a:gd name="connsiteX129" fmla="*/ 7396 w 10000"/>
                <a:gd name="connsiteY129" fmla="*/ 7499 h 10000"/>
                <a:gd name="connsiteX130" fmla="*/ 7465 w 10000"/>
                <a:gd name="connsiteY130" fmla="*/ 7441 h 10000"/>
                <a:gd name="connsiteX131" fmla="*/ 7465 w 10000"/>
                <a:gd name="connsiteY131" fmla="*/ 7294 h 10000"/>
                <a:gd name="connsiteX132" fmla="*/ 7465 w 10000"/>
                <a:gd name="connsiteY132" fmla="*/ 6883 h 10000"/>
                <a:gd name="connsiteX133" fmla="*/ 7465 w 10000"/>
                <a:gd name="connsiteY133" fmla="*/ 6735 h 10000"/>
                <a:gd name="connsiteX134" fmla="*/ 7569 w 10000"/>
                <a:gd name="connsiteY134" fmla="*/ 6588 h 10000"/>
                <a:gd name="connsiteX135" fmla="*/ 7465 w 10000"/>
                <a:gd name="connsiteY135" fmla="*/ 6529 h 10000"/>
                <a:gd name="connsiteX136" fmla="*/ 7465 w 10000"/>
                <a:gd name="connsiteY136" fmla="*/ 6470 h 10000"/>
                <a:gd name="connsiteX137" fmla="*/ 7569 w 10000"/>
                <a:gd name="connsiteY137" fmla="*/ 6470 h 10000"/>
                <a:gd name="connsiteX138" fmla="*/ 7569 w 10000"/>
                <a:gd name="connsiteY138" fmla="*/ 6383 h 10000"/>
                <a:gd name="connsiteX139" fmla="*/ 7639 w 10000"/>
                <a:gd name="connsiteY139" fmla="*/ 6265 h 10000"/>
                <a:gd name="connsiteX140" fmla="*/ 7708 w 10000"/>
                <a:gd name="connsiteY140" fmla="*/ 6265 h 10000"/>
                <a:gd name="connsiteX141" fmla="*/ 7882 w 10000"/>
                <a:gd name="connsiteY141" fmla="*/ 6265 h 10000"/>
                <a:gd name="connsiteX142" fmla="*/ 7882 w 10000"/>
                <a:gd name="connsiteY142" fmla="*/ 6177 h 10000"/>
                <a:gd name="connsiteX143" fmla="*/ 7951 w 10000"/>
                <a:gd name="connsiteY143" fmla="*/ 5912 h 10000"/>
                <a:gd name="connsiteX144" fmla="*/ 8056 w 10000"/>
                <a:gd name="connsiteY144" fmla="*/ 5824 h 10000"/>
                <a:gd name="connsiteX145" fmla="*/ 8368 w 10000"/>
                <a:gd name="connsiteY145" fmla="*/ 5353 h 10000"/>
                <a:gd name="connsiteX146" fmla="*/ 8542 w 10000"/>
                <a:gd name="connsiteY146" fmla="*/ 5294 h 10000"/>
                <a:gd name="connsiteX147" fmla="*/ 8611 w 10000"/>
                <a:gd name="connsiteY147" fmla="*/ 5207 h 10000"/>
                <a:gd name="connsiteX148" fmla="*/ 8715 w 10000"/>
                <a:gd name="connsiteY148" fmla="*/ 5147 h 10000"/>
                <a:gd name="connsiteX149" fmla="*/ 8854 w 10000"/>
                <a:gd name="connsiteY149" fmla="*/ 4589 h 10000"/>
                <a:gd name="connsiteX150" fmla="*/ 8854 w 10000"/>
                <a:gd name="connsiteY150" fmla="*/ 4441 h 10000"/>
                <a:gd name="connsiteX151" fmla="*/ 8854 w 10000"/>
                <a:gd name="connsiteY151" fmla="*/ 4294 h 10000"/>
                <a:gd name="connsiteX152" fmla="*/ 8854 w 10000"/>
                <a:gd name="connsiteY152" fmla="*/ 4177 h 10000"/>
                <a:gd name="connsiteX153" fmla="*/ 8854 w 10000"/>
                <a:gd name="connsiteY153" fmla="*/ 3972 h 10000"/>
                <a:gd name="connsiteX154" fmla="*/ 8958 w 10000"/>
                <a:gd name="connsiteY154" fmla="*/ 3824 h 10000"/>
                <a:gd name="connsiteX155" fmla="*/ 9097 w 10000"/>
                <a:gd name="connsiteY155" fmla="*/ 3323 h 10000"/>
                <a:gd name="connsiteX156" fmla="*/ 9097 w 10000"/>
                <a:gd name="connsiteY156" fmla="*/ 3265 h 10000"/>
                <a:gd name="connsiteX157" fmla="*/ 9097 w 10000"/>
                <a:gd name="connsiteY157" fmla="*/ 3059 h 10000"/>
                <a:gd name="connsiteX158" fmla="*/ 9201 w 10000"/>
                <a:gd name="connsiteY158" fmla="*/ 3001 h 10000"/>
                <a:gd name="connsiteX159" fmla="*/ 9375 w 10000"/>
                <a:gd name="connsiteY159" fmla="*/ 3001 h 10000"/>
                <a:gd name="connsiteX160" fmla="*/ 9514 w 10000"/>
                <a:gd name="connsiteY160" fmla="*/ 2852 h 10000"/>
                <a:gd name="connsiteX161" fmla="*/ 9688 w 10000"/>
                <a:gd name="connsiteY161" fmla="*/ 2764 h 10000"/>
                <a:gd name="connsiteX162" fmla="*/ 9757 w 10000"/>
                <a:gd name="connsiteY162" fmla="*/ 2706 h 10000"/>
                <a:gd name="connsiteX163" fmla="*/ 9931 w 10000"/>
                <a:gd name="connsiteY163" fmla="*/ 2706 h 10000"/>
                <a:gd name="connsiteX164" fmla="*/ 10000 w 10000"/>
                <a:gd name="connsiteY164" fmla="*/ 2560 h 10000"/>
                <a:gd name="connsiteX165" fmla="*/ 10000 w 10000"/>
                <a:gd name="connsiteY165" fmla="*/ 2442 h 10000"/>
                <a:gd name="connsiteX166" fmla="*/ 10000 w 10000"/>
                <a:gd name="connsiteY166" fmla="*/ 2352 h 10000"/>
                <a:gd name="connsiteX167" fmla="*/ 9931 w 10000"/>
                <a:gd name="connsiteY167" fmla="*/ 2352 h 10000"/>
                <a:gd name="connsiteX168" fmla="*/ 9931 w 10000"/>
                <a:gd name="connsiteY168" fmla="*/ 2352 h 10000"/>
                <a:gd name="connsiteX169" fmla="*/ 9861 w 10000"/>
                <a:gd name="connsiteY169" fmla="*/ 2352 h 10000"/>
                <a:gd name="connsiteX170" fmla="*/ 9861 w 10000"/>
                <a:gd name="connsiteY170" fmla="*/ 2236 h 10000"/>
                <a:gd name="connsiteX171" fmla="*/ 9757 w 10000"/>
                <a:gd name="connsiteY171" fmla="*/ 2147 h 10000"/>
                <a:gd name="connsiteX172" fmla="*/ 9688 w 10000"/>
                <a:gd name="connsiteY172" fmla="*/ 2147 h 10000"/>
                <a:gd name="connsiteX173" fmla="*/ 9514 w 10000"/>
                <a:gd name="connsiteY173" fmla="*/ 2088 h 10000"/>
                <a:gd name="connsiteX174" fmla="*/ 9271 w 10000"/>
                <a:gd name="connsiteY174" fmla="*/ 824 h 10000"/>
                <a:gd name="connsiteX175" fmla="*/ 9271 w 10000"/>
                <a:gd name="connsiteY175" fmla="*/ 824 h 10000"/>
                <a:gd name="connsiteX176" fmla="*/ 9097 w 10000"/>
                <a:gd name="connsiteY176" fmla="*/ 558 h 10000"/>
                <a:gd name="connsiteX177" fmla="*/ 8715 w 10000"/>
                <a:gd name="connsiteY177" fmla="*/ 1 h 10000"/>
                <a:gd name="connsiteX178" fmla="*/ 7049 w 10000"/>
                <a:gd name="connsiteY178" fmla="*/ 500 h 10000"/>
                <a:gd name="connsiteX179" fmla="*/ 6667 w 10000"/>
                <a:gd name="connsiteY179" fmla="*/ 442 h 10000"/>
                <a:gd name="connsiteX180" fmla="*/ 5833 w 10000"/>
                <a:gd name="connsiteY180" fmla="*/ 205 h 10000"/>
                <a:gd name="connsiteX181" fmla="*/ 5833 w 10000"/>
                <a:gd name="connsiteY181" fmla="*/ 205 h 10000"/>
                <a:gd name="connsiteX182" fmla="*/ 5833 w 10000"/>
                <a:gd name="connsiteY182" fmla="*/ 205 h 10000"/>
                <a:gd name="connsiteX183" fmla="*/ 5764 w 10000"/>
                <a:gd name="connsiteY183" fmla="*/ 205 h 10000"/>
                <a:gd name="connsiteX184" fmla="*/ 3056 w 10000"/>
                <a:gd name="connsiteY184" fmla="*/ 354 h 10000"/>
                <a:gd name="connsiteX185" fmla="*/ 2333 w 10000"/>
                <a:gd name="connsiteY185" fmla="*/ 229 h 10000"/>
                <a:gd name="connsiteX0" fmla="*/ 2333 w 10000"/>
                <a:gd name="connsiteY0" fmla="*/ 24 h 9795"/>
                <a:gd name="connsiteX1" fmla="*/ 1889 w 10000"/>
                <a:gd name="connsiteY1" fmla="*/ 1060 h 9795"/>
                <a:gd name="connsiteX2" fmla="*/ 1319 w 10000"/>
                <a:gd name="connsiteY2" fmla="*/ 3471 h 9795"/>
                <a:gd name="connsiteX3" fmla="*/ 1250 w 10000"/>
                <a:gd name="connsiteY3" fmla="*/ 3471 h 9795"/>
                <a:gd name="connsiteX4" fmla="*/ 903 w 10000"/>
                <a:gd name="connsiteY4" fmla="*/ 3471 h 9795"/>
                <a:gd name="connsiteX5" fmla="*/ 660 w 10000"/>
                <a:gd name="connsiteY5" fmla="*/ 3471 h 9795"/>
                <a:gd name="connsiteX6" fmla="*/ 660 w 10000"/>
                <a:gd name="connsiteY6" fmla="*/ 3560 h 9795"/>
                <a:gd name="connsiteX7" fmla="*/ 660 w 10000"/>
                <a:gd name="connsiteY7" fmla="*/ 3619 h 9795"/>
                <a:gd name="connsiteX8" fmla="*/ 660 w 10000"/>
                <a:gd name="connsiteY8" fmla="*/ 3677 h 9795"/>
                <a:gd name="connsiteX9" fmla="*/ 590 w 10000"/>
                <a:gd name="connsiteY9" fmla="*/ 3824 h 9795"/>
                <a:gd name="connsiteX10" fmla="*/ 486 w 10000"/>
                <a:gd name="connsiteY10" fmla="*/ 3972 h 9795"/>
                <a:gd name="connsiteX11" fmla="*/ 243 w 10000"/>
                <a:gd name="connsiteY11" fmla="*/ 4176 h 9795"/>
                <a:gd name="connsiteX12" fmla="*/ 243 w 10000"/>
                <a:gd name="connsiteY12" fmla="*/ 4236 h 9795"/>
                <a:gd name="connsiteX13" fmla="*/ 347 w 10000"/>
                <a:gd name="connsiteY13" fmla="*/ 4325 h 9795"/>
                <a:gd name="connsiteX14" fmla="*/ 243 w 10000"/>
                <a:gd name="connsiteY14" fmla="*/ 4384 h 9795"/>
                <a:gd name="connsiteX15" fmla="*/ 243 w 10000"/>
                <a:gd name="connsiteY15" fmla="*/ 4384 h 9795"/>
                <a:gd name="connsiteX16" fmla="*/ 174 w 10000"/>
                <a:gd name="connsiteY16" fmla="*/ 4442 h 9795"/>
                <a:gd name="connsiteX17" fmla="*/ 174 w 10000"/>
                <a:gd name="connsiteY17" fmla="*/ 4442 h 9795"/>
                <a:gd name="connsiteX18" fmla="*/ 174 w 10000"/>
                <a:gd name="connsiteY18" fmla="*/ 4589 h 9795"/>
                <a:gd name="connsiteX19" fmla="*/ 174 w 10000"/>
                <a:gd name="connsiteY19" fmla="*/ 4736 h 9795"/>
                <a:gd name="connsiteX20" fmla="*/ 104 w 10000"/>
                <a:gd name="connsiteY20" fmla="*/ 4796 h 9795"/>
                <a:gd name="connsiteX21" fmla="*/ 0 w 10000"/>
                <a:gd name="connsiteY21" fmla="*/ 4854 h 9795"/>
                <a:gd name="connsiteX22" fmla="*/ 0 w 10000"/>
                <a:gd name="connsiteY22" fmla="*/ 4942 h 9795"/>
                <a:gd name="connsiteX23" fmla="*/ 0 w 10000"/>
                <a:gd name="connsiteY23" fmla="*/ 5089 h 9795"/>
                <a:gd name="connsiteX24" fmla="*/ 104 w 10000"/>
                <a:gd name="connsiteY24" fmla="*/ 5089 h 9795"/>
                <a:gd name="connsiteX25" fmla="*/ 104 w 10000"/>
                <a:gd name="connsiteY25" fmla="*/ 5089 h 9795"/>
                <a:gd name="connsiteX26" fmla="*/ 347 w 10000"/>
                <a:gd name="connsiteY26" fmla="*/ 5002 h 9795"/>
                <a:gd name="connsiteX27" fmla="*/ 243 w 10000"/>
                <a:gd name="connsiteY27" fmla="*/ 5206 h 9795"/>
                <a:gd name="connsiteX28" fmla="*/ 347 w 10000"/>
                <a:gd name="connsiteY28" fmla="*/ 5355 h 9795"/>
                <a:gd name="connsiteX29" fmla="*/ 486 w 10000"/>
                <a:gd name="connsiteY29" fmla="*/ 5619 h 9795"/>
                <a:gd name="connsiteX30" fmla="*/ 486 w 10000"/>
                <a:gd name="connsiteY30" fmla="*/ 5707 h 9795"/>
                <a:gd name="connsiteX31" fmla="*/ 590 w 10000"/>
                <a:gd name="connsiteY31" fmla="*/ 5707 h 9795"/>
                <a:gd name="connsiteX32" fmla="*/ 590 w 10000"/>
                <a:gd name="connsiteY32" fmla="*/ 5764 h 9795"/>
                <a:gd name="connsiteX33" fmla="*/ 660 w 10000"/>
                <a:gd name="connsiteY33" fmla="*/ 5825 h 9795"/>
                <a:gd name="connsiteX34" fmla="*/ 660 w 10000"/>
                <a:gd name="connsiteY34" fmla="*/ 5913 h 9795"/>
                <a:gd name="connsiteX35" fmla="*/ 486 w 10000"/>
                <a:gd name="connsiteY35" fmla="*/ 5972 h 9795"/>
                <a:gd name="connsiteX36" fmla="*/ 660 w 10000"/>
                <a:gd name="connsiteY36" fmla="*/ 6060 h 9795"/>
                <a:gd name="connsiteX37" fmla="*/ 833 w 10000"/>
                <a:gd name="connsiteY37" fmla="*/ 6265 h 9795"/>
                <a:gd name="connsiteX38" fmla="*/ 1007 w 10000"/>
                <a:gd name="connsiteY38" fmla="*/ 6471 h 9795"/>
                <a:gd name="connsiteX39" fmla="*/ 1076 w 10000"/>
                <a:gd name="connsiteY39" fmla="*/ 6590 h 9795"/>
                <a:gd name="connsiteX40" fmla="*/ 1007 w 10000"/>
                <a:gd name="connsiteY40" fmla="*/ 6736 h 9795"/>
                <a:gd name="connsiteX41" fmla="*/ 1007 w 10000"/>
                <a:gd name="connsiteY41" fmla="*/ 6943 h 9795"/>
                <a:gd name="connsiteX42" fmla="*/ 1007 w 10000"/>
                <a:gd name="connsiteY42" fmla="*/ 7031 h 9795"/>
                <a:gd name="connsiteX43" fmla="*/ 1146 w 10000"/>
                <a:gd name="connsiteY43" fmla="*/ 7148 h 9795"/>
                <a:gd name="connsiteX44" fmla="*/ 1250 w 10000"/>
                <a:gd name="connsiteY44" fmla="*/ 7148 h 9795"/>
                <a:gd name="connsiteX45" fmla="*/ 1389 w 10000"/>
                <a:gd name="connsiteY45" fmla="*/ 7148 h 9795"/>
                <a:gd name="connsiteX46" fmla="*/ 1493 w 10000"/>
                <a:gd name="connsiteY46" fmla="*/ 7294 h 9795"/>
                <a:gd name="connsiteX47" fmla="*/ 1563 w 10000"/>
                <a:gd name="connsiteY47" fmla="*/ 7353 h 9795"/>
                <a:gd name="connsiteX48" fmla="*/ 1806 w 10000"/>
                <a:gd name="connsiteY48" fmla="*/ 7353 h 9795"/>
                <a:gd name="connsiteX49" fmla="*/ 1910 w 10000"/>
                <a:gd name="connsiteY49" fmla="*/ 7443 h 9795"/>
                <a:gd name="connsiteX50" fmla="*/ 1979 w 10000"/>
                <a:gd name="connsiteY50" fmla="*/ 7501 h 9795"/>
                <a:gd name="connsiteX51" fmla="*/ 2049 w 10000"/>
                <a:gd name="connsiteY51" fmla="*/ 7501 h 9795"/>
                <a:gd name="connsiteX52" fmla="*/ 1979 w 10000"/>
                <a:gd name="connsiteY52" fmla="*/ 7648 h 9795"/>
                <a:gd name="connsiteX53" fmla="*/ 2049 w 10000"/>
                <a:gd name="connsiteY53" fmla="*/ 7707 h 9795"/>
                <a:gd name="connsiteX54" fmla="*/ 2292 w 10000"/>
                <a:gd name="connsiteY54" fmla="*/ 7853 h 9795"/>
                <a:gd name="connsiteX55" fmla="*/ 2465 w 10000"/>
                <a:gd name="connsiteY55" fmla="*/ 8001 h 9795"/>
                <a:gd name="connsiteX56" fmla="*/ 2535 w 10000"/>
                <a:gd name="connsiteY56" fmla="*/ 8059 h 9795"/>
                <a:gd name="connsiteX57" fmla="*/ 2708 w 10000"/>
                <a:gd name="connsiteY57" fmla="*/ 8119 h 9795"/>
                <a:gd name="connsiteX58" fmla="*/ 2708 w 10000"/>
                <a:gd name="connsiteY58" fmla="*/ 8207 h 9795"/>
                <a:gd name="connsiteX59" fmla="*/ 2813 w 10000"/>
                <a:gd name="connsiteY59" fmla="*/ 8354 h 9795"/>
                <a:gd name="connsiteX60" fmla="*/ 2882 w 10000"/>
                <a:gd name="connsiteY60" fmla="*/ 8412 h 9795"/>
                <a:gd name="connsiteX61" fmla="*/ 2882 w 10000"/>
                <a:gd name="connsiteY61" fmla="*/ 8472 h 9795"/>
                <a:gd name="connsiteX62" fmla="*/ 2951 w 10000"/>
                <a:gd name="connsiteY62" fmla="*/ 8560 h 9795"/>
                <a:gd name="connsiteX63" fmla="*/ 3299 w 10000"/>
                <a:gd name="connsiteY63" fmla="*/ 8677 h 9795"/>
                <a:gd name="connsiteX64" fmla="*/ 3368 w 10000"/>
                <a:gd name="connsiteY64" fmla="*/ 8824 h 9795"/>
                <a:gd name="connsiteX65" fmla="*/ 3368 w 10000"/>
                <a:gd name="connsiteY65" fmla="*/ 8883 h 9795"/>
                <a:gd name="connsiteX66" fmla="*/ 3438 w 10000"/>
                <a:gd name="connsiteY66" fmla="*/ 8972 h 9795"/>
                <a:gd name="connsiteX67" fmla="*/ 3542 w 10000"/>
                <a:gd name="connsiteY67" fmla="*/ 9030 h 9795"/>
                <a:gd name="connsiteX68" fmla="*/ 3715 w 10000"/>
                <a:gd name="connsiteY68" fmla="*/ 9178 h 9795"/>
                <a:gd name="connsiteX69" fmla="*/ 3715 w 10000"/>
                <a:gd name="connsiteY69" fmla="*/ 9237 h 9795"/>
                <a:gd name="connsiteX70" fmla="*/ 3785 w 10000"/>
                <a:gd name="connsiteY70" fmla="*/ 9325 h 9795"/>
                <a:gd name="connsiteX71" fmla="*/ 4028 w 10000"/>
                <a:gd name="connsiteY71" fmla="*/ 9382 h 9795"/>
                <a:gd name="connsiteX72" fmla="*/ 4097 w 10000"/>
                <a:gd name="connsiteY72" fmla="*/ 9382 h 9795"/>
                <a:gd name="connsiteX73" fmla="*/ 4201 w 10000"/>
                <a:gd name="connsiteY73" fmla="*/ 9325 h 9795"/>
                <a:gd name="connsiteX74" fmla="*/ 4444 w 10000"/>
                <a:gd name="connsiteY74" fmla="*/ 9382 h 9795"/>
                <a:gd name="connsiteX75" fmla="*/ 4618 w 10000"/>
                <a:gd name="connsiteY75" fmla="*/ 9325 h 9795"/>
                <a:gd name="connsiteX76" fmla="*/ 4757 w 10000"/>
                <a:gd name="connsiteY76" fmla="*/ 9237 h 9795"/>
                <a:gd name="connsiteX77" fmla="*/ 4861 w 10000"/>
                <a:gd name="connsiteY77" fmla="*/ 9325 h 9795"/>
                <a:gd name="connsiteX78" fmla="*/ 5174 w 10000"/>
                <a:gd name="connsiteY78" fmla="*/ 9530 h 9795"/>
                <a:gd name="connsiteX79" fmla="*/ 5243 w 10000"/>
                <a:gd name="connsiteY79" fmla="*/ 9648 h 9795"/>
                <a:gd name="connsiteX80" fmla="*/ 5347 w 10000"/>
                <a:gd name="connsiteY80" fmla="*/ 9736 h 9795"/>
                <a:gd name="connsiteX81" fmla="*/ 5417 w 10000"/>
                <a:gd name="connsiteY81" fmla="*/ 9736 h 9795"/>
                <a:gd name="connsiteX82" fmla="*/ 5486 w 10000"/>
                <a:gd name="connsiteY82" fmla="*/ 9736 h 9795"/>
                <a:gd name="connsiteX83" fmla="*/ 5590 w 10000"/>
                <a:gd name="connsiteY83" fmla="*/ 9736 h 9795"/>
                <a:gd name="connsiteX84" fmla="*/ 5764 w 10000"/>
                <a:gd name="connsiteY84" fmla="*/ 9736 h 9795"/>
                <a:gd name="connsiteX85" fmla="*/ 5833 w 10000"/>
                <a:gd name="connsiteY85" fmla="*/ 9736 h 9795"/>
                <a:gd name="connsiteX86" fmla="*/ 6007 w 10000"/>
                <a:gd name="connsiteY86" fmla="*/ 9736 h 9795"/>
                <a:gd name="connsiteX87" fmla="*/ 6076 w 10000"/>
                <a:gd name="connsiteY87" fmla="*/ 9736 h 9795"/>
                <a:gd name="connsiteX88" fmla="*/ 6146 w 10000"/>
                <a:gd name="connsiteY88" fmla="*/ 9795 h 9795"/>
                <a:gd name="connsiteX89" fmla="*/ 6319 w 10000"/>
                <a:gd name="connsiteY89" fmla="*/ 9736 h 9795"/>
                <a:gd name="connsiteX90" fmla="*/ 6493 w 10000"/>
                <a:gd name="connsiteY90" fmla="*/ 9736 h 9795"/>
                <a:gd name="connsiteX91" fmla="*/ 6667 w 10000"/>
                <a:gd name="connsiteY91" fmla="*/ 9648 h 9795"/>
                <a:gd name="connsiteX92" fmla="*/ 6806 w 10000"/>
                <a:gd name="connsiteY92" fmla="*/ 9648 h 9795"/>
                <a:gd name="connsiteX93" fmla="*/ 7049 w 10000"/>
                <a:gd name="connsiteY93" fmla="*/ 9648 h 9795"/>
                <a:gd name="connsiteX94" fmla="*/ 7292 w 10000"/>
                <a:gd name="connsiteY94" fmla="*/ 9530 h 9795"/>
                <a:gd name="connsiteX95" fmla="*/ 7292 w 10000"/>
                <a:gd name="connsiteY95" fmla="*/ 9530 h 9795"/>
                <a:gd name="connsiteX96" fmla="*/ 7292 w 10000"/>
                <a:gd name="connsiteY96" fmla="*/ 9530 h 9795"/>
                <a:gd name="connsiteX97" fmla="*/ 7569 w 10000"/>
                <a:gd name="connsiteY97" fmla="*/ 9325 h 9795"/>
                <a:gd name="connsiteX98" fmla="*/ 7639 w 10000"/>
                <a:gd name="connsiteY98" fmla="*/ 9237 h 9795"/>
                <a:gd name="connsiteX99" fmla="*/ 7813 w 10000"/>
                <a:gd name="connsiteY99" fmla="*/ 9237 h 9795"/>
                <a:gd name="connsiteX100" fmla="*/ 8125 w 10000"/>
                <a:gd name="connsiteY100" fmla="*/ 9325 h 9795"/>
                <a:gd name="connsiteX101" fmla="*/ 8299 w 10000"/>
                <a:gd name="connsiteY101" fmla="*/ 9325 h 9795"/>
                <a:gd name="connsiteX102" fmla="*/ 8472 w 10000"/>
                <a:gd name="connsiteY102" fmla="*/ 9237 h 9795"/>
                <a:gd name="connsiteX103" fmla="*/ 8472 w 10000"/>
                <a:gd name="connsiteY103" fmla="*/ 9030 h 9795"/>
                <a:gd name="connsiteX104" fmla="*/ 8542 w 10000"/>
                <a:gd name="connsiteY104" fmla="*/ 8972 h 9795"/>
                <a:gd name="connsiteX105" fmla="*/ 8472 w 10000"/>
                <a:gd name="connsiteY105" fmla="*/ 8883 h 9795"/>
                <a:gd name="connsiteX106" fmla="*/ 8472 w 10000"/>
                <a:gd name="connsiteY106" fmla="*/ 8824 h 9795"/>
                <a:gd name="connsiteX107" fmla="*/ 8125 w 10000"/>
                <a:gd name="connsiteY107" fmla="*/ 8824 h 9795"/>
                <a:gd name="connsiteX108" fmla="*/ 8056 w 10000"/>
                <a:gd name="connsiteY108" fmla="*/ 8765 h 9795"/>
                <a:gd name="connsiteX109" fmla="*/ 8056 w 10000"/>
                <a:gd name="connsiteY109" fmla="*/ 8677 h 9795"/>
                <a:gd name="connsiteX110" fmla="*/ 7882 w 10000"/>
                <a:gd name="connsiteY110" fmla="*/ 8412 h 9795"/>
                <a:gd name="connsiteX111" fmla="*/ 7882 w 10000"/>
                <a:gd name="connsiteY111" fmla="*/ 8266 h 9795"/>
                <a:gd name="connsiteX112" fmla="*/ 7813 w 10000"/>
                <a:gd name="connsiteY112" fmla="*/ 8207 h 9795"/>
                <a:gd name="connsiteX113" fmla="*/ 7569 w 10000"/>
                <a:gd name="connsiteY113" fmla="*/ 8059 h 9795"/>
                <a:gd name="connsiteX114" fmla="*/ 7465 w 10000"/>
                <a:gd name="connsiteY114" fmla="*/ 8001 h 9795"/>
                <a:gd name="connsiteX115" fmla="*/ 7396 w 10000"/>
                <a:gd name="connsiteY115" fmla="*/ 7913 h 9795"/>
                <a:gd name="connsiteX116" fmla="*/ 7396 w 10000"/>
                <a:gd name="connsiteY116" fmla="*/ 7853 h 9795"/>
                <a:gd name="connsiteX117" fmla="*/ 7292 w 10000"/>
                <a:gd name="connsiteY117" fmla="*/ 7707 h 9795"/>
                <a:gd name="connsiteX118" fmla="*/ 7222 w 10000"/>
                <a:gd name="connsiteY118" fmla="*/ 7707 h 9795"/>
                <a:gd name="connsiteX119" fmla="*/ 7049 w 10000"/>
                <a:gd name="connsiteY119" fmla="*/ 7648 h 9795"/>
                <a:gd name="connsiteX120" fmla="*/ 6979 w 10000"/>
                <a:gd name="connsiteY120" fmla="*/ 7648 h 9795"/>
                <a:gd name="connsiteX121" fmla="*/ 6910 w 10000"/>
                <a:gd name="connsiteY121" fmla="*/ 7648 h 9795"/>
                <a:gd name="connsiteX122" fmla="*/ 6806 w 10000"/>
                <a:gd name="connsiteY122" fmla="*/ 7648 h 9795"/>
                <a:gd name="connsiteX123" fmla="*/ 6736 w 10000"/>
                <a:gd name="connsiteY123" fmla="*/ 7589 h 9795"/>
                <a:gd name="connsiteX124" fmla="*/ 6806 w 10000"/>
                <a:gd name="connsiteY124" fmla="*/ 7501 h 9795"/>
                <a:gd name="connsiteX125" fmla="*/ 6910 w 10000"/>
                <a:gd name="connsiteY125" fmla="*/ 7443 h 9795"/>
                <a:gd name="connsiteX126" fmla="*/ 6910 w 10000"/>
                <a:gd name="connsiteY126" fmla="*/ 7294 h 9795"/>
                <a:gd name="connsiteX127" fmla="*/ 6979 w 10000"/>
                <a:gd name="connsiteY127" fmla="*/ 7294 h 9795"/>
                <a:gd name="connsiteX128" fmla="*/ 7222 w 10000"/>
                <a:gd name="connsiteY128" fmla="*/ 7294 h 9795"/>
                <a:gd name="connsiteX129" fmla="*/ 7396 w 10000"/>
                <a:gd name="connsiteY129" fmla="*/ 7294 h 9795"/>
                <a:gd name="connsiteX130" fmla="*/ 7465 w 10000"/>
                <a:gd name="connsiteY130" fmla="*/ 7236 h 9795"/>
                <a:gd name="connsiteX131" fmla="*/ 7465 w 10000"/>
                <a:gd name="connsiteY131" fmla="*/ 7089 h 9795"/>
                <a:gd name="connsiteX132" fmla="*/ 7465 w 10000"/>
                <a:gd name="connsiteY132" fmla="*/ 6678 h 9795"/>
                <a:gd name="connsiteX133" fmla="*/ 7465 w 10000"/>
                <a:gd name="connsiteY133" fmla="*/ 6530 h 9795"/>
                <a:gd name="connsiteX134" fmla="*/ 7569 w 10000"/>
                <a:gd name="connsiteY134" fmla="*/ 6383 h 9795"/>
                <a:gd name="connsiteX135" fmla="*/ 7465 w 10000"/>
                <a:gd name="connsiteY135" fmla="*/ 6324 h 9795"/>
                <a:gd name="connsiteX136" fmla="*/ 7465 w 10000"/>
                <a:gd name="connsiteY136" fmla="*/ 6265 h 9795"/>
                <a:gd name="connsiteX137" fmla="*/ 7569 w 10000"/>
                <a:gd name="connsiteY137" fmla="*/ 6265 h 9795"/>
                <a:gd name="connsiteX138" fmla="*/ 7569 w 10000"/>
                <a:gd name="connsiteY138" fmla="*/ 6178 h 9795"/>
                <a:gd name="connsiteX139" fmla="*/ 7639 w 10000"/>
                <a:gd name="connsiteY139" fmla="*/ 6060 h 9795"/>
                <a:gd name="connsiteX140" fmla="*/ 7708 w 10000"/>
                <a:gd name="connsiteY140" fmla="*/ 6060 h 9795"/>
                <a:gd name="connsiteX141" fmla="*/ 7882 w 10000"/>
                <a:gd name="connsiteY141" fmla="*/ 6060 h 9795"/>
                <a:gd name="connsiteX142" fmla="*/ 7882 w 10000"/>
                <a:gd name="connsiteY142" fmla="*/ 5972 h 9795"/>
                <a:gd name="connsiteX143" fmla="*/ 7951 w 10000"/>
                <a:gd name="connsiteY143" fmla="*/ 5707 h 9795"/>
                <a:gd name="connsiteX144" fmla="*/ 8056 w 10000"/>
                <a:gd name="connsiteY144" fmla="*/ 5619 h 9795"/>
                <a:gd name="connsiteX145" fmla="*/ 8368 w 10000"/>
                <a:gd name="connsiteY145" fmla="*/ 5148 h 9795"/>
                <a:gd name="connsiteX146" fmla="*/ 8542 w 10000"/>
                <a:gd name="connsiteY146" fmla="*/ 5089 h 9795"/>
                <a:gd name="connsiteX147" fmla="*/ 8611 w 10000"/>
                <a:gd name="connsiteY147" fmla="*/ 5002 h 9795"/>
                <a:gd name="connsiteX148" fmla="*/ 8715 w 10000"/>
                <a:gd name="connsiteY148" fmla="*/ 4942 h 9795"/>
                <a:gd name="connsiteX149" fmla="*/ 8854 w 10000"/>
                <a:gd name="connsiteY149" fmla="*/ 4384 h 9795"/>
                <a:gd name="connsiteX150" fmla="*/ 8854 w 10000"/>
                <a:gd name="connsiteY150" fmla="*/ 4236 h 9795"/>
                <a:gd name="connsiteX151" fmla="*/ 8854 w 10000"/>
                <a:gd name="connsiteY151" fmla="*/ 4089 h 9795"/>
                <a:gd name="connsiteX152" fmla="*/ 8854 w 10000"/>
                <a:gd name="connsiteY152" fmla="*/ 3972 h 9795"/>
                <a:gd name="connsiteX153" fmla="*/ 8854 w 10000"/>
                <a:gd name="connsiteY153" fmla="*/ 3767 h 9795"/>
                <a:gd name="connsiteX154" fmla="*/ 8958 w 10000"/>
                <a:gd name="connsiteY154" fmla="*/ 3619 h 9795"/>
                <a:gd name="connsiteX155" fmla="*/ 9097 w 10000"/>
                <a:gd name="connsiteY155" fmla="*/ 3118 h 9795"/>
                <a:gd name="connsiteX156" fmla="*/ 9097 w 10000"/>
                <a:gd name="connsiteY156" fmla="*/ 3060 h 9795"/>
                <a:gd name="connsiteX157" fmla="*/ 9097 w 10000"/>
                <a:gd name="connsiteY157" fmla="*/ 2854 h 9795"/>
                <a:gd name="connsiteX158" fmla="*/ 9201 w 10000"/>
                <a:gd name="connsiteY158" fmla="*/ 2796 h 9795"/>
                <a:gd name="connsiteX159" fmla="*/ 9375 w 10000"/>
                <a:gd name="connsiteY159" fmla="*/ 2796 h 9795"/>
                <a:gd name="connsiteX160" fmla="*/ 9514 w 10000"/>
                <a:gd name="connsiteY160" fmla="*/ 2647 h 9795"/>
                <a:gd name="connsiteX161" fmla="*/ 9688 w 10000"/>
                <a:gd name="connsiteY161" fmla="*/ 2559 h 9795"/>
                <a:gd name="connsiteX162" fmla="*/ 9757 w 10000"/>
                <a:gd name="connsiteY162" fmla="*/ 2501 h 9795"/>
                <a:gd name="connsiteX163" fmla="*/ 9931 w 10000"/>
                <a:gd name="connsiteY163" fmla="*/ 2501 h 9795"/>
                <a:gd name="connsiteX164" fmla="*/ 10000 w 10000"/>
                <a:gd name="connsiteY164" fmla="*/ 2355 h 9795"/>
                <a:gd name="connsiteX165" fmla="*/ 10000 w 10000"/>
                <a:gd name="connsiteY165" fmla="*/ 2237 h 9795"/>
                <a:gd name="connsiteX166" fmla="*/ 10000 w 10000"/>
                <a:gd name="connsiteY166" fmla="*/ 2147 h 9795"/>
                <a:gd name="connsiteX167" fmla="*/ 9931 w 10000"/>
                <a:gd name="connsiteY167" fmla="*/ 2147 h 9795"/>
                <a:gd name="connsiteX168" fmla="*/ 9931 w 10000"/>
                <a:gd name="connsiteY168" fmla="*/ 2147 h 9795"/>
                <a:gd name="connsiteX169" fmla="*/ 9861 w 10000"/>
                <a:gd name="connsiteY169" fmla="*/ 2147 h 9795"/>
                <a:gd name="connsiteX170" fmla="*/ 9861 w 10000"/>
                <a:gd name="connsiteY170" fmla="*/ 2031 h 9795"/>
                <a:gd name="connsiteX171" fmla="*/ 9757 w 10000"/>
                <a:gd name="connsiteY171" fmla="*/ 1942 h 9795"/>
                <a:gd name="connsiteX172" fmla="*/ 9688 w 10000"/>
                <a:gd name="connsiteY172" fmla="*/ 1942 h 9795"/>
                <a:gd name="connsiteX173" fmla="*/ 9514 w 10000"/>
                <a:gd name="connsiteY173" fmla="*/ 1883 h 9795"/>
                <a:gd name="connsiteX174" fmla="*/ 9271 w 10000"/>
                <a:gd name="connsiteY174" fmla="*/ 619 h 9795"/>
                <a:gd name="connsiteX175" fmla="*/ 9271 w 10000"/>
                <a:gd name="connsiteY175" fmla="*/ 619 h 9795"/>
                <a:gd name="connsiteX176" fmla="*/ 9097 w 10000"/>
                <a:gd name="connsiteY176" fmla="*/ 353 h 9795"/>
                <a:gd name="connsiteX177" fmla="*/ 7049 w 10000"/>
                <a:gd name="connsiteY177" fmla="*/ 295 h 9795"/>
                <a:gd name="connsiteX178" fmla="*/ 6667 w 10000"/>
                <a:gd name="connsiteY178" fmla="*/ 237 h 9795"/>
                <a:gd name="connsiteX179" fmla="*/ 5833 w 10000"/>
                <a:gd name="connsiteY179" fmla="*/ 0 h 9795"/>
                <a:gd name="connsiteX180" fmla="*/ 5833 w 10000"/>
                <a:gd name="connsiteY180" fmla="*/ 0 h 9795"/>
                <a:gd name="connsiteX181" fmla="*/ 5833 w 10000"/>
                <a:gd name="connsiteY181" fmla="*/ 0 h 9795"/>
                <a:gd name="connsiteX182" fmla="*/ 5764 w 10000"/>
                <a:gd name="connsiteY182" fmla="*/ 0 h 9795"/>
                <a:gd name="connsiteX183" fmla="*/ 3056 w 10000"/>
                <a:gd name="connsiteY183" fmla="*/ 149 h 9795"/>
                <a:gd name="connsiteX184" fmla="*/ 2333 w 10000"/>
                <a:gd name="connsiteY184" fmla="*/ 24 h 9795"/>
                <a:gd name="connsiteX0" fmla="*/ 2333 w 10000"/>
                <a:gd name="connsiteY0" fmla="*/ 25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9097 w 10000"/>
                <a:gd name="connsiteY176" fmla="*/ 360 h 10000"/>
                <a:gd name="connsiteX177" fmla="*/ 6667 w 10000"/>
                <a:gd name="connsiteY177" fmla="*/ 242 h 10000"/>
                <a:gd name="connsiteX178" fmla="*/ 5833 w 10000"/>
                <a:gd name="connsiteY178" fmla="*/ 0 h 10000"/>
                <a:gd name="connsiteX179" fmla="*/ 5833 w 10000"/>
                <a:gd name="connsiteY179" fmla="*/ 0 h 10000"/>
                <a:gd name="connsiteX180" fmla="*/ 5833 w 10000"/>
                <a:gd name="connsiteY180" fmla="*/ 0 h 10000"/>
                <a:gd name="connsiteX181" fmla="*/ 5764 w 10000"/>
                <a:gd name="connsiteY181" fmla="*/ 0 h 10000"/>
                <a:gd name="connsiteX182" fmla="*/ 3056 w 10000"/>
                <a:gd name="connsiteY182" fmla="*/ 152 h 10000"/>
                <a:gd name="connsiteX183" fmla="*/ 2333 w 10000"/>
                <a:gd name="connsiteY183" fmla="*/ 25 h 10000"/>
                <a:gd name="connsiteX0" fmla="*/ 2333 w 10000"/>
                <a:gd name="connsiteY0" fmla="*/ 25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9097 w 10000"/>
                <a:gd name="connsiteY176" fmla="*/ 360 h 10000"/>
                <a:gd name="connsiteX177" fmla="*/ 5833 w 10000"/>
                <a:gd name="connsiteY177" fmla="*/ 0 h 10000"/>
                <a:gd name="connsiteX178" fmla="*/ 5833 w 10000"/>
                <a:gd name="connsiteY178" fmla="*/ 0 h 10000"/>
                <a:gd name="connsiteX179" fmla="*/ 5833 w 10000"/>
                <a:gd name="connsiteY179" fmla="*/ 0 h 10000"/>
                <a:gd name="connsiteX180" fmla="*/ 5764 w 10000"/>
                <a:gd name="connsiteY180" fmla="*/ 0 h 10000"/>
                <a:gd name="connsiteX181" fmla="*/ 3056 w 10000"/>
                <a:gd name="connsiteY181" fmla="*/ 152 h 10000"/>
                <a:gd name="connsiteX182" fmla="*/ 2333 w 10000"/>
                <a:gd name="connsiteY182" fmla="*/ 25 h 10000"/>
                <a:gd name="connsiteX0" fmla="*/ 2333 w 10000"/>
                <a:gd name="connsiteY0" fmla="*/ 25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9097 w 10000"/>
                <a:gd name="connsiteY176" fmla="*/ 360 h 10000"/>
                <a:gd name="connsiteX177" fmla="*/ 5833 w 10000"/>
                <a:gd name="connsiteY177" fmla="*/ 0 h 10000"/>
                <a:gd name="connsiteX178" fmla="*/ 5833 w 10000"/>
                <a:gd name="connsiteY178" fmla="*/ 0 h 10000"/>
                <a:gd name="connsiteX179" fmla="*/ 5833 w 10000"/>
                <a:gd name="connsiteY179" fmla="*/ 0 h 10000"/>
                <a:gd name="connsiteX180" fmla="*/ 3056 w 10000"/>
                <a:gd name="connsiteY180" fmla="*/ 152 h 10000"/>
                <a:gd name="connsiteX181" fmla="*/ 2333 w 10000"/>
                <a:gd name="connsiteY181" fmla="*/ 25 h 10000"/>
                <a:gd name="connsiteX0" fmla="*/ 2333 w 10000"/>
                <a:gd name="connsiteY0" fmla="*/ 25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9097 w 10000"/>
                <a:gd name="connsiteY176" fmla="*/ 360 h 10000"/>
                <a:gd name="connsiteX177" fmla="*/ 5833 w 10000"/>
                <a:gd name="connsiteY177" fmla="*/ 0 h 10000"/>
                <a:gd name="connsiteX178" fmla="*/ 5833 w 10000"/>
                <a:gd name="connsiteY178" fmla="*/ 0 h 10000"/>
                <a:gd name="connsiteX179" fmla="*/ 5833 w 10000"/>
                <a:gd name="connsiteY179" fmla="*/ 0 h 10000"/>
                <a:gd name="connsiteX180" fmla="*/ 2333 w 10000"/>
                <a:gd name="connsiteY180" fmla="*/ 25 h 10000"/>
                <a:gd name="connsiteX0" fmla="*/ 5833 w 10000"/>
                <a:gd name="connsiteY0" fmla="*/ 0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9097 w 10000"/>
                <a:gd name="connsiteY176" fmla="*/ 360 h 10000"/>
                <a:gd name="connsiteX177" fmla="*/ 5833 w 10000"/>
                <a:gd name="connsiteY177" fmla="*/ 0 h 10000"/>
                <a:gd name="connsiteX178" fmla="*/ 5833 w 10000"/>
                <a:gd name="connsiteY178" fmla="*/ 0 h 10000"/>
                <a:gd name="connsiteX179" fmla="*/ 5833 w 10000"/>
                <a:gd name="connsiteY179" fmla="*/ 0 h 10000"/>
                <a:gd name="connsiteX0" fmla="*/ 5833 w 10000"/>
                <a:gd name="connsiteY0" fmla="*/ 0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9097 w 10000"/>
                <a:gd name="connsiteY176" fmla="*/ 360 h 10000"/>
                <a:gd name="connsiteX177" fmla="*/ 5833 w 10000"/>
                <a:gd name="connsiteY177" fmla="*/ 0 h 10000"/>
                <a:gd name="connsiteX178" fmla="*/ 5833 w 10000"/>
                <a:gd name="connsiteY178" fmla="*/ 0 h 10000"/>
                <a:gd name="connsiteX0" fmla="*/ 5833 w 10000"/>
                <a:gd name="connsiteY0" fmla="*/ 0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5833 w 10000"/>
                <a:gd name="connsiteY176" fmla="*/ 0 h 10000"/>
                <a:gd name="connsiteX177" fmla="*/ 5833 w 10000"/>
                <a:gd name="connsiteY177" fmla="*/ 0 h 10000"/>
                <a:gd name="connsiteX0" fmla="*/ 5833 w 10000"/>
                <a:gd name="connsiteY0" fmla="*/ 0 h 10000"/>
                <a:gd name="connsiteX1" fmla="*/ 1889 w 10000"/>
                <a:gd name="connsiteY1" fmla="*/ 1082 h 10000"/>
                <a:gd name="connsiteX2" fmla="*/ 1319 w 10000"/>
                <a:gd name="connsiteY2" fmla="*/ 3544 h 10000"/>
                <a:gd name="connsiteX3" fmla="*/ 1250 w 10000"/>
                <a:gd name="connsiteY3" fmla="*/ 3544 h 10000"/>
                <a:gd name="connsiteX4" fmla="*/ 903 w 10000"/>
                <a:gd name="connsiteY4" fmla="*/ 3544 h 10000"/>
                <a:gd name="connsiteX5" fmla="*/ 660 w 10000"/>
                <a:gd name="connsiteY5" fmla="*/ 3544 h 10000"/>
                <a:gd name="connsiteX6" fmla="*/ 660 w 10000"/>
                <a:gd name="connsiteY6" fmla="*/ 3635 h 10000"/>
                <a:gd name="connsiteX7" fmla="*/ 660 w 10000"/>
                <a:gd name="connsiteY7" fmla="*/ 3695 h 10000"/>
                <a:gd name="connsiteX8" fmla="*/ 660 w 10000"/>
                <a:gd name="connsiteY8" fmla="*/ 3754 h 10000"/>
                <a:gd name="connsiteX9" fmla="*/ 590 w 10000"/>
                <a:gd name="connsiteY9" fmla="*/ 3904 h 10000"/>
                <a:gd name="connsiteX10" fmla="*/ 486 w 10000"/>
                <a:gd name="connsiteY10" fmla="*/ 4055 h 10000"/>
                <a:gd name="connsiteX11" fmla="*/ 243 w 10000"/>
                <a:gd name="connsiteY11" fmla="*/ 4263 h 10000"/>
                <a:gd name="connsiteX12" fmla="*/ 243 w 10000"/>
                <a:gd name="connsiteY12" fmla="*/ 4325 h 10000"/>
                <a:gd name="connsiteX13" fmla="*/ 347 w 10000"/>
                <a:gd name="connsiteY13" fmla="*/ 4416 h 10000"/>
                <a:gd name="connsiteX14" fmla="*/ 243 w 10000"/>
                <a:gd name="connsiteY14" fmla="*/ 4476 h 10000"/>
                <a:gd name="connsiteX15" fmla="*/ 243 w 10000"/>
                <a:gd name="connsiteY15" fmla="*/ 4476 h 10000"/>
                <a:gd name="connsiteX16" fmla="*/ 174 w 10000"/>
                <a:gd name="connsiteY16" fmla="*/ 4535 h 10000"/>
                <a:gd name="connsiteX17" fmla="*/ 174 w 10000"/>
                <a:gd name="connsiteY17" fmla="*/ 4535 h 10000"/>
                <a:gd name="connsiteX18" fmla="*/ 174 w 10000"/>
                <a:gd name="connsiteY18" fmla="*/ 4685 h 10000"/>
                <a:gd name="connsiteX19" fmla="*/ 174 w 10000"/>
                <a:gd name="connsiteY19" fmla="*/ 4835 h 10000"/>
                <a:gd name="connsiteX20" fmla="*/ 104 w 10000"/>
                <a:gd name="connsiteY20" fmla="*/ 4896 h 10000"/>
                <a:gd name="connsiteX21" fmla="*/ 0 w 10000"/>
                <a:gd name="connsiteY21" fmla="*/ 4956 h 10000"/>
                <a:gd name="connsiteX22" fmla="*/ 0 w 10000"/>
                <a:gd name="connsiteY22" fmla="*/ 5045 h 10000"/>
                <a:gd name="connsiteX23" fmla="*/ 0 w 10000"/>
                <a:gd name="connsiteY23" fmla="*/ 5196 h 10000"/>
                <a:gd name="connsiteX24" fmla="*/ 104 w 10000"/>
                <a:gd name="connsiteY24" fmla="*/ 5196 h 10000"/>
                <a:gd name="connsiteX25" fmla="*/ 104 w 10000"/>
                <a:gd name="connsiteY25" fmla="*/ 5196 h 10000"/>
                <a:gd name="connsiteX26" fmla="*/ 347 w 10000"/>
                <a:gd name="connsiteY26" fmla="*/ 5107 h 10000"/>
                <a:gd name="connsiteX27" fmla="*/ 243 w 10000"/>
                <a:gd name="connsiteY27" fmla="*/ 5315 h 10000"/>
                <a:gd name="connsiteX28" fmla="*/ 347 w 10000"/>
                <a:gd name="connsiteY28" fmla="*/ 5467 h 10000"/>
                <a:gd name="connsiteX29" fmla="*/ 486 w 10000"/>
                <a:gd name="connsiteY29" fmla="*/ 5737 h 10000"/>
                <a:gd name="connsiteX30" fmla="*/ 486 w 10000"/>
                <a:gd name="connsiteY30" fmla="*/ 5826 h 10000"/>
                <a:gd name="connsiteX31" fmla="*/ 590 w 10000"/>
                <a:gd name="connsiteY31" fmla="*/ 5826 h 10000"/>
                <a:gd name="connsiteX32" fmla="*/ 590 w 10000"/>
                <a:gd name="connsiteY32" fmla="*/ 5885 h 10000"/>
                <a:gd name="connsiteX33" fmla="*/ 660 w 10000"/>
                <a:gd name="connsiteY33" fmla="*/ 5947 h 10000"/>
                <a:gd name="connsiteX34" fmla="*/ 660 w 10000"/>
                <a:gd name="connsiteY34" fmla="*/ 6037 h 10000"/>
                <a:gd name="connsiteX35" fmla="*/ 486 w 10000"/>
                <a:gd name="connsiteY35" fmla="*/ 6097 h 10000"/>
                <a:gd name="connsiteX36" fmla="*/ 660 w 10000"/>
                <a:gd name="connsiteY36" fmla="*/ 6187 h 10000"/>
                <a:gd name="connsiteX37" fmla="*/ 833 w 10000"/>
                <a:gd name="connsiteY37" fmla="*/ 6396 h 10000"/>
                <a:gd name="connsiteX38" fmla="*/ 1007 w 10000"/>
                <a:gd name="connsiteY38" fmla="*/ 6606 h 10000"/>
                <a:gd name="connsiteX39" fmla="*/ 1076 w 10000"/>
                <a:gd name="connsiteY39" fmla="*/ 6728 h 10000"/>
                <a:gd name="connsiteX40" fmla="*/ 1007 w 10000"/>
                <a:gd name="connsiteY40" fmla="*/ 6877 h 10000"/>
                <a:gd name="connsiteX41" fmla="*/ 1007 w 10000"/>
                <a:gd name="connsiteY41" fmla="*/ 7088 h 10000"/>
                <a:gd name="connsiteX42" fmla="*/ 1007 w 10000"/>
                <a:gd name="connsiteY42" fmla="*/ 7178 h 10000"/>
                <a:gd name="connsiteX43" fmla="*/ 1146 w 10000"/>
                <a:gd name="connsiteY43" fmla="*/ 7298 h 10000"/>
                <a:gd name="connsiteX44" fmla="*/ 1250 w 10000"/>
                <a:gd name="connsiteY44" fmla="*/ 7298 h 10000"/>
                <a:gd name="connsiteX45" fmla="*/ 1389 w 10000"/>
                <a:gd name="connsiteY45" fmla="*/ 7298 h 10000"/>
                <a:gd name="connsiteX46" fmla="*/ 1493 w 10000"/>
                <a:gd name="connsiteY46" fmla="*/ 7447 h 10000"/>
                <a:gd name="connsiteX47" fmla="*/ 1563 w 10000"/>
                <a:gd name="connsiteY47" fmla="*/ 7507 h 10000"/>
                <a:gd name="connsiteX48" fmla="*/ 1806 w 10000"/>
                <a:gd name="connsiteY48" fmla="*/ 7507 h 10000"/>
                <a:gd name="connsiteX49" fmla="*/ 1910 w 10000"/>
                <a:gd name="connsiteY49" fmla="*/ 7599 h 10000"/>
                <a:gd name="connsiteX50" fmla="*/ 1979 w 10000"/>
                <a:gd name="connsiteY50" fmla="*/ 7658 h 10000"/>
                <a:gd name="connsiteX51" fmla="*/ 2049 w 10000"/>
                <a:gd name="connsiteY51" fmla="*/ 7658 h 10000"/>
                <a:gd name="connsiteX52" fmla="*/ 1979 w 10000"/>
                <a:gd name="connsiteY52" fmla="*/ 7808 h 10000"/>
                <a:gd name="connsiteX53" fmla="*/ 2049 w 10000"/>
                <a:gd name="connsiteY53" fmla="*/ 7868 h 10000"/>
                <a:gd name="connsiteX54" fmla="*/ 2292 w 10000"/>
                <a:gd name="connsiteY54" fmla="*/ 8017 h 10000"/>
                <a:gd name="connsiteX55" fmla="*/ 2465 w 10000"/>
                <a:gd name="connsiteY55" fmla="*/ 8168 h 10000"/>
                <a:gd name="connsiteX56" fmla="*/ 2535 w 10000"/>
                <a:gd name="connsiteY56" fmla="*/ 8228 h 10000"/>
                <a:gd name="connsiteX57" fmla="*/ 2708 w 10000"/>
                <a:gd name="connsiteY57" fmla="*/ 8289 h 10000"/>
                <a:gd name="connsiteX58" fmla="*/ 2708 w 10000"/>
                <a:gd name="connsiteY58" fmla="*/ 8379 h 10000"/>
                <a:gd name="connsiteX59" fmla="*/ 2813 w 10000"/>
                <a:gd name="connsiteY59" fmla="*/ 8529 h 10000"/>
                <a:gd name="connsiteX60" fmla="*/ 2882 w 10000"/>
                <a:gd name="connsiteY60" fmla="*/ 8588 h 10000"/>
                <a:gd name="connsiteX61" fmla="*/ 2882 w 10000"/>
                <a:gd name="connsiteY61" fmla="*/ 8649 h 10000"/>
                <a:gd name="connsiteX62" fmla="*/ 2951 w 10000"/>
                <a:gd name="connsiteY62" fmla="*/ 8739 h 10000"/>
                <a:gd name="connsiteX63" fmla="*/ 3299 w 10000"/>
                <a:gd name="connsiteY63" fmla="*/ 8859 h 10000"/>
                <a:gd name="connsiteX64" fmla="*/ 3368 w 10000"/>
                <a:gd name="connsiteY64" fmla="*/ 9009 h 10000"/>
                <a:gd name="connsiteX65" fmla="*/ 3368 w 10000"/>
                <a:gd name="connsiteY65" fmla="*/ 9069 h 10000"/>
                <a:gd name="connsiteX66" fmla="*/ 3438 w 10000"/>
                <a:gd name="connsiteY66" fmla="*/ 9160 h 10000"/>
                <a:gd name="connsiteX67" fmla="*/ 3542 w 10000"/>
                <a:gd name="connsiteY67" fmla="*/ 9219 h 10000"/>
                <a:gd name="connsiteX68" fmla="*/ 3715 w 10000"/>
                <a:gd name="connsiteY68" fmla="*/ 9370 h 10000"/>
                <a:gd name="connsiteX69" fmla="*/ 3715 w 10000"/>
                <a:gd name="connsiteY69" fmla="*/ 9430 h 10000"/>
                <a:gd name="connsiteX70" fmla="*/ 3785 w 10000"/>
                <a:gd name="connsiteY70" fmla="*/ 9520 h 10000"/>
                <a:gd name="connsiteX71" fmla="*/ 4028 w 10000"/>
                <a:gd name="connsiteY71" fmla="*/ 9578 h 10000"/>
                <a:gd name="connsiteX72" fmla="*/ 4097 w 10000"/>
                <a:gd name="connsiteY72" fmla="*/ 9578 h 10000"/>
                <a:gd name="connsiteX73" fmla="*/ 4201 w 10000"/>
                <a:gd name="connsiteY73" fmla="*/ 9520 h 10000"/>
                <a:gd name="connsiteX74" fmla="*/ 4444 w 10000"/>
                <a:gd name="connsiteY74" fmla="*/ 9578 h 10000"/>
                <a:gd name="connsiteX75" fmla="*/ 4618 w 10000"/>
                <a:gd name="connsiteY75" fmla="*/ 9520 h 10000"/>
                <a:gd name="connsiteX76" fmla="*/ 4757 w 10000"/>
                <a:gd name="connsiteY76" fmla="*/ 9430 h 10000"/>
                <a:gd name="connsiteX77" fmla="*/ 4861 w 10000"/>
                <a:gd name="connsiteY77" fmla="*/ 9520 h 10000"/>
                <a:gd name="connsiteX78" fmla="*/ 5174 w 10000"/>
                <a:gd name="connsiteY78" fmla="*/ 9729 h 10000"/>
                <a:gd name="connsiteX79" fmla="*/ 5243 w 10000"/>
                <a:gd name="connsiteY79" fmla="*/ 9850 h 10000"/>
                <a:gd name="connsiteX80" fmla="*/ 5347 w 10000"/>
                <a:gd name="connsiteY80" fmla="*/ 9940 h 10000"/>
                <a:gd name="connsiteX81" fmla="*/ 5417 w 10000"/>
                <a:gd name="connsiteY81" fmla="*/ 9940 h 10000"/>
                <a:gd name="connsiteX82" fmla="*/ 5486 w 10000"/>
                <a:gd name="connsiteY82" fmla="*/ 9940 h 10000"/>
                <a:gd name="connsiteX83" fmla="*/ 5590 w 10000"/>
                <a:gd name="connsiteY83" fmla="*/ 9940 h 10000"/>
                <a:gd name="connsiteX84" fmla="*/ 5764 w 10000"/>
                <a:gd name="connsiteY84" fmla="*/ 9940 h 10000"/>
                <a:gd name="connsiteX85" fmla="*/ 5833 w 10000"/>
                <a:gd name="connsiteY85" fmla="*/ 9940 h 10000"/>
                <a:gd name="connsiteX86" fmla="*/ 6007 w 10000"/>
                <a:gd name="connsiteY86" fmla="*/ 9940 h 10000"/>
                <a:gd name="connsiteX87" fmla="*/ 6076 w 10000"/>
                <a:gd name="connsiteY87" fmla="*/ 9940 h 10000"/>
                <a:gd name="connsiteX88" fmla="*/ 6146 w 10000"/>
                <a:gd name="connsiteY88" fmla="*/ 10000 h 10000"/>
                <a:gd name="connsiteX89" fmla="*/ 6319 w 10000"/>
                <a:gd name="connsiteY89" fmla="*/ 9940 h 10000"/>
                <a:gd name="connsiteX90" fmla="*/ 6493 w 10000"/>
                <a:gd name="connsiteY90" fmla="*/ 9940 h 10000"/>
                <a:gd name="connsiteX91" fmla="*/ 6667 w 10000"/>
                <a:gd name="connsiteY91" fmla="*/ 9850 h 10000"/>
                <a:gd name="connsiteX92" fmla="*/ 6806 w 10000"/>
                <a:gd name="connsiteY92" fmla="*/ 9850 h 10000"/>
                <a:gd name="connsiteX93" fmla="*/ 7049 w 10000"/>
                <a:gd name="connsiteY93" fmla="*/ 9850 h 10000"/>
                <a:gd name="connsiteX94" fmla="*/ 7292 w 10000"/>
                <a:gd name="connsiteY94" fmla="*/ 9729 h 10000"/>
                <a:gd name="connsiteX95" fmla="*/ 7292 w 10000"/>
                <a:gd name="connsiteY95" fmla="*/ 9729 h 10000"/>
                <a:gd name="connsiteX96" fmla="*/ 7292 w 10000"/>
                <a:gd name="connsiteY96" fmla="*/ 9729 h 10000"/>
                <a:gd name="connsiteX97" fmla="*/ 7569 w 10000"/>
                <a:gd name="connsiteY97" fmla="*/ 9520 h 10000"/>
                <a:gd name="connsiteX98" fmla="*/ 7639 w 10000"/>
                <a:gd name="connsiteY98" fmla="*/ 9430 h 10000"/>
                <a:gd name="connsiteX99" fmla="*/ 7813 w 10000"/>
                <a:gd name="connsiteY99" fmla="*/ 9430 h 10000"/>
                <a:gd name="connsiteX100" fmla="*/ 8125 w 10000"/>
                <a:gd name="connsiteY100" fmla="*/ 9520 h 10000"/>
                <a:gd name="connsiteX101" fmla="*/ 8299 w 10000"/>
                <a:gd name="connsiteY101" fmla="*/ 9520 h 10000"/>
                <a:gd name="connsiteX102" fmla="*/ 8472 w 10000"/>
                <a:gd name="connsiteY102" fmla="*/ 9430 h 10000"/>
                <a:gd name="connsiteX103" fmla="*/ 8472 w 10000"/>
                <a:gd name="connsiteY103" fmla="*/ 9219 h 10000"/>
                <a:gd name="connsiteX104" fmla="*/ 8542 w 10000"/>
                <a:gd name="connsiteY104" fmla="*/ 9160 h 10000"/>
                <a:gd name="connsiteX105" fmla="*/ 8472 w 10000"/>
                <a:gd name="connsiteY105" fmla="*/ 9069 h 10000"/>
                <a:gd name="connsiteX106" fmla="*/ 8472 w 10000"/>
                <a:gd name="connsiteY106" fmla="*/ 9009 h 10000"/>
                <a:gd name="connsiteX107" fmla="*/ 8125 w 10000"/>
                <a:gd name="connsiteY107" fmla="*/ 9009 h 10000"/>
                <a:gd name="connsiteX108" fmla="*/ 8056 w 10000"/>
                <a:gd name="connsiteY108" fmla="*/ 8948 h 10000"/>
                <a:gd name="connsiteX109" fmla="*/ 8056 w 10000"/>
                <a:gd name="connsiteY109" fmla="*/ 8859 h 10000"/>
                <a:gd name="connsiteX110" fmla="*/ 7882 w 10000"/>
                <a:gd name="connsiteY110" fmla="*/ 8588 h 10000"/>
                <a:gd name="connsiteX111" fmla="*/ 7882 w 10000"/>
                <a:gd name="connsiteY111" fmla="*/ 8439 h 10000"/>
                <a:gd name="connsiteX112" fmla="*/ 7813 w 10000"/>
                <a:gd name="connsiteY112" fmla="*/ 8379 h 10000"/>
                <a:gd name="connsiteX113" fmla="*/ 7569 w 10000"/>
                <a:gd name="connsiteY113" fmla="*/ 8228 h 10000"/>
                <a:gd name="connsiteX114" fmla="*/ 7465 w 10000"/>
                <a:gd name="connsiteY114" fmla="*/ 8168 h 10000"/>
                <a:gd name="connsiteX115" fmla="*/ 7396 w 10000"/>
                <a:gd name="connsiteY115" fmla="*/ 8079 h 10000"/>
                <a:gd name="connsiteX116" fmla="*/ 7396 w 10000"/>
                <a:gd name="connsiteY116" fmla="*/ 8017 h 10000"/>
                <a:gd name="connsiteX117" fmla="*/ 7292 w 10000"/>
                <a:gd name="connsiteY117" fmla="*/ 7868 h 10000"/>
                <a:gd name="connsiteX118" fmla="*/ 7222 w 10000"/>
                <a:gd name="connsiteY118" fmla="*/ 7868 h 10000"/>
                <a:gd name="connsiteX119" fmla="*/ 7049 w 10000"/>
                <a:gd name="connsiteY119" fmla="*/ 7808 h 10000"/>
                <a:gd name="connsiteX120" fmla="*/ 6979 w 10000"/>
                <a:gd name="connsiteY120" fmla="*/ 7808 h 10000"/>
                <a:gd name="connsiteX121" fmla="*/ 6910 w 10000"/>
                <a:gd name="connsiteY121" fmla="*/ 7808 h 10000"/>
                <a:gd name="connsiteX122" fmla="*/ 6806 w 10000"/>
                <a:gd name="connsiteY122" fmla="*/ 7808 h 10000"/>
                <a:gd name="connsiteX123" fmla="*/ 6736 w 10000"/>
                <a:gd name="connsiteY123" fmla="*/ 7748 h 10000"/>
                <a:gd name="connsiteX124" fmla="*/ 6806 w 10000"/>
                <a:gd name="connsiteY124" fmla="*/ 7658 h 10000"/>
                <a:gd name="connsiteX125" fmla="*/ 6910 w 10000"/>
                <a:gd name="connsiteY125" fmla="*/ 7599 h 10000"/>
                <a:gd name="connsiteX126" fmla="*/ 6910 w 10000"/>
                <a:gd name="connsiteY126" fmla="*/ 7447 h 10000"/>
                <a:gd name="connsiteX127" fmla="*/ 6979 w 10000"/>
                <a:gd name="connsiteY127" fmla="*/ 7447 h 10000"/>
                <a:gd name="connsiteX128" fmla="*/ 7222 w 10000"/>
                <a:gd name="connsiteY128" fmla="*/ 7447 h 10000"/>
                <a:gd name="connsiteX129" fmla="*/ 7396 w 10000"/>
                <a:gd name="connsiteY129" fmla="*/ 7447 h 10000"/>
                <a:gd name="connsiteX130" fmla="*/ 7465 w 10000"/>
                <a:gd name="connsiteY130" fmla="*/ 7387 h 10000"/>
                <a:gd name="connsiteX131" fmla="*/ 7465 w 10000"/>
                <a:gd name="connsiteY131" fmla="*/ 7237 h 10000"/>
                <a:gd name="connsiteX132" fmla="*/ 7465 w 10000"/>
                <a:gd name="connsiteY132" fmla="*/ 6818 h 10000"/>
                <a:gd name="connsiteX133" fmla="*/ 7465 w 10000"/>
                <a:gd name="connsiteY133" fmla="*/ 6667 h 10000"/>
                <a:gd name="connsiteX134" fmla="*/ 7569 w 10000"/>
                <a:gd name="connsiteY134" fmla="*/ 6517 h 10000"/>
                <a:gd name="connsiteX135" fmla="*/ 7465 w 10000"/>
                <a:gd name="connsiteY135" fmla="*/ 6456 h 10000"/>
                <a:gd name="connsiteX136" fmla="*/ 7465 w 10000"/>
                <a:gd name="connsiteY136" fmla="*/ 6396 h 10000"/>
                <a:gd name="connsiteX137" fmla="*/ 7569 w 10000"/>
                <a:gd name="connsiteY137" fmla="*/ 6396 h 10000"/>
                <a:gd name="connsiteX138" fmla="*/ 7569 w 10000"/>
                <a:gd name="connsiteY138" fmla="*/ 6307 h 10000"/>
                <a:gd name="connsiteX139" fmla="*/ 7639 w 10000"/>
                <a:gd name="connsiteY139" fmla="*/ 6187 h 10000"/>
                <a:gd name="connsiteX140" fmla="*/ 7708 w 10000"/>
                <a:gd name="connsiteY140" fmla="*/ 6187 h 10000"/>
                <a:gd name="connsiteX141" fmla="*/ 7882 w 10000"/>
                <a:gd name="connsiteY141" fmla="*/ 6187 h 10000"/>
                <a:gd name="connsiteX142" fmla="*/ 7882 w 10000"/>
                <a:gd name="connsiteY142" fmla="*/ 6097 h 10000"/>
                <a:gd name="connsiteX143" fmla="*/ 7951 w 10000"/>
                <a:gd name="connsiteY143" fmla="*/ 5826 h 10000"/>
                <a:gd name="connsiteX144" fmla="*/ 8056 w 10000"/>
                <a:gd name="connsiteY144" fmla="*/ 5737 h 10000"/>
                <a:gd name="connsiteX145" fmla="*/ 8368 w 10000"/>
                <a:gd name="connsiteY145" fmla="*/ 5256 h 10000"/>
                <a:gd name="connsiteX146" fmla="*/ 8542 w 10000"/>
                <a:gd name="connsiteY146" fmla="*/ 5196 h 10000"/>
                <a:gd name="connsiteX147" fmla="*/ 8611 w 10000"/>
                <a:gd name="connsiteY147" fmla="*/ 5107 h 10000"/>
                <a:gd name="connsiteX148" fmla="*/ 8715 w 10000"/>
                <a:gd name="connsiteY148" fmla="*/ 5045 h 10000"/>
                <a:gd name="connsiteX149" fmla="*/ 8854 w 10000"/>
                <a:gd name="connsiteY149" fmla="*/ 4476 h 10000"/>
                <a:gd name="connsiteX150" fmla="*/ 8854 w 10000"/>
                <a:gd name="connsiteY150" fmla="*/ 4325 h 10000"/>
                <a:gd name="connsiteX151" fmla="*/ 8854 w 10000"/>
                <a:gd name="connsiteY151" fmla="*/ 4175 h 10000"/>
                <a:gd name="connsiteX152" fmla="*/ 8854 w 10000"/>
                <a:gd name="connsiteY152" fmla="*/ 4055 h 10000"/>
                <a:gd name="connsiteX153" fmla="*/ 8854 w 10000"/>
                <a:gd name="connsiteY153" fmla="*/ 3846 h 10000"/>
                <a:gd name="connsiteX154" fmla="*/ 8958 w 10000"/>
                <a:gd name="connsiteY154" fmla="*/ 3695 h 10000"/>
                <a:gd name="connsiteX155" fmla="*/ 9097 w 10000"/>
                <a:gd name="connsiteY155" fmla="*/ 3183 h 10000"/>
                <a:gd name="connsiteX156" fmla="*/ 9097 w 10000"/>
                <a:gd name="connsiteY156" fmla="*/ 3124 h 10000"/>
                <a:gd name="connsiteX157" fmla="*/ 9097 w 10000"/>
                <a:gd name="connsiteY157" fmla="*/ 2914 h 10000"/>
                <a:gd name="connsiteX158" fmla="*/ 9201 w 10000"/>
                <a:gd name="connsiteY158" fmla="*/ 2855 h 10000"/>
                <a:gd name="connsiteX159" fmla="*/ 9375 w 10000"/>
                <a:gd name="connsiteY159" fmla="*/ 2855 h 10000"/>
                <a:gd name="connsiteX160" fmla="*/ 9514 w 10000"/>
                <a:gd name="connsiteY160" fmla="*/ 2702 h 10000"/>
                <a:gd name="connsiteX161" fmla="*/ 9688 w 10000"/>
                <a:gd name="connsiteY161" fmla="*/ 2613 h 10000"/>
                <a:gd name="connsiteX162" fmla="*/ 9757 w 10000"/>
                <a:gd name="connsiteY162" fmla="*/ 2553 h 10000"/>
                <a:gd name="connsiteX163" fmla="*/ 9931 w 10000"/>
                <a:gd name="connsiteY163" fmla="*/ 2553 h 10000"/>
                <a:gd name="connsiteX164" fmla="*/ 10000 w 10000"/>
                <a:gd name="connsiteY164" fmla="*/ 2404 h 10000"/>
                <a:gd name="connsiteX165" fmla="*/ 10000 w 10000"/>
                <a:gd name="connsiteY165" fmla="*/ 2284 h 10000"/>
                <a:gd name="connsiteX166" fmla="*/ 10000 w 10000"/>
                <a:gd name="connsiteY166" fmla="*/ 2192 h 10000"/>
                <a:gd name="connsiteX167" fmla="*/ 9931 w 10000"/>
                <a:gd name="connsiteY167" fmla="*/ 2192 h 10000"/>
                <a:gd name="connsiteX168" fmla="*/ 9931 w 10000"/>
                <a:gd name="connsiteY168" fmla="*/ 2192 h 10000"/>
                <a:gd name="connsiteX169" fmla="*/ 9861 w 10000"/>
                <a:gd name="connsiteY169" fmla="*/ 2192 h 10000"/>
                <a:gd name="connsiteX170" fmla="*/ 9861 w 10000"/>
                <a:gd name="connsiteY170" fmla="*/ 2074 h 10000"/>
                <a:gd name="connsiteX171" fmla="*/ 9757 w 10000"/>
                <a:gd name="connsiteY171" fmla="*/ 1983 h 10000"/>
                <a:gd name="connsiteX172" fmla="*/ 9688 w 10000"/>
                <a:gd name="connsiteY172" fmla="*/ 1983 h 10000"/>
                <a:gd name="connsiteX173" fmla="*/ 9514 w 10000"/>
                <a:gd name="connsiteY173" fmla="*/ 1922 h 10000"/>
                <a:gd name="connsiteX174" fmla="*/ 9271 w 10000"/>
                <a:gd name="connsiteY174" fmla="*/ 632 h 10000"/>
                <a:gd name="connsiteX175" fmla="*/ 9271 w 10000"/>
                <a:gd name="connsiteY175" fmla="*/ 632 h 10000"/>
                <a:gd name="connsiteX176" fmla="*/ 5833 w 10000"/>
                <a:gd name="connsiteY176" fmla="*/ 0 h 10000"/>
                <a:gd name="connsiteX0" fmla="*/ 9271 w 10000"/>
                <a:gd name="connsiteY0" fmla="*/ 0 h 9368"/>
                <a:gd name="connsiteX1" fmla="*/ 1889 w 10000"/>
                <a:gd name="connsiteY1" fmla="*/ 450 h 9368"/>
                <a:gd name="connsiteX2" fmla="*/ 1319 w 10000"/>
                <a:gd name="connsiteY2" fmla="*/ 2912 h 9368"/>
                <a:gd name="connsiteX3" fmla="*/ 1250 w 10000"/>
                <a:gd name="connsiteY3" fmla="*/ 2912 h 9368"/>
                <a:gd name="connsiteX4" fmla="*/ 903 w 10000"/>
                <a:gd name="connsiteY4" fmla="*/ 2912 h 9368"/>
                <a:gd name="connsiteX5" fmla="*/ 660 w 10000"/>
                <a:gd name="connsiteY5" fmla="*/ 2912 h 9368"/>
                <a:gd name="connsiteX6" fmla="*/ 660 w 10000"/>
                <a:gd name="connsiteY6" fmla="*/ 3003 h 9368"/>
                <a:gd name="connsiteX7" fmla="*/ 660 w 10000"/>
                <a:gd name="connsiteY7" fmla="*/ 3063 h 9368"/>
                <a:gd name="connsiteX8" fmla="*/ 660 w 10000"/>
                <a:gd name="connsiteY8" fmla="*/ 3122 h 9368"/>
                <a:gd name="connsiteX9" fmla="*/ 590 w 10000"/>
                <a:gd name="connsiteY9" fmla="*/ 3272 h 9368"/>
                <a:gd name="connsiteX10" fmla="*/ 486 w 10000"/>
                <a:gd name="connsiteY10" fmla="*/ 3423 h 9368"/>
                <a:gd name="connsiteX11" fmla="*/ 243 w 10000"/>
                <a:gd name="connsiteY11" fmla="*/ 3631 h 9368"/>
                <a:gd name="connsiteX12" fmla="*/ 243 w 10000"/>
                <a:gd name="connsiteY12" fmla="*/ 3693 h 9368"/>
                <a:gd name="connsiteX13" fmla="*/ 347 w 10000"/>
                <a:gd name="connsiteY13" fmla="*/ 3784 h 9368"/>
                <a:gd name="connsiteX14" fmla="*/ 243 w 10000"/>
                <a:gd name="connsiteY14" fmla="*/ 3844 h 9368"/>
                <a:gd name="connsiteX15" fmla="*/ 243 w 10000"/>
                <a:gd name="connsiteY15" fmla="*/ 3844 h 9368"/>
                <a:gd name="connsiteX16" fmla="*/ 174 w 10000"/>
                <a:gd name="connsiteY16" fmla="*/ 3903 h 9368"/>
                <a:gd name="connsiteX17" fmla="*/ 174 w 10000"/>
                <a:gd name="connsiteY17" fmla="*/ 3903 h 9368"/>
                <a:gd name="connsiteX18" fmla="*/ 174 w 10000"/>
                <a:gd name="connsiteY18" fmla="*/ 4053 h 9368"/>
                <a:gd name="connsiteX19" fmla="*/ 174 w 10000"/>
                <a:gd name="connsiteY19" fmla="*/ 4203 h 9368"/>
                <a:gd name="connsiteX20" fmla="*/ 104 w 10000"/>
                <a:gd name="connsiteY20" fmla="*/ 4264 h 9368"/>
                <a:gd name="connsiteX21" fmla="*/ 0 w 10000"/>
                <a:gd name="connsiteY21" fmla="*/ 4324 h 9368"/>
                <a:gd name="connsiteX22" fmla="*/ 0 w 10000"/>
                <a:gd name="connsiteY22" fmla="*/ 4413 h 9368"/>
                <a:gd name="connsiteX23" fmla="*/ 0 w 10000"/>
                <a:gd name="connsiteY23" fmla="*/ 4564 h 9368"/>
                <a:gd name="connsiteX24" fmla="*/ 104 w 10000"/>
                <a:gd name="connsiteY24" fmla="*/ 4564 h 9368"/>
                <a:gd name="connsiteX25" fmla="*/ 104 w 10000"/>
                <a:gd name="connsiteY25" fmla="*/ 4564 h 9368"/>
                <a:gd name="connsiteX26" fmla="*/ 347 w 10000"/>
                <a:gd name="connsiteY26" fmla="*/ 4475 h 9368"/>
                <a:gd name="connsiteX27" fmla="*/ 243 w 10000"/>
                <a:gd name="connsiteY27" fmla="*/ 4683 h 9368"/>
                <a:gd name="connsiteX28" fmla="*/ 347 w 10000"/>
                <a:gd name="connsiteY28" fmla="*/ 4835 h 9368"/>
                <a:gd name="connsiteX29" fmla="*/ 486 w 10000"/>
                <a:gd name="connsiteY29" fmla="*/ 5105 h 9368"/>
                <a:gd name="connsiteX30" fmla="*/ 486 w 10000"/>
                <a:gd name="connsiteY30" fmla="*/ 5194 h 9368"/>
                <a:gd name="connsiteX31" fmla="*/ 590 w 10000"/>
                <a:gd name="connsiteY31" fmla="*/ 5194 h 9368"/>
                <a:gd name="connsiteX32" fmla="*/ 590 w 10000"/>
                <a:gd name="connsiteY32" fmla="*/ 5253 h 9368"/>
                <a:gd name="connsiteX33" fmla="*/ 660 w 10000"/>
                <a:gd name="connsiteY33" fmla="*/ 5315 h 9368"/>
                <a:gd name="connsiteX34" fmla="*/ 660 w 10000"/>
                <a:gd name="connsiteY34" fmla="*/ 5405 h 9368"/>
                <a:gd name="connsiteX35" fmla="*/ 486 w 10000"/>
                <a:gd name="connsiteY35" fmla="*/ 5465 h 9368"/>
                <a:gd name="connsiteX36" fmla="*/ 660 w 10000"/>
                <a:gd name="connsiteY36" fmla="*/ 5555 h 9368"/>
                <a:gd name="connsiteX37" fmla="*/ 833 w 10000"/>
                <a:gd name="connsiteY37" fmla="*/ 5764 h 9368"/>
                <a:gd name="connsiteX38" fmla="*/ 1007 w 10000"/>
                <a:gd name="connsiteY38" fmla="*/ 5974 h 9368"/>
                <a:gd name="connsiteX39" fmla="*/ 1076 w 10000"/>
                <a:gd name="connsiteY39" fmla="*/ 6096 h 9368"/>
                <a:gd name="connsiteX40" fmla="*/ 1007 w 10000"/>
                <a:gd name="connsiteY40" fmla="*/ 6245 h 9368"/>
                <a:gd name="connsiteX41" fmla="*/ 1007 w 10000"/>
                <a:gd name="connsiteY41" fmla="*/ 6456 h 9368"/>
                <a:gd name="connsiteX42" fmla="*/ 1007 w 10000"/>
                <a:gd name="connsiteY42" fmla="*/ 6546 h 9368"/>
                <a:gd name="connsiteX43" fmla="*/ 1146 w 10000"/>
                <a:gd name="connsiteY43" fmla="*/ 6666 h 9368"/>
                <a:gd name="connsiteX44" fmla="*/ 1250 w 10000"/>
                <a:gd name="connsiteY44" fmla="*/ 6666 h 9368"/>
                <a:gd name="connsiteX45" fmla="*/ 1389 w 10000"/>
                <a:gd name="connsiteY45" fmla="*/ 6666 h 9368"/>
                <a:gd name="connsiteX46" fmla="*/ 1493 w 10000"/>
                <a:gd name="connsiteY46" fmla="*/ 6815 h 9368"/>
                <a:gd name="connsiteX47" fmla="*/ 1563 w 10000"/>
                <a:gd name="connsiteY47" fmla="*/ 6875 h 9368"/>
                <a:gd name="connsiteX48" fmla="*/ 1806 w 10000"/>
                <a:gd name="connsiteY48" fmla="*/ 6875 h 9368"/>
                <a:gd name="connsiteX49" fmla="*/ 1910 w 10000"/>
                <a:gd name="connsiteY49" fmla="*/ 6967 h 9368"/>
                <a:gd name="connsiteX50" fmla="*/ 1979 w 10000"/>
                <a:gd name="connsiteY50" fmla="*/ 7026 h 9368"/>
                <a:gd name="connsiteX51" fmla="*/ 2049 w 10000"/>
                <a:gd name="connsiteY51" fmla="*/ 7026 h 9368"/>
                <a:gd name="connsiteX52" fmla="*/ 1979 w 10000"/>
                <a:gd name="connsiteY52" fmla="*/ 7176 h 9368"/>
                <a:gd name="connsiteX53" fmla="*/ 2049 w 10000"/>
                <a:gd name="connsiteY53" fmla="*/ 7236 h 9368"/>
                <a:gd name="connsiteX54" fmla="*/ 2292 w 10000"/>
                <a:gd name="connsiteY54" fmla="*/ 7385 h 9368"/>
                <a:gd name="connsiteX55" fmla="*/ 2465 w 10000"/>
                <a:gd name="connsiteY55" fmla="*/ 7536 h 9368"/>
                <a:gd name="connsiteX56" fmla="*/ 2535 w 10000"/>
                <a:gd name="connsiteY56" fmla="*/ 7596 h 9368"/>
                <a:gd name="connsiteX57" fmla="*/ 2708 w 10000"/>
                <a:gd name="connsiteY57" fmla="*/ 7657 h 9368"/>
                <a:gd name="connsiteX58" fmla="*/ 2708 w 10000"/>
                <a:gd name="connsiteY58" fmla="*/ 7747 h 9368"/>
                <a:gd name="connsiteX59" fmla="*/ 2813 w 10000"/>
                <a:gd name="connsiteY59" fmla="*/ 7897 h 9368"/>
                <a:gd name="connsiteX60" fmla="*/ 2882 w 10000"/>
                <a:gd name="connsiteY60" fmla="*/ 7956 h 9368"/>
                <a:gd name="connsiteX61" fmla="*/ 2882 w 10000"/>
                <a:gd name="connsiteY61" fmla="*/ 8017 h 9368"/>
                <a:gd name="connsiteX62" fmla="*/ 2951 w 10000"/>
                <a:gd name="connsiteY62" fmla="*/ 8107 h 9368"/>
                <a:gd name="connsiteX63" fmla="*/ 3299 w 10000"/>
                <a:gd name="connsiteY63" fmla="*/ 8227 h 9368"/>
                <a:gd name="connsiteX64" fmla="*/ 3368 w 10000"/>
                <a:gd name="connsiteY64" fmla="*/ 8377 h 9368"/>
                <a:gd name="connsiteX65" fmla="*/ 3368 w 10000"/>
                <a:gd name="connsiteY65" fmla="*/ 8437 h 9368"/>
                <a:gd name="connsiteX66" fmla="*/ 3438 w 10000"/>
                <a:gd name="connsiteY66" fmla="*/ 8528 h 9368"/>
                <a:gd name="connsiteX67" fmla="*/ 3542 w 10000"/>
                <a:gd name="connsiteY67" fmla="*/ 8587 h 9368"/>
                <a:gd name="connsiteX68" fmla="*/ 3715 w 10000"/>
                <a:gd name="connsiteY68" fmla="*/ 8738 h 9368"/>
                <a:gd name="connsiteX69" fmla="*/ 3715 w 10000"/>
                <a:gd name="connsiteY69" fmla="*/ 8798 h 9368"/>
                <a:gd name="connsiteX70" fmla="*/ 3785 w 10000"/>
                <a:gd name="connsiteY70" fmla="*/ 8888 h 9368"/>
                <a:gd name="connsiteX71" fmla="*/ 4028 w 10000"/>
                <a:gd name="connsiteY71" fmla="*/ 8946 h 9368"/>
                <a:gd name="connsiteX72" fmla="*/ 4097 w 10000"/>
                <a:gd name="connsiteY72" fmla="*/ 8946 h 9368"/>
                <a:gd name="connsiteX73" fmla="*/ 4201 w 10000"/>
                <a:gd name="connsiteY73" fmla="*/ 8888 h 9368"/>
                <a:gd name="connsiteX74" fmla="*/ 4444 w 10000"/>
                <a:gd name="connsiteY74" fmla="*/ 8946 h 9368"/>
                <a:gd name="connsiteX75" fmla="*/ 4618 w 10000"/>
                <a:gd name="connsiteY75" fmla="*/ 8888 h 9368"/>
                <a:gd name="connsiteX76" fmla="*/ 4757 w 10000"/>
                <a:gd name="connsiteY76" fmla="*/ 8798 h 9368"/>
                <a:gd name="connsiteX77" fmla="*/ 4861 w 10000"/>
                <a:gd name="connsiteY77" fmla="*/ 8888 h 9368"/>
                <a:gd name="connsiteX78" fmla="*/ 5174 w 10000"/>
                <a:gd name="connsiteY78" fmla="*/ 9097 h 9368"/>
                <a:gd name="connsiteX79" fmla="*/ 5243 w 10000"/>
                <a:gd name="connsiteY79" fmla="*/ 9218 h 9368"/>
                <a:gd name="connsiteX80" fmla="*/ 5347 w 10000"/>
                <a:gd name="connsiteY80" fmla="*/ 9308 h 9368"/>
                <a:gd name="connsiteX81" fmla="*/ 5417 w 10000"/>
                <a:gd name="connsiteY81" fmla="*/ 9308 h 9368"/>
                <a:gd name="connsiteX82" fmla="*/ 5486 w 10000"/>
                <a:gd name="connsiteY82" fmla="*/ 9308 h 9368"/>
                <a:gd name="connsiteX83" fmla="*/ 5590 w 10000"/>
                <a:gd name="connsiteY83" fmla="*/ 9308 h 9368"/>
                <a:gd name="connsiteX84" fmla="*/ 5764 w 10000"/>
                <a:gd name="connsiteY84" fmla="*/ 9308 h 9368"/>
                <a:gd name="connsiteX85" fmla="*/ 5833 w 10000"/>
                <a:gd name="connsiteY85" fmla="*/ 9308 h 9368"/>
                <a:gd name="connsiteX86" fmla="*/ 6007 w 10000"/>
                <a:gd name="connsiteY86" fmla="*/ 9308 h 9368"/>
                <a:gd name="connsiteX87" fmla="*/ 6076 w 10000"/>
                <a:gd name="connsiteY87" fmla="*/ 9308 h 9368"/>
                <a:gd name="connsiteX88" fmla="*/ 6146 w 10000"/>
                <a:gd name="connsiteY88" fmla="*/ 9368 h 9368"/>
                <a:gd name="connsiteX89" fmla="*/ 6319 w 10000"/>
                <a:gd name="connsiteY89" fmla="*/ 9308 h 9368"/>
                <a:gd name="connsiteX90" fmla="*/ 6493 w 10000"/>
                <a:gd name="connsiteY90" fmla="*/ 9308 h 9368"/>
                <a:gd name="connsiteX91" fmla="*/ 6667 w 10000"/>
                <a:gd name="connsiteY91" fmla="*/ 9218 h 9368"/>
                <a:gd name="connsiteX92" fmla="*/ 6806 w 10000"/>
                <a:gd name="connsiteY92" fmla="*/ 9218 h 9368"/>
                <a:gd name="connsiteX93" fmla="*/ 7049 w 10000"/>
                <a:gd name="connsiteY93" fmla="*/ 9218 h 9368"/>
                <a:gd name="connsiteX94" fmla="*/ 7292 w 10000"/>
                <a:gd name="connsiteY94" fmla="*/ 9097 h 9368"/>
                <a:gd name="connsiteX95" fmla="*/ 7292 w 10000"/>
                <a:gd name="connsiteY95" fmla="*/ 9097 h 9368"/>
                <a:gd name="connsiteX96" fmla="*/ 7292 w 10000"/>
                <a:gd name="connsiteY96" fmla="*/ 9097 h 9368"/>
                <a:gd name="connsiteX97" fmla="*/ 7569 w 10000"/>
                <a:gd name="connsiteY97" fmla="*/ 8888 h 9368"/>
                <a:gd name="connsiteX98" fmla="*/ 7639 w 10000"/>
                <a:gd name="connsiteY98" fmla="*/ 8798 h 9368"/>
                <a:gd name="connsiteX99" fmla="*/ 7813 w 10000"/>
                <a:gd name="connsiteY99" fmla="*/ 8798 h 9368"/>
                <a:gd name="connsiteX100" fmla="*/ 8125 w 10000"/>
                <a:gd name="connsiteY100" fmla="*/ 8888 h 9368"/>
                <a:gd name="connsiteX101" fmla="*/ 8299 w 10000"/>
                <a:gd name="connsiteY101" fmla="*/ 8888 h 9368"/>
                <a:gd name="connsiteX102" fmla="*/ 8472 w 10000"/>
                <a:gd name="connsiteY102" fmla="*/ 8798 h 9368"/>
                <a:gd name="connsiteX103" fmla="*/ 8472 w 10000"/>
                <a:gd name="connsiteY103" fmla="*/ 8587 h 9368"/>
                <a:gd name="connsiteX104" fmla="*/ 8542 w 10000"/>
                <a:gd name="connsiteY104" fmla="*/ 8528 h 9368"/>
                <a:gd name="connsiteX105" fmla="*/ 8472 w 10000"/>
                <a:gd name="connsiteY105" fmla="*/ 8437 h 9368"/>
                <a:gd name="connsiteX106" fmla="*/ 8472 w 10000"/>
                <a:gd name="connsiteY106" fmla="*/ 8377 h 9368"/>
                <a:gd name="connsiteX107" fmla="*/ 8125 w 10000"/>
                <a:gd name="connsiteY107" fmla="*/ 8377 h 9368"/>
                <a:gd name="connsiteX108" fmla="*/ 8056 w 10000"/>
                <a:gd name="connsiteY108" fmla="*/ 8316 h 9368"/>
                <a:gd name="connsiteX109" fmla="*/ 8056 w 10000"/>
                <a:gd name="connsiteY109" fmla="*/ 8227 h 9368"/>
                <a:gd name="connsiteX110" fmla="*/ 7882 w 10000"/>
                <a:gd name="connsiteY110" fmla="*/ 7956 h 9368"/>
                <a:gd name="connsiteX111" fmla="*/ 7882 w 10000"/>
                <a:gd name="connsiteY111" fmla="*/ 7807 h 9368"/>
                <a:gd name="connsiteX112" fmla="*/ 7813 w 10000"/>
                <a:gd name="connsiteY112" fmla="*/ 7747 h 9368"/>
                <a:gd name="connsiteX113" fmla="*/ 7569 w 10000"/>
                <a:gd name="connsiteY113" fmla="*/ 7596 h 9368"/>
                <a:gd name="connsiteX114" fmla="*/ 7465 w 10000"/>
                <a:gd name="connsiteY114" fmla="*/ 7536 h 9368"/>
                <a:gd name="connsiteX115" fmla="*/ 7396 w 10000"/>
                <a:gd name="connsiteY115" fmla="*/ 7447 h 9368"/>
                <a:gd name="connsiteX116" fmla="*/ 7396 w 10000"/>
                <a:gd name="connsiteY116" fmla="*/ 7385 h 9368"/>
                <a:gd name="connsiteX117" fmla="*/ 7292 w 10000"/>
                <a:gd name="connsiteY117" fmla="*/ 7236 h 9368"/>
                <a:gd name="connsiteX118" fmla="*/ 7222 w 10000"/>
                <a:gd name="connsiteY118" fmla="*/ 7236 h 9368"/>
                <a:gd name="connsiteX119" fmla="*/ 7049 w 10000"/>
                <a:gd name="connsiteY119" fmla="*/ 7176 h 9368"/>
                <a:gd name="connsiteX120" fmla="*/ 6979 w 10000"/>
                <a:gd name="connsiteY120" fmla="*/ 7176 h 9368"/>
                <a:gd name="connsiteX121" fmla="*/ 6910 w 10000"/>
                <a:gd name="connsiteY121" fmla="*/ 7176 h 9368"/>
                <a:gd name="connsiteX122" fmla="*/ 6806 w 10000"/>
                <a:gd name="connsiteY122" fmla="*/ 7176 h 9368"/>
                <a:gd name="connsiteX123" fmla="*/ 6736 w 10000"/>
                <a:gd name="connsiteY123" fmla="*/ 7116 h 9368"/>
                <a:gd name="connsiteX124" fmla="*/ 6806 w 10000"/>
                <a:gd name="connsiteY124" fmla="*/ 7026 h 9368"/>
                <a:gd name="connsiteX125" fmla="*/ 6910 w 10000"/>
                <a:gd name="connsiteY125" fmla="*/ 6967 h 9368"/>
                <a:gd name="connsiteX126" fmla="*/ 6910 w 10000"/>
                <a:gd name="connsiteY126" fmla="*/ 6815 h 9368"/>
                <a:gd name="connsiteX127" fmla="*/ 6979 w 10000"/>
                <a:gd name="connsiteY127" fmla="*/ 6815 h 9368"/>
                <a:gd name="connsiteX128" fmla="*/ 7222 w 10000"/>
                <a:gd name="connsiteY128" fmla="*/ 6815 h 9368"/>
                <a:gd name="connsiteX129" fmla="*/ 7396 w 10000"/>
                <a:gd name="connsiteY129" fmla="*/ 6815 h 9368"/>
                <a:gd name="connsiteX130" fmla="*/ 7465 w 10000"/>
                <a:gd name="connsiteY130" fmla="*/ 6755 h 9368"/>
                <a:gd name="connsiteX131" fmla="*/ 7465 w 10000"/>
                <a:gd name="connsiteY131" fmla="*/ 6605 h 9368"/>
                <a:gd name="connsiteX132" fmla="*/ 7465 w 10000"/>
                <a:gd name="connsiteY132" fmla="*/ 6186 h 9368"/>
                <a:gd name="connsiteX133" fmla="*/ 7465 w 10000"/>
                <a:gd name="connsiteY133" fmla="*/ 6035 h 9368"/>
                <a:gd name="connsiteX134" fmla="*/ 7569 w 10000"/>
                <a:gd name="connsiteY134" fmla="*/ 5885 h 9368"/>
                <a:gd name="connsiteX135" fmla="*/ 7465 w 10000"/>
                <a:gd name="connsiteY135" fmla="*/ 5824 h 9368"/>
                <a:gd name="connsiteX136" fmla="*/ 7465 w 10000"/>
                <a:gd name="connsiteY136" fmla="*/ 5764 h 9368"/>
                <a:gd name="connsiteX137" fmla="*/ 7569 w 10000"/>
                <a:gd name="connsiteY137" fmla="*/ 5764 h 9368"/>
                <a:gd name="connsiteX138" fmla="*/ 7569 w 10000"/>
                <a:gd name="connsiteY138" fmla="*/ 5675 h 9368"/>
                <a:gd name="connsiteX139" fmla="*/ 7639 w 10000"/>
                <a:gd name="connsiteY139" fmla="*/ 5555 h 9368"/>
                <a:gd name="connsiteX140" fmla="*/ 7708 w 10000"/>
                <a:gd name="connsiteY140" fmla="*/ 5555 h 9368"/>
                <a:gd name="connsiteX141" fmla="*/ 7882 w 10000"/>
                <a:gd name="connsiteY141" fmla="*/ 5555 h 9368"/>
                <a:gd name="connsiteX142" fmla="*/ 7882 w 10000"/>
                <a:gd name="connsiteY142" fmla="*/ 5465 h 9368"/>
                <a:gd name="connsiteX143" fmla="*/ 7951 w 10000"/>
                <a:gd name="connsiteY143" fmla="*/ 5194 h 9368"/>
                <a:gd name="connsiteX144" fmla="*/ 8056 w 10000"/>
                <a:gd name="connsiteY144" fmla="*/ 5105 h 9368"/>
                <a:gd name="connsiteX145" fmla="*/ 8368 w 10000"/>
                <a:gd name="connsiteY145" fmla="*/ 4624 h 9368"/>
                <a:gd name="connsiteX146" fmla="*/ 8542 w 10000"/>
                <a:gd name="connsiteY146" fmla="*/ 4564 h 9368"/>
                <a:gd name="connsiteX147" fmla="*/ 8611 w 10000"/>
                <a:gd name="connsiteY147" fmla="*/ 4475 h 9368"/>
                <a:gd name="connsiteX148" fmla="*/ 8715 w 10000"/>
                <a:gd name="connsiteY148" fmla="*/ 4413 h 9368"/>
                <a:gd name="connsiteX149" fmla="*/ 8854 w 10000"/>
                <a:gd name="connsiteY149" fmla="*/ 3844 h 9368"/>
                <a:gd name="connsiteX150" fmla="*/ 8854 w 10000"/>
                <a:gd name="connsiteY150" fmla="*/ 3693 h 9368"/>
                <a:gd name="connsiteX151" fmla="*/ 8854 w 10000"/>
                <a:gd name="connsiteY151" fmla="*/ 3543 h 9368"/>
                <a:gd name="connsiteX152" fmla="*/ 8854 w 10000"/>
                <a:gd name="connsiteY152" fmla="*/ 3423 h 9368"/>
                <a:gd name="connsiteX153" fmla="*/ 8854 w 10000"/>
                <a:gd name="connsiteY153" fmla="*/ 3214 h 9368"/>
                <a:gd name="connsiteX154" fmla="*/ 8958 w 10000"/>
                <a:gd name="connsiteY154" fmla="*/ 3063 h 9368"/>
                <a:gd name="connsiteX155" fmla="*/ 9097 w 10000"/>
                <a:gd name="connsiteY155" fmla="*/ 2551 h 9368"/>
                <a:gd name="connsiteX156" fmla="*/ 9097 w 10000"/>
                <a:gd name="connsiteY156" fmla="*/ 2492 h 9368"/>
                <a:gd name="connsiteX157" fmla="*/ 9097 w 10000"/>
                <a:gd name="connsiteY157" fmla="*/ 2282 h 9368"/>
                <a:gd name="connsiteX158" fmla="*/ 9201 w 10000"/>
                <a:gd name="connsiteY158" fmla="*/ 2223 h 9368"/>
                <a:gd name="connsiteX159" fmla="*/ 9375 w 10000"/>
                <a:gd name="connsiteY159" fmla="*/ 2223 h 9368"/>
                <a:gd name="connsiteX160" fmla="*/ 9514 w 10000"/>
                <a:gd name="connsiteY160" fmla="*/ 2070 h 9368"/>
                <a:gd name="connsiteX161" fmla="*/ 9688 w 10000"/>
                <a:gd name="connsiteY161" fmla="*/ 1981 h 9368"/>
                <a:gd name="connsiteX162" fmla="*/ 9757 w 10000"/>
                <a:gd name="connsiteY162" fmla="*/ 1921 h 9368"/>
                <a:gd name="connsiteX163" fmla="*/ 9931 w 10000"/>
                <a:gd name="connsiteY163" fmla="*/ 1921 h 9368"/>
                <a:gd name="connsiteX164" fmla="*/ 10000 w 10000"/>
                <a:gd name="connsiteY164" fmla="*/ 1772 h 9368"/>
                <a:gd name="connsiteX165" fmla="*/ 10000 w 10000"/>
                <a:gd name="connsiteY165" fmla="*/ 1652 h 9368"/>
                <a:gd name="connsiteX166" fmla="*/ 10000 w 10000"/>
                <a:gd name="connsiteY166" fmla="*/ 1560 h 9368"/>
                <a:gd name="connsiteX167" fmla="*/ 9931 w 10000"/>
                <a:gd name="connsiteY167" fmla="*/ 1560 h 9368"/>
                <a:gd name="connsiteX168" fmla="*/ 9931 w 10000"/>
                <a:gd name="connsiteY168" fmla="*/ 1560 h 9368"/>
                <a:gd name="connsiteX169" fmla="*/ 9861 w 10000"/>
                <a:gd name="connsiteY169" fmla="*/ 1560 h 9368"/>
                <a:gd name="connsiteX170" fmla="*/ 9861 w 10000"/>
                <a:gd name="connsiteY170" fmla="*/ 1442 h 9368"/>
                <a:gd name="connsiteX171" fmla="*/ 9757 w 10000"/>
                <a:gd name="connsiteY171" fmla="*/ 1351 h 9368"/>
                <a:gd name="connsiteX172" fmla="*/ 9688 w 10000"/>
                <a:gd name="connsiteY172" fmla="*/ 1351 h 9368"/>
                <a:gd name="connsiteX173" fmla="*/ 9514 w 10000"/>
                <a:gd name="connsiteY173" fmla="*/ 1290 h 9368"/>
                <a:gd name="connsiteX174" fmla="*/ 9271 w 10000"/>
                <a:gd name="connsiteY174" fmla="*/ 0 h 9368"/>
                <a:gd name="connsiteX175" fmla="*/ 9271 w 10000"/>
                <a:gd name="connsiteY175" fmla="*/ 0 h 9368"/>
                <a:gd name="connsiteX0" fmla="*/ 9271 w 10000"/>
                <a:gd name="connsiteY0" fmla="*/ 0 h 10000"/>
                <a:gd name="connsiteX1" fmla="*/ 1889 w 10000"/>
                <a:gd name="connsiteY1" fmla="*/ 480 h 10000"/>
                <a:gd name="connsiteX2" fmla="*/ 1319 w 10000"/>
                <a:gd name="connsiteY2" fmla="*/ 3108 h 10000"/>
                <a:gd name="connsiteX3" fmla="*/ 1250 w 10000"/>
                <a:gd name="connsiteY3" fmla="*/ 3108 h 10000"/>
                <a:gd name="connsiteX4" fmla="*/ 903 w 10000"/>
                <a:gd name="connsiteY4" fmla="*/ 3108 h 10000"/>
                <a:gd name="connsiteX5" fmla="*/ 660 w 10000"/>
                <a:gd name="connsiteY5" fmla="*/ 3108 h 10000"/>
                <a:gd name="connsiteX6" fmla="*/ 660 w 10000"/>
                <a:gd name="connsiteY6" fmla="*/ 3206 h 10000"/>
                <a:gd name="connsiteX7" fmla="*/ 660 w 10000"/>
                <a:gd name="connsiteY7" fmla="*/ 3270 h 10000"/>
                <a:gd name="connsiteX8" fmla="*/ 660 w 10000"/>
                <a:gd name="connsiteY8" fmla="*/ 3333 h 10000"/>
                <a:gd name="connsiteX9" fmla="*/ 590 w 10000"/>
                <a:gd name="connsiteY9" fmla="*/ 3493 h 10000"/>
                <a:gd name="connsiteX10" fmla="*/ 486 w 10000"/>
                <a:gd name="connsiteY10" fmla="*/ 3654 h 10000"/>
                <a:gd name="connsiteX11" fmla="*/ 243 w 10000"/>
                <a:gd name="connsiteY11" fmla="*/ 3876 h 10000"/>
                <a:gd name="connsiteX12" fmla="*/ 243 w 10000"/>
                <a:gd name="connsiteY12" fmla="*/ 3942 h 10000"/>
                <a:gd name="connsiteX13" fmla="*/ 347 w 10000"/>
                <a:gd name="connsiteY13" fmla="*/ 4039 h 10000"/>
                <a:gd name="connsiteX14" fmla="*/ 243 w 10000"/>
                <a:gd name="connsiteY14" fmla="*/ 4103 h 10000"/>
                <a:gd name="connsiteX15" fmla="*/ 243 w 10000"/>
                <a:gd name="connsiteY15" fmla="*/ 4103 h 10000"/>
                <a:gd name="connsiteX16" fmla="*/ 174 w 10000"/>
                <a:gd name="connsiteY16" fmla="*/ 4166 h 10000"/>
                <a:gd name="connsiteX17" fmla="*/ 174 w 10000"/>
                <a:gd name="connsiteY17" fmla="*/ 4166 h 10000"/>
                <a:gd name="connsiteX18" fmla="*/ 174 w 10000"/>
                <a:gd name="connsiteY18" fmla="*/ 4326 h 10000"/>
                <a:gd name="connsiteX19" fmla="*/ 174 w 10000"/>
                <a:gd name="connsiteY19" fmla="*/ 4487 h 10000"/>
                <a:gd name="connsiteX20" fmla="*/ 104 w 10000"/>
                <a:gd name="connsiteY20" fmla="*/ 4552 h 10000"/>
                <a:gd name="connsiteX21" fmla="*/ 0 w 10000"/>
                <a:gd name="connsiteY21" fmla="*/ 4616 h 10000"/>
                <a:gd name="connsiteX22" fmla="*/ 0 w 10000"/>
                <a:gd name="connsiteY22" fmla="*/ 4711 h 10000"/>
                <a:gd name="connsiteX23" fmla="*/ 0 w 10000"/>
                <a:gd name="connsiteY23" fmla="*/ 4872 h 10000"/>
                <a:gd name="connsiteX24" fmla="*/ 104 w 10000"/>
                <a:gd name="connsiteY24" fmla="*/ 4872 h 10000"/>
                <a:gd name="connsiteX25" fmla="*/ 104 w 10000"/>
                <a:gd name="connsiteY25" fmla="*/ 4872 h 10000"/>
                <a:gd name="connsiteX26" fmla="*/ 347 w 10000"/>
                <a:gd name="connsiteY26" fmla="*/ 4777 h 10000"/>
                <a:gd name="connsiteX27" fmla="*/ 243 w 10000"/>
                <a:gd name="connsiteY27" fmla="*/ 4999 h 10000"/>
                <a:gd name="connsiteX28" fmla="*/ 347 w 10000"/>
                <a:gd name="connsiteY28" fmla="*/ 5161 h 10000"/>
                <a:gd name="connsiteX29" fmla="*/ 486 w 10000"/>
                <a:gd name="connsiteY29" fmla="*/ 5449 h 10000"/>
                <a:gd name="connsiteX30" fmla="*/ 486 w 10000"/>
                <a:gd name="connsiteY30" fmla="*/ 5544 h 10000"/>
                <a:gd name="connsiteX31" fmla="*/ 590 w 10000"/>
                <a:gd name="connsiteY31" fmla="*/ 5544 h 10000"/>
                <a:gd name="connsiteX32" fmla="*/ 590 w 10000"/>
                <a:gd name="connsiteY32" fmla="*/ 5607 h 10000"/>
                <a:gd name="connsiteX33" fmla="*/ 660 w 10000"/>
                <a:gd name="connsiteY33" fmla="*/ 5674 h 10000"/>
                <a:gd name="connsiteX34" fmla="*/ 660 w 10000"/>
                <a:gd name="connsiteY34" fmla="*/ 5770 h 10000"/>
                <a:gd name="connsiteX35" fmla="*/ 486 w 10000"/>
                <a:gd name="connsiteY35" fmla="*/ 5834 h 10000"/>
                <a:gd name="connsiteX36" fmla="*/ 660 w 10000"/>
                <a:gd name="connsiteY36" fmla="*/ 5930 h 10000"/>
                <a:gd name="connsiteX37" fmla="*/ 833 w 10000"/>
                <a:gd name="connsiteY37" fmla="*/ 6153 h 10000"/>
                <a:gd name="connsiteX38" fmla="*/ 1007 w 10000"/>
                <a:gd name="connsiteY38" fmla="*/ 6377 h 10000"/>
                <a:gd name="connsiteX39" fmla="*/ 1076 w 10000"/>
                <a:gd name="connsiteY39" fmla="*/ 6507 h 10000"/>
                <a:gd name="connsiteX40" fmla="*/ 1007 w 10000"/>
                <a:gd name="connsiteY40" fmla="*/ 6666 h 10000"/>
                <a:gd name="connsiteX41" fmla="*/ 1007 w 10000"/>
                <a:gd name="connsiteY41" fmla="*/ 6892 h 10000"/>
                <a:gd name="connsiteX42" fmla="*/ 1007 w 10000"/>
                <a:gd name="connsiteY42" fmla="*/ 6988 h 10000"/>
                <a:gd name="connsiteX43" fmla="*/ 1146 w 10000"/>
                <a:gd name="connsiteY43" fmla="*/ 7116 h 10000"/>
                <a:gd name="connsiteX44" fmla="*/ 1250 w 10000"/>
                <a:gd name="connsiteY44" fmla="*/ 7116 h 10000"/>
                <a:gd name="connsiteX45" fmla="*/ 1389 w 10000"/>
                <a:gd name="connsiteY45" fmla="*/ 7116 h 10000"/>
                <a:gd name="connsiteX46" fmla="*/ 1493 w 10000"/>
                <a:gd name="connsiteY46" fmla="*/ 7275 h 10000"/>
                <a:gd name="connsiteX47" fmla="*/ 1563 w 10000"/>
                <a:gd name="connsiteY47" fmla="*/ 7339 h 10000"/>
                <a:gd name="connsiteX48" fmla="*/ 1806 w 10000"/>
                <a:gd name="connsiteY48" fmla="*/ 7339 h 10000"/>
                <a:gd name="connsiteX49" fmla="*/ 1910 w 10000"/>
                <a:gd name="connsiteY49" fmla="*/ 7437 h 10000"/>
                <a:gd name="connsiteX50" fmla="*/ 1979 w 10000"/>
                <a:gd name="connsiteY50" fmla="*/ 7500 h 10000"/>
                <a:gd name="connsiteX51" fmla="*/ 2049 w 10000"/>
                <a:gd name="connsiteY51" fmla="*/ 7500 h 10000"/>
                <a:gd name="connsiteX52" fmla="*/ 1979 w 10000"/>
                <a:gd name="connsiteY52" fmla="*/ 7660 h 10000"/>
                <a:gd name="connsiteX53" fmla="*/ 2049 w 10000"/>
                <a:gd name="connsiteY53" fmla="*/ 7724 h 10000"/>
                <a:gd name="connsiteX54" fmla="*/ 2292 w 10000"/>
                <a:gd name="connsiteY54" fmla="*/ 7883 h 10000"/>
                <a:gd name="connsiteX55" fmla="*/ 2465 w 10000"/>
                <a:gd name="connsiteY55" fmla="*/ 8044 h 10000"/>
                <a:gd name="connsiteX56" fmla="*/ 2535 w 10000"/>
                <a:gd name="connsiteY56" fmla="*/ 8108 h 10000"/>
                <a:gd name="connsiteX57" fmla="*/ 2708 w 10000"/>
                <a:gd name="connsiteY57" fmla="*/ 8174 h 10000"/>
                <a:gd name="connsiteX58" fmla="*/ 2708 w 10000"/>
                <a:gd name="connsiteY58" fmla="*/ 8270 h 10000"/>
                <a:gd name="connsiteX59" fmla="*/ 2813 w 10000"/>
                <a:gd name="connsiteY59" fmla="*/ 8430 h 10000"/>
                <a:gd name="connsiteX60" fmla="*/ 2882 w 10000"/>
                <a:gd name="connsiteY60" fmla="*/ 8493 h 10000"/>
                <a:gd name="connsiteX61" fmla="*/ 2882 w 10000"/>
                <a:gd name="connsiteY61" fmla="*/ 8558 h 10000"/>
                <a:gd name="connsiteX62" fmla="*/ 2951 w 10000"/>
                <a:gd name="connsiteY62" fmla="*/ 8654 h 10000"/>
                <a:gd name="connsiteX63" fmla="*/ 3299 w 10000"/>
                <a:gd name="connsiteY63" fmla="*/ 8782 h 10000"/>
                <a:gd name="connsiteX64" fmla="*/ 3368 w 10000"/>
                <a:gd name="connsiteY64" fmla="*/ 8942 h 10000"/>
                <a:gd name="connsiteX65" fmla="*/ 3368 w 10000"/>
                <a:gd name="connsiteY65" fmla="*/ 9006 h 10000"/>
                <a:gd name="connsiteX66" fmla="*/ 3438 w 10000"/>
                <a:gd name="connsiteY66" fmla="*/ 9103 h 10000"/>
                <a:gd name="connsiteX67" fmla="*/ 3542 w 10000"/>
                <a:gd name="connsiteY67" fmla="*/ 9166 h 10000"/>
                <a:gd name="connsiteX68" fmla="*/ 3715 w 10000"/>
                <a:gd name="connsiteY68" fmla="*/ 9327 h 10000"/>
                <a:gd name="connsiteX69" fmla="*/ 3715 w 10000"/>
                <a:gd name="connsiteY69" fmla="*/ 9392 h 10000"/>
                <a:gd name="connsiteX70" fmla="*/ 3785 w 10000"/>
                <a:gd name="connsiteY70" fmla="*/ 9488 h 10000"/>
                <a:gd name="connsiteX71" fmla="*/ 4028 w 10000"/>
                <a:gd name="connsiteY71" fmla="*/ 9550 h 10000"/>
                <a:gd name="connsiteX72" fmla="*/ 4097 w 10000"/>
                <a:gd name="connsiteY72" fmla="*/ 9550 h 10000"/>
                <a:gd name="connsiteX73" fmla="*/ 4201 w 10000"/>
                <a:gd name="connsiteY73" fmla="*/ 9488 h 10000"/>
                <a:gd name="connsiteX74" fmla="*/ 4444 w 10000"/>
                <a:gd name="connsiteY74" fmla="*/ 9550 h 10000"/>
                <a:gd name="connsiteX75" fmla="*/ 4618 w 10000"/>
                <a:gd name="connsiteY75" fmla="*/ 9488 h 10000"/>
                <a:gd name="connsiteX76" fmla="*/ 4757 w 10000"/>
                <a:gd name="connsiteY76" fmla="*/ 9392 h 10000"/>
                <a:gd name="connsiteX77" fmla="*/ 4861 w 10000"/>
                <a:gd name="connsiteY77" fmla="*/ 9488 h 10000"/>
                <a:gd name="connsiteX78" fmla="*/ 5174 w 10000"/>
                <a:gd name="connsiteY78" fmla="*/ 9711 h 10000"/>
                <a:gd name="connsiteX79" fmla="*/ 5243 w 10000"/>
                <a:gd name="connsiteY79" fmla="*/ 9840 h 10000"/>
                <a:gd name="connsiteX80" fmla="*/ 5347 w 10000"/>
                <a:gd name="connsiteY80" fmla="*/ 9936 h 10000"/>
                <a:gd name="connsiteX81" fmla="*/ 5417 w 10000"/>
                <a:gd name="connsiteY81" fmla="*/ 9936 h 10000"/>
                <a:gd name="connsiteX82" fmla="*/ 5486 w 10000"/>
                <a:gd name="connsiteY82" fmla="*/ 9936 h 10000"/>
                <a:gd name="connsiteX83" fmla="*/ 5590 w 10000"/>
                <a:gd name="connsiteY83" fmla="*/ 9936 h 10000"/>
                <a:gd name="connsiteX84" fmla="*/ 5764 w 10000"/>
                <a:gd name="connsiteY84" fmla="*/ 9936 h 10000"/>
                <a:gd name="connsiteX85" fmla="*/ 5833 w 10000"/>
                <a:gd name="connsiteY85" fmla="*/ 9936 h 10000"/>
                <a:gd name="connsiteX86" fmla="*/ 6007 w 10000"/>
                <a:gd name="connsiteY86" fmla="*/ 9936 h 10000"/>
                <a:gd name="connsiteX87" fmla="*/ 6076 w 10000"/>
                <a:gd name="connsiteY87" fmla="*/ 9936 h 10000"/>
                <a:gd name="connsiteX88" fmla="*/ 6146 w 10000"/>
                <a:gd name="connsiteY88" fmla="*/ 10000 h 10000"/>
                <a:gd name="connsiteX89" fmla="*/ 6319 w 10000"/>
                <a:gd name="connsiteY89" fmla="*/ 9936 h 10000"/>
                <a:gd name="connsiteX90" fmla="*/ 6493 w 10000"/>
                <a:gd name="connsiteY90" fmla="*/ 9936 h 10000"/>
                <a:gd name="connsiteX91" fmla="*/ 6667 w 10000"/>
                <a:gd name="connsiteY91" fmla="*/ 9840 h 10000"/>
                <a:gd name="connsiteX92" fmla="*/ 6806 w 10000"/>
                <a:gd name="connsiteY92" fmla="*/ 9840 h 10000"/>
                <a:gd name="connsiteX93" fmla="*/ 7049 w 10000"/>
                <a:gd name="connsiteY93" fmla="*/ 9840 h 10000"/>
                <a:gd name="connsiteX94" fmla="*/ 7292 w 10000"/>
                <a:gd name="connsiteY94" fmla="*/ 9711 h 10000"/>
                <a:gd name="connsiteX95" fmla="*/ 7292 w 10000"/>
                <a:gd name="connsiteY95" fmla="*/ 9711 h 10000"/>
                <a:gd name="connsiteX96" fmla="*/ 7292 w 10000"/>
                <a:gd name="connsiteY96" fmla="*/ 9711 h 10000"/>
                <a:gd name="connsiteX97" fmla="*/ 7569 w 10000"/>
                <a:gd name="connsiteY97" fmla="*/ 9488 h 10000"/>
                <a:gd name="connsiteX98" fmla="*/ 7639 w 10000"/>
                <a:gd name="connsiteY98" fmla="*/ 9392 h 10000"/>
                <a:gd name="connsiteX99" fmla="*/ 7813 w 10000"/>
                <a:gd name="connsiteY99" fmla="*/ 9392 h 10000"/>
                <a:gd name="connsiteX100" fmla="*/ 8125 w 10000"/>
                <a:gd name="connsiteY100" fmla="*/ 9488 h 10000"/>
                <a:gd name="connsiteX101" fmla="*/ 8299 w 10000"/>
                <a:gd name="connsiteY101" fmla="*/ 9488 h 10000"/>
                <a:gd name="connsiteX102" fmla="*/ 8472 w 10000"/>
                <a:gd name="connsiteY102" fmla="*/ 9392 h 10000"/>
                <a:gd name="connsiteX103" fmla="*/ 8472 w 10000"/>
                <a:gd name="connsiteY103" fmla="*/ 9166 h 10000"/>
                <a:gd name="connsiteX104" fmla="*/ 8542 w 10000"/>
                <a:gd name="connsiteY104" fmla="*/ 9103 h 10000"/>
                <a:gd name="connsiteX105" fmla="*/ 8472 w 10000"/>
                <a:gd name="connsiteY105" fmla="*/ 9006 h 10000"/>
                <a:gd name="connsiteX106" fmla="*/ 8472 w 10000"/>
                <a:gd name="connsiteY106" fmla="*/ 8942 h 10000"/>
                <a:gd name="connsiteX107" fmla="*/ 8125 w 10000"/>
                <a:gd name="connsiteY107" fmla="*/ 8942 h 10000"/>
                <a:gd name="connsiteX108" fmla="*/ 8056 w 10000"/>
                <a:gd name="connsiteY108" fmla="*/ 8877 h 10000"/>
                <a:gd name="connsiteX109" fmla="*/ 8056 w 10000"/>
                <a:gd name="connsiteY109" fmla="*/ 8782 h 10000"/>
                <a:gd name="connsiteX110" fmla="*/ 7882 w 10000"/>
                <a:gd name="connsiteY110" fmla="*/ 8493 h 10000"/>
                <a:gd name="connsiteX111" fmla="*/ 7882 w 10000"/>
                <a:gd name="connsiteY111" fmla="*/ 8334 h 10000"/>
                <a:gd name="connsiteX112" fmla="*/ 7813 w 10000"/>
                <a:gd name="connsiteY112" fmla="*/ 8270 h 10000"/>
                <a:gd name="connsiteX113" fmla="*/ 7569 w 10000"/>
                <a:gd name="connsiteY113" fmla="*/ 8108 h 10000"/>
                <a:gd name="connsiteX114" fmla="*/ 7465 w 10000"/>
                <a:gd name="connsiteY114" fmla="*/ 8044 h 10000"/>
                <a:gd name="connsiteX115" fmla="*/ 7396 w 10000"/>
                <a:gd name="connsiteY115" fmla="*/ 7949 h 10000"/>
                <a:gd name="connsiteX116" fmla="*/ 7396 w 10000"/>
                <a:gd name="connsiteY116" fmla="*/ 7883 h 10000"/>
                <a:gd name="connsiteX117" fmla="*/ 7292 w 10000"/>
                <a:gd name="connsiteY117" fmla="*/ 7724 h 10000"/>
                <a:gd name="connsiteX118" fmla="*/ 7222 w 10000"/>
                <a:gd name="connsiteY118" fmla="*/ 7724 h 10000"/>
                <a:gd name="connsiteX119" fmla="*/ 7049 w 10000"/>
                <a:gd name="connsiteY119" fmla="*/ 7660 h 10000"/>
                <a:gd name="connsiteX120" fmla="*/ 6979 w 10000"/>
                <a:gd name="connsiteY120" fmla="*/ 7660 h 10000"/>
                <a:gd name="connsiteX121" fmla="*/ 6910 w 10000"/>
                <a:gd name="connsiteY121" fmla="*/ 7660 h 10000"/>
                <a:gd name="connsiteX122" fmla="*/ 6806 w 10000"/>
                <a:gd name="connsiteY122" fmla="*/ 7660 h 10000"/>
                <a:gd name="connsiteX123" fmla="*/ 6736 w 10000"/>
                <a:gd name="connsiteY123" fmla="*/ 7596 h 10000"/>
                <a:gd name="connsiteX124" fmla="*/ 6806 w 10000"/>
                <a:gd name="connsiteY124" fmla="*/ 7500 h 10000"/>
                <a:gd name="connsiteX125" fmla="*/ 6910 w 10000"/>
                <a:gd name="connsiteY125" fmla="*/ 7437 h 10000"/>
                <a:gd name="connsiteX126" fmla="*/ 6910 w 10000"/>
                <a:gd name="connsiteY126" fmla="*/ 7275 h 10000"/>
                <a:gd name="connsiteX127" fmla="*/ 6979 w 10000"/>
                <a:gd name="connsiteY127" fmla="*/ 7275 h 10000"/>
                <a:gd name="connsiteX128" fmla="*/ 7222 w 10000"/>
                <a:gd name="connsiteY128" fmla="*/ 7275 h 10000"/>
                <a:gd name="connsiteX129" fmla="*/ 7396 w 10000"/>
                <a:gd name="connsiteY129" fmla="*/ 7275 h 10000"/>
                <a:gd name="connsiteX130" fmla="*/ 7465 w 10000"/>
                <a:gd name="connsiteY130" fmla="*/ 7211 h 10000"/>
                <a:gd name="connsiteX131" fmla="*/ 7465 w 10000"/>
                <a:gd name="connsiteY131" fmla="*/ 7051 h 10000"/>
                <a:gd name="connsiteX132" fmla="*/ 7465 w 10000"/>
                <a:gd name="connsiteY132" fmla="*/ 6603 h 10000"/>
                <a:gd name="connsiteX133" fmla="*/ 7465 w 10000"/>
                <a:gd name="connsiteY133" fmla="*/ 6442 h 10000"/>
                <a:gd name="connsiteX134" fmla="*/ 7569 w 10000"/>
                <a:gd name="connsiteY134" fmla="*/ 6282 h 10000"/>
                <a:gd name="connsiteX135" fmla="*/ 7465 w 10000"/>
                <a:gd name="connsiteY135" fmla="*/ 6217 h 10000"/>
                <a:gd name="connsiteX136" fmla="*/ 7465 w 10000"/>
                <a:gd name="connsiteY136" fmla="*/ 6153 h 10000"/>
                <a:gd name="connsiteX137" fmla="*/ 7569 w 10000"/>
                <a:gd name="connsiteY137" fmla="*/ 6153 h 10000"/>
                <a:gd name="connsiteX138" fmla="*/ 7569 w 10000"/>
                <a:gd name="connsiteY138" fmla="*/ 6058 h 10000"/>
                <a:gd name="connsiteX139" fmla="*/ 7639 w 10000"/>
                <a:gd name="connsiteY139" fmla="*/ 5930 h 10000"/>
                <a:gd name="connsiteX140" fmla="*/ 7708 w 10000"/>
                <a:gd name="connsiteY140" fmla="*/ 5930 h 10000"/>
                <a:gd name="connsiteX141" fmla="*/ 7882 w 10000"/>
                <a:gd name="connsiteY141" fmla="*/ 5930 h 10000"/>
                <a:gd name="connsiteX142" fmla="*/ 7882 w 10000"/>
                <a:gd name="connsiteY142" fmla="*/ 5834 h 10000"/>
                <a:gd name="connsiteX143" fmla="*/ 7951 w 10000"/>
                <a:gd name="connsiteY143" fmla="*/ 5544 h 10000"/>
                <a:gd name="connsiteX144" fmla="*/ 8056 w 10000"/>
                <a:gd name="connsiteY144" fmla="*/ 5449 h 10000"/>
                <a:gd name="connsiteX145" fmla="*/ 8368 w 10000"/>
                <a:gd name="connsiteY145" fmla="*/ 4936 h 10000"/>
                <a:gd name="connsiteX146" fmla="*/ 8542 w 10000"/>
                <a:gd name="connsiteY146" fmla="*/ 4872 h 10000"/>
                <a:gd name="connsiteX147" fmla="*/ 8611 w 10000"/>
                <a:gd name="connsiteY147" fmla="*/ 4777 h 10000"/>
                <a:gd name="connsiteX148" fmla="*/ 8715 w 10000"/>
                <a:gd name="connsiteY148" fmla="*/ 4711 h 10000"/>
                <a:gd name="connsiteX149" fmla="*/ 8854 w 10000"/>
                <a:gd name="connsiteY149" fmla="*/ 4103 h 10000"/>
                <a:gd name="connsiteX150" fmla="*/ 8854 w 10000"/>
                <a:gd name="connsiteY150" fmla="*/ 3942 h 10000"/>
                <a:gd name="connsiteX151" fmla="*/ 8854 w 10000"/>
                <a:gd name="connsiteY151" fmla="*/ 3782 h 10000"/>
                <a:gd name="connsiteX152" fmla="*/ 8854 w 10000"/>
                <a:gd name="connsiteY152" fmla="*/ 3654 h 10000"/>
                <a:gd name="connsiteX153" fmla="*/ 8854 w 10000"/>
                <a:gd name="connsiteY153" fmla="*/ 3431 h 10000"/>
                <a:gd name="connsiteX154" fmla="*/ 8958 w 10000"/>
                <a:gd name="connsiteY154" fmla="*/ 3270 h 10000"/>
                <a:gd name="connsiteX155" fmla="*/ 9097 w 10000"/>
                <a:gd name="connsiteY155" fmla="*/ 2723 h 10000"/>
                <a:gd name="connsiteX156" fmla="*/ 9097 w 10000"/>
                <a:gd name="connsiteY156" fmla="*/ 2660 h 10000"/>
                <a:gd name="connsiteX157" fmla="*/ 9097 w 10000"/>
                <a:gd name="connsiteY157" fmla="*/ 2436 h 10000"/>
                <a:gd name="connsiteX158" fmla="*/ 9201 w 10000"/>
                <a:gd name="connsiteY158" fmla="*/ 2373 h 10000"/>
                <a:gd name="connsiteX159" fmla="*/ 9375 w 10000"/>
                <a:gd name="connsiteY159" fmla="*/ 2373 h 10000"/>
                <a:gd name="connsiteX160" fmla="*/ 9514 w 10000"/>
                <a:gd name="connsiteY160" fmla="*/ 2210 h 10000"/>
                <a:gd name="connsiteX161" fmla="*/ 9688 w 10000"/>
                <a:gd name="connsiteY161" fmla="*/ 2115 h 10000"/>
                <a:gd name="connsiteX162" fmla="*/ 9757 w 10000"/>
                <a:gd name="connsiteY162" fmla="*/ 2051 h 10000"/>
                <a:gd name="connsiteX163" fmla="*/ 9931 w 10000"/>
                <a:gd name="connsiteY163" fmla="*/ 2051 h 10000"/>
                <a:gd name="connsiteX164" fmla="*/ 10000 w 10000"/>
                <a:gd name="connsiteY164" fmla="*/ 1892 h 10000"/>
                <a:gd name="connsiteX165" fmla="*/ 10000 w 10000"/>
                <a:gd name="connsiteY165" fmla="*/ 1763 h 10000"/>
                <a:gd name="connsiteX166" fmla="*/ 10000 w 10000"/>
                <a:gd name="connsiteY166" fmla="*/ 1665 h 10000"/>
                <a:gd name="connsiteX167" fmla="*/ 9931 w 10000"/>
                <a:gd name="connsiteY167" fmla="*/ 1665 h 10000"/>
                <a:gd name="connsiteX168" fmla="*/ 9931 w 10000"/>
                <a:gd name="connsiteY168" fmla="*/ 1665 h 10000"/>
                <a:gd name="connsiteX169" fmla="*/ 9861 w 10000"/>
                <a:gd name="connsiteY169" fmla="*/ 1665 h 10000"/>
                <a:gd name="connsiteX170" fmla="*/ 9861 w 10000"/>
                <a:gd name="connsiteY170" fmla="*/ 1539 h 10000"/>
                <a:gd name="connsiteX171" fmla="*/ 9757 w 10000"/>
                <a:gd name="connsiteY171" fmla="*/ 1442 h 10000"/>
                <a:gd name="connsiteX172" fmla="*/ 9688 w 10000"/>
                <a:gd name="connsiteY172" fmla="*/ 1442 h 10000"/>
                <a:gd name="connsiteX173" fmla="*/ 9514 w 10000"/>
                <a:gd name="connsiteY173" fmla="*/ 1377 h 10000"/>
                <a:gd name="connsiteX174" fmla="*/ 9271 w 10000"/>
                <a:gd name="connsiteY174" fmla="*/ 0 h 10000"/>
                <a:gd name="connsiteX0" fmla="*/ 9271 w 10000"/>
                <a:gd name="connsiteY0" fmla="*/ 0 h 10000"/>
                <a:gd name="connsiteX1" fmla="*/ 1889 w 10000"/>
                <a:gd name="connsiteY1" fmla="*/ 480 h 10000"/>
                <a:gd name="connsiteX2" fmla="*/ 1319 w 10000"/>
                <a:gd name="connsiteY2" fmla="*/ 3108 h 10000"/>
                <a:gd name="connsiteX3" fmla="*/ 1250 w 10000"/>
                <a:gd name="connsiteY3" fmla="*/ 3108 h 10000"/>
                <a:gd name="connsiteX4" fmla="*/ 903 w 10000"/>
                <a:gd name="connsiteY4" fmla="*/ 3108 h 10000"/>
                <a:gd name="connsiteX5" fmla="*/ 660 w 10000"/>
                <a:gd name="connsiteY5" fmla="*/ 3108 h 10000"/>
                <a:gd name="connsiteX6" fmla="*/ 660 w 10000"/>
                <a:gd name="connsiteY6" fmla="*/ 3206 h 10000"/>
                <a:gd name="connsiteX7" fmla="*/ 660 w 10000"/>
                <a:gd name="connsiteY7" fmla="*/ 3270 h 10000"/>
                <a:gd name="connsiteX8" fmla="*/ 660 w 10000"/>
                <a:gd name="connsiteY8" fmla="*/ 3333 h 10000"/>
                <a:gd name="connsiteX9" fmla="*/ 590 w 10000"/>
                <a:gd name="connsiteY9" fmla="*/ 3493 h 10000"/>
                <a:gd name="connsiteX10" fmla="*/ 486 w 10000"/>
                <a:gd name="connsiteY10" fmla="*/ 3654 h 10000"/>
                <a:gd name="connsiteX11" fmla="*/ 243 w 10000"/>
                <a:gd name="connsiteY11" fmla="*/ 3876 h 10000"/>
                <a:gd name="connsiteX12" fmla="*/ 243 w 10000"/>
                <a:gd name="connsiteY12" fmla="*/ 3942 h 10000"/>
                <a:gd name="connsiteX13" fmla="*/ 347 w 10000"/>
                <a:gd name="connsiteY13" fmla="*/ 4039 h 10000"/>
                <a:gd name="connsiteX14" fmla="*/ 243 w 10000"/>
                <a:gd name="connsiteY14" fmla="*/ 4103 h 10000"/>
                <a:gd name="connsiteX15" fmla="*/ 243 w 10000"/>
                <a:gd name="connsiteY15" fmla="*/ 4103 h 10000"/>
                <a:gd name="connsiteX16" fmla="*/ 174 w 10000"/>
                <a:gd name="connsiteY16" fmla="*/ 4166 h 10000"/>
                <a:gd name="connsiteX17" fmla="*/ 174 w 10000"/>
                <a:gd name="connsiteY17" fmla="*/ 4166 h 10000"/>
                <a:gd name="connsiteX18" fmla="*/ 174 w 10000"/>
                <a:gd name="connsiteY18" fmla="*/ 4326 h 10000"/>
                <a:gd name="connsiteX19" fmla="*/ 174 w 10000"/>
                <a:gd name="connsiteY19" fmla="*/ 4487 h 10000"/>
                <a:gd name="connsiteX20" fmla="*/ 104 w 10000"/>
                <a:gd name="connsiteY20" fmla="*/ 4552 h 10000"/>
                <a:gd name="connsiteX21" fmla="*/ 0 w 10000"/>
                <a:gd name="connsiteY21" fmla="*/ 4616 h 10000"/>
                <a:gd name="connsiteX22" fmla="*/ 0 w 10000"/>
                <a:gd name="connsiteY22" fmla="*/ 4711 h 10000"/>
                <a:gd name="connsiteX23" fmla="*/ 0 w 10000"/>
                <a:gd name="connsiteY23" fmla="*/ 4872 h 10000"/>
                <a:gd name="connsiteX24" fmla="*/ 104 w 10000"/>
                <a:gd name="connsiteY24" fmla="*/ 4872 h 10000"/>
                <a:gd name="connsiteX25" fmla="*/ 104 w 10000"/>
                <a:gd name="connsiteY25" fmla="*/ 4872 h 10000"/>
                <a:gd name="connsiteX26" fmla="*/ 347 w 10000"/>
                <a:gd name="connsiteY26" fmla="*/ 4777 h 10000"/>
                <a:gd name="connsiteX27" fmla="*/ 243 w 10000"/>
                <a:gd name="connsiteY27" fmla="*/ 4999 h 10000"/>
                <a:gd name="connsiteX28" fmla="*/ 347 w 10000"/>
                <a:gd name="connsiteY28" fmla="*/ 5161 h 10000"/>
                <a:gd name="connsiteX29" fmla="*/ 486 w 10000"/>
                <a:gd name="connsiteY29" fmla="*/ 5449 h 10000"/>
                <a:gd name="connsiteX30" fmla="*/ 486 w 10000"/>
                <a:gd name="connsiteY30" fmla="*/ 5544 h 10000"/>
                <a:gd name="connsiteX31" fmla="*/ 590 w 10000"/>
                <a:gd name="connsiteY31" fmla="*/ 5544 h 10000"/>
                <a:gd name="connsiteX32" fmla="*/ 590 w 10000"/>
                <a:gd name="connsiteY32" fmla="*/ 5607 h 10000"/>
                <a:gd name="connsiteX33" fmla="*/ 660 w 10000"/>
                <a:gd name="connsiteY33" fmla="*/ 5674 h 10000"/>
                <a:gd name="connsiteX34" fmla="*/ 660 w 10000"/>
                <a:gd name="connsiteY34" fmla="*/ 5770 h 10000"/>
                <a:gd name="connsiteX35" fmla="*/ 486 w 10000"/>
                <a:gd name="connsiteY35" fmla="*/ 5834 h 10000"/>
                <a:gd name="connsiteX36" fmla="*/ 660 w 10000"/>
                <a:gd name="connsiteY36" fmla="*/ 5930 h 10000"/>
                <a:gd name="connsiteX37" fmla="*/ 833 w 10000"/>
                <a:gd name="connsiteY37" fmla="*/ 6153 h 10000"/>
                <a:gd name="connsiteX38" fmla="*/ 1007 w 10000"/>
                <a:gd name="connsiteY38" fmla="*/ 6377 h 10000"/>
                <a:gd name="connsiteX39" fmla="*/ 1076 w 10000"/>
                <a:gd name="connsiteY39" fmla="*/ 6507 h 10000"/>
                <a:gd name="connsiteX40" fmla="*/ 1007 w 10000"/>
                <a:gd name="connsiteY40" fmla="*/ 6666 h 10000"/>
                <a:gd name="connsiteX41" fmla="*/ 1007 w 10000"/>
                <a:gd name="connsiteY41" fmla="*/ 6892 h 10000"/>
                <a:gd name="connsiteX42" fmla="*/ 1007 w 10000"/>
                <a:gd name="connsiteY42" fmla="*/ 6988 h 10000"/>
                <a:gd name="connsiteX43" fmla="*/ 1146 w 10000"/>
                <a:gd name="connsiteY43" fmla="*/ 7116 h 10000"/>
                <a:gd name="connsiteX44" fmla="*/ 1250 w 10000"/>
                <a:gd name="connsiteY44" fmla="*/ 7116 h 10000"/>
                <a:gd name="connsiteX45" fmla="*/ 1389 w 10000"/>
                <a:gd name="connsiteY45" fmla="*/ 7116 h 10000"/>
                <a:gd name="connsiteX46" fmla="*/ 1493 w 10000"/>
                <a:gd name="connsiteY46" fmla="*/ 7275 h 10000"/>
                <a:gd name="connsiteX47" fmla="*/ 1563 w 10000"/>
                <a:gd name="connsiteY47" fmla="*/ 7339 h 10000"/>
                <a:gd name="connsiteX48" fmla="*/ 1806 w 10000"/>
                <a:gd name="connsiteY48" fmla="*/ 7339 h 10000"/>
                <a:gd name="connsiteX49" fmla="*/ 1910 w 10000"/>
                <a:gd name="connsiteY49" fmla="*/ 7437 h 10000"/>
                <a:gd name="connsiteX50" fmla="*/ 1979 w 10000"/>
                <a:gd name="connsiteY50" fmla="*/ 7500 h 10000"/>
                <a:gd name="connsiteX51" fmla="*/ 2049 w 10000"/>
                <a:gd name="connsiteY51" fmla="*/ 7500 h 10000"/>
                <a:gd name="connsiteX52" fmla="*/ 1979 w 10000"/>
                <a:gd name="connsiteY52" fmla="*/ 7660 h 10000"/>
                <a:gd name="connsiteX53" fmla="*/ 2049 w 10000"/>
                <a:gd name="connsiteY53" fmla="*/ 7724 h 10000"/>
                <a:gd name="connsiteX54" fmla="*/ 2292 w 10000"/>
                <a:gd name="connsiteY54" fmla="*/ 7883 h 10000"/>
                <a:gd name="connsiteX55" fmla="*/ 2465 w 10000"/>
                <a:gd name="connsiteY55" fmla="*/ 8044 h 10000"/>
                <a:gd name="connsiteX56" fmla="*/ 2535 w 10000"/>
                <a:gd name="connsiteY56" fmla="*/ 8108 h 10000"/>
                <a:gd name="connsiteX57" fmla="*/ 2708 w 10000"/>
                <a:gd name="connsiteY57" fmla="*/ 8174 h 10000"/>
                <a:gd name="connsiteX58" fmla="*/ 2708 w 10000"/>
                <a:gd name="connsiteY58" fmla="*/ 8270 h 10000"/>
                <a:gd name="connsiteX59" fmla="*/ 2813 w 10000"/>
                <a:gd name="connsiteY59" fmla="*/ 8430 h 10000"/>
                <a:gd name="connsiteX60" fmla="*/ 2882 w 10000"/>
                <a:gd name="connsiteY60" fmla="*/ 8493 h 10000"/>
                <a:gd name="connsiteX61" fmla="*/ 2882 w 10000"/>
                <a:gd name="connsiteY61" fmla="*/ 8558 h 10000"/>
                <a:gd name="connsiteX62" fmla="*/ 2951 w 10000"/>
                <a:gd name="connsiteY62" fmla="*/ 8654 h 10000"/>
                <a:gd name="connsiteX63" fmla="*/ 3299 w 10000"/>
                <a:gd name="connsiteY63" fmla="*/ 8782 h 10000"/>
                <a:gd name="connsiteX64" fmla="*/ 3368 w 10000"/>
                <a:gd name="connsiteY64" fmla="*/ 8942 h 10000"/>
                <a:gd name="connsiteX65" fmla="*/ 3368 w 10000"/>
                <a:gd name="connsiteY65" fmla="*/ 9006 h 10000"/>
                <a:gd name="connsiteX66" fmla="*/ 3438 w 10000"/>
                <a:gd name="connsiteY66" fmla="*/ 9103 h 10000"/>
                <a:gd name="connsiteX67" fmla="*/ 3542 w 10000"/>
                <a:gd name="connsiteY67" fmla="*/ 9166 h 10000"/>
                <a:gd name="connsiteX68" fmla="*/ 3715 w 10000"/>
                <a:gd name="connsiteY68" fmla="*/ 9327 h 10000"/>
                <a:gd name="connsiteX69" fmla="*/ 3715 w 10000"/>
                <a:gd name="connsiteY69" fmla="*/ 9392 h 10000"/>
                <a:gd name="connsiteX70" fmla="*/ 3785 w 10000"/>
                <a:gd name="connsiteY70" fmla="*/ 9488 h 10000"/>
                <a:gd name="connsiteX71" fmla="*/ 4028 w 10000"/>
                <a:gd name="connsiteY71" fmla="*/ 9550 h 10000"/>
                <a:gd name="connsiteX72" fmla="*/ 4097 w 10000"/>
                <a:gd name="connsiteY72" fmla="*/ 9550 h 10000"/>
                <a:gd name="connsiteX73" fmla="*/ 4201 w 10000"/>
                <a:gd name="connsiteY73" fmla="*/ 9488 h 10000"/>
                <a:gd name="connsiteX74" fmla="*/ 4444 w 10000"/>
                <a:gd name="connsiteY74" fmla="*/ 9550 h 10000"/>
                <a:gd name="connsiteX75" fmla="*/ 4618 w 10000"/>
                <a:gd name="connsiteY75" fmla="*/ 9488 h 10000"/>
                <a:gd name="connsiteX76" fmla="*/ 4757 w 10000"/>
                <a:gd name="connsiteY76" fmla="*/ 9392 h 10000"/>
                <a:gd name="connsiteX77" fmla="*/ 4861 w 10000"/>
                <a:gd name="connsiteY77" fmla="*/ 9488 h 10000"/>
                <a:gd name="connsiteX78" fmla="*/ 5174 w 10000"/>
                <a:gd name="connsiteY78" fmla="*/ 9711 h 10000"/>
                <a:gd name="connsiteX79" fmla="*/ 5243 w 10000"/>
                <a:gd name="connsiteY79" fmla="*/ 9840 h 10000"/>
                <a:gd name="connsiteX80" fmla="*/ 5347 w 10000"/>
                <a:gd name="connsiteY80" fmla="*/ 9936 h 10000"/>
                <a:gd name="connsiteX81" fmla="*/ 5417 w 10000"/>
                <a:gd name="connsiteY81" fmla="*/ 9936 h 10000"/>
                <a:gd name="connsiteX82" fmla="*/ 5486 w 10000"/>
                <a:gd name="connsiteY82" fmla="*/ 9936 h 10000"/>
                <a:gd name="connsiteX83" fmla="*/ 5590 w 10000"/>
                <a:gd name="connsiteY83" fmla="*/ 9936 h 10000"/>
                <a:gd name="connsiteX84" fmla="*/ 5764 w 10000"/>
                <a:gd name="connsiteY84" fmla="*/ 9936 h 10000"/>
                <a:gd name="connsiteX85" fmla="*/ 5833 w 10000"/>
                <a:gd name="connsiteY85" fmla="*/ 9936 h 10000"/>
                <a:gd name="connsiteX86" fmla="*/ 6007 w 10000"/>
                <a:gd name="connsiteY86" fmla="*/ 9936 h 10000"/>
                <a:gd name="connsiteX87" fmla="*/ 6076 w 10000"/>
                <a:gd name="connsiteY87" fmla="*/ 9936 h 10000"/>
                <a:gd name="connsiteX88" fmla="*/ 6146 w 10000"/>
                <a:gd name="connsiteY88" fmla="*/ 10000 h 10000"/>
                <a:gd name="connsiteX89" fmla="*/ 6319 w 10000"/>
                <a:gd name="connsiteY89" fmla="*/ 9936 h 10000"/>
                <a:gd name="connsiteX90" fmla="*/ 6493 w 10000"/>
                <a:gd name="connsiteY90" fmla="*/ 9936 h 10000"/>
                <a:gd name="connsiteX91" fmla="*/ 6667 w 10000"/>
                <a:gd name="connsiteY91" fmla="*/ 9840 h 10000"/>
                <a:gd name="connsiteX92" fmla="*/ 6806 w 10000"/>
                <a:gd name="connsiteY92" fmla="*/ 9840 h 10000"/>
                <a:gd name="connsiteX93" fmla="*/ 7049 w 10000"/>
                <a:gd name="connsiteY93" fmla="*/ 9840 h 10000"/>
                <a:gd name="connsiteX94" fmla="*/ 7292 w 10000"/>
                <a:gd name="connsiteY94" fmla="*/ 9711 h 10000"/>
                <a:gd name="connsiteX95" fmla="*/ 7292 w 10000"/>
                <a:gd name="connsiteY95" fmla="*/ 9711 h 10000"/>
                <a:gd name="connsiteX96" fmla="*/ 7292 w 10000"/>
                <a:gd name="connsiteY96" fmla="*/ 9711 h 10000"/>
                <a:gd name="connsiteX97" fmla="*/ 7569 w 10000"/>
                <a:gd name="connsiteY97" fmla="*/ 9488 h 10000"/>
                <a:gd name="connsiteX98" fmla="*/ 7639 w 10000"/>
                <a:gd name="connsiteY98" fmla="*/ 9392 h 10000"/>
                <a:gd name="connsiteX99" fmla="*/ 7813 w 10000"/>
                <a:gd name="connsiteY99" fmla="*/ 9392 h 10000"/>
                <a:gd name="connsiteX100" fmla="*/ 8125 w 10000"/>
                <a:gd name="connsiteY100" fmla="*/ 9488 h 10000"/>
                <a:gd name="connsiteX101" fmla="*/ 8299 w 10000"/>
                <a:gd name="connsiteY101" fmla="*/ 9488 h 10000"/>
                <a:gd name="connsiteX102" fmla="*/ 8472 w 10000"/>
                <a:gd name="connsiteY102" fmla="*/ 9392 h 10000"/>
                <a:gd name="connsiteX103" fmla="*/ 8472 w 10000"/>
                <a:gd name="connsiteY103" fmla="*/ 9166 h 10000"/>
                <a:gd name="connsiteX104" fmla="*/ 8542 w 10000"/>
                <a:gd name="connsiteY104" fmla="*/ 9103 h 10000"/>
                <a:gd name="connsiteX105" fmla="*/ 8472 w 10000"/>
                <a:gd name="connsiteY105" fmla="*/ 9006 h 10000"/>
                <a:gd name="connsiteX106" fmla="*/ 8472 w 10000"/>
                <a:gd name="connsiteY106" fmla="*/ 8942 h 10000"/>
                <a:gd name="connsiteX107" fmla="*/ 8125 w 10000"/>
                <a:gd name="connsiteY107" fmla="*/ 8942 h 10000"/>
                <a:gd name="connsiteX108" fmla="*/ 8056 w 10000"/>
                <a:gd name="connsiteY108" fmla="*/ 8877 h 10000"/>
                <a:gd name="connsiteX109" fmla="*/ 8056 w 10000"/>
                <a:gd name="connsiteY109" fmla="*/ 8782 h 10000"/>
                <a:gd name="connsiteX110" fmla="*/ 7882 w 10000"/>
                <a:gd name="connsiteY110" fmla="*/ 8493 h 10000"/>
                <a:gd name="connsiteX111" fmla="*/ 7882 w 10000"/>
                <a:gd name="connsiteY111" fmla="*/ 8334 h 10000"/>
                <a:gd name="connsiteX112" fmla="*/ 7813 w 10000"/>
                <a:gd name="connsiteY112" fmla="*/ 8270 h 10000"/>
                <a:gd name="connsiteX113" fmla="*/ 7569 w 10000"/>
                <a:gd name="connsiteY113" fmla="*/ 8108 h 10000"/>
                <a:gd name="connsiteX114" fmla="*/ 7465 w 10000"/>
                <a:gd name="connsiteY114" fmla="*/ 8044 h 10000"/>
                <a:gd name="connsiteX115" fmla="*/ 7396 w 10000"/>
                <a:gd name="connsiteY115" fmla="*/ 7949 h 10000"/>
                <a:gd name="connsiteX116" fmla="*/ 7396 w 10000"/>
                <a:gd name="connsiteY116" fmla="*/ 7883 h 10000"/>
                <a:gd name="connsiteX117" fmla="*/ 7292 w 10000"/>
                <a:gd name="connsiteY117" fmla="*/ 7724 h 10000"/>
                <a:gd name="connsiteX118" fmla="*/ 7222 w 10000"/>
                <a:gd name="connsiteY118" fmla="*/ 7724 h 10000"/>
                <a:gd name="connsiteX119" fmla="*/ 7049 w 10000"/>
                <a:gd name="connsiteY119" fmla="*/ 7660 h 10000"/>
                <a:gd name="connsiteX120" fmla="*/ 6979 w 10000"/>
                <a:gd name="connsiteY120" fmla="*/ 7660 h 10000"/>
                <a:gd name="connsiteX121" fmla="*/ 6910 w 10000"/>
                <a:gd name="connsiteY121" fmla="*/ 7660 h 10000"/>
                <a:gd name="connsiteX122" fmla="*/ 6806 w 10000"/>
                <a:gd name="connsiteY122" fmla="*/ 7660 h 10000"/>
                <a:gd name="connsiteX123" fmla="*/ 6736 w 10000"/>
                <a:gd name="connsiteY123" fmla="*/ 7596 h 10000"/>
                <a:gd name="connsiteX124" fmla="*/ 6806 w 10000"/>
                <a:gd name="connsiteY124" fmla="*/ 7500 h 10000"/>
                <a:gd name="connsiteX125" fmla="*/ 6910 w 10000"/>
                <a:gd name="connsiteY125" fmla="*/ 7437 h 10000"/>
                <a:gd name="connsiteX126" fmla="*/ 6910 w 10000"/>
                <a:gd name="connsiteY126" fmla="*/ 7275 h 10000"/>
                <a:gd name="connsiteX127" fmla="*/ 6979 w 10000"/>
                <a:gd name="connsiteY127" fmla="*/ 7275 h 10000"/>
                <a:gd name="connsiteX128" fmla="*/ 7222 w 10000"/>
                <a:gd name="connsiteY128" fmla="*/ 7275 h 10000"/>
                <a:gd name="connsiteX129" fmla="*/ 7396 w 10000"/>
                <a:gd name="connsiteY129" fmla="*/ 7275 h 10000"/>
                <a:gd name="connsiteX130" fmla="*/ 7465 w 10000"/>
                <a:gd name="connsiteY130" fmla="*/ 7211 h 10000"/>
                <a:gd name="connsiteX131" fmla="*/ 7465 w 10000"/>
                <a:gd name="connsiteY131" fmla="*/ 7051 h 10000"/>
                <a:gd name="connsiteX132" fmla="*/ 7465 w 10000"/>
                <a:gd name="connsiteY132" fmla="*/ 6603 h 10000"/>
                <a:gd name="connsiteX133" fmla="*/ 7465 w 10000"/>
                <a:gd name="connsiteY133" fmla="*/ 6442 h 10000"/>
                <a:gd name="connsiteX134" fmla="*/ 7569 w 10000"/>
                <a:gd name="connsiteY134" fmla="*/ 6282 h 10000"/>
                <a:gd name="connsiteX135" fmla="*/ 7465 w 10000"/>
                <a:gd name="connsiteY135" fmla="*/ 6217 h 10000"/>
                <a:gd name="connsiteX136" fmla="*/ 7465 w 10000"/>
                <a:gd name="connsiteY136" fmla="*/ 6153 h 10000"/>
                <a:gd name="connsiteX137" fmla="*/ 7569 w 10000"/>
                <a:gd name="connsiteY137" fmla="*/ 6153 h 10000"/>
                <a:gd name="connsiteX138" fmla="*/ 7569 w 10000"/>
                <a:gd name="connsiteY138" fmla="*/ 6058 h 10000"/>
                <a:gd name="connsiteX139" fmla="*/ 7639 w 10000"/>
                <a:gd name="connsiteY139" fmla="*/ 5930 h 10000"/>
                <a:gd name="connsiteX140" fmla="*/ 7708 w 10000"/>
                <a:gd name="connsiteY140" fmla="*/ 5930 h 10000"/>
                <a:gd name="connsiteX141" fmla="*/ 7882 w 10000"/>
                <a:gd name="connsiteY141" fmla="*/ 5930 h 10000"/>
                <a:gd name="connsiteX142" fmla="*/ 7882 w 10000"/>
                <a:gd name="connsiteY142" fmla="*/ 5834 h 10000"/>
                <a:gd name="connsiteX143" fmla="*/ 7951 w 10000"/>
                <a:gd name="connsiteY143" fmla="*/ 5544 h 10000"/>
                <a:gd name="connsiteX144" fmla="*/ 8056 w 10000"/>
                <a:gd name="connsiteY144" fmla="*/ 5449 h 10000"/>
                <a:gd name="connsiteX145" fmla="*/ 8368 w 10000"/>
                <a:gd name="connsiteY145" fmla="*/ 4936 h 10000"/>
                <a:gd name="connsiteX146" fmla="*/ 8542 w 10000"/>
                <a:gd name="connsiteY146" fmla="*/ 4872 h 10000"/>
                <a:gd name="connsiteX147" fmla="*/ 8611 w 10000"/>
                <a:gd name="connsiteY147" fmla="*/ 4777 h 10000"/>
                <a:gd name="connsiteX148" fmla="*/ 8715 w 10000"/>
                <a:gd name="connsiteY148" fmla="*/ 4711 h 10000"/>
                <a:gd name="connsiteX149" fmla="*/ 8854 w 10000"/>
                <a:gd name="connsiteY149" fmla="*/ 4103 h 10000"/>
                <a:gd name="connsiteX150" fmla="*/ 8854 w 10000"/>
                <a:gd name="connsiteY150" fmla="*/ 3942 h 10000"/>
                <a:gd name="connsiteX151" fmla="*/ 8854 w 10000"/>
                <a:gd name="connsiteY151" fmla="*/ 3782 h 10000"/>
                <a:gd name="connsiteX152" fmla="*/ 8854 w 10000"/>
                <a:gd name="connsiteY152" fmla="*/ 3654 h 10000"/>
                <a:gd name="connsiteX153" fmla="*/ 8854 w 10000"/>
                <a:gd name="connsiteY153" fmla="*/ 3431 h 10000"/>
                <a:gd name="connsiteX154" fmla="*/ 8958 w 10000"/>
                <a:gd name="connsiteY154" fmla="*/ 3270 h 10000"/>
                <a:gd name="connsiteX155" fmla="*/ 9097 w 10000"/>
                <a:gd name="connsiteY155" fmla="*/ 2723 h 10000"/>
                <a:gd name="connsiteX156" fmla="*/ 9097 w 10000"/>
                <a:gd name="connsiteY156" fmla="*/ 2660 h 10000"/>
                <a:gd name="connsiteX157" fmla="*/ 9097 w 10000"/>
                <a:gd name="connsiteY157" fmla="*/ 2436 h 10000"/>
                <a:gd name="connsiteX158" fmla="*/ 9201 w 10000"/>
                <a:gd name="connsiteY158" fmla="*/ 2373 h 10000"/>
                <a:gd name="connsiteX159" fmla="*/ 9375 w 10000"/>
                <a:gd name="connsiteY159" fmla="*/ 2373 h 10000"/>
                <a:gd name="connsiteX160" fmla="*/ 9514 w 10000"/>
                <a:gd name="connsiteY160" fmla="*/ 2210 h 10000"/>
                <a:gd name="connsiteX161" fmla="*/ 9688 w 10000"/>
                <a:gd name="connsiteY161" fmla="*/ 2115 h 10000"/>
                <a:gd name="connsiteX162" fmla="*/ 9757 w 10000"/>
                <a:gd name="connsiteY162" fmla="*/ 2051 h 10000"/>
                <a:gd name="connsiteX163" fmla="*/ 9931 w 10000"/>
                <a:gd name="connsiteY163" fmla="*/ 2051 h 10000"/>
                <a:gd name="connsiteX164" fmla="*/ 10000 w 10000"/>
                <a:gd name="connsiteY164" fmla="*/ 1892 h 10000"/>
                <a:gd name="connsiteX165" fmla="*/ 10000 w 10000"/>
                <a:gd name="connsiteY165" fmla="*/ 1763 h 10000"/>
                <a:gd name="connsiteX166" fmla="*/ 10000 w 10000"/>
                <a:gd name="connsiteY166" fmla="*/ 1665 h 10000"/>
                <a:gd name="connsiteX167" fmla="*/ 9931 w 10000"/>
                <a:gd name="connsiteY167" fmla="*/ 1665 h 10000"/>
                <a:gd name="connsiteX168" fmla="*/ 9931 w 10000"/>
                <a:gd name="connsiteY168" fmla="*/ 1665 h 10000"/>
                <a:gd name="connsiteX169" fmla="*/ 9861 w 10000"/>
                <a:gd name="connsiteY169" fmla="*/ 1665 h 10000"/>
                <a:gd name="connsiteX170" fmla="*/ 9861 w 10000"/>
                <a:gd name="connsiteY170" fmla="*/ 1539 h 10000"/>
                <a:gd name="connsiteX171" fmla="*/ 9757 w 10000"/>
                <a:gd name="connsiteY171" fmla="*/ 1442 h 10000"/>
                <a:gd name="connsiteX172" fmla="*/ 9688 w 10000"/>
                <a:gd name="connsiteY172" fmla="*/ 1442 h 10000"/>
                <a:gd name="connsiteX173" fmla="*/ 9271 w 10000"/>
                <a:gd name="connsiteY173" fmla="*/ 0 h 10000"/>
                <a:gd name="connsiteX0" fmla="*/ 9688 w 10000"/>
                <a:gd name="connsiteY0" fmla="*/ 962 h 9520"/>
                <a:gd name="connsiteX1" fmla="*/ 1889 w 10000"/>
                <a:gd name="connsiteY1" fmla="*/ 0 h 9520"/>
                <a:gd name="connsiteX2" fmla="*/ 1319 w 10000"/>
                <a:gd name="connsiteY2" fmla="*/ 2628 h 9520"/>
                <a:gd name="connsiteX3" fmla="*/ 1250 w 10000"/>
                <a:gd name="connsiteY3" fmla="*/ 2628 h 9520"/>
                <a:gd name="connsiteX4" fmla="*/ 903 w 10000"/>
                <a:gd name="connsiteY4" fmla="*/ 2628 h 9520"/>
                <a:gd name="connsiteX5" fmla="*/ 660 w 10000"/>
                <a:gd name="connsiteY5" fmla="*/ 2628 h 9520"/>
                <a:gd name="connsiteX6" fmla="*/ 660 w 10000"/>
                <a:gd name="connsiteY6" fmla="*/ 2726 h 9520"/>
                <a:gd name="connsiteX7" fmla="*/ 660 w 10000"/>
                <a:gd name="connsiteY7" fmla="*/ 2790 h 9520"/>
                <a:gd name="connsiteX8" fmla="*/ 660 w 10000"/>
                <a:gd name="connsiteY8" fmla="*/ 2853 h 9520"/>
                <a:gd name="connsiteX9" fmla="*/ 590 w 10000"/>
                <a:gd name="connsiteY9" fmla="*/ 3013 h 9520"/>
                <a:gd name="connsiteX10" fmla="*/ 486 w 10000"/>
                <a:gd name="connsiteY10" fmla="*/ 3174 h 9520"/>
                <a:gd name="connsiteX11" fmla="*/ 243 w 10000"/>
                <a:gd name="connsiteY11" fmla="*/ 3396 h 9520"/>
                <a:gd name="connsiteX12" fmla="*/ 243 w 10000"/>
                <a:gd name="connsiteY12" fmla="*/ 3462 h 9520"/>
                <a:gd name="connsiteX13" fmla="*/ 347 w 10000"/>
                <a:gd name="connsiteY13" fmla="*/ 3559 h 9520"/>
                <a:gd name="connsiteX14" fmla="*/ 243 w 10000"/>
                <a:gd name="connsiteY14" fmla="*/ 3623 h 9520"/>
                <a:gd name="connsiteX15" fmla="*/ 243 w 10000"/>
                <a:gd name="connsiteY15" fmla="*/ 3623 h 9520"/>
                <a:gd name="connsiteX16" fmla="*/ 174 w 10000"/>
                <a:gd name="connsiteY16" fmla="*/ 3686 h 9520"/>
                <a:gd name="connsiteX17" fmla="*/ 174 w 10000"/>
                <a:gd name="connsiteY17" fmla="*/ 3686 h 9520"/>
                <a:gd name="connsiteX18" fmla="*/ 174 w 10000"/>
                <a:gd name="connsiteY18" fmla="*/ 3846 h 9520"/>
                <a:gd name="connsiteX19" fmla="*/ 174 w 10000"/>
                <a:gd name="connsiteY19" fmla="*/ 4007 h 9520"/>
                <a:gd name="connsiteX20" fmla="*/ 104 w 10000"/>
                <a:gd name="connsiteY20" fmla="*/ 4072 h 9520"/>
                <a:gd name="connsiteX21" fmla="*/ 0 w 10000"/>
                <a:gd name="connsiteY21" fmla="*/ 4136 h 9520"/>
                <a:gd name="connsiteX22" fmla="*/ 0 w 10000"/>
                <a:gd name="connsiteY22" fmla="*/ 4231 h 9520"/>
                <a:gd name="connsiteX23" fmla="*/ 0 w 10000"/>
                <a:gd name="connsiteY23" fmla="*/ 4392 h 9520"/>
                <a:gd name="connsiteX24" fmla="*/ 104 w 10000"/>
                <a:gd name="connsiteY24" fmla="*/ 4392 h 9520"/>
                <a:gd name="connsiteX25" fmla="*/ 104 w 10000"/>
                <a:gd name="connsiteY25" fmla="*/ 4392 h 9520"/>
                <a:gd name="connsiteX26" fmla="*/ 347 w 10000"/>
                <a:gd name="connsiteY26" fmla="*/ 4297 h 9520"/>
                <a:gd name="connsiteX27" fmla="*/ 243 w 10000"/>
                <a:gd name="connsiteY27" fmla="*/ 4519 h 9520"/>
                <a:gd name="connsiteX28" fmla="*/ 347 w 10000"/>
                <a:gd name="connsiteY28" fmla="*/ 4681 h 9520"/>
                <a:gd name="connsiteX29" fmla="*/ 486 w 10000"/>
                <a:gd name="connsiteY29" fmla="*/ 4969 h 9520"/>
                <a:gd name="connsiteX30" fmla="*/ 486 w 10000"/>
                <a:gd name="connsiteY30" fmla="*/ 5064 h 9520"/>
                <a:gd name="connsiteX31" fmla="*/ 590 w 10000"/>
                <a:gd name="connsiteY31" fmla="*/ 5064 h 9520"/>
                <a:gd name="connsiteX32" fmla="*/ 590 w 10000"/>
                <a:gd name="connsiteY32" fmla="*/ 5127 h 9520"/>
                <a:gd name="connsiteX33" fmla="*/ 660 w 10000"/>
                <a:gd name="connsiteY33" fmla="*/ 5194 h 9520"/>
                <a:gd name="connsiteX34" fmla="*/ 660 w 10000"/>
                <a:gd name="connsiteY34" fmla="*/ 5290 h 9520"/>
                <a:gd name="connsiteX35" fmla="*/ 486 w 10000"/>
                <a:gd name="connsiteY35" fmla="*/ 5354 h 9520"/>
                <a:gd name="connsiteX36" fmla="*/ 660 w 10000"/>
                <a:gd name="connsiteY36" fmla="*/ 5450 h 9520"/>
                <a:gd name="connsiteX37" fmla="*/ 833 w 10000"/>
                <a:gd name="connsiteY37" fmla="*/ 5673 h 9520"/>
                <a:gd name="connsiteX38" fmla="*/ 1007 w 10000"/>
                <a:gd name="connsiteY38" fmla="*/ 5897 h 9520"/>
                <a:gd name="connsiteX39" fmla="*/ 1076 w 10000"/>
                <a:gd name="connsiteY39" fmla="*/ 6027 h 9520"/>
                <a:gd name="connsiteX40" fmla="*/ 1007 w 10000"/>
                <a:gd name="connsiteY40" fmla="*/ 6186 h 9520"/>
                <a:gd name="connsiteX41" fmla="*/ 1007 w 10000"/>
                <a:gd name="connsiteY41" fmla="*/ 6412 h 9520"/>
                <a:gd name="connsiteX42" fmla="*/ 1007 w 10000"/>
                <a:gd name="connsiteY42" fmla="*/ 6508 h 9520"/>
                <a:gd name="connsiteX43" fmla="*/ 1146 w 10000"/>
                <a:gd name="connsiteY43" fmla="*/ 6636 h 9520"/>
                <a:gd name="connsiteX44" fmla="*/ 1250 w 10000"/>
                <a:gd name="connsiteY44" fmla="*/ 6636 h 9520"/>
                <a:gd name="connsiteX45" fmla="*/ 1389 w 10000"/>
                <a:gd name="connsiteY45" fmla="*/ 6636 h 9520"/>
                <a:gd name="connsiteX46" fmla="*/ 1493 w 10000"/>
                <a:gd name="connsiteY46" fmla="*/ 6795 h 9520"/>
                <a:gd name="connsiteX47" fmla="*/ 1563 w 10000"/>
                <a:gd name="connsiteY47" fmla="*/ 6859 h 9520"/>
                <a:gd name="connsiteX48" fmla="*/ 1806 w 10000"/>
                <a:gd name="connsiteY48" fmla="*/ 6859 h 9520"/>
                <a:gd name="connsiteX49" fmla="*/ 1910 w 10000"/>
                <a:gd name="connsiteY49" fmla="*/ 6957 h 9520"/>
                <a:gd name="connsiteX50" fmla="*/ 1979 w 10000"/>
                <a:gd name="connsiteY50" fmla="*/ 7020 h 9520"/>
                <a:gd name="connsiteX51" fmla="*/ 2049 w 10000"/>
                <a:gd name="connsiteY51" fmla="*/ 7020 h 9520"/>
                <a:gd name="connsiteX52" fmla="*/ 1979 w 10000"/>
                <a:gd name="connsiteY52" fmla="*/ 7180 h 9520"/>
                <a:gd name="connsiteX53" fmla="*/ 2049 w 10000"/>
                <a:gd name="connsiteY53" fmla="*/ 7244 h 9520"/>
                <a:gd name="connsiteX54" fmla="*/ 2292 w 10000"/>
                <a:gd name="connsiteY54" fmla="*/ 7403 h 9520"/>
                <a:gd name="connsiteX55" fmla="*/ 2465 w 10000"/>
                <a:gd name="connsiteY55" fmla="*/ 7564 h 9520"/>
                <a:gd name="connsiteX56" fmla="*/ 2535 w 10000"/>
                <a:gd name="connsiteY56" fmla="*/ 7628 h 9520"/>
                <a:gd name="connsiteX57" fmla="*/ 2708 w 10000"/>
                <a:gd name="connsiteY57" fmla="*/ 7694 h 9520"/>
                <a:gd name="connsiteX58" fmla="*/ 2708 w 10000"/>
                <a:gd name="connsiteY58" fmla="*/ 7790 h 9520"/>
                <a:gd name="connsiteX59" fmla="*/ 2813 w 10000"/>
                <a:gd name="connsiteY59" fmla="*/ 7950 h 9520"/>
                <a:gd name="connsiteX60" fmla="*/ 2882 w 10000"/>
                <a:gd name="connsiteY60" fmla="*/ 8013 h 9520"/>
                <a:gd name="connsiteX61" fmla="*/ 2882 w 10000"/>
                <a:gd name="connsiteY61" fmla="*/ 8078 h 9520"/>
                <a:gd name="connsiteX62" fmla="*/ 2951 w 10000"/>
                <a:gd name="connsiteY62" fmla="*/ 8174 h 9520"/>
                <a:gd name="connsiteX63" fmla="*/ 3299 w 10000"/>
                <a:gd name="connsiteY63" fmla="*/ 8302 h 9520"/>
                <a:gd name="connsiteX64" fmla="*/ 3368 w 10000"/>
                <a:gd name="connsiteY64" fmla="*/ 8462 h 9520"/>
                <a:gd name="connsiteX65" fmla="*/ 3368 w 10000"/>
                <a:gd name="connsiteY65" fmla="*/ 8526 h 9520"/>
                <a:gd name="connsiteX66" fmla="*/ 3438 w 10000"/>
                <a:gd name="connsiteY66" fmla="*/ 8623 h 9520"/>
                <a:gd name="connsiteX67" fmla="*/ 3542 w 10000"/>
                <a:gd name="connsiteY67" fmla="*/ 8686 h 9520"/>
                <a:gd name="connsiteX68" fmla="*/ 3715 w 10000"/>
                <a:gd name="connsiteY68" fmla="*/ 8847 h 9520"/>
                <a:gd name="connsiteX69" fmla="*/ 3715 w 10000"/>
                <a:gd name="connsiteY69" fmla="*/ 8912 h 9520"/>
                <a:gd name="connsiteX70" fmla="*/ 3785 w 10000"/>
                <a:gd name="connsiteY70" fmla="*/ 9008 h 9520"/>
                <a:gd name="connsiteX71" fmla="*/ 4028 w 10000"/>
                <a:gd name="connsiteY71" fmla="*/ 9070 h 9520"/>
                <a:gd name="connsiteX72" fmla="*/ 4097 w 10000"/>
                <a:gd name="connsiteY72" fmla="*/ 9070 h 9520"/>
                <a:gd name="connsiteX73" fmla="*/ 4201 w 10000"/>
                <a:gd name="connsiteY73" fmla="*/ 9008 h 9520"/>
                <a:gd name="connsiteX74" fmla="*/ 4444 w 10000"/>
                <a:gd name="connsiteY74" fmla="*/ 9070 h 9520"/>
                <a:gd name="connsiteX75" fmla="*/ 4618 w 10000"/>
                <a:gd name="connsiteY75" fmla="*/ 9008 h 9520"/>
                <a:gd name="connsiteX76" fmla="*/ 4757 w 10000"/>
                <a:gd name="connsiteY76" fmla="*/ 8912 h 9520"/>
                <a:gd name="connsiteX77" fmla="*/ 4861 w 10000"/>
                <a:gd name="connsiteY77" fmla="*/ 9008 h 9520"/>
                <a:gd name="connsiteX78" fmla="*/ 5174 w 10000"/>
                <a:gd name="connsiteY78" fmla="*/ 9231 h 9520"/>
                <a:gd name="connsiteX79" fmla="*/ 5243 w 10000"/>
                <a:gd name="connsiteY79" fmla="*/ 9360 h 9520"/>
                <a:gd name="connsiteX80" fmla="*/ 5347 w 10000"/>
                <a:gd name="connsiteY80" fmla="*/ 9456 h 9520"/>
                <a:gd name="connsiteX81" fmla="*/ 5417 w 10000"/>
                <a:gd name="connsiteY81" fmla="*/ 9456 h 9520"/>
                <a:gd name="connsiteX82" fmla="*/ 5486 w 10000"/>
                <a:gd name="connsiteY82" fmla="*/ 9456 h 9520"/>
                <a:gd name="connsiteX83" fmla="*/ 5590 w 10000"/>
                <a:gd name="connsiteY83" fmla="*/ 9456 h 9520"/>
                <a:gd name="connsiteX84" fmla="*/ 5764 w 10000"/>
                <a:gd name="connsiteY84" fmla="*/ 9456 h 9520"/>
                <a:gd name="connsiteX85" fmla="*/ 5833 w 10000"/>
                <a:gd name="connsiteY85" fmla="*/ 9456 h 9520"/>
                <a:gd name="connsiteX86" fmla="*/ 6007 w 10000"/>
                <a:gd name="connsiteY86" fmla="*/ 9456 h 9520"/>
                <a:gd name="connsiteX87" fmla="*/ 6076 w 10000"/>
                <a:gd name="connsiteY87" fmla="*/ 9456 h 9520"/>
                <a:gd name="connsiteX88" fmla="*/ 6146 w 10000"/>
                <a:gd name="connsiteY88" fmla="*/ 9520 h 9520"/>
                <a:gd name="connsiteX89" fmla="*/ 6319 w 10000"/>
                <a:gd name="connsiteY89" fmla="*/ 9456 h 9520"/>
                <a:gd name="connsiteX90" fmla="*/ 6493 w 10000"/>
                <a:gd name="connsiteY90" fmla="*/ 9456 h 9520"/>
                <a:gd name="connsiteX91" fmla="*/ 6667 w 10000"/>
                <a:gd name="connsiteY91" fmla="*/ 9360 h 9520"/>
                <a:gd name="connsiteX92" fmla="*/ 6806 w 10000"/>
                <a:gd name="connsiteY92" fmla="*/ 9360 h 9520"/>
                <a:gd name="connsiteX93" fmla="*/ 7049 w 10000"/>
                <a:gd name="connsiteY93" fmla="*/ 9360 h 9520"/>
                <a:gd name="connsiteX94" fmla="*/ 7292 w 10000"/>
                <a:gd name="connsiteY94" fmla="*/ 9231 h 9520"/>
                <a:gd name="connsiteX95" fmla="*/ 7292 w 10000"/>
                <a:gd name="connsiteY95" fmla="*/ 9231 h 9520"/>
                <a:gd name="connsiteX96" fmla="*/ 7292 w 10000"/>
                <a:gd name="connsiteY96" fmla="*/ 9231 h 9520"/>
                <a:gd name="connsiteX97" fmla="*/ 7569 w 10000"/>
                <a:gd name="connsiteY97" fmla="*/ 9008 h 9520"/>
                <a:gd name="connsiteX98" fmla="*/ 7639 w 10000"/>
                <a:gd name="connsiteY98" fmla="*/ 8912 h 9520"/>
                <a:gd name="connsiteX99" fmla="*/ 7813 w 10000"/>
                <a:gd name="connsiteY99" fmla="*/ 8912 h 9520"/>
                <a:gd name="connsiteX100" fmla="*/ 8125 w 10000"/>
                <a:gd name="connsiteY100" fmla="*/ 9008 h 9520"/>
                <a:gd name="connsiteX101" fmla="*/ 8299 w 10000"/>
                <a:gd name="connsiteY101" fmla="*/ 9008 h 9520"/>
                <a:gd name="connsiteX102" fmla="*/ 8472 w 10000"/>
                <a:gd name="connsiteY102" fmla="*/ 8912 h 9520"/>
                <a:gd name="connsiteX103" fmla="*/ 8472 w 10000"/>
                <a:gd name="connsiteY103" fmla="*/ 8686 h 9520"/>
                <a:gd name="connsiteX104" fmla="*/ 8542 w 10000"/>
                <a:gd name="connsiteY104" fmla="*/ 8623 h 9520"/>
                <a:gd name="connsiteX105" fmla="*/ 8472 w 10000"/>
                <a:gd name="connsiteY105" fmla="*/ 8526 h 9520"/>
                <a:gd name="connsiteX106" fmla="*/ 8472 w 10000"/>
                <a:gd name="connsiteY106" fmla="*/ 8462 h 9520"/>
                <a:gd name="connsiteX107" fmla="*/ 8125 w 10000"/>
                <a:gd name="connsiteY107" fmla="*/ 8462 h 9520"/>
                <a:gd name="connsiteX108" fmla="*/ 8056 w 10000"/>
                <a:gd name="connsiteY108" fmla="*/ 8397 h 9520"/>
                <a:gd name="connsiteX109" fmla="*/ 8056 w 10000"/>
                <a:gd name="connsiteY109" fmla="*/ 8302 h 9520"/>
                <a:gd name="connsiteX110" fmla="*/ 7882 w 10000"/>
                <a:gd name="connsiteY110" fmla="*/ 8013 h 9520"/>
                <a:gd name="connsiteX111" fmla="*/ 7882 w 10000"/>
                <a:gd name="connsiteY111" fmla="*/ 7854 h 9520"/>
                <a:gd name="connsiteX112" fmla="*/ 7813 w 10000"/>
                <a:gd name="connsiteY112" fmla="*/ 7790 h 9520"/>
                <a:gd name="connsiteX113" fmla="*/ 7569 w 10000"/>
                <a:gd name="connsiteY113" fmla="*/ 7628 h 9520"/>
                <a:gd name="connsiteX114" fmla="*/ 7465 w 10000"/>
                <a:gd name="connsiteY114" fmla="*/ 7564 h 9520"/>
                <a:gd name="connsiteX115" fmla="*/ 7396 w 10000"/>
                <a:gd name="connsiteY115" fmla="*/ 7469 h 9520"/>
                <a:gd name="connsiteX116" fmla="*/ 7396 w 10000"/>
                <a:gd name="connsiteY116" fmla="*/ 7403 h 9520"/>
                <a:gd name="connsiteX117" fmla="*/ 7292 w 10000"/>
                <a:gd name="connsiteY117" fmla="*/ 7244 h 9520"/>
                <a:gd name="connsiteX118" fmla="*/ 7222 w 10000"/>
                <a:gd name="connsiteY118" fmla="*/ 7244 h 9520"/>
                <a:gd name="connsiteX119" fmla="*/ 7049 w 10000"/>
                <a:gd name="connsiteY119" fmla="*/ 7180 h 9520"/>
                <a:gd name="connsiteX120" fmla="*/ 6979 w 10000"/>
                <a:gd name="connsiteY120" fmla="*/ 7180 h 9520"/>
                <a:gd name="connsiteX121" fmla="*/ 6910 w 10000"/>
                <a:gd name="connsiteY121" fmla="*/ 7180 h 9520"/>
                <a:gd name="connsiteX122" fmla="*/ 6806 w 10000"/>
                <a:gd name="connsiteY122" fmla="*/ 7180 h 9520"/>
                <a:gd name="connsiteX123" fmla="*/ 6736 w 10000"/>
                <a:gd name="connsiteY123" fmla="*/ 7116 h 9520"/>
                <a:gd name="connsiteX124" fmla="*/ 6806 w 10000"/>
                <a:gd name="connsiteY124" fmla="*/ 7020 h 9520"/>
                <a:gd name="connsiteX125" fmla="*/ 6910 w 10000"/>
                <a:gd name="connsiteY125" fmla="*/ 6957 h 9520"/>
                <a:gd name="connsiteX126" fmla="*/ 6910 w 10000"/>
                <a:gd name="connsiteY126" fmla="*/ 6795 h 9520"/>
                <a:gd name="connsiteX127" fmla="*/ 6979 w 10000"/>
                <a:gd name="connsiteY127" fmla="*/ 6795 h 9520"/>
                <a:gd name="connsiteX128" fmla="*/ 7222 w 10000"/>
                <a:gd name="connsiteY128" fmla="*/ 6795 h 9520"/>
                <a:gd name="connsiteX129" fmla="*/ 7396 w 10000"/>
                <a:gd name="connsiteY129" fmla="*/ 6795 h 9520"/>
                <a:gd name="connsiteX130" fmla="*/ 7465 w 10000"/>
                <a:gd name="connsiteY130" fmla="*/ 6731 h 9520"/>
                <a:gd name="connsiteX131" fmla="*/ 7465 w 10000"/>
                <a:gd name="connsiteY131" fmla="*/ 6571 h 9520"/>
                <a:gd name="connsiteX132" fmla="*/ 7465 w 10000"/>
                <a:gd name="connsiteY132" fmla="*/ 6123 h 9520"/>
                <a:gd name="connsiteX133" fmla="*/ 7465 w 10000"/>
                <a:gd name="connsiteY133" fmla="*/ 5962 h 9520"/>
                <a:gd name="connsiteX134" fmla="*/ 7569 w 10000"/>
                <a:gd name="connsiteY134" fmla="*/ 5802 h 9520"/>
                <a:gd name="connsiteX135" fmla="*/ 7465 w 10000"/>
                <a:gd name="connsiteY135" fmla="*/ 5737 h 9520"/>
                <a:gd name="connsiteX136" fmla="*/ 7465 w 10000"/>
                <a:gd name="connsiteY136" fmla="*/ 5673 h 9520"/>
                <a:gd name="connsiteX137" fmla="*/ 7569 w 10000"/>
                <a:gd name="connsiteY137" fmla="*/ 5673 h 9520"/>
                <a:gd name="connsiteX138" fmla="*/ 7569 w 10000"/>
                <a:gd name="connsiteY138" fmla="*/ 5578 h 9520"/>
                <a:gd name="connsiteX139" fmla="*/ 7639 w 10000"/>
                <a:gd name="connsiteY139" fmla="*/ 5450 h 9520"/>
                <a:gd name="connsiteX140" fmla="*/ 7708 w 10000"/>
                <a:gd name="connsiteY140" fmla="*/ 5450 h 9520"/>
                <a:gd name="connsiteX141" fmla="*/ 7882 w 10000"/>
                <a:gd name="connsiteY141" fmla="*/ 5450 h 9520"/>
                <a:gd name="connsiteX142" fmla="*/ 7882 w 10000"/>
                <a:gd name="connsiteY142" fmla="*/ 5354 h 9520"/>
                <a:gd name="connsiteX143" fmla="*/ 7951 w 10000"/>
                <a:gd name="connsiteY143" fmla="*/ 5064 h 9520"/>
                <a:gd name="connsiteX144" fmla="*/ 8056 w 10000"/>
                <a:gd name="connsiteY144" fmla="*/ 4969 h 9520"/>
                <a:gd name="connsiteX145" fmla="*/ 8368 w 10000"/>
                <a:gd name="connsiteY145" fmla="*/ 4456 h 9520"/>
                <a:gd name="connsiteX146" fmla="*/ 8542 w 10000"/>
                <a:gd name="connsiteY146" fmla="*/ 4392 h 9520"/>
                <a:gd name="connsiteX147" fmla="*/ 8611 w 10000"/>
                <a:gd name="connsiteY147" fmla="*/ 4297 h 9520"/>
                <a:gd name="connsiteX148" fmla="*/ 8715 w 10000"/>
                <a:gd name="connsiteY148" fmla="*/ 4231 h 9520"/>
                <a:gd name="connsiteX149" fmla="*/ 8854 w 10000"/>
                <a:gd name="connsiteY149" fmla="*/ 3623 h 9520"/>
                <a:gd name="connsiteX150" fmla="*/ 8854 w 10000"/>
                <a:gd name="connsiteY150" fmla="*/ 3462 h 9520"/>
                <a:gd name="connsiteX151" fmla="*/ 8854 w 10000"/>
                <a:gd name="connsiteY151" fmla="*/ 3302 h 9520"/>
                <a:gd name="connsiteX152" fmla="*/ 8854 w 10000"/>
                <a:gd name="connsiteY152" fmla="*/ 3174 h 9520"/>
                <a:gd name="connsiteX153" fmla="*/ 8854 w 10000"/>
                <a:gd name="connsiteY153" fmla="*/ 2951 h 9520"/>
                <a:gd name="connsiteX154" fmla="*/ 8958 w 10000"/>
                <a:gd name="connsiteY154" fmla="*/ 2790 h 9520"/>
                <a:gd name="connsiteX155" fmla="*/ 9097 w 10000"/>
                <a:gd name="connsiteY155" fmla="*/ 2243 h 9520"/>
                <a:gd name="connsiteX156" fmla="*/ 9097 w 10000"/>
                <a:gd name="connsiteY156" fmla="*/ 2180 h 9520"/>
                <a:gd name="connsiteX157" fmla="*/ 9097 w 10000"/>
                <a:gd name="connsiteY157" fmla="*/ 1956 h 9520"/>
                <a:gd name="connsiteX158" fmla="*/ 9201 w 10000"/>
                <a:gd name="connsiteY158" fmla="*/ 1893 h 9520"/>
                <a:gd name="connsiteX159" fmla="*/ 9375 w 10000"/>
                <a:gd name="connsiteY159" fmla="*/ 1893 h 9520"/>
                <a:gd name="connsiteX160" fmla="*/ 9514 w 10000"/>
                <a:gd name="connsiteY160" fmla="*/ 1730 h 9520"/>
                <a:gd name="connsiteX161" fmla="*/ 9688 w 10000"/>
                <a:gd name="connsiteY161" fmla="*/ 1635 h 9520"/>
                <a:gd name="connsiteX162" fmla="*/ 9757 w 10000"/>
                <a:gd name="connsiteY162" fmla="*/ 1571 h 9520"/>
                <a:gd name="connsiteX163" fmla="*/ 9931 w 10000"/>
                <a:gd name="connsiteY163" fmla="*/ 1571 h 9520"/>
                <a:gd name="connsiteX164" fmla="*/ 10000 w 10000"/>
                <a:gd name="connsiteY164" fmla="*/ 1412 h 9520"/>
                <a:gd name="connsiteX165" fmla="*/ 10000 w 10000"/>
                <a:gd name="connsiteY165" fmla="*/ 1283 h 9520"/>
                <a:gd name="connsiteX166" fmla="*/ 10000 w 10000"/>
                <a:gd name="connsiteY166" fmla="*/ 1185 h 9520"/>
                <a:gd name="connsiteX167" fmla="*/ 9931 w 10000"/>
                <a:gd name="connsiteY167" fmla="*/ 1185 h 9520"/>
                <a:gd name="connsiteX168" fmla="*/ 9931 w 10000"/>
                <a:gd name="connsiteY168" fmla="*/ 1185 h 9520"/>
                <a:gd name="connsiteX169" fmla="*/ 9861 w 10000"/>
                <a:gd name="connsiteY169" fmla="*/ 1185 h 9520"/>
                <a:gd name="connsiteX170" fmla="*/ 9861 w 10000"/>
                <a:gd name="connsiteY170" fmla="*/ 1059 h 9520"/>
                <a:gd name="connsiteX171" fmla="*/ 9757 w 10000"/>
                <a:gd name="connsiteY171" fmla="*/ 962 h 9520"/>
                <a:gd name="connsiteX172" fmla="*/ 9688 w 10000"/>
                <a:gd name="connsiteY172" fmla="*/ 962 h 9520"/>
                <a:gd name="connsiteX0" fmla="*/ 9688 w 10000"/>
                <a:gd name="connsiteY0" fmla="*/ 0 h 8989"/>
                <a:gd name="connsiteX1" fmla="*/ 1319 w 10000"/>
                <a:gd name="connsiteY1" fmla="*/ 1750 h 8989"/>
                <a:gd name="connsiteX2" fmla="*/ 1250 w 10000"/>
                <a:gd name="connsiteY2" fmla="*/ 1750 h 8989"/>
                <a:gd name="connsiteX3" fmla="*/ 903 w 10000"/>
                <a:gd name="connsiteY3" fmla="*/ 1750 h 8989"/>
                <a:gd name="connsiteX4" fmla="*/ 660 w 10000"/>
                <a:gd name="connsiteY4" fmla="*/ 1750 h 8989"/>
                <a:gd name="connsiteX5" fmla="*/ 660 w 10000"/>
                <a:gd name="connsiteY5" fmla="*/ 1852 h 8989"/>
                <a:gd name="connsiteX6" fmla="*/ 660 w 10000"/>
                <a:gd name="connsiteY6" fmla="*/ 1920 h 8989"/>
                <a:gd name="connsiteX7" fmla="*/ 660 w 10000"/>
                <a:gd name="connsiteY7" fmla="*/ 1986 h 8989"/>
                <a:gd name="connsiteX8" fmla="*/ 590 w 10000"/>
                <a:gd name="connsiteY8" fmla="*/ 2154 h 8989"/>
                <a:gd name="connsiteX9" fmla="*/ 486 w 10000"/>
                <a:gd name="connsiteY9" fmla="*/ 2323 h 8989"/>
                <a:gd name="connsiteX10" fmla="*/ 243 w 10000"/>
                <a:gd name="connsiteY10" fmla="*/ 2556 h 8989"/>
                <a:gd name="connsiteX11" fmla="*/ 243 w 10000"/>
                <a:gd name="connsiteY11" fmla="*/ 2626 h 8989"/>
                <a:gd name="connsiteX12" fmla="*/ 347 w 10000"/>
                <a:gd name="connsiteY12" fmla="*/ 2727 h 8989"/>
                <a:gd name="connsiteX13" fmla="*/ 243 w 10000"/>
                <a:gd name="connsiteY13" fmla="*/ 2795 h 8989"/>
                <a:gd name="connsiteX14" fmla="*/ 243 w 10000"/>
                <a:gd name="connsiteY14" fmla="*/ 2795 h 8989"/>
                <a:gd name="connsiteX15" fmla="*/ 174 w 10000"/>
                <a:gd name="connsiteY15" fmla="*/ 2861 h 8989"/>
                <a:gd name="connsiteX16" fmla="*/ 174 w 10000"/>
                <a:gd name="connsiteY16" fmla="*/ 2861 h 8989"/>
                <a:gd name="connsiteX17" fmla="*/ 174 w 10000"/>
                <a:gd name="connsiteY17" fmla="*/ 3029 h 8989"/>
                <a:gd name="connsiteX18" fmla="*/ 174 w 10000"/>
                <a:gd name="connsiteY18" fmla="*/ 3198 h 8989"/>
                <a:gd name="connsiteX19" fmla="*/ 104 w 10000"/>
                <a:gd name="connsiteY19" fmla="*/ 3266 h 8989"/>
                <a:gd name="connsiteX20" fmla="*/ 0 w 10000"/>
                <a:gd name="connsiteY20" fmla="*/ 3334 h 8989"/>
                <a:gd name="connsiteX21" fmla="*/ 0 w 10000"/>
                <a:gd name="connsiteY21" fmla="*/ 3433 h 8989"/>
                <a:gd name="connsiteX22" fmla="*/ 0 w 10000"/>
                <a:gd name="connsiteY22" fmla="*/ 3602 h 8989"/>
                <a:gd name="connsiteX23" fmla="*/ 104 w 10000"/>
                <a:gd name="connsiteY23" fmla="*/ 3602 h 8989"/>
                <a:gd name="connsiteX24" fmla="*/ 104 w 10000"/>
                <a:gd name="connsiteY24" fmla="*/ 3602 h 8989"/>
                <a:gd name="connsiteX25" fmla="*/ 347 w 10000"/>
                <a:gd name="connsiteY25" fmla="*/ 3503 h 8989"/>
                <a:gd name="connsiteX26" fmla="*/ 243 w 10000"/>
                <a:gd name="connsiteY26" fmla="*/ 3736 h 8989"/>
                <a:gd name="connsiteX27" fmla="*/ 347 w 10000"/>
                <a:gd name="connsiteY27" fmla="*/ 3906 h 8989"/>
                <a:gd name="connsiteX28" fmla="*/ 486 w 10000"/>
                <a:gd name="connsiteY28" fmla="*/ 4209 h 8989"/>
                <a:gd name="connsiteX29" fmla="*/ 486 w 10000"/>
                <a:gd name="connsiteY29" fmla="*/ 4308 h 8989"/>
                <a:gd name="connsiteX30" fmla="*/ 590 w 10000"/>
                <a:gd name="connsiteY30" fmla="*/ 4308 h 8989"/>
                <a:gd name="connsiteX31" fmla="*/ 590 w 10000"/>
                <a:gd name="connsiteY31" fmla="*/ 4375 h 8989"/>
                <a:gd name="connsiteX32" fmla="*/ 660 w 10000"/>
                <a:gd name="connsiteY32" fmla="*/ 4445 h 8989"/>
                <a:gd name="connsiteX33" fmla="*/ 660 w 10000"/>
                <a:gd name="connsiteY33" fmla="*/ 4546 h 8989"/>
                <a:gd name="connsiteX34" fmla="*/ 486 w 10000"/>
                <a:gd name="connsiteY34" fmla="*/ 4613 h 8989"/>
                <a:gd name="connsiteX35" fmla="*/ 660 w 10000"/>
                <a:gd name="connsiteY35" fmla="*/ 4714 h 8989"/>
                <a:gd name="connsiteX36" fmla="*/ 833 w 10000"/>
                <a:gd name="connsiteY36" fmla="*/ 4948 h 8989"/>
                <a:gd name="connsiteX37" fmla="*/ 1007 w 10000"/>
                <a:gd name="connsiteY37" fmla="*/ 5183 h 8989"/>
                <a:gd name="connsiteX38" fmla="*/ 1076 w 10000"/>
                <a:gd name="connsiteY38" fmla="*/ 5320 h 8989"/>
                <a:gd name="connsiteX39" fmla="*/ 1007 w 10000"/>
                <a:gd name="connsiteY39" fmla="*/ 5487 h 8989"/>
                <a:gd name="connsiteX40" fmla="*/ 1007 w 10000"/>
                <a:gd name="connsiteY40" fmla="*/ 5724 h 8989"/>
                <a:gd name="connsiteX41" fmla="*/ 1007 w 10000"/>
                <a:gd name="connsiteY41" fmla="*/ 5825 h 8989"/>
                <a:gd name="connsiteX42" fmla="*/ 1146 w 10000"/>
                <a:gd name="connsiteY42" fmla="*/ 5960 h 8989"/>
                <a:gd name="connsiteX43" fmla="*/ 1250 w 10000"/>
                <a:gd name="connsiteY43" fmla="*/ 5960 h 8989"/>
                <a:gd name="connsiteX44" fmla="*/ 1389 w 10000"/>
                <a:gd name="connsiteY44" fmla="*/ 5960 h 8989"/>
                <a:gd name="connsiteX45" fmla="*/ 1493 w 10000"/>
                <a:gd name="connsiteY45" fmla="*/ 6127 h 8989"/>
                <a:gd name="connsiteX46" fmla="*/ 1563 w 10000"/>
                <a:gd name="connsiteY46" fmla="*/ 6194 h 8989"/>
                <a:gd name="connsiteX47" fmla="*/ 1806 w 10000"/>
                <a:gd name="connsiteY47" fmla="*/ 6194 h 8989"/>
                <a:gd name="connsiteX48" fmla="*/ 1910 w 10000"/>
                <a:gd name="connsiteY48" fmla="*/ 6297 h 8989"/>
                <a:gd name="connsiteX49" fmla="*/ 1979 w 10000"/>
                <a:gd name="connsiteY49" fmla="*/ 6363 h 8989"/>
                <a:gd name="connsiteX50" fmla="*/ 2049 w 10000"/>
                <a:gd name="connsiteY50" fmla="*/ 6363 h 8989"/>
                <a:gd name="connsiteX51" fmla="*/ 1979 w 10000"/>
                <a:gd name="connsiteY51" fmla="*/ 6531 h 8989"/>
                <a:gd name="connsiteX52" fmla="*/ 2049 w 10000"/>
                <a:gd name="connsiteY52" fmla="*/ 6598 h 8989"/>
                <a:gd name="connsiteX53" fmla="*/ 2292 w 10000"/>
                <a:gd name="connsiteY53" fmla="*/ 6765 h 8989"/>
                <a:gd name="connsiteX54" fmla="*/ 2465 w 10000"/>
                <a:gd name="connsiteY54" fmla="*/ 6934 h 8989"/>
                <a:gd name="connsiteX55" fmla="*/ 2535 w 10000"/>
                <a:gd name="connsiteY55" fmla="*/ 7002 h 8989"/>
                <a:gd name="connsiteX56" fmla="*/ 2708 w 10000"/>
                <a:gd name="connsiteY56" fmla="*/ 7071 h 8989"/>
                <a:gd name="connsiteX57" fmla="*/ 2708 w 10000"/>
                <a:gd name="connsiteY57" fmla="*/ 7172 h 8989"/>
                <a:gd name="connsiteX58" fmla="*/ 2813 w 10000"/>
                <a:gd name="connsiteY58" fmla="*/ 7340 h 8989"/>
                <a:gd name="connsiteX59" fmla="*/ 2882 w 10000"/>
                <a:gd name="connsiteY59" fmla="*/ 7406 h 8989"/>
                <a:gd name="connsiteX60" fmla="*/ 2882 w 10000"/>
                <a:gd name="connsiteY60" fmla="*/ 7474 h 8989"/>
                <a:gd name="connsiteX61" fmla="*/ 2951 w 10000"/>
                <a:gd name="connsiteY61" fmla="*/ 7575 h 8989"/>
                <a:gd name="connsiteX62" fmla="*/ 3299 w 10000"/>
                <a:gd name="connsiteY62" fmla="*/ 7710 h 8989"/>
                <a:gd name="connsiteX63" fmla="*/ 3368 w 10000"/>
                <a:gd name="connsiteY63" fmla="*/ 7878 h 8989"/>
                <a:gd name="connsiteX64" fmla="*/ 3368 w 10000"/>
                <a:gd name="connsiteY64" fmla="*/ 7945 h 8989"/>
                <a:gd name="connsiteX65" fmla="*/ 3438 w 10000"/>
                <a:gd name="connsiteY65" fmla="*/ 8047 h 8989"/>
                <a:gd name="connsiteX66" fmla="*/ 3542 w 10000"/>
                <a:gd name="connsiteY66" fmla="*/ 8113 h 8989"/>
                <a:gd name="connsiteX67" fmla="*/ 3715 w 10000"/>
                <a:gd name="connsiteY67" fmla="*/ 8282 h 8989"/>
                <a:gd name="connsiteX68" fmla="*/ 3715 w 10000"/>
                <a:gd name="connsiteY68" fmla="*/ 8350 h 8989"/>
                <a:gd name="connsiteX69" fmla="*/ 3785 w 10000"/>
                <a:gd name="connsiteY69" fmla="*/ 8451 h 8989"/>
                <a:gd name="connsiteX70" fmla="*/ 4028 w 10000"/>
                <a:gd name="connsiteY70" fmla="*/ 8516 h 8989"/>
                <a:gd name="connsiteX71" fmla="*/ 4097 w 10000"/>
                <a:gd name="connsiteY71" fmla="*/ 8516 h 8989"/>
                <a:gd name="connsiteX72" fmla="*/ 4201 w 10000"/>
                <a:gd name="connsiteY72" fmla="*/ 8451 h 8989"/>
                <a:gd name="connsiteX73" fmla="*/ 4444 w 10000"/>
                <a:gd name="connsiteY73" fmla="*/ 8516 h 8989"/>
                <a:gd name="connsiteX74" fmla="*/ 4618 w 10000"/>
                <a:gd name="connsiteY74" fmla="*/ 8451 h 8989"/>
                <a:gd name="connsiteX75" fmla="*/ 4757 w 10000"/>
                <a:gd name="connsiteY75" fmla="*/ 8350 h 8989"/>
                <a:gd name="connsiteX76" fmla="*/ 4861 w 10000"/>
                <a:gd name="connsiteY76" fmla="*/ 8451 h 8989"/>
                <a:gd name="connsiteX77" fmla="*/ 5174 w 10000"/>
                <a:gd name="connsiteY77" fmla="*/ 8685 h 8989"/>
                <a:gd name="connsiteX78" fmla="*/ 5243 w 10000"/>
                <a:gd name="connsiteY78" fmla="*/ 8821 h 8989"/>
                <a:gd name="connsiteX79" fmla="*/ 5347 w 10000"/>
                <a:gd name="connsiteY79" fmla="*/ 8922 h 8989"/>
                <a:gd name="connsiteX80" fmla="*/ 5417 w 10000"/>
                <a:gd name="connsiteY80" fmla="*/ 8922 h 8989"/>
                <a:gd name="connsiteX81" fmla="*/ 5486 w 10000"/>
                <a:gd name="connsiteY81" fmla="*/ 8922 h 8989"/>
                <a:gd name="connsiteX82" fmla="*/ 5590 w 10000"/>
                <a:gd name="connsiteY82" fmla="*/ 8922 h 8989"/>
                <a:gd name="connsiteX83" fmla="*/ 5764 w 10000"/>
                <a:gd name="connsiteY83" fmla="*/ 8922 h 8989"/>
                <a:gd name="connsiteX84" fmla="*/ 5833 w 10000"/>
                <a:gd name="connsiteY84" fmla="*/ 8922 h 8989"/>
                <a:gd name="connsiteX85" fmla="*/ 6007 w 10000"/>
                <a:gd name="connsiteY85" fmla="*/ 8922 h 8989"/>
                <a:gd name="connsiteX86" fmla="*/ 6076 w 10000"/>
                <a:gd name="connsiteY86" fmla="*/ 8922 h 8989"/>
                <a:gd name="connsiteX87" fmla="*/ 6146 w 10000"/>
                <a:gd name="connsiteY87" fmla="*/ 8989 h 8989"/>
                <a:gd name="connsiteX88" fmla="*/ 6319 w 10000"/>
                <a:gd name="connsiteY88" fmla="*/ 8922 h 8989"/>
                <a:gd name="connsiteX89" fmla="*/ 6493 w 10000"/>
                <a:gd name="connsiteY89" fmla="*/ 8922 h 8989"/>
                <a:gd name="connsiteX90" fmla="*/ 6667 w 10000"/>
                <a:gd name="connsiteY90" fmla="*/ 8821 h 8989"/>
                <a:gd name="connsiteX91" fmla="*/ 6806 w 10000"/>
                <a:gd name="connsiteY91" fmla="*/ 8821 h 8989"/>
                <a:gd name="connsiteX92" fmla="*/ 7049 w 10000"/>
                <a:gd name="connsiteY92" fmla="*/ 8821 h 8989"/>
                <a:gd name="connsiteX93" fmla="*/ 7292 w 10000"/>
                <a:gd name="connsiteY93" fmla="*/ 8685 h 8989"/>
                <a:gd name="connsiteX94" fmla="*/ 7292 w 10000"/>
                <a:gd name="connsiteY94" fmla="*/ 8685 h 8989"/>
                <a:gd name="connsiteX95" fmla="*/ 7292 w 10000"/>
                <a:gd name="connsiteY95" fmla="*/ 8685 h 8989"/>
                <a:gd name="connsiteX96" fmla="*/ 7569 w 10000"/>
                <a:gd name="connsiteY96" fmla="*/ 8451 h 8989"/>
                <a:gd name="connsiteX97" fmla="*/ 7639 w 10000"/>
                <a:gd name="connsiteY97" fmla="*/ 8350 h 8989"/>
                <a:gd name="connsiteX98" fmla="*/ 7813 w 10000"/>
                <a:gd name="connsiteY98" fmla="*/ 8350 h 8989"/>
                <a:gd name="connsiteX99" fmla="*/ 8125 w 10000"/>
                <a:gd name="connsiteY99" fmla="*/ 8451 h 8989"/>
                <a:gd name="connsiteX100" fmla="*/ 8299 w 10000"/>
                <a:gd name="connsiteY100" fmla="*/ 8451 h 8989"/>
                <a:gd name="connsiteX101" fmla="*/ 8472 w 10000"/>
                <a:gd name="connsiteY101" fmla="*/ 8350 h 8989"/>
                <a:gd name="connsiteX102" fmla="*/ 8472 w 10000"/>
                <a:gd name="connsiteY102" fmla="*/ 8113 h 8989"/>
                <a:gd name="connsiteX103" fmla="*/ 8542 w 10000"/>
                <a:gd name="connsiteY103" fmla="*/ 8047 h 8989"/>
                <a:gd name="connsiteX104" fmla="*/ 8472 w 10000"/>
                <a:gd name="connsiteY104" fmla="*/ 7945 h 8989"/>
                <a:gd name="connsiteX105" fmla="*/ 8472 w 10000"/>
                <a:gd name="connsiteY105" fmla="*/ 7878 h 8989"/>
                <a:gd name="connsiteX106" fmla="*/ 8125 w 10000"/>
                <a:gd name="connsiteY106" fmla="*/ 7878 h 8989"/>
                <a:gd name="connsiteX107" fmla="*/ 8056 w 10000"/>
                <a:gd name="connsiteY107" fmla="*/ 7809 h 8989"/>
                <a:gd name="connsiteX108" fmla="*/ 8056 w 10000"/>
                <a:gd name="connsiteY108" fmla="*/ 7710 h 8989"/>
                <a:gd name="connsiteX109" fmla="*/ 7882 w 10000"/>
                <a:gd name="connsiteY109" fmla="*/ 7406 h 8989"/>
                <a:gd name="connsiteX110" fmla="*/ 7882 w 10000"/>
                <a:gd name="connsiteY110" fmla="*/ 7239 h 8989"/>
                <a:gd name="connsiteX111" fmla="*/ 7813 w 10000"/>
                <a:gd name="connsiteY111" fmla="*/ 7172 h 8989"/>
                <a:gd name="connsiteX112" fmla="*/ 7569 w 10000"/>
                <a:gd name="connsiteY112" fmla="*/ 7002 h 8989"/>
                <a:gd name="connsiteX113" fmla="*/ 7465 w 10000"/>
                <a:gd name="connsiteY113" fmla="*/ 6934 h 8989"/>
                <a:gd name="connsiteX114" fmla="*/ 7396 w 10000"/>
                <a:gd name="connsiteY114" fmla="*/ 6835 h 8989"/>
                <a:gd name="connsiteX115" fmla="*/ 7396 w 10000"/>
                <a:gd name="connsiteY115" fmla="*/ 6765 h 8989"/>
                <a:gd name="connsiteX116" fmla="*/ 7292 w 10000"/>
                <a:gd name="connsiteY116" fmla="*/ 6598 h 8989"/>
                <a:gd name="connsiteX117" fmla="*/ 7222 w 10000"/>
                <a:gd name="connsiteY117" fmla="*/ 6598 h 8989"/>
                <a:gd name="connsiteX118" fmla="*/ 7049 w 10000"/>
                <a:gd name="connsiteY118" fmla="*/ 6531 h 8989"/>
                <a:gd name="connsiteX119" fmla="*/ 6979 w 10000"/>
                <a:gd name="connsiteY119" fmla="*/ 6531 h 8989"/>
                <a:gd name="connsiteX120" fmla="*/ 6910 w 10000"/>
                <a:gd name="connsiteY120" fmla="*/ 6531 h 8989"/>
                <a:gd name="connsiteX121" fmla="*/ 6806 w 10000"/>
                <a:gd name="connsiteY121" fmla="*/ 6531 h 8989"/>
                <a:gd name="connsiteX122" fmla="*/ 6736 w 10000"/>
                <a:gd name="connsiteY122" fmla="*/ 6464 h 8989"/>
                <a:gd name="connsiteX123" fmla="*/ 6806 w 10000"/>
                <a:gd name="connsiteY123" fmla="*/ 6363 h 8989"/>
                <a:gd name="connsiteX124" fmla="*/ 6910 w 10000"/>
                <a:gd name="connsiteY124" fmla="*/ 6297 h 8989"/>
                <a:gd name="connsiteX125" fmla="*/ 6910 w 10000"/>
                <a:gd name="connsiteY125" fmla="*/ 6127 h 8989"/>
                <a:gd name="connsiteX126" fmla="*/ 6979 w 10000"/>
                <a:gd name="connsiteY126" fmla="*/ 6127 h 8989"/>
                <a:gd name="connsiteX127" fmla="*/ 7222 w 10000"/>
                <a:gd name="connsiteY127" fmla="*/ 6127 h 8989"/>
                <a:gd name="connsiteX128" fmla="*/ 7396 w 10000"/>
                <a:gd name="connsiteY128" fmla="*/ 6127 h 8989"/>
                <a:gd name="connsiteX129" fmla="*/ 7465 w 10000"/>
                <a:gd name="connsiteY129" fmla="*/ 6059 h 8989"/>
                <a:gd name="connsiteX130" fmla="*/ 7465 w 10000"/>
                <a:gd name="connsiteY130" fmla="*/ 5891 h 8989"/>
                <a:gd name="connsiteX131" fmla="*/ 7465 w 10000"/>
                <a:gd name="connsiteY131" fmla="*/ 5421 h 8989"/>
                <a:gd name="connsiteX132" fmla="*/ 7465 w 10000"/>
                <a:gd name="connsiteY132" fmla="*/ 5252 h 8989"/>
                <a:gd name="connsiteX133" fmla="*/ 7569 w 10000"/>
                <a:gd name="connsiteY133" fmla="*/ 5084 h 8989"/>
                <a:gd name="connsiteX134" fmla="*/ 7465 w 10000"/>
                <a:gd name="connsiteY134" fmla="*/ 5015 h 8989"/>
                <a:gd name="connsiteX135" fmla="*/ 7465 w 10000"/>
                <a:gd name="connsiteY135" fmla="*/ 4948 h 8989"/>
                <a:gd name="connsiteX136" fmla="*/ 7569 w 10000"/>
                <a:gd name="connsiteY136" fmla="*/ 4948 h 8989"/>
                <a:gd name="connsiteX137" fmla="*/ 7569 w 10000"/>
                <a:gd name="connsiteY137" fmla="*/ 4848 h 8989"/>
                <a:gd name="connsiteX138" fmla="*/ 7639 w 10000"/>
                <a:gd name="connsiteY138" fmla="*/ 4714 h 8989"/>
                <a:gd name="connsiteX139" fmla="*/ 7708 w 10000"/>
                <a:gd name="connsiteY139" fmla="*/ 4714 h 8989"/>
                <a:gd name="connsiteX140" fmla="*/ 7882 w 10000"/>
                <a:gd name="connsiteY140" fmla="*/ 4714 h 8989"/>
                <a:gd name="connsiteX141" fmla="*/ 7882 w 10000"/>
                <a:gd name="connsiteY141" fmla="*/ 4613 h 8989"/>
                <a:gd name="connsiteX142" fmla="*/ 7951 w 10000"/>
                <a:gd name="connsiteY142" fmla="*/ 4308 h 8989"/>
                <a:gd name="connsiteX143" fmla="*/ 8056 w 10000"/>
                <a:gd name="connsiteY143" fmla="*/ 4209 h 8989"/>
                <a:gd name="connsiteX144" fmla="*/ 8368 w 10000"/>
                <a:gd name="connsiteY144" fmla="*/ 3670 h 8989"/>
                <a:gd name="connsiteX145" fmla="*/ 8542 w 10000"/>
                <a:gd name="connsiteY145" fmla="*/ 3602 h 8989"/>
                <a:gd name="connsiteX146" fmla="*/ 8611 w 10000"/>
                <a:gd name="connsiteY146" fmla="*/ 3503 h 8989"/>
                <a:gd name="connsiteX147" fmla="*/ 8715 w 10000"/>
                <a:gd name="connsiteY147" fmla="*/ 3433 h 8989"/>
                <a:gd name="connsiteX148" fmla="*/ 8854 w 10000"/>
                <a:gd name="connsiteY148" fmla="*/ 2795 h 8989"/>
                <a:gd name="connsiteX149" fmla="*/ 8854 w 10000"/>
                <a:gd name="connsiteY149" fmla="*/ 2626 h 8989"/>
                <a:gd name="connsiteX150" fmla="*/ 8854 w 10000"/>
                <a:gd name="connsiteY150" fmla="*/ 2457 h 8989"/>
                <a:gd name="connsiteX151" fmla="*/ 8854 w 10000"/>
                <a:gd name="connsiteY151" fmla="*/ 2323 h 8989"/>
                <a:gd name="connsiteX152" fmla="*/ 8854 w 10000"/>
                <a:gd name="connsiteY152" fmla="*/ 2089 h 8989"/>
                <a:gd name="connsiteX153" fmla="*/ 8958 w 10000"/>
                <a:gd name="connsiteY153" fmla="*/ 1920 h 8989"/>
                <a:gd name="connsiteX154" fmla="*/ 9097 w 10000"/>
                <a:gd name="connsiteY154" fmla="*/ 1345 h 8989"/>
                <a:gd name="connsiteX155" fmla="*/ 9097 w 10000"/>
                <a:gd name="connsiteY155" fmla="*/ 1279 h 8989"/>
                <a:gd name="connsiteX156" fmla="*/ 9097 w 10000"/>
                <a:gd name="connsiteY156" fmla="*/ 1044 h 8989"/>
                <a:gd name="connsiteX157" fmla="*/ 9201 w 10000"/>
                <a:gd name="connsiteY157" fmla="*/ 977 h 8989"/>
                <a:gd name="connsiteX158" fmla="*/ 9375 w 10000"/>
                <a:gd name="connsiteY158" fmla="*/ 977 h 8989"/>
                <a:gd name="connsiteX159" fmla="*/ 9514 w 10000"/>
                <a:gd name="connsiteY159" fmla="*/ 806 h 8989"/>
                <a:gd name="connsiteX160" fmla="*/ 9688 w 10000"/>
                <a:gd name="connsiteY160" fmla="*/ 706 h 8989"/>
                <a:gd name="connsiteX161" fmla="*/ 9757 w 10000"/>
                <a:gd name="connsiteY161" fmla="*/ 639 h 8989"/>
                <a:gd name="connsiteX162" fmla="*/ 9931 w 10000"/>
                <a:gd name="connsiteY162" fmla="*/ 639 h 8989"/>
                <a:gd name="connsiteX163" fmla="*/ 10000 w 10000"/>
                <a:gd name="connsiteY163" fmla="*/ 472 h 8989"/>
                <a:gd name="connsiteX164" fmla="*/ 10000 w 10000"/>
                <a:gd name="connsiteY164" fmla="*/ 337 h 8989"/>
                <a:gd name="connsiteX165" fmla="*/ 10000 w 10000"/>
                <a:gd name="connsiteY165" fmla="*/ 234 h 8989"/>
                <a:gd name="connsiteX166" fmla="*/ 9931 w 10000"/>
                <a:gd name="connsiteY166" fmla="*/ 234 h 8989"/>
                <a:gd name="connsiteX167" fmla="*/ 9931 w 10000"/>
                <a:gd name="connsiteY167" fmla="*/ 234 h 8989"/>
                <a:gd name="connsiteX168" fmla="*/ 9861 w 10000"/>
                <a:gd name="connsiteY168" fmla="*/ 234 h 8989"/>
                <a:gd name="connsiteX169" fmla="*/ 9861 w 10000"/>
                <a:gd name="connsiteY169" fmla="*/ 101 h 8989"/>
                <a:gd name="connsiteX170" fmla="*/ 9757 w 10000"/>
                <a:gd name="connsiteY170" fmla="*/ 0 h 8989"/>
                <a:gd name="connsiteX171" fmla="*/ 9688 w 10000"/>
                <a:gd name="connsiteY171" fmla="*/ 0 h 8989"/>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097 w 10000"/>
                <a:gd name="connsiteY156" fmla="*/ 1161 h 10000"/>
                <a:gd name="connsiteX157" fmla="*/ 9201 w 10000"/>
                <a:gd name="connsiteY157" fmla="*/ 1087 h 10000"/>
                <a:gd name="connsiteX158" fmla="*/ 9375 w 10000"/>
                <a:gd name="connsiteY158" fmla="*/ 1087 h 10000"/>
                <a:gd name="connsiteX159" fmla="*/ 9514 w 10000"/>
                <a:gd name="connsiteY159" fmla="*/ 897 h 10000"/>
                <a:gd name="connsiteX160" fmla="*/ 9688 w 10000"/>
                <a:gd name="connsiteY160" fmla="*/ 785 h 10000"/>
                <a:gd name="connsiteX161" fmla="*/ 9757 w 10000"/>
                <a:gd name="connsiteY161" fmla="*/ 711 h 10000"/>
                <a:gd name="connsiteX162" fmla="*/ 9931 w 10000"/>
                <a:gd name="connsiteY162" fmla="*/ 711 h 10000"/>
                <a:gd name="connsiteX163" fmla="*/ 10000 w 10000"/>
                <a:gd name="connsiteY163" fmla="*/ 525 h 10000"/>
                <a:gd name="connsiteX164" fmla="*/ 10000 w 10000"/>
                <a:gd name="connsiteY164" fmla="*/ 375 h 10000"/>
                <a:gd name="connsiteX165" fmla="*/ 10000 w 10000"/>
                <a:gd name="connsiteY165" fmla="*/ 260 h 10000"/>
                <a:gd name="connsiteX166" fmla="*/ 9931 w 10000"/>
                <a:gd name="connsiteY166" fmla="*/ 260 h 10000"/>
                <a:gd name="connsiteX167" fmla="*/ 9931 w 10000"/>
                <a:gd name="connsiteY167" fmla="*/ 260 h 10000"/>
                <a:gd name="connsiteX168" fmla="*/ 9861 w 10000"/>
                <a:gd name="connsiteY168" fmla="*/ 260 h 10000"/>
                <a:gd name="connsiteX169" fmla="*/ 9861 w 10000"/>
                <a:gd name="connsiteY169" fmla="*/ 112 h 10000"/>
                <a:gd name="connsiteX170" fmla="*/ 9757 w 10000"/>
                <a:gd name="connsiteY170"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097 w 10000"/>
                <a:gd name="connsiteY156" fmla="*/ 1161 h 10000"/>
                <a:gd name="connsiteX157" fmla="*/ 9201 w 10000"/>
                <a:gd name="connsiteY157" fmla="*/ 1087 h 10000"/>
                <a:gd name="connsiteX158" fmla="*/ 9375 w 10000"/>
                <a:gd name="connsiteY158" fmla="*/ 1087 h 10000"/>
                <a:gd name="connsiteX159" fmla="*/ 9514 w 10000"/>
                <a:gd name="connsiteY159" fmla="*/ 897 h 10000"/>
                <a:gd name="connsiteX160" fmla="*/ 9688 w 10000"/>
                <a:gd name="connsiteY160" fmla="*/ 785 h 10000"/>
                <a:gd name="connsiteX161" fmla="*/ 9757 w 10000"/>
                <a:gd name="connsiteY161" fmla="*/ 711 h 10000"/>
                <a:gd name="connsiteX162" fmla="*/ 10000 w 10000"/>
                <a:gd name="connsiteY162" fmla="*/ 525 h 10000"/>
                <a:gd name="connsiteX163" fmla="*/ 10000 w 10000"/>
                <a:gd name="connsiteY163" fmla="*/ 375 h 10000"/>
                <a:gd name="connsiteX164" fmla="*/ 10000 w 10000"/>
                <a:gd name="connsiteY164" fmla="*/ 260 h 10000"/>
                <a:gd name="connsiteX165" fmla="*/ 9931 w 10000"/>
                <a:gd name="connsiteY165" fmla="*/ 260 h 10000"/>
                <a:gd name="connsiteX166" fmla="*/ 9931 w 10000"/>
                <a:gd name="connsiteY166" fmla="*/ 260 h 10000"/>
                <a:gd name="connsiteX167" fmla="*/ 9861 w 10000"/>
                <a:gd name="connsiteY167" fmla="*/ 260 h 10000"/>
                <a:gd name="connsiteX168" fmla="*/ 9861 w 10000"/>
                <a:gd name="connsiteY168" fmla="*/ 112 h 10000"/>
                <a:gd name="connsiteX169" fmla="*/ 9757 w 10000"/>
                <a:gd name="connsiteY169"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097 w 10000"/>
                <a:gd name="connsiteY156" fmla="*/ 1161 h 10000"/>
                <a:gd name="connsiteX157" fmla="*/ 9201 w 10000"/>
                <a:gd name="connsiteY157" fmla="*/ 1087 h 10000"/>
                <a:gd name="connsiteX158" fmla="*/ 9514 w 10000"/>
                <a:gd name="connsiteY158" fmla="*/ 897 h 10000"/>
                <a:gd name="connsiteX159" fmla="*/ 9688 w 10000"/>
                <a:gd name="connsiteY159" fmla="*/ 785 h 10000"/>
                <a:gd name="connsiteX160" fmla="*/ 9757 w 10000"/>
                <a:gd name="connsiteY160" fmla="*/ 711 h 10000"/>
                <a:gd name="connsiteX161" fmla="*/ 10000 w 10000"/>
                <a:gd name="connsiteY161" fmla="*/ 525 h 10000"/>
                <a:gd name="connsiteX162" fmla="*/ 10000 w 10000"/>
                <a:gd name="connsiteY162" fmla="*/ 375 h 10000"/>
                <a:gd name="connsiteX163" fmla="*/ 10000 w 10000"/>
                <a:gd name="connsiteY163" fmla="*/ 260 h 10000"/>
                <a:gd name="connsiteX164" fmla="*/ 9931 w 10000"/>
                <a:gd name="connsiteY164" fmla="*/ 260 h 10000"/>
                <a:gd name="connsiteX165" fmla="*/ 9931 w 10000"/>
                <a:gd name="connsiteY165" fmla="*/ 260 h 10000"/>
                <a:gd name="connsiteX166" fmla="*/ 9861 w 10000"/>
                <a:gd name="connsiteY166" fmla="*/ 260 h 10000"/>
                <a:gd name="connsiteX167" fmla="*/ 9861 w 10000"/>
                <a:gd name="connsiteY167" fmla="*/ 112 h 10000"/>
                <a:gd name="connsiteX168" fmla="*/ 9757 w 10000"/>
                <a:gd name="connsiteY168"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097 w 10000"/>
                <a:gd name="connsiteY156" fmla="*/ 1161 h 10000"/>
                <a:gd name="connsiteX157" fmla="*/ 9514 w 10000"/>
                <a:gd name="connsiteY157" fmla="*/ 897 h 10000"/>
                <a:gd name="connsiteX158" fmla="*/ 9688 w 10000"/>
                <a:gd name="connsiteY158" fmla="*/ 785 h 10000"/>
                <a:gd name="connsiteX159" fmla="*/ 9757 w 10000"/>
                <a:gd name="connsiteY159" fmla="*/ 711 h 10000"/>
                <a:gd name="connsiteX160" fmla="*/ 10000 w 10000"/>
                <a:gd name="connsiteY160" fmla="*/ 525 h 10000"/>
                <a:gd name="connsiteX161" fmla="*/ 10000 w 10000"/>
                <a:gd name="connsiteY161" fmla="*/ 375 h 10000"/>
                <a:gd name="connsiteX162" fmla="*/ 10000 w 10000"/>
                <a:gd name="connsiteY162" fmla="*/ 260 h 10000"/>
                <a:gd name="connsiteX163" fmla="*/ 9931 w 10000"/>
                <a:gd name="connsiteY163" fmla="*/ 260 h 10000"/>
                <a:gd name="connsiteX164" fmla="*/ 9931 w 10000"/>
                <a:gd name="connsiteY164" fmla="*/ 260 h 10000"/>
                <a:gd name="connsiteX165" fmla="*/ 9861 w 10000"/>
                <a:gd name="connsiteY165" fmla="*/ 260 h 10000"/>
                <a:gd name="connsiteX166" fmla="*/ 9861 w 10000"/>
                <a:gd name="connsiteY166" fmla="*/ 112 h 10000"/>
                <a:gd name="connsiteX167" fmla="*/ 9757 w 10000"/>
                <a:gd name="connsiteY167"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097 w 10000"/>
                <a:gd name="connsiteY156" fmla="*/ 1161 h 10000"/>
                <a:gd name="connsiteX157" fmla="*/ 9514 w 10000"/>
                <a:gd name="connsiteY157" fmla="*/ 897 h 10000"/>
                <a:gd name="connsiteX158" fmla="*/ 9688 w 10000"/>
                <a:gd name="connsiteY158" fmla="*/ 785 h 10000"/>
                <a:gd name="connsiteX159" fmla="*/ 10000 w 10000"/>
                <a:gd name="connsiteY159" fmla="*/ 525 h 10000"/>
                <a:gd name="connsiteX160" fmla="*/ 10000 w 10000"/>
                <a:gd name="connsiteY160" fmla="*/ 375 h 10000"/>
                <a:gd name="connsiteX161" fmla="*/ 10000 w 10000"/>
                <a:gd name="connsiteY161" fmla="*/ 260 h 10000"/>
                <a:gd name="connsiteX162" fmla="*/ 9931 w 10000"/>
                <a:gd name="connsiteY162" fmla="*/ 260 h 10000"/>
                <a:gd name="connsiteX163" fmla="*/ 9931 w 10000"/>
                <a:gd name="connsiteY163" fmla="*/ 260 h 10000"/>
                <a:gd name="connsiteX164" fmla="*/ 9861 w 10000"/>
                <a:gd name="connsiteY164" fmla="*/ 260 h 10000"/>
                <a:gd name="connsiteX165" fmla="*/ 9861 w 10000"/>
                <a:gd name="connsiteY165" fmla="*/ 112 h 10000"/>
                <a:gd name="connsiteX166" fmla="*/ 9757 w 10000"/>
                <a:gd name="connsiteY166"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097 w 10000"/>
                <a:gd name="connsiteY156" fmla="*/ 1161 h 10000"/>
                <a:gd name="connsiteX157" fmla="*/ 9514 w 10000"/>
                <a:gd name="connsiteY157" fmla="*/ 897 h 10000"/>
                <a:gd name="connsiteX158" fmla="*/ 9688 w 10000"/>
                <a:gd name="connsiteY158" fmla="*/ 785 h 10000"/>
                <a:gd name="connsiteX159" fmla="*/ 10000 w 10000"/>
                <a:gd name="connsiteY159" fmla="*/ 375 h 10000"/>
                <a:gd name="connsiteX160" fmla="*/ 10000 w 10000"/>
                <a:gd name="connsiteY160" fmla="*/ 260 h 10000"/>
                <a:gd name="connsiteX161" fmla="*/ 9931 w 10000"/>
                <a:gd name="connsiteY161" fmla="*/ 260 h 10000"/>
                <a:gd name="connsiteX162" fmla="*/ 9931 w 10000"/>
                <a:gd name="connsiteY162" fmla="*/ 260 h 10000"/>
                <a:gd name="connsiteX163" fmla="*/ 9861 w 10000"/>
                <a:gd name="connsiteY163" fmla="*/ 260 h 10000"/>
                <a:gd name="connsiteX164" fmla="*/ 9861 w 10000"/>
                <a:gd name="connsiteY164" fmla="*/ 112 h 10000"/>
                <a:gd name="connsiteX165" fmla="*/ 9757 w 10000"/>
                <a:gd name="connsiteY165"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097 w 10000"/>
                <a:gd name="connsiteY155" fmla="*/ 1423 h 10000"/>
                <a:gd name="connsiteX156" fmla="*/ 9514 w 10000"/>
                <a:gd name="connsiteY156" fmla="*/ 897 h 10000"/>
                <a:gd name="connsiteX157" fmla="*/ 9688 w 10000"/>
                <a:gd name="connsiteY157" fmla="*/ 785 h 10000"/>
                <a:gd name="connsiteX158" fmla="*/ 10000 w 10000"/>
                <a:gd name="connsiteY158" fmla="*/ 375 h 10000"/>
                <a:gd name="connsiteX159" fmla="*/ 10000 w 10000"/>
                <a:gd name="connsiteY159" fmla="*/ 260 h 10000"/>
                <a:gd name="connsiteX160" fmla="*/ 9931 w 10000"/>
                <a:gd name="connsiteY160" fmla="*/ 260 h 10000"/>
                <a:gd name="connsiteX161" fmla="*/ 9931 w 10000"/>
                <a:gd name="connsiteY161" fmla="*/ 260 h 10000"/>
                <a:gd name="connsiteX162" fmla="*/ 9861 w 10000"/>
                <a:gd name="connsiteY162" fmla="*/ 260 h 10000"/>
                <a:gd name="connsiteX163" fmla="*/ 9861 w 10000"/>
                <a:gd name="connsiteY163" fmla="*/ 112 h 10000"/>
                <a:gd name="connsiteX164" fmla="*/ 9757 w 10000"/>
                <a:gd name="connsiteY164"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514 w 10000"/>
                <a:gd name="connsiteY155" fmla="*/ 897 h 10000"/>
                <a:gd name="connsiteX156" fmla="*/ 9688 w 10000"/>
                <a:gd name="connsiteY156" fmla="*/ 785 h 10000"/>
                <a:gd name="connsiteX157" fmla="*/ 10000 w 10000"/>
                <a:gd name="connsiteY157" fmla="*/ 375 h 10000"/>
                <a:gd name="connsiteX158" fmla="*/ 10000 w 10000"/>
                <a:gd name="connsiteY158" fmla="*/ 260 h 10000"/>
                <a:gd name="connsiteX159" fmla="*/ 9931 w 10000"/>
                <a:gd name="connsiteY159" fmla="*/ 260 h 10000"/>
                <a:gd name="connsiteX160" fmla="*/ 9931 w 10000"/>
                <a:gd name="connsiteY160" fmla="*/ 260 h 10000"/>
                <a:gd name="connsiteX161" fmla="*/ 9861 w 10000"/>
                <a:gd name="connsiteY161" fmla="*/ 260 h 10000"/>
                <a:gd name="connsiteX162" fmla="*/ 9861 w 10000"/>
                <a:gd name="connsiteY162" fmla="*/ 112 h 10000"/>
                <a:gd name="connsiteX163" fmla="*/ 9757 w 10000"/>
                <a:gd name="connsiteY163"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9688 w 10000"/>
                <a:gd name="connsiteY155" fmla="*/ 785 h 10000"/>
                <a:gd name="connsiteX156" fmla="*/ 10000 w 10000"/>
                <a:gd name="connsiteY156" fmla="*/ 375 h 10000"/>
                <a:gd name="connsiteX157" fmla="*/ 10000 w 10000"/>
                <a:gd name="connsiteY157" fmla="*/ 260 h 10000"/>
                <a:gd name="connsiteX158" fmla="*/ 9931 w 10000"/>
                <a:gd name="connsiteY158" fmla="*/ 260 h 10000"/>
                <a:gd name="connsiteX159" fmla="*/ 9931 w 10000"/>
                <a:gd name="connsiteY159" fmla="*/ 260 h 10000"/>
                <a:gd name="connsiteX160" fmla="*/ 9861 w 10000"/>
                <a:gd name="connsiteY160" fmla="*/ 260 h 10000"/>
                <a:gd name="connsiteX161" fmla="*/ 9861 w 10000"/>
                <a:gd name="connsiteY161" fmla="*/ 112 h 10000"/>
                <a:gd name="connsiteX162" fmla="*/ 9757 w 10000"/>
                <a:gd name="connsiteY162"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10000 w 10000"/>
                <a:gd name="connsiteY155" fmla="*/ 375 h 10000"/>
                <a:gd name="connsiteX156" fmla="*/ 10000 w 10000"/>
                <a:gd name="connsiteY156" fmla="*/ 260 h 10000"/>
                <a:gd name="connsiteX157" fmla="*/ 9931 w 10000"/>
                <a:gd name="connsiteY157" fmla="*/ 260 h 10000"/>
                <a:gd name="connsiteX158" fmla="*/ 9931 w 10000"/>
                <a:gd name="connsiteY158" fmla="*/ 260 h 10000"/>
                <a:gd name="connsiteX159" fmla="*/ 9861 w 10000"/>
                <a:gd name="connsiteY159" fmla="*/ 260 h 10000"/>
                <a:gd name="connsiteX160" fmla="*/ 9861 w 10000"/>
                <a:gd name="connsiteY160" fmla="*/ 112 h 10000"/>
                <a:gd name="connsiteX161" fmla="*/ 9757 w 10000"/>
                <a:gd name="connsiteY161" fmla="*/ 0 h 10000"/>
                <a:gd name="connsiteX0" fmla="*/ 9757 w 10000"/>
                <a:gd name="connsiteY0" fmla="*/ 0 h 10000"/>
                <a:gd name="connsiteX1" fmla="*/ 1319 w 10000"/>
                <a:gd name="connsiteY1" fmla="*/ 1947 h 10000"/>
                <a:gd name="connsiteX2" fmla="*/ 1250 w 10000"/>
                <a:gd name="connsiteY2" fmla="*/ 1947 h 10000"/>
                <a:gd name="connsiteX3" fmla="*/ 903 w 10000"/>
                <a:gd name="connsiteY3" fmla="*/ 1947 h 10000"/>
                <a:gd name="connsiteX4" fmla="*/ 660 w 10000"/>
                <a:gd name="connsiteY4" fmla="*/ 1947 h 10000"/>
                <a:gd name="connsiteX5" fmla="*/ 660 w 10000"/>
                <a:gd name="connsiteY5" fmla="*/ 2060 h 10000"/>
                <a:gd name="connsiteX6" fmla="*/ 660 w 10000"/>
                <a:gd name="connsiteY6" fmla="*/ 2136 h 10000"/>
                <a:gd name="connsiteX7" fmla="*/ 660 w 10000"/>
                <a:gd name="connsiteY7" fmla="*/ 2209 h 10000"/>
                <a:gd name="connsiteX8" fmla="*/ 590 w 10000"/>
                <a:gd name="connsiteY8" fmla="*/ 2396 h 10000"/>
                <a:gd name="connsiteX9" fmla="*/ 486 w 10000"/>
                <a:gd name="connsiteY9" fmla="*/ 2584 h 10000"/>
                <a:gd name="connsiteX10" fmla="*/ 243 w 10000"/>
                <a:gd name="connsiteY10" fmla="*/ 2843 h 10000"/>
                <a:gd name="connsiteX11" fmla="*/ 243 w 10000"/>
                <a:gd name="connsiteY11" fmla="*/ 2921 h 10000"/>
                <a:gd name="connsiteX12" fmla="*/ 347 w 10000"/>
                <a:gd name="connsiteY12" fmla="*/ 3034 h 10000"/>
                <a:gd name="connsiteX13" fmla="*/ 243 w 10000"/>
                <a:gd name="connsiteY13" fmla="*/ 3109 h 10000"/>
                <a:gd name="connsiteX14" fmla="*/ 243 w 10000"/>
                <a:gd name="connsiteY14" fmla="*/ 3109 h 10000"/>
                <a:gd name="connsiteX15" fmla="*/ 174 w 10000"/>
                <a:gd name="connsiteY15" fmla="*/ 3183 h 10000"/>
                <a:gd name="connsiteX16" fmla="*/ 174 w 10000"/>
                <a:gd name="connsiteY16" fmla="*/ 3183 h 10000"/>
                <a:gd name="connsiteX17" fmla="*/ 174 w 10000"/>
                <a:gd name="connsiteY17" fmla="*/ 3370 h 10000"/>
                <a:gd name="connsiteX18" fmla="*/ 174 w 10000"/>
                <a:gd name="connsiteY18" fmla="*/ 3558 h 10000"/>
                <a:gd name="connsiteX19" fmla="*/ 104 w 10000"/>
                <a:gd name="connsiteY19" fmla="*/ 3633 h 10000"/>
                <a:gd name="connsiteX20" fmla="*/ 0 w 10000"/>
                <a:gd name="connsiteY20" fmla="*/ 3709 h 10000"/>
                <a:gd name="connsiteX21" fmla="*/ 0 w 10000"/>
                <a:gd name="connsiteY21" fmla="*/ 3819 h 10000"/>
                <a:gd name="connsiteX22" fmla="*/ 0 w 10000"/>
                <a:gd name="connsiteY22" fmla="*/ 4007 h 10000"/>
                <a:gd name="connsiteX23" fmla="*/ 104 w 10000"/>
                <a:gd name="connsiteY23" fmla="*/ 4007 h 10000"/>
                <a:gd name="connsiteX24" fmla="*/ 104 w 10000"/>
                <a:gd name="connsiteY24" fmla="*/ 4007 h 10000"/>
                <a:gd name="connsiteX25" fmla="*/ 347 w 10000"/>
                <a:gd name="connsiteY25" fmla="*/ 3897 h 10000"/>
                <a:gd name="connsiteX26" fmla="*/ 243 w 10000"/>
                <a:gd name="connsiteY26" fmla="*/ 4156 h 10000"/>
                <a:gd name="connsiteX27" fmla="*/ 347 w 10000"/>
                <a:gd name="connsiteY27" fmla="*/ 4345 h 10000"/>
                <a:gd name="connsiteX28" fmla="*/ 486 w 10000"/>
                <a:gd name="connsiteY28" fmla="*/ 4682 h 10000"/>
                <a:gd name="connsiteX29" fmla="*/ 486 w 10000"/>
                <a:gd name="connsiteY29" fmla="*/ 4793 h 10000"/>
                <a:gd name="connsiteX30" fmla="*/ 590 w 10000"/>
                <a:gd name="connsiteY30" fmla="*/ 4793 h 10000"/>
                <a:gd name="connsiteX31" fmla="*/ 590 w 10000"/>
                <a:gd name="connsiteY31" fmla="*/ 4867 h 10000"/>
                <a:gd name="connsiteX32" fmla="*/ 660 w 10000"/>
                <a:gd name="connsiteY32" fmla="*/ 4945 h 10000"/>
                <a:gd name="connsiteX33" fmla="*/ 660 w 10000"/>
                <a:gd name="connsiteY33" fmla="*/ 5057 h 10000"/>
                <a:gd name="connsiteX34" fmla="*/ 486 w 10000"/>
                <a:gd name="connsiteY34" fmla="*/ 5132 h 10000"/>
                <a:gd name="connsiteX35" fmla="*/ 660 w 10000"/>
                <a:gd name="connsiteY35" fmla="*/ 5244 h 10000"/>
                <a:gd name="connsiteX36" fmla="*/ 833 w 10000"/>
                <a:gd name="connsiteY36" fmla="*/ 5505 h 10000"/>
                <a:gd name="connsiteX37" fmla="*/ 1007 w 10000"/>
                <a:gd name="connsiteY37" fmla="*/ 5766 h 10000"/>
                <a:gd name="connsiteX38" fmla="*/ 1076 w 10000"/>
                <a:gd name="connsiteY38" fmla="*/ 5918 h 10000"/>
                <a:gd name="connsiteX39" fmla="*/ 1007 w 10000"/>
                <a:gd name="connsiteY39" fmla="*/ 6104 h 10000"/>
                <a:gd name="connsiteX40" fmla="*/ 1007 w 10000"/>
                <a:gd name="connsiteY40" fmla="*/ 6368 h 10000"/>
                <a:gd name="connsiteX41" fmla="*/ 1007 w 10000"/>
                <a:gd name="connsiteY41" fmla="*/ 6480 h 10000"/>
                <a:gd name="connsiteX42" fmla="*/ 1146 w 10000"/>
                <a:gd name="connsiteY42" fmla="*/ 6630 h 10000"/>
                <a:gd name="connsiteX43" fmla="*/ 1250 w 10000"/>
                <a:gd name="connsiteY43" fmla="*/ 6630 h 10000"/>
                <a:gd name="connsiteX44" fmla="*/ 1389 w 10000"/>
                <a:gd name="connsiteY44" fmla="*/ 6630 h 10000"/>
                <a:gd name="connsiteX45" fmla="*/ 1493 w 10000"/>
                <a:gd name="connsiteY45" fmla="*/ 6816 h 10000"/>
                <a:gd name="connsiteX46" fmla="*/ 1563 w 10000"/>
                <a:gd name="connsiteY46" fmla="*/ 6891 h 10000"/>
                <a:gd name="connsiteX47" fmla="*/ 1806 w 10000"/>
                <a:gd name="connsiteY47" fmla="*/ 6891 h 10000"/>
                <a:gd name="connsiteX48" fmla="*/ 1910 w 10000"/>
                <a:gd name="connsiteY48" fmla="*/ 7005 h 10000"/>
                <a:gd name="connsiteX49" fmla="*/ 1979 w 10000"/>
                <a:gd name="connsiteY49" fmla="*/ 7079 h 10000"/>
                <a:gd name="connsiteX50" fmla="*/ 2049 w 10000"/>
                <a:gd name="connsiteY50" fmla="*/ 7079 h 10000"/>
                <a:gd name="connsiteX51" fmla="*/ 1979 w 10000"/>
                <a:gd name="connsiteY51" fmla="*/ 7266 h 10000"/>
                <a:gd name="connsiteX52" fmla="*/ 2049 w 10000"/>
                <a:gd name="connsiteY52" fmla="*/ 7340 h 10000"/>
                <a:gd name="connsiteX53" fmla="*/ 2292 w 10000"/>
                <a:gd name="connsiteY53" fmla="*/ 7526 h 10000"/>
                <a:gd name="connsiteX54" fmla="*/ 2465 w 10000"/>
                <a:gd name="connsiteY54" fmla="*/ 7714 h 10000"/>
                <a:gd name="connsiteX55" fmla="*/ 2535 w 10000"/>
                <a:gd name="connsiteY55" fmla="*/ 7790 h 10000"/>
                <a:gd name="connsiteX56" fmla="*/ 2708 w 10000"/>
                <a:gd name="connsiteY56" fmla="*/ 7866 h 10000"/>
                <a:gd name="connsiteX57" fmla="*/ 2708 w 10000"/>
                <a:gd name="connsiteY57" fmla="*/ 7979 h 10000"/>
                <a:gd name="connsiteX58" fmla="*/ 2813 w 10000"/>
                <a:gd name="connsiteY58" fmla="*/ 8166 h 10000"/>
                <a:gd name="connsiteX59" fmla="*/ 2882 w 10000"/>
                <a:gd name="connsiteY59" fmla="*/ 8239 h 10000"/>
                <a:gd name="connsiteX60" fmla="*/ 2882 w 10000"/>
                <a:gd name="connsiteY60" fmla="*/ 8315 h 10000"/>
                <a:gd name="connsiteX61" fmla="*/ 2951 w 10000"/>
                <a:gd name="connsiteY61" fmla="*/ 8427 h 10000"/>
                <a:gd name="connsiteX62" fmla="*/ 3299 w 10000"/>
                <a:gd name="connsiteY62" fmla="*/ 8577 h 10000"/>
                <a:gd name="connsiteX63" fmla="*/ 3368 w 10000"/>
                <a:gd name="connsiteY63" fmla="*/ 8764 h 10000"/>
                <a:gd name="connsiteX64" fmla="*/ 3368 w 10000"/>
                <a:gd name="connsiteY64" fmla="*/ 8839 h 10000"/>
                <a:gd name="connsiteX65" fmla="*/ 3438 w 10000"/>
                <a:gd name="connsiteY65" fmla="*/ 8952 h 10000"/>
                <a:gd name="connsiteX66" fmla="*/ 3542 w 10000"/>
                <a:gd name="connsiteY66" fmla="*/ 9025 h 10000"/>
                <a:gd name="connsiteX67" fmla="*/ 3715 w 10000"/>
                <a:gd name="connsiteY67" fmla="*/ 9213 h 10000"/>
                <a:gd name="connsiteX68" fmla="*/ 3715 w 10000"/>
                <a:gd name="connsiteY68" fmla="*/ 9289 h 10000"/>
                <a:gd name="connsiteX69" fmla="*/ 3785 w 10000"/>
                <a:gd name="connsiteY69" fmla="*/ 9401 h 10000"/>
                <a:gd name="connsiteX70" fmla="*/ 4028 w 10000"/>
                <a:gd name="connsiteY70" fmla="*/ 9474 h 10000"/>
                <a:gd name="connsiteX71" fmla="*/ 4097 w 10000"/>
                <a:gd name="connsiteY71" fmla="*/ 9474 h 10000"/>
                <a:gd name="connsiteX72" fmla="*/ 4201 w 10000"/>
                <a:gd name="connsiteY72" fmla="*/ 9401 h 10000"/>
                <a:gd name="connsiteX73" fmla="*/ 4444 w 10000"/>
                <a:gd name="connsiteY73" fmla="*/ 9474 h 10000"/>
                <a:gd name="connsiteX74" fmla="*/ 4618 w 10000"/>
                <a:gd name="connsiteY74" fmla="*/ 9401 h 10000"/>
                <a:gd name="connsiteX75" fmla="*/ 4757 w 10000"/>
                <a:gd name="connsiteY75" fmla="*/ 9289 h 10000"/>
                <a:gd name="connsiteX76" fmla="*/ 4861 w 10000"/>
                <a:gd name="connsiteY76" fmla="*/ 9401 h 10000"/>
                <a:gd name="connsiteX77" fmla="*/ 5174 w 10000"/>
                <a:gd name="connsiteY77" fmla="*/ 9662 h 10000"/>
                <a:gd name="connsiteX78" fmla="*/ 5243 w 10000"/>
                <a:gd name="connsiteY78" fmla="*/ 9813 h 10000"/>
                <a:gd name="connsiteX79" fmla="*/ 5347 w 10000"/>
                <a:gd name="connsiteY79" fmla="*/ 9925 h 10000"/>
                <a:gd name="connsiteX80" fmla="*/ 5417 w 10000"/>
                <a:gd name="connsiteY80" fmla="*/ 9925 h 10000"/>
                <a:gd name="connsiteX81" fmla="*/ 5486 w 10000"/>
                <a:gd name="connsiteY81" fmla="*/ 9925 h 10000"/>
                <a:gd name="connsiteX82" fmla="*/ 5590 w 10000"/>
                <a:gd name="connsiteY82" fmla="*/ 9925 h 10000"/>
                <a:gd name="connsiteX83" fmla="*/ 5764 w 10000"/>
                <a:gd name="connsiteY83" fmla="*/ 9925 h 10000"/>
                <a:gd name="connsiteX84" fmla="*/ 5833 w 10000"/>
                <a:gd name="connsiteY84" fmla="*/ 9925 h 10000"/>
                <a:gd name="connsiteX85" fmla="*/ 6007 w 10000"/>
                <a:gd name="connsiteY85" fmla="*/ 9925 h 10000"/>
                <a:gd name="connsiteX86" fmla="*/ 6076 w 10000"/>
                <a:gd name="connsiteY86" fmla="*/ 9925 h 10000"/>
                <a:gd name="connsiteX87" fmla="*/ 6146 w 10000"/>
                <a:gd name="connsiteY87" fmla="*/ 10000 h 10000"/>
                <a:gd name="connsiteX88" fmla="*/ 6319 w 10000"/>
                <a:gd name="connsiteY88" fmla="*/ 9925 h 10000"/>
                <a:gd name="connsiteX89" fmla="*/ 6493 w 10000"/>
                <a:gd name="connsiteY89" fmla="*/ 9925 h 10000"/>
                <a:gd name="connsiteX90" fmla="*/ 6667 w 10000"/>
                <a:gd name="connsiteY90" fmla="*/ 9813 h 10000"/>
                <a:gd name="connsiteX91" fmla="*/ 6806 w 10000"/>
                <a:gd name="connsiteY91" fmla="*/ 9813 h 10000"/>
                <a:gd name="connsiteX92" fmla="*/ 7049 w 10000"/>
                <a:gd name="connsiteY92" fmla="*/ 9813 h 10000"/>
                <a:gd name="connsiteX93" fmla="*/ 7292 w 10000"/>
                <a:gd name="connsiteY93" fmla="*/ 9662 h 10000"/>
                <a:gd name="connsiteX94" fmla="*/ 7292 w 10000"/>
                <a:gd name="connsiteY94" fmla="*/ 9662 h 10000"/>
                <a:gd name="connsiteX95" fmla="*/ 7292 w 10000"/>
                <a:gd name="connsiteY95" fmla="*/ 9662 h 10000"/>
                <a:gd name="connsiteX96" fmla="*/ 7569 w 10000"/>
                <a:gd name="connsiteY96" fmla="*/ 9401 h 10000"/>
                <a:gd name="connsiteX97" fmla="*/ 7639 w 10000"/>
                <a:gd name="connsiteY97" fmla="*/ 9289 h 10000"/>
                <a:gd name="connsiteX98" fmla="*/ 7813 w 10000"/>
                <a:gd name="connsiteY98" fmla="*/ 9289 h 10000"/>
                <a:gd name="connsiteX99" fmla="*/ 8125 w 10000"/>
                <a:gd name="connsiteY99" fmla="*/ 9401 h 10000"/>
                <a:gd name="connsiteX100" fmla="*/ 8299 w 10000"/>
                <a:gd name="connsiteY100" fmla="*/ 9401 h 10000"/>
                <a:gd name="connsiteX101" fmla="*/ 8472 w 10000"/>
                <a:gd name="connsiteY101" fmla="*/ 9289 h 10000"/>
                <a:gd name="connsiteX102" fmla="*/ 8472 w 10000"/>
                <a:gd name="connsiteY102" fmla="*/ 9025 h 10000"/>
                <a:gd name="connsiteX103" fmla="*/ 8542 w 10000"/>
                <a:gd name="connsiteY103" fmla="*/ 8952 h 10000"/>
                <a:gd name="connsiteX104" fmla="*/ 8472 w 10000"/>
                <a:gd name="connsiteY104" fmla="*/ 8839 h 10000"/>
                <a:gd name="connsiteX105" fmla="*/ 8472 w 10000"/>
                <a:gd name="connsiteY105" fmla="*/ 8764 h 10000"/>
                <a:gd name="connsiteX106" fmla="*/ 8125 w 10000"/>
                <a:gd name="connsiteY106" fmla="*/ 8764 h 10000"/>
                <a:gd name="connsiteX107" fmla="*/ 8056 w 10000"/>
                <a:gd name="connsiteY107" fmla="*/ 8687 h 10000"/>
                <a:gd name="connsiteX108" fmla="*/ 8056 w 10000"/>
                <a:gd name="connsiteY108" fmla="*/ 8577 h 10000"/>
                <a:gd name="connsiteX109" fmla="*/ 7882 w 10000"/>
                <a:gd name="connsiteY109" fmla="*/ 8239 h 10000"/>
                <a:gd name="connsiteX110" fmla="*/ 7882 w 10000"/>
                <a:gd name="connsiteY110" fmla="*/ 8053 h 10000"/>
                <a:gd name="connsiteX111" fmla="*/ 7813 w 10000"/>
                <a:gd name="connsiteY111" fmla="*/ 7979 h 10000"/>
                <a:gd name="connsiteX112" fmla="*/ 7569 w 10000"/>
                <a:gd name="connsiteY112" fmla="*/ 7790 h 10000"/>
                <a:gd name="connsiteX113" fmla="*/ 7465 w 10000"/>
                <a:gd name="connsiteY113" fmla="*/ 7714 h 10000"/>
                <a:gd name="connsiteX114" fmla="*/ 7396 w 10000"/>
                <a:gd name="connsiteY114" fmla="*/ 7604 h 10000"/>
                <a:gd name="connsiteX115" fmla="*/ 7396 w 10000"/>
                <a:gd name="connsiteY115" fmla="*/ 7526 h 10000"/>
                <a:gd name="connsiteX116" fmla="*/ 7292 w 10000"/>
                <a:gd name="connsiteY116" fmla="*/ 7340 h 10000"/>
                <a:gd name="connsiteX117" fmla="*/ 7222 w 10000"/>
                <a:gd name="connsiteY117" fmla="*/ 7340 h 10000"/>
                <a:gd name="connsiteX118" fmla="*/ 7049 w 10000"/>
                <a:gd name="connsiteY118" fmla="*/ 7266 h 10000"/>
                <a:gd name="connsiteX119" fmla="*/ 6979 w 10000"/>
                <a:gd name="connsiteY119" fmla="*/ 7266 h 10000"/>
                <a:gd name="connsiteX120" fmla="*/ 6910 w 10000"/>
                <a:gd name="connsiteY120" fmla="*/ 7266 h 10000"/>
                <a:gd name="connsiteX121" fmla="*/ 6806 w 10000"/>
                <a:gd name="connsiteY121" fmla="*/ 7266 h 10000"/>
                <a:gd name="connsiteX122" fmla="*/ 6736 w 10000"/>
                <a:gd name="connsiteY122" fmla="*/ 7191 h 10000"/>
                <a:gd name="connsiteX123" fmla="*/ 6806 w 10000"/>
                <a:gd name="connsiteY123" fmla="*/ 7079 h 10000"/>
                <a:gd name="connsiteX124" fmla="*/ 6910 w 10000"/>
                <a:gd name="connsiteY124" fmla="*/ 7005 h 10000"/>
                <a:gd name="connsiteX125" fmla="*/ 6910 w 10000"/>
                <a:gd name="connsiteY125" fmla="*/ 6816 h 10000"/>
                <a:gd name="connsiteX126" fmla="*/ 6979 w 10000"/>
                <a:gd name="connsiteY126" fmla="*/ 6816 h 10000"/>
                <a:gd name="connsiteX127" fmla="*/ 7222 w 10000"/>
                <a:gd name="connsiteY127" fmla="*/ 6816 h 10000"/>
                <a:gd name="connsiteX128" fmla="*/ 7396 w 10000"/>
                <a:gd name="connsiteY128" fmla="*/ 6816 h 10000"/>
                <a:gd name="connsiteX129" fmla="*/ 7465 w 10000"/>
                <a:gd name="connsiteY129" fmla="*/ 6740 h 10000"/>
                <a:gd name="connsiteX130" fmla="*/ 7465 w 10000"/>
                <a:gd name="connsiteY130" fmla="*/ 6554 h 10000"/>
                <a:gd name="connsiteX131" fmla="*/ 7465 w 10000"/>
                <a:gd name="connsiteY131" fmla="*/ 6031 h 10000"/>
                <a:gd name="connsiteX132" fmla="*/ 7465 w 10000"/>
                <a:gd name="connsiteY132" fmla="*/ 5843 h 10000"/>
                <a:gd name="connsiteX133" fmla="*/ 7569 w 10000"/>
                <a:gd name="connsiteY133" fmla="*/ 5656 h 10000"/>
                <a:gd name="connsiteX134" fmla="*/ 7465 w 10000"/>
                <a:gd name="connsiteY134" fmla="*/ 5579 h 10000"/>
                <a:gd name="connsiteX135" fmla="*/ 7465 w 10000"/>
                <a:gd name="connsiteY135" fmla="*/ 5505 h 10000"/>
                <a:gd name="connsiteX136" fmla="*/ 7569 w 10000"/>
                <a:gd name="connsiteY136" fmla="*/ 5505 h 10000"/>
                <a:gd name="connsiteX137" fmla="*/ 7569 w 10000"/>
                <a:gd name="connsiteY137" fmla="*/ 5393 h 10000"/>
                <a:gd name="connsiteX138" fmla="*/ 7639 w 10000"/>
                <a:gd name="connsiteY138" fmla="*/ 5244 h 10000"/>
                <a:gd name="connsiteX139" fmla="*/ 7708 w 10000"/>
                <a:gd name="connsiteY139" fmla="*/ 5244 h 10000"/>
                <a:gd name="connsiteX140" fmla="*/ 7882 w 10000"/>
                <a:gd name="connsiteY140" fmla="*/ 5244 h 10000"/>
                <a:gd name="connsiteX141" fmla="*/ 7882 w 10000"/>
                <a:gd name="connsiteY141" fmla="*/ 5132 h 10000"/>
                <a:gd name="connsiteX142" fmla="*/ 7951 w 10000"/>
                <a:gd name="connsiteY142" fmla="*/ 4793 h 10000"/>
                <a:gd name="connsiteX143" fmla="*/ 8056 w 10000"/>
                <a:gd name="connsiteY143" fmla="*/ 4682 h 10000"/>
                <a:gd name="connsiteX144" fmla="*/ 8368 w 10000"/>
                <a:gd name="connsiteY144" fmla="*/ 4083 h 10000"/>
                <a:gd name="connsiteX145" fmla="*/ 8542 w 10000"/>
                <a:gd name="connsiteY145" fmla="*/ 4007 h 10000"/>
                <a:gd name="connsiteX146" fmla="*/ 8611 w 10000"/>
                <a:gd name="connsiteY146" fmla="*/ 3897 h 10000"/>
                <a:gd name="connsiteX147" fmla="*/ 8715 w 10000"/>
                <a:gd name="connsiteY147" fmla="*/ 3819 h 10000"/>
                <a:gd name="connsiteX148" fmla="*/ 8854 w 10000"/>
                <a:gd name="connsiteY148" fmla="*/ 3109 h 10000"/>
                <a:gd name="connsiteX149" fmla="*/ 8854 w 10000"/>
                <a:gd name="connsiteY149" fmla="*/ 2921 h 10000"/>
                <a:gd name="connsiteX150" fmla="*/ 8854 w 10000"/>
                <a:gd name="connsiteY150" fmla="*/ 2733 h 10000"/>
                <a:gd name="connsiteX151" fmla="*/ 8854 w 10000"/>
                <a:gd name="connsiteY151" fmla="*/ 2584 h 10000"/>
                <a:gd name="connsiteX152" fmla="*/ 8854 w 10000"/>
                <a:gd name="connsiteY152" fmla="*/ 2324 h 10000"/>
                <a:gd name="connsiteX153" fmla="*/ 8958 w 10000"/>
                <a:gd name="connsiteY153" fmla="*/ 2136 h 10000"/>
                <a:gd name="connsiteX154" fmla="*/ 9097 w 10000"/>
                <a:gd name="connsiteY154" fmla="*/ 1496 h 10000"/>
                <a:gd name="connsiteX155" fmla="*/ 10000 w 10000"/>
                <a:gd name="connsiteY155" fmla="*/ 375 h 10000"/>
                <a:gd name="connsiteX156" fmla="*/ 10000 w 10000"/>
                <a:gd name="connsiteY156" fmla="*/ 260 h 10000"/>
                <a:gd name="connsiteX157" fmla="*/ 9931 w 10000"/>
                <a:gd name="connsiteY157" fmla="*/ 260 h 10000"/>
                <a:gd name="connsiteX158" fmla="*/ 9931 w 10000"/>
                <a:gd name="connsiteY158" fmla="*/ 260 h 10000"/>
                <a:gd name="connsiteX159" fmla="*/ 9861 w 10000"/>
                <a:gd name="connsiteY159" fmla="*/ 260 h 10000"/>
                <a:gd name="connsiteX160" fmla="*/ 9757 w 10000"/>
                <a:gd name="connsiteY160" fmla="*/ 0 h 10000"/>
                <a:gd name="connsiteX0" fmla="*/ 9861 w 10000"/>
                <a:gd name="connsiteY0" fmla="*/ 0 h 9740"/>
                <a:gd name="connsiteX1" fmla="*/ 1319 w 10000"/>
                <a:gd name="connsiteY1" fmla="*/ 1687 h 9740"/>
                <a:gd name="connsiteX2" fmla="*/ 1250 w 10000"/>
                <a:gd name="connsiteY2" fmla="*/ 1687 h 9740"/>
                <a:gd name="connsiteX3" fmla="*/ 903 w 10000"/>
                <a:gd name="connsiteY3" fmla="*/ 1687 h 9740"/>
                <a:gd name="connsiteX4" fmla="*/ 660 w 10000"/>
                <a:gd name="connsiteY4" fmla="*/ 1687 h 9740"/>
                <a:gd name="connsiteX5" fmla="*/ 660 w 10000"/>
                <a:gd name="connsiteY5" fmla="*/ 1800 h 9740"/>
                <a:gd name="connsiteX6" fmla="*/ 660 w 10000"/>
                <a:gd name="connsiteY6" fmla="*/ 1876 h 9740"/>
                <a:gd name="connsiteX7" fmla="*/ 660 w 10000"/>
                <a:gd name="connsiteY7" fmla="*/ 1949 h 9740"/>
                <a:gd name="connsiteX8" fmla="*/ 590 w 10000"/>
                <a:gd name="connsiteY8" fmla="*/ 2136 h 9740"/>
                <a:gd name="connsiteX9" fmla="*/ 486 w 10000"/>
                <a:gd name="connsiteY9" fmla="*/ 2324 h 9740"/>
                <a:gd name="connsiteX10" fmla="*/ 243 w 10000"/>
                <a:gd name="connsiteY10" fmla="*/ 2583 h 9740"/>
                <a:gd name="connsiteX11" fmla="*/ 243 w 10000"/>
                <a:gd name="connsiteY11" fmla="*/ 2661 h 9740"/>
                <a:gd name="connsiteX12" fmla="*/ 347 w 10000"/>
                <a:gd name="connsiteY12" fmla="*/ 2774 h 9740"/>
                <a:gd name="connsiteX13" fmla="*/ 243 w 10000"/>
                <a:gd name="connsiteY13" fmla="*/ 2849 h 9740"/>
                <a:gd name="connsiteX14" fmla="*/ 243 w 10000"/>
                <a:gd name="connsiteY14" fmla="*/ 2849 h 9740"/>
                <a:gd name="connsiteX15" fmla="*/ 174 w 10000"/>
                <a:gd name="connsiteY15" fmla="*/ 2923 h 9740"/>
                <a:gd name="connsiteX16" fmla="*/ 174 w 10000"/>
                <a:gd name="connsiteY16" fmla="*/ 2923 h 9740"/>
                <a:gd name="connsiteX17" fmla="*/ 174 w 10000"/>
                <a:gd name="connsiteY17" fmla="*/ 3110 h 9740"/>
                <a:gd name="connsiteX18" fmla="*/ 174 w 10000"/>
                <a:gd name="connsiteY18" fmla="*/ 3298 h 9740"/>
                <a:gd name="connsiteX19" fmla="*/ 104 w 10000"/>
                <a:gd name="connsiteY19" fmla="*/ 3373 h 9740"/>
                <a:gd name="connsiteX20" fmla="*/ 0 w 10000"/>
                <a:gd name="connsiteY20" fmla="*/ 3449 h 9740"/>
                <a:gd name="connsiteX21" fmla="*/ 0 w 10000"/>
                <a:gd name="connsiteY21" fmla="*/ 3559 h 9740"/>
                <a:gd name="connsiteX22" fmla="*/ 0 w 10000"/>
                <a:gd name="connsiteY22" fmla="*/ 3747 h 9740"/>
                <a:gd name="connsiteX23" fmla="*/ 104 w 10000"/>
                <a:gd name="connsiteY23" fmla="*/ 3747 h 9740"/>
                <a:gd name="connsiteX24" fmla="*/ 104 w 10000"/>
                <a:gd name="connsiteY24" fmla="*/ 3747 h 9740"/>
                <a:gd name="connsiteX25" fmla="*/ 347 w 10000"/>
                <a:gd name="connsiteY25" fmla="*/ 3637 h 9740"/>
                <a:gd name="connsiteX26" fmla="*/ 243 w 10000"/>
                <a:gd name="connsiteY26" fmla="*/ 3896 h 9740"/>
                <a:gd name="connsiteX27" fmla="*/ 347 w 10000"/>
                <a:gd name="connsiteY27" fmla="*/ 4085 h 9740"/>
                <a:gd name="connsiteX28" fmla="*/ 486 w 10000"/>
                <a:gd name="connsiteY28" fmla="*/ 4422 h 9740"/>
                <a:gd name="connsiteX29" fmla="*/ 486 w 10000"/>
                <a:gd name="connsiteY29" fmla="*/ 4533 h 9740"/>
                <a:gd name="connsiteX30" fmla="*/ 590 w 10000"/>
                <a:gd name="connsiteY30" fmla="*/ 4533 h 9740"/>
                <a:gd name="connsiteX31" fmla="*/ 590 w 10000"/>
                <a:gd name="connsiteY31" fmla="*/ 4607 h 9740"/>
                <a:gd name="connsiteX32" fmla="*/ 660 w 10000"/>
                <a:gd name="connsiteY32" fmla="*/ 4685 h 9740"/>
                <a:gd name="connsiteX33" fmla="*/ 660 w 10000"/>
                <a:gd name="connsiteY33" fmla="*/ 4797 h 9740"/>
                <a:gd name="connsiteX34" fmla="*/ 486 w 10000"/>
                <a:gd name="connsiteY34" fmla="*/ 4872 h 9740"/>
                <a:gd name="connsiteX35" fmla="*/ 660 w 10000"/>
                <a:gd name="connsiteY35" fmla="*/ 4984 h 9740"/>
                <a:gd name="connsiteX36" fmla="*/ 833 w 10000"/>
                <a:gd name="connsiteY36" fmla="*/ 5245 h 9740"/>
                <a:gd name="connsiteX37" fmla="*/ 1007 w 10000"/>
                <a:gd name="connsiteY37" fmla="*/ 5506 h 9740"/>
                <a:gd name="connsiteX38" fmla="*/ 1076 w 10000"/>
                <a:gd name="connsiteY38" fmla="*/ 5658 h 9740"/>
                <a:gd name="connsiteX39" fmla="*/ 1007 w 10000"/>
                <a:gd name="connsiteY39" fmla="*/ 5844 h 9740"/>
                <a:gd name="connsiteX40" fmla="*/ 1007 w 10000"/>
                <a:gd name="connsiteY40" fmla="*/ 6108 h 9740"/>
                <a:gd name="connsiteX41" fmla="*/ 1007 w 10000"/>
                <a:gd name="connsiteY41" fmla="*/ 6220 h 9740"/>
                <a:gd name="connsiteX42" fmla="*/ 1146 w 10000"/>
                <a:gd name="connsiteY42" fmla="*/ 6370 h 9740"/>
                <a:gd name="connsiteX43" fmla="*/ 1250 w 10000"/>
                <a:gd name="connsiteY43" fmla="*/ 6370 h 9740"/>
                <a:gd name="connsiteX44" fmla="*/ 1389 w 10000"/>
                <a:gd name="connsiteY44" fmla="*/ 6370 h 9740"/>
                <a:gd name="connsiteX45" fmla="*/ 1493 w 10000"/>
                <a:gd name="connsiteY45" fmla="*/ 6556 h 9740"/>
                <a:gd name="connsiteX46" fmla="*/ 1563 w 10000"/>
                <a:gd name="connsiteY46" fmla="*/ 6631 h 9740"/>
                <a:gd name="connsiteX47" fmla="*/ 1806 w 10000"/>
                <a:gd name="connsiteY47" fmla="*/ 6631 h 9740"/>
                <a:gd name="connsiteX48" fmla="*/ 1910 w 10000"/>
                <a:gd name="connsiteY48" fmla="*/ 6745 h 9740"/>
                <a:gd name="connsiteX49" fmla="*/ 1979 w 10000"/>
                <a:gd name="connsiteY49" fmla="*/ 6819 h 9740"/>
                <a:gd name="connsiteX50" fmla="*/ 2049 w 10000"/>
                <a:gd name="connsiteY50" fmla="*/ 6819 h 9740"/>
                <a:gd name="connsiteX51" fmla="*/ 1979 w 10000"/>
                <a:gd name="connsiteY51" fmla="*/ 7006 h 9740"/>
                <a:gd name="connsiteX52" fmla="*/ 2049 w 10000"/>
                <a:gd name="connsiteY52" fmla="*/ 7080 h 9740"/>
                <a:gd name="connsiteX53" fmla="*/ 2292 w 10000"/>
                <a:gd name="connsiteY53" fmla="*/ 7266 h 9740"/>
                <a:gd name="connsiteX54" fmla="*/ 2465 w 10000"/>
                <a:gd name="connsiteY54" fmla="*/ 7454 h 9740"/>
                <a:gd name="connsiteX55" fmla="*/ 2535 w 10000"/>
                <a:gd name="connsiteY55" fmla="*/ 7530 h 9740"/>
                <a:gd name="connsiteX56" fmla="*/ 2708 w 10000"/>
                <a:gd name="connsiteY56" fmla="*/ 7606 h 9740"/>
                <a:gd name="connsiteX57" fmla="*/ 2708 w 10000"/>
                <a:gd name="connsiteY57" fmla="*/ 7719 h 9740"/>
                <a:gd name="connsiteX58" fmla="*/ 2813 w 10000"/>
                <a:gd name="connsiteY58" fmla="*/ 7906 h 9740"/>
                <a:gd name="connsiteX59" fmla="*/ 2882 w 10000"/>
                <a:gd name="connsiteY59" fmla="*/ 7979 h 9740"/>
                <a:gd name="connsiteX60" fmla="*/ 2882 w 10000"/>
                <a:gd name="connsiteY60" fmla="*/ 8055 h 9740"/>
                <a:gd name="connsiteX61" fmla="*/ 2951 w 10000"/>
                <a:gd name="connsiteY61" fmla="*/ 8167 h 9740"/>
                <a:gd name="connsiteX62" fmla="*/ 3299 w 10000"/>
                <a:gd name="connsiteY62" fmla="*/ 8317 h 9740"/>
                <a:gd name="connsiteX63" fmla="*/ 3368 w 10000"/>
                <a:gd name="connsiteY63" fmla="*/ 8504 h 9740"/>
                <a:gd name="connsiteX64" fmla="*/ 3368 w 10000"/>
                <a:gd name="connsiteY64" fmla="*/ 8579 h 9740"/>
                <a:gd name="connsiteX65" fmla="*/ 3438 w 10000"/>
                <a:gd name="connsiteY65" fmla="*/ 8692 h 9740"/>
                <a:gd name="connsiteX66" fmla="*/ 3542 w 10000"/>
                <a:gd name="connsiteY66" fmla="*/ 8765 h 9740"/>
                <a:gd name="connsiteX67" fmla="*/ 3715 w 10000"/>
                <a:gd name="connsiteY67" fmla="*/ 8953 h 9740"/>
                <a:gd name="connsiteX68" fmla="*/ 3715 w 10000"/>
                <a:gd name="connsiteY68" fmla="*/ 9029 h 9740"/>
                <a:gd name="connsiteX69" fmla="*/ 3785 w 10000"/>
                <a:gd name="connsiteY69" fmla="*/ 9141 h 9740"/>
                <a:gd name="connsiteX70" fmla="*/ 4028 w 10000"/>
                <a:gd name="connsiteY70" fmla="*/ 9214 h 9740"/>
                <a:gd name="connsiteX71" fmla="*/ 4097 w 10000"/>
                <a:gd name="connsiteY71" fmla="*/ 9214 h 9740"/>
                <a:gd name="connsiteX72" fmla="*/ 4201 w 10000"/>
                <a:gd name="connsiteY72" fmla="*/ 9141 h 9740"/>
                <a:gd name="connsiteX73" fmla="*/ 4444 w 10000"/>
                <a:gd name="connsiteY73" fmla="*/ 9214 h 9740"/>
                <a:gd name="connsiteX74" fmla="*/ 4618 w 10000"/>
                <a:gd name="connsiteY74" fmla="*/ 9141 h 9740"/>
                <a:gd name="connsiteX75" fmla="*/ 4757 w 10000"/>
                <a:gd name="connsiteY75" fmla="*/ 9029 h 9740"/>
                <a:gd name="connsiteX76" fmla="*/ 4861 w 10000"/>
                <a:gd name="connsiteY76" fmla="*/ 9141 h 9740"/>
                <a:gd name="connsiteX77" fmla="*/ 5174 w 10000"/>
                <a:gd name="connsiteY77" fmla="*/ 9402 h 9740"/>
                <a:gd name="connsiteX78" fmla="*/ 5243 w 10000"/>
                <a:gd name="connsiteY78" fmla="*/ 9553 h 9740"/>
                <a:gd name="connsiteX79" fmla="*/ 5347 w 10000"/>
                <a:gd name="connsiteY79" fmla="*/ 9665 h 9740"/>
                <a:gd name="connsiteX80" fmla="*/ 5417 w 10000"/>
                <a:gd name="connsiteY80" fmla="*/ 9665 h 9740"/>
                <a:gd name="connsiteX81" fmla="*/ 5486 w 10000"/>
                <a:gd name="connsiteY81" fmla="*/ 9665 h 9740"/>
                <a:gd name="connsiteX82" fmla="*/ 5590 w 10000"/>
                <a:gd name="connsiteY82" fmla="*/ 9665 h 9740"/>
                <a:gd name="connsiteX83" fmla="*/ 5764 w 10000"/>
                <a:gd name="connsiteY83" fmla="*/ 9665 h 9740"/>
                <a:gd name="connsiteX84" fmla="*/ 5833 w 10000"/>
                <a:gd name="connsiteY84" fmla="*/ 9665 h 9740"/>
                <a:gd name="connsiteX85" fmla="*/ 6007 w 10000"/>
                <a:gd name="connsiteY85" fmla="*/ 9665 h 9740"/>
                <a:gd name="connsiteX86" fmla="*/ 6076 w 10000"/>
                <a:gd name="connsiteY86" fmla="*/ 9665 h 9740"/>
                <a:gd name="connsiteX87" fmla="*/ 6146 w 10000"/>
                <a:gd name="connsiteY87" fmla="*/ 9740 h 9740"/>
                <a:gd name="connsiteX88" fmla="*/ 6319 w 10000"/>
                <a:gd name="connsiteY88" fmla="*/ 9665 h 9740"/>
                <a:gd name="connsiteX89" fmla="*/ 6493 w 10000"/>
                <a:gd name="connsiteY89" fmla="*/ 9665 h 9740"/>
                <a:gd name="connsiteX90" fmla="*/ 6667 w 10000"/>
                <a:gd name="connsiteY90" fmla="*/ 9553 h 9740"/>
                <a:gd name="connsiteX91" fmla="*/ 6806 w 10000"/>
                <a:gd name="connsiteY91" fmla="*/ 9553 h 9740"/>
                <a:gd name="connsiteX92" fmla="*/ 7049 w 10000"/>
                <a:gd name="connsiteY92" fmla="*/ 9553 h 9740"/>
                <a:gd name="connsiteX93" fmla="*/ 7292 w 10000"/>
                <a:gd name="connsiteY93" fmla="*/ 9402 h 9740"/>
                <a:gd name="connsiteX94" fmla="*/ 7292 w 10000"/>
                <a:gd name="connsiteY94" fmla="*/ 9402 h 9740"/>
                <a:gd name="connsiteX95" fmla="*/ 7292 w 10000"/>
                <a:gd name="connsiteY95" fmla="*/ 9402 h 9740"/>
                <a:gd name="connsiteX96" fmla="*/ 7569 w 10000"/>
                <a:gd name="connsiteY96" fmla="*/ 9141 h 9740"/>
                <a:gd name="connsiteX97" fmla="*/ 7639 w 10000"/>
                <a:gd name="connsiteY97" fmla="*/ 9029 h 9740"/>
                <a:gd name="connsiteX98" fmla="*/ 7813 w 10000"/>
                <a:gd name="connsiteY98" fmla="*/ 9029 h 9740"/>
                <a:gd name="connsiteX99" fmla="*/ 8125 w 10000"/>
                <a:gd name="connsiteY99" fmla="*/ 9141 h 9740"/>
                <a:gd name="connsiteX100" fmla="*/ 8299 w 10000"/>
                <a:gd name="connsiteY100" fmla="*/ 9141 h 9740"/>
                <a:gd name="connsiteX101" fmla="*/ 8472 w 10000"/>
                <a:gd name="connsiteY101" fmla="*/ 9029 h 9740"/>
                <a:gd name="connsiteX102" fmla="*/ 8472 w 10000"/>
                <a:gd name="connsiteY102" fmla="*/ 8765 h 9740"/>
                <a:gd name="connsiteX103" fmla="*/ 8542 w 10000"/>
                <a:gd name="connsiteY103" fmla="*/ 8692 h 9740"/>
                <a:gd name="connsiteX104" fmla="*/ 8472 w 10000"/>
                <a:gd name="connsiteY104" fmla="*/ 8579 h 9740"/>
                <a:gd name="connsiteX105" fmla="*/ 8472 w 10000"/>
                <a:gd name="connsiteY105" fmla="*/ 8504 h 9740"/>
                <a:gd name="connsiteX106" fmla="*/ 8125 w 10000"/>
                <a:gd name="connsiteY106" fmla="*/ 8504 h 9740"/>
                <a:gd name="connsiteX107" fmla="*/ 8056 w 10000"/>
                <a:gd name="connsiteY107" fmla="*/ 8427 h 9740"/>
                <a:gd name="connsiteX108" fmla="*/ 8056 w 10000"/>
                <a:gd name="connsiteY108" fmla="*/ 8317 h 9740"/>
                <a:gd name="connsiteX109" fmla="*/ 7882 w 10000"/>
                <a:gd name="connsiteY109" fmla="*/ 7979 h 9740"/>
                <a:gd name="connsiteX110" fmla="*/ 7882 w 10000"/>
                <a:gd name="connsiteY110" fmla="*/ 7793 h 9740"/>
                <a:gd name="connsiteX111" fmla="*/ 7813 w 10000"/>
                <a:gd name="connsiteY111" fmla="*/ 7719 h 9740"/>
                <a:gd name="connsiteX112" fmla="*/ 7569 w 10000"/>
                <a:gd name="connsiteY112" fmla="*/ 7530 h 9740"/>
                <a:gd name="connsiteX113" fmla="*/ 7465 w 10000"/>
                <a:gd name="connsiteY113" fmla="*/ 7454 h 9740"/>
                <a:gd name="connsiteX114" fmla="*/ 7396 w 10000"/>
                <a:gd name="connsiteY114" fmla="*/ 7344 h 9740"/>
                <a:gd name="connsiteX115" fmla="*/ 7396 w 10000"/>
                <a:gd name="connsiteY115" fmla="*/ 7266 h 9740"/>
                <a:gd name="connsiteX116" fmla="*/ 7292 w 10000"/>
                <a:gd name="connsiteY116" fmla="*/ 7080 h 9740"/>
                <a:gd name="connsiteX117" fmla="*/ 7222 w 10000"/>
                <a:gd name="connsiteY117" fmla="*/ 7080 h 9740"/>
                <a:gd name="connsiteX118" fmla="*/ 7049 w 10000"/>
                <a:gd name="connsiteY118" fmla="*/ 7006 h 9740"/>
                <a:gd name="connsiteX119" fmla="*/ 6979 w 10000"/>
                <a:gd name="connsiteY119" fmla="*/ 7006 h 9740"/>
                <a:gd name="connsiteX120" fmla="*/ 6910 w 10000"/>
                <a:gd name="connsiteY120" fmla="*/ 7006 h 9740"/>
                <a:gd name="connsiteX121" fmla="*/ 6806 w 10000"/>
                <a:gd name="connsiteY121" fmla="*/ 7006 h 9740"/>
                <a:gd name="connsiteX122" fmla="*/ 6736 w 10000"/>
                <a:gd name="connsiteY122" fmla="*/ 6931 h 9740"/>
                <a:gd name="connsiteX123" fmla="*/ 6806 w 10000"/>
                <a:gd name="connsiteY123" fmla="*/ 6819 h 9740"/>
                <a:gd name="connsiteX124" fmla="*/ 6910 w 10000"/>
                <a:gd name="connsiteY124" fmla="*/ 6745 h 9740"/>
                <a:gd name="connsiteX125" fmla="*/ 6910 w 10000"/>
                <a:gd name="connsiteY125" fmla="*/ 6556 h 9740"/>
                <a:gd name="connsiteX126" fmla="*/ 6979 w 10000"/>
                <a:gd name="connsiteY126" fmla="*/ 6556 h 9740"/>
                <a:gd name="connsiteX127" fmla="*/ 7222 w 10000"/>
                <a:gd name="connsiteY127" fmla="*/ 6556 h 9740"/>
                <a:gd name="connsiteX128" fmla="*/ 7396 w 10000"/>
                <a:gd name="connsiteY128" fmla="*/ 6556 h 9740"/>
                <a:gd name="connsiteX129" fmla="*/ 7465 w 10000"/>
                <a:gd name="connsiteY129" fmla="*/ 6480 h 9740"/>
                <a:gd name="connsiteX130" fmla="*/ 7465 w 10000"/>
                <a:gd name="connsiteY130" fmla="*/ 6294 h 9740"/>
                <a:gd name="connsiteX131" fmla="*/ 7465 w 10000"/>
                <a:gd name="connsiteY131" fmla="*/ 5771 h 9740"/>
                <a:gd name="connsiteX132" fmla="*/ 7465 w 10000"/>
                <a:gd name="connsiteY132" fmla="*/ 5583 h 9740"/>
                <a:gd name="connsiteX133" fmla="*/ 7569 w 10000"/>
                <a:gd name="connsiteY133" fmla="*/ 5396 h 9740"/>
                <a:gd name="connsiteX134" fmla="*/ 7465 w 10000"/>
                <a:gd name="connsiteY134" fmla="*/ 5319 h 9740"/>
                <a:gd name="connsiteX135" fmla="*/ 7465 w 10000"/>
                <a:gd name="connsiteY135" fmla="*/ 5245 h 9740"/>
                <a:gd name="connsiteX136" fmla="*/ 7569 w 10000"/>
                <a:gd name="connsiteY136" fmla="*/ 5245 h 9740"/>
                <a:gd name="connsiteX137" fmla="*/ 7569 w 10000"/>
                <a:gd name="connsiteY137" fmla="*/ 5133 h 9740"/>
                <a:gd name="connsiteX138" fmla="*/ 7639 w 10000"/>
                <a:gd name="connsiteY138" fmla="*/ 4984 h 9740"/>
                <a:gd name="connsiteX139" fmla="*/ 7708 w 10000"/>
                <a:gd name="connsiteY139" fmla="*/ 4984 h 9740"/>
                <a:gd name="connsiteX140" fmla="*/ 7882 w 10000"/>
                <a:gd name="connsiteY140" fmla="*/ 4984 h 9740"/>
                <a:gd name="connsiteX141" fmla="*/ 7882 w 10000"/>
                <a:gd name="connsiteY141" fmla="*/ 4872 h 9740"/>
                <a:gd name="connsiteX142" fmla="*/ 7951 w 10000"/>
                <a:gd name="connsiteY142" fmla="*/ 4533 h 9740"/>
                <a:gd name="connsiteX143" fmla="*/ 8056 w 10000"/>
                <a:gd name="connsiteY143" fmla="*/ 4422 h 9740"/>
                <a:gd name="connsiteX144" fmla="*/ 8368 w 10000"/>
                <a:gd name="connsiteY144" fmla="*/ 3823 h 9740"/>
                <a:gd name="connsiteX145" fmla="*/ 8542 w 10000"/>
                <a:gd name="connsiteY145" fmla="*/ 3747 h 9740"/>
                <a:gd name="connsiteX146" fmla="*/ 8611 w 10000"/>
                <a:gd name="connsiteY146" fmla="*/ 3637 h 9740"/>
                <a:gd name="connsiteX147" fmla="*/ 8715 w 10000"/>
                <a:gd name="connsiteY147" fmla="*/ 3559 h 9740"/>
                <a:gd name="connsiteX148" fmla="*/ 8854 w 10000"/>
                <a:gd name="connsiteY148" fmla="*/ 2849 h 9740"/>
                <a:gd name="connsiteX149" fmla="*/ 8854 w 10000"/>
                <a:gd name="connsiteY149" fmla="*/ 2661 h 9740"/>
                <a:gd name="connsiteX150" fmla="*/ 8854 w 10000"/>
                <a:gd name="connsiteY150" fmla="*/ 2473 h 9740"/>
                <a:gd name="connsiteX151" fmla="*/ 8854 w 10000"/>
                <a:gd name="connsiteY151" fmla="*/ 2324 h 9740"/>
                <a:gd name="connsiteX152" fmla="*/ 8854 w 10000"/>
                <a:gd name="connsiteY152" fmla="*/ 2064 h 9740"/>
                <a:gd name="connsiteX153" fmla="*/ 8958 w 10000"/>
                <a:gd name="connsiteY153" fmla="*/ 1876 h 9740"/>
                <a:gd name="connsiteX154" fmla="*/ 9097 w 10000"/>
                <a:gd name="connsiteY154" fmla="*/ 1236 h 9740"/>
                <a:gd name="connsiteX155" fmla="*/ 10000 w 10000"/>
                <a:gd name="connsiteY155" fmla="*/ 115 h 9740"/>
                <a:gd name="connsiteX156" fmla="*/ 10000 w 10000"/>
                <a:gd name="connsiteY156" fmla="*/ 0 h 9740"/>
                <a:gd name="connsiteX157" fmla="*/ 9931 w 10000"/>
                <a:gd name="connsiteY157" fmla="*/ 0 h 9740"/>
                <a:gd name="connsiteX158" fmla="*/ 9931 w 10000"/>
                <a:gd name="connsiteY158" fmla="*/ 0 h 9740"/>
                <a:gd name="connsiteX159" fmla="*/ 9861 w 10000"/>
                <a:gd name="connsiteY159" fmla="*/ 0 h 9740"/>
                <a:gd name="connsiteX0" fmla="*/ 9931 w 10000"/>
                <a:gd name="connsiteY0" fmla="*/ 0 h 10000"/>
                <a:gd name="connsiteX1" fmla="*/ 1319 w 10000"/>
                <a:gd name="connsiteY1" fmla="*/ 1732 h 10000"/>
                <a:gd name="connsiteX2" fmla="*/ 1250 w 10000"/>
                <a:gd name="connsiteY2" fmla="*/ 1732 h 10000"/>
                <a:gd name="connsiteX3" fmla="*/ 903 w 10000"/>
                <a:gd name="connsiteY3" fmla="*/ 1732 h 10000"/>
                <a:gd name="connsiteX4" fmla="*/ 660 w 10000"/>
                <a:gd name="connsiteY4" fmla="*/ 1732 h 10000"/>
                <a:gd name="connsiteX5" fmla="*/ 660 w 10000"/>
                <a:gd name="connsiteY5" fmla="*/ 1848 h 10000"/>
                <a:gd name="connsiteX6" fmla="*/ 660 w 10000"/>
                <a:gd name="connsiteY6" fmla="*/ 1926 h 10000"/>
                <a:gd name="connsiteX7" fmla="*/ 660 w 10000"/>
                <a:gd name="connsiteY7" fmla="*/ 2001 h 10000"/>
                <a:gd name="connsiteX8" fmla="*/ 590 w 10000"/>
                <a:gd name="connsiteY8" fmla="*/ 2193 h 10000"/>
                <a:gd name="connsiteX9" fmla="*/ 486 w 10000"/>
                <a:gd name="connsiteY9" fmla="*/ 2386 h 10000"/>
                <a:gd name="connsiteX10" fmla="*/ 243 w 10000"/>
                <a:gd name="connsiteY10" fmla="*/ 2652 h 10000"/>
                <a:gd name="connsiteX11" fmla="*/ 243 w 10000"/>
                <a:gd name="connsiteY11" fmla="*/ 2732 h 10000"/>
                <a:gd name="connsiteX12" fmla="*/ 347 w 10000"/>
                <a:gd name="connsiteY12" fmla="*/ 2848 h 10000"/>
                <a:gd name="connsiteX13" fmla="*/ 243 w 10000"/>
                <a:gd name="connsiteY13" fmla="*/ 2925 h 10000"/>
                <a:gd name="connsiteX14" fmla="*/ 243 w 10000"/>
                <a:gd name="connsiteY14" fmla="*/ 2925 h 10000"/>
                <a:gd name="connsiteX15" fmla="*/ 174 w 10000"/>
                <a:gd name="connsiteY15" fmla="*/ 3001 h 10000"/>
                <a:gd name="connsiteX16" fmla="*/ 174 w 10000"/>
                <a:gd name="connsiteY16" fmla="*/ 3001 h 10000"/>
                <a:gd name="connsiteX17" fmla="*/ 174 w 10000"/>
                <a:gd name="connsiteY17" fmla="*/ 3193 h 10000"/>
                <a:gd name="connsiteX18" fmla="*/ 174 w 10000"/>
                <a:gd name="connsiteY18" fmla="*/ 3386 h 10000"/>
                <a:gd name="connsiteX19" fmla="*/ 104 w 10000"/>
                <a:gd name="connsiteY19" fmla="*/ 3463 h 10000"/>
                <a:gd name="connsiteX20" fmla="*/ 0 w 10000"/>
                <a:gd name="connsiteY20" fmla="*/ 3541 h 10000"/>
                <a:gd name="connsiteX21" fmla="*/ 0 w 10000"/>
                <a:gd name="connsiteY21" fmla="*/ 3654 h 10000"/>
                <a:gd name="connsiteX22" fmla="*/ 0 w 10000"/>
                <a:gd name="connsiteY22" fmla="*/ 3847 h 10000"/>
                <a:gd name="connsiteX23" fmla="*/ 104 w 10000"/>
                <a:gd name="connsiteY23" fmla="*/ 3847 h 10000"/>
                <a:gd name="connsiteX24" fmla="*/ 104 w 10000"/>
                <a:gd name="connsiteY24" fmla="*/ 3847 h 10000"/>
                <a:gd name="connsiteX25" fmla="*/ 347 w 10000"/>
                <a:gd name="connsiteY25" fmla="*/ 3734 h 10000"/>
                <a:gd name="connsiteX26" fmla="*/ 243 w 10000"/>
                <a:gd name="connsiteY26" fmla="*/ 4000 h 10000"/>
                <a:gd name="connsiteX27" fmla="*/ 347 w 10000"/>
                <a:gd name="connsiteY27" fmla="*/ 4194 h 10000"/>
                <a:gd name="connsiteX28" fmla="*/ 486 w 10000"/>
                <a:gd name="connsiteY28" fmla="*/ 4540 h 10000"/>
                <a:gd name="connsiteX29" fmla="*/ 486 w 10000"/>
                <a:gd name="connsiteY29" fmla="*/ 4654 h 10000"/>
                <a:gd name="connsiteX30" fmla="*/ 590 w 10000"/>
                <a:gd name="connsiteY30" fmla="*/ 4654 h 10000"/>
                <a:gd name="connsiteX31" fmla="*/ 590 w 10000"/>
                <a:gd name="connsiteY31" fmla="*/ 4730 h 10000"/>
                <a:gd name="connsiteX32" fmla="*/ 660 w 10000"/>
                <a:gd name="connsiteY32" fmla="*/ 4810 h 10000"/>
                <a:gd name="connsiteX33" fmla="*/ 660 w 10000"/>
                <a:gd name="connsiteY33" fmla="*/ 4925 h 10000"/>
                <a:gd name="connsiteX34" fmla="*/ 486 w 10000"/>
                <a:gd name="connsiteY34" fmla="*/ 5002 h 10000"/>
                <a:gd name="connsiteX35" fmla="*/ 660 w 10000"/>
                <a:gd name="connsiteY35" fmla="*/ 5117 h 10000"/>
                <a:gd name="connsiteX36" fmla="*/ 833 w 10000"/>
                <a:gd name="connsiteY36" fmla="*/ 5385 h 10000"/>
                <a:gd name="connsiteX37" fmla="*/ 1007 w 10000"/>
                <a:gd name="connsiteY37" fmla="*/ 5653 h 10000"/>
                <a:gd name="connsiteX38" fmla="*/ 1076 w 10000"/>
                <a:gd name="connsiteY38" fmla="*/ 5809 h 10000"/>
                <a:gd name="connsiteX39" fmla="*/ 1007 w 10000"/>
                <a:gd name="connsiteY39" fmla="*/ 6000 h 10000"/>
                <a:gd name="connsiteX40" fmla="*/ 1007 w 10000"/>
                <a:gd name="connsiteY40" fmla="*/ 6271 h 10000"/>
                <a:gd name="connsiteX41" fmla="*/ 1007 w 10000"/>
                <a:gd name="connsiteY41" fmla="*/ 6386 h 10000"/>
                <a:gd name="connsiteX42" fmla="*/ 1146 w 10000"/>
                <a:gd name="connsiteY42" fmla="*/ 6540 h 10000"/>
                <a:gd name="connsiteX43" fmla="*/ 1250 w 10000"/>
                <a:gd name="connsiteY43" fmla="*/ 6540 h 10000"/>
                <a:gd name="connsiteX44" fmla="*/ 1389 w 10000"/>
                <a:gd name="connsiteY44" fmla="*/ 6540 h 10000"/>
                <a:gd name="connsiteX45" fmla="*/ 1493 w 10000"/>
                <a:gd name="connsiteY45" fmla="*/ 6731 h 10000"/>
                <a:gd name="connsiteX46" fmla="*/ 1563 w 10000"/>
                <a:gd name="connsiteY46" fmla="*/ 6808 h 10000"/>
                <a:gd name="connsiteX47" fmla="*/ 1806 w 10000"/>
                <a:gd name="connsiteY47" fmla="*/ 6808 h 10000"/>
                <a:gd name="connsiteX48" fmla="*/ 1910 w 10000"/>
                <a:gd name="connsiteY48" fmla="*/ 6925 h 10000"/>
                <a:gd name="connsiteX49" fmla="*/ 1979 w 10000"/>
                <a:gd name="connsiteY49" fmla="*/ 7001 h 10000"/>
                <a:gd name="connsiteX50" fmla="*/ 2049 w 10000"/>
                <a:gd name="connsiteY50" fmla="*/ 7001 h 10000"/>
                <a:gd name="connsiteX51" fmla="*/ 1979 w 10000"/>
                <a:gd name="connsiteY51" fmla="*/ 7193 h 10000"/>
                <a:gd name="connsiteX52" fmla="*/ 2049 w 10000"/>
                <a:gd name="connsiteY52" fmla="*/ 7269 h 10000"/>
                <a:gd name="connsiteX53" fmla="*/ 2292 w 10000"/>
                <a:gd name="connsiteY53" fmla="*/ 7460 h 10000"/>
                <a:gd name="connsiteX54" fmla="*/ 2465 w 10000"/>
                <a:gd name="connsiteY54" fmla="*/ 7653 h 10000"/>
                <a:gd name="connsiteX55" fmla="*/ 2535 w 10000"/>
                <a:gd name="connsiteY55" fmla="*/ 7731 h 10000"/>
                <a:gd name="connsiteX56" fmla="*/ 2708 w 10000"/>
                <a:gd name="connsiteY56" fmla="*/ 7809 h 10000"/>
                <a:gd name="connsiteX57" fmla="*/ 2708 w 10000"/>
                <a:gd name="connsiteY57" fmla="*/ 7925 h 10000"/>
                <a:gd name="connsiteX58" fmla="*/ 2813 w 10000"/>
                <a:gd name="connsiteY58" fmla="*/ 8117 h 10000"/>
                <a:gd name="connsiteX59" fmla="*/ 2882 w 10000"/>
                <a:gd name="connsiteY59" fmla="*/ 8192 h 10000"/>
                <a:gd name="connsiteX60" fmla="*/ 2882 w 10000"/>
                <a:gd name="connsiteY60" fmla="*/ 8270 h 10000"/>
                <a:gd name="connsiteX61" fmla="*/ 2951 w 10000"/>
                <a:gd name="connsiteY61" fmla="*/ 8385 h 10000"/>
                <a:gd name="connsiteX62" fmla="*/ 3299 w 10000"/>
                <a:gd name="connsiteY62" fmla="*/ 8539 h 10000"/>
                <a:gd name="connsiteX63" fmla="*/ 3368 w 10000"/>
                <a:gd name="connsiteY63" fmla="*/ 8731 h 10000"/>
                <a:gd name="connsiteX64" fmla="*/ 3368 w 10000"/>
                <a:gd name="connsiteY64" fmla="*/ 8808 h 10000"/>
                <a:gd name="connsiteX65" fmla="*/ 3438 w 10000"/>
                <a:gd name="connsiteY65" fmla="*/ 8924 h 10000"/>
                <a:gd name="connsiteX66" fmla="*/ 3542 w 10000"/>
                <a:gd name="connsiteY66" fmla="*/ 8999 h 10000"/>
                <a:gd name="connsiteX67" fmla="*/ 3715 w 10000"/>
                <a:gd name="connsiteY67" fmla="*/ 9192 h 10000"/>
                <a:gd name="connsiteX68" fmla="*/ 3715 w 10000"/>
                <a:gd name="connsiteY68" fmla="*/ 9270 h 10000"/>
                <a:gd name="connsiteX69" fmla="*/ 3785 w 10000"/>
                <a:gd name="connsiteY69" fmla="*/ 9385 h 10000"/>
                <a:gd name="connsiteX70" fmla="*/ 4028 w 10000"/>
                <a:gd name="connsiteY70" fmla="*/ 9460 h 10000"/>
                <a:gd name="connsiteX71" fmla="*/ 4097 w 10000"/>
                <a:gd name="connsiteY71" fmla="*/ 9460 h 10000"/>
                <a:gd name="connsiteX72" fmla="*/ 4201 w 10000"/>
                <a:gd name="connsiteY72" fmla="*/ 9385 h 10000"/>
                <a:gd name="connsiteX73" fmla="*/ 4444 w 10000"/>
                <a:gd name="connsiteY73" fmla="*/ 9460 h 10000"/>
                <a:gd name="connsiteX74" fmla="*/ 4618 w 10000"/>
                <a:gd name="connsiteY74" fmla="*/ 9385 h 10000"/>
                <a:gd name="connsiteX75" fmla="*/ 4757 w 10000"/>
                <a:gd name="connsiteY75" fmla="*/ 9270 h 10000"/>
                <a:gd name="connsiteX76" fmla="*/ 4861 w 10000"/>
                <a:gd name="connsiteY76" fmla="*/ 9385 h 10000"/>
                <a:gd name="connsiteX77" fmla="*/ 5174 w 10000"/>
                <a:gd name="connsiteY77" fmla="*/ 9653 h 10000"/>
                <a:gd name="connsiteX78" fmla="*/ 5243 w 10000"/>
                <a:gd name="connsiteY78" fmla="*/ 9808 h 10000"/>
                <a:gd name="connsiteX79" fmla="*/ 5347 w 10000"/>
                <a:gd name="connsiteY79" fmla="*/ 9923 h 10000"/>
                <a:gd name="connsiteX80" fmla="*/ 5417 w 10000"/>
                <a:gd name="connsiteY80" fmla="*/ 9923 h 10000"/>
                <a:gd name="connsiteX81" fmla="*/ 5486 w 10000"/>
                <a:gd name="connsiteY81" fmla="*/ 9923 h 10000"/>
                <a:gd name="connsiteX82" fmla="*/ 5590 w 10000"/>
                <a:gd name="connsiteY82" fmla="*/ 9923 h 10000"/>
                <a:gd name="connsiteX83" fmla="*/ 5764 w 10000"/>
                <a:gd name="connsiteY83" fmla="*/ 9923 h 10000"/>
                <a:gd name="connsiteX84" fmla="*/ 5833 w 10000"/>
                <a:gd name="connsiteY84" fmla="*/ 9923 h 10000"/>
                <a:gd name="connsiteX85" fmla="*/ 6007 w 10000"/>
                <a:gd name="connsiteY85" fmla="*/ 9923 h 10000"/>
                <a:gd name="connsiteX86" fmla="*/ 6076 w 10000"/>
                <a:gd name="connsiteY86" fmla="*/ 9923 h 10000"/>
                <a:gd name="connsiteX87" fmla="*/ 6146 w 10000"/>
                <a:gd name="connsiteY87" fmla="*/ 10000 h 10000"/>
                <a:gd name="connsiteX88" fmla="*/ 6319 w 10000"/>
                <a:gd name="connsiteY88" fmla="*/ 9923 h 10000"/>
                <a:gd name="connsiteX89" fmla="*/ 6493 w 10000"/>
                <a:gd name="connsiteY89" fmla="*/ 9923 h 10000"/>
                <a:gd name="connsiteX90" fmla="*/ 6667 w 10000"/>
                <a:gd name="connsiteY90" fmla="*/ 9808 h 10000"/>
                <a:gd name="connsiteX91" fmla="*/ 6806 w 10000"/>
                <a:gd name="connsiteY91" fmla="*/ 9808 h 10000"/>
                <a:gd name="connsiteX92" fmla="*/ 7049 w 10000"/>
                <a:gd name="connsiteY92" fmla="*/ 9808 h 10000"/>
                <a:gd name="connsiteX93" fmla="*/ 7292 w 10000"/>
                <a:gd name="connsiteY93" fmla="*/ 9653 h 10000"/>
                <a:gd name="connsiteX94" fmla="*/ 7292 w 10000"/>
                <a:gd name="connsiteY94" fmla="*/ 9653 h 10000"/>
                <a:gd name="connsiteX95" fmla="*/ 7292 w 10000"/>
                <a:gd name="connsiteY95" fmla="*/ 9653 h 10000"/>
                <a:gd name="connsiteX96" fmla="*/ 7569 w 10000"/>
                <a:gd name="connsiteY96" fmla="*/ 9385 h 10000"/>
                <a:gd name="connsiteX97" fmla="*/ 7639 w 10000"/>
                <a:gd name="connsiteY97" fmla="*/ 9270 h 10000"/>
                <a:gd name="connsiteX98" fmla="*/ 7813 w 10000"/>
                <a:gd name="connsiteY98" fmla="*/ 9270 h 10000"/>
                <a:gd name="connsiteX99" fmla="*/ 8125 w 10000"/>
                <a:gd name="connsiteY99" fmla="*/ 9385 h 10000"/>
                <a:gd name="connsiteX100" fmla="*/ 8299 w 10000"/>
                <a:gd name="connsiteY100" fmla="*/ 9385 h 10000"/>
                <a:gd name="connsiteX101" fmla="*/ 8472 w 10000"/>
                <a:gd name="connsiteY101" fmla="*/ 9270 h 10000"/>
                <a:gd name="connsiteX102" fmla="*/ 8472 w 10000"/>
                <a:gd name="connsiteY102" fmla="*/ 8999 h 10000"/>
                <a:gd name="connsiteX103" fmla="*/ 8542 w 10000"/>
                <a:gd name="connsiteY103" fmla="*/ 8924 h 10000"/>
                <a:gd name="connsiteX104" fmla="*/ 8472 w 10000"/>
                <a:gd name="connsiteY104" fmla="*/ 8808 h 10000"/>
                <a:gd name="connsiteX105" fmla="*/ 8472 w 10000"/>
                <a:gd name="connsiteY105" fmla="*/ 8731 h 10000"/>
                <a:gd name="connsiteX106" fmla="*/ 8125 w 10000"/>
                <a:gd name="connsiteY106" fmla="*/ 8731 h 10000"/>
                <a:gd name="connsiteX107" fmla="*/ 8056 w 10000"/>
                <a:gd name="connsiteY107" fmla="*/ 8652 h 10000"/>
                <a:gd name="connsiteX108" fmla="*/ 8056 w 10000"/>
                <a:gd name="connsiteY108" fmla="*/ 8539 h 10000"/>
                <a:gd name="connsiteX109" fmla="*/ 7882 w 10000"/>
                <a:gd name="connsiteY109" fmla="*/ 8192 h 10000"/>
                <a:gd name="connsiteX110" fmla="*/ 7882 w 10000"/>
                <a:gd name="connsiteY110" fmla="*/ 8001 h 10000"/>
                <a:gd name="connsiteX111" fmla="*/ 7813 w 10000"/>
                <a:gd name="connsiteY111" fmla="*/ 7925 h 10000"/>
                <a:gd name="connsiteX112" fmla="*/ 7569 w 10000"/>
                <a:gd name="connsiteY112" fmla="*/ 7731 h 10000"/>
                <a:gd name="connsiteX113" fmla="*/ 7465 w 10000"/>
                <a:gd name="connsiteY113" fmla="*/ 7653 h 10000"/>
                <a:gd name="connsiteX114" fmla="*/ 7396 w 10000"/>
                <a:gd name="connsiteY114" fmla="*/ 7540 h 10000"/>
                <a:gd name="connsiteX115" fmla="*/ 7396 w 10000"/>
                <a:gd name="connsiteY115" fmla="*/ 7460 h 10000"/>
                <a:gd name="connsiteX116" fmla="*/ 7292 w 10000"/>
                <a:gd name="connsiteY116" fmla="*/ 7269 h 10000"/>
                <a:gd name="connsiteX117" fmla="*/ 7222 w 10000"/>
                <a:gd name="connsiteY117" fmla="*/ 7269 h 10000"/>
                <a:gd name="connsiteX118" fmla="*/ 7049 w 10000"/>
                <a:gd name="connsiteY118" fmla="*/ 7193 h 10000"/>
                <a:gd name="connsiteX119" fmla="*/ 6979 w 10000"/>
                <a:gd name="connsiteY119" fmla="*/ 7193 h 10000"/>
                <a:gd name="connsiteX120" fmla="*/ 6910 w 10000"/>
                <a:gd name="connsiteY120" fmla="*/ 7193 h 10000"/>
                <a:gd name="connsiteX121" fmla="*/ 6806 w 10000"/>
                <a:gd name="connsiteY121" fmla="*/ 7193 h 10000"/>
                <a:gd name="connsiteX122" fmla="*/ 6736 w 10000"/>
                <a:gd name="connsiteY122" fmla="*/ 7116 h 10000"/>
                <a:gd name="connsiteX123" fmla="*/ 6806 w 10000"/>
                <a:gd name="connsiteY123" fmla="*/ 7001 h 10000"/>
                <a:gd name="connsiteX124" fmla="*/ 6910 w 10000"/>
                <a:gd name="connsiteY124" fmla="*/ 6925 h 10000"/>
                <a:gd name="connsiteX125" fmla="*/ 6910 w 10000"/>
                <a:gd name="connsiteY125" fmla="*/ 6731 h 10000"/>
                <a:gd name="connsiteX126" fmla="*/ 6979 w 10000"/>
                <a:gd name="connsiteY126" fmla="*/ 6731 h 10000"/>
                <a:gd name="connsiteX127" fmla="*/ 7222 w 10000"/>
                <a:gd name="connsiteY127" fmla="*/ 6731 h 10000"/>
                <a:gd name="connsiteX128" fmla="*/ 7396 w 10000"/>
                <a:gd name="connsiteY128" fmla="*/ 6731 h 10000"/>
                <a:gd name="connsiteX129" fmla="*/ 7465 w 10000"/>
                <a:gd name="connsiteY129" fmla="*/ 6653 h 10000"/>
                <a:gd name="connsiteX130" fmla="*/ 7465 w 10000"/>
                <a:gd name="connsiteY130" fmla="*/ 6462 h 10000"/>
                <a:gd name="connsiteX131" fmla="*/ 7465 w 10000"/>
                <a:gd name="connsiteY131" fmla="*/ 5925 h 10000"/>
                <a:gd name="connsiteX132" fmla="*/ 7465 w 10000"/>
                <a:gd name="connsiteY132" fmla="*/ 5732 h 10000"/>
                <a:gd name="connsiteX133" fmla="*/ 7569 w 10000"/>
                <a:gd name="connsiteY133" fmla="*/ 5540 h 10000"/>
                <a:gd name="connsiteX134" fmla="*/ 7465 w 10000"/>
                <a:gd name="connsiteY134" fmla="*/ 5461 h 10000"/>
                <a:gd name="connsiteX135" fmla="*/ 7465 w 10000"/>
                <a:gd name="connsiteY135" fmla="*/ 5385 h 10000"/>
                <a:gd name="connsiteX136" fmla="*/ 7569 w 10000"/>
                <a:gd name="connsiteY136" fmla="*/ 5385 h 10000"/>
                <a:gd name="connsiteX137" fmla="*/ 7569 w 10000"/>
                <a:gd name="connsiteY137" fmla="*/ 5270 h 10000"/>
                <a:gd name="connsiteX138" fmla="*/ 7639 w 10000"/>
                <a:gd name="connsiteY138" fmla="*/ 5117 h 10000"/>
                <a:gd name="connsiteX139" fmla="*/ 7708 w 10000"/>
                <a:gd name="connsiteY139" fmla="*/ 5117 h 10000"/>
                <a:gd name="connsiteX140" fmla="*/ 7882 w 10000"/>
                <a:gd name="connsiteY140" fmla="*/ 5117 h 10000"/>
                <a:gd name="connsiteX141" fmla="*/ 7882 w 10000"/>
                <a:gd name="connsiteY141" fmla="*/ 5002 h 10000"/>
                <a:gd name="connsiteX142" fmla="*/ 7951 w 10000"/>
                <a:gd name="connsiteY142" fmla="*/ 4654 h 10000"/>
                <a:gd name="connsiteX143" fmla="*/ 8056 w 10000"/>
                <a:gd name="connsiteY143" fmla="*/ 4540 h 10000"/>
                <a:gd name="connsiteX144" fmla="*/ 8368 w 10000"/>
                <a:gd name="connsiteY144" fmla="*/ 3925 h 10000"/>
                <a:gd name="connsiteX145" fmla="*/ 8542 w 10000"/>
                <a:gd name="connsiteY145" fmla="*/ 3847 h 10000"/>
                <a:gd name="connsiteX146" fmla="*/ 8611 w 10000"/>
                <a:gd name="connsiteY146" fmla="*/ 3734 h 10000"/>
                <a:gd name="connsiteX147" fmla="*/ 8715 w 10000"/>
                <a:gd name="connsiteY147" fmla="*/ 3654 h 10000"/>
                <a:gd name="connsiteX148" fmla="*/ 8854 w 10000"/>
                <a:gd name="connsiteY148" fmla="*/ 2925 h 10000"/>
                <a:gd name="connsiteX149" fmla="*/ 8854 w 10000"/>
                <a:gd name="connsiteY149" fmla="*/ 2732 h 10000"/>
                <a:gd name="connsiteX150" fmla="*/ 8854 w 10000"/>
                <a:gd name="connsiteY150" fmla="*/ 2539 h 10000"/>
                <a:gd name="connsiteX151" fmla="*/ 8854 w 10000"/>
                <a:gd name="connsiteY151" fmla="*/ 2386 h 10000"/>
                <a:gd name="connsiteX152" fmla="*/ 8854 w 10000"/>
                <a:gd name="connsiteY152" fmla="*/ 2119 h 10000"/>
                <a:gd name="connsiteX153" fmla="*/ 8958 w 10000"/>
                <a:gd name="connsiteY153" fmla="*/ 1926 h 10000"/>
                <a:gd name="connsiteX154" fmla="*/ 9097 w 10000"/>
                <a:gd name="connsiteY154" fmla="*/ 1269 h 10000"/>
                <a:gd name="connsiteX155" fmla="*/ 10000 w 10000"/>
                <a:gd name="connsiteY155" fmla="*/ 118 h 10000"/>
                <a:gd name="connsiteX156" fmla="*/ 10000 w 10000"/>
                <a:gd name="connsiteY156" fmla="*/ 0 h 10000"/>
                <a:gd name="connsiteX157" fmla="*/ 9931 w 10000"/>
                <a:gd name="connsiteY157" fmla="*/ 0 h 10000"/>
                <a:gd name="connsiteX158" fmla="*/ 9931 w 10000"/>
                <a:gd name="connsiteY158" fmla="*/ 0 h 10000"/>
                <a:gd name="connsiteX0" fmla="*/ 9931 w 10000"/>
                <a:gd name="connsiteY0" fmla="*/ 0 h 10000"/>
                <a:gd name="connsiteX1" fmla="*/ 1319 w 10000"/>
                <a:gd name="connsiteY1" fmla="*/ 1732 h 10000"/>
                <a:gd name="connsiteX2" fmla="*/ 1250 w 10000"/>
                <a:gd name="connsiteY2" fmla="*/ 1732 h 10000"/>
                <a:gd name="connsiteX3" fmla="*/ 903 w 10000"/>
                <a:gd name="connsiteY3" fmla="*/ 1732 h 10000"/>
                <a:gd name="connsiteX4" fmla="*/ 660 w 10000"/>
                <a:gd name="connsiteY4" fmla="*/ 1732 h 10000"/>
                <a:gd name="connsiteX5" fmla="*/ 660 w 10000"/>
                <a:gd name="connsiteY5" fmla="*/ 1848 h 10000"/>
                <a:gd name="connsiteX6" fmla="*/ 660 w 10000"/>
                <a:gd name="connsiteY6" fmla="*/ 1926 h 10000"/>
                <a:gd name="connsiteX7" fmla="*/ 660 w 10000"/>
                <a:gd name="connsiteY7" fmla="*/ 2001 h 10000"/>
                <a:gd name="connsiteX8" fmla="*/ 590 w 10000"/>
                <a:gd name="connsiteY8" fmla="*/ 2193 h 10000"/>
                <a:gd name="connsiteX9" fmla="*/ 486 w 10000"/>
                <a:gd name="connsiteY9" fmla="*/ 2386 h 10000"/>
                <a:gd name="connsiteX10" fmla="*/ 243 w 10000"/>
                <a:gd name="connsiteY10" fmla="*/ 2652 h 10000"/>
                <a:gd name="connsiteX11" fmla="*/ 243 w 10000"/>
                <a:gd name="connsiteY11" fmla="*/ 2732 h 10000"/>
                <a:gd name="connsiteX12" fmla="*/ 347 w 10000"/>
                <a:gd name="connsiteY12" fmla="*/ 2848 h 10000"/>
                <a:gd name="connsiteX13" fmla="*/ 243 w 10000"/>
                <a:gd name="connsiteY13" fmla="*/ 2925 h 10000"/>
                <a:gd name="connsiteX14" fmla="*/ 243 w 10000"/>
                <a:gd name="connsiteY14" fmla="*/ 2925 h 10000"/>
                <a:gd name="connsiteX15" fmla="*/ 174 w 10000"/>
                <a:gd name="connsiteY15" fmla="*/ 3001 h 10000"/>
                <a:gd name="connsiteX16" fmla="*/ 174 w 10000"/>
                <a:gd name="connsiteY16" fmla="*/ 3001 h 10000"/>
                <a:gd name="connsiteX17" fmla="*/ 174 w 10000"/>
                <a:gd name="connsiteY17" fmla="*/ 3193 h 10000"/>
                <a:gd name="connsiteX18" fmla="*/ 174 w 10000"/>
                <a:gd name="connsiteY18" fmla="*/ 3386 h 10000"/>
                <a:gd name="connsiteX19" fmla="*/ 104 w 10000"/>
                <a:gd name="connsiteY19" fmla="*/ 3463 h 10000"/>
                <a:gd name="connsiteX20" fmla="*/ 0 w 10000"/>
                <a:gd name="connsiteY20" fmla="*/ 3541 h 10000"/>
                <a:gd name="connsiteX21" fmla="*/ 0 w 10000"/>
                <a:gd name="connsiteY21" fmla="*/ 3654 h 10000"/>
                <a:gd name="connsiteX22" fmla="*/ 0 w 10000"/>
                <a:gd name="connsiteY22" fmla="*/ 3847 h 10000"/>
                <a:gd name="connsiteX23" fmla="*/ 104 w 10000"/>
                <a:gd name="connsiteY23" fmla="*/ 3847 h 10000"/>
                <a:gd name="connsiteX24" fmla="*/ 104 w 10000"/>
                <a:gd name="connsiteY24" fmla="*/ 3847 h 10000"/>
                <a:gd name="connsiteX25" fmla="*/ 347 w 10000"/>
                <a:gd name="connsiteY25" fmla="*/ 3734 h 10000"/>
                <a:gd name="connsiteX26" fmla="*/ 243 w 10000"/>
                <a:gd name="connsiteY26" fmla="*/ 4000 h 10000"/>
                <a:gd name="connsiteX27" fmla="*/ 347 w 10000"/>
                <a:gd name="connsiteY27" fmla="*/ 4194 h 10000"/>
                <a:gd name="connsiteX28" fmla="*/ 486 w 10000"/>
                <a:gd name="connsiteY28" fmla="*/ 4540 h 10000"/>
                <a:gd name="connsiteX29" fmla="*/ 486 w 10000"/>
                <a:gd name="connsiteY29" fmla="*/ 4654 h 10000"/>
                <a:gd name="connsiteX30" fmla="*/ 590 w 10000"/>
                <a:gd name="connsiteY30" fmla="*/ 4654 h 10000"/>
                <a:gd name="connsiteX31" fmla="*/ 590 w 10000"/>
                <a:gd name="connsiteY31" fmla="*/ 4730 h 10000"/>
                <a:gd name="connsiteX32" fmla="*/ 660 w 10000"/>
                <a:gd name="connsiteY32" fmla="*/ 4810 h 10000"/>
                <a:gd name="connsiteX33" fmla="*/ 660 w 10000"/>
                <a:gd name="connsiteY33" fmla="*/ 4925 h 10000"/>
                <a:gd name="connsiteX34" fmla="*/ 486 w 10000"/>
                <a:gd name="connsiteY34" fmla="*/ 5002 h 10000"/>
                <a:gd name="connsiteX35" fmla="*/ 660 w 10000"/>
                <a:gd name="connsiteY35" fmla="*/ 5117 h 10000"/>
                <a:gd name="connsiteX36" fmla="*/ 833 w 10000"/>
                <a:gd name="connsiteY36" fmla="*/ 5385 h 10000"/>
                <a:gd name="connsiteX37" fmla="*/ 1007 w 10000"/>
                <a:gd name="connsiteY37" fmla="*/ 5653 h 10000"/>
                <a:gd name="connsiteX38" fmla="*/ 1076 w 10000"/>
                <a:gd name="connsiteY38" fmla="*/ 5809 h 10000"/>
                <a:gd name="connsiteX39" fmla="*/ 1007 w 10000"/>
                <a:gd name="connsiteY39" fmla="*/ 6000 h 10000"/>
                <a:gd name="connsiteX40" fmla="*/ 1007 w 10000"/>
                <a:gd name="connsiteY40" fmla="*/ 6271 h 10000"/>
                <a:gd name="connsiteX41" fmla="*/ 1007 w 10000"/>
                <a:gd name="connsiteY41" fmla="*/ 6386 h 10000"/>
                <a:gd name="connsiteX42" fmla="*/ 1146 w 10000"/>
                <a:gd name="connsiteY42" fmla="*/ 6540 h 10000"/>
                <a:gd name="connsiteX43" fmla="*/ 1250 w 10000"/>
                <a:gd name="connsiteY43" fmla="*/ 6540 h 10000"/>
                <a:gd name="connsiteX44" fmla="*/ 1389 w 10000"/>
                <a:gd name="connsiteY44" fmla="*/ 6540 h 10000"/>
                <a:gd name="connsiteX45" fmla="*/ 1493 w 10000"/>
                <a:gd name="connsiteY45" fmla="*/ 6731 h 10000"/>
                <a:gd name="connsiteX46" fmla="*/ 1563 w 10000"/>
                <a:gd name="connsiteY46" fmla="*/ 6808 h 10000"/>
                <a:gd name="connsiteX47" fmla="*/ 1806 w 10000"/>
                <a:gd name="connsiteY47" fmla="*/ 6808 h 10000"/>
                <a:gd name="connsiteX48" fmla="*/ 1910 w 10000"/>
                <a:gd name="connsiteY48" fmla="*/ 6925 h 10000"/>
                <a:gd name="connsiteX49" fmla="*/ 1979 w 10000"/>
                <a:gd name="connsiteY49" fmla="*/ 7001 h 10000"/>
                <a:gd name="connsiteX50" fmla="*/ 2049 w 10000"/>
                <a:gd name="connsiteY50" fmla="*/ 7001 h 10000"/>
                <a:gd name="connsiteX51" fmla="*/ 1979 w 10000"/>
                <a:gd name="connsiteY51" fmla="*/ 7193 h 10000"/>
                <a:gd name="connsiteX52" fmla="*/ 2049 w 10000"/>
                <a:gd name="connsiteY52" fmla="*/ 7269 h 10000"/>
                <a:gd name="connsiteX53" fmla="*/ 2292 w 10000"/>
                <a:gd name="connsiteY53" fmla="*/ 7460 h 10000"/>
                <a:gd name="connsiteX54" fmla="*/ 2465 w 10000"/>
                <a:gd name="connsiteY54" fmla="*/ 7653 h 10000"/>
                <a:gd name="connsiteX55" fmla="*/ 2535 w 10000"/>
                <a:gd name="connsiteY55" fmla="*/ 7731 h 10000"/>
                <a:gd name="connsiteX56" fmla="*/ 2708 w 10000"/>
                <a:gd name="connsiteY56" fmla="*/ 7809 h 10000"/>
                <a:gd name="connsiteX57" fmla="*/ 2708 w 10000"/>
                <a:gd name="connsiteY57" fmla="*/ 7925 h 10000"/>
                <a:gd name="connsiteX58" fmla="*/ 2813 w 10000"/>
                <a:gd name="connsiteY58" fmla="*/ 8117 h 10000"/>
                <a:gd name="connsiteX59" fmla="*/ 2882 w 10000"/>
                <a:gd name="connsiteY59" fmla="*/ 8192 h 10000"/>
                <a:gd name="connsiteX60" fmla="*/ 2882 w 10000"/>
                <a:gd name="connsiteY60" fmla="*/ 8270 h 10000"/>
                <a:gd name="connsiteX61" fmla="*/ 2951 w 10000"/>
                <a:gd name="connsiteY61" fmla="*/ 8385 h 10000"/>
                <a:gd name="connsiteX62" fmla="*/ 3299 w 10000"/>
                <a:gd name="connsiteY62" fmla="*/ 8539 h 10000"/>
                <a:gd name="connsiteX63" fmla="*/ 3368 w 10000"/>
                <a:gd name="connsiteY63" fmla="*/ 8731 h 10000"/>
                <a:gd name="connsiteX64" fmla="*/ 3368 w 10000"/>
                <a:gd name="connsiteY64" fmla="*/ 8808 h 10000"/>
                <a:gd name="connsiteX65" fmla="*/ 3438 w 10000"/>
                <a:gd name="connsiteY65" fmla="*/ 8924 h 10000"/>
                <a:gd name="connsiteX66" fmla="*/ 3542 w 10000"/>
                <a:gd name="connsiteY66" fmla="*/ 8999 h 10000"/>
                <a:gd name="connsiteX67" fmla="*/ 3715 w 10000"/>
                <a:gd name="connsiteY67" fmla="*/ 9192 h 10000"/>
                <a:gd name="connsiteX68" fmla="*/ 3715 w 10000"/>
                <a:gd name="connsiteY68" fmla="*/ 9270 h 10000"/>
                <a:gd name="connsiteX69" fmla="*/ 3785 w 10000"/>
                <a:gd name="connsiteY69" fmla="*/ 9385 h 10000"/>
                <a:gd name="connsiteX70" fmla="*/ 4028 w 10000"/>
                <a:gd name="connsiteY70" fmla="*/ 9460 h 10000"/>
                <a:gd name="connsiteX71" fmla="*/ 4097 w 10000"/>
                <a:gd name="connsiteY71" fmla="*/ 9460 h 10000"/>
                <a:gd name="connsiteX72" fmla="*/ 4201 w 10000"/>
                <a:gd name="connsiteY72" fmla="*/ 9385 h 10000"/>
                <a:gd name="connsiteX73" fmla="*/ 4444 w 10000"/>
                <a:gd name="connsiteY73" fmla="*/ 9460 h 10000"/>
                <a:gd name="connsiteX74" fmla="*/ 4618 w 10000"/>
                <a:gd name="connsiteY74" fmla="*/ 9385 h 10000"/>
                <a:gd name="connsiteX75" fmla="*/ 4757 w 10000"/>
                <a:gd name="connsiteY75" fmla="*/ 9270 h 10000"/>
                <a:gd name="connsiteX76" fmla="*/ 4861 w 10000"/>
                <a:gd name="connsiteY76" fmla="*/ 9385 h 10000"/>
                <a:gd name="connsiteX77" fmla="*/ 5174 w 10000"/>
                <a:gd name="connsiteY77" fmla="*/ 9653 h 10000"/>
                <a:gd name="connsiteX78" fmla="*/ 5243 w 10000"/>
                <a:gd name="connsiteY78" fmla="*/ 9808 h 10000"/>
                <a:gd name="connsiteX79" fmla="*/ 5347 w 10000"/>
                <a:gd name="connsiteY79" fmla="*/ 9923 h 10000"/>
                <a:gd name="connsiteX80" fmla="*/ 5417 w 10000"/>
                <a:gd name="connsiteY80" fmla="*/ 9923 h 10000"/>
                <a:gd name="connsiteX81" fmla="*/ 5486 w 10000"/>
                <a:gd name="connsiteY81" fmla="*/ 9923 h 10000"/>
                <a:gd name="connsiteX82" fmla="*/ 5590 w 10000"/>
                <a:gd name="connsiteY82" fmla="*/ 9923 h 10000"/>
                <a:gd name="connsiteX83" fmla="*/ 5764 w 10000"/>
                <a:gd name="connsiteY83" fmla="*/ 9923 h 10000"/>
                <a:gd name="connsiteX84" fmla="*/ 5833 w 10000"/>
                <a:gd name="connsiteY84" fmla="*/ 9923 h 10000"/>
                <a:gd name="connsiteX85" fmla="*/ 6007 w 10000"/>
                <a:gd name="connsiteY85" fmla="*/ 9923 h 10000"/>
                <a:gd name="connsiteX86" fmla="*/ 6076 w 10000"/>
                <a:gd name="connsiteY86" fmla="*/ 9923 h 10000"/>
                <a:gd name="connsiteX87" fmla="*/ 6146 w 10000"/>
                <a:gd name="connsiteY87" fmla="*/ 10000 h 10000"/>
                <a:gd name="connsiteX88" fmla="*/ 6319 w 10000"/>
                <a:gd name="connsiteY88" fmla="*/ 9923 h 10000"/>
                <a:gd name="connsiteX89" fmla="*/ 6493 w 10000"/>
                <a:gd name="connsiteY89" fmla="*/ 9923 h 10000"/>
                <a:gd name="connsiteX90" fmla="*/ 6667 w 10000"/>
                <a:gd name="connsiteY90" fmla="*/ 9808 h 10000"/>
                <a:gd name="connsiteX91" fmla="*/ 6806 w 10000"/>
                <a:gd name="connsiteY91" fmla="*/ 9808 h 10000"/>
                <a:gd name="connsiteX92" fmla="*/ 7049 w 10000"/>
                <a:gd name="connsiteY92" fmla="*/ 9808 h 10000"/>
                <a:gd name="connsiteX93" fmla="*/ 7292 w 10000"/>
                <a:gd name="connsiteY93" fmla="*/ 9653 h 10000"/>
                <a:gd name="connsiteX94" fmla="*/ 7292 w 10000"/>
                <a:gd name="connsiteY94" fmla="*/ 9653 h 10000"/>
                <a:gd name="connsiteX95" fmla="*/ 7292 w 10000"/>
                <a:gd name="connsiteY95" fmla="*/ 9653 h 10000"/>
                <a:gd name="connsiteX96" fmla="*/ 7569 w 10000"/>
                <a:gd name="connsiteY96" fmla="*/ 9385 h 10000"/>
                <a:gd name="connsiteX97" fmla="*/ 7639 w 10000"/>
                <a:gd name="connsiteY97" fmla="*/ 9270 h 10000"/>
                <a:gd name="connsiteX98" fmla="*/ 7813 w 10000"/>
                <a:gd name="connsiteY98" fmla="*/ 9270 h 10000"/>
                <a:gd name="connsiteX99" fmla="*/ 8125 w 10000"/>
                <a:gd name="connsiteY99" fmla="*/ 9385 h 10000"/>
                <a:gd name="connsiteX100" fmla="*/ 8299 w 10000"/>
                <a:gd name="connsiteY100" fmla="*/ 9385 h 10000"/>
                <a:gd name="connsiteX101" fmla="*/ 8472 w 10000"/>
                <a:gd name="connsiteY101" fmla="*/ 9270 h 10000"/>
                <a:gd name="connsiteX102" fmla="*/ 8472 w 10000"/>
                <a:gd name="connsiteY102" fmla="*/ 8999 h 10000"/>
                <a:gd name="connsiteX103" fmla="*/ 8542 w 10000"/>
                <a:gd name="connsiteY103" fmla="*/ 8924 h 10000"/>
                <a:gd name="connsiteX104" fmla="*/ 8472 w 10000"/>
                <a:gd name="connsiteY104" fmla="*/ 8808 h 10000"/>
                <a:gd name="connsiteX105" fmla="*/ 8472 w 10000"/>
                <a:gd name="connsiteY105" fmla="*/ 8731 h 10000"/>
                <a:gd name="connsiteX106" fmla="*/ 8125 w 10000"/>
                <a:gd name="connsiteY106" fmla="*/ 8731 h 10000"/>
                <a:gd name="connsiteX107" fmla="*/ 8056 w 10000"/>
                <a:gd name="connsiteY107" fmla="*/ 8652 h 10000"/>
                <a:gd name="connsiteX108" fmla="*/ 8056 w 10000"/>
                <a:gd name="connsiteY108" fmla="*/ 8539 h 10000"/>
                <a:gd name="connsiteX109" fmla="*/ 7882 w 10000"/>
                <a:gd name="connsiteY109" fmla="*/ 8192 h 10000"/>
                <a:gd name="connsiteX110" fmla="*/ 7882 w 10000"/>
                <a:gd name="connsiteY110" fmla="*/ 8001 h 10000"/>
                <a:gd name="connsiteX111" fmla="*/ 7813 w 10000"/>
                <a:gd name="connsiteY111" fmla="*/ 7925 h 10000"/>
                <a:gd name="connsiteX112" fmla="*/ 7569 w 10000"/>
                <a:gd name="connsiteY112" fmla="*/ 7731 h 10000"/>
                <a:gd name="connsiteX113" fmla="*/ 7465 w 10000"/>
                <a:gd name="connsiteY113" fmla="*/ 7653 h 10000"/>
                <a:gd name="connsiteX114" fmla="*/ 7396 w 10000"/>
                <a:gd name="connsiteY114" fmla="*/ 7540 h 10000"/>
                <a:gd name="connsiteX115" fmla="*/ 7396 w 10000"/>
                <a:gd name="connsiteY115" fmla="*/ 7460 h 10000"/>
                <a:gd name="connsiteX116" fmla="*/ 7292 w 10000"/>
                <a:gd name="connsiteY116" fmla="*/ 7269 h 10000"/>
                <a:gd name="connsiteX117" fmla="*/ 7222 w 10000"/>
                <a:gd name="connsiteY117" fmla="*/ 7269 h 10000"/>
                <a:gd name="connsiteX118" fmla="*/ 7049 w 10000"/>
                <a:gd name="connsiteY118" fmla="*/ 7193 h 10000"/>
                <a:gd name="connsiteX119" fmla="*/ 6979 w 10000"/>
                <a:gd name="connsiteY119" fmla="*/ 7193 h 10000"/>
                <a:gd name="connsiteX120" fmla="*/ 6910 w 10000"/>
                <a:gd name="connsiteY120" fmla="*/ 7193 h 10000"/>
                <a:gd name="connsiteX121" fmla="*/ 6806 w 10000"/>
                <a:gd name="connsiteY121" fmla="*/ 7193 h 10000"/>
                <a:gd name="connsiteX122" fmla="*/ 6736 w 10000"/>
                <a:gd name="connsiteY122" fmla="*/ 7116 h 10000"/>
                <a:gd name="connsiteX123" fmla="*/ 6806 w 10000"/>
                <a:gd name="connsiteY123" fmla="*/ 7001 h 10000"/>
                <a:gd name="connsiteX124" fmla="*/ 6910 w 10000"/>
                <a:gd name="connsiteY124" fmla="*/ 6925 h 10000"/>
                <a:gd name="connsiteX125" fmla="*/ 6910 w 10000"/>
                <a:gd name="connsiteY125" fmla="*/ 6731 h 10000"/>
                <a:gd name="connsiteX126" fmla="*/ 6979 w 10000"/>
                <a:gd name="connsiteY126" fmla="*/ 6731 h 10000"/>
                <a:gd name="connsiteX127" fmla="*/ 7222 w 10000"/>
                <a:gd name="connsiteY127" fmla="*/ 6731 h 10000"/>
                <a:gd name="connsiteX128" fmla="*/ 7396 w 10000"/>
                <a:gd name="connsiteY128" fmla="*/ 6731 h 10000"/>
                <a:gd name="connsiteX129" fmla="*/ 7465 w 10000"/>
                <a:gd name="connsiteY129" fmla="*/ 6653 h 10000"/>
                <a:gd name="connsiteX130" fmla="*/ 7465 w 10000"/>
                <a:gd name="connsiteY130" fmla="*/ 6462 h 10000"/>
                <a:gd name="connsiteX131" fmla="*/ 7465 w 10000"/>
                <a:gd name="connsiteY131" fmla="*/ 5925 h 10000"/>
                <a:gd name="connsiteX132" fmla="*/ 7465 w 10000"/>
                <a:gd name="connsiteY132" fmla="*/ 5732 h 10000"/>
                <a:gd name="connsiteX133" fmla="*/ 7569 w 10000"/>
                <a:gd name="connsiteY133" fmla="*/ 5540 h 10000"/>
                <a:gd name="connsiteX134" fmla="*/ 7465 w 10000"/>
                <a:gd name="connsiteY134" fmla="*/ 5461 h 10000"/>
                <a:gd name="connsiteX135" fmla="*/ 7465 w 10000"/>
                <a:gd name="connsiteY135" fmla="*/ 5385 h 10000"/>
                <a:gd name="connsiteX136" fmla="*/ 7569 w 10000"/>
                <a:gd name="connsiteY136" fmla="*/ 5385 h 10000"/>
                <a:gd name="connsiteX137" fmla="*/ 7569 w 10000"/>
                <a:gd name="connsiteY137" fmla="*/ 5270 h 10000"/>
                <a:gd name="connsiteX138" fmla="*/ 7639 w 10000"/>
                <a:gd name="connsiteY138" fmla="*/ 5117 h 10000"/>
                <a:gd name="connsiteX139" fmla="*/ 7708 w 10000"/>
                <a:gd name="connsiteY139" fmla="*/ 5117 h 10000"/>
                <a:gd name="connsiteX140" fmla="*/ 7882 w 10000"/>
                <a:gd name="connsiteY140" fmla="*/ 5117 h 10000"/>
                <a:gd name="connsiteX141" fmla="*/ 7882 w 10000"/>
                <a:gd name="connsiteY141" fmla="*/ 5002 h 10000"/>
                <a:gd name="connsiteX142" fmla="*/ 7951 w 10000"/>
                <a:gd name="connsiteY142" fmla="*/ 4654 h 10000"/>
                <a:gd name="connsiteX143" fmla="*/ 8056 w 10000"/>
                <a:gd name="connsiteY143" fmla="*/ 4540 h 10000"/>
                <a:gd name="connsiteX144" fmla="*/ 8368 w 10000"/>
                <a:gd name="connsiteY144" fmla="*/ 3925 h 10000"/>
                <a:gd name="connsiteX145" fmla="*/ 8542 w 10000"/>
                <a:gd name="connsiteY145" fmla="*/ 3847 h 10000"/>
                <a:gd name="connsiteX146" fmla="*/ 8611 w 10000"/>
                <a:gd name="connsiteY146" fmla="*/ 3734 h 10000"/>
                <a:gd name="connsiteX147" fmla="*/ 8715 w 10000"/>
                <a:gd name="connsiteY147" fmla="*/ 3654 h 10000"/>
                <a:gd name="connsiteX148" fmla="*/ 8854 w 10000"/>
                <a:gd name="connsiteY148" fmla="*/ 2925 h 10000"/>
                <a:gd name="connsiteX149" fmla="*/ 8854 w 10000"/>
                <a:gd name="connsiteY149" fmla="*/ 2732 h 10000"/>
                <a:gd name="connsiteX150" fmla="*/ 8854 w 10000"/>
                <a:gd name="connsiteY150" fmla="*/ 2539 h 10000"/>
                <a:gd name="connsiteX151" fmla="*/ 8854 w 10000"/>
                <a:gd name="connsiteY151" fmla="*/ 2386 h 10000"/>
                <a:gd name="connsiteX152" fmla="*/ 8854 w 10000"/>
                <a:gd name="connsiteY152" fmla="*/ 2119 h 10000"/>
                <a:gd name="connsiteX153" fmla="*/ 8958 w 10000"/>
                <a:gd name="connsiteY153" fmla="*/ 1926 h 10000"/>
                <a:gd name="connsiteX154" fmla="*/ 9097 w 10000"/>
                <a:gd name="connsiteY154" fmla="*/ 1269 h 10000"/>
                <a:gd name="connsiteX155" fmla="*/ 10000 w 10000"/>
                <a:gd name="connsiteY155" fmla="*/ 118 h 10000"/>
                <a:gd name="connsiteX156" fmla="*/ 10000 w 10000"/>
                <a:gd name="connsiteY156" fmla="*/ 0 h 10000"/>
                <a:gd name="connsiteX157" fmla="*/ 9931 w 10000"/>
                <a:gd name="connsiteY157" fmla="*/ 0 h 10000"/>
                <a:gd name="connsiteX0" fmla="*/ 10000 w 10000"/>
                <a:gd name="connsiteY0" fmla="*/ 0 h 10000"/>
                <a:gd name="connsiteX1" fmla="*/ 1319 w 10000"/>
                <a:gd name="connsiteY1" fmla="*/ 1732 h 10000"/>
                <a:gd name="connsiteX2" fmla="*/ 1250 w 10000"/>
                <a:gd name="connsiteY2" fmla="*/ 1732 h 10000"/>
                <a:gd name="connsiteX3" fmla="*/ 903 w 10000"/>
                <a:gd name="connsiteY3" fmla="*/ 1732 h 10000"/>
                <a:gd name="connsiteX4" fmla="*/ 660 w 10000"/>
                <a:gd name="connsiteY4" fmla="*/ 1732 h 10000"/>
                <a:gd name="connsiteX5" fmla="*/ 660 w 10000"/>
                <a:gd name="connsiteY5" fmla="*/ 1848 h 10000"/>
                <a:gd name="connsiteX6" fmla="*/ 660 w 10000"/>
                <a:gd name="connsiteY6" fmla="*/ 1926 h 10000"/>
                <a:gd name="connsiteX7" fmla="*/ 660 w 10000"/>
                <a:gd name="connsiteY7" fmla="*/ 2001 h 10000"/>
                <a:gd name="connsiteX8" fmla="*/ 590 w 10000"/>
                <a:gd name="connsiteY8" fmla="*/ 2193 h 10000"/>
                <a:gd name="connsiteX9" fmla="*/ 486 w 10000"/>
                <a:gd name="connsiteY9" fmla="*/ 2386 h 10000"/>
                <a:gd name="connsiteX10" fmla="*/ 243 w 10000"/>
                <a:gd name="connsiteY10" fmla="*/ 2652 h 10000"/>
                <a:gd name="connsiteX11" fmla="*/ 243 w 10000"/>
                <a:gd name="connsiteY11" fmla="*/ 2732 h 10000"/>
                <a:gd name="connsiteX12" fmla="*/ 347 w 10000"/>
                <a:gd name="connsiteY12" fmla="*/ 2848 h 10000"/>
                <a:gd name="connsiteX13" fmla="*/ 243 w 10000"/>
                <a:gd name="connsiteY13" fmla="*/ 2925 h 10000"/>
                <a:gd name="connsiteX14" fmla="*/ 243 w 10000"/>
                <a:gd name="connsiteY14" fmla="*/ 2925 h 10000"/>
                <a:gd name="connsiteX15" fmla="*/ 174 w 10000"/>
                <a:gd name="connsiteY15" fmla="*/ 3001 h 10000"/>
                <a:gd name="connsiteX16" fmla="*/ 174 w 10000"/>
                <a:gd name="connsiteY16" fmla="*/ 3001 h 10000"/>
                <a:gd name="connsiteX17" fmla="*/ 174 w 10000"/>
                <a:gd name="connsiteY17" fmla="*/ 3193 h 10000"/>
                <a:gd name="connsiteX18" fmla="*/ 174 w 10000"/>
                <a:gd name="connsiteY18" fmla="*/ 3386 h 10000"/>
                <a:gd name="connsiteX19" fmla="*/ 104 w 10000"/>
                <a:gd name="connsiteY19" fmla="*/ 3463 h 10000"/>
                <a:gd name="connsiteX20" fmla="*/ 0 w 10000"/>
                <a:gd name="connsiteY20" fmla="*/ 3541 h 10000"/>
                <a:gd name="connsiteX21" fmla="*/ 0 w 10000"/>
                <a:gd name="connsiteY21" fmla="*/ 3654 h 10000"/>
                <a:gd name="connsiteX22" fmla="*/ 0 w 10000"/>
                <a:gd name="connsiteY22" fmla="*/ 3847 h 10000"/>
                <a:gd name="connsiteX23" fmla="*/ 104 w 10000"/>
                <a:gd name="connsiteY23" fmla="*/ 3847 h 10000"/>
                <a:gd name="connsiteX24" fmla="*/ 104 w 10000"/>
                <a:gd name="connsiteY24" fmla="*/ 3847 h 10000"/>
                <a:gd name="connsiteX25" fmla="*/ 347 w 10000"/>
                <a:gd name="connsiteY25" fmla="*/ 3734 h 10000"/>
                <a:gd name="connsiteX26" fmla="*/ 243 w 10000"/>
                <a:gd name="connsiteY26" fmla="*/ 4000 h 10000"/>
                <a:gd name="connsiteX27" fmla="*/ 347 w 10000"/>
                <a:gd name="connsiteY27" fmla="*/ 4194 h 10000"/>
                <a:gd name="connsiteX28" fmla="*/ 486 w 10000"/>
                <a:gd name="connsiteY28" fmla="*/ 4540 h 10000"/>
                <a:gd name="connsiteX29" fmla="*/ 486 w 10000"/>
                <a:gd name="connsiteY29" fmla="*/ 4654 h 10000"/>
                <a:gd name="connsiteX30" fmla="*/ 590 w 10000"/>
                <a:gd name="connsiteY30" fmla="*/ 4654 h 10000"/>
                <a:gd name="connsiteX31" fmla="*/ 590 w 10000"/>
                <a:gd name="connsiteY31" fmla="*/ 4730 h 10000"/>
                <a:gd name="connsiteX32" fmla="*/ 660 w 10000"/>
                <a:gd name="connsiteY32" fmla="*/ 4810 h 10000"/>
                <a:gd name="connsiteX33" fmla="*/ 660 w 10000"/>
                <a:gd name="connsiteY33" fmla="*/ 4925 h 10000"/>
                <a:gd name="connsiteX34" fmla="*/ 486 w 10000"/>
                <a:gd name="connsiteY34" fmla="*/ 5002 h 10000"/>
                <a:gd name="connsiteX35" fmla="*/ 660 w 10000"/>
                <a:gd name="connsiteY35" fmla="*/ 5117 h 10000"/>
                <a:gd name="connsiteX36" fmla="*/ 833 w 10000"/>
                <a:gd name="connsiteY36" fmla="*/ 5385 h 10000"/>
                <a:gd name="connsiteX37" fmla="*/ 1007 w 10000"/>
                <a:gd name="connsiteY37" fmla="*/ 5653 h 10000"/>
                <a:gd name="connsiteX38" fmla="*/ 1076 w 10000"/>
                <a:gd name="connsiteY38" fmla="*/ 5809 h 10000"/>
                <a:gd name="connsiteX39" fmla="*/ 1007 w 10000"/>
                <a:gd name="connsiteY39" fmla="*/ 6000 h 10000"/>
                <a:gd name="connsiteX40" fmla="*/ 1007 w 10000"/>
                <a:gd name="connsiteY40" fmla="*/ 6271 h 10000"/>
                <a:gd name="connsiteX41" fmla="*/ 1007 w 10000"/>
                <a:gd name="connsiteY41" fmla="*/ 6386 h 10000"/>
                <a:gd name="connsiteX42" fmla="*/ 1146 w 10000"/>
                <a:gd name="connsiteY42" fmla="*/ 6540 h 10000"/>
                <a:gd name="connsiteX43" fmla="*/ 1250 w 10000"/>
                <a:gd name="connsiteY43" fmla="*/ 6540 h 10000"/>
                <a:gd name="connsiteX44" fmla="*/ 1389 w 10000"/>
                <a:gd name="connsiteY44" fmla="*/ 6540 h 10000"/>
                <a:gd name="connsiteX45" fmla="*/ 1493 w 10000"/>
                <a:gd name="connsiteY45" fmla="*/ 6731 h 10000"/>
                <a:gd name="connsiteX46" fmla="*/ 1563 w 10000"/>
                <a:gd name="connsiteY46" fmla="*/ 6808 h 10000"/>
                <a:gd name="connsiteX47" fmla="*/ 1806 w 10000"/>
                <a:gd name="connsiteY47" fmla="*/ 6808 h 10000"/>
                <a:gd name="connsiteX48" fmla="*/ 1910 w 10000"/>
                <a:gd name="connsiteY48" fmla="*/ 6925 h 10000"/>
                <a:gd name="connsiteX49" fmla="*/ 1979 w 10000"/>
                <a:gd name="connsiteY49" fmla="*/ 7001 h 10000"/>
                <a:gd name="connsiteX50" fmla="*/ 2049 w 10000"/>
                <a:gd name="connsiteY50" fmla="*/ 7001 h 10000"/>
                <a:gd name="connsiteX51" fmla="*/ 1979 w 10000"/>
                <a:gd name="connsiteY51" fmla="*/ 7193 h 10000"/>
                <a:gd name="connsiteX52" fmla="*/ 2049 w 10000"/>
                <a:gd name="connsiteY52" fmla="*/ 7269 h 10000"/>
                <a:gd name="connsiteX53" fmla="*/ 2292 w 10000"/>
                <a:gd name="connsiteY53" fmla="*/ 7460 h 10000"/>
                <a:gd name="connsiteX54" fmla="*/ 2465 w 10000"/>
                <a:gd name="connsiteY54" fmla="*/ 7653 h 10000"/>
                <a:gd name="connsiteX55" fmla="*/ 2535 w 10000"/>
                <a:gd name="connsiteY55" fmla="*/ 7731 h 10000"/>
                <a:gd name="connsiteX56" fmla="*/ 2708 w 10000"/>
                <a:gd name="connsiteY56" fmla="*/ 7809 h 10000"/>
                <a:gd name="connsiteX57" fmla="*/ 2708 w 10000"/>
                <a:gd name="connsiteY57" fmla="*/ 7925 h 10000"/>
                <a:gd name="connsiteX58" fmla="*/ 2813 w 10000"/>
                <a:gd name="connsiteY58" fmla="*/ 8117 h 10000"/>
                <a:gd name="connsiteX59" fmla="*/ 2882 w 10000"/>
                <a:gd name="connsiteY59" fmla="*/ 8192 h 10000"/>
                <a:gd name="connsiteX60" fmla="*/ 2882 w 10000"/>
                <a:gd name="connsiteY60" fmla="*/ 8270 h 10000"/>
                <a:gd name="connsiteX61" fmla="*/ 2951 w 10000"/>
                <a:gd name="connsiteY61" fmla="*/ 8385 h 10000"/>
                <a:gd name="connsiteX62" fmla="*/ 3299 w 10000"/>
                <a:gd name="connsiteY62" fmla="*/ 8539 h 10000"/>
                <a:gd name="connsiteX63" fmla="*/ 3368 w 10000"/>
                <a:gd name="connsiteY63" fmla="*/ 8731 h 10000"/>
                <a:gd name="connsiteX64" fmla="*/ 3368 w 10000"/>
                <a:gd name="connsiteY64" fmla="*/ 8808 h 10000"/>
                <a:gd name="connsiteX65" fmla="*/ 3438 w 10000"/>
                <a:gd name="connsiteY65" fmla="*/ 8924 h 10000"/>
                <a:gd name="connsiteX66" fmla="*/ 3542 w 10000"/>
                <a:gd name="connsiteY66" fmla="*/ 8999 h 10000"/>
                <a:gd name="connsiteX67" fmla="*/ 3715 w 10000"/>
                <a:gd name="connsiteY67" fmla="*/ 9192 h 10000"/>
                <a:gd name="connsiteX68" fmla="*/ 3715 w 10000"/>
                <a:gd name="connsiteY68" fmla="*/ 9270 h 10000"/>
                <a:gd name="connsiteX69" fmla="*/ 3785 w 10000"/>
                <a:gd name="connsiteY69" fmla="*/ 9385 h 10000"/>
                <a:gd name="connsiteX70" fmla="*/ 4028 w 10000"/>
                <a:gd name="connsiteY70" fmla="*/ 9460 h 10000"/>
                <a:gd name="connsiteX71" fmla="*/ 4097 w 10000"/>
                <a:gd name="connsiteY71" fmla="*/ 9460 h 10000"/>
                <a:gd name="connsiteX72" fmla="*/ 4201 w 10000"/>
                <a:gd name="connsiteY72" fmla="*/ 9385 h 10000"/>
                <a:gd name="connsiteX73" fmla="*/ 4444 w 10000"/>
                <a:gd name="connsiteY73" fmla="*/ 9460 h 10000"/>
                <a:gd name="connsiteX74" fmla="*/ 4618 w 10000"/>
                <a:gd name="connsiteY74" fmla="*/ 9385 h 10000"/>
                <a:gd name="connsiteX75" fmla="*/ 4757 w 10000"/>
                <a:gd name="connsiteY75" fmla="*/ 9270 h 10000"/>
                <a:gd name="connsiteX76" fmla="*/ 4861 w 10000"/>
                <a:gd name="connsiteY76" fmla="*/ 9385 h 10000"/>
                <a:gd name="connsiteX77" fmla="*/ 5174 w 10000"/>
                <a:gd name="connsiteY77" fmla="*/ 9653 h 10000"/>
                <a:gd name="connsiteX78" fmla="*/ 5243 w 10000"/>
                <a:gd name="connsiteY78" fmla="*/ 9808 h 10000"/>
                <a:gd name="connsiteX79" fmla="*/ 5347 w 10000"/>
                <a:gd name="connsiteY79" fmla="*/ 9923 h 10000"/>
                <a:gd name="connsiteX80" fmla="*/ 5417 w 10000"/>
                <a:gd name="connsiteY80" fmla="*/ 9923 h 10000"/>
                <a:gd name="connsiteX81" fmla="*/ 5486 w 10000"/>
                <a:gd name="connsiteY81" fmla="*/ 9923 h 10000"/>
                <a:gd name="connsiteX82" fmla="*/ 5590 w 10000"/>
                <a:gd name="connsiteY82" fmla="*/ 9923 h 10000"/>
                <a:gd name="connsiteX83" fmla="*/ 5764 w 10000"/>
                <a:gd name="connsiteY83" fmla="*/ 9923 h 10000"/>
                <a:gd name="connsiteX84" fmla="*/ 5833 w 10000"/>
                <a:gd name="connsiteY84" fmla="*/ 9923 h 10000"/>
                <a:gd name="connsiteX85" fmla="*/ 6007 w 10000"/>
                <a:gd name="connsiteY85" fmla="*/ 9923 h 10000"/>
                <a:gd name="connsiteX86" fmla="*/ 6076 w 10000"/>
                <a:gd name="connsiteY86" fmla="*/ 9923 h 10000"/>
                <a:gd name="connsiteX87" fmla="*/ 6146 w 10000"/>
                <a:gd name="connsiteY87" fmla="*/ 10000 h 10000"/>
                <a:gd name="connsiteX88" fmla="*/ 6319 w 10000"/>
                <a:gd name="connsiteY88" fmla="*/ 9923 h 10000"/>
                <a:gd name="connsiteX89" fmla="*/ 6493 w 10000"/>
                <a:gd name="connsiteY89" fmla="*/ 9923 h 10000"/>
                <a:gd name="connsiteX90" fmla="*/ 6667 w 10000"/>
                <a:gd name="connsiteY90" fmla="*/ 9808 h 10000"/>
                <a:gd name="connsiteX91" fmla="*/ 6806 w 10000"/>
                <a:gd name="connsiteY91" fmla="*/ 9808 h 10000"/>
                <a:gd name="connsiteX92" fmla="*/ 7049 w 10000"/>
                <a:gd name="connsiteY92" fmla="*/ 9808 h 10000"/>
                <a:gd name="connsiteX93" fmla="*/ 7292 w 10000"/>
                <a:gd name="connsiteY93" fmla="*/ 9653 h 10000"/>
                <a:gd name="connsiteX94" fmla="*/ 7292 w 10000"/>
                <a:gd name="connsiteY94" fmla="*/ 9653 h 10000"/>
                <a:gd name="connsiteX95" fmla="*/ 7292 w 10000"/>
                <a:gd name="connsiteY95" fmla="*/ 9653 h 10000"/>
                <a:gd name="connsiteX96" fmla="*/ 7569 w 10000"/>
                <a:gd name="connsiteY96" fmla="*/ 9385 h 10000"/>
                <a:gd name="connsiteX97" fmla="*/ 7639 w 10000"/>
                <a:gd name="connsiteY97" fmla="*/ 9270 h 10000"/>
                <a:gd name="connsiteX98" fmla="*/ 7813 w 10000"/>
                <a:gd name="connsiteY98" fmla="*/ 9270 h 10000"/>
                <a:gd name="connsiteX99" fmla="*/ 8125 w 10000"/>
                <a:gd name="connsiteY99" fmla="*/ 9385 h 10000"/>
                <a:gd name="connsiteX100" fmla="*/ 8299 w 10000"/>
                <a:gd name="connsiteY100" fmla="*/ 9385 h 10000"/>
                <a:gd name="connsiteX101" fmla="*/ 8472 w 10000"/>
                <a:gd name="connsiteY101" fmla="*/ 9270 h 10000"/>
                <a:gd name="connsiteX102" fmla="*/ 8472 w 10000"/>
                <a:gd name="connsiteY102" fmla="*/ 8999 h 10000"/>
                <a:gd name="connsiteX103" fmla="*/ 8542 w 10000"/>
                <a:gd name="connsiteY103" fmla="*/ 8924 h 10000"/>
                <a:gd name="connsiteX104" fmla="*/ 8472 w 10000"/>
                <a:gd name="connsiteY104" fmla="*/ 8808 h 10000"/>
                <a:gd name="connsiteX105" fmla="*/ 8472 w 10000"/>
                <a:gd name="connsiteY105" fmla="*/ 8731 h 10000"/>
                <a:gd name="connsiteX106" fmla="*/ 8125 w 10000"/>
                <a:gd name="connsiteY106" fmla="*/ 8731 h 10000"/>
                <a:gd name="connsiteX107" fmla="*/ 8056 w 10000"/>
                <a:gd name="connsiteY107" fmla="*/ 8652 h 10000"/>
                <a:gd name="connsiteX108" fmla="*/ 8056 w 10000"/>
                <a:gd name="connsiteY108" fmla="*/ 8539 h 10000"/>
                <a:gd name="connsiteX109" fmla="*/ 7882 w 10000"/>
                <a:gd name="connsiteY109" fmla="*/ 8192 h 10000"/>
                <a:gd name="connsiteX110" fmla="*/ 7882 w 10000"/>
                <a:gd name="connsiteY110" fmla="*/ 8001 h 10000"/>
                <a:gd name="connsiteX111" fmla="*/ 7813 w 10000"/>
                <a:gd name="connsiteY111" fmla="*/ 7925 h 10000"/>
                <a:gd name="connsiteX112" fmla="*/ 7569 w 10000"/>
                <a:gd name="connsiteY112" fmla="*/ 7731 h 10000"/>
                <a:gd name="connsiteX113" fmla="*/ 7465 w 10000"/>
                <a:gd name="connsiteY113" fmla="*/ 7653 h 10000"/>
                <a:gd name="connsiteX114" fmla="*/ 7396 w 10000"/>
                <a:gd name="connsiteY114" fmla="*/ 7540 h 10000"/>
                <a:gd name="connsiteX115" fmla="*/ 7396 w 10000"/>
                <a:gd name="connsiteY115" fmla="*/ 7460 h 10000"/>
                <a:gd name="connsiteX116" fmla="*/ 7292 w 10000"/>
                <a:gd name="connsiteY116" fmla="*/ 7269 h 10000"/>
                <a:gd name="connsiteX117" fmla="*/ 7222 w 10000"/>
                <a:gd name="connsiteY117" fmla="*/ 7269 h 10000"/>
                <a:gd name="connsiteX118" fmla="*/ 7049 w 10000"/>
                <a:gd name="connsiteY118" fmla="*/ 7193 h 10000"/>
                <a:gd name="connsiteX119" fmla="*/ 6979 w 10000"/>
                <a:gd name="connsiteY119" fmla="*/ 7193 h 10000"/>
                <a:gd name="connsiteX120" fmla="*/ 6910 w 10000"/>
                <a:gd name="connsiteY120" fmla="*/ 7193 h 10000"/>
                <a:gd name="connsiteX121" fmla="*/ 6806 w 10000"/>
                <a:gd name="connsiteY121" fmla="*/ 7193 h 10000"/>
                <a:gd name="connsiteX122" fmla="*/ 6736 w 10000"/>
                <a:gd name="connsiteY122" fmla="*/ 7116 h 10000"/>
                <a:gd name="connsiteX123" fmla="*/ 6806 w 10000"/>
                <a:gd name="connsiteY123" fmla="*/ 7001 h 10000"/>
                <a:gd name="connsiteX124" fmla="*/ 6910 w 10000"/>
                <a:gd name="connsiteY124" fmla="*/ 6925 h 10000"/>
                <a:gd name="connsiteX125" fmla="*/ 6910 w 10000"/>
                <a:gd name="connsiteY125" fmla="*/ 6731 h 10000"/>
                <a:gd name="connsiteX126" fmla="*/ 6979 w 10000"/>
                <a:gd name="connsiteY126" fmla="*/ 6731 h 10000"/>
                <a:gd name="connsiteX127" fmla="*/ 7222 w 10000"/>
                <a:gd name="connsiteY127" fmla="*/ 6731 h 10000"/>
                <a:gd name="connsiteX128" fmla="*/ 7396 w 10000"/>
                <a:gd name="connsiteY128" fmla="*/ 6731 h 10000"/>
                <a:gd name="connsiteX129" fmla="*/ 7465 w 10000"/>
                <a:gd name="connsiteY129" fmla="*/ 6653 h 10000"/>
                <a:gd name="connsiteX130" fmla="*/ 7465 w 10000"/>
                <a:gd name="connsiteY130" fmla="*/ 6462 h 10000"/>
                <a:gd name="connsiteX131" fmla="*/ 7465 w 10000"/>
                <a:gd name="connsiteY131" fmla="*/ 5925 h 10000"/>
                <a:gd name="connsiteX132" fmla="*/ 7465 w 10000"/>
                <a:gd name="connsiteY132" fmla="*/ 5732 h 10000"/>
                <a:gd name="connsiteX133" fmla="*/ 7569 w 10000"/>
                <a:gd name="connsiteY133" fmla="*/ 5540 h 10000"/>
                <a:gd name="connsiteX134" fmla="*/ 7465 w 10000"/>
                <a:gd name="connsiteY134" fmla="*/ 5461 h 10000"/>
                <a:gd name="connsiteX135" fmla="*/ 7465 w 10000"/>
                <a:gd name="connsiteY135" fmla="*/ 5385 h 10000"/>
                <a:gd name="connsiteX136" fmla="*/ 7569 w 10000"/>
                <a:gd name="connsiteY136" fmla="*/ 5385 h 10000"/>
                <a:gd name="connsiteX137" fmla="*/ 7569 w 10000"/>
                <a:gd name="connsiteY137" fmla="*/ 5270 h 10000"/>
                <a:gd name="connsiteX138" fmla="*/ 7639 w 10000"/>
                <a:gd name="connsiteY138" fmla="*/ 5117 h 10000"/>
                <a:gd name="connsiteX139" fmla="*/ 7708 w 10000"/>
                <a:gd name="connsiteY139" fmla="*/ 5117 h 10000"/>
                <a:gd name="connsiteX140" fmla="*/ 7882 w 10000"/>
                <a:gd name="connsiteY140" fmla="*/ 5117 h 10000"/>
                <a:gd name="connsiteX141" fmla="*/ 7882 w 10000"/>
                <a:gd name="connsiteY141" fmla="*/ 5002 h 10000"/>
                <a:gd name="connsiteX142" fmla="*/ 7951 w 10000"/>
                <a:gd name="connsiteY142" fmla="*/ 4654 h 10000"/>
                <a:gd name="connsiteX143" fmla="*/ 8056 w 10000"/>
                <a:gd name="connsiteY143" fmla="*/ 4540 h 10000"/>
                <a:gd name="connsiteX144" fmla="*/ 8368 w 10000"/>
                <a:gd name="connsiteY144" fmla="*/ 3925 h 10000"/>
                <a:gd name="connsiteX145" fmla="*/ 8542 w 10000"/>
                <a:gd name="connsiteY145" fmla="*/ 3847 h 10000"/>
                <a:gd name="connsiteX146" fmla="*/ 8611 w 10000"/>
                <a:gd name="connsiteY146" fmla="*/ 3734 h 10000"/>
                <a:gd name="connsiteX147" fmla="*/ 8715 w 10000"/>
                <a:gd name="connsiteY147" fmla="*/ 3654 h 10000"/>
                <a:gd name="connsiteX148" fmla="*/ 8854 w 10000"/>
                <a:gd name="connsiteY148" fmla="*/ 2925 h 10000"/>
                <a:gd name="connsiteX149" fmla="*/ 8854 w 10000"/>
                <a:gd name="connsiteY149" fmla="*/ 2732 h 10000"/>
                <a:gd name="connsiteX150" fmla="*/ 8854 w 10000"/>
                <a:gd name="connsiteY150" fmla="*/ 2539 h 10000"/>
                <a:gd name="connsiteX151" fmla="*/ 8854 w 10000"/>
                <a:gd name="connsiteY151" fmla="*/ 2386 h 10000"/>
                <a:gd name="connsiteX152" fmla="*/ 8854 w 10000"/>
                <a:gd name="connsiteY152" fmla="*/ 2119 h 10000"/>
                <a:gd name="connsiteX153" fmla="*/ 8958 w 10000"/>
                <a:gd name="connsiteY153" fmla="*/ 1926 h 10000"/>
                <a:gd name="connsiteX154" fmla="*/ 9097 w 10000"/>
                <a:gd name="connsiteY154" fmla="*/ 1269 h 10000"/>
                <a:gd name="connsiteX155" fmla="*/ 10000 w 10000"/>
                <a:gd name="connsiteY155" fmla="*/ 118 h 10000"/>
                <a:gd name="connsiteX156" fmla="*/ 10000 w 10000"/>
                <a:gd name="connsiteY156" fmla="*/ 0 h 10000"/>
                <a:gd name="connsiteX0" fmla="*/ 10000 w 10000"/>
                <a:gd name="connsiteY0" fmla="*/ 0 h 9882"/>
                <a:gd name="connsiteX1" fmla="*/ 1319 w 10000"/>
                <a:gd name="connsiteY1" fmla="*/ 1614 h 9882"/>
                <a:gd name="connsiteX2" fmla="*/ 1250 w 10000"/>
                <a:gd name="connsiteY2" fmla="*/ 1614 h 9882"/>
                <a:gd name="connsiteX3" fmla="*/ 903 w 10000"/>
                <a:gd name="connsiteY3" fmla="*/ 1614 h 9882"/>
                <a:gd name="connsiteX4" fmla="*/ 660 w 10000"/>
                <a:gd name="connsiteY4" fmla="*/ 1614 h 9882"/>
                <a:gd name="connsiteX5" fmla="*/ 660 w 10000"/>
                <a:gd name="connsiteY5" fmla="*/ 1730 h 9882"/>
                <a:gd name="connsiteX6" fmla="*/ 660 w 10000"/>
                <a:gd name="connsiteY6" fmla="*/ 1808 h 9882"/>
                <a:gd name="connsiteX7" fmla="*/ 660 w 10000"/>
                <a:gd name="connsiteY7" fmla="*/ 1883 h 9882"/>
                <a:gd name="connsiteX8" fmla="*/ 590 w 10000"/>
                <a:gd name="connsiteY8" fmla="*/ 2075 h 9882"/>
                <a:gd name="connsiteX9" fmla="*/ 486 w 10000"/>
                <a:gd name="connsiteY9" fmla="*/ 2268 h 9882"/>
                <a:gd name="connsiteX10" fmla="*/ 243 w 10000"/>
                <a:gd name="connsiteY10" fmla="*/ 2534 h 9882"/>
                <a:gd name="connsiteX11" fmla="*/ 243 w 10000"/>
                <a:gd name="connsiteY11" fmla="*/ 2614 h 9882"/>
                <a:gd name="connsiteX12" fmla="*/ 347 w 10000"/>
                <a:gd name="connsiteY12" fmla="*/ 2730 h 9882"/>
                <a:gd name="connsiteX13" fmla="*/ 243 w 10000"/>
                <a:gd name="connsiteY13" fmla="*/ 2807 h 9882"/>
                <a:gd name="connsiteX14" fmla="*/ 243 w 10000"/>
                <a:gd name="connsiteY14" fmla="*/ 2807 h 9882"/>
                <a:gd name="connsiteX15" fmla="*/ 174 w 10000"/>
                <a:gd name="connsiteY15" fmla="*/ 2883 h 9882"/>
                <a:gd name="connsiteX16" fmla="*/ 174 w 10000"/>
                <a:gd name="connsiteY16" fmla="*/ 2883 h 9882"/>
                <a:gd name="connsiteX17" fmla="*/ 174 w 10000"/>
                <a:gd name="connsiteY17" fmla="*/ 3075 h 9882"/>
                <a:gd name="connsiteX18" fmla="*/ 174 w 10000"/>
                <a:gd name="connsiteY18" fmla="*/ 3268 h 9882"/>
                <a:gd name="connsiteX19" fmla="*/ 104 w 10000"/>
                <a:gd name="connsiteY19" fmla="*/ 3345 h 9882"/>
                <a:gd name="connsiteX20" fmla="*/ 0 w 10000"/>
                <a:gd name="connsiteY20" fmla="*/ 3423 h 9882"/>
                <a:gd name="connsiteX21" fmla="*/ 0 w 10000"/>
                <a:gd name="connsiteY21" fmla="*/ 3536 h 9882"/>
                <a:gd name="connsiteX22" fmla="*/ 0 w 10000"/>
                <a:gd name="connsiteY22" fmla="*/ 3729 h 9882"/>
                <a:gd name="connsiteX23" fmla="*/ 104 w 10000"/>
                <a:gd name="connsiteY23" fmla="*/ 3729 h 9882"/>
                <a:gd name="connsiteX24" fmla="*/ 104 w 10000"/>
                <a:gd name="connsiteY24" fmla="*/ 3729 h 9882"/>
                <a:gd name="connsiteX25" fmla="*/ 347 w 10000"/>
                <a:gd name="connsiteY25" fmla="*/ 3616 h 9882"/>
                <a:gd name="connsiteX26" fmla="*/ 243 w 10000"/>
                <a:gd name="connsiteY26" fmla="*/ 3882 h 9882"/>
                <a:gd name="connsiteX27" fmla="*/ 347 w 10000"/>
                <a:gd name="connsiteY27" fmla="*/ 4076 h 9882"/>
                <a:gd name="connsiteX28" fmla="*/ 486 w 10000"/>
                <a:gd name="connsiteY28" fmla="*/ 4422 h 9882"/>
                <a:gd name="connsiteX29" fmla="*/ 486 w 10000"/>
                <a:gd name="connsiteY29" fmla="*/ 4536 h 9882"/>
                <a:gd name="connsiteX30" fmla="*/ 590 w 10000"/>
                <a:gd name="connsiteY30" fmla="*/ 4536 h 9882"/>
                <a:gd name="connsiteX31" fmla="*/ 590 w 10000"/>
                <a:gd name="connsiteY31" fmla="*/ 4612 h 9882"/>
                <a:gd name="connsiteX32" fmla="*/ 660 w 10000"/>
                <a:gd name="connsiteY32" fmla="*/ 4692 h 9882"/>
                <a:gd name="connsiteX33" fmla="*/ 660 w 10000"/>
                <a:gd name="connsiteY33" fmla="*/ 4807 h 9882"/>
                <a:gd name="connsiteX34" fmla="*/ 486 w 10000"/>
                <a:gd name="connsiteY34" fmla="*/ 4884 h 9882"/>
                <a:gd name="connsiteX35" fmla="*/ 660 w 10000"/>
                <a:gd name="connsiteY35" fmla="*/ 4999 h 9882"/>
                <a:gd name="connsiteX36" fmla="*/ 833 w 10000"/>
                <a:gd name="connsiteY36" fmla="*/ 5267 h 9882"/>
                <a:gd name="connsiteX37" fmla="*/ 1007 w 10000"/>
                <a:gd name="connsiteY37" fmla="*/ 5535 h 9882"/>
                <a:gd name="connsiteX38" fmla="*/ 1076 w 10000"/>
                <a:gd name="connsiteY38" fmla="*/ 5691 h 9882"/>
                <a:gd name="connsiteX39" fmla="*/ 1007 w 10000"/>
                <a:gd name="connsiteY39" fmla="*/ 5882 h 9882"/>
                <a:gd name="connsiteX40" fmla="*/ 1007 w 10000"/>
                <a:gd name="connsiteY40" fmla="*/ 6153 h 9882"/>
                <a:gd name="connsiteX41" fmla="*/ 1007 w 10000"/>
                <a:gd name="connsiteY41" fmla="*/ 6268 h 9882"/>
                <a:gd name="connsiteX42" fmla="*/ 1146 w 10000"/>
                <a:gd name="connsiteY42" fmla="*/ 6422 h 9882"/>
                <a:gd name="connsiteX43" fmla="*/ 1250 w 10000"/>
                <a:gd name="connsiteY43" fmla="*/ 6422 h 9882"/>
                <a:gd name="connsiteX44" fmla="*/ 1389 w 10000"/>
                <a:gd name="connsiteY44" fmla="*/ 6422 h 9882"/>
                <a:gd name="connsiteX45" fmla="*/ 1493 w 10000"/>
                <a:gd name="connsiteY45" fmla="*/ 6613 h 9882"/>
                <a:gd name="connsiteX46" fmla="*/ 1563 w 10000"/>
                <a:gd name="connsiteY46" fmla="*/ 6690 h 9882"/>
                <a:gd name="connsiteX47" fmla="*/ 1806 w 10000"/>
                <a:gd name="connsiteY47" fmla="*/ 6690 h 9882"/>
                <a:gd name="connsiteX48" fmla="*/ 1910 w 10000"/>
                <a:gd name="connsiteY48" fmla="*/ 6807 h 9882"/>
                <a:gd name="connsiteX49" fmla="*/ 1979 w 10000"/>
                <a:gd name="connsiteY49" fmla="*/ 6883 h 9882"/>
                <a:gd name="connsiteX50" fmla="*/ 2049 w 10000"/>
                <a:gd name="connsiteY50" fmla="*/ 6883 h 9882"/>
                <a:gd name="connsiteX51" fmla="*/ 1979 w 10000"/>
                <a:gd name="connsiteY51" fmla="*/ 7075 h 9882"/>
                <a:gd name="connsiteX52" fmla="*/ 2049 w 10000"/>
                <a:gd name="connsiteY52" fmla="*/ 7151 h 9882"/>
                <a:gd name="connsiteX53" fmla="*/ 2292 w 10000"/>
                <a:gd name="connsiteY53" fmla="*/ 7342 h 9882"/>
                <a:gd name="connsiteX54" fmla="*/ 2465 w 10000"/>
                <a:gd name="connsiteY54" fmla="*/ 7535 h 9882"/>
                <a:gd name="connsiteX55" fmla="*/ 2535 w 10000"/>
                <a:gd name="connsiteY55" fmla="*/ 7613 h 9882"/>
                <a:gd name="connsiteX56" fmla="*/ 2708 w 10000"/>
                <a:gd name="connsiteY56" fmla="*/ 7691 h 9882"/>
                <a:gd name="connsiteX57" fmla="*/ 2708 w 10000"/>
                <a:gd name="connsiteY57" fmla="*/ 7807 h 9882"/>
                <a:gd name="connsiteX58" fmla="*/ 2813 w 10000"/>
                <a:gd name="connsiteY58" fmla="*/ 7999 h 9882"/>
                <a:gd name="connsiteX59" fmla="*/ 2882 w 10000"/>
                <a:gd name="connsiteY59" fmla="*/ 8074 h 9882"/>
                <a:gd name="connsiteX60" fmla="*/ 2882 w 10000"/>
                <a:gd name="connsiteY60" fmla="*/ 8152 h 9882"/>
                <a:gd name="connsiteX61" fmla="*/ 2951 w 10000"/>
                <a:gd name="connsiteY61" fmla="*/ 8267 h 9882"/>
                <a:gd name="connsiteX62" fmla="*/ 3299 w 10000"/>
                <a:gd name="connsiteY62" fmla="*/ 8421 h 9882"/>
                <a:gd name="connsiteX63" fmla="*/ 3368 w 10000"/>
                <a:gd name="connsiteY63" fmla="*/ 8613 h 9882"/>
                <a:gd name="connsiteX64" fmla="*/ 3368 w 10000"/>
                <a:gd name="connsiteY64" fmla="*/ 8690 h 9882"/>
                <a:gd name="connsiteX65" fmla="*/ 3438 w 10000"/>
                <a:gd name="connsiteY65" fmla="*/ 8806 h 9882"/>
                <a:gd name="connsiteX66" fmla="*/ 3542 w 10000"/>
                <a:gd name="connsiteY66" fmla="*/ 8881 h 9882"/>
                <a:gd name="connsiteX67" fmla="*/ 3715 w 10000"/>
                <a:gd name="connsiteY67" fmla="*/ 9074 h 9882"/>
                <a:gd name="connsiteX68" fmla="*/ 3715 w 10000"/>
                <a:gd name="connsiteY68" fmla="*/ 9152 h 9882"/>
                <a:gd name="connsiteX69" fmla="*/ 3785 w 10000"/>
                <a:gd name="connsiteY69" fmla="*/ 9267 h 9882"/>
                <a:gd name="connsiteX70" fmla="*/ 4028 w 10000"/>
                <a:gd name="connsiteY70" fmla="*/ 9342 h 9882"/>
                <a:gd name="connsiteX71" fmla="*/ 4097 w 10000"/>
                <a:gd name="connsiteY71" fmla="*/ 9342 h 9882"/>
                <a:gd name="connsiteX72" fmla="*/ 4201 w 10000"/>
                <a:gd name="connsiteY72" fmla="*/ 9267 h 9882"/>
                <a:gd name="connsiteX73" fmla="*/ 4444 w 10000"/>
                <a:gd name="connsiteY73" fmla="*/ 9342 h 9882"/>
                <a:gd name="connsiteX74" fmla="*/ 4618 w 10000"/>
                <a:gd name="connsiteY74" fmla="*/ 9267 h 9882"/>
                <a:gd name="connsiteX75" fmla="*/ 4757 w 10000"/>
                <a:gd name="connsiteY75" fmla="*/ 9152 h 9882"/>
                <a:gd name="connsiteX76" fmla="*/ 4861 w 10000"/>
                <a:gd name="connsiteY76" fmla="*/ 9267 h 9882"/>
                <a:gd name="connsiteX77" fmla="*/ 5174 w 10000"/>
                <a:gd name="connsiteY77" fmla="*/ 9535 h 9882"/>
                <a:gd name="connsiteX78" fmla="*/ 5243 w 10000"/>
                <a:gd name="connsiteY78" fmla="*/ 9690 h 9882"/>
                <a:gd name="connsiteX79" fmla="*/ 5347 w 10000"/>
                <a:gd name="connsiteY79" fmla="*/ 9805 h 9882"/>
                <a:gd name="connsiteX80" fmla="*/ 5417 w 10000"/>
                <a:gd name="connsiteY80" fmla="*/ 9805 h 9882"/>
                <a:gd name="connsiteX81" fmla="*/ 5486 w 10000"/>
                <a:gd name="connsiteY81" fmla="*/ 9805 h 9882"/>
                <a:gd name="connsiteX82" fmla="*/ 5590 w 10000"/>
                <a:gd name="connsiteY82" fmla="*/ 9805 h 9882"/>
                <a:gd name="connsiteX83" fmla="*/ 5764 w 10000"/>
                <a:gd name="connsiteY83" fmla="*/ 9805 h 9882"/>
                <a:gd name="connsiteX84" fmla="*/ 5833 w 10000"/>
                <a:gd name="connsiteY84" fmla="*/ 9805 h 9882"/>
                <a:gd name="connsiteX85" fmla="*/ 6007 w 10000"/>
                <a:gd name="connsiteY85" fmla="*/ 9805 h 9882"/>
                <a:gd name="connsiteX86" fmla="*/ 6076 w 10000"/>
                <a:gd name="connsiteY86" fmla="*/ 9805 h 9882"/>
                <a:gd name="connsiteX87" fmla="*/ 6146 w 10000"/>
                <a:gd name="connsiteY87" fmla="*/ 9882 h 9882"/>
                <a:gd name="connsiteX88" fmla="*/ 6319 w 10000"/>
                <a:gd name="connsiteY88" fmla="*/ 9805 h 9882"/>
                <a:gd name="connsiteX89" fmla="*/ 6493 w 10000"/>
                <a:gd name="connsiteY89" fmla="*/ 9805 h 9882"/>
                <a:gd name="connsiteX90" fmla="*/ 6667 w 10000"/>
                <a:gd name="connsiteY90" fmla="*/ 9690 h 9882"/>
                <a:gd name="connsiteX91" fmla="*/ 6806 w 10000"/>
                <a:gd name="connsiteY91" fmla="*/ 9690 h 9882"/>
                <a:gd name="connsiteX92" fmla="*/ 7049 w 10000"/>
                <a:gd name="connsiteY92" fmla="*/ 9690 h 9882"/>
                <a:gd name="connsiteX93" fmla="*/ 7292 w 10000"/>
                <a:gd name="connsiteY93" fmla="*/ 9535 h 9882"/>
                <a:gd name="connsiteX94" fmla="*/ 7292 w 10000"/>
                <a:gd name="connsiteY94" fmla="*/ 9535 h 9882"/>
                <a:gd name="connsiteX95" fmla="*/ 7292 w 10000"/>
                <a:gd name="connsiteY95" fmla="*/ 9535 h 9882"/>
                <a:gd name="connsiteX96" fmla="*/ 7569 w 10000"/>
                <a:gd name="connsiteY96" fmla="*/ 9267 h 9882"/>
                <a:gd name="connsiteX97" fmla="*/ 7639 w 10000"/>
                <a:gd name="connsiteY97" fmla="*/ 9152 h 9882"/>
                <a:gd name="connsiteX98" fmla="*/ 7813 w 10000"/>
                <a:gd name="connsiteY98" fmla="*/ 9152 h 9882"/>
                <a:gd name="connsiteX99" fmla="*/ 8125 w 10000"/>
                <a:gd name="connsiteY99" fmla="*/ 9267 h 9882"/>
                <a:gd name="connsiteX100" fmla="*/ 8299 w 10000"/>
                <a:gd name="connsiteY100" fmla="*/ 9267 h 9882"/>
                <a:gd name="connsiteX101" fmla="*/ 8472 w 10000"/>
                <a:gd name="connsiteY101" fmla="*/ 9152 h 9882"/>
                <a:gd name="connsiteX102" fmla="*/ 8472 w 10000"/>
                <a:gd name="connsiteY102" fmla="*/ 8881 h 9882"/>
                <a:gd name="connsiteX103" fmla="*/ 8542 w 10000"/>
                <a:gd name="connsiteY103" fmla="*/ 8806 h 9882"/>
                <a:gd name="connsiteX104" fmla="*/ 8472 w 10000"/>
                <a:gd name="connsiteY104" fmla="*/ 8690 h 9882"/>
                <a:gd name="connsiteX105" fmla="*/ 8472 w 10000"/>
                <a:gd name="connsiteY105" fmla="*/ 8613 h 9882"/>
                <a:gd name="connsiteX106" fmla="*/ 8125 w 10000"/>
                <a:gd name="connsiteY106" fmla="*/ 8613 h 9882"/>
                <a:gd name="connsiteX107" fmla="*/ 8056 w 10000"/>
                <a:gd name="connsiteY107" fmla="*/ 8534 h 9882"/>
                <a:gd name="connsiteX108" fmla="*/ 8056 w 10000"/>
                <a:gd name="connsiteY108" fmla="*/ 8421 h 9882"/>
                <a:gd name="connsiteX109" fmla="*/ 7882 w 10000"/>
                <a:gd name="connsiteY109" fmla="*/ 8074 h 9882"/>
                <a:gd name="connsiteX110" fmla="*/ 7882 w 10000"/>
                <a:gd name="connsiteY110" fmla="*/ 7883 h 9882"/>
                <a:gd name="connsiteX111" fmla="*/ 7813 w 10000"/>
                <a:gd name="connsiteY111" fmla="*/ 7807 h 9882"/>
                <a:gd name="connsiteX112" fmla="*/ 7569 w 10000"/>
                <a:gd name="connsiteY112" fmla="*/ 7613 h 9882"/>
                <a:gd name="connsiteX113" fmla="*/ 7465 w 10000"/>
                <a:gd name="connsiteY113" fmla="*/ 7535 h 9882"/>
                <a:gd name="connsiteX114" fmla="*/ 7396 w 10000"/>
                <a:gd name="connsiteY114" fmla="*/ 7422 h 9882"/>
                <a:gd name="connsiteX115" fmla="*/ 7396 w 10000"/>
                <a:gd name="connsiteY115" fmla="*/ 7342 h 9882"/>
                <a:gd name="connsiteX116" fmla="*/ 7292 w 10000"/>
                <a:gd name="connsiteY116" fmla="*/ 7151 h 9882"/>
                <a:gd name="connsiteX117" fmla="*/ 7222 w 10000"/>
                <a:gd name="connsiteY117" fmla="*/ 7151 h 9882"/>
                <a:gd name="connsiteX118" fmla="*/ 7049 w 10000"/>
                <a:gd name="connsiteY118" fmla="*/ 7075 h 9882"/>
                <a:gd name="connsiteX119" fmla="*/ 6979 w 10000"/>
                <a:gd name="connsiteY119" fmla="*/ 7075 h 9882"/>
                <a:gd name="connsiteX120" fmla="*/ 6910 w 10000"/>
                <a:gd name="connsiteY120" fmla="*/ 7075 h 9882"/>
                <a:gd name="connsiteX121" fmla="*/ 6806 w 10000"/>
                <a:gd name="connsiteY121" fmla="*/ 7075 h 9882"/>
                <a:gd name="connsiteX122" fmla="*/ 6736 w 10000"/>
                <a:gd name="connsiteY122" fmla="*/ 6998 h 9882"/>
                <a:gd name="connsiteX123" fmla="*/ 6806 w 10000"/>
                <a:gd name="connsiteY123" fmla="*/ 6883 h 9882"/>
                <a:gd name="connsiteX124" fmla="*/ 6910 w 10000"/>
                <a:gd name="connsiteY124" fmla="*/ 6807 h 9882"/>
                <a:gd name="connsiteX125" fmla="*/ 6910 w 10000"/>
                <a:gd name="connsiteY125" fmla="*/ 6613 h 9882"/>
                <a:gd name="connsiteX126" fmla="*/ 6979 w 10000"/>
                <a:gd name="connsiteY126" fmla="*/ 6613 h 9882"/>
                <a:gd name="connsiteX127" fmla="*/ 7222 w 10000"/>
                <a:gd name="connsiteY127" fmla="*/ 6613 h 9882"/>
                <a:gd name="connsiteX128" fmla="*/ 7396 w 10000"/>
                <a:gd name="connsiteY128" fmla="*/ 6613 h 9882"/>
                <a:gd name="connsiteX129" fmla="*/ 7465 w 10000"/>
                <a:gd name="connsiteY129" fmla="*/ 6535 h 9882"/>
                <a:gd name="connsiteX130" fmla="*/ 7465 w 10000"/>
                <a:gd name="connsiteY130" fmla="*/ 6344 h 9882"/>
                <a:gd name="connsiteX131" fmla="*/ 7465 w 10000"/>
                <a:gd name="connsiteY131" fmla="*/ 5807 h 9882"/>
                <a:gd name="connsiteX132" fmla="*/ 7465 w 10000"/>
                <a:gd name="connsiteY132" fmla="*/ 5614 h 9882"/>
                <a:gd name="connsiteX133" fmla="*/ 7569 w 10000"/>
                <a:gd name="connsiteY133" fmla="*/ 5422 h 9882"/>
                <a:gd name="connsiteX134" fmla="*/ 7465 w 10000"/>
                <a:gd name="connsiteY134" fmla="*/ 5343 h 9882"/>
                <a:gd name="connsiteX135" fmla="*/ 7465 w 10000"/>
                <a:gd name="connsiteY135" fmla="*/ 5267 h 9882"/>
                <a:gd name="connsiteX136" fmla="*/ 7569 w 10000"/>
                <a:gd name="connsiteY136" fmla="*/ 5267 h 9882"/>
                <a:gd name="connsiteX137" fmla="*/ 7569 w 10000"/>
                <a:gd name="connsiteY137" fmla="*/ 5152 h 9882"/>
                <a:gd name="connsiteX138" fmla="*/ 7639 w 10000"/>
                <a:gd name="connsiteY138" fmla="*/ 4999 h 9882"/>
                <a:gd name="connsiteX139" fmla="*/ 7708 w 10000"/>
                <a:gd name="connsiteY139" fmla="*/ 4999 h 9882"/>
                <a:gd name="connsiteX140" fmla="*/ 7882 w 10000"/>
                <a:gd name="connsiteY140" fmla="*/ 4999 h 9882"/>
                <a:gd name="connsiteX141" fmla="*/ 7882 w 10000"/>
                <a:gd name="connsiteY141" fmla="*/ 4884 h 9882"/>
                <a:gd name="connsiteX142" fmla="*/ 7951 w 10000"/>
                <a:gd name="connsiteY142" fmla="*/ 4536 h 9882"/>
                <a:gd name="connsiteX143" fmla="*/ 8056 w 10000"/>
                <a:gd name="connsiteY143" fmla="*/ 4422 h 9882"/>
                <a:gd name="connsiteX144" fmla="*/ 8368 w 10000"/>
                <a:gd name="connsiteY144" fmla="*/ 3807 h 9882"/>
                <a:gd name="connsiteX145" fmla="*/ 8542 w 10000"/>
                <a:gd name="connsiteY145" fmla="*/ 3729 h 9882"/>
                <a:gd name="connsiteX146" fmla="*/ 8611 w 10000"/>
                <a:gd name="connsiteY146" fmla="*/ 3616 h 9882"/>
                <a:gd name="connsiteX147" fmla="*/ 8715 w 10000"/>
                <a:gd name="connsiteY147" fmla="*/ 3536 h 9882"/>
                <a:gd name="connsiteX148" fmla="*/ 8854 w 10000"/>
                <a:gd name="connsiteY148" fmla="*/ 2807 h 9882"/>
                <a:gd name="connsiteX149" fmla="*/ 8854 w 10000"/>
                <a:gd name="connsiteY149" fmla="*/ 2614 h 9882"/>
                <a:gd name="connsiteX150" fmla="*/ 8854 w 10000"/>
                <a:gd name="connsiteY150" fmla="*/ 2421 h 9882"/>
                <a:gd name="connsiteX151" fmla="*/ 8854 w 10000"/>
                <a:gd name="connsiteY151" fmla="*/ 2268 h 9882"/>
                <a:gd name="connsiteX152" fmla="*/ 8854 w 10000"/>
                <a:gd name="connsiteY152" fmla="*/ 2001 h 9882"/>
                <a:gd name="connsiteX153" fmla="*/ 8958 w 10000"/>
                <a:gd name="connsiteY153" fmla="*/ 1808 h 9882"/>
                <a:gd name="connsiteX154" fmla="*/ 9097 w 10000"/>
                <a:gd name="connsiteY154" fmla="*/ 1151 h 9882"/>
                <a:gd name="connsiteX155" fmla="*/ 10000 w 10000"/>
                <a:gd name="connsiteY155" fmla="*/ 0 h 9882"/>
                <a:gd name="connsiteX0" fmla="*/ 9097 w 9097"/>
                <a:gd name="connsiteY0" fmla="*/ 0 h 8835"/>
                <a:gd name="connsiteX1" fmla="*/ 1319 w 9097"/>
                <a:gd name="connsiteY1" fmla="*/ 468 h 8835"/>
                <a:gd name="connsiteX2" fmla="*/ 1250 w 9097"/>
                <a:gd name="connsiteY2" fmla="*/ 468 h 8835"/>
                <a:gd name="connsiteX3" fmla="*/ 903 w 9097"/>
                <a:gd name="connsiteY3" fmla="*/ 468 h 8835"/>
                <a:gd name="connsiteX4" fmla="*/ 660 w 9097"/>
                <a:gd name="connsiteY4" fmla="*/ 468 h 8835"/>
                <a:gd name="connsiteX5" fmla="*/ 660 w 9097"/>
                <a:gd name="connsiteY5" fmla="*/ 586 h 8835"/>
                <a:gd name="connsiteX6" fmla="*/ 660 w 9097"/>
                <a:gd name="connsiteY6" fmla="*/ 665 h 8835"/>
                <a:gd name="connsiteX7" fmla="*/ 660 w 9097"/>
                <a:gd name="connsiteY7" fmla="*/ 740 h 8835"/>
                <a:gd name="connsiteX8" fmla="*/ 590 w 9097"/>
                <a:gd name="connsiteY8" fmla="*/ 935 h 8835"/>
                <a:gd name="connsiteX9" fmla="*/ 486 w 9097"/>
                <a:gd name="connsiteY9" fmla="*/ 1130 h 8835"/>
                <a:gd name="connsiteX10" fmla="*/ 243 w 9097"/>
                <a:gd name="connsiteY10" fmla="*/ 1399 h 8835"/>
                <a:gd name="connsiteX11" fmla="*/ 243 w 9097"/>
                <a:gd name="connsiteY11" fmla="*/ 1480 h 8835"/>
                <a:gd name="connsiteX12" fmla="*/ 347 w 9097"/>
                <a:gd name="connsiteY12" fmla="*/ 1598 h 8835"/>
                <a:gd name="connsiteX13" fmla="*/ 243 w 9097"/>
                <a:gd name="connsiteY13" fmla="*/ 1676 h 8835"/>
                <a:gd name="connsiteX14" fmla="*/ 243 w 9097"/>
                <a:gd name="connsiteY14" fmla="*/ 1676 h 8835"/>
                <a:gd name="connsiteX15" fmla="*/ 174 w 9097"/>
                <a:gd name="connsiteY15" fmla="*/ 1752 h 8835"/>
                <a:gd name="connsiteX16" fmla="*/ 174 w 9097"/>
                <a:gd name="connsiteY16" fmla="*/ 1752 h 8835"/>
                <a:gd name="connsiteX17" fmla="*/ 174 w 9097"/>
                <a:gd name="connsiteY17" fmla="*/ 1947 h 8835"/>
                <a:gd name="connsiteX18" fmla="*/ 174 w 9097"/>
                <a:gd name="connsiteY18" fmla="*/ 2142 h 8835"/>
                <a:gd name="connsiteX19" fmla="*/ 104 w 9097"/>
                <a:gd name="connsiteY19" fmla="*/ 2220 h 8835"/>
                <a:gd name="connsiteX20" fmla="*/ 0 w 9097"/>
                <a:gd name="connsiteY20" fmla="*/ 2299 h 8835"/>
                <a:gd name="connsiteX21" fmla="*/ 0 w 9097"/>
                <a:gd name="connsiteY21" fmla="*/ 2413 h 8835"/>
                <a:gd name="connsiteX22" fmla="*/ 0 w 9097"/>
                <a:gd name="connsiteY22" fmla="*/ 2609 h 8835"/>
                <a:gd name="connsiteX23" fmla="*/ 104 w 9097"/>
                <a:gd name="connsiteY23" fmla="*/ 2609 h 8835"/>
                <a:gd name="connsiteX24" fmla="*/ 104 w 9097"/>
                <a:gd name="connsiteY24" fmla="*/ 2609 h 8835"/>
                <a:gd name="connsiteX25" fmla="*/ 347 w 9097"/>
                <a:gd name="connsiteY25" fmla="*/ 2494 h 8835"/>
                <a:gd name="connsiteX26" fmla="*/ 243 w 9097"/>
                <a:gd name="connsiteY26" fmla="*/ 2763 h 8835"/>
                <a:gd name="connsiteX27" fmla="*/ 347 w 9097"/>
                <a:gd name="connsiteY27" fmla="*/ 2960 h 8835"/>
                <a:gd name="connsiteX28" fmla="*/ 486 w 9097"/>
                <a:gd name="connsiteY28" fmla="*/ 3310 h 8835"/>
                <a:gd name="connsiteX29" fmla="*/ 486 w 9097"/>
                <a:gd name="connsiteY29" fmla="*/ 3425 h 8835"/>
                <a:gd name="connsiteX30" fmla="*/ 590 w 9097"/>
                <a:gd name="connsiteY30" fmla="*/ 3425 h 8835"/>
                <a:gd name="connsiteX31" fmla="*/ 590 w 9097"/>
                <a:gd name="connsiteY31" fmla="*/ 3502 h 8835"/>
                <a:gd name="connsiteX32" fmla="*/ 660 w 9097"/>
                <a:gd name="connsiteY32" fmla="*/ 3583 h 8835"/>
                <a:gd name="connsiteX33" fmla="*/ 660 w 9097"/>
                <a:gd name="connsiteY33" fmla="*/ 3699 h 8835"/>
                <a:gd name="connsiteX34" fmla="*/ 486 w 9097"/>
                <a:gd name="connsiteY34" fmla="*/ 3777 h 8835"/>
                <a:gd name="connsiteX35" fmla="*/ 660 w 9097"/>
                <a:gd name="connsiteY35" fmla="*/ 3894 h 8835"/>
                <a:gd name="connsiteX36" fmla="*/ 833 w 9097"/>
                <a:gd name="connsiteY36" fmla="*/ 4165 h 8835"/>
                <a:gd name="connsiteX37" fmla="*/ 1007 w 9097"/>
                <a:gd name="connsiteY37" fmla="*/ 4436 h 8835"/>
                <a:gd name="connsiteX38" fmla="*/ 1076 w 9097"/>
                <a:gd name="connsiteY38" fmla="*/ 4594 h 8835"/>
                <a:gd name="connsiteX39" fmla="*/ 1007 w 9097"/>
                <a:gd name="connsiteY39" fmla="*/ 4787 h 8835"/>
                <a:gd name="connsiteX40" fmla="*/ 1007 w 9097"/>
                <a:gd name="connsiteY40" fmla="*/ 5061 h 8835"/>
                <a:gd name="connsiteX41" fmla="*/ 1007 w 9097"/>
                <a:gd name="connsiteY41" fmla="*/ 5178 h 8835"/>
                <a:gd name="connsiteX42" fmla="*/ 1146 w 9097"/>
                <a:gd name="connsiteY42" fmla="*/ 5334 h 8835"/>
                <a:gd name="connsiteX43" fmla="*/ 1250 w 9097"/>
                <a:gd name="connsiteY43" fmla="*/ 5334 h 8835"/>
                <a:gd name="connsiteX44" fmla="*/ 1389 w 9097"/>
                <a:gd name="connsiteY44" fmla="*/ 5334 h 8835"/>
                <a:gd name="connsiteX45" fmla="*/ 1493 w 9097"/>
                <a:gd name="connsiteY45" fmla="*/ 5527 h 8835"/>
                <a:gd name="connsiteX46" fmla="*/ 1563 w 9097"/>
                <a:gd name="connsiteY46" fmla="*/ 5605 h 8835"/>
                <a:gd name="connsiteX47" fmla="*/ 1806 w 9097"/>
                <a:gd name="connsiteY47" fmla="*/ 5605 h 8835"/>
                <a:gd name="connsiteX48" fmla="*/ 1910 w 9097"/>
                <a:gd name="connsiteY48" fmla="*/ 5723 h 8835"/>
                <a:gd name="connsiteX49" fmla="*/ 1979 w 9097"/>
                <a:gd name="connsiteY49" fmla="*/ 5800 h 8835"/>
                <a:gd name="connsiteX50" fmla="*/ 2049 w 9097"/>
                <a:gd name="connsiteY50" fmla="*/ 5800 h 8835"/>
                <a:gd name="connsiteX51" fmla="*/ 1979 w 9097"/>
                <a:gd name="connsiteY51" fmla="*/ 5994 h 8835"/>
                <a:gd name="connsiteX52" fmla="*/ 2049 w 9097"/>
                <a:gd name="connsiteY52" fmla="*/ 6071 h 8835"/>
                <a:gd name="connsiteX53" fmla="*/ 2292 w 9097"/>
                <a:gd name="connsiteY53" fmla="*/ 6265 h 8835"/>
                <a:gd name="connsiteX54" fmla="*/ 2465 w 9097"/>
                <a:gd name="connsiteY54" fmla="*/ 6460 h 8835"/>
                <a:gd name="connsiteX55" fmla="*/ 2535 w 9097"/>
                <a:gd name="connsiteY55" fmla="*/ 6539 h 8835"/>
                <a:gd name="connsiteX56" fmla="*/ 2708 w 9097"/>
                <a:gd name="connsiteY56" fmla="*/ 6618 h 8835"/>
                <a:gd name="connsiteX57" fmla="*/ 2708 w 9097"/>
                <a:gd name="connsiteY57" fmla="*/ 6735 h 8835"/>
                <a:gd name="connsiteX58" fmla="*/ 2813 w 9097"/>
                <a:gd name="connsiteY58" fmla="*/ 6930 h 8835"/>
                <a:gd name="connsiteX59" fmla="*/ 2882 w 9097"/>
                <a:gd name="connsiteY59" fmla="*/ 7005 h 8835"/>
                <a:gd name="connsiteX60" fmla="*/ 2882 w 9097"/>
                <a:gd name="connsiteY60" fmla="*/ 7084 h 8835"/>
                <a:gd name="connsiteX61" fmla="*/ 2951 w 9097"/>
                <a:gd name="connsiteY61" fmla="*/ 7201 h 8835"/>
                <a:gd name="connsiteX62" fmla="*/ 3299 w 9097"/>
                <a:gd name="connsiteY62" fmla="*/ 7357 h 8835"/>
                <a:gd name="connsiteX63" fmla="*/ 3368 w 9097"/>
                <a:gd name="connsiteY63" fmla="*/ 7551 h 8835"/>
                <a:gd name="connsiteX64" fmla="*/ 3368 w 9097"/>
                <a:gd name="connsiteY64" fmla="*/ 7629 h 8835"/>
                <a:gd name="connsiteX65" fmla="*/ 3438 w 9097"/>
                <a:gd name="connsiteY65" fmla="*/ 7746 h 8835"/>
                <a:gd name="connsiteX66" fmla="*/ 3542 w 9097"/>
                <a:gd name="connsiteY66" fmla="*/ 7822 h 8835"/>
                <a:gd name="connsiteX67" fmla="*/ 3715 w 9097"/>
                <a:gd name="connsiteY67" fmla="*/ 8017 h 8835"/>
                <a:gd name="connsiteX68" fmla="*/ 3715 w 9097"/>
                <a:gd name="connsiteY68" fmla="*/ 8096 h 8835"/>
                <a:gd name="connsiteX69" fmla="*/ 3785 w 9097"/>
                <a:gd name="connsiteY69" fmla="*/ 8213 h 8835"/>
                <a:gd name="connsiteX70" fmla="*/ 4028 w 9097"/>
                <a:gd name="connsiteY70" fmla="*/ 8289 h 8835"/>
                <a:gd name="connsiteX71" fmla="*/ 4097 w 9097"/>
                <a:gd name="connsiteY71" fmla="*/ 8289 h 8835"/>
                <a:gd name="connsiteX72" fmla="*/ 4201 w 9097"/>
                <a:gd name="connsiteY72" fmla="*/ 8213 h 8835"/>
                <a:gd name="connsiteX73" fmla="*/ 4444 w 9097"/>
                <a:gd name="connsiteY73" fmla="*/ 8289 h 8835"/>
                <a:gd name="connsiteX74" fmla="*/ 4618 w 9097"/>
                <a:gd name="connsiteY74" fmla="*/ 8213 h 8835"/>
                <a:gd name="connsiteX75" fmla="*/ 4757 w 9097"/>
                <a:gd name="connsiteY75" fmla="*/ 8096 h 8835"/>
                <a:gd name="connsiteX76" fmla="*/ 4861 w 9097"/>
                <a:gd name="connsiteY76" fmla="*/ 8213 h 8835"/>
                <a:gd name="connsiteX77" fmla="*/ 5174 w 9097"/>
                <a:gd name="connsiteY77" fmla="*/ 8484 h 8835"/>
                <a:gd name="connsiteX78" fmla="*/ 5243 w 9097"/>
                <a:gd name="connsiteY78" fmla="*/ 8641 h 8835"/>
                <a:gd name="connsiteX79" fmla="*/ 5347 w 9097"/>
                <a:gd name="connsiteY79" fmla="*/ 8757 h 8835"/>
                <a:gd name="connsiteX80" fmla="*/ 5417 w 9097"/>
                <a:gd name="connsiteY80" fmla="*/ 8757 h 8835"/>
                <a:gd name="connsiteX81" fmla="*/ 5486 w 9097"/>
                <a:gd name="connsiteY81" fmla="*/ 8757 h 8835"/>
                <a:gd name="connsiteX82" fmla="*/ 5590 w 9097"/>
                <a:gd name="connsiteY82" fmla="*/ 8757 h 8835"/>
                <a:gd name="connsiteX83" fmla="*/ 5764 w 9097"/>
                <a:gd name="connsiteY83" fmla="*/ 8757 h 8835"/>
                <a:gd name="connsiteX84" fmla="*/ 5833 w 9097"/>
                <a:gd name="connsiteY84" fmla="*/ 8757 h 8835"/>
                <a:gd name="connsiteX85" fmla="*/ 6007 w 9097"/>
                <a:gd name="connsiteY85" fmla="*/ 8757 h 8835"/>
                <a:gd name="connsiteX86" fmla="*/ 6076 w 9097"/>
                <a:gd name="connsiteY86" fmla="*/ 8757 h 8835"/>
                <a:gd name="connsiteX87" fmla="*/ 6146 w 9097"/>
                <a:gd name="connsiteY87" fmla="*/ 8835 h 8835"/>
                <a:gd name="connsiteX88" fmla="*/ 6319 w 9097"/>
                <a:gd name="connsiteY88" fmla="*/ 8757 h 8835"/>
                <a:gd name="connsiteX89" fmla="*/ 6493 w 9097"/>
                <a:gd name="connsiteY89" fmla="*/ 8757 h 8835"/>
                <a:gd name="connsiteX90" fmla="*/ 6667 w 9097"/>
                <a:gd name="connsiteY90" fmla="*/ 8641 h 8835"/>
                <a:gd name="connsiteX91" fmla="*/ 6806 w 9097"/>
                <a:gd name="connsiteY91" fmla="*/ 8641 h 8835"/>
                <a:gd name="connsiteX92" fmla="*/ 7049 w 9097"/>
                <a:gd name="connsiteY92" fmla="*/ 8641 h 8835"/>
                <a:gd name="connsiteX93" fmla="*/ 7292 w 9097"/>
                <a:gd name="connsiteY93" fmla="*/ 8484 h 8835"/>
                <a:gd name="connsiteX94" fmla="*/ 7292 w 9097"/>
                <a:gd name="connsiteY94" fmla="*/ 8484 h 8835"/>
                <a:gd name="connsiteX95" fmla="*/ 7292 w 9097"/>
                <a:gd name="connsiteY95" fmla="*/ 8484 h 8835"/>
                <a:gd name="connsiteX96" fmla="*/ 7569 w 9097"/>
                <a:gd name="connsiteY96" fmla="*/ 8213 h 8835"/>
                <a:gd name="connsiteX97" fmla="*/ 7639 w 9097"/>
                <a:gd name="connsiteY97" fmla="*/ 8096 h 8835"/>
                <a:gd name="connsiteX98" fmla="*/ 7813 w 9097"/>
                <a:gd name="connsiteY98" fmla="*/ 8096 h 8835"/>
                <a:gd name="connsiteX99" fmla="*/ 8125 w 9097"/>
                <a:gd name="connsiteY99" fmla="*/ 8213 h 8835"/>
                <a:gd name="connsiteX100" fmla="*/ 8299 w 9097"/>
                <a:gd name="connsiteY100" fmla="*/ 8213 h 8835"/>
                <a:gd name="connsiteX101" fmla="*/ 8472 w 9097"/>
                <a:gd name="connsiteY101" fmla="*/ 8096 h 8835"/>
                <a:gd name="connsiteX102" fmla="*/ 8472 w 9097"/>
                <a:gd name="connsiteY102" fmla="*/ 7822 h 8835"/>
                <a:gd name="connsiteX103" fmla="*/ 8542 w 9097"/>
                <a:gd name="connsiteY103" fmla="*/ 7746 h 8835"/>
                <a:gd name="connsiteX104" fmla="*/ 8472 w 9097"/>
                <a:gd name="connsiteY104" fmla="*/ 7629 h 8835"/>
                <a:gd name="connsiteX105" fmla="*/ 8472 w 9097"/>
                <a:gd name="connsiteY105" fmla="*/ 7551 h 8835"/>
                <a:gd name="connsiteX106" fmla="*/ 8125 w 9097"/>
                <a:gd name="connsiteY106" fmla="*/ 7551 h 8835"/>
                <a:gd name="connsiteX107" fmla="*/ 8056 w 9097"/>
                <a:gd name="connsiteY107" fmla="*/ 7471 h 8835"/>
                <a:gd name="connsiteX108" fmla="*/ 8056 w 9097"/>
                <a:gd name="connsiteY108" fmla="*/ 7357 h 8835"/>
                <a:gd name="connsiteX109" fmla="*/ 7882 w 9097"/>
                <a:gd name="connsiteY109" fmla="*/ 7005 h 8835"/>
                <a:gd name="connsiteX110" fmla="*/ 7882 w 9097"/>
                <a:gd name="connsiteY110" fmla="*/ 6812 h 8835"/>
                <a:gd name="connsiteX111" fmla="*/ 7813 w 9097"/>
                <a:gd name="connsiteY111" fmla="*/ 6735 h 8835"/>
                <a:gd name="connsiteX112" fmla="*/ 7569 w 9097"/>
                <a:gd name="connsiteY112" fmla="*/ 6539 h 8835"/>
                <a:gd name="connsiteX113" fmla="*/ 7465 w 9097"/>
                <a:gd name="connsiteY113" fmla="*/ 6460 h 8835"/>
                <a:gd name="connsiteX114" fmla="*/ 7396 w 9097"/>
                <a:gd name="connsiteY114" fmla="*/ 6346 h 8835"/>
                <a:gd name="connsiteX115" fmla="*/ 7396 w 9097"/>
                <a:gd name="connsiteY115" fmla="*/ 6265 h 8835"/>
                <a:gd name="connsiteX116" fmla="*/ 7292 w 9097"/>
                <a:gd name="connsiteY116" fmla="*/ 6071 h 8835"/>
                <a:gd name="connsiteX117" fmla="*/ 7222 w 9097"/>
                <a:gd name="connsiteY117" fmla="*/ 6071 h 8835"/>
                <a:gd name="connsiteX118" fmla="*/ 7049 w 9097"/>
                <a:gd name="connsiteY118" fmla="*/ 5994 h 8835"/>
                <a:gd name="connsiteX119" fmla="*/ 6979 w 9097"/>
                <a:gd name="connsiteY119" fmla="*/ 5994 h 8835"/>
                <a:gd name="connsiteX120" fmla="*/ 6910 w 9097"/>
                <a:gd name="connsiteY120" fmla="*/ 5994 h 8835"/>
                <a:gd name="connsiteX121" fmla="*/ 6806 w 9097"/>
                <a:gd name="connsiteY121" fmla="*/ 5994 h 8835"/>
                <a:gd name="connsiteX122" fmla="*/ 6736 w 9097"/>
                <a:gd name="connsiteY122" fmla="*/ 5917 h 8835"/>
                <a:gd name="connsiteX123" fmla="*/ 6806 w 9097"/>
                <a:gd name="connsiteY123" fmla="*/ 5800 h 8835"/>
                <a:gd name="connsiteX124" fmla="*/ 6910 w 9097"/>
                <a:gd name="connsiteY124" fmla="*/ 5723 h 8835"/>
                <a:gd name="connsiteX125" fmla="*/ 6910 w 9097"/>
                <a:gd name="connsiteY125" fmla="*/ 5527 h 8835"/>
                <a:gd name="connsiteX126" fmla="*/ 6979 w 9097"/>
                <a:gd name="connsiteY126" fmla="*/ 5527 h 8835"/>
                <a:gd name="connsiteX127" fmla="*/ 7222 w 9097"/>
                <a:gd name="connsiteY127" fmla="*/ 5527 h 8835"/>
                <a:gd name="connsiteX128" fmla="*/ 7396 w 9097"/>
                <a:gd name="connsiteY128" fmla="*/ 5527 h 8835"/>
                <a:gd name="connsiteX129" fmla="*/ 7465 w 9097"/>
                <a:gd name="connsiteY129" fmla="*/ 5448 h 8835"/>
                <a:gd name="connsiteX130" fmla="*/ 7465 w 9097"/>
                <a:gd name="connsiteY130" fmla="*/ 5255 h 8835"/>
                <a:gd name="connsiteX131" fmla="*/ 7465 w 9097"/>
                <a:gd name="connsiteY131" fmla="*/ 4711 h 8835"/>
                <a:gd name="connsiteX132" fmla="*/ 7465 w 9097"/>
                <a:gd name="connsiteY132" fmla="*/ 4516 h 8835"/>
                <a:gd name="connsiteX133" fmla="*/ 7569 w 9097"/>
                <a:gd name="connsiteY133" fmla="*/ 4322 h 8835"/>
                <a:gd name="connsiteX134" fmla="*/ 7465 w 9097"/>
                <a:gd name="connsiteY134" fmla="*/ 4242 h 8835"/>
                <a:gd name="connsiteX135" fmla="*/ 7465 w 9097"/>
                <a:gd name="connsiteY135" fmla="*/ 4165 h 8835"/>
                <a:gd name="connsiteX136" fmla="*/ 7569 w 9097"/>
                <a:gd name="connsiteY136" fmla="*/ 4165 h 8835"/>
                <a:gd name="connsiteX137" fmla="*/ 7569 w 9097"/>
                <a:gd name="connsiteY137" fmla="*/ 4049 h 8835"/>
                <a:gd name="connsiteX138" fmla="*/ 7639 w 9097"/>
                <a:gd name="connsiteY138" fmla="*/ 3894 h 8835"/>
                <a:gd name="connsiteX139" fmla="*/ 7708 w 9097"/>
                <a:gd name="connsiteY139" fmla="*/ 3894 h 8835"/>
                <a:gd name="connsiteX140" fmla="*/ 7882 w 9097"/>
                <a:gd name="connsiteY140" fmla="*/ 3894 h 8835"/>
                <a:gd name="connsiteX141" fmla="*/ 7882 w 9097"/>
                <a:gd name="connsiteY141" fmla="*/ 3777 h 8835"/>
                <a:gd name="connsiteX142" fmla="*/ 7951 w 9097"/>
                <a:gd name="connsiteY142" fmla="*/ 3425 h 8835"/>
                <a:gd name="connsiteX143" fmla="*/ 8056 w 9097"/>
                <a:gd name="connsiteY143" fmla="*/ 3310 h 8835"/>
                <a:gd name="connsiteX144" fmla="*/ 8368 w 9097"/>
                <a:gd name="connsiteY144" fmla="*/ 2687 h 8835"/>
                <a:gd name="connsiteX145" fmla="*/ 8542 w 9097"/>
                <a:gd name="connsiteY145" fmla="*/ 2609 h 8835"/>
                <a:gd name="connsiteX146" fmla="*/ 8611 w 9097"/>
                <a:gd name="connsiteY146" fmla="*/ 2494 h 8835"/>
                <a:gd name="connsiteX147" fmla="*/ 8715 w 9097"/>
                <a:gd name="connsiteY147" fmla="*/ 2413 h 8835"/>
                <a:gd name="connsiteX148" fmla="*/ 8854 w 9097"/>
                <a:gd name="connsiteY148" fmla="*/ 1676 h 8835"/>
                <a:gd name="connsiteX149" fmla="*/ 8854 w 9097"/>
                <a:gd name="connsiteY149" fmla="*/ 1480 h 8835"/>
                <a:gd name="connsiteX150" fmla="*/ 8854 w 9097"/>
                <a:gd name="connsiteY150" fmla="*/ 1285 h 8835"/>
                <a:gd name="connsiteX151" fmla="*/ 8854 w 9097"/>
                <a:gd name="connsiteY151" fmla="*/ 1130 h 8835"/>
                <a:gd name="connsiteX152" fmla="*/ 8854 w 9097"/>
                <a:gd name="connsiteY152" fmla="*/ 860 h 8835"/>
                <a:gd name="connsiteX153" fmla="*/ 8958 w 9097"/>
                <a:gd name="connsiteY153" fmla="*/ 665 h 8835"/>
                <a:gd name="connsiteX154" fmla="*/ 9097 w 9097"/>
                <a:gd name="connsiteY154" fmla="*/ 0 h 8835"/>
                <a:gd name="connsiteX0" fmla="*/ 9847 w 9847"/>
                <a:gd name="connsiteY0" fmla="*/ 223 h 9470"/>
                <a:gd name="connsiteX1" fmla="*/ 1450 w 9847"/>
                <a:gd name="connsiteY1" fmla="*/ 0 h 9470"/>
                <a:gd name="connsiteX2" fmla="*/ 1374 w 9847"/>
                <a:gd name="connsiteY2" fmla="*/ 0 h 9470"/>
                <a:gd name="connsiteX3" fmla="*/ 993 w 9847"/>
                <a:gd name="connsiteY3" fmla="*/ 0 h 9470"/>
                <a:gd name="connsiteX4" fmla="*/ 726 w 9847"/>
                <a:gd name="connsiteY4" fmla="*/ 0 h 9470"/>
                <a:gd name="connsiteX5" fmla="*/ 726 w 9847"/>
                <a:gd name="connsiteY5" fmla="*/ 133 h 9470"/>
                <a:gd name="connsiteX6" fmla="*/ 726 w 9847"/>
                <a:gd name="connsiteY6" fmla="*/ 223 h 9470"/>
                <a:gd name="connsiteX7" fmla="*/ 726 w 9847"/>
                <a:gd name="connsiteY7" fmla="*/ 308 h 9470"/>
                <a:gd name="connsiteX8" fmla="*/ 649 w 9847"/>
                <a:gd name="connsiteY8" fmla="*/ 528 h 9470"/>
                <a:gd name="connsiteX9" fmla="*/ 534 w 9847"/>
                <a:gd name="connsiteY9" fmla="*/ 749 h 9470"/>
                <a:gd name="connsiteX10" fmla="*/ 267 w 9847"/>
                <a:gd name="connsiteY10" fmla="*/ 1053 h 9470"/>
                <a:gd name="connsiteX11" fmla="*/ 267 w 9847"/>
                <a:gd name="connsiteY11" fmla="*/ 1145 h 9470"/>
                <a:gd name="connsiteX12" fmla="*/ 381 w 9847"/>
                <a:gd name="connsiteY12" fmla="*/ 1279 h 9470"/>
                <a:gd name="connsiteX13" fmla="*/ 267 w 9847"/>
                <a:gd name="connsiteY13" fmla="*/ 1367 h 9470"/>
                <a:gd name="connsiteX14" fmla="*/ 267 w 9847"/>
                <a:gd name="connsiteY14" fmla="*/ 1367 h 9470"/>
                <a:gd name="connsiteX15" fmla="*/ 191 w 9847"/>
                <a:gd name="connsiteY15" fmla="*/ 1453 h 9470"/>
                <a:gd name="connsiteX16" fmla="*/ 191 w 9847"/>
                <a:gd name="connsiteY16" fmla="*/ 1453 h 9470"/>
                <a:gd name="connsiteX17" fmla="*/ 191 w 9847"/>
                <a:gd name="connsiteY17" fmla="*/ 1674 h 9470"/>
                <a:gd name="connsiteX18" fmla="*/ 191 w 9847"/>
                <a:gd name="connsiteY18" fmla="*/ 1894 h 9470"/>
                <a:gd name="connsiteX19" fmla="*/ 114 w 9847"/>
                <a:gd name="connsiteY19" fmla="*/ 1983 h 9470"/>
                <a:gd name="connsiteX20" fmla="*/ 0 w 9847"/>
                <a:gd name="connsiteY20" fmla="*/ 2072 h 9470"/>
                <a:gd name="connsiteX21" fmla="*/ 0 w 9847"/>
                <a:gd name="connsiteY21" fmla="*/ 2201 h 9470"/>
                <a:gd name="connsiteX22" fmla="*/ 0 w 9847"/>
                <a:gd name="connsiteY22" fmla="*/ 2423 h 9470"/>
                <a:gd name="connsiteX23" fmla="*/ 114 w 9847"/>
                <a:gd name="connsiteY23" fmla="*/ 2423 h 9470"/>
                <a:gd name="connsiteX24" fmla="*/ 114 w 9847"/>
                <a:gd name="connsiteY24" fmla="*/ 2423 h 9470"/>
                <a:gd name="connsiteX25" fmla="*/ 381 w 9847"/>
                <a:gd name="connsiteY25" fmla="*/ 2293 h 9470"/>
                <a:gd name="connsiteX26" fmla="*/ 267 w 9847"/>
                <a:gd name="connsiteY26" fmla="*/ 2597 h 9470"/>
                <a:gd name="connsiteX27" fmla="*/ 381 w 9847"/>
                <a:gd name="connsiteY27" fmla="*/ 2820 h 9470"/>
                <a:gd name="connsiteX28" fmla="*/ 534 w 9847"/>
                <a:gd name="connsiteY28" fmla="*/ 3216 h 9470"/>
                <a:gd name="connsiteX29" fmla="*/ 534 w 9847"/>
                <a:gd name="connsiteY29" fmla="*/ 3347 h 9470"/>
                <a:gd name="connsiteX30" fmla="*/ 649 w 9847"/>
                <a:gd name="connsiteY30" fmla="*/ 3347 h 9470"/>
                <a:gd name="connsiteX31" fmla="*/ 649 w 9847"/>
                <a:gd name="connsiteY31" fmla="*/ 3434 h 9470"/>
                <a:gd name="connsiteX32" fmla="*/ 726 w 9847"/>
                <a:gd name="connsiteY32" fmla="*/ 3525 h 9470"/>
                <a:gd name="connsiteX33" fmla="*/ 726 w 9847"/>
                <a:gd name="connsiteY33" fmla="*/ 3657 h 9470"/>
                <a:gd name="connsiteX34" fmla="*/ 534 w 9847"/>
                <a:gd name="connsiteY34" fmla="*/ 3745 h 9470"/>
                <a:gd name="connsiteX35" fmla="*/ 726 w 9847"/>
                <a:gd name="connsiteY35" fmla="*/ 3877 h 9470"/>
                <a:gd name="connsiteX36" fmla="*/ 916 w 9847"/>
                <a:gd name="connsiteY36" fmla="*/ 4184 h 9470"/>
                <a:gd name="connsiteX37" fmla="*/ 1107 w 9847"/>
                <a:gd name="connsiteY37" fmla="*/ 4491 h 9470"/>
                <a:gd name="connsiteX38" fmla="*/ 1183 w 9847"/>
                <a:gd name="connsiteY38" fmla="*/ 4670 h 9470"/>
                <a:gd name="connsiteX39" fmla="*/ 1107 w 9847"/>
                <a:gd name="connsiteY39" fmla="*/ 4888 h 9470"/>
                <a:gd name="connsiteX40" fmla="*/ 1107 w 9847"/>
                <a:gd name="connsiteY40" fmla="*/ 5198 h 9470"/>
                <a:gd name="connsiteX41" fmla="*/ 1107 w 9847"/>
                <a:gd name="connsiteY41" fmla="*/ 5331 h 9470"/>
                <a:gd name="connsiteX42" fmla="*/ 1260 w 9847"/>
                <a:gd name="connsiteY42" fmla="*/ 5507 h 9470"/>
                <a:gd name="connsiteX43" fmla="*/ 1374 w 9847"/>
                <a:gd name="connsiteY43" fmla="*/ 5507 h 9470"/>
                <a:gd name="connsiteX44" fmla="*/ 1527 w 9847"/>
                <a:gd name="connsiteY44" fmla="*/ 5507 h 9470"/>
                <a:gd name="connsiteX45" fmla="*/ 1641 w 9847"/>
                <a:gd name="connsiteY45" fmla="*/ 5726 h 9470"/>
                <a:gd name="connsiteX46" fmla="*/ 1718 w 9847"/>
                <a:gd name="connsiteY46" fmla="*/ 5814 h 9470"/>
                <a:gd name="connsiteX47" fmla="*/ 1985 w 9847"/>
                <a:gd name="connsiteY47" fmla="*/ 5814 h 9470"/>
                <a:gd name="connsiteX48" fmla="*/ 2100 w 9847"/>
                <a:gd name="connsiteY48" fmla="*/ 5948 h 9470"/>
                <a:gd name="connsiteX49" fmla="*/ 2175 w 9847"/>
                <a:gd name="connsiteY49" fmla="*/ 6035 h 9470"/>
                <a:gd name="connsiteX50" fmla="*/ 2252 w 9847"/>
                <a:gd name="connsiteY50" fmla="*/ 6035 h 9470"/>
                <a:gd name="connsiteX51" fmla="*/ 2175 w 9847"/>
                <a:gd name="connsiteY51" fmla="*/ 6254 h 9470"/>
                <a:gd name="connsiteX52" fmla="*/ 2252 w 9847"/>
                <a:gd name="connsiteY52" fmla="*/ 6342 h 9470"/>
                <a:gd name="connsiteX53" fmla="*/ 2520 w 9847"/>
                <a:gd name="connsiteY53" fmla="*/ 6561 h 9470"/>
                <a:gd name="connsiteX54" fmla="*/ 2710 w 9847"/>
                <a:gd name="connsiteY54" fmla="*/ 6782 h 9470"/>
                <a:gd name="connsiteX55" fmla="*/ 2787 w 9847"/>
                <a:gd name="connsiteY55" fmla="*/ 6871 h 9470"/>
                <a:gd name="connsiteX56" fmla="*/ 2977 w 9847"/>
                <a:gd name="connsiteY56" fmla="*/ 6961 h 9470"/>
                <a:gd name="connsiteX57" fmla="*/ 2977 w 9847"/>
                <a:gd name="connsiteY57" fmla="*/ 7093 h 9470"/>
                <a:gd name="connsiteX58" fmla="*/ 3092 w 9847"/>
                <a:gd name="connsiteY58" fmla="*/ 7314 h 9470"/>
                <a:gd name="connsiteX59" fmla="*/ 3168 w 9847"/>
                <a:gd name="connsiteY59" fmla="*/ 7399 h 9470"/>
                <a:gd name="connsiteX60" fmla="*/ 3168 w 9847"/>
                <a:gd name="connsiteY60" fmla="*/ 7488 h 9470"/>
                <a:gd name="connsiteX61" fmla="*/ 3244 w 9847"/>
                <a:gd name="connsiteY61" fmla="*/ 7621 h 9470"/>
                <a:gd name="connsiteX62" fmla="*/ 3626 w 9847"/>
                <a:gd name="connsiteY62" fmla="*/ 7797 h 9470"/>
                <a:gd name="connsiteX63" fmla="*/ 3702 w 9847"/>
                <a:gd name="connsiteY63" fmla="*/ 8017 h 9470"/>
                <a:gd name="connsiteX64" fmla="*/ 3702 w 9847"/>
                <a:gd name="connsiteY64" fmla="*/ 8105 h 9470"/>
                <a:gd name="connsiteX65" fmla="*/ 3779 w 9847"/>
                <a:gd name="connsiteY65" fmla="*/ 8237 h 9470"/>
                <a:gd name="connsiteX66" fmla="*/ 3894 w 9847"/>
                <a:gd name="connsiteY66" fmla="*/ 8323 h 9470"/>
                <a:gd name="connsiteX67" fmla="*/ 4084 w 9847"/>
                <a:gd name="connsiteY67" fmla="*/ 8544 h 9470"/>
                <a:gd name="connsiteX68" fmla="*/ 4084 w 9847"/>
                <a:gd name="connsiteY68" fmla="*/ 8634 h 9470"/>
                <a:gd name="connsiteX69" fmla="*/ 4161 w 9847"/>
                <a:gd name="connsiteY69" fmla="*/ 8766 h 9470"/>
                <a:gd name="connsiteX70" fmla="*/ 4428 w 9847"/>
                <a:gd name="connsiteY70" fmla="*/ 8852 h 9470"/>
                <a:gd name="connsiteX71" fmla="*/ 4504 w 9847"/>
                <a:gd name="connsiteY71" fmla="*/ 8852 h 9470"/>
                <a:gd name="connsiteX72" fmla="*/ 4618 w 9847"/>
                <a:gd name="connsiteY72" fmla="*/ 8766 h 9470"/>
                <a:gd name="connsiteX73" fmla="*/ 4885 w 9847"/>
                <a:gd name="connsiteY73" fmla="*/ 8852 h 9470"/>
                <a:gd name="connsiteX74" fmla="*/ 5076 w 9847"/>
                <a:gd name="connsiteY74" fmla="*/ 8766 h 9470"/>
                <a:gd name="connsiteX75" fmla="*/ 5229 w 9847"/>
                <a:gd name="connsiteY75" fmla="*/ 8634 h 9470"/>
                <a:gd name="connsiteX76" fmla="*/ 5344 w 9847"/>
                <a:gd name="connsiteY76" fmla="*/ 8766 h 9470"/>
                <a:gd name="connsiteX77" fmla="*/ 5688 w 9847"/>
                <a:gd name="connsiteY77" fmla="*/ 9073 h 9470"/>
                <a:gd name="connsiteX78" fmla="*/ 5763 w 9847"/>
                <a:gd name="connsiteY78" fmla="*/ 9250 h 9470"/>
                <a:gd name="connsiteX79" fmla="*/ 5878 w 9847"/>
                <a:gd name="connsiteY79" fmla="*/ 9382 h 9470"/>
                <a:gd name="connsiteX80" fmla="*/ 5955 w 9847"/>
                <a:gd name="connsiteY80" fmla="*/ 9382 h 9470"/>
                <a:gd name="connsiteX81" fmla="*/ 6031 w 9847"/>
                <a:gd name="connsiteY81" fmla="*/ 9382 h 9470"/>
                <a:gd name="connsiteX82" fmla="*/ 6145 w 9847"/>
                <a:gd name="connsiteY82" fmla="*/ 9382 h 9470"/>
                <a:gd name="connsiteX83" fmla="*/ 6336 w 9847"/>
                <a:gd name="connsiteY83" fmla="*/ 9382 h 9470"/>
                <a:gd name="connsiteX84" fmla="*/ 6412 w 9847"/>
                <a:gd name="connsiteY84" fmla="*/ 9382 h 9470"/>
                <a:gd name="connsiteX85" fmla="*/ 6603 w 9847"/>
                <a:gd name="connsiteY85" fmla="*/ 9382 h 9470"/>
                <a:gd name="connsiteX86" fmla="*/ 6679 w 9847"/>
                <a:gd name="connsiteY86" fmla="*/ 9382 h 9470"/>
                <a:gd name="connsiteX87" fmla="*/ 6756 w 9847"/>
                <a:gd name="connsiteY87" fmla="*/ 9470 h 9470"/>
                <a:gd name="connsiteX88" fmla="*/ 6946 w 9847"/>
                <a:gd name="connsiteY88" fmla="*/ 9382 h 9470"/>
                <a:gd name="connsiteX89" fmla="*/ 7138 w 9847"/>
                <a:gd name="connsiteY89" fmla="*/ 9382 h 9470"/>
                <a:gd name="connsiteX90" fmla="*/ 7329 w 9847"/>
                <a:gd name="connsiteY90" fmla="*/ 9250 h 9470"/>
                <a:gd name="connsiteX91" fmla="*/ 7482 w 9847"/>
                <a:gd name="connsiteY91" fmla="*/ 9250 h 9470"/>
                <a:gd name="connsiteX92" fmla="*/ 7749 w 9847"/>
                <a:gd name="connsiteY92" fmla="*/ 9250 h 9470"/>
                <a:gd name="connsiteX93" fmla="*/ 8016 w 9847"/>
                <a:gd name="connsiteY93" fmla="*/ 9073 h 9470"/>
                <a:gd name="connsiteX94" fmla="*/ 8016 w 9847"/>
                <a:gd name="connsiteY94" fmla="*/ 9073 h 9470"/>
                <a:gd name="connsiteX95" fmla="*/ 8016 w 9847"/>
                <a:gd name="connsiteY95" fmla="*/ 9073 h 9470"/>
                <a:gd name="connsiteX96" fmla="*/ 8320 w 9847"/>
                <a:gd name="connsiteY96" fmla="*/ 8766 h 9470"/>
                <a:gd name="connsiteX97" fmla="*/ 8397 w 9847"/>
                <a:gd name="connsiteY97" fmla="*/ 8634 h 9470"/>
                <a:gd name="connsiteX98" fmla="*/ 8589 w 9847"/>
                <a:gd name="connsiteY98" fmla="*/ 8634 h 9470"/>
                <a:gd name="connsiteX99" fmla="*/ 8932 w 9847"/>
                <a:gd name="connsiteY99" fmla="*/ 8766 h 9470"/>
                <a:gd name="connsiteX100" fmla="*/ 9123 w 9847"/>
                <a:gd name="connsiteY100" fmla="*/ 8766 h 9470"/>
                <a:gd name="connsiteX101" fmla="*/ 9313 w 9847"/>
                <a:gd name="connsiteY101" fmla="*/ 8634 h 9470"/>
                <a:gd name="connsiteX102" fmla="*/ 9313 w 9847"/>
                <a:gd name="connsiteY102" fmla="*/ 8323 h 9470"/>
                <a:gd name="connsiteX103" fmla="*/ 9390 w 9847"/>
                <a:gd name="connsiteY103" fmla="*/ 8237 h 9470"/>
                <a:gd name="connsiteX104" fmla="*/ 9313 w 9847"/>
                <a:gd name="connsiteY104" fmla="*/ 8105 h 9470"/>
                <a:gd name="connsiteX105" fmla="*/ 9313 w 9847"/>
                <a:gd name="connsiteY105" fmla="*/ 8017 h 9470"/>
                <a:gd name="connsiteX106" fmla="*/ 8932 w 9847"/>
                <a:gd name="connsiteY106" fmla="*/ 8017 h 9470"/>
                <a:gd name="connsiteX107" fmla="*/ 8856 w 9847"/>
                <a:gd name="connsiteY107" fmla="*/ 7926 h 9470"/>
                <a:gd name="connsiteX108" fmla="*/ 8856 w 9847"/>
                <a:gd name="connsiteY108" fmla="*/ 7797 h 9470"/>
                <a:gd name="connsiteX109" fmla="*/ 8664 w 9847"/>
                <a:gd name="connsiteY109" fmla="*/ 7399 h 9470"/>
                <a:gd name="connsiteX110" fmla="*/ 8664 w 9847"/>
                <a:gd name="connsiteY110" fmla="*/ 7180 h 9470"/>
                <a:gd name="connsiteX111" fmla="*/ 8589 w 9847"/>
                <a:gd name="connsiteY111" fmla="*/ 7093 h 9470"/>
                <a:gd name="connsiteX112" fmla="*/ 8320 w 9847"/>
                <a:gd name="connsiteY112" fmla="*/ 6871 h 9470"/>
                <a:gd name="connsiteX113" fmla="*/ 8206 w 9847"/>
                <a:gd name="connsiteY113" fmla="*/ 6782 h 9470"/>
                <a:gd name="connsiteX114" fmla="*/ 8130 w 9847"/>
                <a:gd name="connsiteY114" fmla="*/ 6653 h 9470"/>
                <a:gd name="connsiteX115" fmla="*/ 8130 w 9847"/>
                <a:gd name="connsiteY115" fmla="*/ 6561 h 9470"/>
                <a:gd name="connsiteX116" fmla="*/ 8016 w 9847"/>
                <a:gd name="connsiteY116" fmla="*/ 6342 h 9470"/>
                <a:gd name="connsiteX117" fmla="*/ 7939 w 9847"/>
                <a:gd name="connsiteY117" fmla="*/ 6342 h 9470"/>
                <a:gd name="connsiteX118" fmla="*/ 7749 w 9847"/>
                <a:gd name="connsiteY118" fmla="*/ 6254 h 9470"/>
                <a:gd name="connsiteX119" fmla="*/ 7672 w 9847"/>
                <a:gd name="connsiteY119" fmla="*/ 6254 h 9470"/>
                <a:gd name="connsiteX120" fmla="*/ 7596 w 9847"/>
                <a:gd name="connsiteY120" fmla="*/ 6254 h 9470"/>
                <a:gd name="connsiteX121" fmla="*/ 7482 w 9847"/>
                <a:gd name="connsiteY121" fmla="*/ 6254 h 9470"/>
                <a:gd name="connsiteX122" fmla="*/ 7405 w 9847"/>
                <a:gd name="connsiteY122" fmla="*/ 6167 h 9470"/>
                <a:gd name="connsiteX123" fmla="*/ 7482 w 9847"/>
                <a:gd name="connsiteY123" fmla="*/ 6035 h 9470"/>
                <a:gd name="connsiteX124" fmla="*/ 7596 w 9847"/>
                <a:gd name="connsiteY124" fmla="*/ 5948 h 9470"/>
                <a:gd name="connsiteX125" fmla="*/ 7596 w 9847"/>
                <a:gd name="connsiteY125" fmla="*/ 5726 h 9470"/>
                <a:gd name="connsiteX126" fmla="*/ 7672 w 9847"/>
                <a:gd name="connsiteY126" fmla="*/ 5726 h 9470"/>
                <a:gd name="connsiteX127" fmla="*/ 7939 w 9847"/>
                <a:gd name="connsiteY127" fmla="*/ 5726 h 9470"/>
                <a:gd name="connsiteX128" fmla="*/ 8130 w 9847"/>
                <a:gd name="connsiteY128" fmla="*/ 5726 h 9470"/>
                <a:gd name="connsiteX129" fmla="*/ 8206 w 9847"/>
                <a:gd name="connsiteY129" fmla="*/ 5636 h 9470"/>
                <a:gd name="connsiteX130" fmla="*/ 8206 w 9847"/>
                <a:gd name="connsiteY130" fmla="*/ 5418 h 9470"/>
                <a:gd name="connsiteX131" fmla="*/ 8206 w 9847"/>
                <a:gd name="connsiteY131" fmla="*/ 4802 h 9470"/>
                <a:gd name="connsiteX132" fmla="*/ 8206 w 9847"/>
                <a:gd name="connsiteY132" fmla="*/ 4581 h 9470"/>
                <a:gd name="connsiteX133" fmla="*/ 8320 w 9847"/>
                <a:gd name="connsiteY133" fmla="*/ 4362 h 9470"/>
                <a:gd name="connsiteX134" fmla="*/ 8206 w 9847"/>
                <a:gd name="connsiteY134" fmla="*/ 4271 h 9470"/>
                <a:gd name="connsiteX135" fmla="*/ 8206 w 9847"/>
                <a:gd name="connsiteY135" fmla="*/ 4184 h 9470"/>
                <a:gd name="connsiteX136" fmla="*/ 8320 w 9847"/>
                <a:gd name="connsiteY136" fmla="*/ 4184 h 9470"/>
                <a:gd name="connsiteX137" fmla="*/ 8320 w 9847"/>
                <a:gd name="connsiteY137" fmla="*/ 4053 h 9470"/>
                <a:gd name="connsiteX138" fmla="*/ 8397 w 9847"/>
                <a:gd name="connsiteY138" fmla="*/ 3877 h 9470"/>
                <a:gd name="connsiteX139" fmla="*/ 8473 w 9847"/>
                <a:gd name="connsiteY139" fmla="*/ 3877 h 9470"/>
                <a:gd name="connsiteX140" fmla="*/ 8664 w 9847"/>
                <a:gd name="connsiteY140" fmla="*/ 3877 h 9470"/>
                <a:gd name="connsiteX141" fmla="*/ 8664 w 9847"/>
                <a:gd name="connsiteY141" fmla="*/ 3745 h 9470"/>
                <a:gd name="connsiteX142" fmla="*/ 8740 w 9847"/>
                <a:gd name="connsiteY142" fmla="*/ 3347 h 9470"/>
                <a:gd name="connsiteX143" fmla="*/ 8856 w 9847"/>
                <a:gd name="connsiteY143" fmla="*/ 3216 h 9470"/>
                <a:gd name="connsiteX144" fmla="*/ 9199 w 9847"/>
                <a:gd name="connsiteY144" fmla="*/ 2511 h 9470"/>
                <a:gd name="connsiteX145" fmla="*/ 9390 w 9847"/>
                <a:gd name="connsiteY145" fmla="*/ 2423 h 9470"/>
                <a:gd name="connsiteX146" fmla="*/ 9466 w 9847"/>
                <a:gd name="connsiteY146" fmla="*/ 2293 h 9470"/>
                <a:gd name="connsiteX147" fmla="*/ 9580 w 9847"/>
                <a:gd name="connsiteY147" fmla="*/ 2201 h 9470"/>
                <a:gd name="connsiteX148" fmla="*/ 9733 w 9847"/>
                <a:gd name="connsiteY148" fmla="*/ 1367 h 9470"/>
                <a:gd name="connsiteX149" fmla="*/ 9733 w 9847"/>
                <a:gd name="connsiteY149" fmla="*/ 1145 h 9470"/>
                <a:gd name="connsiteX150" fmla="*/ 9733 w 9847"/>
                <a:gd name="connsiteY150" fmla="*/ 924 h 9470"/>
                <a:gd name="connsiteX151" fmla="*/ 9733 w 9847"/>
                <a:gd name="connsiteY151" fmla="*/ 749 h 9470"/>
                <a:gd name="connsiteX152" fmla="*/ 9733 w 9847"/>
                <a:gd name="connsiteY152" fmla="*/ 443 h 9470"/>
                <a:gd name="connsiteX153" fmla="*/ 9847 w 9847"/>
                <a:gd name="connsiteY153" fmla="*/ 223 h 9470"/>
                <a:gd name="connsiteX0" fmla="*/ 9884 w 9884"/>
                <a:gd name="connsiteY0" fmla="*/ 468 h 10000"/>
                <a:gd name="connsiteX1" fmla="*/ 1473 w 9884"/>
                <a:gd name="connsiteY1" fmla="*/ 0 h 10000"/>
                <a:gd name="connsiteX2" fmla="*/ 1395 w 9884"/>
                <a:gd name="connsiteY2" fmla="*/ 0 h 10000"/>
                <a:gd name="connsiteX3" fmla="*/ 1008 w 9884"/>
                <a:gd name="connsiteY3" fmla="*/ 0 h 10000"/>
                <a:gd name="connsiteX4" fmla="*/ 737 w 9884"/>
                <a:gd name="connsiteY4" fmla="*/ 0 h 10000"/>
                <a:gd name="connsiteX5" fmla="*/ 737 w 9884"/>
                <a:gd name="connsiteY5" fmla="*/ 140 h 10000"/>
                <a:gd name="connsiteX6" fmla="*/ 737 w 9884"/>
                <a:gd name="connsiteY6" fmla="*/ 235 h 10000"/>
                <a:gd name="connsiteX7" fmla="*/ 737 w 9884"/>
                <a:gd name="connsiteY7" fmla="*/ 325 h 10000"/>
                <a:gd name="connsiteX8" fmla="*/ 659 w 9884"/>
                <a:gd name="connsiteY8" fmla="*/ 558 h 10000"/>
                <a:gd name="connsiteX9" fmla="*/ 542 w 9884"/>
                <a:gd name="connsiteY9" fmla="*/ 791 h 10000"/>
                <a:gd name="connsiteX10" fmla="*/ 271 w 9884"/>
                <a:gd name="connsiteY10" fmla="*/ 1112 h 10000"/>
                <a:gd name="connsiteX11" fmla="*/ 271 w 9884"/>
                <a:gd name="connsiteY11" fmla="*/ 1209 h 10000"/>
                <a:gd name="connsiteX12" fmla="*/ 387 w 9884"/>
                <a:gd name="connsiteY12" fmla="*/ 1351 h 10000"/>
                <a:gd name="connsiteX13" fmla="*/ 271 w 9884"/>
                <a:gd name="connsiteY13" fmla="*/ 1444 h 10000"/>
                <a:gd name="connsiteX14" fmla="*/ 271 w 9884"/>
                <a:gd name="connsiteY14" fmla="*/ 1444 h 10000"/>
                <a:gd name="connsiteX15" fmla="*/ 194 w 9884"/>
                <a:gd name="connsiteY15" fmla="*/ 1534 h 10000"/>
                <a:gd name="connsiteX16" fmla="*/ 194 w 9884"/>
                <a:gd name="connsiteY16" fmla="*/ 1534 h 10000"/>
                <a:gd name="connsiteX17" fmla="*/ 194 w 9884"/>
                <a:gd name="connsiteY17" fmla="*/ 1768 h 10000"/>
                <a:gd name="connsiteX18" fmla="*/ 194 w 9884"/>
                <a:gd name="connsiteY18" fmla="*/ 2000 h 10000"/>
                <a:gd name="connsiteX19" fmla="*/ 116 w 9884"/>
                <a:gd name="connsiteY19" fmla="*/ 2094 h 10000"/>
                <a:gd name="connsiteX20" fmla="*/ 0 w 9884"/>
                <a:gd name="connsiteY20" fmla="*/ 2188 h 10000"/>
                <a:gd name="connsiteX21" fmla="*/ 0 w 9884"/>
                <a:gd name="connsiteY21" fmla="*/ 2324 h 10000"/>
                <a:gd name="connsiteX22" fmla="*/ 0 w 9884"/>
                <a:gd name="connsiteY22" fmla="*/ 2559 h 10000"/>
                <a:gd name="connsiteX23" fmla="*/ 116 w 9884"/>
                <a:gd name="connsiteY23" fmla="*/ 2559 h 10000"/>
                <a:gd name="connsiteX24" fmla="*/ 116 w 9884"/>
                <a:gd name="connsiteY24" fmla="*/ 2559 h 10000"/>
                <a:gd name="connsiteX25" fmla="*/ 387 w 9884"/>
                <a:gd name="connsiteY25" fmla="*/ 2421 h 10000"/>
                <a:gd name="connsiteX26" fmla="*/ 271 w 9884"/>
                <a:gd name="connsiteY26" fmla="*/ 2742 h 10000"/>
                <a:gd name="connsiteX27" fmla="*/ 387 w 9884"/>
                <a:gd name="connsiteY27" fmla="*/ 2978 h 10000"/>
                <a:gd name="connsiteX28" fmla="*/ 542 w 9884"/>
                <a:gd name="connsiteY28" fmla="*/ 3396 h 10000"/>
                <a:gd name="connsiteX29" fmla="*/ 542 w 9884"/>
                <a:gd name="connsiteY29" fmla="*/ 3534 h 10000"/>
                <a:gd name="connsiteX30" fmla="*/ 659 w 9884"/>
                <a:gd name="connsiteY30" fmla="*/ 3534 h 10000"/>
                <a:gd name="connsiteX31" fmla="*/ 659 w 9884"/>
                <a:gd name="connsiteY31" fmla="*/ 3626 h 10000"/>
                <a:gd name="connsiteX32" fmla="*/ 737 w 9884"/>
                <a:gd name="connsiteY32" fmla="*/ 3722 h 10000"/>
                <a:gd name="connsiteX33" fmla="*/ 737 w 9884"/>
                <a:gd name="connsiteY33" fmla="*/ 3862 h 10000"/>
                <a:gd name="connsiteX34" fmla="*/ 542 w 9884"/>
                <a:gd name="connsiteY34" fmla="*/ 3955 h 10000"/>
                <a:gd name="connsiteX35" fmla="*/ 737 w 9884"/>
                <a:gd name="connsiteY35" fmla="*/ 4094 h 10000"/>
                <a:gd name="connsiteX36" fmla="*/ 930 w 9884"/>
                <a:gd name="connsiteY36" fmla="*/ 4418 h 10000"/>
                <a:gd name="connsiteX37" fmla="*/ 1124 w 9884"/>
                <a:gd name="connsiteY37" fmla="*/ 4742 h 10000"/>
                <a:gd name="connsiteX38" fmla="*/ 1201 w 9884"/>
                <a:gd name="connsiteY38" fmla="*/ 4931 h 10000"/>
                <a:gd name="connsiteX39" fmla="*/ 1124 w 9884"/>
                <a:gd name="connsiteY39" fmla="*/ 5162 h 10000"/>
                <a:gd name="connsiteX40" fmla="*/ 1124 w 9884"/>
                <a:gd name="connsiteY40" fmla="*/ 5489 h 10000"/>
                <a:gd name="connsiteX41" fmla="*/ 1124 w 9884"/>
                <a:gd name="connsiteY41" fmla="*/ 5629 h 10000"/>
                <a:gd name="connsiteX42" fmla="*/ 1280 w 9884"/>
                <a:gd name="connsiteY42" fmla="*/ 5815 h 10000"/>
                <a:gd name="connsiteX43" fmla="*/ 1395 w 9884"/>
                <a:gd name="connsiteY43" fmla="*/ 5815 h 10000"/>
                <a:gd name="connsiteX44" fmla="*/ 1551 w 9884"/>
                <a:gd name="connsiteY44" fmla="*/ 5815 h 10000"/>
                <a:gd name="connsiteX45" fmla="*/ 1666 w 9884"/>
                <a:gd name="connsiteY45" fmla="*/ 6046 h 10000"/>
                <a:gd name="connsiteX46" fmla="*/ 1745 w 9884"/>
                <a:gd name="connsiteY46" fmla="*/ 6139 h 10000"/>
                <a:gd name="connsiteX47" fmla="*/ 2016 w 9884"/>
                <a:gd name="connsiteY47" fmla="*/ 6139 h 10000"/>
                <a:gd name="connsiteX48" fmla="*/ 2133 w 9884"/>
                <a:gd name="connsiteY48" fmla="*/ 6281 h 10000"/>
                <a:gd name="connsiteX49" fmla="*/ 2209 w 9884"/>
                <a:gd name="connsiteY49" fmla="*/ 6373 h 10000"/>
                <a:gd name="connsiteX50" fmla="*/ 2287 w 9884"/>
                <a:gd name="connsiteY50" fmla="*/ 6373 h 10000"/>
                <a:gd name="connsiteX51" fmla="*/ 2209 w 9884"/>
                <a:gd name="connsiteY51" fmla="*/ 6604 h 10000"/>
                <a:gd name="connsiteX52" fmla="*/ 2287 w 9884"/>
                <a:gd name="connsiteY52" fmla="*/ 6697 h 10000"/>
                <a:gd name="connsiteX53" fmla="*/ 2559 w 9884"/>
                <a:gd name="connsiteY53" fmla="*/ 6928 h 10000"/>
                <a:gd name="connsiteX54" fmla="*/ 2752 w 9884"/>
                <a:gd name="connsiteY54" fmla="*/ 7162 h 10000"/>
                <a:gd name="connsiteX55" fmla="*/ 2830 w 9884"/>
                <a:gd name="connsiteY55" fmla="*/ 7256 h 10000"/>
                <a:gd name="connsiteX56" fmla="*/ 3023 w 9884"/>
                <a:gd name="connsiteY56" fmla="*/ 7351 h 10000"/>
                <a:gd name="connsiteX57" fmla="*/ 3023 w 9884"/>
                <a:gd name="connsiteY57" fmla="*/ 7490 h 10000"/>
                <a:gd name="connsiteX58" fmla="*/ 3140 w 9884"/>
                <a:gd name="connsiteY58" fmla="*/ 7723 h 10000"/>
                <a:gd name="connsiteX59" fmla="*/ 3217 w 9884"/>
                <a:gd name="connsiteY59" fmla="*/ 7813 h 10000"/>
                <a:gd name="connsiteX60" fmla="*/ 3217 w 9884"/>
                <a:gd name="connsiteY60" fmla="*/ 7907 h 10000"/>
                <a:gd name="connsiteX61" fmla="*/ 3294 w 9884"/>
                <a:gd name="connsiteY61" fmla="*/ 8048 h 10000"/>
                <a:gd name="connsiteX62" fmla="*/ 3682 w 9884"/>
                <a:gd name="connsiteY62" fmla="*/ 8233 h 10000"/>
                <a:gd name="connsiteX63" fmla="*/ 3760 w 9884"/>
                <a:gd name="connsiteY63" fmla="*/ 8466 h 10000"/>
                <a:gd name="connsiteX64" fmla="*/ 3760 w 9884"/>
                <a:gd name="connsiteY64" fmla="*/ 8559 h 10000"/>
                <a:gd name="connsiteX65" fmla="*/ 3838 w 9884"/>
                <a:gd name="connsiteY65" fmla="*/ 8698 h 10000"/>
                <a:gd name="connsiteX66" fmla="*/ 3955 w 9884"/>
                <a:gd name="connsiteY66" fmla="*/ 8789 h 10000"/>
                <a:gd name="connsiteX67" fmla="*/ 4147 w 9884"/>
                <a:gd name="connsiteY67" fmla="*/ 9022 h 10000"/>
                <a:gd name="connsiteX68" fmla="*/ 4147 w 9884"/>
                <a:gd name="connsiteY68" fmla="*/ 9117 h 10000"/>
                <a:gd name="connsiteX69" fmla="*/ 4226 w 9884"/>
                <a:gd name="connsiteY69" fmla="*/ 9257 h 10000"/>
                <a:gd name="connsiteX70" fmla="*/ 4497 w 9884"/>
                <a:gd name="connsiteY70" fmla="*/ 9347 h 10000"/>
                <a:gd name="connsiteX71" fmla="*/ 4574 w 9884"/>
                <a:gd name="connsiteY71" fmla="*/ 9347 h 10000"/>
                <a:gd name="connsiteX72" fmla="*/ 4690 w 9884"/>
                <a:gd name="connsiteY72" fmla="*/ 9257 h 10000"/>
                <a:gd name="connsiteX73" fmla="*/ 4961 w 9884"/>
                <a:gd name="connsiteY73" fmla="*/ 9347 h 10000"/>
                <a:gd name="connsiteX74" fmla="*/ 5155 w 9884"/>
                <a:gd name="connsiteY74" fmla="*/ 9257 h 10000"/>
                <a:gd name="connsiteX75" fmla="*/ 5310 w 9884"/>
                <a:gd name="connsiteY75" fmla="*/ 9117 h 10000"/>
                <a:gd name="connsiteX76" fmla="*/ 5427 w 9884"/>
                <a:gd name="connsiteY76" fmla="*/ 9257 h 10000"/>
                <a:gd name="connsiteX77" fmla="*/ 5776 w 9884"/>
                <a:gd name="connsiteY77" fmla="*/ 9581 h 10000"/>
                <a:gd name="connsiteX78" fmla="*/ 5853 w 9884"/>
                <a:gd name="connsiteY78" fmla="*/ 9768 h 10000"/>
                <a:gd name="connsiteX79" fmla="*/ 5969 w 9884"/>
                <a:gd name="connsiteY79" fmla="*/ 9907 h 10000"/>
                <a:gd name="connsiteX80" fmla="*/ 6048 w 9884"/>
                <a:gd name="connsiteY80" fmla="*/ 9907 h 10000"/>
                <a:gd name="connsiteX81" fmla="*/ 6125 w 9884"/>
                <a:gd name="connsiteY81" fmla="*/ 9907 h 10000"/>
                <a:gd name="connsiteX82" fmla="*/ 6240 w 9884"/>
                <a:gd name="connsiteY82" fmla="*/ 9907 h 10000"/>
                <a:gd name="connsiteX83" fmla="*/ 6434 w 9884"/>
                <a:gd name="connsiteY83" fmla="*/ 9907 h 10000"/>
                <a:gd name="connsiteX84" fmla="*/ 6512 w 9884"/>
                <a:gd name="connsiteY84" fmla="*/ 9907 h 10000"/>
                <a:gd name="connsiteX85" fmla="*/ 6706 w 9884"/>
                <a:gd name="connsiteY85" fmla="*/ 9907 h 10000"/>
                <a:gd name="connsiteX86" fmla="*/ 6783 w 9884"/>
                <a:gd name="connsiteY86" fmla="*/ 9907 h 10000"/>
                <a:gd name="connsiteX87" fmla="*/ 6861 w 9884"/>
                <a:gd name="connsiteY87" fmla="*/ 10000 h 10000"/>
                <a:gd name="connsiteX88" fmla="*/ 7054 w 9884"/>
                <a:gd name="connsiteY88" fmla="*/ 9907 h 10000"/>
                <a:gd name="connsiteX89" fmla="*/ 7249 w 9884"/>
                <a:gd name="connsiteY89" fmla="*/ 9907 h 10000"/>
                <a:gd name="connsiteX90" fmla="*/ 7443 w 9884"/>
                <a:gd name="connsiteY90" fmla="*/ 9768 h 10000"/>
                <a:gd name="connsiteX91" fmla="*/ 7598 w 9884"/>
                <a:gd name="connsiteY91" fmla="*/ 9768 h 10000"/>
                <a:gd name="connsiteX92" fmla="*/ 7869 w 9884"/>
                <a:gd name="connsiteY92" fmla="*/ 9768 h 10000"/>
                <a:gd name="connsiteX93" fmla="*/ 8141 w 9884"/>
                <a:gd name="connsiteY93" fmla="*/ 9581 h 10000"/>
                <a:gd name="connsiteX94" fmla="*/ 8141 w 9884"/>
                <a:gd name="connsiteY94" fmla="*/ 9581 h 10000"/>
                <a:gd name="connsiteX95" fmla="*/ 8141 w 9884"/>
                <a:gd name="connsiteY95" fmla="*/ 9581 h 10000"/>
                <a:gd name="connsiteX96" fmla="*/ 8449 w 9884"/>
                <a:gd name="connsiteY96" fmla="*/ 9257 h 10000"/>
                <a:gd name="connsiteX97" fmla="*/ 8527 w 9884"/>
                <a:gd name="connsiteY97" fmla="*/ 9117 h 10000"/>
                <a:gd name="connsiteX98" fmla="*/ 8722 w 9884"/>
                <a:gd name="connsiteY98" fmla="*/ 9117 h 10000"/>
                <a:gd name="connsiteX99" fmla="*/ 9071 w 9884"/>
                <a:gd name="connsiteY99" fmla="*/ 9257 h 10000"/>
                <a:gd name="connsiteX100" fmla="*/ 9265 w 9884"/>
                <a:gd name="connsiteY100" fmla="*/ 9257 h 10000"/>
                <a:gd name="connsiteX101" fmla="*/ 9458 w 9884"/>
                <a:gd name="connsiteY101" fmla="*/ 9117 h 10000"/>
                <a:gd name="connsiteX102" fmla="*/ 9458 w 9884"/>
                <a:gd name="connsiteY102" fmla="*/ 8789 h 10000"/>
                <a:gd name="connsiteX103" fmla="*/ 9536 w 9884"/>
                <a:gd name="connsiteY103" fmla="*/ 8698 h 10000"/>
                <a:gd name="connsiteX104" fmla="*/ 9458 w 9884"/>
                <a:gd name="connsiteY104" fmla="*/ 8559 h 10000"/>
                <a:gd name="connsiteX105" fmla="*/ 9458 w 9884"/>
                <a:gd name="connsiteY105" fmla="*/ 8466 h 10000"/>
                <a:gd name="connsiteX106" fmla="*/ 9071 w 9884"/>
                <a:gd name="connsiteY106" fmla="*/ 8466 h 10000"/>
                <a:gd name="connsiteX107" fmla="*/ 8994 w 9884"/>
                <a:gd name="connsiteY107" fmla="*/ 8370 h 10000"/>
                <a:gd name="connsiteX108" fmla="*/ 8994 w 9884"/>
                <a:gd name="connsiteY108" fmla="*/ 8233 h 10000"/>
                <a:gd name="connsiteX109" fmla="*/ 8799 w 9884"/>
                <a:gd name="connsiteY109" fmla="*/ 7813 h 10000"/>
                <a:gd name="connsiteX110" fmla="*/ 8799 w 9884"/>
                <a:gd name="connsiteY110" fmla="*/ 7582 h 10000"/>
                <a:gd name="connsiteX111" fmla="*/ 8722 w 9884"/>
                <a:gd name="connsiteY111" fmla="*/ 7490 h 10000"/>
                <a:gd name="connsiteX112" fmla="*/ 8449 w 9884"/>
                <a:gd name="connsiteY112" fmla="*/ 7256 h 10000"/>
                <a:gd name="connsiteX113" fmla="*/ 8334 w 9884"/>
                <a:gd name="connsiteY113" fmla="*/ 7162 h 10000"/>
                <a:gd name="connsiteX114" fmla="*/ 8256 w 9884"/>
                <a:gd name="connsiteY114" fmla="*/ 7025 h 10000"/>
                <a:gd name="connsiteX115" fmla="*/ 8256 w 9884"/>
                <a:gd name="connsiteY115" fmla="*/ 6928 h 10000"/>
                <a:gd name="connsiteX116" fmla="*/ 8141 w 9884"/>
                <a:gd name="connsiteY116" fmla="*/ 6697 h 10000"/>
                <a:gd name="connsiteX117" fmla="*/ 8062 w 9884"/>
                <a:gd name="connsiteY117" fmla="*/ 6697 h 10000"/>
                <a:gd name="connsiteX118" fmla="*/ 7869 w 9884"/>
                <a:gd name="connsiteY118" fmla="*/ 6604 h 10000"/>
                <a:gd name="connsiteX119" fmla="*/ 7791 w 9884"/>
                <a:gd name="connsiteY119" fmla="*/ 6604 h 10000"/>
                <a:gd name="connsiteX120" fmla="*/ 7714 w 9884"/>
                <a:gd name="connsiteY120" fmla="*/ 6604 h 10000"/>
                <a:gd name="connsiteX121" fmla="*/ 7598 w 9884"/>
                <a:gd name="connsiteY121" fmla="*/ 6604 h 10000"/>
                <a:gd name="connsiteX122" fmla="*/ 7520 w 9884"/>
                <a:gd name="connsiteY122" fmla="*/ 6512 h 10000"/>
                <a:gd name="connsiteX123" fmla="*/ 7598 w 9884"/>
                <a:gd name="connsiteY123" fmla="*/ 6373 h 10000"/>
                <a:gd name="connsiteX124" fmla="*/ 7714 w 9884"/>
                <a:gd name="connsiteY124" fmla="*/ 6281 h 10000"/>
                <a:gd name="connsiteX125" fmla="*/ 7714 w 9884"/>
                <a:gd name="connsiteY125" fmla="*/ 6046 h 10000"/>
                <a:gd name="connsiteX126" fmla="*/ 7791 w 9884"/>
                <a:gd name="connsiteY126" fmla="*/ 6046 h 10000"/>
                <a:gd name="connsiteX127" fmla="*/ 8062 w 9884"/>
                <a:gd name="connsiteY127" fmla="*/ 6046 h 10000"/>
                <a:gd name="connsiteX128" fmla="*/ 8256 w 9884"/>
                <a:gd name="connsiteY128" fmla="*/ 6046 h 10000"/>
                <a:gd name="connsiteX129" fmla="*/ 8334 w 9884"/>
                <a:gd name="connsiteY129" fmla="*/ 5951 h 10000"/>
                <a:gd name="connsiteX130" fmla="*/ 8334 w 9884"/>
                <a:gd name="connsiteY130" fmla="*/ 5721 h 10000"/>
                <a:gd name="connsiteX131" fmla="*/ 8334 w 9884"/>
                <a:gd name="connsiteY131" fmla="*/ 5071 h 10000"/>
                <a:gd name="connsiteX132" fmla="*/ 8334 w 9884"/>
                <a:gd name="connsiteY132" fmla="*/ 4837 h 10000"/>
                <a:gd name="connsiteX133" fmla="*/ 8449 w 9884"/>
                <a:gd name="connsiteY133" fmla="*/ 4606 h 10000"/>
                <a:gd name="connsiteX134" fmla="*/ 8334 w 9884"/>
                <a:gd name="connsiteY134" fmla="*/ 4510 h 10000"/>
                <a:gd name="connsiteX135" fmla="*/ 8334 w 9884"/>
                <a:gd name="connsiteY135" fmla="*/ 4418 h 10000"/>
                <a:gd name="connsiteX136" fmla="*/ 8449 w 9884"/>
                <a:gd name="connsiteY136" fmla="*/ 4418 h 10000"/>
                <a:gd name="connsiteX137" fmla="*/ 8449 w 9884"/>
                <a:gd name="connsiteY137" fmla="*/ 4280 h 10000"/>
                <a:gd name="connsiteX138" fmla="*/ 8527 w 9884"/>
                <a:gd name="connsiteY138" fmla="*/ 4094 h 10000"/>
                <a:gd name="connsiteX139" fmla="*/ 8605 w 9884"/>
                <a:gd name="connsiteY139" fmla="*/ 4094 h 10000"/>
                <a:gd name="connsiteX140" fmla="*/ 8799 w 9884"/>
                <a:gd name="connsiteY140" fmla="*/ 4094 h 10000"/>
                <a:gd name="connsiteX141" fmla="*/ 8799 w 9884"/>
                <a:gd name="connsiteY141" fmla="*/ 3955 h 10000"/>
                <a:gd name="connsiteX142" fmla="*/ 8876 w 9884"/>
                <a:gd name="connsiteY142" fmla="*/ 3534 h 10000"/>
                <a:gd name="connsiteX143" fmla="*/ 8994 w 9884"/>
                <a:gd name="connsiteY143" fmla="*/ 3396 h 10000"/>
                <a:gd name="connsiteX144" fmla="*/ 9342 w 9884"/>
                <a:gd name="connsiteY144" fmla="*/ 2652 h 10000"/>
                <a:gd name="connsiteX145" fmla="*/ 9536 w 9884"/>
                <a:gd name="connsiteY145" fmla="*/ 2559 h 10000"/>
                <a:gd name="connsiteX146" fmla="*/ 9613 w 9884"/>
                <a:gd name="connsiteY146" fmla="*/ 2421 h 10000"/>
                <a:gd name="connsiteX147" fmla="*/ 9729 w 9884"/>
                <a:gd name="connsiteY147" fmla="*/ 2324 h 10000"/>
                <a:gd name="connsiteX148" fmla="*/ 9884 w 9884"/>
                <a:gd name="connsiteY148" fmla="*/ 1444 h 10000"/>
                <a:gd name="connsiteX149" fmla="*/ 9884 w 9884"/>
                <a:gd name="connsiteY149" fmla="*/ 1209 h 10000"/>
                <a:gd name="connsiteX150" fmla="*/ 9884 w 9884"/>
                <a:gd name="connsiteY150" fmla="*/ 976 h 10000"/>
                <a:gd name="connsiteX151" fmla="*/ 9884 w 9884"/>
                <a:gd name="connsiteY151" fmla="*/ 791 h 10000"/>
                <a:gd name="connsiteX152" fmla="*/ 9884 w 9884"/>
                <a:gd name="connsiteY152" fmla="*/ 468 h 10000"/>
                <a:gd name="connsiteX0" fmla="*/ 10000 w 10000"/>
                <a:gd name="connsiteY0" fmla="*/ 791 h 10000"/>
                <a:gd name="connsiteX1" fmla="*/ 1490 w 10000"/>
                <a:gd name="connsiteY1" fmla="*/ 0 h 10000"/>
                <a:gd name="connsiteX2" fmla="*/ 1411 w 10000"/>
                <a:gd name="connsiteY2" fmla="*/ 0 h 10000"/>
                <a:gd name="connsiteX3" fmla="*/ 1020 w 10000"/>
                <a:gd name="connsiteY3" fmla="*/ 0 h 10000"/>
                <a:gd name="connsiteX4" fmla="*/ 746 w 10000"/>
                <a:gd name="connsiteY4" fmla="*/ 0 h 10000"/>
                <a:gd name="connsiteX5" fmla="*/ 746 w 10000"/>
                <a:gd name="connsiteY5" fmla="*/ 140 h 10000"/>
                <a:gd name="connsiteX6" fmla="*/ 746 w 10000"/>
                <a:gd name="connsiteY6" fmla="*/ 235 h 10000"/>
                <a:gd name="connsiteX7" fmla="*/ 746 w 10000"/>
                <a:gd name="connsiteY7" fmla="*/ 325 h 10000"/>
                <a:gd name="connsiteX8" fmla="*/ 667 w 10000"/>
                <a:gd name="connsiteY8" fmla="*/ 558 h 10000"/>
                <a:gd name="connsiteX9" fmla="*/ 548 w 10000"/>
                <a:gd name="connsiteY9" fmla="*/ 791 h 10000"/>
                <a:gd name="connsiteX10" fmla="*/ 274 w 10000"/>
                <a:gd name="connsiteY10" fmla="*/ 1112 h 10000"/>
                <a:gd name="connsiteX11" fmla="*/ 274 w 10000"/>
                <a:gd name="connsiteY11" fmla="*/ 1209 h 10000"/>
                <a:gd name="connsiteX12" fmla="*/ 392 w 10000"/>
                <a:gd name="connsiteY12" fmla="*/ 1351 h 10000"/>
                <a:gd name="connsiteX13" fmla="*/ 274 w 10000"/>
                <a:gd name="connsiteY13" fmla="*/ 1444 h 10000"/>
                <a:gd name="connsiteX14" fmla="*/ 274 w 10000"/>
                <a:gd name="connsiteY14" fmla="*/ 1444 h 10000"/>
                <a:gd name="connsiteX15" fmla="*/ 196 w 10000"/>
                <a:gd name="connsiteY15" fmla="*/ 1534 h 10000"/>
                <a:gd name="connsiteX16" fmla="*/ 196 w 10000"/>
                <a:gd name="connsiteY16" fmla="*/ 1534 h 10000"/>
                <a:gd name="connsiteX17" fmla="*/ 196 w 10000"/>
                <a:gd name="connsiteY17" fmla="*/ 1768 h 10000"/>
                <a:gd name="connsiteX18" fmla="*/ 196 w 10000"/>
                <a:gd name="connsiteY18" fmla="*/ 2000 h 10000"/>
                <a:gd name="connsiteX19" fmla="*/ 117 w 10000"/>
                <a:gd name="connsiteY19" fmla="*/ 2094 h 10000"/>
                <a:gd name="connsiteX20" fmla="*/ 0 w 10000"/>
                <a:gd name="connsiteY20" fmla="*/ 2188 h 10000"/>
                <a:gd name="connsiteX21" fmla="*/ 0 w 10000"/>
                <a:gd name="connsiteY21" fmla="*/ 2324 h 10000"/>
                <a:gd name="connsiteX22" fmla="*/ 0 w 10000"/>
                <a:gd name="connsiteY22" fmla="*/ 2559 h 10000"/>
                <a:gd name="connsiteX23" fmla="*/ 117 w 10000"/>
                <a:gd name="connsiteY23" fmla="*/ 2559 h 10000"/>
                <a:gd name="connsiteX24" fmla="*/ 117 w 10000"/>
                <a:gd name="connsiteY24" fmla="*/ 2559 h 10000"/>
                <a:gd name="connsiteX25" fmla="*/ 392 w 10000"/>
                <a:gd name="connsiteY25" fmla="*/ 2421 h 10000"/>
                <a:gd name="connsiteX26" fmla="*/ 274 w 10000"/>
                <a:gd name="connsiteY26" fmla="*/ 2742 h 10000"/>
                <a:gd name="connsiteX27" fmla="*/ 392 w 10000"/>
                <a:gd name="connsiteY27" fmla="*/ 2978 h 10000"/>
                <a:gd name="connsiteX28" fmla="*/ 548 w 10000"/>
                <a:gd name="connsiteY28" fmla="*/ 3396 h 10000"/>
                <a:gd name="connsiteX29" fmla="*/ 548 w 10000"/>
                <a:gd name="connsiteY29" fmla="*/ 3534 h 10000"/>
                <a:gd name="connsiteX30" fmla="*/ 667 w 10000"/>
                <a:gd name="connsiteY30" fmla="*/ 3534 h 10000"/>
                <a:gd name="connsiteX31" fmla="*/ 667 w 10000"/>
                <a:gd name="connsiteY31" fmla="*/ 3626 h 10000"/>
                <a:gd name="connsiteX32" fmla="*/ 746 w 10000"/>
                <a:gd name="connsiteY32" fmla="*/ 3722 h 10000"/>
                <a:gd name="connsiteX33" fmla="*/ 746 w 10000"/>
                <a:gd name="connsiteY33" fmla="*/ 3862 h 10000"/>
                <a:gd name="connsiteX34" fmla="*/ 548 w 10000"/>
                <a:gd name="connsiteY34" fmla="*/ 3955 h 10000"/>
                <a:gd name="connsiteX35" fmla="*/ 746 w 10000"/>
                <a:gd name="connsiteY35" fmla="*/ 4094 h 10000"/>
                <a:gd name="connsiteX36" fmla="*/ 941 w 10000"/>
                <a:gd name="connsiteY36" fmla="*/ 4418 h 10000"/>
                <a:gd name="connsiteX37" fmla="*/ 1137 w 10000"/>
                <a:gd name="connsiteY37" fmla="*/ 4742 h 10000"/>
                <a:gd name="connsiteX38" fmla="*/ 1215 w 10000"/>
                <a:gd name="connsiteY38" fmla="*/ 4931 h 10000"/>
                <a:gd name="connsiteX39" fmla="*/ 1137 w 10000"/>
                <a:gd name="connsiteY39" fmla="*/ 5162 h 10000"/>
                <a:gd name="connsiteX40" fmla="*/ 1137 w 10000"/>
                <a:gd name="connsiteY40" fmla="*/ 5489 h 10000"/>
                <a:gd name="connsiteX41" fmla="*/ 1137 w 10000"/>
                <a:gd name="connsiteY41" fmla="*/ 5629 h 10000"/>
                <a:gd name="connsiteX42" fmla="*/ 1295 w 10000"/>
                <a:gd name="connsiteY42" fmla="*/ 5815 h 10000"/>
                <a:gd name="connsiteX43" fmla="*/ 1411 w 10000"/>
                <a:gd name="connsiteY43" fmla="*/ 5815 h 10000"/>
                <a:gd name="connsiteX44" fmla="*/ 1569 w 10000"/>
                <a:gd name="connsiteY44" fmla="*/ 5815 h 10000"/>
                <a:gd name="connsiteX45" fmla="*/ 1686 w 10000"/>
                <a:gd name="connsiteY45" fmla="*/ 6046 h 10000"/>
                <a:gd name="connsiteX46" fmla="*/ 1765 w 10000"/>
                <a:gd name="connsiteY46" fmla="*/ 6139 h 10000"/>
                <a:gd name="connsiteX47" fmla="*/ 2040 w 10000"/>
                <a:gd name="connsiteY47" fmla="*/ 6139 h 10000"/>
                <a:gd name="connsiteX48" fmla="*/ 2158 w 10000"/>
                <a:gd name="connsiteY48" fmla="*/ 6281 h 10000"/>
                <a:gd name="connsiteX49" fmla="*/ 2235 w 10000"/>
                <a:gd name="connsiteY49" fmla="*/ 6373 h 10000"/>
                <a:gd name="connsiteX50" fmla="*/ 2314 w 10000"/>
                <a:gd name="connsiteY50" fmla="*/ 6373 h 10000"/>
                <a:gd name="connsiteX51" fmla="*/ 2235 w 10000"/>
                <a:gd name="connsiteY51" fmla="*/ 6604 h 10000"/>
                <a:gd name="connsiteX52" fmla="*/ 2314 w 10000"/>
                <a:gd name="connsiteY52" fmla="*/ 6697 h 10000"/>
                <a:gd name="connsiteX53" fmla="*/ 2589 w 10000"/>
                <a:gd name="connsiteY53" fmla="*/ 6928 h 10000"/>
                <a:gd name="connsiteX54" fmla="*/ 2784 w 10000"/>
                <a:gd name="connsiteY54" fmla="*/ 7162 h 10000"/>
                <a:gd name="connsiteX55" fmla="*/ 2863 w 10000"/>
                <a:gd name="connsiteY55" fmla="*/ 7256 h 10000"/>
                <a:gd name="connsiteX56" fmla="*/ 3058 w 10000"/>
                <a:gd name="connsiteY56" fmla="*/ 7351 h 10000"/>
                <a:gd name="connsiteX57" fmla="*/ 3058 w 10000"/>
                <a:gd name="connsiteY57" fmla="*/ 7490 h 10000"/>
                <a:gd name="connsiteX58" fmla="*/ 3177 w 10000"/>
                <a:gd name="connsiteY58" fmla="*/ 7723 h 10000"/>
                <a:gd name="connsiteX59" fmla="*/ 3255 w 10000"/>
                <a:gd name="connsiteY59" fmla="*/ 7813 h 10000"/>
                <a:gd name="connsiteX60" fmla="*/ 3255 w 10000"/>
                <a:gd name="connsiteY60" fmla="*/ 7907 h 10000"/>
                <a:gd name="connsiteX61" fmla="*/ 3333 w 10000"/>
                <a:gd name="connsiteY61" fmla="*/ 8048 h 10000"/>
                <a:gd name="connsiteX62" fmla="*/ 3725 w 10000"/>
                <a:gd name="connsiteY62" fmla="*/ 8233 h 10000"/>
                <a:gd name="connsiteX63" fmla="*/ 3804 w 10000"/>
                <a:gd name="connsiteY63" fmla="*/ 8466 h 10000"/>
                <a:gd name="connsiteX64" fmla="*/ 3804 w 10000"/>
                <a:gd name="connsiteY64" fmla="*/ 8559 h 10000"/>
                <a:gd name="connsiteX65" fmla="*/ 3883 w 10000"/>
                <a:gd name="connsiteY65" fmla="*/ 8698 h 10000"/>
                <a:gd name="connsiteX66" fmla="*/ 4001 w 10000"/>
                <a:gd name="connsiteY66" fmla="*/ 8789 h 10000"/>
                <a:gd name="connsiteX67" fmla="*/ 4196 w 10000"/>
                <a:gd name="connsiteY67" fmla="*/ 9022 h 10000"/>
                <a:gd name="connsiteX68" fmla="*/ 4196 w 10000"/>
                <a:gd name="connsiteY68" fmla="*/ 9117 h 10000"/>
                <a:gd name="connsiteX69" fmla="*/ 4276 w 10000"/>
                <a:gd name="connsiteY69" fmla="*/ 9257 h 10000"/>
                <a:gd name="connsiteX70" fmla="*/ 4550 w 10000"/>
                <a:gd name="connsiteY70" fmla="*/ 9347 h 10000"/>
                <a:gd name="connsiteX71" fmla="*/ 4628 w 10000"/>
                <a:gd name="connsiteY71" fmla="*/ 9347 h 10000"/>
                <a:gd name="connsiteX72" fmla="*/ 4745 w 10000"/>
                <a:gd name="connsiteY72" fmla="*/ 9257 h 10000"/>
                <a:gd name="connsiteX73" fmla="*/ 5019 w 10000"/>
                <a:gd name="connsiteY73" fmla="*/ 9347 h 10000"/>
                <a:gd name="connsiteX74" fmla="*/ 5215 w 10000"/>
                <a:gd name="connsiteY74" fmla="*/ 9257 h 10000"/>
                <a:gd name="connsiteX75" fmla="*/ 5372 w 10000"/>
                <a:gd name="connsiteY75" fmla="*/ 9117 h 10000"/>
                <a:gd name="connsiteX76" fmla="*/ 5491 w 10000"/>
                <a:gd name="connsiteY76" fmla="*/ 9257 h 10000"/>
                <a:gd name="connsiteX77" fmla="*/ 5844 w 10000"/>
                <a:gd name="connsiteY77" fmla="*/ 9581 h 10000"/>
                <a:gd name="connsiteX78" fmla="*/ 5922 w 10000"/>
                <a:gd name="connsiteY78" fmla="*/ 9768 h 10000"/>
                <a:gd name="connsiteX79" fmla="*/ 6039 w 10000"/>
                <a:gd name="connsiteY79" fmla="*/ 9907 h 10000"/>
                <a:gd name="connsiteX80" fmla="*/ 6119 w 10000"/>
                <a:gd name="connsiteY80" fmla="*/ 9907 h 10000"/>
                <a:gd name="connsiteX81" fmla="*/ 6197 w 10000"/>
                <a:gd name="connsiteY81" fmla="*/ 9907 h 10000"/>
                <a:gd name="connsiteX82" fmla="*/ 6313 w 10000"/>
                <a:gd name="connsiteY82" fmla="*/ 9907 h 10000"/>
                <a:gd name="connsiteX83" fmla="*/ 6510 w 10000"/>
                <a:gd name="connsiteY83" fmla="*/ 9907 h 10000"/>
                <a:gd name="connsiteX84" fmla="*/ 6588 w 10000"/>
                <a:gd name="connsiteY84" fmla="*/ 9907 h 10000"/>
                <a:gd name="connsiteX85" fmla="*/ 6785 w 10000"/>
                <a:gd name="connsiteY85" fmla="*/ 9907 h 10000"/>
                <a:gd name="connsiteX86" fmla="*/ 6863 w 10000"/>
                <a:gd name="connsiteY86" fmla="*/ 9907 h 10000"/>
                <a:gd name="connsiteX87" fmla="*/ 6942 w 10000"/>
                <a:gd name="connsiteY87" fmla="*/ 10000 h 10000"/>
                <a:gd name="connsiteX88" fmla="*/ 7137 w 10000"/>
                <a:gd name="connsiteY88" fmla="*/ 9907 h 10000"/>
                <a:gd name="connsiteX89" fmla="*/ 7334 w 10000"/>
                <a:gd name="connsiteY89" fmla="*/ 9907 h 10000"/>
                <a:gd name="connsiteX90" fmla="*/ 7530 w 10000"/>
                <a:gd name="connsiteY90" fmla="*/ 9768 h 10000"/>
                <a:gd name="connsiteX91" fmla="*/ 7687 w 10000"/>
                <a:gd name="connsiteY91" fmla="*/ 9768 h 10000"/>
                <a:gd name="connsiteX92" fmla="*/ 7961 w 10000"/>
                <a:gd name="connsiteY92" fmla="*/ 9768 h 10000"/>
                <a:gd name="connsiteX93" fmla="*/ 8237 w 10000"/>
                <a:gd name="connsiteY93" fmla="*/ 9581 h 10000"/>
                <a:gd name="connsiteX94" fmla="*/ 8237 w 10000"/>
                <a:gd name="connsiteY94" fmla="*/ 9581 h 10000"/>
                <a:gd name="connsiteX95" fmla="*/ 8237 w 10000"/>
                <a:gd name="connsiteY95" fmla="*/ 9581 h 10000"/>
                <a:gd name="connsiteX96" fmla="*/ 8548 w 10000"/>
                <a:gd name="connsiteY96" fmla="*/ 9257 h 10000"/>
                <a:gd name="connsiteX97" fmla="*/ 8627 w 10000"/>
                <a:gd name="connsiteY97" fmla="*/ 9117 h 10000"/>
                <a:gd name="connsiteX98" fmla="*/ 8824 w 10000"/>
                <a:gd name="connsiteY98" fmla="*/ 9117 h 10000"/>
                <a:gd name="connsiteX99" fmla="*/ 9177 w 10000"/>
                <a:gd name="connsiteY99" fmla="*/ 9257 h 10000"/>
                <a:gd name="connsiteX100" fmla="*/ 9374 w 10000"/>
                <a:gd name="connsiteY100" fmla="*/ 9257 h 10000"/>
                <a:gd name="connsiteX101" fmla="*/ 9569 w 10000"/>
                <a:gd name="connsiteY101" fmla="*/ 9117 h 10000"/>
                <a:gd name="connsiteX102" fmla="*/ 9569 w 10000"/>
                <a:gd name="connsiteY102" fmla="*/ 8789 h 10000"/>
                <a:gd name="connsiteX103" fmla="*/ 9648 w 10000"/>
                <a:gd name="connsiteY103" fmla="*/ 8698 h 10000"/>
                <a:gd name="connsiteX104" fmla="*/ 9569 w 10000"/>
                <a:gd name="connsiteY104" fmla="*/ 8559 h 10000"/>
                <a:gd name="connsiteX105" fmla="*/ 9569 w 10000"/>
                <a:gd name="connsiteY105" fmla="*/ 8466 h 10000"/>
                <a:gd name="connsiteX106" fmla="*/ 9177 w 10000"/>
                <a:gd name="connsiteY106" fmla="*/ 8466 h 10000"/>
                <a:gd name="connsiteX107" fmla="*/ 9100 w 10000"/>
                <a:gd name="connsiteY107" fmla="*/ 8370 h 10000"/>
                <a:gd name="connsiteX108" fmla="*/ 9100 w 10000"/>
                <a:gd name="connsiteY108" fmla="*/ 8233 h 10000"/>
                <a:gd name="connsiteX109" fmla="*/ 8902 w 10000"/>
                <a:gd name="connsiteY109" fmla="*/ 7813 h 10000"/>
                <a:gd name="connsiteX110" fmla="*/ 8902 w 10000"/>
                <a:gd name="connsiteY110" fmla="*/ 7582 h 10000"/>
                <a:gd name="connsiteX111" fmla="*/ 8824 w 10000"/>
                <a:gd name="connsiteY111" fmla="*/ 7490 h 10000"/>
                <a:gd name="connsiteX112" fmla="*/ 8548 w 10000"/>
                <a:gd name="connsiteY112" fmla="*/ 7256 h 10000"/>
                <a:gd name="connsiteX113" fmla="*/ 8432 w 10000"/>
                <a:gd name="connsiteY113" fmla="*/ 7162 h 10000"/>
                <a:gd name="connsiteX114" fmla="*/ 8353 w 10000"/>
                <a:gd name="connsiteY114" fmla="*/ 7025 h 10000"/>
                <a:gd name="connsiteX115" fmla="*/ 8353 w 10000"/>
                <a:gd name="connsiteY115" fmla="*/ 6928 h 10000"/>
                <a:gd name="connsiteX116" fmla="*/ 8237 w 10000"/>
                <a:gd name="connsiteY116" fmla="*/ 6697 h 10000"/>
                <a:gd name="connsiteX117" fmla="*/ 8157 w 10000"/>
                <a:gd name="connsiteY117" fmla="*/ 6697 h 10000"/>
                <a:gd name="connsiteX118" fmla="*/ 7961 w 10000"/>
                <a:gd name="connsiteY118" fmla="*/ 6604 h 10000"/>
                <a:gd name="connsiteX119" fmla="*/ 7882 w 10000"/>
                <a:gd name="connsiteY119" fmla="*/ 6604 h 10000"/>
                <a:gd name="connsiteX120" fmla="*/ 7805 w 10000"/>
                <a:gd name="connsiteY120" fmla="*/ 6604 h 10000"/>
                <a:gd name="connsiteX121" fmla="*/ 7687 w 10000"/>
                <a:gd name="connsiteY121" fmla="*/ 6604 h 10000"/>
                <a:gd name="connsiteX122" fmla="*/ 7608 w 10000"/>
                <a:gd name="connsiteY122" fmla="*/ 6512 h 10000"/>
                <a:gd name="connsiteX123" fmla="*/ 7687 w 10000"/>
                <a:gd name="connsiteY123" fmla="*/ 6373 h 10000"/>
                <a:gd name="connsiteX124" fmla="*/ 7805 w 10000"/>
                <a:gd name="connsiteY124" fmla="*/ 6281 h 10000"/>
                <a:gd name="connsiteX125" fmla="*/ 7805 w 10000"/>
                <a:gd name="connsiteY125" fmla="*/ 6046 h 10000"/>
                <a:gd name="connsiteX126" fmla="*/ 7882 w 10000"/>
                <a:gd name="connsiteY126" fmla="*/ 6046 h 10000"/>
                <a:gd name="connsiteX127" fmla="*/ 8157 w 10000"/>
                <a:gd name="connsiteY127" fmla="*/ 6046 h 10000"/>
                <a:gd name="connsiteX128" fmla="*/ 8353 w 10000"/>
                <a:gd name="connsiteY128" fmla="*/ 6046 h 10000"/>
                <a:gd name="connsiteX129" fmla="*/ 8432 w 10000"/>
                <a:gd name="connsiteY129" fmla="*/ 5951 h 10000"/>
                <a:gd name="connsiteX130" fmla="*/ 8432 w 10000"/>
                <a:gd name="connsiteY130" fmla="*/ 5721 h 10000"/>
                <a:gd name="connsiteX131" fmla="*/ 8432 w 10000"/>
                <a:gd name="connsiteY131" fmla="*/ 5071 h 10000"/>
                <a:gd name="connsiteX132" fmla="*/ 8432 w 10000"/>
                <a:gd name="connsiteY132" fmla="*/ 4837 h 10000"/>
                <a:gd name="connsiteX133" fmla="*/ 8548 w 10000"/>
                <a:gd name="connsiteY133" fmla="*/ 4606 h 10000"/>
                <a:gd name="connsiteX134" fmla="*/ 8432 w 10000"/>
                <a:gd name="connsiteY134" fmla="*/ 4510 h 10000"/>
                <a:gd name="connsiteX135" fmla="*/ 8432 w 10000"/>
                <a:gd name="connsiteY135" fmla="*/ 4418 h 10000"/>
                <a:gd name="connsiteX136" fmla="*/ 8548 w 10000"/>
                <a:gd name="connsiteY136" fmla="*/ 4418 h 10000"/>
                <a:gd name="connsiteX137" fmla="*/ 8548 w 10000"/>
                <a:gd name="connsiteY137" fmla="*/ 4280 h 10000"/>
                <a:gd name="connsiteX138" fmla="*/ 8627 w 10000"/>
                <a:gd name="connsiteY138" fmla="*/ 4094 h 10000"/>
                <a:gd name="connsiteX139" fmla="*/ 8706 w 10000"/>
                <a:gd name="connsiteY139" fmla="*/ 4094 h 10000"/>
                <a:gd name="connsiteX140" fmla="*/ 8902 w 10000"/>
                <a:gd name="connsiteY140" fmla="*/ 4094 h 10000"/>
                <a:gd name="connsiteX141" fmla="*/ 8902 w 10000"/>
                <a:gd name="connsiteY141" fmla="*/ 3955 h 10000"/>
                <a:gd name="connsiteX142" fmla="*/ 8980 w 10000"/>
                <a:gd name="connsiteY142" fmla="*/ 3534 h 10000"/>
                <a:gd name="connsiteX143" fmla="*/ 9100 w 10000"/>
                <a:gd name="connsiteY143" fmla="*/ 3396 h 10000"/>
                <a:gd name="connsiteX144" fmla="*/ 9452 w 10000"/>
                <a:gd name="connsiteY144" fmla="*/ 2652 h 10000"/>
                <a:gd name="connsiteX145" fmla="*/ 9648 w 10000"/>
                <a:gd name="connsiteY145" fmla="*/ 2559 h 10000"/>
                <a:gd name="connsiteX146" fmla="*/ 9726 w 10000"/>
                <a:gd name="connsiteY146" fmla="*/ 2421 h 10000"/>
                <a:gd name="connsiteX147" fmla="*/ 9843 w 10000"/>
                <a:gd name="connsiteY147" fmla="*/ 2324 h 10000"/>
                <a:gd name="connsiteX148" fmla="*/ 10000 w 10000"/>
                <a:gd name="connsiteY148" fmla="*/ 1444 h 10000"/>
                <a:gd name="connsiteX149" fmla="*/ 10000 w 10000"/>
                <a:gd name="connsiteY149" fmla="*/ 1209 h 10000"/>
                <a:gd name="connsiteX150" fmla="*/ 10000 w 10000"/>
                <a:gd name="connsiteY150" fmla="*/ 976 h 10000"/>
                <a:gd name="connsiteX151" fmla="*/ 10000 w 10000"/>
                <a:gd name="connsiteY151" fmla="*/ 791 h 10000"/>
                <a:gd name="connsiteX0" fmla="*/ 10000 w 10000"/>
                <a:gd name="connsiteY0" fmla="*/ 976 h 10000"/>
                <a:gd name="connsiteX1" fmla="*/ 1490 w 10000"/>
                <a:gd name="connsiteY1" fmla="*/ 0 h 10000"/>
                <a:gd name="connsiteX2" fmla="*/ 1411 w 10000"/>
                <a:gd name="connsiteY2" fmla="*/ 0 h 10000"/>
                <a:gd name="connsiteX3" fmla="*/ 1020 w 10000"/>
                <a:gd name="connsiteY3" fmla="*/ 0 h 10000"/>
                <a:gd name="connsiteX4" fmla="*/ 746 w 10000"/>
                <a:gd name="connsiteY4" fmla="*/ 0 h 10000"/>
                <a:gd name="connsiteX5" fmla="*/ 746 w 10000"/>
                <a:gd name="connsiteY5" fmla="*/ 140 h 10000"/>
                <a:gd name="connsiteX6" fmla="*/ 746 w 10000"/>
                <a:gd name="connsiteY6" fmla="*/ 235 h 10000"/>
                <a:gd name="connsiteX7" fmla="*/ 746 w 10000"/>
                <a:gd name="connsiteY7" fmla="*/ 325 h 10000"/>
                <a:gd name="connsiteX8" fmla="*/ 667 w 10000"/>
                <a:gd name="connsiteY8" fmla="*/ 558 h 10000"/>
                <a:gd name="connsiteX9" fmla="*/ 548 w 10000"/>
                <a:gd name="connsiteY9" fmla="*/ 791 h 10000"/>
                <a:gd name="connsiteX10" fmla="*/ 274 w 10000"/>
                <a:gd name="connsiteY10" fmla="*/ 1112 h 10000"/>
                <a:gd name="connsiteX11" fmla="*/ 274 w 10000"/>
                <a:gd name="connsiteY11" fmla="*/ 1209 h 10000"/>
                <a:gd name="connsiteX12" fmla="*/ 392 w 10000"/>
                <a:gd name="connsiteY12" fmla="*/ 1351 h 10000"/>
                <a:gd name="connsiteX13" fmla="*/ 274 w 10000"/>
                <a:gd name="connsiteY13" fmla="*/ 1444 h 10000"/>
                <a:gd name="connsiteX14" fmla="*/ 274 w 10000"/>
                <a:gd name="connsiteY14" fmla="*/ 1444 h 10000"/>
                <a:gd name="connsiteX15" fmla="*/ 196 w 10000"/>
                <a:gd name="connsiteY15" fmla="*/ 1534 h 10000"/>
                <a:gd name="connsiteX16" fmla="*/ 196 w 10000"/>
                <a:gd name="connsiteY16" fmla="*/ 1534 h 10000"/>
                <a:gd name="connsiteX17" fmla="*/ 196 w 10000"/>
                <a:gd name="connsiteY17" fmla="*/ 1768 h 10000"/>
                <a:gd name="connsiteX18" fmla="*/ 196 w 10000"/>
                <a:gd name="connsiteY18" fmla="*/ 2000 h 10000"/>
                <a:gd name="connsiteX19" fmla="*/ 117 w 10000"/>
                <a:gd name="connsiteY19" fmla="*/ 2094 h 10000"/>
                <a:gd name="connsiteX20" fmla="*/ 0 w 10000"/>
                <a:gd name="connsiteY20" fmla="*/ 2188 h 10000"/>
                <a:gd name="connsiteX21" fmla="*/ 0 w 10000"/>
                <a:gd name="connsiteY21" fmla="*/ 2324 h 10000"/>
                <a:gd name="connsiteX22" fmla="*/ 0 w 10000"/>
                <a:gd name="connsiteY22" fmla="*/ 2559 h 10000"/>
                <a:gd name="connsiteX23" fmla="*/ 117 w 10000"/>
                <a:gd name="connsiteY23" fmla="*/ 2559 h 10000"/>
                <a:gd name="connsiteX24" fmla="*/ 117 w 10000"/>
                <a:gd name="connsiteY24" fmla="*/ 2559 h 10000"/>
                <a:gd name="connsiteX25" fmla="*/ 392 w 10000"/>
                <a:gd name="connsiteY25" fmla="*/ 2421 h 10000"/>
                <a:gd name="connsiteX26" fmla="*/ 274 w 10000"/>
                <a:gd name="connsiteY26" fmla="*/ 2742 h 10000"/>
                <a:gd name="connsiteX27" fmla="*/ 392 w 10000"/>
                <a:gd name="connsiteY27" fmla="*/ 2978 h 10000"/>
                <a:gd name="connsiteX28" fmla="*/ 548 w 10000"/>
                <a:gd name="connsiteY28" fmla="*/ 3396 h 10000"/>
                <a:gd name="connsiteX29" fmla="*/ 548 w 10000"/>
                <a:gd name="connsiteY29" fmla="*/ 3534 h 10000"/>
                <a:gd name="connsiteX30" fmla="*/ 667 w 10000"/>
                <a:gd name="connsiteY30" fmla="*/ 3534 h 10000"/>
                <a:gd name="connsiteX31" fmla="*/ 667 w 10000"/>
                <a:gd name="connsiteY31" fmla="*/ 3626 h 10000"/>
                <a:gd name="connsiteX32" fmla="*/ 746 w 10000"/>
                <a:gd name="connsiteY32" fmla="*/ 3722 h 10000"/>
                <a:gd name="connsiteX33" fmla="*/ 746 w 10000"/>
                <a:gd name="connsiteY33" fmla="*/ 3862 h 10000"/>
                <a:gd name="connsiteX34" fmla="*/ 548 w 10000"/>
                <a:gd name="connsiteY34" fmla="*/ 3955 h 10000"/>
                <a:gd name="connsiteX35" fmla="*/ 746 w 10000"/>
                <a:gd name="connsiteY35" fmla="*/ 4094 h 10000"/>
                <a:gd name="connsiteX36" fmla="*/ 941 w 10000"/>
                <a:gd name="connsiteY36" fmla="*/ 4418 h 10000"/>
                <a:gd name="connsiteX37" fmla="*/ 1137 w 10000"/>
                <a:gd name="connsiteY37" fmla="*/ 4742 h 10000"/>
                <a:gd name="connsiteX38" fmla="*/ 1215 w 10000"/>
                <a:gd name="connsiteY38" fmla="*/ 4931 h 10000"/>
                <a:gd name="connsiteX39" fmla="*/ 1137 w 10000"/>
                <a:gd name="connsiteY39" fmla="*/ 5162 h 10000"/>
                <a:gd name="connsiteX40" fmla="*/ 1137 w 10000"/>
                <a:gd name="connsiteY40" fmla="*/ 5489 h 10000"/>
                <a:gd name="connsiteX41" fmla="*/ 1137 w 10000"/>
                <a:gd name="connsiteY41" fmla="*/ 5629 h 10000"/>
                <a:gd name="connsiteX42" fmla="*/ 1295 w 10000"/>
                <a:gd name="connsiteY42" fmla="*/ 5815 h 10000"/>
                <a:gd name="connsiteX43" fmla="*/ 1411 w 10000"/>
                <a:gd name="connsiteY43" fmla="*/ 5815 h 10000"/>
                <a:gd name="connsiteX44" fmla="*/ 1569 w 10000"/>
                <a:gd name="connsiteY44" fmla="*/ 5815 h 10000"/>
                <a:gd name="connsiteX45" fmla="*/ 1686 w 10000"/>
                <a:gd name="connsiteY45" fmla="*/ 6046 h 10000"/>
                <a:gd name="connsiteX46" fmla="*/ 1765 w 10000"/>
                <a:gd name="connsiteY46" fmla="*/ 6139 h 10000"/>
                <a:gd name="connsiteX47" fmla="*/ 2040 w 10000"/>
                <a:gd name="connsiteY47" fmla="*/ 6139 h 10000"/>
                <a:gd name="connsiteX48" fmla="*/ 2158 w 10000"/>
                <a:gd name="connsiteY48" fmla="*/ 6281 h 10000"/>
                <a:gd name="connsiteX49" fmla="*/ 2235 w 10000"/>
                <a:gd name="connsiteY49" fmla="*/ 6373 h 10000"/>
                <a:gd name="connsiteX50" fmla="*/ 2314 w 10000"/>
                <a:gd name="connsiteY50" fmla="*/ 6373 h 10000"/>
                <a:gd name="connsiteX51" fmla="*/ 2235 w 10000"/>
                <a:gd name="connsiteY51" fmla="*/ 6604 h 10000"/>
                <a:gd name="connsiteX52" fmla="*/ 2314 w 10000"/>
                <a:gd name="connsiteY52" fmla="*/ 6697 h 10000"/>
                <a:gd name="connsiteX53" fmla="*/ 2589 w 10000"/>
                <a:gd name="connsiteY53" fmla="*/ 6928 h 10000"/>
                <a:gd name="connsiteX54" fmla="*/ 2784 w 10000"/>
                <a:gd name="connsiteY54" fmla="*/ 7162 h 10000"/>
                <a:gd name="connsiteX55" fmla="*/ 2863 w 10000"/>
                <a:gd name="connsiteY55" fmla="*/ 7256 h 10000"/>
                <a:gd name="connsiteX56" fmla="*/ 3058 w 10000"/>
                <a:gd name="connsiteY56" fmla="*/ 7351 h 10000"/>
                <a:gd name="connsiteX57" fmla="*/ 3058 w 10000"/>
                <a:gd name="connsiteY57" fmla="*/ 7490 h 10000"/>
                <a:gd name="connsiteX58" fmla="*/ 3177 w 10000"/>
                <a:gd name="connsiteY58" fmla="*/ 7723 h 10000"/>
                <a:gd name="connsiteX59" fmla="*/ 3255 w 10000"/>
                <a:gd name="connsiteY59" fmla="*/ 7813 h 10000"/>
                <a:gd name="connsiteX60" fmla="*/ 3255 w 10000"/>
                <a:gd name="connsiteY60" fmla="*/ 7907 h 10000"/>
                <a:gd name="connsiteX61" fmla="*/ 3333 w 10000"/>
                <a:gd name="connsiteY61" fmla="*/ 8048 h 10000"/>
                <a:gd name="connsiteX62" fmla="*/ 3725 w 10000"/>
                <a:gd name="connsiteY62" fmla="*/ 8233 h 10000"/>
                <a:gd name="connsiteX63" fmla="*/ 3804 w 10000"/>
                <a:gd name="connsiteY63" fmla="*/ 8466 h 10000"/>
                <a:gd name="connsiteX64" fmla="*/ 3804 w 10000"/>
                <a:gd name="connsiteY64" fmla="*/ 8559 h 10000"/>
                <a:gd name="connsiteX65" fmla="*/ 3883 w 10000"/>
                <a:gd name="connsiteY65" fmla="*/ 8698 h 10000"/>
                <a:gd name="connsiteX66" fmla="*/ 4001 w 10000"/>
                <a:gd name="connsiteY66" fmla="*/ 8789 h 10000"/>
                <a:gd name="connsiteX67" fmla="*/ 4196 w 10000"/>
                <a:gd name="connsiteY67" fmla="*/ 9022 h 10000"/>
                <a:gd name="connsiteX68" fmla="*/ 4196 w 10000"/>
                <a:gd name="connsiteY68" fmla="*/ 9117 h 10000"/>
                <a:gd name="connsiteX69" fmla="*/ 4276 w 10000"/>
                <a:gd name="connsiteY69" fmla="*/ 9257 h 10000"/>
                <a:gd name="connsiteX70" fmla="*/ 4550 w 10000"/>
                <a:gd name="connsiteY70" fmla="*/ 9347 h 10000"/>
                <a:gd name="connsiteX71" fmla="*/ 4628 w 10000"/>
                <a:gd name="connsiteY71" fmla="*/ 9347 h 10000"/>
                <a:gd name="connsiteX72" fmla="*/ 4745 w 10000"/>
                <a:gd name="connsiteY72" fmla="*/ 9257 h 10000"/>
                <a:gd name="connsiteX73" fmla="*/ 5019 w 10000"/>
                <a:gd name="connsiteY73" fmla="*/ 9347 h 10000"/>
                <a:gd name="connsiteX74" fmla="*/ 5215 w 10000"/>
                <a:gd name="connsiteY74" fmla="*/ 9257 h 10000"/>
                <a:gd name="connsiteX75" fmla="*/ 5372 w 10000"/>
                <a:gd name="connsiteY75" fmla="*/ 9117 h 10000"/>
                <a:gd name="connsiteX76" fmla="*/ 5491 w 10000"/>
                <a:gd name="connsiteY76" fmla="*/ 9257 h 10000"/>
                <a:gd name="connsiteX77" fmla="*/ 5844 w 10000"/>
                <a:gd name="connsiteY77" fmla="*/ 9581 h 10000"/>
                <a:gd name="connsiteX78" fmla="*/ 5922 w 10000"/>
                <a:gd name="connsiteY78" fmla="*/ 9768 h 10000"/>
                <a:gd name="connsiteX79" fmla="*/ 6039 w 10000"/>
                <a:gd name="connsiteY79" fmla="*/ 9907 h 10000"/>
                <a:gd name="connsiteX80" fmla="*/ 6119 w 10000"/>
                <a:gd name="connsiteY80" fmla="*/ 9907 h 10000"/>
                <a:gd name="connsiteX81" fmla="*/ 6197 w 10000"/>
                <a:gd name="connsiteY81" fmla="*/ 9907 h 10000"/>
                <a:gd name="connsiteX82" fmla="*/ 6313 w 10000"/>
                <a:gd name="connsiteY82" fmla="*/ 9907 h 10000"/>
                <a:gd name="connsiteX83" fmla="*/ 6510 w 10000"/>
                <a:gd name="connsiteY83" fmla="*/ 9907 h 10000"/>
                <a:gd name="connsiteX84" fmla="*/ 6588 w 10000"/>
                <a:gd name="connsiteY84" fmla="*/ 9907 h 10000"/>
                <a:gd name="connsiteX85" fmla="*/ 6785 w 10000"/>
                <a:gd name="connsiteY85" fmla="*/ 9907 h 10000"/>
                <a:gd name="connsiteX86" fmla="*/ 6863 w 10000"/>
                <a:gd name="connsiteY86" fmla="*/ 9907 h 10000"/>
                <a:gd name="connsiteX87" fmla="*/ 6942 w 10000"/>
                <a:gd name="connsiteY87" fmla="*/ 10000 h 10000"/>
                <a:gd name="connsiteX88" fmla="*/ 7137 w 10000"/>
                <a:gd name="connsiteY88" fmla="*/ 9907 h 10000"/>
                <a:gd name="connsiteX89" fmla="*/ 7334 w 10000"/>
                <a:gd name="connsiteY89" fmla="*/ 9907 h 10000"/>
                <a:gd name="connsiteX90" fmla="*/ 7530 w 10000"/>
                <a:gd name="connsiteY90" fmla="*/ 9768 h 10000"/>
                <a:gd name="connsiteX91" fmla="*/ 7687 w 10000"/>
                <a:gd name="connsiteY91" fmla="*/ 9768 h 10000"/>
                <a:gd name="connsiteX92" fmla="*/ 7961 w 10000"/>
                <a:gd name="connsiteY92" fmla="*/ 9768 h 10000"/>
                <a:gd name="connsiteX93" fmla="*/ 8237 w 10000"/>
                <a:gd name="connsiteY93" fmla="*/ 9581 h 10000"/>
                <a:gd name="connsiteX94" fmla="*/ 8237 w 10000"/>
                <a:gd name="connsiteY94" fmla="*/ 9581 h 10000"/>
                <a:gd name="connsiteX95" fmla="*/ 8237 w 10000"/>
                <a:gd name="connsiteY95" fmla="*/ 9581 h 10000"/>
                <a:gd name="connsiteX96" fmla="*/ 8548 w 10000"/>
                <a:gd name="connsiteY96" fmla="*/ 9257 h 10000"/>
                <a:gd name="connsiteX97" fmla="*/ 8627 w 10000"/>
                <a:gd name="connsiteY97" fmla="*/ 9117 h 10000"/>
                <a:gd name="connsiteX98" fmla="*/ 8824 w 10000"/>
                <a:gd name="connsiteY98" fmla="*/ 9117 h 10000"/>
                <a:gd name="connsiteX99" fmla="*/ 9177 w 10000"/>
                <a:gd name="connsiteY99" fmla="*/ 9257 h 10000"/>
                <a:gd name="connsiteX100" fmla="*/ 9374 w 10000"/>
                <a:gd name="connsiteY100" fmla="*/ 9257 h 10000"/>
                <a:gd name="connsiteX101" fmla="*/ 9569 w 10000"/>
                <a:gd name="connsiteY101" fmla="*/ 9117 h 10000"/>
                <a:gd name="connsiteX102" fmla="*/ 9569 w 10000"/>
                <a:gd name="connsiteY102" fmla="*/ 8789 h 10000"/>
                <a:gd name="connsiteX103" fmla="*/ 9648 w 10000"/>
                <a:gd name="connsiteY103" fmla="*/ 8698 h 10000"/>
                <a:gd name="connsiteX104" fmla="*/ 9569 w 10000"/>
                <a:gd name="connsiteY104" fmla="*/ 8559 h 10000"/>
                <a:gd name="connsiteX105" fmla="*/ 9569 w 10000"/>
                <a:gd name="connsiteY105" fmla="*/ 8466 h 10000"/>
                <a:gd name="connsiteX106" fmla="*/ 9177 w 10000"/>
                <a:gd name="connsiteY106" fmla="*/ 8466 h 10000"/>
                <a:gd name="connsiteX107" fmla="*/ 9100 w 10000"/>
                <a:gd name="connsiteY107" fmla="*/ 8370 h 10000"/>
                <a:gd name="connsiteX108" fmla="*/ 9100 w 10000"/>
                <a:gd name="connsiteY108" fmla="*/ 8233 h 10000"/>
                <a:gd name="connsiteX109" fmla="*/ 8902 w 10000"/>
                <a:gd name="connsiteY109" fmla="*/ 7813 h 10000"/>
                <a:gd name="connsiteX110" fmla="*/ 8902 w 10000"/>
                <a:gd name="connsiteY110" fmla="*/ 7582 h 10000"/>
                <a:gd name="connsiteX111" fmla="*/ 8824 w 10000"/>
                <a:gd name="connsiteY111" fmla="*/ 7490 h 10000"/>
                <a:gd name="connsiteX112" fmla="*/ 8548 w 10000"/>
                <a:gd name="connsiteY112" fmla="*/ 7256 h 10000"/>
                <a:gd name="connsiteX113" fmla="*/ 8432 w 10000"/>
                <a:gd name="connsiteY113" fmla="*/ 7162 h 10000"/>
                <a:gd name="connsiteX114" fmla="*/ 8353 w 10000"/>
                <a:gd name="connsiteY114" fmla="*/ 7025 h 10000"/>
                <a:gd name="connsiteX115" fmla="*/ 8353 w 10000"/>
                <a:gd name="connsiteY115" fmla="*/ 6928 h 10000"/>
                <a:gd name="connsiteX116" fmla="*/ 8237 w 10000"/>
                <a:gd name="connsiteY116" fmla="*/ 6697 h 10000"/>
                <a:gd name="connsiteX117" fmla="*/ 8157 w 10000"/>
                <a:gd name="connsiteY117" fmla="*/ 6697 h 10000"/>
                <a:gd name="connsiteX118" fmla="*/ 7961 w 10000"/>
                <a:gd name="connsiteY118" fmla="*/ 6604 h 10000"/>
                <a:gd name="connsiteX119" fmla="*/ 7882 w 10000"/>
                <a:gd name="connsiteY119" fmla="*/ 6604 h 10000"/>
                <a:gd name="connsiteX120" fmla="*/ 7805 w 10000"/>
                <a:gd name="connsiteY120" fmla="*/ 6604 h 10000"/>
                <a:gd name="connsiteX121" fmla="*/ 7687 w 10000"/>
                <a:gd name="connsiteY121" fmla="*/ 6604 h 10000"/>
                <a:gd name="connsiteX122" fmla="*/ 7608 w 10000"/>
                <a:gd name="connsiteY122" fmla="*/ 6512 h 10000"/>
                <a:gd name="connsiteX123" fmla="*/ 7687 w 10000"/>
                <a:gd name="connsiteY123" fmla="*/ 6373 h 10000"/>
                <a:gd name="connsiteX124" fmla="*/ 7805 w 10000"/>
                <a:gd name="connsiteY124" fmla="*/ 6281 h 10000"/>
                <a:gd name="connsiteX125" fmla="*/ 7805 w 10000"/>
                <a:gd name="connsiteY125" fmla="*/ 6046 h 10000"/>
                <a:gd name="connsiteX126" fmla="*/ 7882 w 10000"/>
                <a:gd name="connsiteY126" fmla="*/ 6046 h 10000"/>
                <a:gd name="connsiteX127" fmla="*/ 8157 w 10000"/>
                <a:gd name="connsiteY127" fmla="*/ 6046 h 10000"/>
                <a:gd name="connsiteX128" fmla="*/ 8353 w 10000"/>
                <a:gd name="connsiteY128" fmla="*/ 6046 h 10000"/>
                <a:gd name="connsiteX129" fmla="*/ 8432 w 10000"/>
                <a:gd name="connsiteY129" fmla="*/ 5951 h 10000"/>
                <a:gd name="connsiteX130" fmla="*/ 8432 w 10000"/>
                <a:gd name="connsiteY130" fmla="*/ 5721 h 10000"/>
                <a:gd name="connsiteX131" fmla="*/ 8432 w 10000"/>
                <a:gd name="connsiteY131" fmla="*/ 5071 h 10000"/>
                <a:gd name="connsiteX132" fmla="*/ 8432 w 10000"/>
                <a:gd name="connsiteY132" fmla="*/ 4837 h 10000"/>
                <a:gd name="connsiteX133" fmla="*/ 8548 w 10000"/>
                <a:gd name="connsiteY133" fmla="*/ 4606 h 10000"/>
                <a:gd name="connsiteX134" fmla="*/ 8432 w 10000"/>
                <a:gd name="connsiteY134" fmla="*/ 4510 h 10000"/>
                <a:gd name="connsiteX135" fmla="*/ 8432 w 10000"/>
                <a:gd name="connsiteY135" fmla="*/ 4418 h 10000"/>
                <a:gd name="connsiteX136" fmla="*/ 8548 w 10000"/>
                <a:gd name="connsiteY136" fmla="*/ 4418 h 10000"/>
                <a:gd name="connsiteX137" fmla="*/ 8548 w 10000"/>
                <a:gd name="connsiteY137" fmla="*/ 4280 h 10000"/>
                <a:gd name="connsiteX138" fmla="*/ 8627 w 10000"/>
                <a:gd name="connsiteY138" fmla="*/ 4094 h 10000"/>
                <a:gd name="connsiteX139" fmla="*/ 8706 w 10000"/>
                <a:gd name="connsiteY139" fmla="*/ 4094 h 10000"/>
                <a:gd name="connsiteX140" fmla="*/ 8902 w 10000"/>
                <a:gd name="connsiteY140" fmla="*/ 4094 h 10000"/>
                <a:gd name="connsiteX141" fmla="*/ 8902 w 10000"/>
                <a:gd name="connsiteY141" fmla="*/ 3955 h 10000"/>
                <a:gd name="connsiteX142" fmla="*/ 8980 w 10000"/>
                <a:gd name="connsiteY142" fmla="*/ 3534 h 10000"/>
                <a:gd name="connsiteX143" fmla="*/ 9100 w 10000"/>
                <a:gd name="connsiteY143" fmla="*/ 3396 h 10000"/>
                <a:gd name="connsiteX144" fmla="*/ 9452 w 10000"/>
                <a:gd name="connsiteY144" fmla="*/ 2652 h 10000"/>
                <a:gd name="connsiteX145" fmla="*/ 9648 w 10000"/>
                <a:gd name="connsiteY145" fmla="*/ 2559 h 10000"/>
                <a:gd name="connsiteX146" fmla="*/ 9726 w 10000"/>
                <a:gd name="connsiteY146" fmla="*/ 2421 h 10000"/>
                <a:gd name="connsiteX147" fmla="*/ 9843 w 10000"/>
                <a:gd name="connsiteY147" fmla="*/ 2324 h 10000"/>
                <a:gd name="connsiteX148" fmla="*/ 10000 w 10000"/>
                <a:gd name="connsiteY148" fmla="*/ 1444 h 10000"/>
                <a:gd name="connsiteX149" fmla="*/ 10000 w 10000"/>
                <a:gd name="connsiteY149" fmla="*/ 1209 h 10000"/>
                <a:gd name="connsiteX150" fmla="*/ 10000 w 10000"/>
                <a:gd name="connsiteY150"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746 w 10000"/>
                <a:gd name="connsiteY5" fmla="*/ 235 h 10000"/>
                <a:gd name="connsiteX6" fmla="*/ 746 w 10000"/>
                <a:gd name="connsiteY6" fmla="*/ 325 h 10000"/>
                <a:gd name="connsiteX7" fmla="*/ 667 w 10000"/>
                <a:gd name="connsiteY7" fmla="*/ 558 h 10000"/>
                <a:gd name="connsiteX8" fmla="*/ 548 w 10000"/>
                <a:gd name="connsiteY8" fmla="*/ 791 h 10000"/>
                <a:gd name="connsiteX9" fmla="*/ 274 w 10000"/>
                <a:gd name="connsiteY9" fmla="*/ 1112 h 10000"/>
                <a:gd name="connsiteX10" fmla="*/ 274 w 10000"/>
                <a:gd name="connsiteY10" fmla="*/ 1209 h 10000"/>
                <a:gd name="connsiteX11" fmla="*/ 392 w 10000"/>
                <a:gd name="connsiteY11" fmla="*/ 1351 h 10000"/>
                <a:gd name="connsiteX12" fmla="*/ 274 w 10000"/>
                <a:gd name="connsiteY12" fmla="*/ 1444 h 10000"/>
                <a:gd name="connsiteX13" fmla="*/ 274 w 10000"/>
                <a:gd name="connsiteY13" fmla="*/ 1444 h 10000"/>
                <a:gd name="connsiteX14" fmla="*/ 196 w 10000"/>
                <a:gd name="connsiteY14" fmla="*/ 1534 h 10000"/>
                <a:gd name="connsiteX15" fmla="*/ 196 w 10000"/>
                <a:gd name="connsiteY15" fmla="*/ 1534 h 10000"/>
                <a:gd name="connsiteX16" fmla="*/ 196 w 10000"/>
                <a:gd name="connsiteY16" fmla="*/ 1768 h 10000"/>
                <a:gd name="connsiteX17" fmla="*/ 196 w 10000"/>
                <a:gd name="connsiteY17" fmla="*/ 2000 h 10000"/>
                <a:gd name="connsiteX18" fmla="*/ 117 w 10000"/>
                <a:gd name="connsiteY18" fmla="*/ 2094 h 10000"/>
                <a:gd name="connsiteX19" fmla="*/ 0 w 10000"/>
                <a:gd name="connsiteY19" fmla="*/ 2188 h 10000"/>
                <a:gd name="connsiteX20" fmla="*/ 0 w 10000"/>
                <a:gd name="connsiteY20" fmla="*/ 2324 h 10000"/>
                <a:gd name="connsiteX21" fmla="*/ 0 w 10000"/>
                <a:gd name="connsiteY21" fmla="*/ 2559 h 10000"/>
                <a:gd name="connsiteX22" fmla="*/ 117 w 10000"/>
                <a:gd name="connsiteY22" fmla="*/ 2559 h 10000"/>
                <a:gd name="connsiteX23" fmla="*/ 117 w 10000"/>
                <a:gd name="connsiteY23" fmla="*/ 2559 h 10000"/>
                <a:gd name="connsiteX24" fmla="*/ 392 w 10000"/>
                <a:gd name="connsiteY24" fmla="*/ 2421 h 10000"/>
                <a:gd name="connsiteX25" fmla="*/ 274 w 10000"/>
                <a:gd name="connsiteY25" fmla="*/ 2742 h 10000"/>
                <a:gd name="connsiteX26" fmla="*/ 392 w 10000"/>
                <a:gd name="connsiteY26" fmla="*/ 2978 h 10000"/>
                <a:gd name="connsiteX27" fmla="*/ 548 w 10000"/>
                <a:gd name="connsiteY27" fmla="*/ 3396 h 10000"/>
                <a:gd name="connsiteX28" fmla="*/ 548 w 10000"/>
                <a:gd name="connsiteY28" fmla="*/ 3534 h 10000"/>
                <a:gd name="connsiteX29" fmla="*/ 667 w 10000"/>
                <a:gd name="connsiteY29" fmla="*/ 3534 h 10000"/>
                <a:gd name="connsiteX30" fmla="*/ 667 w 10000"/>
                <a:gd name="connsiteY30" fmla="*/ 3626 h 10000"/>
                <a:gd name="connsiteX31" fmla="*/ 746 w 10000"/>
                <a:gd name="connsiteY31" fmla="*/ 3722 h 10000"/>
                <a:gd name="connsiteX32" fmla="*/ 746 w 10000"/>
                <a:gd name="connsiteY32" fmla="*/ 3862 h 10000"/>
                <a:gd name="connsiteX33" fmla="*/ 548 w 10000"/>
                <a:gd name="connsiteY33" fmla="*/ 3955 h 10000"/>
                <a:gd name="connsiteX34" fmla="*/ 746 w 10000"/>
                <a:gd name="connsiteY34" fmla="*/ 4094 h 10000"/>
                <a:gd name="connsiteX35" fmla="*/ 941 w 10000"/>
                <a:gd name="connsiteY35" fmla="*/ 4418 h 10000"/>
                <a:gd name="connsiteX36" fmla="*/ 1137 w 10000"/>
                <a:gd name="connsiteY36" fmla="*/ 4742 h 10000"/>
                <a:gd name="connsiteX37" fmla="*/ 1215 w 10000"/>
                <a:gd name="connsiteY37" fmla="*/ 4931 h 10000"/>
                <a:gd name="connsiteX38" fmla="*/ 1137 w 10000"/>
                <a:gd name="connsiteY38" fmla="*/ 5162 h 10000"/>
                <a:gd name="connsiteX39" fmla="*/ 1137 w 10000"/>
                <a:gd name="connsiteY39" fmla="*/ 5489 h 10000"/>
                <a:gd name="connsiteX40" fmla="*/ 1137 w 10000"/>
                <a:gd name="connsiteY40" fmla="*/ 5629 h 10000"/>
                <a:gd name="connsiteX41" fmla="*/ 1295 w 10000"/>
                <a:gd name="connsiteY41" fmla="*/ 5815 h 10000"/>
                <a:gd name="connsiteX42" fmla="*/ 1411 w 10000"/>
                <a:gd name="connsiteY42" fmla="*/ 5815 h 10000"/>
                <a:gd name="connsiteX43" fmla="*/ 1569 w 10000"/>
                <a:gd name="connsiteY43" fmla="*/ 5815 h 10000"/>
                <a:gd name="connsiteX44" fmla="*/ 1686 w 10000"/>
                <a:gd name="connsiteY44" fmla="*/ 6046 h 10000"/>
                <a:gd name="connsiteX45" fmla="*/ 1765 w 10000"/>
                <a:gd name="connsiteY45" fmla="*/ 6139 h 10000"/>
                <a:gd name="connsiteX46" fmla="*/ 2040 w 10000"/>
                <a:gd name="connsiteY46" fmla="*/ 6139 h 10000"/>
                <a:gd name="connsiteX47" fmla="*/ 2158 w 10000"/>
                <a:gd name="connsiteY47" fmla="*/ 6281 h 10000"/>
                <a:gd name="connsiteX48" fmla="*/ 2235 w 10000"/>
                <a:gd name="connsiteY48" fmla="*/ 6373 h 10000"/>
                <a:gd name="connsiteX49" fmla="*/ 2314 w 10000"/>
                <a:gd name="connsiteY49" fmla="*/ 6373 h 10000"/>
                <a:gd name="connsiteX50" fmla="*/ 2235 w 10000"/>
                <a:gd name="connsiteY50" fmla="*/ 6604 h 10000"/>
                <a:gd name="connsiteX51" fmla="*/ 2314 w 10000"/>
                <a:gd name="connsiteY51" fmla="*/ 6697 h 10000"/>
                <a:gd name="connsiteX52" fmla="*/ 2589 w 10000"/>
                <a:gd name="connsiteY52" fmla="*/ 6928 h 10000"/>
                <a:gd name="connsiteX53" fmla="*/ 2784 w 10000"/>
                <a:gd name="connsiteY53" fmla="*/ 7162 h 10000"/>
                <a:gd name="connsiteX54" fmla="*/ 2863 w 10000"/>
                <a:gd name="connsiteY54" fmla="*/ 7256 h 10000"/>
                <a:gd name="connsiteX55" fmla="*/ 3058 w 10000"/>
                <a:gd name="connsiteY55" fmla="*/ 7351 h 10000"/>
                <a:gd name="connsiteX56" fmla="*/ 3058 w 10000"/>
                <a:gd name="connsiteY56" fmla="*/ 7490 h 10000"/>
                <a:gd name="connsiteX57" fmla="*/ 3177 w 10000"/>
                <a:gd name="connsiteY57" fmla="*/ 7723 h 10000"/>
                <a:gd name="connsiteX58" fmla="*/ 3255 w 10000"/>
                <a:gd name="connsiteY58" fmla="*/ 7813 h 10000"/>
                <a:gd name="connsiteX59" fmla="*/ 3255 w 10000"/>
                <a:gd name="connsiteY59" fmla="*/ 7907 h 10000"/>
                <a:gd name="connsiteX60" fmla="*/ 3333 w 10000"/>
                <a:gd name="connsiteY60" fmla="*/ 8048 h 10000"/>
                <a:gd name="connsiteX61" fmla="*/ 3725 w 10000"/>
                <a:gd name="connsiteY61" fmla="*/ 8233 h 10000"/>
                <a:gd name="connsiteX62" fmla="*/ 3804 w 10000"/>
                <a:gd name="connsiteY62" fmla="*/ 8466 h 10000"/>
                <a:gd name="connsiteX63" fmla="*/ 3804 w 10000"/>
                <a:gd name="connsiteY63" fmla="*/ 8559 h 10000"/>
                <a:gd name="connsiteX64" fmla="*/ 3883 w 10000"/>
                <a:gd name="connsiteY64" fmla="*/ 8698 h 10000"/>
                <a:gd name="connsiteX65" fmla="*/ 4001 w 10000"/>
                <a:gd name="connsiteY65" fmla="*/ 8789 h 10000"/>
                <a:gd name="connsiteX66" fmla="*/ 4196 w 10000"/>
                <a:gd name="connsiteY66" fmla="*/ 9022 h 10000"/>
                <a:gd name="connsiteX67" fmla="*/ 4196 w 10000"/>
                <a:gd name="connsiteY67" fmla="*/ 9117 h 10000"/>
                <a:gd name="connsiteX68" fmla="*/ 4276 w 10000"/>
                <a:gd name="connsiteY68" fmla="*/ 9257 h 10000"/>
                <a:gd name="connsiteX69" fmla="*/ 4550 w 10000"/>
                <a:gd name="connsiteY69" fmla="*/ 9347 h 10000"/>
                <a:gd name="connsiteX70" fmla="*/ 4628 w 10000"/>
                <a:gd name="connsiteY70" fmla="*/ 9347 h 10000"/>
                <a:gd name="connsiteX71" fmla="*/ 4745 w 10000"/>
                <a:gd name="connsiteY71" fmla="*/ 9257 h 10000"/>
                <a:gd name="connsiteX72" fmla="*/ 5019 w 10000"/>
                <a:gd name="connsiteY72" fmla="*/ 9347 h 10000"/>
                <a:gd name="connsiteX73" fmla="*/ 5215 w 10000"/>
                <a:gd name="connsiteY73" fmla="*/ 9257 h 10000"/>
                <a:gd name="connsiteX74" fmla="*/ 5372 w 10000"/>
                <a:gd name="connsiteY74" fmla="*/ 9117 h 10000"/>
                <a:gd name="connsiteX75" fmla="*/ 5491 w 10000"/>
                <a:gd name="connsiteY75" fmla="*/ 9257 h 10000"/>
                <a:gd name="connsiteX76" fmla="*/ 5844 w 10000"/>
                <a:gd name="connsiteY76" fmla="*/ 9581 h 10000"/>
                <a:gd name="connsiteX77" fmla="*/ 5922 w 10000"/>
                <a:gd name="connsiteY77" fmla="*/ 9768 h 10000"/>
                <a:gd name="connsiteX78" fmla="*/ 6039 w 10000"/>
                <a:gd name="connsiteY78" fmla="*/ 9907 h 10000"/>
                <a:gd name="connsiteX79" fmla="*/ 6119 w 10000"/>
                <a:gd name="connsiteY79" fmla="*/ 9907 h 10000"/>
                <a:gd name="connsiteX80" fmla="*/ 6197 w 10000"/>
                <a:gd name="connsiteY80" fmla="*/ 9907 h 10000"/>
                <a:gd name="connsiteX81" fmla="*/ 6313 w 10000"/>
                <a:gd name="connsiteY81" fmla="*/ 9907 h 10000"/>
                <a:gd name="connsiteX82" fmla="*/ 6510 w 10000"/>
                <a:gd name="connsiteY82" fmla="*/ 9907 h 10000"/>
                <a:gd name="connsiteX83" fmla="*/ 6588 w 10000"/>
                <a:gd name="connsiteY83" fmla="*/ 9907 h 10000"/>
                <a:gd name="connsiteX84" fmla="*/ 6785 w 10000"/>
                <a:gd name="connsiteY84" fmla="*/ 9907 h 10000"/>
                <a:gd name="connsiteX85" fmla="*/ 6863 w 10000"/>
                <a:gd name="connsiteY85" fmla="*/ 9907 h 10000"/>
                <a:gd name="connsiteX86" fmla="*/ 6942 w 10000"/>
                <a:gd name="connsiteY86" fmla="*/ 10000 h 10000"/>
                <a:gd name="connsiteX87" fmla="*/ 7137 w 10000"/>
                <a:gd name="connsiteY87" fmla="*/ 9907 h 10000"/>
                <a:gd name="connsiteX88" fmla="*/ 7334 w 10000"/>
                <a:gd name="connsiteY88" fmla="*/ 9907 h 10000"/>
                <a:gd name="connsiteX89" fmla="*/ 7530 w 10000"/>
                <a:gd name="connsiteY89" fmla="*/ 9768 h 10000"/>
                <a:gd name="connsiteX90" fmla="*/ 7687 w 10000"/>
                <a:gd name="connsiteY90" fmla="*/ 9768 h 10000"/>
                <a:gd name="connsiteX91" fmla="*/ 7961 w 10000"/>
                <a:gd name="connsiteY91" fmla="*/ 9768 h 10000"/>
                <a:gd name="connsiteX92" fmla="*/ 8237 w 10000"/>
                <a:gd name="connsiteY92" fmla="*/ 9581 h 10000"/>
                <a:gd name="connsiteX93" fmla="*/ 8237 w 10000"/>
                <a:gd name="connsiteY93" fmla="*/ 9581 h 10000"/>
                <a:gd name="connsiteX94" fmla="*/ 8237 w 10000"/>
                <a:gd name="connsiteY94" fmla="*/ 9581 h 10000"/>
                <a:gd name="connsiteX95" fmla="*/ 8548 w 10000"/>
                <a:gd name="connsiteY95" fmla="*/ 9257 h 10000"/>
                <a:gd name="connsiteX96" fmla="*/ 8627 w 10000"/>
                <a:gd name="connsiteY96" fmla="*/ 9117 h 10000"/>
                <a:gd name="connsiteX97" fmla="*/ 8824 w 10000"/>
                <a:gd name="connsiteY97" fmla="*/ 9117 h 10000"/>
                <a:gd name="connsiteX98" fmla="*/ 9177 w 10000"/>
                <a:gd name="connsiteY98" fmla="*/ 9257 h 10000"/>
                <a:gd name="connsiteX99" fmla="*/ 9374 w 10000"/>
                <a:gd name="connsiteY99" fmla="*/ 9257 h 10000"/>
                <a:gd name="connsiteX100" fmla="*/ 9569 w 10000"/>
                <a:gd name="connsiteY100" fmla="*/ 9117 h 10000"/>
                <a:gd name="connsiteX101" fmla="*/ 9569 w 10000"/>
                <a:gd name="connsiteY101" fmla="*/ 8789 h 10000"/>
                <a:gd name="connsiteX102" fmla="*/ 9648 w 10000"/>
                <a:gd name="connsiteY102" fmla="*/ 8698 h 10000"/>
                <a:gd name="connsiteX103" fmla="*/ 9569 w 10000"/>
                <a:gd name="connsiteY103" fmla="*/ 8559 h 10000"/>
                <a:gd name="connsiteX104" fmla="*/ 9569 w 10000"/>
                <a:gd name="connsiteY104" fmla="*/ 8466 h 10000"/>
                <a:gd name="connsiteX105" fmla="*/ 9177 w 10000"/>
                <a:gd name="connsiteY105" fmla="*/ 8466 h 10000"/>
                <a:gd name="connsiteX106" fmla="*/ 9100 w 10000"/>
                <a:gd name="connsiteY106" fmla="*/ 8370 h 10000"/>
                <a:gd name="connsiteX107" fmla="*/ 9100 w 10000"/>
                <a:gd name="connsiteY107" fmla="*/ 8233 h 10000"/>
                <a:gd name="connsiteX108" fmla="*/ 8902 w 10000"/>
                <a:gd name="connsiteY108" fmla="*/ 7813 h 10000"/>
                <a:gd name="connsiteX109" fmla="*/ 8902 w 10000"/>
                <a:gd name="connsiteY109" fmla="*/ 7582 h 10000"/>
                <a:gd name="connsiteX110" fmla="*/ 8824 w 10000"/>
                <a:gd name="connsiteY110" fmla="*/ 7490 h 10000"/>
                <a:gd name="connsiteX111" fmla="*/ 8548 w 10000"/>
                <a:gd name="connsiteY111" fmla="*/ 7256 h 10000"/>
                <a:gd name="connsiteX112" fmla="*/ 8432 w 10000"/>
                <a:gd name="connsiteY112" fmla="*/ 7162 h 10000"/>
                <a:gd name="connsiteX113" fmla="*/ 8353 w 10000"/>
                <a:gd name="connsiteY113" fmla="*/ 7025 h 10000"/>
                <a:gd name="connsiteX114" fmla="*/ 8353 w 10000"/>
                <a:gd name="connsiteY114" fmla="*/ 6928 h 10000"/>
                <a:gd name="connsiteX115" fmla="*/ 8237 w 10000"/>
                <a:gd name="connsiteY115" fmla="*/ 6697 h 10000"/>
                <a:gd name="connsiteX116" fmla="*/ 8157 w 10000"/>
                <a:gd name="connsiteY116" fmla="*/ 6697 h 10000"/>
                <a:gd name="connsiteX117" fmla="*/ 7961 w 10000"/>
                <a:gd name="connsiteY117" fmla="*/ 6604 h 10000"/>
                <a:gd name="connsiteX118" fmla="*/ 7882 w 10000"/>
                <a:gd name="connsiteY118" fmla="*/ 6604 h 10000"/>
                <a:gd name="connsiteX119" fmla="*/ 7805 w 10000"/>
                <a:gd name="connsiteY119" fmla="*/ 6604 h 10000"/>
                <a:gd name="connsiteX120" fmla="*/ 7687 w 10000"/>
                <a:gd name="connsiteY120" fmla="*/ 6604 h 10000"/>
                <a:gd name="connsiteX121" fmla="*/ 7608 w 10000"/>
                <a:gd name="connsiteY121" fmla="*/ 6512 h 10000"/>
                <a:gd name="connsiteX122" fmla="*/ 7687 w 10000"/>
                <a:gd name="connsiteY122" fmla="*/ 6373 h 10000"/>
                <a:gd name="connsiteX123" fmla="*/ 7805 w 10000"/>
                <a:gd name="connsiteY123" fmla="*/ 6281 h 10000"/>
                <a:gd name="connsiteX124" fmla="*/ 7805 w 10000"/>
                <a:gd name="connsiteY124" fmla="*/ 6046 h 10000"/>
                <a:gd name="connsiteX125" fmla="*/ 7882 w 10000"/>
                <a:gd name="connsiteY125" fmla="*/ 6046 h 10000"/>
                <a:gd name="connsiteX126" fmla="*/ 8157 w 10000"/>
                <a:gd name="connsiteY126" fmla="*/ 6046 h 10000"/>
                <a:gd name="connsiteX127" fmla="*/ 8353 w 10000"/>
                <a:gd name="connsiteY127" fmla="*/ 6046 h 10000"/>
                <a:gd name="connsiteX128" fmla="*/ 8432 w 10000"/>
                <a:gd name="connsiteY128" fmla="*/ 5951 h 10000"/>
                <a:gd name="connsiteX129" fmla="*/ 8432 w 10000"/>
                <a:gd name="connsiteY129" fmla="*/ 5721 h 10000"/>
                <a:gd name="connsiteX130" fmla="*/ 8432 w 10000"/>
                <a:gd name="connsiteY130" fmla="*/ 5071 h 10000"/>
                <a:gd name="connsiteX131" fmla="*/ 8432 w 10000"/>
                <a:gd name="connsiteY131" fmla="*/ 4837 h 10000"/>
                <a:gd name="connsiteX132" fmla="*/ 8548 w 10000"/>
                <a:gd name="connsiteY132" fmla="*/ 4606 h 10000"/>
                <a:gd name="connsiteX133" fmla="*/ 8432 w 10000"/>
                <a:gd name="connsiteY133" fmla="*/ 4510 h 10000"/>
                <a:gd name="connsiteX134" fmla="*/ 8432 w 10000"/>
                <a:gd name="connsiteY134" fmla="*/ 4418 h 10000"/>
                <a:gd name="connsiteX135" fmla="*/ 8548 w 10000"/>
                <a:gd name="connsiteY135" fmla="*/ 4418 h 10000"/>
                <a:gd name="connsiteX136" fmla="*/ 8548 w 10000"/>
                <a:gd name="connsiteY136" fmla="*/ 4280 h 10000"/>
                <a:gd name="connsiteX137" fmla="*/ 8627 w 10000"/>
                <a:gd name="connsiteY137" fmla="*/ 4094 h 10000"/>
                <a:gd name="connsiteX138" fmla="*/ 8706 w 10000"/>
                <a:gd name="connsiteY138" fmla="*/ 4094 h 10000"/>
                <a:gd name="connsiteX139" fmla="*/ 8902 w 10000"/>
                <a:gd name="connsiteY139" fmla="*/ 4094 h 10000"/>
                <a:gd name="connsiteX140" fmla="*/ 8902 w 10000"/>
                <a:gd name="connsiteY140" fmla="*/ 3955 h 10000"/>
                <a:gd name="connsiteX141" fmla="*/ 8980 w 10000"/>
                <a:gd name="connsiteY141" fmla="*/ 3534 h 10000"/>
                <a:gd name="connsiteX142" fmla="*/ 9100 w 10000"/>
                <a:gd name="connsiteY142" fmla="*/ 3396 h 10000"/>
                <a:gd name="connsiteX143" fmla="*/ 9452 w 10000"/>
                <a:gd name="connsiteY143" fmla="*/ 2652 h 10000"/>
                <a:gd name="connsiteX144" fmla="*/ 9648 w 10000"/>
                <a:gd name="connsiteY144" fmla="*/ 2559 h 10000"/>
                <a:gd name="connsiteX145" fmla="*/ 9726 w 10000"/>
                <a:gd name="connsiteY145" fmla="*/ 2421 h 10000"/>
                <a:gd name="connsiteX146" fmla="*/ 9843 w 10000"/>
                <a:gd name="connsiteY146" fmla="*/ 2324 h 10000"/>
                <a:gd name="connsiteX147" fmla="*/ 10000 w 10000"/>
                <a:gd name="connsiteY147" fmla="*/ 1444 h 10000"/>
                <a:gd name="connsiteX148" fmla="*/ 10000 w 10000"/>
                <a:gd name="connsiteY148" fmla="*/ 1209 h 10000"/>
                <a:gd name="connsiteX149" fmla="*/ 10000 w 10000"/>
                <a:gd name="connsiteY149"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746 w 10000"/>
                <a:gd name="connsiteY5" fmla="*/ 235 h 10000"/>
                <a:gd name="connsiteX6" fmla="*/ 667 w 10000"/>
                <a:gd name="connsiteY6" fmla="*/ 558 h 10000"/>
                <a:gd name="connsiteX7" fmla="*/ 548 w 10000"/>
                <a:gd name="connsiteY7" fmla="*/ 791 h 10000"/>
                <a:gd name="connsiteX8" fmla="*/ 274 w 10000"/>
                <a:gd name="connsiteY8" fmla="*/ 1112 h 10000"/>
                <a:gd name="connsiteX9" fmla="*/ 274 w 10000"/>
                <a:gd name="connsiteY9" fmla="*/ 1209 h 10000"/>
                <a:gd name="connsiteX10" fmla="*/ 392 w 10000"/>
                <a:gd name="connsiteY10" fmla="*/ 1351 h 10000"/>
                <a:gd name="connsiteX11" fmla="*/ 274 w 10000"/>
                <a:gd name="connsiteY11" fmla="*/ 1444 h 10000"/>
                <a:gd name="connsiteX12" fmla="*/ 274 w 10000"/>
                <a:gd name="connsiteY12" fmla="*/ 1444 h 10000"/>
                <a:gd name="connsiteX13" fmla="*/ 196 w 10000"/>
                <a:gd name="connsiteY13" fmla="*/ 1534 h 10000"/>
                <a:gd name="connsiteX14" fmla="*/ 196 w 10000"/>
                <a:gd name="connsiteY14" fmla="*/ 1534 h 10000"/>
                <a:gd name="connsiteX15" fmla="*/ 196 w 10000"/>
                <a:gd name="connsiteY15" fmla="*/ 1768 h 10000"/>
                <a:gd name="connsiteX16" fmla="*/ 196 w 10000"/>
                <a:gd name="connsiteY16" fmla="*/ 2000 h 10000"/>
                <a:gd name="connsiteX17" fmla="*/ 117 w 10000"/>
                <a:gd name="connsiteY17" fmla="*/ 2094 h 10000"/>
                <a:gd name="connsiteX18" fmla="*/ 0 w 10000"/>
                <a:gd name="connsiteY18" fmla="*/ 2188 h 10000"/>
                <a:gd name="connsiteX19" fmla="*/ 0 w 10000"/>
                <a:gd name="connsiteY19" fmla="*/ 2324 h 10000"/>
                <a:gd name="connsiteX20" fmla="*/ 0 w 10000"/>
                <a:gd name="connsiteY20" fmla="*/ 2559 h 10000"/>
                <a:gd name="connsiteX21" fmla="*/ 117 w 10000"/>
                <a:gd name="connsiteY21" fmla="*/ 2559 h 10000"/>
                <a:gd name="connsiteX22" fmla="*/ 117 w 10000"/>
                <a:gd name="connsiteY22" fmla="*/ 2559 h 10000"/>
                <a:gd name="connsiteX23" fmla="*/ 392 w 10000"/>
                <a:gd name="connsiteY23" fmla="*/ 2421 h 10000"/>
                <a:gd name="connsiteX24" fmla="*/ 274 w 10000"/>
                <a:gd name="connsiteY24" fmla="*/ 2742 h 10000"/>
                <a:gd name="connsiteX25" fmla="*/ 392 w 10000"/>
                <a:gd name="connsiteY25" fmla="*/ 2978 h 10000"/>
                <a:gd name="connsiteX26" fmla="*/ 548 w 10000"/>
                <a:gd name="connsiteY26" fmla="*/ 3396 h 10000"/>
                <a:gd name="connsiteX27" fmla="*/ 548 w 10000"/>
                <a:gd name="connsiteY27" fmla="*/ 3534 h 10000"/>
                <a:gd name="connsiteX28" fmla="*/ 667 w 10000"/>
                <a:gd name="connsiteY28" fmla="*/ 3534 h 10000"/>
                <a:gd name="connsiteX29" fmla="*/ 667 w 10000"/>
                <a:gd name="connsiteY29" fmla="*/ 3626 h 10000"/>
                <a:gd name="connsiteX30" fmla="*/ 746 w 10000"/>
                <a:gd name="connsiteY30" fmla="*/ 3722 h 10000"/>
                <a:gd name="connsiteX31" fmla="*/ 746 w 10000"/>
                <a:gd name="connsiteY31" fmla="*/ 3862 h 10000"/>
                <a:gd name="connsiteX32" fmla="*/ 548 w 10000"/>
                <a:gd name="connsiteY32" fmla="*/ 3955 h 10000"/>
                <a:gd name="connsiteX33" fmla="*/ 746 w 10000"/>
                <a:gd name="connsiteY33" fmla="*/ 4094 h 10000"/>
                <a:gd name="connsiteX34" fmla="*/ 941 w 10000"/>
                <a:gd name="connsiteY34" fmla="*/ 4418 h 10000"/>
                <a:gd name="connsiteX35" fmla="*/ 1137 w 10000"/>
                <a:gd name="connsiteY35" fmla="*/ 4742 h 10000"/>
                <a:gd name="connsiteX36" fmla="*/ 1215 w 10000"/>
                <a:gd name="connsiteY36" fmla="*/ 4931 h 10000"/>
                <a:gd name="connsiteX37" fmla="*/ 1137 w 10000"/>
                <a:gd name="connsiteY37" fmla="*/ 5162 h 10000"/>
                <a:gd name="connsiteX38" fmla="*/ 1137 w 10000"/>
                <a:gd name="connsiteY38" fmla="*/ 5489 h 10000"/>
                <a:gd name="connsiteX39" fmla="*/ 1137 w 10000"/>
                <a:gd name="connsiteY39" fmla="*/ 5629 h 10000"/>
                <a:gd name="connsiteX40" fmla="*/ 1295 w 10000"/>
                <a:gd name="connsiteY40" fmla="*/ 5815 h 10000"/>
                <a:gd name="connsiteX41" fmla="*/ 1411 w 10000"/>
                <a:gd name="connsiteY41" fmla="*/ 5815 h 10000"/>
                <a:gd name="connsiteX42" fmla="*/ 1569 w 10000"/>
                <a:gd name="connsiteY42" fmla="*/ 5815 h 10000"/>
                <a:gd name="connsiteX43" fmla="*/ 1686 w 10000"/>
                <a:gd name="connsiteY43" fmla="*/ 6046 h 10000"/>
                <a:gd name="connsiteX44" fmla="*/ 1765 w 10000"/>
                <a:gd name="connsiteY44" fmla="*/ 6139 h 10000"/>
                <a:gd name="connsiteX45" fmla="*/ 2040 w 10000"/>
                <a:gd name="connsiteY45" fmla="*/ 6139 h 10000"/>
                <a:gd name="connsiteX46" fmla="*/ 2158 w 10000"/>
                <a:gd name="connsiteY46" fmla="*/ 6281 h 10000"/>
                <a:gd name="connsiteX47" fmla="*/ 2235 w 10000"/>
                <a:gd name="connsiteY47" fmla="*/ 6373 h 10000"/>
                <a:gd name="connsiteX48" fmla="*/ 2314 w 10000"/>
                <a:gd name="connsiteY48" fmla="*/ 6373 h 10000"/>
                <a:gd name="connsiteX49" fmla="*/ 2235 w 10000"/>
                <a:gd name="connsiteY49" fmla="*/ 6604 h 10000"/>
                <a:gd name="connsiteX50" fmla="*/ 2314 w 10000"/>
                <a:gd name="connsiteY50" fmla="*/ 6697 h 10000"/>
                <a:gd name="connsiteX51" fmla="*/ 2589 w 10000"/>
                <a:gd name="connsiteY51" fmla="*/ 6928 h 10000"/>
                <a:gd name="connsiteX52" fmla="*/ 2784 w 10000"/>
                <a:gd name="connsiteY52" fmla="*/ 7162 h 10000"/>
                <a:gd name="connsiteX53" fmla="*/ 2863 w 10000"/>
                <a:gd name="connsiteY53" fmla="*/ 7256 h 10000"/>
                <a:gd name="connsiteX54" fmla="*/ 3058 w 10000"/>
                <a:gd name="connsiteY54" fmla="*/ 7351 h 10000"/>
                <a:gd name="connsiteX55" fmla="*/ 3058 w 10000"/>
                <a:gd name="connsiteY55" fmla="*/ 7490 h 10000"/>
                <a:gd name="connsiteX56" fmla="*/ 3177 w 10000"/>
                <a:gd name="connsiteY56" fmla="*/ 7723 h 10000"/>
                <a:gd name="connsiteX57" fmla="*/ 3255 w 10000"/>
                <a:gd name="connsiteY57" fmla="*/ 7813 h 10000"/>
                <a:gd name="connsiteX58" fmla="*/ 3255 w 10000"/>
                <a:gd name="connsiteY58" fmla="*/ 7907 h 10000"/>
                <a:gd name="connsiteX59" fmla="*/ 3333 w 10000"/>
                <a:gd name="connsiteY59" fmla="*/ 8048 h 10000"/>
                <a:gd name="connsiteX60" fmla="*/ 3725 w 10000"/>
                <a:gd name="connsiteY60" fmla="*/ 8233 h 10000"/>
                <a:gd name="connsiteX61" fmla="*/ 3804 w 10000"/>
                <a:gd name="connsiteY61" fmla="*/ 8466 h 10000"/>
                <a:gd name="connsiteX62" fmla="*/ 3804 w 10000"/>
                <a:gd name="connsiteY62" fmla="*/ 8559 h 10000"/>
                <a:gd name="connsiteX63" fmla="*/ 3883 w 10000"/>
                <a:gd name="connsiteY63" fmla="*/ 8698 h 10000"/>
                <a:gd name="connsiteX64" fmla="*/ 4001 w 10000"/>
                <a:gd name="connsiteY64" fmla="*/ 8789 h 10000"/>
                <a:gd name="connsiteX65" fmla="*/ 4196 w 10000"/>
                <a:gd name="connsiteY65" fmla="*/ 9022 h 10000"/>
                <a:gd name="connsiteX66" fmla="*/ 4196 w 10000"/>
                <a:gd name="connsiteY66" fmla="*/ 9117 h 10000"/>
                <a:gd name="connsiteX67" fmla="*/ 4276 w 10000"/>
                <a:gd name="connsiteY67" fmla="*/ 9257 h 10000"/>
                <a:gd name="connsiteX68" fmla="*/ 4550 w 10000"/>
                <a:gd name="connsiteY68" fmla="*/ 9347 h 10000"/>
                <a:gd name="connsiteX69" fmla="*/ 4628 w 10000"/>
                <a:gd name="connsiteY69" fmla="*/ 9347 h 10000"/>
                <a:gd name="connsiteX70" fmla="*/ 4745 w 10000"/>
                <a:gd name="connsiteY70" fmla="*/ 9257 h 10000"/>
                <a:gd name="connsiteX71" fmla="*/ 5019 w 10000"/>
                <a:gd name="connsiteY71" fmla="*/ 9347 h 10000"/>
                <a:gd name="connsiteX72" fmla="*/ 5215 w 10000"/>
                <a:gd name="connsiteY72" fmla="*/ 9257 h 10000"/>
                <a:gd name="connsiteX73" fmla="*/ 5372 w 10000"/>
                <a:gd name="connsiteY73" fmla="*/ 9117 h 10000"/>
                <a:gd name="connsiteX74" fmla="*/ 5491 w 10000"/>
                <a:gd name="connsiteY74" fmla="*/ 9257 h 10000"/>
                <a:gd name="connsiteX75" fmla="*/ 5844 w 10000"/>
                <a:gd name="connsiteY75" fmla="*/ 9581 h 10000"/>
                <a:gd name="connsiteX76" fmla="*/ 5922 w 10000"/>
                <a:gd name="connsiteY76" fmla="*/ 9768 h 10000"/>
                <a:gd name="connsiteX77" fmla="*/ 6039 w 10000"/>
                <a:gd name="connsiteY77" fmla="*/ 9907 h 10000"/>
                <a:gd name="connsiteX78" fmla="*/ 6119 w 10000"/>
                <a:gd name="connsiteY78" fmla="*/ 9907 h 10000"/>
                <a:gd name="connsiteX79" fmla="*/ 6197 w 10000"/>
                <a:gd name="connsiteY79" fmla="*/ 9907 h 10000"/>
                <a:gd name="connsiteX80" fmla="*/ 6313 w 10000"/>
                <a:gd name="connsiteY80" fmla="*/ 9907 h 10000"/>
                <a:gd name="connsiteX81" fmla="*/ 6510 w 10000"/>
                <a:gd name="connsiteY81" fmla="*/ 9907 h 10000"/>
                <a:gd name="connsiteX82" fmla="*/ 6588 w 10000"/>
                <a:gd name="connsiteY82" fmla="*/ 9907 h 10000"/>
                <a:gd name="connsiteX83" fmla="*/ 6785 w 10000"/>
                <a:gd name="connsiteY83" fmla="*/ 9907 h 10000"/>
                <a:gd name="connsiteX84" fmla="*/ 6863 w 10000"/>
                <a:gd name="connsiteY84" fmla="*/ 9907 h 10000"/>
                <a:gd name="connsiteX85" fmla="*/ 6942 w 10000"/>
                <a:gd name="connsiteY85" fmla="*/ 10000 h 10000"/>
                <a:gd name="connsiteX86" fmla="*/ 7137 w 10000"/>
                <a:gd name="connsiteY86" fmla="*/ 9907 h 10000"/>
                <a:gd name="connsiteX87" fmla="*/ 7334 w 10000"/>
                <a:gd name="connsiteY87" fmla="*/ 9907 h 10000"/>
                <a:gd name="connsiteX88" fmla="*/ 7530 w 10000"/>
                <a:gd name="connsiteY88" fmla="*/ 9768 h 10000"/>
                <a:gd name="connsiteX89" fmla="*/ 7687 w 10000"/>
                <a:gd name="connsiteY89" fmla="*/ 9768 h 10000"/>
                <a:gd name="connsiteX90" fmla="*/ 7961 w 10000"/>
                <a:gd name="connsiteY90" fmla="*/ 9768 h 10000"/>
                <a:gd name="connsiteX91" fmla="*/ 8237 w 10000"/>
                <a:gd name="connsiteY91" fmla="*/ 9581 h 10000"/>
                <a:gd name="connsiteX92" fmla="*/ 8237 w 10000"/>
                <a:gd name="connsiteY92" fmla="*/ 9581 h 10000"/>
                <a:gd name="connsiteX93" fmla="*/ 8237 w 10000"/>
                <a:gd name="connsiteY93" fmla="*/ 9581 h 10000"/>
                <a:gd name="connsiteX94" fmla="*/ 8548 w 10000"/>
                <a:gd name="connsiteY94" fmla="*/ 9257 h 10000"/>
                <a:gd name="connsiteX95" fmla="*/ 8627 w 10000"/>
                <a:gd name="connsiteY95" fmla="*/ 9117 h 10000"/>
                <a:gd name="connsiteX96" fmla="*/ 8824 w 10000"/>
                <a:gd name="connsiteY96" fmla="*/ 9117 h 10000"/>
                <a:gd name="connsiteX97" fmla="*/ 9177 w 10000"/>
                <a:gd name="connsiteY97" fmla="*/ 9257 h 10000"/>
                <a:gd name="connsiteX98" fmla="*/ 9374 w 10000"/>
                <a:gd name="connsiteY98" fmla="*/ 9257 h 10000"/>
                <a:gd name="connsiteX99" fmla="*/ 9569 w 10000"/>
                <a:gd name="connsiteY99" fmla="*/ 9117 h 10000"/>
                <a:gd name="connsiteX100" fmla="*/ 9569 w 10000"/>
                <a:gd name="connsiteY100" fmla="*/ 8789 h 10000"/>
                <a:gd name="connsiteX101" fmla="*/ 9648 w 10000"/>
                <a:gd name="connsiteY101" fmla="*/ 8698 h 10000"/>
                <a:gd name="connsiteX102" fmla="*/ 9569 w 10000"/>
                <a:gd name="connsiteY102" fmla="*/ 8559 h 10000"/>
                <a:gd name="connsiteX103" fmla="*/ 9569 w 10000"/>
                <a:gd name="connsiteY103" fmla="*/ 8466 h 10000"/>
                <a:gd name="connsiteX104" fmla="*/ 9177 w 10000"/>
                <a:gd name="connsiteY104" fmla="*/ 8466 h 10000"/>
                <a:gd name="connsiteX105" fmla="*/ 9100 w 10000"/>
                <a:gd name="connsiteY105" fmla="*/ 8370 h 10000"/>
                <a:gd name="connsiteX106" fmla="*/ 9100 w 10000"/>
                <a:gd name="connsiteY106" fmla="*/ 8233 h 10000"/>
                <a:gd name="connsiteX107" fmla="*/ 8902 w 10000"/>
                <a:gd name="connsiteY107" fmla="*/ 7813 h 10000"/>
                <a:gd name="connsiteX108" fmla="*/ 8902 w 10000"/>
                <a:gd name="connsiteY108" fmla="*/ 7582 h 10000"/>
                <a:gd name="connsiteX109" fmla="*/ 8824 w 10000"/>
                <a:gd name="connsiteY109" fmla="*/ 7490 h 10000"/>
                <a:gd name="connsiteX110" fmla="*/ 8548 w 10000"/>
                <a:gd name="connsiteY110" fmla="*/ 7256 h 10000"/>
                <a:gd name="connsiteX111" fmla="*/ 8432 w 10000"/>
                <a:gd name="connsiteY111" fmla="*/ 7162 h 10000"/>
                <a:gd name="connsiteX112" fmla="*/ 8353 w 10000"/>
                <a:gd name="connsiteY112" fmla="*/ 7025 h 10000"/>
                <a:gd name="connsiteX113" fmla="*/ 8353 w 10000"/>
                <a:gd name="connsiteY113" fmla="*/ 6928 h 10000"/>
                <a:gd name="connsiteX114" fmla="*/ 8237 w 10000"/>
                <a:gd name="connsiteY114" fmla="*/ 6697 h 10000"/>
                <a:gd name="connsiteX115" fmla="*/ 8157 w 10000"/>
                <a:gd name="connsiteY115" fmla="*/ 6697 h 10000"/>
                <a:gd name="connsiteX116" fmla="*/ 7961 w 10000"/>
                <a:gd name="connsiteY116" fmla="*/ 6604 h 10000"/>
                <a:gd name="connsiteX117" fmla="*/ 7882 w 10000"/>
                <a:gd name="connsiteY117" fmla="*/ 6604 h 10000"/>
                <a:gd name="connsiteX118" fmla="*/ 7805 w 10000"/>
                <a:gd name="connsiteY118" fmla="*/ 6604 h 10000"/>
                <a:gd name="connsiteX119" fmla="*/ 7687 w 10000"/>
                <a:gd name="connsiteY119" fmla="*/ 6604 h 10000"/>
                <a:gd name="connsiteX120" fmla="*/ 7608 w 10000"/>
                <a:gd name="connsiteY120" fmla="*/ 6512 h 10000"/>
                <a:gd name="connsiteX121" fmla="*/ 7687 w 10000"/>
                <a:gd name="connsiteY121" fmla="*/ 6373 h 10000"/>
                <a:gd name="connsiteX122" fmla="*/ 7805 w 10000"/>
                <a:gd name="connsiteY122" fmla="*/ 6281 h 10000"/>
                <a:gd name="connsiteX123" fmla="*/ 7805 w 10000"/>
                <a:gd name="connsiteY123" fmla="*/ 6046 h 10000"/>
                <a:gd name="connsiteX124" fmla="*/ 7882 w 10000"/>
                <a:gd name="connsiteY124" fmla="*/ 6046 h 10000"/>
                <a:gd name="connsiteX125" fmla="*/ 8157 w 10000"/>
                <a:gd name="connsiteY125" fmla="*/ 6046 h 10000"/>
                <a:gd name="connsiteX126" fmla="*/ 8353 w 10000"/>
                <a:gd name="connsiteY126" fmla="*/ 6046 h 10000"/>
                <a:gd name="connsiteX127" fmla="*/ 8432 w 10000"/>
                <a:gd name="connsiteY127" fmla="*/ 5951 h 10000"/>
                <a:gd name="connsiteX128" fmla="*/ 8432 w 10000"/>
                <a:gd name="connsiteY128" fmla="*/ 5721 h 10000"/>
                <a:gd name="connsiteX129" fmla="*/ 8432 w 10000"/>
                <a:gd name="connsiteY129" fmla="*/ 5071 h 10000"/>
                <a:gd name="connsiteX130" fmla="*/ 8432 w 10000"/>
                <a:gd name="connsiteY130" fmla="*/ 4837 h 10000"/>
                <a:gd name="connsiteX131" fmla="*/ 8548 w 10000"/>
                <a:gd name="connsiteY131" fmla="*/ 4606 h 10000"/>
                <a:gd name="connsiteX132" fmla="*/ 8432 w 10000"/>
                <a:gd name="connsiteY132" fmla="*/ 4510 h 10000"/>
                <a:gd name="connsiteX133" fmla="*/ 8432 w 10000"/>
                <a:gd name="connsiteY133" fmla="*/ 4418 h 10000"/>
                <a:gd name="connsiteX134" fmla="*/ 8548 w 10000"/>
                <a:gd name="connsiteY134" fmla="*/ 4418 h 10000"/>
                <a:gd name="connsiteX135" fmla="*/ 8548 w 10000"/>
                <a:gd name="connsiteY135" fmla="*/ 4280 h 10000"/>
                <a:gd name="connsiteX136" fmla="*/ 8627 w 10000"/>
                <a:gd name="connsiteY136" fmla="*/ 4094 h 10000"/>
                <a:gd name="connsiteX137" fmla="*/ 8706 w 10000"/>
                <a:gd name="connsiteY137" fmla="*/ 4094 h 10000"/>
                <a:gd name="connsiteX138" fmla="*/ 8902 w 10000"/>
                <a:gd name="connsiteY138" fmla="*/ 4094 h 10000"/>
                <a:gd name="connsiteX139" fmla="*/ 8902 w 10000"/>
                <a:gd name="connsiteY139" fmla="*/ 3955 h 10000"/>
                <a:gd name="connsiteX140" fmla="*/ 8980 w 10000"/>
                <a:gd name="connsiteY140" fmla="*/ 3534 h 10000"/>
                <a:gd name="connsiteX141" fmla="*/ 9100 w 10000"/>
                <a:gd name="connsiteY141" fmla="*/ 3396 h 10000"/>
                <a:gd name="connsiteX142" fmla="*/ 9452 w 10000"/>
                <a:gd name="connsiteY142" fmla="*/ 2652 h 10000"/>
                <a:gd name="connsiteX143" fmla="*/ 9648 w 10000"/>
                <a:gd name="connsiteY143" fmla="*/ 2559 h 10000"/>
                <a:gd name="connsiteX144" fmla="*/ 9726 w 10000"/>
                <a:gd name="connsiteY144" fmla="*/ 2421 h 10000"/>
                <a:gd name="connsiteX145" fmla="*/ 9843 w 10000"/>
                <a:gd name="connsiteY145" fmla="*/ 2324 h 10000"/>
                <a:gd name="connsiteX146" fmla="*/ 10000 w 10000"/>
                <a:gd name="connsiteY146" fmla="*/ 1444 h 10000"/>
                <a:gd name="connsiteX147" fmla="*/ 10000 w 10000"/>
                <a:gd name="connsiteY147" fmla="*/ 1209 h 10000"/>
                <a:gd name="connsiteX148" fmla="*/ 10000 w 10000"/>
                <a:gd name="connsiteY148"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746 w 10000"/>
                <a:gd name="connsiteY5" fmla="*/ 235 h 10000"/>
                <a:gd name="connsiteX6" fmla="*/ 667 w 10000"/>
                <a:gd name="connsiteY6" fmla="*/ 558 h 10000"/>
                <a:gd name="connsiteX7" fmla="*/ 274 w 10000"/>
                <a:gd name="connsiteY7" fmla="*/ 1112 h 10000"/>
                <a:gd name="connsiteX8" fmla="*/ 274 w 10000"/>
                <a:gd name="connsiteY8" fmla="*/ 1209 h 10000"/>
                <a:gd name="connsiteX9" fmla="*/ 392 w 10000"/>
                <a:gd name="connsiteY9" fmla="*/ 1351 h 10000"/>
                <a:gd name="connsiteX10" fmla="*/ 274 w 10000"/>
                <a:gd name="connsiteY10" fmla="*/ 1444 h 10000"/>
                <a:gd name="connsiteX11" fmla="*/ 274 w 10000"/>
                <a:gd name="connsiteY11" fmla="*/ 1444 h 10000"/>
                <a:gd name="connsiteX12" fmla="*/ 196 w 10000"/>
                <a:gd name="connsiteY12" fmla="*/ 1534 h 10000"/>
                <a:gd name="connsiteX13" fmla="*/ 196 w 10000"/>
                <a:gd name="connsiteY13" fmla="*/ 1534 h 10000"/>
                <a:gd name="connsiteX14" fmla="*/ 196 w 10000"/>
                <a:gd name="connsiteY14" fmla="*/ 1768 h 10000"/>
                <a:gd name="connsiteX15" fmla="*/ 196 w 10000"/>
                <a:gd name="connsiteY15" fmla="*/ 2000 h 10000"/>
                <a:gd name="connsiteX16" fmla="*/ 117 w 10000"/>
                <a:gd name="connsiteY16" fmla="*/ 2094 h 10000"/>
                <a:gd name="connsiteX17" fmla="*/ 0 w 10000"/>
                <a:gd name="connsiteY17" fmla="*/ 2188 h 10000"/>
                <a:gd name="connsiteX18" fmla="*/ 0 w 10000"/>
                <a:gd name="connsiteY18" fmla="*/ 2324 h 10000"/>
                <a:gd name="connsiteX19" fmla="*/ 0 w 10000"/>
                <a:gd name="connsiteY19" fmla="*/ 2559 h 10000"/>
                <a:gd name="connsiteX20" fmla="*/ 117 w 10000"/>
                <a:gd name="connsiteY20" fmla="*/ 2559 h 10000"/>
                <a:gd name="connsiteX21" fmla="*/ 117 w 10000"/>
                <a:gd name="connsiteY21" fmla="*/ 2559 h 10000"/>
                <a:gd name="connsiteX22" fmla="*/ 392 w 10000"/>
                <a:gd name="connsiteY22" fmla="*/ 2421 h 10000"/>
                <a:gd name="connsiteX23" fmla="*/ 274 w 10000"/>
                <a:gd name="connsiteY23" fmla="*/ 2742 h 10000"/>
                <a:gd name="connsiteX24" fmla="*/ 392 w 10000"/>
                <a:gd name="connsiteY24" fmla="*/ 2978 h 10000"/>
                <a:gd name="connsiteX25" fmla="*/ 548 w 10000"/>
                <a:gd name="connsiteY25" fmla="*/ 3396 h 10000"/>
                <a:gd name="connsiteX26" fmla="*/ 548 w 10000"/>
                <a:gd name="connsiteY26" fmla="*/ 3534 h 10000"/>
                <a:gd name="connsiteX27" fmla="*/ 667 w 10000"/>
                <a:gd name="connsiteY27" fmla="*/ 3534 h 10000"/>
                <a:gd name="connsiteX28" fmla="*/ 667 w 10000"/>
                <a:gd name="connsiteY28" fmla="*/ 3626 h 10000"/>
                <a:gd name="connsiteX29" fmla="*/ 746 w 10000"/>
                <a:gd name="connsiteY29" fmla="*/ 3722 h 10000"/>
                <a:gd name="connsiteX30" fmla="*/ 746 w 10000"/>
                <a:gd name="connsiteY30" fmla="*/ 3862 h 10000"/>
                <a:gd name="connsiteX31" fmla="*/ 548 w 10000"/>
                <a:gd name="connsiteY31" fmla="*/ 3955 h 10000"/>
                <a:gd name="connsiteX32" fmla="*/ 746 w 10000"/>
                <a:gd name="connsiteY32" fmla="*/ 4094 h 10000"/>
                <a:gd name="connsiteX33" fmla="*/ 941 w 10000"/>
                <a:gd name="connsiteY33" fmla="*/ 4418 h 10000"/>
                <a:gd name="connsiteX34" fmla="*/ 1137 w 10000"/>
                <a:gd name="connsiteY34" fmla="*/ 4742 h 10000"/>
                <a:gd name="connsiteX35" fmla="*/ 1215 w 10000"/>
                <a:gd name="connsiteY35" fmla="*/ 4931 h 10000"/>
                <a:gd name="connsiteX36" fmla="*/ 1137 w 10000"/>
                <a:gd name="connsiteY36" fmla="*/ 5162 h 10000"/>
                <a:gd name="connsiteX37" fmla="*/ 1137 w 10000"/>
                <a:gd name="connsiteY37" fmla="*/ 5489 h 10000"/>
                <a:gd name="connsiteX38" fmla="*/ 1137 w 10000"/>
                <a:gd name="connsiteY38" fmla="*/ 5629 h 10000"/>
                <a:gd name="connsiteX39" fmla="*/ 1295 w 10000"/>
                <a:gd name="connsiteY39" fmla="*/ 5815 h 10000"/>
                <a:gd name="connsiteX40" fmla="*/ 1411 w 10000"/>
                <a:gd name="connsiteY40" fmla="*/ 5815 h 10000"/>
                <a:gd name="connsiteX41" fmla="*/ 1569 w 10000"/>
                <a:gd name="connsiteY41" fmla="*/ 5815 h 10000"/>
                <a:gd name="connsiteX42" fmla="*/ 1686 w 10000"/>
                <a:gd name="connsiteY42" fmla="*/ 6046 h 10000"/>
                <a:gd name="connsiteX43" fmla="*/ 1765 w 10000"/>
                <a:gd name="connsiteY43" fmla="*/ 6139 h 10000"/>
                <a:gd name="connsiteX44" fmla="*/ 2040 w 10000"/>
                <a:gd name="connsiteY44" fmla="*/ 6139 h 10000"/>
                <a:gd name="connsiteX45" fmla="*/ 2158 w 10000"/>
                <a:gd name="connsiteY45" fmla="*/ 6281 h 10000"/>
                <a:gd name="connsiteX46" fmla="*/ 2235 w 10000"/>
                <a:gd name="connsiteY46" fmla="*/ 6373 h 10000"/>
                <a:gd name="connsiteX47" fmla="*/ 2314 w 10000"/>
                <a:gd name="connsiteY47" fmla="*/ 6373 h 10000"/>
                <a:gd name="connsiteX48" fmla="*/ 2235 w 10000"/>
                <a:gd name="connsiteY48" fmla="*/ 6604 h 10000"/>
                <a:gd name="connsiteX49" fmla="*/ 2314 w 10000"/>
                <a:gd name="connsiteY49" fmla="*/ 6697 h 10000"/>
                <a:gd name="connsiteX50" fmla="*/ 2589 w 10000"/>
                <a:gd name="connsiteY50" fmla="*/ 6928 h 10000"/>
                <a:gd name="connsiteX51" fmla="*/ 2784 w 10000"/>
                <a:gd name="connsiteY51" fmla="*/ 7162 h 10000"/>
                <a:gd name="connsiteX52" fmla="*/ 2863 w 10000"/>
                <a:gd name="connsiteY52" fmla="*/ 7256 h 10000"/>
                <a:gd name="connsiteX53" fmla="*/ 3058 w 10000"/>
                <a:gd name="connsiteY53" fmla="*/ 7351 h 10000"/>
                <a:gd name="connsiteX54" fmla="*/ 3058 w 10000"/>
                <a:gd name="connsiteY54" fmla="*/ 7490 h 10000"/>
                <a:gd name="connsiteX55" fmla="*/ 3177 w 10000"/>
                <a:gd name="connsiteY55" fmla="*/ 7723 h 10000"/>
                <a:gd name="connsiteX56" fmla="*/ 3255 w 10000"/>
                <a:gd name="connsiteY56" fmla="*/ 7813 h 10000"/>
                <a:gd name="connsiteX57" fmla="*/ 3255 w 10000"/>
                <a:gd name="connsiteY57" fmla="*/ 7907 h 10000"/>
                <a:gd name="connsiteX58" fmla="*/ 3333 w 10000"/>
                <a:gd name="connsiteY58" fmla="*/ 8048 h 10000"/>
                <a:gd name="connsiteX59" fmla="*/ 3725 w 10000"/>
                <a:gd name="connsiteY59" fmla="*/ 8233 h 10000"/>
                <a:gd name="connsiteX60" fmla="*/ 3804 w 10000"/>
                <a:gd name="connsiteY60" fmla="*/ 8466 h 10000"/>
                <a:gd name="connsiteX61" fmla="*/ 3804 w 10000"/>
                <a:gd name="connsiteY61" fmla="*/ 8559 h 10000"/>
                <a:gd name="connsiteX62" fmla="*/ 3883 w 10000"/>
                <a:gd name="connsiteY62" fmla="*/ 8698 h 10000"/>
                <a:gd name="connsiteX63" fmla="*/ 4001 w 10000"/>
                <a:gd name="connsiteY63" fmla="*/ 8789 h 10000"/>
                <a:gd name="connsiteX64" fmla="*/ 4196 w 10000"/>
                <a:gd name="connsiteY64" fmla="*/ 9022 h 10000"/>
                <a:gd name="connsiteX65" fmla="*/ 4196 w 10000"/>
                <a:gd name="connsiteY65" fmla="*/ 9117 h 10000"/>
                <a:gd name="connsiteX66" fmla="*/ 4276 w 10000"/>
                <a:gd name="connsiteY66" fmla="*/ 9257 h 10000"/>
                <a:gd name="connsiteX67" fmla="*/ 4550 w 10000"/>
                <a:gd name="connsiteY67" fmla="*/ 9347 h 10000"/>
                <a:gd name="connsiteX68" fmla="*/ 4628 w 10000"/>
                <a:gd name="connsiteY68" fmla="*/ 9347 h 10000"/>
                <a:gd name="connsiteX69" fmla="*/ 4745 w 10000"/>
                <a:gd name="connsiteY69" fmla="*/ 9257 h 10000"/>
                <a:gd name="connsiteX70" fmla="*/ 5019 w 10000"/>
                <a:gd name="connsiteY70" fmla="*/ 9347 h 10000"/>
                <a:gd name="connsiteX71" fmla="*/ 5215 w 10000"/>
                <a:gd name="connsiteY71" fmla="*/ 9257 h 10000"/>
                <a:gd name="connsiteX72" fmla="*/ 5372 w 10000"/>
                <a:gd name="connsiteY72" fmla="*/ 9117 h 10000"/>
                <a:gd name="connsiteX73" fmla="*/ 5491 w 10000"/>
                <a:gd name="connsiteY73" fmla="*/ 9257 h 10000"/>
                <a:gd name="connsiteX74" fmla="*/ 5844 w 10000"/>
                <a:gd name="connsiteY74" fmla="*/ 9581 h 10000"/>
                <a:gd name="connsiteX75" fmla="*/ 5922 w 10000"/>
                <a:gd name="connsiteY75" fmla="*/ 9768 h 10000"/>
                <a:gd name="connsiteX76" fmla="*/ 6039 w 10000"/>
                <a:gd name="connsiteY76" fmla="*/ 9907 h 10000"/>
                <a:gd name="connsiteX77" fmla="*/ 6119 w 10000"/>
                <a:gd name="connsiteY77" fmla="*/ 9907 h 10000"/>
                <a:gd name="connsiteX78" fmla="*/ 6197 w 10000"/>
                <a:gd name="connsiteY78" fmla="*/ 9907 h 10000"/>
                <a:gd name="connsiteX79" fmla="*/ 6313 w 10000"/>
                <a:gd name="connsiteY79" fmla="*/ 9907 h 10000"/>
                <a:gd name="connsiteX80" fmla="*/ 6510 w 10000"/>
                <a:gd name="connsiteY80" fmla="*/ 9907 h 10000"/>
                <a:gd name="connsiteX81" fmla="*/ 6588 w 10000"/>
                <a:gd name="connsiteY81" fmla="*/ 9907 h 10000"/>
                <a:gd name="connsiteX82" fmla="*/ 6785 w 10000"/>
                <a:gd name="connsiteY82" fmla="*/ 9907 h 10000"/>
                <a:gd name="connsiteX83" fmla="*/ 6863 w 10000"/>
                <a:gd name="connsiteY83" fmla="*/ 9907 h 10000"/>
                <a:gd name="connsiteX84" fmla="*/ 6942 w 10000"/>
                <a:gd name="connsiteY84" fmla="*/ 10000 h 10000"/>
                <a:gd name="connsiteX85" fmla="*/ 7137 w 10000"/>
                <a:gd name="connsiteY85" fmla="*/ 9907 h 10000"/>
                <a:gd name="connsiteX86" fmla="*/ 7334 w 10000"/>
                <a:gd name="connsiteY86" fmla="*/ 9907 h 10000"/>
                <a:gd name="connsiteX87" fmla="*/ 7530 w 10000"/>
                <a:gd name="connsiteY87" fmla="*/ 9768 h 10000"/>
                <a:gd name="connsiteX88" fmla="*/ 7687 w 10000"/>
                <a:gd name="connsiteY88" fmla="*/ 9768 h 10000"/>
                <a:gd name="connsiteX89" fmla="*/ 7961 w 10000"/>
                <a:gd name="connsiteY89" fmla="*/ 9768 h 10000"/>
                <a:gd name="connsiteX90" fmla="*/ 8237 w 10000"/>
                <a:gd name="connsiteY90" fmla="*/ 9581 h 10000"/>
                <a:gd name="connsiteX91" fmla="*/ 8237 w 10000"/>
                <a:gd name="connsiteY91" fmla="*/ 9581 h 10000"/>
                <a:gd name="connsiteX92" fmla="*/ 8237 w 10000"/>
                <a:gd name="connsiteY92" fmla="*/ 9581 h 10000"/>
                <a:gd name="connsiteX93" fmla="*/ 8548 w 10000"/>
                <a:gd name="connsiteY93" fmla="*/ 9257 h 10000"/>
                <a:gd name="connsiteX94" fmla="*/ 8627 w 10000"/>
                <a:gd name="connsiteY94" fmla="*/ 9117 h 10000"/>
                <a:gd name="connsiteX95" fmla="*/ 8824 w 10000"/>
                <a:gd name="connsiteY95" fmla="*/ 9117 h 10000"/>
                <a:gd name="connsiteX96" fmla="*/ 9177 w 10000"/>
                <a:gd name="connsiteY96" fmla="*/ 9257 h 10000"/>
                <a:gd name="connsiteX97" fmla="*/ 9374 w 10000"/>
                <a:gd name="connsiteY97" fmla="*/ 9257 h 10000"/>
                <a:gd name="connsiteX98" fmla="*/ 9569 w 10000"/>
                <a:gd name="connsiteY98" fmla="*/ 9117 h 10000"/>
                <a:gd name="connsiteX99" fmla="*/ 9569 w 10000"/>
                <a:gd name="connsiteY99" fmla="*/ 8789 h 10000"/>
                <a:gd name="connsiteX100" fmla="*/ 9648 w 10000"/>
                <a:gd name="connsiteY100" fmla="*/ 8698 h 10000"/>
                <a:gd name="connsiteX101" fmla="*/ 9569 w 10000"/>
                <a:gd name="connsiteY101" fmla="*/ 8559 h 10000"/>
                <a:gd name="connsiteX102" fmla="*/ 9569 w 10000"/>
                <a:gd name="connsiteY102" fmla="*/ 8466 h 10000"/>
                <a:gd name="connsiteX103" fmla="*/ 9177 w 10000"/>
                <a:gd name="connsiteY103" fmla="*/ 8466 h 10000"/>
                <a:gd name="connsiteX104" fmla="*/ 9100 w 10000"/>
                <a:gd name="connsiteY104" fmla="*/ 8370 h 10000"/>
                <a:gd name="connsiteX105" fmla="*/ 9100 w 10000"/>
                <a:gd name="connsiteY105" fmla="*/ 8233 h 10000"/>
                <a:gd name="connsiteX106" fmla="*/ 8902 w 10000"/>
                <a:gd name="connsiteY106" fmla="*/ 7813 h 10000"/>
                <a:gd name="connsiteX107" fmla="*/ 8902 w 10000"/>
                <a:gd name="connsiteY107" fmla="*/ 7582 h 10000"/>
                <a:gd name="connsiteX108" fmla="*/ 8824 w 10000"/>
                <a:gd name="connsiteY108" fmla="*/ 7490 h 10000"/>
                <a:gd name="connsiteX109" fmla="*/ 8548 w 10000"/>
                <a:gd name="connsiteY109" fmla="*/ 7256 h 10000"/>
                <a:gd name="connsiteX110" fmla="*/ 8432 w 10000"/>
                <a:gd name="connsiteY110" fmla="*/ 7162 h 10000"/>
                <a:gd name="connsiteX111" fmla="*/ 8353 w 10000"/>
                <a:gd name="connsiteY111" fmla="*/ 7025 h 10000"/>
                <a:gd name="connsiteX112" fmla="*/ 8353 w 10000"/>
                <a:gd name="connsiteY112" fmla="*/ 6928 h 10000"/>
                <a:gd name="connsiteX113" fmla="*/ 8237 w 10000"/>
                <a:gd name="connsiteY113" fmla="*/ 6697 h 10000"/>
                <a:gd name="connsiteX114" fmla="*/ 8157 w 10000"/>
                <a:gd name="connsiteY114" fmla="*/ 6697 h 10000"/>
                <a:gd name="connsiteX115" fmla="*/ 7961 w 10000"/>
                <a:gd name="connsiteY115" fmla="*/ 6604 h 10000"/>
                <a:gd name="connsiteX116" fmla="*/ 7882 w 10000"/>
                <a:gd name="connsiteY116" fmla="*/ 6604 h 10000"/>
                <a:gd name="connsiteX117" fmla="*/ 7805 w 10000"/>
                <a:gd name="connsiteY117" fmla="*/ 6604 h 10000"/>
                <a:gd name="connsiteX118" fmla="*/ 7687 w 10000"/>
                <a:gd name="connsiteY118" fmla="*/ 6604 h 10000"/>
                <a:gd name="connsiteX119" fmla="*/ 7608 w 10000"/>
                <a:gd name="connsiteY119" fmla="*/ 6512 h 10000"/>
                <a:gd name="connsiteX120" fmla="*/ 7687 w 10000"/>
                <a:gd name="connsiteY120" fmla="*/ 6373 h 10000"/>
                <a:gd name="connsiteX121" fmla="*/ 7805 w 10000"/>
                <a:gd name="connsiteY121" fmla="*/ 6281 h 10000"/>
                <a:gd name="connsiteX122" fmla="*/ 7805 w 10000"/>
                <a:gd name="connsiteY122" fmla="*/ 6046 h 10000"/>
                <a:gd name="connsiteX123" fmla="*/ 7882 w 10000"/>
                <a:gd name="connsiteY123" fmla="*/ 6046 h 10000"/>
                <a:gd name="connsiteX124" fmla="*/ 8157 w 10000"/>
                <a:gd name="connsiteY124" fmla="*/ 6046 h 10000"/>
                <a:gd name="connsiteX125" fmla="*/ 8353 w 10000"/>
                <a:gd name="connsiteY125" fmla="*/ 6046 h 10000"/>
                <a:gd name="connsiteX126" fmla="*/ 8432 w 10000"/>
                <a:gd name="connsiteY126" fmla="*/ 5951 h 10000"/>
                <a:gd name="connsiteX127" fmla="*/ 8432 w 10000"/>
                <a:gd name="connsiteY127" fmla="*/ 5721 h 10000"/>
                <a:gd name="connsiteX128" fmla="*/ 8432 w 10000"/>
                <a:gd name="connsiteY128" fmla="*/ 5071 h 10000"/>
                <a:gd name="connsiteX129" fmla="*/ 8432 w 10000"/>
                <a:gd name="connsiteY129" fmla="*/ 4837 h 10000"/>
                <a:gd name="connsiteX130" fmla="*/ 8548 w 10000"/>
                <a:gd name="connsiteY130" fmla="*/ 4606 h 10000"/>
                <a:gd name="connsiteX131" fmla="*/ 8432 w 10000"/>
                <a:gd name="connsiteY131" fmla="*/ 4510 h 10000"/>
                <a:gd name="connsiteX132" fmla="*/ 8432 w 10000"/>
                <a:gd name="connsiteY132" fmla="*/ 4418 h 10000"/>
                <a:gd name="connsiteX133" fmla="*/ 8548 w 10000"/>
                <a:gd name="connsiteY133" fmla="*/ 4418 h 10000"/>
                <a:gd name="connsiteX134" fmla="*/ 8548 w 10000"/>
                <a:gd name="connsiteY134" fmla="*/ 4280 h 10000"/>
                <a:gd name="connsiteX135" fmla="*/ 8627 w 10000"/>
                <a:gd name="connsiteY135" fmla="*/ 4094 h 10000"/>
                <a:gd name="connsiteX136" fmla="*/ 8706 w 10000"/>
                <a:gd name="connsiteY136" fmla="*/ 4094 h 10000"/>
                <a:gd name="connsiteX137" fmla="*/ 8902 w 10000"/>
                <a:gd name="connsiteY137" fmla="*/ 4094 h 10000"/>
                <a:gd name="connsiteX138" fmla="*/ 8902 w 10000"/>
                <a:gd name="connsiteY138" fmla="*/ 3955 h 10000"/>
                <a:gd name="connsiteX139" fmla="*/ 8980 w 10000"/>
                <a:gd name="connsiteY139" fmla="*/ 3534 h 10000"/>
                <a:gd name="connsiteX140" fmla="*/ 9100 w 10000"/>
                <a:gd name="connsiteY140" fmla="*/ 3396 h 10000"/>
                <a:gd name="connsiteX141" fmla="*/ 9452 w 10000"/>
                <a:gd name="connsiteY141" fmla="*/ 2652 h 10000"/>
                <a:gd name="connsiteX142" fmla="*/ 9648 w 10000"/>
                <a:gd name="connsiteY142" fmla="*/ 2559 h 10000"/>
                <a:gd name="connsiteX143" fmla="*/ 9726 w 10000"/>
                <a:gd name="connsiteY143" fmla="*/ 2421 h 10000"/>
                <a:gd name="connsiteX144" fmla="*/ 9843 w 10000"/>
                <a:gd name="connsiteY144" fmla="*/ 2324 h 10000"/>
                <a:gd name="connsiteX145" fmla="*/ 10000 w 10000"/>
                <a:gd name="connsiteY145" fmla="*/ 1444 h 10000"/>
                <a:gd name="connsiteX146" fmla="*/ 10000 w 10000"/>
                <a:gd name="connsiteY146" fmla="*/ 1209 h 10000"/>
                <a:gd name="connsiteX147" fmla="*/ 10000 w 10000"/>
                <a:gd name="connsiteY147"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746 w 10000"/>
                <a:gd name="connsiteY5" fmla="*/ 235 h 10000"/>
                <a:gd name="connsiteX6" fmla="*/ 667 w 10000"/>
                <a:gd name="connsiteY6" fmla="*/ 558 h 10000"/>
                <a:gd name="connsiteX7" fmla="*/ 274 w 10000"/>
                <a:gd name="connsiteY7" fmla="*/ 1112 h 10000"/>
                <a:gd name="connsiteX8" fmla="*/ 274 w 10000"/>
                <a:gd name="connsiteY8" fmla="*/ 1209 h 10000"/>
                <a:gd name="connsiteX9" fmla="*/ 392 w 10000"/>
                <a:gd name="connsiteY9" fmla="*/ 1351 h 10000"/>
                <a:gd name="connsiteX10" fmla="*/ 274 w 10000"/>
                <a:gd name="connsiteY10" fmla="*/ 1444 h 10000"/>
                <a:gd name="connsiteX11" fmla="*/ 196 w 10000"/>
                <a:gd name="connsiteY11" fmla="*/ 1534 h 10000"/>
                <a:gd name="connsiteX12" fmla="*/ 196 w 10000"/>
                <a:gd name="connsiteY12" fmla="*/ 1534 h 10000"/>
                <a:gd name="connsiteX13" fmla="*/ 196 w 10000"/>
                <a:gd name="connsiteY13" fmla="*/ 1768 h 10000"/>
                <a:gd name="connsiteX14" fmla="*/ 196 w 10000"/>
                <a:gd name="connsiteY14" fmla="*/ 2000 h 10000"/>
                <a:gd name="connsiteX15" fmla="*/ 117 w 10000"/>
                <a:gd name="connsiteY15" fmla="*/ 2094 h 10000"/>
                <a:gd name="connsiteX16" fmla="*/ 0 w 10000"/>
                <a:gd name="connsiteY16" fmla="*/ 2188 h 10000"/>
                <a:gd name="connsiteX17" fmla="*/ 0 w 10000"/>
                <a:gd name="connsiteY17" fmla="*/ 2324 h 10000"/>
                <a:gd name="connsiteX18" fmla="*/ 0 w 10000"/>
                <a:gd name="connsiteY18" fmla="*/ 2559 h 10000"/>
                <a:gd name="connsiteX19" fmla="*/ 117 w 10000"/>
                <a:gd name="connsiteY19" fmla="*/ 2559 h 10000"/>
                <a:gd name="connsiteX20" fmla="*/ 117 w 10000"/>
                <a:gd name="connsiteY20" fmla="*/ 2559 h 10000"/>
                <a:gd name="connsiteX21" fmla="*/ 392 w 10000"/>
                <a:gd name="connsiteY21" fmla="*/ 2421 h 10000"/>
                <a:gd name="connsiteX22" fmla="*/ 274 w 10000"/>
                <a:gd name="connsiteY22" fmla="*/ 2742 h 10000"/>
                <a:gd name="connsiteX23" fmla="*/ 392 w 10000"/>
                <a:gd name="connsiteY23" fmla="*/ 2978 h 10000"/>
                <a:gd name="connsiteX24" fmla="*/ 548 w 10000"/>
                <a:gd name="connsiteY24" fmla="*/ 3396 h 10000"/>
                <a:gd name="connsiteX25" fmla="*/ 548 w 10000"/>
                <a:gd name="connsiteY25" fmla="*/ 3534 h 10000"/>
                <a:gd name="connsiteX26" fmla="*/ 667 w 10000"/>
                <a:gd name="connsiteY26" fmla="*/ 3534 h 10000"/>
                <a:gd name="connsiteX27" fmla="*/ 667 w 10000"/>
                <a:gd name="connsiteY27" fmla="*/ 3626 h 10000"/>
                <a:gd name="connsiteX28" fmla="*/ 746 w 10000"/>
                <a:gd name="connsiteY28" fmla="*/ 3722 h 10000"/>
                <a:gd name="connsiteX29" fmla="*/ 746 w 10000"/>
                <a:gd name="connsiteY29" fmla="*/ 3862 h 10000"/>
                <a:gd name="connsiteX30" fmla="*/ 548 w 10000"/>
                <a:gd name="connsiteY30" fmla="*/ 3955 h 10000"/>
                <a:gd name="connsiteX31" fmla="*/ 746 w 10000"/>
                <a:gd name="connsiteY31" fmla="*/ 4094 h 10000"/>
                <a:gd name="connsiteX32" fmla="*/ 941 w 10000"/>
                <a:gd name="connsiteY32" fmla="*/ 4418 h 10000"/>
                <a:gd name="connsiteX33" fmla="*/ 1137 w 10000"/>
                <a:gd name="connsiteY33" fmla="*/ 4742 h 10000"/>
                <a:gd name="connsiteX34" fmla="*/ 1215 w 10000"/>
                <a:gd name="connsiteY34" fmla="*/ 4931 h 10000"/>
                <a:gd name="connsiteX35" fmla="*/ 1137 w 10000"/>
                <a:gd name="connsiteY35" fmla="*/ 5162 h 10000"/>
                <a:gd name="connsiteX36" fmla="*/ 1137 w 10000"/>
                <a:gd name="connsiteY36" fmla="*/ 5489 h 10000"/>
                <a:gd name="connsiteX37" fmla="*/ 1137 w 10000"/>
                <a:gd name="connsiteY37" fmla="*/ 5629 h 10000"/>
                <a:gd name="connsiteX38" fmla="*/ 1295 w 10000"/>
                <a:gd name="connsiteY38" fmla="*/ 5815 h 10000"/>
                <a:gd name="connsiteX39" fmla="*/ 1411 w 10000"/>
                <a:gd name="connsiteY39" fmla="*/ 5815 h 10000"/>
                <a:gd name="connsiteX40" fmla="*/ 1569 w 10000"/>
                <a:gd name="connsiteY40" fmla="*/ 5815 h 10000"/>
                <a:gd name="connsiteX41" fmla="*/ 1686 w 10000"/>
                <a:gd name="connsiteY41" fmla="*/ 6046 h 10000"/>
                <a:gd name="connsiteX42" fmla="*/ 1765 w 10000"/>
                <a:gd name="connsiteY42" fmla="*/ 6139 h 10000"/>
                <a:gd name="connsiteX43" fmla="*/ 2040 w 10000"/>
                <a:gd name="connsiteY43" fmla="*/ 6139 h 10000"/>
                <a:gd name="connsiteX44" fmla="*/ 2158 w 10000"/>
                <a:gd name="connsiteY44" fmla="*/ 6281 h 10000"/>
                <a:gd name="connsiteX45" fmla="*/ 2235 w 10000"/>
                <a:gd name="connsiteY45" fmla="*/ 6373 h 10000"/>
                <a:gd name="connsiteX46" fmla="*/ 2314 w 10000"/>
                <a:gd name="connsiteY46" fmla="*/ 6373 h 10000"/>
                <a:gd name="connsiteX47" fmla="*/ 2235 w 10000"/>
                <a:gd name="connsiteY47" fmla="*/ 6604 h 10000"/>
                <a:gd name="connsiteX48" fmla="*/ 2314 w 10000"/>
                <a:gd name="connsiteY48" fmla="*/ 6697 h 10000"/>
                <a:gd name="connsiteX49" fmla="*/ 2589 w 10000"/>
                <a:gd name="connsiteY49" fmla="*/ 6928 h 10000"/>
                <a:gd name="connsiteX50" fmla="*/ 2784 w 10000"/>
                <a:gd name="connsiteY50" fmla="*/ 7162 h 10000"/>
                <a:gd name="connsiteX51" fmla="*/ 2863 w 10000"/>
                <a:gd name="connsiteY51" fmla="*/ 7256 h 10000"/>
                <a:gd name="connsiteX52" fmla="*/ 3058 w 10000"/>
                <a:gd name="connsiteY52" fmla="*/ 7351 h 10000"/>
                <a:gd name="connsiteX53" fmla="*/ 3058 w 10000"/>
                <a:gd name="connsiteY53" fmla="*/ 7490 h 10000"/>
                <a:gd name="connsiteX54" fmla="*/ 3177 w 10000"/>
                <a:gd name="connsiteY54" fmla="*/ 7723 h 10000"/>
                <a:gd name="connsiteX55" fmla="*/ 3255 w 10000"/>
                <a:gd name="connsiteY55" fmla="*/ 7813 h 10000"/>
                <a:gd name="connsiteX56" fmla="*/ 3255 w 10000"/>
                <a:gd name="connsiteY56" fmla="*/ 7907 h 10000"/>
                <a:gd name="connsiteX57" fmla="*/ 3333 w 10000"/>
                <a:gd name="connsiteY57" fmla="*/ 8048 h 10000"/>
                <a:gd name="connsiteX58" fmla="*/ 3725 w 10000"/>
                <a:gd name="connsiteY58" fmla="*/ 8233 h 10000"/>
                <a:gd name="connsiteX59" fmla="*/ 3804 w 10000"/>
                <a:gd name="connsiteY59" fmla="*/ 8466 h 10000"/>
                <a:gd name="connsiteX60" fmla="*/ 3804 w 10000"/>
                <a:gd name="connsiteY60" fmla="*/ 8559 h 10000"/>
                <a:gd name="connsiteX61" fmla="*/ 3883 w 10000"/>
                <a:gd name="connsiteY61" fmla="*/ 8698 h 10000"/>
                <a:gd name="connsiteX62" fmla="*/ 4001 w 10000"/>
                <a:gd name="connsiteY62" fmla="*/ 8789 h 10000"/>
                <a:gd name="connsiteX63" fmla="*/ 4196 w 10000"/>
                <a:gd name="connsiteY63" fmla="*/ 9022 h 10000"/>
                <a:gd name="connsiteX64" fmla="*/ 4196 w 10000"/>
                <a:gd name="connsiteY64" fmla="*/ 9117 h 10000"/>
                <a:gd name="connsiteX65" fmla="*/ 4276 w 10000"/>
                <a:gd name="connsiteY65" fmla="*/ 9257 h 10000"/>
                <a:gd name="connsiteX66" fmla="*/ 4550 w 10000"/>
                <a:gd name="connsiteY66" fmla="*/ 9347 h 10000"/>
                <a:gd name="connsiteX67" fmla="*/ 4628 w 10000"/>
                <a:gd name="connsiteY67" fmla="*/ 9347 h 10000"/>
                <a:gd name="connsiteX68" fmla="*/ 4745 w 10000"/>
                <a:gd name="connsiteY68" fmla="*/ 9257 h 10000"/>
                <a:gd name="connsiteX69" fmla="*/ 5019 w 10000"/>
                <a:gd name="connsiteY69" fmla="*/ 9347 h 10000"/>
                <a:gd name="connsiteX70" fmla="*/ 5215 w 10000"/>
                <a:gd name="connsiteY70" fmla="*/ 9257 h 10000"/>
                <a:gd name="connsiteX71" fmla="*/ 5372 w 10000"/>
                <a:gd name="connsiteY71" fmla="*/ 9117 h 10000"/>
                <a:gd name="connsiteX72" fmla="*/ 5491 w 10000"/>
                <a:gd name="connsiteY72" fmla="*/ 9257 h 10000"/>
                <a:gd name="connsiteX73" fmla="*/ 5844 w 10000"/>
                <a:gd name="connsiteY73" fmla="*/ 9581 h 10000"/>
                <a:gd name="connsiteX74" fmla="*/ 5922 w 10000"/>
                <a:gd name="connsiteY74" fmla="*/ 9768 h 10000"/>
                <a:gd name="connsiteX75" fmla="*/ 6039 w 10000"/>
                <a:gd name="connsiteY75" fmla="*/ 9907 h 10000"/>
                <a:gd name="connsiteX76" fmla="*/ 6119 w 10000"/>
                <a:gd name="connsiteY76" fmla="*/ 9907 h 10000"/>
                <a:gd name="connsiteX77" fmla="*/ 6197 w 10000"/>
                <a:gd name="connsiteY77" fmla="*/ 9907 h 10000"/>
                <a:gd name="connsiteX78" fmla="*/ 6313 w 10000"/>
                <a:gd name="connsiteY78" fmla="*/ 9907 h 10000"/>
                <a:gd name="connsiteX79" fmla="*/ 6510 w 10000"/>
                <a:gd name="connsiteY79" fmla="*/ 9907 h 10000"/>
                <a:gd name="connsiteX80" fmla="*/ 6588 w 10000"/>
                <a:gd name="connsiteY80" fmla="*/ 9907 h 10000"/>
                <a:gd name="connsiteX81" fmla="*/ 6785 w 10000"/>
                <a:gd name="connsiteY81" fmla="*/ 9907 h 10000"/>
                <a:gd name="connsiteX82" fmla="*/ 6863 w 10000"/>
                <a:gd name="connsiteY82" fmla="*/ 9907 h 10000"/>
                <a:gd name="connsiteX83" fmla="*/ 6942 w 10000"/>
                <a:gd name="connsiteY83" fmla="*/ 10000 h 10000"/>
                <a:gd name="connsiteX84" fmla="*/ 7137 w 10000"/>
                <a:gd name="connsiteY84" fmla="*/ 9907 h 10000"/>
                <a:gd name="connsiteX85" fmla="*/ 7334 w 10000"/>
                <a:gd name="connsiteY85" fmla="*/ 9907 h 10000"/>
                <a:gd name="connsiteX86" fmla="*/ 7530 w 10000"/>
                <a:gd name="connsiteY86" fmla="*/ 9768 h 10000"/>
                <a:gd name="connsiteX87" fmla="*/ 7687 w 10000"/>
                <a:gd name="connsiteY87" fmla="*/ 9768 h 10000"/>
                <a:gd name="connsiteX88" fmla="*/ 7961 w 10000"/>
                <a:gd name="connsiteY88" fmla="*/ 9768 h 10000"/>
                <a:gd name="connsiteX89" fmla="*/ 8237 w 10000"/>
                <a:gd name="connsiteY89" fmla="*/ 9581 h 10000"/>
                <a:gd name="connsiteX90" fmla="*/ 8237 w 10000"/>
                <a:gd name="connsiteY90" fmla="*/ 9581 h 10000"/>
                <a:gd name="connsiteX91" fmla="*/ 8237 w 10000"/>
                <a:gd name="connsiteY91" fmla="*/ 9581 h 10000"/>
                <a:gd name="connsiteX92" fmla="*/ 8548 w 10000"/>
                <a:gd name="connsiteY92" fmla="*/ 9257 h 10000"/>
                <a:gd name="connsiteX93" fmla="*/ 8627 w 10000"/>
                <a:gd name="connsiteY93" fmla="*/ 9117 h 10000"/>
                <a:gd name="connsiteX94" fmla="*/ 8824 w 10000"/>
                <a:gd name="connsiteY94" fmla="*/ 9117 h 10000"/>
                <a:gd name="connsiteX95" fmla="*/ 9177 w 10000"/>
                <a:gd name="connsiteY95" fmla="*/ 9257 h 10000"/>
                <a:gd name="connsiteX96" fmla="*/ 9374 w 10000"/>
                <a:gd name="connsiteY96" fmla="*/ 9257 h 10000"/>
                <a:gd name="connsiteX97" fmla="*/ 9569 w 10000"/>
                <a:gd name="connsiteY97" fmla="*/ 9117 h 10000"/>
                <a:gd name="connsiteX98" fmla="*/ 9569 w 10000"/>
                <a:gd name="connsiteY98" fmla="*/ 8789 h 10000"/>
                <a:gd name="connsiteX99" fmla="*/ 9648 w 10000"/>
                <a:gd name="connsiteY99" fmla="*/ 8698 h 10000"/>
                <a:gd name="connsiteX100" fmla="*/ 9569 w 10000"/>
                <a:gd name="connsiteY100" fmla="*/ 8559 h 10000"/>
                <a:gd name="connsiteX101" fmla="*/ 9569 w 10000"/>
                <a:gd name="connsiteY101" fmla="*/ 8466 h 10000"/>
                <a:gd name="connsiteX102" fmla="*/ 9177 w 10000"/>
                <a:gd name="connsiteY102" fmla="*/ 8466 h 10000"/>
                <a:gd name="connsiteX103" fmla="*/ 9100 w 10000"/>
                <a:gd name="connsiteY103" fmla="*/ 8370 h 10000"/>
                <a:gd name="connsiteX104" fmla="*/ 9100 w 10000"/>
                <a:gd name="connsiteY104" fmla="*/ 8233 h 10000"/>
                <a:gd name="connsiteX105" fmla="*/ 8902 w 10000"/>
                <a:gd name="connsiteY105" fmla="*/ 7813 h 10000"/>
                <a:gd name="connsiteX106" fmla="*/ 8902 w 10000"/>
                <a:gd name="connsiteY106" fmla="*/ 7582 h 10000"/>
                <a:gd name="connsiteX107" fmla="*/ 8824 w 10000"/>
                <a:gd name="connsiteY107" fmla="*/ 7490 h 10000"/>
                <a:gd name="connsiteX108" fmla="*/ 8548 w 10000"/>
                <a:gd name="connsiteY108" fmla="*/ 7256 h 10000"/>
                <a:gd name="connsiteX109" fmla="*/ 8432 w 10000"/>
                <a:gd name="connsiteY109" fmla="*/ 7162 h 10000"/>
                <a:gd name="connsiteX110" fmla="*/ 8353 w 10000"/>
                <a:gd name="connsiteY110" fmla="*/ 7025 h 10000"/>
                <a:gd name="connsiteX111" fmla="*/ 8353 w 10000"/>
                <a:gd name="connsiteY111" fmla="*/ 6928 h 10000"/>
                <a:gd name="connsiteX112" fmla="*/ 8237 w 10000"/>
                <a:gd name="connsiteY112" fmla="*/ 6697 h 10000"/>
                <a:gd name="connsiteX113" fmla="*/ 8157 w 10000"/>
                <a:gd name="connsiteY113" fmla="*/ 6697 h 10000"/>
                <a:gd name="connsiteX114" fmla="*/ 7961 w 10000"/>
                <a:gd name="connsiteY114" fmla="*/ 6604 h 10000"/>
                <a:gd name="connsiteX115" fmla="*/ 7882 w 10000"/>
                <a:gd name="connsiteY115" fmla="*/ 6604 h 10000"/>
                <a:gd name="connsiteX116" fmla="*/ 7805 w 10000"/>
                <a:gd name="connsiteY116" fmla="*/ 6604 h 10000"/>
                <a:gd name="connsiteX117" fmla="*/ 7687 w 10000"/>
                <a:gd name="connsiteY117" fmla="*/ 6604 h 10000"/>
                <a:gd name="connsiteX118" fmla="*/ 7608 w 10000"/>
                <a:gd name="connsiteY118" fmla="*/ 6512 h 10000"/>
                <a:gd name="connsiteX119" fmla="*/ 7687 w 10000"/>
                <a:gd name="connsiteY119" fmla="*/ 6373 h 10000"/>
                <a:gd name="connsiteX120" fmla="*/ 7805 w 10000"/>
                <a:gd name="connsiteY120" fmla="*/ 6281 h 10000"/>
                <a:gd name="connsiteX121" fmla="*/ 7805 w 10000"/>
                <a:gd name="connsiteY121" fmla="*/ 6046 h 10000"/>
                <a:gd name="connsiteX122" fmla="*/ 7882 w 10000"/>
                <a:gd name="connsiteY122" fmla="*/ 6046 h 10000"/>
                <a:gd name="connsiteX123" fmla="*/ 8157 w 10000"/>
                <a:gd name="connsiteY123" fmla="*/ 6046 h 10000"/>
                <a:gd name="connsiteX124" fmla="*/ 8353 w 10000"/>
                <a:gd name="connsiteY124" fmla="*/ 6046 h 10000"/>
                <a:gd name="connsiteX125" fmla="*/ 8432 w 10000"/>
                <a:gd name="connsiteY125" fmla="*/ 5951 h 10000"/>
                <a:gd name="connsiteX126" fmla="*/ 8432 w 10000"/>
                <a:gd name="connsiteY126" fmla="*/ 5721 h 10000"/>
                <a:gd name="connsiteX127" fmla="*/ 8432 w 10000"/>
                <a:gd name="connsiteY127" fmla="*/ 5071 h 10000"/>
                <a:gd name="connsiteX128" fmla="*/ 8432 w 10000"/>
                <a:gd name="connsiteY128" fmla="*/ 4837 h 10000"/>
                <a:gd name="connsiteX129" fmla="*/ 8548 w 10000"/>
                <a:gd name="connsiteY129" fmla="*/ 4606 h 10000"/>
                <a:gd name="connsiteX130" fmla="*/ 8432 w 10000"/>
                <a:gd name="connsiteY130" fmla="*/ 4510 h 10000"/>
                <a:gd name="connsiteX131" fmla="*/ 8432 w 10000"/>
                <a:gd name="connsiteY131" fmla="*/ 4418 h 10000"/>
                <a:gd name="connsiteX132" fmla="*/ 8548 w 10000"/>
                <a:gd name="connsiteY132" fmla="*/ 4418 h 10000"/>
                <a:gd name="connsiteX133" fmla="*/ 8548 w 10000"/>
                <a:gd name="connsiteY133" fmla="*/ 4280 h 10000"/>
                <a:gd name="connsiteX134" fmla="*/ 8627 w 10000"/>
                <a:gd name="connsiteY134" fmla="*/ 4094 h 10000"/>
                <a:gd name="connsiteX135" fmla="*/ 8706 w 10000"/>
                <a:gd name="connsiteY135" fmla="*/ 4094 h 10000"/>
                <a:gd name="connsiteX136" fmla="*/ 8902 w 10000"/>
                <a:gd name="connsiteY136" fmla="*/ 4094 h 10000"/>
                <a:gd name="connsiteX137" fmla="*/ 8902 w 10000"/>
                <a:gd name="connsiteY137" fmla="*/ 3955 h 10000"/>
                <a:gd name="connsiteX138" fmla="*/ 8980 w 10000"/>
                <a:gd name="connsiteY138" fmla="*/ 3534 h 10000"/>
                <a:gd name="connsiteX139" fmla="*/ 9100 w 10000"/>
                <a:gd name="connsiteY139" fmla="*/ 3396 h 10000"/>
                <a:gd name="connsiteX140" fmla="*/ 9452 w 10000"/>
                <a:gd name="connsiteY140" fmla="*/ 2652 h 10000"/>
                <a:gd name="connsiteX141" fmla="*/ 9648 w 10000"/>
                <a:gd name="connsiteY141" fmla="*/ 2559 h 10000"/>
                <a:gd name="connsiteX142" fmla="*/ 9726 w 10000"/>
                <a:gd name="connsiteY142" fmla="*/ 2421 h 10000"/>
                <a:gd name="connsiteX143" fmla="*/ 9843 w 10000"/>
                <a:gd name="connsiteY143" fmla="*/ 2324 h 10000"/>
                <a:gd name="connsiteX144" fmla="*/ 10000 w 10000"/>
                <a:gd name="connsiteY144" fmla="*/ 1444 h 10000"/>
                <a:gd name="connsiteX145" fmla="*/ 10000 w 10000"/>
                <a:gd name="connsiteY145" fmla="*/ 1209 h 10000"/>
                <a:gd name="connsiteX146" fmla="*/ 10000 w 10000"/>
                <a:gd name="connsiteY146"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746 w 10000"/>
                <a:gd name="connsiteY5" fmla="*/ 235 h 10000"/>
                <a:gd name="connsiteX6" fmla="*/ 667 w 10000"/>
                <a:gd name="connsiteY6" fmla="*/ 558 h 10000"/>
                <a:gd name="connsiteX7" fmla="*/ 314 w 10000"/>
                <a:gd name="connsiteY7" fmla="*/ 675 h 10000"/>
                <a:gd name="connsiteX8" fmla="*/ 274 w 10000"/>
                <a:gd name="connsiteY8" fmla="*/ 1112 h 10000"/>
                <a:gd name="connsiteX9" fmla="*/ 274 w 10000"/>
                <a:gd name="connsiteY9" fmla="*/ 1209 h 10000"/>
                <a:gd name="connsiteX10" fmla="*/ 392 w 10000"/>
                <a:gd name="connsiteY10" fmla="*/ 1351 h 10000"/>
                <a:gd name="connsiteX11" fmla="*/ 274 w 10000"/>
                <a:gd name="connsiteY11" fmla="*/ 1444 h 10000"/>
                <a:gd name="connsiteX12" fmla="*/ 196 w 10000"/>
                <a:gd name="connsiteY12" fmla="*/ 1534 h 10000"/>
                <a:gd name="connsiteX13" fmla="*/ 196 w 10000"/>
                <a:gd name="connsiteY13" fmla="*/ 1534 h 10000"/>
                <a:gd name="connsiteX14" fmla="*/ 196 w 10000"/>
                <a:gd name="connsiteY14" fmla="*/ 1768 h 10000"/>
                <a:gd name="connsiteX15" fmla="*/ 196 w 10000"/>
                <a:gd name="connsiteY15" fmla="*/ 2000 h 10000"/>
                <a:gd name="connsiteX16" fmla="*/ 117 w 10000"/>
                <a:gd name="connsiteY16" fmla="*/ 2094 h 10000"/>
                <a:gd name="connsiteX17" fmla="*/ 0 w 10000"/>
                <a:gd name="connsiteY17" fmla="*/ 2188 h 10000"/>
                <a:gd name="connsiteX18" fmla="*/ 0 w 10000"/>
                <a:gd name="connsiteY18" fmla="*/ 2324 h 10000"/>
                <a:gd name="connsiteX19" fmla="*/ 0 w 10000"/>
                <a:gd name="connsiteY19" fmla="*/ 2559 h 10000"/>
                <a:gd name="connsiteX20" fmla="*/ 117 w 10000"/>
                <a:gd name="connsiteY20" fmla="*/ 2559 h 10000"/>
                <a:gd name="connsiteX21" fmla="*/ 117 w 10000"/>
                <a:gd name="connsiteY21" fmla="*/ 2559 h 10000"/>
                <a:gd name="connsiteX22" fmla="*/ 392 w 10000"/>
                <a:gd name="connsiteY22" fmla="*/ 2421 h 10000"/>
                <a:gd name="connsiteX23" fmla="*/ 274 w 10000"/>
                <a:gd name="connsiteY23" fmla="*/ 2742 h 10000"/>
                <a:gd name="connsiteX24" fmla="*/ 392 w 10000"/>
                <a:gd name="connsiteY24" fmla="*/ 2978 h 10000"/>
                <a:gd name="connsiteX25" fmla="*/ 548 w 10000"/>
                <a:gd name="connsiteY25" fmla="*/ 3396 h 10000"/>
                <a:gd name="connsiteX26" fmla="*/ 548 w 10000"/>
                <a:gd name="connsiteY26" fmla="*/ 3534 h 10000"/>
                <a:gd name="connsiteX27" fmla="*/ 667 w 10000"/>
                <a:gd name="connsiteY27" fmla="*/ 3534 h 10000"/>
                <a:gd name="connsiteX28" fmla="*/ 667 w 10000"/>
                <a:gd name="connsiteY28" fmla="*/ 3626 h 10000"/>
                <a:gd name="connsiteX29" fmla="*/ 746 w 10000"/>
                <a:gd name="connsiteY29" fmla="*/ 3722 h 10000"/>
                <a:gd name="connsiteX30" fmla="*/ 746 w 10000"/>
                <a:gd name="connsiteY30" fmla="*/ 3862 h 10000"/>
                <a:gd name="connsiteX31" fmla="*/ 548 w 10000"/>
                <a:gd name="connsiteY31" fmla="*/ 3955 h 10000"/>
                <a:gd name="connsiteX32" fmla="*/ 746 w 10000"/>
                <a:gd name="connsiteY32" fmla="*/ 4094 h 10000"/>
                <a:gd name="connsiteX33" fmla="*/ 941 w 10000"/>
                <a:gd name="connsiteY33" fmla="*/ 4418 h 10000"/>
                <a:gd name="connsiteX34" fmla="*/ 1137 w 10000"/>
                <a:gd name="connsiteY34" fmla="*/ 4742 h 10000"/>
                <a:gd name="connsiteX35" fmla="*/ 1215 w 10000"/>
                <a:gd name="connsiteY35" fmla="*/ 4931 h 10000"/>
                <a:gd name="connsiteX36" fmla="*/ 1137 w 10000"/>
                <a:gd name="connsiteY36" fmla="*/ 5162 h 10000"/>
                <a:gd name="connsiteX37" fmla="*/ 1137 w 10000"/>
                <a:gd name="connsiteY37" fmla="*/ 5489 h 10000"/>
                <a:gd name="connsiteX38" fmla="*/ 1137 w 10000"/>
                <a:gd name="connsiteY38" fmla="*/ 5629 h 10000"/>
                <a:gd name="connsiteX39" fmla="*/ 1295 w 10000"/>
                <a:gd name="connsiteY39" fmla="*/ 5815 h 10000"/>
                <a:gd name="connsiteX40" fmla="*/ 1411 w 10000"/>
                <a:gd name="connsiteY40" fmla="*/ 5815 h 10000"/>
                <a:gd name="connsiteX41" fmla="*/ 1569 w 10000"/>
                <a:gd name="connsiteY41" fmla="*/ 5815 h 10000"/>
                <a:gd name="connsiteX42" fmla="*/ 1686 w 10000"/>
                <a:gd name="connsiteY42" fmla="*/ 6046 h 10000"/>
                <a:gd name="connsiteX43" fmla="*/ 1765 w 10000"/>
                <a:gd name="connsiteY43" fmla="*/ 6139 h 10000"/>
                <a:gd name="connsiteX44" fmla="*/ 2040 w 10000"/>
                <a:gd name="connsiteY44" fmla="*/ 6139 h 10000"/>
                <a:gd name="connsiteX45" fmla="*/ 2158 w 10000"/>
                <a:gd name="connsiteY45" fmla="*/ 6281 h 10000"/>
                <a:gd name="connsiteX46" fmla="*/ 2235 w 10000"/>
                <a:gd name="connsiteY46" fmla="*/ 6373 h 10000"/>
                <a:gd name="connsiteX47" fmla="*/ 2314 w 10000"/>
                <a:gd name="connsiteY47" fmla="*/ 6373 h 10000"/>
                <a:gd name="connsiteX48" fmla="*/ 2235 w 10000"/>
                <a:gd name="connsiteY48" fmla="*/ 6604 h 10000"/>
                <a:gd name="connsiteX49" fmla="*/ 2314 w 10000"/>
                <a:gd name="connsiteY49" fmla="*/ 6697 h 10000"/>
                <a:gd name="connsiteX50" fmla="*/ 2589 w 10000"/>
                <a:gd name="connsiteY50" fmla="*/ 6928 h 10000"/>
                <a:gd name="connsiteX51" fmla="*/ 2784 w 10000"/>
                <a:gd name="connsiteY51" fmla="*/ 7162 h 10000"/>
                <a:gd name="connsiteX52" fmla="*/ 2863 w 10000"/>
                <a:gd name="connsiteY52" fmla="*/ 7256 h 10000"/>
                <a:gd name="connsiteX53" fmla="*/ 3058 w 10000"/>
                <a:gd name="connsiteY53" fmla="*/ 7351 h 10000"/>
                <a:gd name="connsiteX54" fmla="*/ 3058 w 10000"/>
                <a:gd name="connsiteY54" fmla="*/ 7490 h 10000"/>
                <a:gd name="connsiteX55" fmla="*/ 3177 w 10000"/>
                <a:gd name="connsiteY55" fmla="*/ 7723 h 10000"/>
                <a:gd name="connsiteX56" fmla="*/ 3255 w 10000"/>
                <a:gd name="connsiteY56" fmla="*/ 7813 h 10000"/>
                <a:gd name="connsiteX57" fmla="*/ 3255 w 10000"/>
                <a:gd name="connsiteY57" fmla="*/ 7907 h 10000"/>
                <a:gd name="connsiteX58" fmla="*/ 3333 w 10000"/>
                <a:gd name="connsiteY58" fmla="*/ 8048 h 10000"/>
                <a:gd name="connsiteX59" fmla="*/ 3725 w 10000"/>
                <a:gd name="connsiteY59" fmla="*/ 8233 h 10000"/>
                <a:gd name="connsiteX60" fmla="*/ 3804 w 10000"/>
                <a:gd name="connsiteY60" fmla="*/ 8466 h 10000"/>
                <a:gd name="connsiteX61" fmla="*/ 3804 w 10000"/>
                <a:gd name="connsiteY61" fmla="*/ 8559 h 10000"/>
                <a:gd name="connsiteX62" fmla="*/ 3883 w 10000"/>
                <a:gd name="connsiteY62" fmla="*/ 8698 h 10000"/>
                <a:gd name="connsiteX63" fmla="*/ 4001 w 10000"/>
                <a:gd name="connsiteY63" fmla="*/ 8789 h 10000"/>
                <a:gd name="connsiteX64" fmla="*/ 4196 w 10000"/>
                <a:gd name="connsiteY64" fmla="*/ 9022 h 10000"/>
                <a:gd name="connsiteX65" fmla="*/ 4196 w 10000"/>
                <a:gd name="connsiteY65" fmla="*/ 9117 h 10000"/>
                <a:gd name="connsiteX66" fmla="*/ 4276 w 10000"/>
                <a:gd name="connsiteY66" fmla="*/ 9257 h 10000"/>
                <a:gd name="connsiteX67" fmla="*/ 4550 w 10000"/>
                <a:gd name="connsiteY67" fmla="*/ 9347 h 10000"/>
                <a:gd name="connsiteX68" fmla="*/ 4628 w 10000"/>
                <a:gd name="connsiteY68" fmla="*/ 9347 h 10000"/>
                <a:gd name="connsiteX69" fmla="*/ 4745 w 10000"/>
                <a:gd name="connsiteY69" fmla="*/ 9257 h 10000"/>
                <a:gd name="connsiteX70" fmla="*/ 5019 w 10000"/>
                <a:gd name="connsiteY70" fmla="*/ 9347 h 10000"/>
                <a:gd name="connsiteX71" fmla="*/ 5215 w 10000"/>
                <a:gd name="connsiteY71" fmla="*/ 9257 h 10000"/>
                <a:gd name="connsiteX72" fmla="*/ 5372 w 10000"/>
                <a:gd name="connsiteY72" fmla="*/ 9117 h 10000"/>
                <a:gd name="connsiteX73" fmla="*/ 5491 w 10000"/>
                <a:gd name="connsiteY73" fmla="*/ 9257 h 10000"/>
                <a:gd name="connsiteX74" fmla="*/ 5844 w 10000"/>
                <a:gd name="connsiteY74" fmla="*/ 9581 h 10000"/>
                <a:gd name="connsiteX75" fmla="*/ 5922 w 10000"/>
                <a:gd name="connsiteY75" fmla="*/ 9768 h 10000"/>
                <a:gd name="connsiteX76" fmla="*/ 6039 w 10000"/>
                <a:gd name="connsiteY76" fmla="*/ 9907 h 10000"/>
                <a:gd name="connsiteX77" fmla="*/ 6119 w 10000"/>
                <a:gd name="connsiteY77" fmla="*/ 9907 h 10000"/>
                <a:gd name="connsiteX78" fmla="*/ 6197 w 10000"/>
                <a:gd name="connsiteY78" fmla="*/ 9907 h 10000"/>
                <a:gd name="connsiteX79" fmla="*/ 6313 w 10000"/>
                <a:gd name="connsiteY79" fmla="*/ 9907 h 10000"/>
                <a:gd name="connsiteX80" fmla="*/ 6510 w 10000"/>
                <a:gd name="connsiteY80" fmla="*/ 9907 h 10000"/>
                <a:gd name="connsiteX81" fmla="*/ 6588 w 10000"/>
                <a:gd name="connsiteY81" fmla="*/ 9907 h 10000"/>
                <a:gd name="connsiteX82" fmla="*/ 6785 w 10000"/>
                <a:gd name="connsiteY82" fmla="*/ 9907 h 10000"/>
                <a:gd name="connsiteX83" fmla="*/ 6863 w 10000"/>
                <a:gd name="connsiteY83" fmla="*/ 9907 h 10000"/>
                <a:gd name="connsiteX84" fmla="*/ 6942 w 10000"/>
                <a:gd name="connsiteY84" fmla="*/ 10000 h 10000"/>
                <a:gd name="connsiteX85" fmla="*/ 7137 w 10000"/>
                <a:gd name="connsiteY85" fmla="*/ 9907 h 10000"/>
                <a:gd name="connsiteX86" fmla="*/ 7334 w 10000"/>
                <a:gd name="connsiteY86" fmla="*/ 9907 h 10000"/>
                <a:gd name="connsiteX87" fmla="*/ 7530 w 10000"/>
                <a:gd name="connsiteY87" fmla="*/ 9768 h 10000"/>
                <a:gd name="connsiteX88" fmla="*/ 7687 w 10000"/>
                <a:gd name="connsiteY88" fmla="*/ 9768 h 10000"/>
                <a:gd name="connsiteX89" fmla="*/ 7961 w 10000"/>
                <a:gd name="connsiteY89" fmla="*/ 9768 h 10000"/>
                <a:gd name="connsiteX90" fmla="*/ 8237 w 10000"/>
                <a:gd name="connsiteY90" fmla="*/ 9581 h 10000"/>
                <a:gd name="connsiteX91" fmla="*/ 8237 w 10000"/>
                <a:gd name="connsiteY91" fmla="*/ 9581 h 10000"/>
                <a:gd name="connsiteX92" fmla="*/ 8237 w 10000"/>
                <a:gd name="connsiteY92" fmla="*/ 9581 h 10000"/>
                <a:gd name="connsiteX93" fmla="*/ 8548 w 10000"/>
                <a:gd name="connsiteY93" fmla="*/ 9257 h 10000"/>
                <a:gd name="connsiteX94" fmla="*/ 8627 w 10000"/>
                <a:gd name="connsiteY94" fmla="*/ 9117 h 10000"/>
                <a:gd name="connsiteX95" fmla="*/ 8824 w 10000"/>
                <a:gd name="connsiteY95" fmla="*/ 9117 h 10000"/>
                <a:gd name="connsiteX96" fmla="*/ 9177 w 10000"/>
                <a:gd name="connsiteY96" fmla="*/ 9257 h 10000"/>
                <a:gd name="connsiteX97" fmla="*/ 9374 w 10000"/>
                <a:gd name="connsiteY97" fmla="*/ 9257 h 10000"/>
                <a:gd name="connsiteX98" fmla="*/ 9569 w 10000"/>
                <a:gd name="connsiteY98" fmla="*/ 9117 h 10000"/>
                <a:gd name="connsiteX99" fmla="*/ 9569 w 10000"/>
                <a:gd name="connsiteY99" fmla="*/ 8789 h 10000"/>
                <a:gd name="connsiteX100" fmla="*/ 9648 w 10000"/>
                <a:gd name="connsiteY100" fmla="*/ 8698 h 10000"/>
                <a:gd name="connsiteX101" fmla="*/ 9569 w 10000"/>
                <a:gd name="connsiteY101" fmla="*/ 8559 h 10000"/>
                <a:gd name="connsiteX102" fmla="*/ 9569 w 10000"/>
                <a:gd name="connsiteY102" fmla="*/ 8466 h 10000"/>
                <a:gd name="connsiteX103" fmla="*/ 9177 w 10000"/>
                <a:gd name="connsiteY103" fmla="*/ 8466 h 10000"/>
                <a:gd name="connsiteX104" fmla="*/ 9100 w 10000"/>
                <a:gd name="connsiteY104" fmla="*/ 8370 h 10000"/>
                <a:gd name="connsiteX105" fmla="*/ 9100 w 10000"/>
                <a:gd name="connsiteY105" fmla="*/ 8233 h 10000"/>
                <a:gd name="connsiteX106" fmla="*/ 8902 w 10000"/>
                <a:gd name="connsiteY106" fmla="*/ 7813 h 10000"/>
                <a:gd name="connsiteX107" fmla="*/ 8902 w 10000"/>
                <a:gd name="connsiteY107" fmla="*/ 7582 h 10000"/>
                <a:gd name="connsiteX108" fmla="*/ 8824 w 10000"/>
                <a:gd name="connsiteY108" fmla="*/ 7490 h 10000"/>
                <a:gd name="connsiteX109" fmla="*/ 8548 w 10000"/>
                <a:gd name="connsiteY109" fmla="*/ 7256 h 10000"/>
                <a:gd name="connsiteX110" fmla="*/ 8432 w 10000"/>
                <a:gd name="connsiteY110" fmla="*/ 7162 h 10000"/>
                <a:gd name="connsiteX111" fmla="*/ 8353 w 10000"/>
                <a:gd name="connsiteY111" fmla="*/ 7025 h 10000"/>
                <a:gd name="connsiteX112" fmla="*/ 8353 w 10000"/>
                <a:gd name="connsiteY112" fmla="*/ 6928 h 10000"/>
                <a:gd name="connsiteX113" fmla="*/ 8237 w 10000"/>
                <a:gd name="connsiteY113" fmla="*/ 6697 h 10000"/>
                <a:gd name="connsiteX114" fmla="*/ 8157 w 10000"/>
                <a:gd name="connsiteY114" fmla="*/ 6697 h 10000"/>
                <a:gd name="connsiteX115" fmla="*/ 7961 w 10000"/>
                <a:gd name="connsiteY115" fmla="*/ 6604 h 10000"/>
                <a:gd name="connsiteX116" fmla="*/ 7882 w 10000"/>
                <a:gd name="connsiteY116" fmla="*/ 6604 h 10000"/>
                <a:gd name="connsiteX117" fmla="*/ 7805 w 10000"/>
                <a:gd name="connsiteY117" fmla="*/ 6604 h 10000"/>
                <a:gd name="connsiteX118" fmla="*/ 7687 w 10000"/>
                <a:gd name="connsiteY118" fmla="*/ 6604 h 10000"/>
                <a:gd name="connsiteX119" fmla="*/ 7608 w 10000"/>
                <a:gd name="connsiteY119" fmla="*/ 6512 h 10000"/>
                <a:gd name="connsiteX120" fmla="*/ 7687 w 10000"/>
                <a:gd name="connsiteY120" fmla="*/ 6373 h 10000"/>
                <a:gd name="connsiteX121" fmla="*/ 7805 w 10000"/>
                <a:gd name="connsiteY121" fmla="*/ 6281 h 10000"/>
                <a:gd name="connsiteX122" fmla="*/ 7805 w 10000"/>
                <a:gd name="connsiteY122" fmla="*/ 6046 h 10000"/>
                <a:gd name="connsiteX123" fmla="*/ 7882 w 10000"/>
                <a:gd name="connsiteY123" fmla="*/ 6046 h 10000"/>
                <a:gd name="connsiteX124" fmla="*/ 8157 w 10000"/>
                <a:gd name="connsiteY124" fmla="*/ 6046 h 10000"/>
                <a:gd name="connsiteX125" fmla="*/ 8353 w 10000"/>
                <a:gd name="connsiteY125" fmla="*/ 6046 h 10000"/>
                <a:gd name="connsiteX126" fmla="*/ 8432 w 10000"/>
                <a:gd name="connsiteY126" fmla="*/ 5951 h 10000"/>
                <a:gd name="connsiteX127" fmla="*/ 8432 w 10000"/>
                <a:gd name="connsiteY127" fmla="*/ 5721 h 10000"/>
                <a:gd name="connsiteX128" fmla="*/ 8432 w 10000"/>
                <a:gd name="connsiteY128" fmla="*/ 5071 h 10000"/>
                <a:gd name="connsiteX129" fmla="*/ 8432 w 10000"/>
                <a:gd name="connsiteY129" fmla="*/ 4837 h 10000"/>
                <a:gd name="connsiteX130" fmla="*/ 8548 w 10000"/>
                <a:gd name="connsiteY130" fmla="*/ 4606 h 10000"/>
                <a:gd name="connsiteX131" fmla="*/ 8432 w 10000"/>
                <a:gd name="connsiteY131" fmla="*/ 4510 h 10000"/>
                <a:gd name="connsiteX132" fmla="*/ 8432 w 10000"/>
                <a:gd name="connsiteY132" fmla="*/ 4418 h 10000"/>
                <a:gd name="connsiteX133" fmla="*/ 8548 w 10000"/>
                <a:gd name="connsiteY133" fmla="*/ 4418 h 10000"/>
                <a:gd name="connsiteX134" fmla="*/ 8548 w 10000"/>
                <a:gd name="connsiteY134" fmla="*/ 4280 h 10000"/>
                <a:gd name="connsiteX135" fmla="*/ 8627 w 10000"/>
                <a:gd name="connsiteY135" fmla="*/ 4094 h 10000"/>
                <a:gd name="connsiteX136" fmla="*/ 8706 w 10000"/>
                <a:gd name="connsiteY136" fmla="*/ 4094 h 10000"/>
                <a:gd name="connsiteX137" fmla="*/ 8902 w 10000"/>
                <a:gd name="connsiteY137" fmla="*/ 4094 h 10000"/>
                <a:gd name="connsiteX138" fmla="*/ 8902 w 10000"/>
                <a:gd name="connsiteY138" fmla="*/ 3955 h 10000"/>
                <a:gd name="connsiteX139" fmla="*/ 8980 w 10000"/>
                <a:gd name="connsiteY139" fmla="*/ 3534 h 10000"/>
                <a:gd name="connsiteX140" fmla="*/ 9100 w 10000"/>
                <a:gd name="connsiteY140" fmla="*/ 3396 h 10000"/>
                <a:gd name="connsiteX141" fmla="*/ 9452 w 10000"/>
                <a:gd name="connsiteY141" fmla="*/ 2652 h 10000"/>
                <a:gd name="connsiteX142" fmla="*/ 9648 w 10000"/>
                <a:gd name="connsiteY142" fmla="*/ 2559 h 10000"/>
                <a:gd name="connsiteX143" fmla="*/ 9726 w 10000"/>
                <a:gd name="connsiteY143" fmla="*/ 2421 h 10000"/>
                <a:gd name="connsiteX144" fmla="*/ 9843 w 10000"/>
                <a:gd name="connsiteY144" fmla="*/ 2324 h 10000"/>
                <a:gd name="connsiteX145" fmla="*/ 10000 w 10000"/>
                <a:gd name="connsiteY145" fmla="*/ 1444 h 10000"/>
                <a:gd name="connsiteX146" fmla="*/ 10000 w 10000"/>
                <a:gd name="connsiteY146" fmla="*/ 1209 h 10000"/>
                <a:gd name="connsiteX147" fmla="*/ 10000 w 10000"/>
                <a:gd name="connsiteY147"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746 w 10000"/>
                <a:gd name="connsiteY5" fmla="*/ 235 h 10000"/>
                <a:gd name="connsiteX6" fmla="*/ 314 w 10000"/>
                <a:gd name="connsiteY6" fmla="*/ 675 h 10000"/>
                <a:gd name="connsiteX7" fmla="*/ 274 w 10000"/>
                <a:gd name="connsiteY7" fmla="*/ 1112 h 10000"/>
                <a:gd name="connsiteX8" fmla="*/ 274 w 10000"/>
                <a:gd name="connsiteY8" fmla="*/ 1209 h 10000"/>
                <a:gd name="connsiteX9" fmla="*/ 392 w 10000"/>
                <a:gd name="connsiteY9" fmla="*/ 1351 h 10000"/>
                <a:gd name="connsiteX10" fmla="*/ 274 w 10000"/>
                <a:gd name="connsiteY10" fmla="*/ 1444 h 10000"/>
                <a:gd name="connsiteX11" fmla="*/ 196 w 10000"/>
                <a:gd name="connsiteY11" fmla="*/ 1534 h 10000"/>
                <a:gd name="connsiteX12" fmla="*/ 196 w 10000"/>
                <a:gd name="connsiteY12" fmla="*/ 1534 h 10000"/>
                <a:gd name="connsiteX13" fmla="*/ 196 w 10000"/>
                <a:gd name="connsiteY13" fmla="*/ 1768 h 10000"/>
                <a:gd name="connsiteX14" fmla="*/ 196 w 10000"/>
                <a:gd name="connsiteY14" fmla="*/ 2000 h 10000"/>
                <a:gd name="connsiteX15" fmla="*/ 117 w 10000"/>
                <a:gd name="connsiteY15" fmla="*/ 2094 h 10000"/>
                <a:gd name="connsiteX16" fmla="*/ 0 w 10000"/>
                <a:gd name="connsiteY16" fmla="*/ 2188 h 10000"/>
                <a:gd name="connsiteX17" fmla="*/ 0 w 10000"/>
                <a:gd name="connsiteY17" fmla="*/ 2324 h 10000"/>
                <a:gd name="connsiteX18" fmla="*/ 0 w 10000"/>
                <a:gd name="connsiteY18" fmla="*/ 2559 h 10000"/>
                <a:gd name="connsiteX19" fmla="*/ 117 w 10000"/>
                <a:gd name="connsiteY19" fmla="*/ 2559 h 10000"/>
                <a:gd name="connsiteX20" fmla="*/ 117 w 10000"/>
                <a:gd name="connsiteY20" fmla="*/ 2559 h 10000"/>
                <a:gd name="connsiteX21" fmla="*/ 392 w 10000"/>
                <a:gd name="connsiteY21" fmla="*/ 2421 h 10000"/>
                <a:gd name="connsiteX22" fmla="*/ 274 w 10000"/>
                <a:gd name="connsiteY22" fmla="*/ 2742 h 10000"/>
                <a:gd name="connsiteX23" fmla="*/ 392 w 10000"/>
                <a:gd name="connsiteY23" fmla="*/ 2978 h 10000"/>
                <a:gd name="connsiteX24" fmla="*/ 548 w 10000"/>
                <a:gd name="connsiteY24" fmla="*/ 3396 h 10000"/>
                <a:gd name="connsiteX25" fmla="*/ 548 w 10000"/>
                <a:gd name="connsiteY25" fmla="*/ 3534 h 10000"/>
                <a:gd name="connsiteX26" fmla="*/ 667 w 10000"/>
                <a:gd name="connsiteY26" fmla="*/ 3534 h 10000"/>
                <a:gd name="connsiteX27" fmla="*/ 667 w 10000"/>
                <a:gd name="connsiteY27" fmla="*/ 3626 h 10000"/>
                <a:gd name="connsiteX28" fmla="*/ 746 w 10000"/>
                <a:gd name="connsiteY28" fmla="*/ 3722 h 10000"/>
                <a:gd name="connsiteX29" fmla="*/ 746 w 10000"/>
                <a:gd name="connsiteY29" fmla="*/ 3862 h 10000"/>
                <a:gd name="connsiteX30" fmla="*/ 548 w 10000"/>
                <a:gd name="connsiteY30" fmla="*/ 3955 h 10000"/>
                <a:gd name="connsiteX31" fmla="*/ 746 w 10000"/>
                <a:gd name="connsiteY31" fmla="*/ 4094 h 10000"/>
                <a:gd name="connsiteX32" fmla="*/ 941 w 10000"/>
                <a:gd name="connsiteY32" fmla="*/ 4418 h 10000"/>
                <a:gd name="connsiteX33" fmla="*/ 1137 w 10000"/>
                <a:gd name="connsiteY33" fmla="*/ 4742 h 10000"/>
                <a:gd name="connsiteX34" fmla="*/ 1215 w 10000"/>
                <a:gd name="connsiteY34" fmla="*/ 4931 h 10000"/>
                <a:gd name="connsiteX35" fmla="*/ 1137 w 10000"/>
                <a:gd name="connsiteY35" fmla="*/ 5162 h 10000"/>
                <a:gd name="connsiteX36" fmla="*/ 1137 w 10000"/>
                <a:gd name="connsiteY36" fmla="*/ 5489 h 10000"/>
                <a:gd name="connsiteX37" fmla="*/ 1137 w 10000"/>
                <a:gd name="connsiteY37" fmla="*/ 5629 h 10000"/>
                <a:gd name="connsiteX38" fmla="*/ 1295 w 10000"/>
                <a:gd name="connsiteY38" fmla="*/ 5815 h 10000"/>
                <a:gd name="connsiteX39" fmla="*/ 1411 w 10000"/>
                <a:gd name="connsiteY39" fmla="*/ 5815 h 10000"/>
                <a:gd name="connsiteX40" fmla="*/ 1569 w 10000"/>
                <a:gd name="connsiteY40" fmla="*/ 5815 h 10000"/>
                <a:gd name="connsiteX41" fmla="*/ 1686 w 10000"/>
                <a:gd name="connsiteY41" fmla="*/ 6046 h 10000"/>
                <a:gd name="connsiteX42" fmla="*/ 1765 w 10000"/>
                <a:gd name="connsiteY42" fmla="*/ 6139 h 10000"/>
                <a:gd name="connsiteX43" fmla="*/ 2040 w 10000"/>
                <a:gd name="connsiteY43" fmla="*/ 6139 h 10000"/>
                <a:gd name="connsiteX44" fmla="*/ 2158 w 10000"/>
                <a:gd name="connsiteY44" fmla="*/ 6281 h 10000"/>
                <a:gd name="connsiteX45" fmla="*/ 2235 w 10000"/>
                <a:gd name="connsiteY45" fmla="*/ 6373 h 10000"/>
                <a:gd name="connsiteX46" fmla="*/ 2314 w 10000"/>
                <a:gd name="connsiteY46" fmla="*/ 6373 h 10000"/>
                <a:gd name="connsiteX47" fmla="*/ 2235 w 10000"/>
                <a:gd name="connsiteY47" fmla="*/ 6604 h 10000"/>
                <a:gd name="connsiteX48" fmla="*/ 2314 w 10000"/>
                <a:gd name="connsiteY48" fmla="*/ 6697 h 10000"/>
                <a:gd name="connsiteX49" fmla="*/ 2589 w 10000"/>
                <a:gd name="connsiteY49" fmla="*/ 6928 h 10000"/>
                <a:gd name="connsiteX50" fmla="*/ 2784 w 10000"/>
                <a:gd name="connsiteY50" fmla="*/ 7162 h 10000"/>
                <a:gd name="connsiteX51" fmla="*/ 2863 w 10000"/>
                <a:gd name="connsiteY51" fmla="*/ 7256 h 10000"/>
                <a:gd name="connsiteX52" fmla="*/ 3058 w 10000"/>
                <a:gd name="connsiteY52" fmla="*/ 7351 h 10000"/>
                <a:gd name="connsiteX53" fmla="*/ 3058 w 10000"/>
                <a:gd name="connsiteY53" fmla="*/ 7490 h 10000"/>
                <a:gd name="connsiteX54" fmla="*/ 3177 w 10000"/>
                <a:gd name="connsiteY54" fmla="*/ 7723 h 10000"/>
                <a:gd name="connsiteX55" fmla="*/ 3255 w 10000"/>
                <a:gd name="connsiteY55" fmla="*/ 7813 h 10000"/>
                <a:gd name="connsiteX56" fmla="*/ 3255 w 10000"/>
                <a:gd name="connsiteY56" fmla="*/ 7907 h 10000"/>
                <a:gd name="connsiteX57" fmla="*/ 3333 w 10000"/>
                <a:gd name="connsiteY57" fmla="*/ 8048 h 10000"/>
                <a:gd name="connsiteX58" fmla="*/ 3725 w 10000"/>
                <a:gd name="connsiteY58" fmla="*/ 8233 h 10000"/>
                <a:gd name="connsiteX59" fmla="*/ 3804 w 10000"/>
                <a:gd name="connsiteY59" fmla="*/ 8466 h 10000"/>
                <a:gd name="connsiteX60" fmla="*/ 3804 w 10000"/>
                <a:gd name="connsiteY60" fmla="*/ 8559 h 10000"/>
                <a:gd name="connsiteX61" fmla="*/ 3883 w 10000"/>
                <a:gd name="connsiteY61" fmla="*/ 8698 h 10000"/>
                <a:gd name="connsiteX62" fmla="*/ 4001 w 10000"/>
                <a:gd name="connsiteY62" fmla="*/ 8789 h 10000"/>
                <a:gd name="connsiteX63" fmla="*/ 4196 w 10000"/>
                <a:gd name="connsiteY63" fmla="*/ 9022 h 10000"/>
                <a:gd name="connsiteX64" fmla="*/ 4196 w 10000"/>
                <a:gd name="connsiteY64" fmla="*/ 9117 h 10000"/>
                <a:gd name="connsiteX65" fmla="*/ 4276 w 10000"/>
                <a:gd name="connsiteY65" fmla="*/ 9257 h 10000"/>
                <a:gd name="connsiteX66" fmla="*/ 4550 w 10000"/>
                <a:gd name="connsiteY66" fmla="*/ 9347 h 10000"/>
                <a:gd name="connsiteX67" fmla="*/ 4628 w 10000"/>
                <a:gd name="connsiteY67" fmla="*/ 9347 h 10000"/>
                <a:gd name="connsiteX68" fmla="*/ 4745 w 10000"/>
                <a:gd name="connsiteY68" fmla="*/ 9257 h 10000"/>
                <a:gd name="connsiteX69" fmla="*/ 5019 w 10000"/>
                <a:gd name="connsiteY69" fmla="*/ 9347 h 10000"/>
                <a:gd name="connsiteX70" fmla="*/ 5215 w 10000"/>
                <a:gd name="connsiteY70" fmla="*/ 9257 h 10000"/>
                <a:gd name="connsiteX71" fmla="*/ 5372 w 10000"/>
                <a:gd name="connsiteY71" fmla="*/ 9117 h 10000"/>
                <a:gd name="connsiteX72" fmla="*/ 5491 w 10000"/>
                <a:gd name="connsiteY72" fmla="*/ 9257 h 10000"/>
                <a:gd name="connsiteX73" fmla="*/ 5844 w 10000"/>
                <a:gd name="connsiteY73" fmla="*/ 9581 h 10000"/>
                <a:gd name="connsiteX74" fmla="*/ 5922 w 10000"/>
                <a:gd name="connsiteY74" fmla="*/ 9768 h 10000"/>
                <a:gd name="connsiteX75" fmla="*/ 6039 w 10000"/>
                <a:gd name="connsiteY75" fmla="*/ 9907 h 10000"/>
                <a:gd name="connsiteX76" fmla="*/ 6119 w 10000"/>
                <a:gd name="connsiteY76" fmla="*/ 9907 h 10000"/>
                <a:gd name="connsiteX77" fmla="*/ 6197 w 10000"/>
                <a:gd name="connsiteY77" fmla="*/ 9907 h 10000"/>
                <a:gd name="connsiteX78" fmla="*/ 6313 w 10000"/>
                <a:gd name="connsiteY78" fmla="*/ 9907 h 10000"/>
                <a:gd name="connsiteX79" fmla="*/ 6510 w 10000"/>
                <a:gd name="connsiteY79" fmla="*/ 9907 h 10000"/>
                <a:gd name="connsiteX80" fmla="*/ 6588 w 10000"/>
                <a:gd name="connsiteY80" fmla="*/ 9907 h 10000"/>
                <a:gd name="connsiteX81" fmla="*/ 6785 w 10000"/>
                <a:gd name="connsiteY81" fmla="*/ 9907 h 10000"/>
                <a:gd name="connsiteX82" fmla="*/ 6863 w 10000"/>
                <a:gd name="connsiteY82" fmla="*/ 9907 h 10000"/>
                <a:gd name="connsiteX83" fmla="*/ 6942 w 10000"/>
                <a:gd name="connsiteY83" fmla="*/ 10000 h 10000"/>
                <a:gd name="connsiteX84" fmla="*/ 7137 w 10000"/>
                <a:gd name="connsiteY84" fmla="*/ 9907 h 10000"/>
                <a:gd name="connsiteX85" fmla="*/ 7334 w 10000"/>
                <a:gd name="connsiteY85" fmla="*/ 9907 h 10000"/>
                <a:gd name="connsiteX86" fmla="*/ 7530 w 10000"/>
                <a:gd name="connsiteY86" fmla="*/ 9768 h 10000"/>
                <a:gd name="connsiteX87" fmla="*/ 7687 w 10000"/>
                <a:gd name="connsiteY87" fmla="*/ 9768 h 10000"/>
                <a:gd name="connsiteX88" fmla="*/ 7961 w 10000"/>
                <a:gd name="connsiteY88" fmla="*/ 9768 h 10000"/>
                <a:gd name="connsiteX89" fmla="*/ 8237 w 10000"/>
                <a:gd name="connsiteY89" fmla="*/ 9581 h 10000"/>
                <a:gd name="connsiteX90" fmla="*/ 8237 w 10000"/>
                <a:gd name="connsiteY90" fmla="*/ 9581 h 10000"/>
                <a:gd name="connsiteX91" fmla="*/ 8237 w 10000"/>
                <a:gd name="connsiteY91" fmla="*/ 9581 h 10000"/>
                <a:gd name="connsiteX92" fmla="*/ 8548 w 10000"/>
                <a:gd name="connsiteY92" fmla="*/ 9257 h 10000"/>
                <a:gd name="connsiteX93" fmla="*/ 8627 w 10000"/>
                <a:gd name="connsiteY93" fmla="*/ 9117 h 10000"/>
                <a:gd name="connsiteX94" fmla="*/ 8824 w 10000"/>
                <a:gd name="connsiteY94" fmla="*/ 9117 h 10000"/>
                <a:gd name="connsiteX95" fmla="*/ 9177 w 10000"/>
                <a:gd name="connsiteY95" fmla="*/ 9257 h 10000"/>
                <a:gd name="connsiteX96" fmla="*/ 9374 w 10000"/>
                <a:gd name="connsiteY96" fmla="*/ 9257 h 10000"/>
                <a:gd name="connsiteX97" fmla="*/ 9569 w 10000"/>
                <a:gd name="connsiteY97" fmla="*/ 9117 h 10000"/>
                <a:gd name="connsiteX98" fmla="*/ 9569 w 10000"/>
                <a:gd name="connsiteY98" fmla="*/ 8789 h 10000"/>
                <a:gd name="connsiteX99" fmla="*/ 9648 w 10000"/>
                <a:gd name="connsiteY99" fmla="*/ 8698 h 10000"/>
                <a:gd name="connsiteX100" fmla="*/ 9569 w 10000"/>
                <a:gd name="connsiteY100" fmla="*/ 8559 h 10000"/>
                <a:gd name="connsiteX101" fmla="*/ 9569 w 10000"/>
                <a:gd name="connsiteY101" fmla="*/ 8466 h 10000"/>
                <a:gd name="connsiteX102" fmla="*/ 9177 w 10000"/>
                <a:gd name="connsiteY102" fmla="*/ 8466 h 10000"/>
                <a:gd name="connsiteX103" fmla="*/ 9100 w 10000"/>
                <a:gd name="connsiteY103" fmla="*/ 8370 h 10000"/>
                <a:gd name="connsiteX104" fmla="*/ 9100 w 10000"/>
                <a:gd name="connsiteY104" fmla="*/ 8233 h 10000"/>
                <a:gd name="connsiteX105" fmla="*/ 8902 w 10000"/>
                <a:gd name="connsiteY105" fmla="*/ 7813 h 10000"/>
                <a:gd name="connsiteX106" fmla="*/ 8902 w 10000"/>
                <a:gd name="connsiteY106" fmla="*/ 7582 h 10000"/>
                <a:gd name="connsiteX107" fmla="*/ 8824 w 10000"/>
                <a:gd name="connsiteY107" fmla="*/ 7490 h 10000"/>
                <a:gd name="connsiteX108" fmla="*/ 8548 w 10000"/>
                <a:gd name="connsiteY108" fmla="*/ 7256 h 10000"/>
                <a:gd name="connsiteX109" fmla="*/ 8432 w 10000"/>
                <a:gd name="connsiteY109" fmla="*/ 7162 h 10000"/>
                <a:gd name="connsiteX110" fmla="*/ 8353 w 10000"/>
                <a:gd name="connsiteY110" fmla="*/ 7025 h 10000"/>
                <a:gd name="connsiteX111" fmla="*/ 8353 w 10000"/>
                <a:gd name="connsiteY111" fmla="*/ 6928 h 10000"/>
                <a:gd name="connsiteX112" fmla="*/ 8237 w 10000"/>
                <a:gd name="connsiteY112" fmla="*/ 6697 h 10000"/>
                <a:gd name="connsiteX113" fmla="*/ 8157 w 10000"/>
                <a:gd name="connsiteY113" fmla="*/ 6697 h 10000"/>
                <a:gd name="connsiteX114" fmla="*/ 7961 w 10000"/>
                <a:gd name="connsiteY114" fmla="*/ 6604 h 10000"/>
                <a:gd name="connsiteX115" fmla="*/ 7882 w 10000"/>
                <a:gd name="connsiteY115" fmla="*/ 6604 h 10000"/>
                <a:gd name="connsiteX116" fmla="*/ 7805 w 10000"/>
                <a:gd name="connsiteY116" fmla="*/ 6604 h 10000"/>
                <a:gd name="connsiteX117" fmla="*/ 7687 w 10000"/>
                <a:gd name="connsiteY117" fmla="*/ 6604 h 10000"/>
                <a:gd name="connsiteX118" fmla="*/ 7608 w 10000"/>
                <a:gd name="connsiteY118" fmla="*/ 6512 h 10000"/>
                <a:gd name="connsiteX119" fmla="*/ 7687 w 10000"/>
                <a:gd name="connsiteY119" fmla="*/ 6373 h 10000"/>
                <a:gd name="connsiteX120" fmla="*/ 7805 w 10000"/>
                <a:gd name="connsiteY120" fmla="*/ 6281 h 10000"/>
                <a:gd name="connsiteX121" fmla="*/ 7805 w 10000"/>
                <a:gd name="connsiteY121" fmla="*/ 6046 h 10000"/>
                <a:gd name="connsiteX122" fmla="*/ 7882 w 10000"/>
                <a:gd name="connsiteY122" fmla="*/ 6046 h 10000"/>
                <a:gd name="connsiteX123" fmla="*/ 8157 w 10000"/>
                <a:gd name="connsiteY123" fmla="*/ 6046 h 10000"/>
                <a:gd name="connsiteX124" fmla="*/ 8353 w 10000"/>
                <a:gd name="connsiteY124" fmla="*/ 6046 h 10000"/>
                <a:gd name="connsiteX125" fmla="*/ 8432 w 10000"/>
                <a:gd name="connsiteY125" fmla="*/ 5951 h 10000"/>
                <a:gd name="connsiteX126" fmla="*/ 8432 w 10000"/>
                <a:gd name="connsiteY126" fmla="*/ 5721 h 10000"/>
                <a:gd name="connsiteX127" fmla="*/ 8432 w 10000"/>
                <a:gd name="connsiteY127" fmla="*/ 5071 h 10000"/>
                <a:gd name="connsiteX128" fmla="*/ 8432 w 10000"/>
                <a:gd name="connsiteY128" fmla="*/ 4837 h 10000"/>
                <a:gd name="connsiteX129" fmla="*/ 8548 w 10000"/>
                <a:gd name="connsiteY129" fmla="*/ 4606 h 10000"/>
                <a:gd name="connsiteX130" fmla="*/ 8432 w 10000"/>
                <a:gd name="connsiteY130" fmla="*/ 4510 h 10000"/>
                <a:gd name="connsiteX131" fmla="*/ 8432 w 10000"/>
                <a:gd name="connsiteY131" fmla="*/ 4418 h 10000"/>
                <a:gd name="connsiteX132" fmla="*/ 8548 w 10000"/>
                <a:gd name="connsiteY132" fmla="*/ 4418 h 10000"/>
                <a:gd name="connsiteX133" fmla="*/ 8548 w 10000"/>
                <a:gd name="connsiteY133" fmla="*/ 4280 h 10000"/>
                <a:gd name="connsiteX134" fmla="*/ 8627 w 10000"/>
                <a:gd name="connsiteY134" fmla="*/ 4094 h 10000"/>
                <a:gd name="connsiteX135" fmla="*/ 8706 w 10000"/>
                <a:gd name="connsiteY135" fmla="*/ 4094 h 10000"/>
                <a:gd name="connsiteX136" fmla="*/ 8902 w 10000"/>
                <a:gd name="connsiteY136" fmla="*/ 4094 h 10000"/>
                <a:gd name="connsiteX137" fmla="*/ 8902 w 10000"/>
                <a:gd name="connsiteY137" fmla="*/ 3955 h 10000"/>
                <a:gd name="connsiteX138" fmla="*/ 8980 w 10000"/>
                <a:gd name="connsiteY138" fmla="*/ 3534 h 10000"/>
                <a:gd name="connsiteX139" fmla="*/ 9100 w 10000"/>
                <a:gd name="connsiteY139" fmla="*/ 3396 h 10000"/>
                <a:gd name="connsiteX140" fmla="*/ 9452 w 10000"/>
                <a:gd name="connsiteY140" fmla="*/ 2652 h 10000"/>
                <a:gd name="connsiteX141" fmla="*/ 9648 w 10000"/>
                <a:gd name="connsiteY141" fmla="*/ 2559 h 10000"/>
                <a:gd name="connsiteX142" fmla="*/ 9726 w 10000"/>
                <a:gd name="connsiteY142" fmla="*/ 2421 h 10000"/>
                <a:gd name="connsiteX143" fmla="*/ 9843 w 10000"/>
                <a:gd name="connsiteY143" fmla="*/ 2324 h 10000"/>
                <a:gd name="connsiteX144" fmla="*/ 10000 w 10000"/>
                <a:gd name="connsiteY144" fmla="*/ 1444 h 10000"/>
                <a:gd name="connsiteX145" fmla="*/ 10000 w 10000"/>
                <a:gd name="connsiteY145" fmla="*/ 1209 h 10000"/>
                <a:gd name="connsiteX146" fmla="*/ 10000 w 10000"/>
                <a:gd name="connsiteY146"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746 w 10000"/>
                <a:gd name="connsiteY4" fmla="*/ 140 h 10000"/>
                <a:gd name="connsiteX5" fmla="*/ 314 w 10000"/>
                <a:gd name="connsiteY5" fmla="*/ 675 h 10000"/>
                <a:gd name="connsiteX6" fmla="*/ 274 w 10000"/>
                <a:gd name="connsiteY6" fmla="*/ 1112 h 10000"/>
                <a:gd name="connsiteX7" fmla="*/ 274 w 10000"/>
                <a:gd name="connsiteY7" fmla="*/ 1209 h 10000"/>
                <a:gd name="connsiteX8" fmla="*/ 392 w 10000"/>
                <a:gd name="connsiteY8" fmla="*/ 1351 h 10000"/>
                <a:gd name="connsiteX9" fmla="*/ 274 w 10000"/>
                <a:gd name="connsiteY9" fmla="*/ 1444 h 10000"/>
                <a:gd name="connsiteX10" fmla="*/ 196 w 10000"/>
                <a:gd name="connsiteY10" fmla="*/ 1534 h 10000"/>
                <a:gd name="connsiteX11" fmla="*/ 196 w 10000"/>
                <a:gd name="connsiteY11" fmla="*/ 1534 h 10000"/>
                <a:gd name="connsiteX12" fmla="*/ 196 w 10000"/>
                <a:gd name="connsiteY12" fmla="*/ 1768 h 10000"/>
                <a:gd name="connsiteX13" fmla="*/ 196 w 10000"/>
                <a:gd name="connsiteY13" fmla="*/ 2000 h 10000"/>
                <a:gd name="connsiteX14" fmla="*/ 117 w 10000"/>
                <a:gd name="connsiteY14" fmla="*/ 2094 h 10000"/>
                <a:gd name="connsiteX15" fmla="*/ 0 w 10000"/>
                <a:gd name="connsiteY15" fmla="*/ 2188 h 10000"/>
                <a:gd name="connsiteX16" fmla="*/ 0 w 10000"/>
                <a:gd name="connsiteY16" fmla="*/ 2324 h 10000"/>
                <a:gd name="connsiteX17" fmla="*/ 0 w 10000"/>
                <a:gd name="connsiteY17" fmla="*/ 2559 h 10000"/>
                <a:gd name="connsiteX18" fmla="*/ 117 w 10000"/>
                <a:gd name="connsiteY18" fmla="*/ 2559 h 10000"/>
                <a:gd name="connsiteX19" fmla="*/ 117 w 10000"/>
                <a:gd name="connsiteY19" fmla="*/ 2559 h 10000"/>
                <a:gd name="connsiteX20" fmla="*/ 392 w 10000"/>
                <a:gd name="connsiteY20" fmla="*/ 2421 h 10000"/>
                <a:gd name="connsiteX21" fmla="*/ 274 w 10000"/>
                <a:gd name="connsiteY21" fmla="*/ 2742 h 10000"/>
                <a:gd name="connsiteX22" fmla="*/ 392 w 10000"/>
                <a:gd name="connsiteY22" fmla="*/ 2978 h 10000"/>
                <a:gd name="connsiteX23" fmla="*/ 548 w 10000"/>
                <a:gd name="connsiteY23" fmla="*/ 3396 h 10000"/>
                <a:gd name="connsiteX24" fmla="*/ 548 w 10000"/>
                <a:gd name="connsiteY24" fmla="*/ 3534 h 10000"/>
                <a:gd name="connsiteX25" fmla="*/ 667 w 10000"/>
                <a:gd name="connsiteY25" fmla="*/ 3534 h 10000"/>
                <a:gd name="connsiteX26" fmla="*/ 667 w 10000"/>
                <a:gd name="connsiteY26" fmla="*/ 3626 h 10000"/>
                <a:gd name="connsiteX27" fmla="*/ 746 w 10000"/>
                <a:gd name="connsiteY27" fmla="*/ 3722 h 10000"/>
                <a:gd name="connsiteX28" fmla="*/ 746 w 10000"/>
                <a:gd name="connsiteY28" fmla="*/ 3862 h 10000"/>
                <a:gd name="connsiteX29" fmla="*/ 548 w 10000"/>
                <a:gd name="connsiteY29" fmla="*/ 3955 h 10000"/>
                <a:gd name="connsiteX30" fmla="*/ 746 w 10000"/>
                <a:gd name="connsiteY30" fmla="*/ 4094 h 10000"/>
                <a:gd name="connsiteX31" fmla="*/ 941 w 10000"/>
                <a:gd name="connsiteY31" fmla="*/ 4418 h 10000"/>
                <a:gd name="connsiteX32" fmla="*/ 1137 w 10000"/>
                <a:gd name="connsiteY32" fmla="*/ 4742 h 10000"/>
                <a:gd name="connsiteX33" fmla="*/ 1215 w 10000"/>
                <a:gd name="connsiteY33" fmla="*/ 4931 h 10000"/>
                <a:gd name="connsiteX34" fmla="*/ 1137 w 10000"/>
                <a:gd name="connsiteY34" fmla="*/ 5162 h 10000"/>
                <a:gd name="connsiteX35" fmla="*/ 1137 w 10000"/>
                <a:gd name="connsiteY35" fmla="*/ 5489 h 10000"/>
                <a:gd name="connsiteX36" fmla="*/ 1137 w 10000"/>
                <a:gd name="connsiteY36" fmla="*/ 5629 h 10000"/>
                <a:gd name="connsiteX37" fmla="*/ 1295 w 10000"/>
                <a:gd name="connsiteY37" fmla="*/ 5815 h 10000"/>
                <a:gd name="connsiteX38" fmla="*/ 1411 w 10000"/>
                <a:gd name="connsiteY38" fmla="*/ 5815 h 10000"/>
                <a:gd name="connsiteX39" fmla="*/ 1569 w 10000"/>
                <a:gd name="connsiteY39" fmla="*/ 5815 h 10000"/>
                <a:gd name="connsiteX40" fmla="*/ 1686 w 10000"/>
                <a:gd name="connsiteY40" fmla="*/ 6046 h 10000"/>
                <a:gd name="connsiteX41" fmla="*/ 1765 w 10000"/>
                <a:gd name="connsiteY41" fmla="*/ 6139 h 10000"/>
                <a:gd name="connsiteX42" fmla="*/ 2040 w 10000"/>
                <a:gd name="connsiteY42" fmla="*/ 6139 h 10000"/>
                <a:gd name="connsiteX43" fmla="*/ 2158 w 10000"/>
                <a:gd name="connsiteY43" fmla="*/ 6281 h 10000"/>
                <a:gd name="connsiteX44" fmla="*/ 2235 w 10000"/>
                <a:gd name="connsiteY44" fmla="*/ 6373 h 10000"/>
                <a:gd name="connsiteX45" fmla="*/ 2314 w 10000"/>
                <a:gd name="connsiteY45" fmla="*/ 6373 h 10000"/>
                <a:gd name="connsiteX46" fmla="*/ 2235 w 10000"/>
                <a:gd name="connsiteY46" fmla="*/ 6604 h 10000"/>
                <a:gd name="connsiteX47" fmla="*/ 2314 w 10000"/>
                <a:gd name="connsiteY47" fmla="*/ 6697 h 10000"/>
                <a:gd name="connsiteX48" fmla="*/ 2589 w 10000"/>
                <a:gd name="connsiteY48" fmla="*/ 6928 h 10000"/>
                <a:gd name="connsiteX49" fmla="*/ 2784 w 10000"/>
                <a:gd name="connsiteY49" fmla="*/ 7162 h 10000"/>
                <a:gd name="connsiteX50" fmla="*/ 2863 w 10000"/>
                <a:gd name="connsiteY50" fmla="*/ 7256 h 10000"/>
                <a:gd name="connsiteX51" fmla="*/ 3058 w 10000"/>
                <a:gd name="connsiteY51" fmla="*/ 7351 h 10000"/>
                <a:gd name="connsiteX52" fmla="*/ 3058 w 10000"/>
                <a:gd name="connsiteY52" fmla="*/ 7490 h 10000"/>
                <a:gd name="connsiteX53" fmla="*/ 3177 w 10000"/>
                <a:gd name="connsiteY53" fmla="*/ 7723 h 10000"/>
                <a:gd name="connsiteX54" fmla="*/ 3255 w 10000"/>
                <a:gd name="connsiteY54" fmla="*/ 7813 h 10000"/>
                <a:gd name="connsiteX55" fmla="*/ 3255 w 10000"/>
                <a:gd name="connsiteY55" fmla="*/ 7907 h 10000"/>
                <a:gd name="connsiteX56" fmla="*/ 3333 w 10000"/>
                <a:gd name="connsiteY56" fmla="*/ 8048 h 10000"/>
                <a:gd name="connsiteX57" fmla="*/ 3725 w 10000"/>
                <a:gd name="connsiteY57" fmla="*/ 8233 h 10000"/>
                <a:gd name="connsiteX58" fmla="*/ 3804 w 10000"/>
                <a:gd name="connsiteY58" fmla="*/ 8466 h 10000"/>
                <a:gd name="connsiteX59" fmla="*/ 3804 w 10000"/>
                <a:gd name="connsiteY59" fmla="*/ 8559 h 10000"/>
                <a:gd name="connsiteX60" fmla="*/ 3883 w 10000"/>
                <a:gd name="connsiteY60" fmla="*/ 8698 h 10000"/>
                <a:gd name="connsiteX61" fmla="*/ 4001 w 10000"/>
                <a:gd name="connsiteY61" fmla="*/ 8789 h 10000"/>
                <a:gd name="connsiteX62" fmla="*/ 4196 w 10000"/>
                <a:gd name="connsiteY62" fmla="*/ 9022 h 10000"/>
                <a:gd name="connsiteX63" fmla="*/ 4196 w 10000"/>
                <a:gd name="connsiteY63" fmla="*/ 9117 h 10000"/>
                <a:gd name="connsiteX64" fmla="*/ 4276 w 10000"/>
                <a:gd name="connsiteY64" fmla="*/ 9257 h 10000"/>
                <a:gd name="connsiteX65" fmla="*/ 4550 w 10000"/>
                <a:gd name="connsiteY65" fmla="*/ 9347 h 10000"/>
                <a:gd name="connsiteX66" fmla="*/ 4628 w 10000"/>
                <a:gd name="connsiteY66" fmla="*/ 9347 h 10000"/>
                <a:gd name="connsiteX67" fmla="*/ 4745 w 10000"/>
                <a:gd name="connsiteY67" fmla="*/ 9257 h 10000"/>
                <a:gd name="connsiteX68" fmla="*/ 5019 w 10000"/>
                <a:gd name="connsiteY68" fmla="*/ 9347 h 10000"/>
                <a:gd name="connsiteX69" fmla="*/ 5215 w 10000"/>
                <a:gd name="connsiteY69" fmla="*/ 9257 h 10000"/>
                <a:gd name="connsiteX70" fmla="*/ 5372 w 10000"/>
                <a:gd name="connsiteY70" fmla="*/ 9117 h 10000"/>
                <a:gd name="connsiteX71" fmla="*/ 5491 w 10000"/>
                <a:gd name="connsiteY71" fmla="*/ 9257 h 10000"/>
                <a:gd name="connsiteX72" fmla="*/ 5844 w 10000"/>
                <a:gd name="connsiteY72" fmla="*/ 9581 h 10000"/>
                <a:gd name="connsiteX73" fmla="*/ 5922 w 10000"/>
                <a:gd name="connsiteY73" fmla="*/ 9768 h 10000"/>
                <a:gd name="connsiteX74" fmla="*/ 6039 w 10000"/>
                <a:gd name="connsiteY74" fmla="*/ 9907 h 10000"/>
                <a:gd name="connsiteX75" fmla="*/ 6119 w 10000"/>
                <a:gd name="connsiteY75" fmla="*/ 9907 h 10000"/>
                <a:gd name="connsiteX76" fmla="*/ 6197 w 10000"/>
                <a:gd name="connsiteY76" fmla="*/ 9907 h 10000"/>
                <a:gd name="connsiteX77" fmla="*/ 6313 w 10000"/>
                <a:gd name="connsiteY77" fmla="*/ 9907 h 10000"/>
                <a:gd name="connsiteX78" fmla="*/ 6510 w 10000"/>
                <a:gd name="connsiteY78" fmla="*/ 9907 h 10000"/>
                <a:gd name="connsiteX79" fmla="*/ 6588 w 10000"/>
                <a:gd name="connsiteY79" fmla="*/ 9907 h 10000"/>
                <a:gd name="connsiteX80" fmla="*/ 6785 w 10000"/>
                <a:gd name="connsiteY80" fmla="*/ 9907 h 10000"/>
                <a:gd name="connsiteX81" fmla="*/ 6863 w 10000"/>
                <a:gd name="connsiteY81" fmla="*/ 9907 h 10000"/>
                <a:gd name="connsiteX82" fmla="*/ 6942 w 10000"/>
                <a:gd name="connsiteY82" fmla="*/ 10000 h 10000"/>
                <a:gd name="connsiteX83" fmla="*/ 7137 w 10000"/>
                <a:gd name="connsiteY83" fmla="*/ 9907 h 10000"/>
                <a:gd name="connsiteX84" fmla="*/ 7334 w 10000"/>
                <a:gd name="connsiteY84" fmla="*/ 9907 h 10000"/>
                <a:gd name="connsiteX85" fmla="*/ 7530 w 10000"/>
                <a:gd name="connsiteY85" fmla="*/ 9768 h 10000"/>
                <a:gd name="connsiteX86" fmla="*/ 7687 w 10000"/>
                <a:gd name="connsiteY86" fmla="*/ 9768 h 10000"/>
                <a:gd name="connsiteX87" fmla="*/ 7961 w 10000"/>
                <a:gd name="connsiteY87" fmla="*/ 9768 h 10000"/>
                <a:gd name="connsiteX88" fmla="*/ 8237 w 10000"/>
                <a:gd name="connsiteY88" fmla="*/ 9581 h 10000"/>
                <a:gd name="connsiteX89" fmla="*/ 8237 w 10000"/>
                <a:gd name="connsiteY89" fmla="*/ 9581 h 10000"/>
                <a:gd name="connsiteX90" fmla="*/ 8237 w 10000"/>
                <a:gd name="connsiteY90" fmla="*/ 9581 h 10000"/>
                <a:gd name="connsiteX91" fmla="*/ 8548 w 10000"/>
                <a:gd name="connsiteY91" fmla="*/ 9257 h 10000"/>
                <a:gd name="connsiteX92" fmla="*/ 8627 w 10000"/>
                <a:gd name="connsiteY92" fmla="*/ 9117 h 10000"/>
                <a:gd name="connsiteX93" fmla="*/ 8824 w 10000"/>
                <a:gd name="connsiteY93" fmla="*/ 9117 h 10000"/>
                <a:gd name="connsiteX94" fmla="*/ 9177 w 10000"/>
                <a:gd name="connsiteY94" fmla="*/ 9257 h 10000"/>
                <a:gd name="connsiteX95" fmla="*/ 9374 w 10000"/>
                <a:gd name="connsiteY95" fmla="*/ 9257 h 10000"/>
                <a:gd name="connsiteX96" fmla="*/ 9569 w 10000"/>
                <a:gd name="connsiteY96" fmla="*/ 9117 h 10000"/>
                <a:gd name="connsiteX97" fmla="*/ 9569 w 10000"/>
                <a:gd name="connsiteY97" fmla="*/ 8789 h 10000"/>
                <a:gd name="connsiteX98" fmla="*/ 9648 w 10000"/>
                <a:gd name="connsiteY98" fmla="*/ 8698 h 10000"/>
                <a:gd name="connsiteX99" fmla="*/ 9569 w 10000"/>
                <a:gd name="connsiteY99" fmla="*/ 8559 h 10000"/>
                <a:gd name="connsiteX100" fmla="*/ 9569 w 10000"/>
                <a:gd name="connsiteY100" fmla="*/ 8466 h 10000"/>
                <a:gd name="connsiteX101" fmla="*/ 9177 w 10000"/>
                <a:gd name="connsiteY101" fmla="*/ 8466 h 10000"/>
                <a:gd name="connsiteX102" fmla="*/ 9100 w 10000"/>
                <a:gd name="connsiteY102" fmla="*/ 8370 h 10000"/>
                <a:gd name="connsiteX103" fmla="*/ 9100 w 10000"/>
                <a:gd name="connsiteY103" fmla="*/ 8233 h 10000"/>
                <a:gd name="connsiteX104" fmla="*/ 8902 w 10000"/>
                <a:gd name="connsiteY104" fmla="*/ 7813 h 10000"/>
                <a:gd name="connsiteX105" fmla="*/ 8902 w 10000"/>
                <a:gd name="connsiteY105" fmla="*/ 7582 h 10000"/>
                <a:gd name="connsiteX106" fmla="*/ 8824 w 10000"/>
                <a:gd name="connsiteY106" fmla="*/ 7490 h 10000"/>
                <a:gd name="connsiteX107" fmla="*/ 8548 w 10000"/>
                <a:gd name="connsiteY107" fmla="*/ 7256 h 10000"/>
                <a:gd name="connsiteX108" fmla="*/ 8432 w 10000"/>
                <a:gd name="connsiteY108" fmla="*/ 7162 h 10000"/>
                <a:gd name="connsiteX109" fmla="*/ 8353 w 10000"/>
                <a:gd name="connsiteY109" fmla="*/ 7025 h 10000"/>
                <a:gd name="connsiteX110" fmla="*/ 8353 w 10000"/>
                <a:gd name="connsiteY110" fmla="*/ 6928 h 10000"/>
                <a:gd name="connsiteX111" fmla="*/ 8237 w 10000"/>
                <a:gd name="connsiteY111" fmla="*/ 6697 h 10000"/>
                <a:gd name="connsiteX112" fmla="*/ 8157 w 10000"/>
                <a:gd name="connsiteY112" fmla="*/ 6697 h 10000"/>
                <a:gd name="connsiteX113" fmla="*/ 7961 w 10000"/>
                <a:gd name="connsiteY113" fmla="*/ 6604 h 10000"/>
                <a:gd name="connsiteX114" fmla="*/ 7882 w 10000"/>
                <a:gd name="connsiteY114" fmla="*/ 6604 h 10000"/>
                <a:gd name="connsiteX115" fmla="*/ 7805 w 10000"/>
                <a:gd name="connsiteY115" fmla="*/ 6604 h 10000"/>
                <a:gd name="connsiteX116" fmla="*/ 7687 w 10000"/>
                <a:gd name="connsiteY116" fmla="*/ 6604 h 10000"/>
                <a:gd name="connsiteX117" fmla="*/ 7608 w 10000"/>
                <a:gd name="connsiteY117" fmla="*/ 6512 h 10000"/>
                <a:gd name="connsiteX118" fmla="*/ 7687 w 10000"/>
                <a:gd name="connsiteY118" fmla="*/ 6373 h 10000"/>
                <a:gd name="connsiteX119" fmla="*/ 7805 w 10000"/>
                <a:gd name="connsiteY119" fmla="*/ 6281 h 10000"/>
                <a:gd name="connsiteX120" fmla="*/ 7805 w 10000"/>
                <a:gd name="connsiteY120" fmla="*/ 6046 h 10000"/>
                <a:gd name="connsiteX121" fmla="*/ 7882 w 10000"/>
                <a:gd name="connsiteY121" fmla="*/ 6046 h 10000"/>
                <a:gd name="connsiteX122" fmla="*/ 8157 w 10000"/>
                <a:gd name="connsiteY122" fmla="*/ 6046 h 10000"/>
                <a:gd name="connsiteX123" fmla="*/ 8353 w 10000"/>
                <a:gd name="connsiteY123" fmla="*/ 6046 h 10000"/>
                <a:gd name="connsiteX124" fmla="*/ 8432 w 10000"/>
                <a:gd name="connsiteY124" fmla="*/ 5951 h 10000"/>
                <a:gd name="connsiteX125" fmla="*/ 8432 w 10000"/>
                <a:gd name="connsiteY125" fmla="*/ 5721 h 10000"/>
                <a:gd name="connsiteX126" fmla="*/ 8432 w 10000"/>
                <a:gd name="connsiteY126" fmla="*/ 5071 h 10000"/>
                <a:gd name="connsiteX127" fmla="*/ 8432 w 10000"/>
                <a:gd name="connsiteY127" fmla="*/ 4837 h 10000"/>
                <a:gd name="connsiteX128" fmla="*/ 8548 w 10000"/>
                <a:gd name="connsiteY128" fmla="*/ 4606 h 10000"/>
                <a:gd name="connsiteX129" fmla="*/ 8432 w 10000"/>
                <a:gd name="connsiteY129" fmla="*/ 4510 h 10000"/>
                <a:gd name="connsiteX130" fmla="*/ 8432 w 10000"/>
                <a:gd name="connsiteY130" fmla="*/ 4418 h 10000"/>
                <a:gd name="connsiteX131" fmla="*/ 8548 w 10000"/>
                <a:gd name="connsiteY131" fmla="*/ 4418 h 10000"/>
                <a:gd name="connsiteX132" fmla="*/ 8548 w 10000"/>
                <a:gd name="connsiteY132" fmla="*/ 4280 h 10000"/>
                <a:gd name="connsiteX133" fmla="*/ 8627 w 10000"/>
                <a:gd name="connsiteY133" fmla="*/ 4094 h 10000"/>
                <a:gd name="connsiteX134" fmla="*/ 8706 w 10000"/>
                <a:gd name="connsiteY134" fmla="*/ 4094 h 10000"/>
                <a:gd name="connsiteX135" fmla="*/ 8902 w 10000"/>
                <a:gd name="connsiteY135" fmla="*/ 4094 h 10000"/>
                <a:gd name="connsiteX136" fmla="*/ 8902 w 10000"/>
                <a:gd name="connsiteY136" fmla="*/ 3955 h 10000"/>
                <a:gd name="connsiteX137" fmla="*/ 8980 w 10000"/>
                <a:gd name="connsiteY137" fmla="*/ 3534 h 10000"/>
                <a:gd name="connsiteX138" fmla="*/ 9100 w 10000"/>
                <a:gd name="connsiteY138" fmla="*/ 3396 h 10000"/>
                <a:gd name="connsiteX139" fmla="*/ 9452 w 10000"/>
                <a:gd name="connsiteY139" fmla="*/ 2652 h 10000"/>
                <a:gd name="connsiteX140" fmla="*/ 9648 w 10000"/>
                <a:gd name="connsiteY140" fmla="*/ 2559 h 10000"/>
                <a:gd name="connsiteX141" fmla="*/ 9726 w 10000"/>
                <a:gd name="connsiteY141" fmla="*/ 2421 h 10000"/>
                <a:gd name="connsiteX142" fmla="*/ 9843 w 10000"/>
                <a:gd name="connsiteY142" fmla="*/ 2324 h 10000"/>
                <a:gd name="connsiteX143" fmla="*/ 10000 w 10000"/>
                <a:gd name="connsiteY143" fmla="*/ 1444 h 10000"/>
                <a:gd name="connsiteX144" fmla="*/ 10000 w 10000"/>
                <a:gd name="connsiteY144" fmla="*/ 1209 h 10000"/>
                <a:gd name="connsiteX145" fmla="*/ 10000 w 10000"/>
                <a:gd name="connsiteY145" fmla="*/ 976 h 10000"/>
                <a:gd name="connsiteX0" fmla="*/ 10000 w 10000"/>
                <a:gd name="connsiteY0" fmla="*/ 976 h 10000"/>
                <a:gd name="connsiteX1" fmla="*/ 1490 w 10000"/>
                <a:gd name="connsiteY1" fmla="*/ 0 h 10000"/>
                <a:gd name="connsiteX2" fmla="*/ 1020 w 10000"/>
                <a:gd name="connsiteY2" fmla="*/ 0 h 10000"/>
                <a:gd name="connsiteX3" fmla="*/ 746 w 10000"/>
                <a:gd name="connsiteY3" fmla="*/ 0 h 10000"/>
                <a:gd name="connsiteX4" fmla="*/ 314 w 10000"/>
                <a:gd name="connsiteY4" fmla="*/ 675 h 10000"/>
                <a:gd name="connsiteX5" fmla="*/ 274 w 10000"/>
                <a:gd name="connsiteY5" fmla="*/ 1112 h 10000"/>
                <a:gd name="connsiteX6" fmla="*/ 274 w 10000"/>
                <a:gd name="connsiteY6" fmla="*/ 1209 h 10000"/>
                <a:gd name="connsiteX7" fmla="*/ 392 w 10000"/>
                <a:gd name="connsiteY7" fmla="*/ 1351 h 10000"/>
                <a:gd name="connsiteX8" fmla="*/ 274 w 10000"/>
                <a:gd name="connsiteY8" fmla="*/ 1444 h 10000"/>
                <a:gd name="connsiteX9" fmla="*/ 196 w 10000"/>
                <a:gd name="connsiteY9" fmla="*/ 1534 h 10000"/>
                <a:gd name="connsiteX10" fmla="*/ 196 w 10000"/>
                <a:gd name="connsiteY10" fmla="*/ 1534 h 10000"/>
                <a:gd name="connsiteX11" fmla="*/ 196 w 10000"/>
                <a:gd name="connsiteY11" fmla="*/ 1768 h 10000"/>
                <a:gd name="connsiteX12" fmla="*/ 196 w 10000"/>
                <a:gd name="connsiteY12" fmla="*/ 2000 h 10000"/>
                <a:gd name="connsiteX13" fmla="*/ 117 w 10000"/>
                <a:gd name="connsiteY13" fmla="*/ 2094 h 10000"/>
                <a:gd name="connsiteX14" fmla="*/ 0 w 10000"/>
                <a:gd name="connsiteY14" fmla="*/ 2188 h 10000"/>
                <a:gd name="connsiteX15" fmla="*/ 0 w 10000"/>
                <a:gd name="connsiteY15" fmla="*/ 2324 h 10000"/>
                <a:gd name="connsiteX16" fmla="*/ 0 w 10000"/>
                <a:gd name="connsiteY16" fmla="*/ 2559 h 10000"/>
                <a:gd name="connsiteX17" fmla="*/ 117 w 10000"/>
                <a:gd name="connsiteY17" fmla="*/ 2559 h 10000"/>
                <a:gd name="connsiteX18" fmla="*/ 117 w 10000"/>
                <a:gd name="connsiteY18" fmla="*/ 2559 h 10000"/>
                <a:gd name="connsiteX19" fmla="*/ 392 w 10000"/>
                <a:gd name="connsiteY19" fmla="*/ 2421 h 10000"/>
                <a:gd name="connsiteX20" fmla="*/ 274 w 10000"/>
                <a:gd name="connsiteY20" fmla="*/ 2742 h 10000"/>
                <a:gd name="connsiteX21" fmla="*/ 392 w 10000"/>
                <a:gd name="connsiteY21" fmla="*/ 2978 h 10000"/>
                <a:gd name="connsiteX22" fmla="*/ 548 w 10000"/>
                <a:gd name="connsiteY22" fmla="*/ 3396 h 10000"/>
                <a:gd name="connsiteX23" fmla="*/ 548 w 10000"/>
                <a:gd name="connsiteY23" fmla="*/ 3534 h 10000"/>
                <a:gd name="connsiteX24" fmla="*/ 667 w 10000"/>
                <a:gd name="connsiteY24" fmla="*/ 3534 h 10000"/>
                <a:gd name="connsiteX25" fmla="*/ 667 w 10000"/>
                <a:gd name="connsiteY25" fmla="*/ 3626 h 10000"/>
                <a:gd name="connsiteX26" fmla="*/ 746 w 10000"/>
                <a:gd name="connsiteY26" fmla="*/ 3722 h 10000"/>
                <a:gd name="connsiteX27" fmla="*/ 746 w 10000"/>
                <a:gd name="connsiteY27" fmla="*/ 3862 h 10000"/>
                <a:gd name="connsiteX28" fmla="*/ 548 w 10000"/>
                <a:gd name="connsiteY28" fmla="*/ 3955 h 10000"/>
                <a:gd name="connsiteX29" fmla="*/ 746 w 10000"/>
                <a:gd name="connsiteY29" fmla="*/ 4094 h 10000"/>
                <a:gd name="connsiteX30" fmla="*/ 941 w 10000"/>
                <a:gd name="connsiteY30" fmla="*/ 4418 h 10000"/>
                <a:gd name="connsiteX31" fmla="*/ 1137 w 10000"/>
                <a:gd name="connsiteY31" fmla="*/ 4742 h 10000"/>
                <a:gd name="connsiteX32" fmla="*/ 1215 w 10000"/>
                <a:gd name="connsiteY32" fmla="*/ 4931 h 10000"/>
                <a:gd name="connsiteX33" fmla="*/ 1137 w 10000"/>
                <a:gd name="connsiteY33" fmla="*/ 5162 h 10000"/>
                <a:gd name="connsiteX34" fmla="*/ 1137 w 10000"/>
                <a:gd name="connsiteY34" fmla="*/ 5489 h 10000"/>
                <a:gd name="connsiteX35" fmla="*/ 1137 w 10000"/>
                <a:gd name="connsiteY35" fmla="*/ 5629 h 10000"/>
                <a:gd name="connsiteX36" fmla="*/ 1295 w 10000"/>
                <a:gd name="connsiteY36" fmla="*/ 5815 h 10000"/>
                <a:gd name="connsiteX37" fmla="*/ 1411 w 10000"/>
                <a:gd name="connsiteY37" fmla="*/ 5815 h 10000"/>
                <a:gd name="connsiteX38" fmla="*/ 1569 w 10000"/>
                <a:gd name="connsiteY38" fmla="*/ 5815 h 10000"/>
                <a:gd name="connsiteX39" fmla="*/ 1686 w 10000"/>
                <a:gd name="connsiteY39" fmla="*/ 6046 h 10000"/>
                <a:gd name="connsiteX40" fmla="*/ 1765 w 10000"/>
                <a:gd name="connsiteY40" fmla="*/ 6139 h 10000"/>
                <a:gd name="connsiteX41" fmla="*/ 2040 w 10000"/>
                <a:gd name="connsiteY41" fmla="*/ 6139 h 10000"/>
                <a:gd name="connsiteX42" fmla="*/ 2158 w 10000"/>
                <a:gd name="connsiteY42" fmla="*/ 6281 h 10000"/>
                <a:gd name="connsiteX43" fmla="*/ 2235 w 10000"/>
                <a:gd name="connsiteY43" fmla="*/ 6373 h 10000"/>
                <a:gd name="connsiteX44" fmla="*/ 2314 w 10000"/>
                <a:gd name="connsiteY44" fmla="*/ 6373 h 10000"/>
                <a:gd name="connsiteX45" fmla="*/ 2235 w 10000"/>
                <a:gd name="connsiteY45" fmla="*/ 6604 h 10000"/>
                <a:gd name="connsiteX46" fmla="*/ 2314 w 10000"/>
                <a:gd name="connsiteY46" fmla="*/ 6697 h 10000"/>
                <a:gd name="connsiteX47" fmla="*/ 2589 w 10000"/>
                <a:gd name="connsiteY47" fmla="*/ 6928 h 10000"/>
                <a:gd name="connsiteX48" fmla="*/ 2784 w 10000"/>
                <a:gd name="connsiteY48" fmla="*/ 7162 h 10000"/>
                <a:gd name="connsiteX49" fmla="*/ 2863 w 10000"/>
                <a:gd name="connsiteY49" fmla="*/ 7256 h 10000"/>
                <a:gd name="connsiteX50" fmla="*/ 3058 w 10000"/>
                <a:gd name="connsiteY50" fmla="*/ 7351 h 10000"/>
                <a:gd name="connsiteX51" fmla="*/ 3058 w 10000"/>
                <a:gd name="connsiteY51" fmla="*/ 7490 h 10000"/>
                <a:gd name="connsiteX52" fmla="*/ 3177 w 10000"/>
                <a:gd name="connsiteY52" fmla="*/ 7723 h 10000"/>
                <a:gd name="connsiteX53" fmla="*/ 3255 w 10000"/>
                <a:gd name="connsiteY53" fmla="*/ 7813 h 10000"/>
                <a:gd name="connsiteX54" fmla="*/ 3255 w 10000"/>
                <a:gd name="connsiteY54" fmla="*/ 7907 h 10000"/>
                <a:gd name="connsiteX55" fmla="*/ 3333 w 10000"/>
                <a:gd name="connsiteY55" fmla="*/ 8048 h 10000"/>
                <a:gd name="connsiteX56" fmla="*/ 3725 w 10000"/>
                <a:gd name="connsiteY56" fmla="*/ 8233 h 10000"/>
                <a:gd name="connsiteX57" fmla="*/ 3804 w 10000"/>
                <a:gd name="connsiteY57" fmla="*/ 8466 h 10000"/>
                <a:gd name="connsiteX58" fmla="*/ 3804 w 10000"/>
                <a:gd name="connsiteY58" fmla="*/ 8559 h 10000"/>
                <a:gd name="connsiteX59" fmla="*/ 3883 w 10000"/>
                <a:gd name="connsiteY59" fmla="*/ 8698 h 10000"/>
                <a:gd name="connsiteX60" fmla="*/ 4001 w 10000"/>
                <a:gd name="connsiteY60" fmla="*/ 8789 h 10000"/>
                <a:gd name="connsiteX61" fmla="*/ 4196 w 10000"/>
                <a:gd name="connsiteY61" fmla="*/ 9022 h 10000"/>
                <a:gd name="connsiteX62" fmla="*/ 4196 w 10000"/>
                <a:gd name="connsiteY62" fmla="*/ 9117 h 10000"/>
                <a:gd name="connsiteX63" fmla="*/ 4276 w 10000"/>
                <a:gd name="connsiteY63" fmla="*/ 9257 h 10000"/>
                <a:gd name="connsiteX64" fmla="*/ 4550 w 10000"/>
                <a:gd name="connsiteY64" fmla="*/ 9347 h 10000"/>
                <a:gd name="connsiteX65" fmla="*/ 4628 w 10000"/>
                <a:gd name="connsiteY65" fmla="*/ 9347 h 10000"/>
                <a:gd name="connsiteX66" fmla="*/ 4745 w 10000"/>
                <a:gd name="connsiteY66" fmla="*/ 9257 h 10000"/>
                <a:gd name="connsiteX67" fmla="*/ 5019 w 10000"/>
                <a:gd name="connsiteY67" fmla="*/ 9347 h 10000"/>
                <a:gd name="connsiteX68" fmla="*/ 5215 w 10000"/>
                <a:gd name="connsiteY68" fmla="*/ 9257 h 10000"/>
                <a:gd name="connsiteX69" fmla="*/ 5372 w 10000"/>
                <a:gd name="connsiteY69" fmla="*/ 9117 h 10000"/>
                <a:gd name="connsiteX70" fmla="*/ 5491 w 10000"/>
                <a:gd name="connsiteY70" fmla="*/ 9257 h 10000"/>
                <a:gd name="connsiteX71" fmla="*/ 5844 w 10000"/>
                <a:gd name="connsiteY71" fmla="*/ 9581 h 10000"/>
                <a:gd name="connsiteX72" fmla="*/ 5922 w 10000"/>
                <a:gd name="connsiteY72" fmla="*/ 9768 h 10000"/>
                <a:gd name="connsiteX73" fmla="*/ 6039 w 10000"/>
                <a:gd name="connsiteY73" fmla="*/ 9907 h 10000"/>
                <a:gd name="connsiteX74" fmla="*/ 6119 w 10000"/>
                <a:gd name="connsiteY74" fmla="*/ 9907 h 10000"/>
                <a:gd name="connsiteX75" fmla="*/ 6197 w 10000"/>
                <a:gd name="connsiteY75" fmla="*/ 9907 h 10000"/>
                <a:gd name="connsiteX76" fmla="*/ 6313 w 10000"/>
                <a:gd name="connsiteY76" fmla="*/ 9907 h 10000"/>
                <a:gd name="connsiteX77" fmla="*/ 6510 w 10000"/>
                <a:gd name="connsiteY77" fmla="*/ 9907 h 10000"/>
                <a:gd name="connsiteX78" fmla="*/ 6588 w 10000"/>
                <a:gd name="connsiteY78" fmla="*/ 9907 h 10000"/>
                <a:gd name="connsiteX79" fmla="*/ 6785 w 10000"/>
                <a:gd name="connsiteY79" fmla="*/ 9907 h 10000"/>
                <a:gd name="connsiteX80" fmla="*/ 6863 w 10000"/>
                <a:gd name="connsiteY80" fmla="*/ 9907 h 10000"/>
                <a:gd name="connsiteX81" fmla="*/ 6942 w 10000"/>
                <a:gd name="connsiteY81" fmla="*/ 10000 h 10000"/>
                <a:gd name="connsiteX82" fmla="*/ 7137 w 10000"/>
                <a:gd name="connsiteY82" fmla="*/ 9907 h 10000"/>
                <a:gd name="connsiteX83" fmla="*/ 7334 w 10000"/>
                <a:gd name="connsiteY83" fmla="*/ 9907 h 10000"/>
                <a:gd name="connsiteX84" fmla="*/ 7530 w 10000"/>
                <a:gd name="connsiteY84" fmla="*/ 9768 h 10000"/>
                <a:gd name="connsiteX85" fmla="*/ 7687 w 10000"/>
                <a:gd name="connsiteY85" fmla="*/ 9768 h 10000"/>
                <a:gd name="connsiteX86" fmla="*/ 7961 w 10000"/>
                <a:gd name="connsiteY86" fmla="*/ 9768 h 10000"/>
                <a:gd name="connsiteX87" fmla="*/ 8237 w 10000"/>
                <a:gd name="connsiteY87" fmla="*/ 9581 h 10000"/>
                <a:gd name="connsiteX88" fmla="*/ 8237 w 10000"/>
                <a:gd name="connsiteY88" fmla="*/ 9581 h 10000"/>
                <a:gd name="connsiteX89" fmla="*/ 8237 w 10000"/>
                <a:gd name="connsiteY89" fmla="*/ 9581 h 10000"/>
                <a:gd name="connsiteX90" fmla="*/ 8548 w 10000"/>
                <a:gd name="connsiteY90" fmla="*/ 9257 h 10000"/>
                <a:gd name="connsiteX91" fmla="*/ 8627 w 10000"/>
                <a:gd name="connsiteY91" fmla="*/ 9117 h 10000"/>
                <a:gd name="connsiteX92" fmla="*/ 8824 w 10000"/>
                <a:gd name="connsiteY92" fmla="*/ 9117 h 10000"/>
                <a:gd name="connsiteX93" fmla="*/ 9177 w 10000"/>
                <a:gd name="connsiteY93" fmla="*/ 9257 h 10000"/>
                <a:gd name="connsiteX94" fmla="*/ 9374 w 10000"/>
                <a:gd name="connsiteY94" fmla="*/ 9257 h 10000"/>
                <a:gd name="connsiteX95" fmla="*/ 9569 w 10000"/>
                <a:gd name="connsiteY95" fmla="*/ 9117 h 10000"/>
                <a:gd name="connsiteX96" fmla="*/ 9569 w 10000"/>
                <a:gd name="connsiteY96" fmla="*/ 8789 h 10000"/>
                <a:gd name="connsiteX97" fmla="*/ 9648 w 10000"/>
                <a:gd name="connsiteY97" fmla="*/ 8698 h 10000"/>
                <a:gd name="connsiteX98" fmla="*/ 9569 w 10000"/>
                <a:gd name="connsiteY98" fmla="*/ 8559 h 10000"/>
                <a:gd name="connsiteX99" fmla="*/ 9569 w 10000"/>
                <a:gd name="connsiteY99" fmla="*/ 8466 h 10000"/>
                <a:gd name="connsiteX100" fmla="*/ 9177 w 10000"/>
                <a:gd name="connsiteY100" fmla="*/ 8466 h 10000"/>
                <a:gd name="connsiteX101" fmla="*/ 9100 w 10000"/>
                <a:gd name="connsiteY101" fmla="*/ 8370 h 10000"/>
                <a:gd name="connsiteX102" fmla="*/ 9100 w 10000"/>
                <a:gd name="connsiteY102" fmla="*/ 8233 h 10000"/>
                <a:gd name="connsiteX103" fmla="*/ 8902 w 10000"/>
                <a:gd name="connsiteY103" fmla="*/ 7813 h 10000"/>
                <a:gd name="connsiteX104" fmla="*/ 8902 w 10000"/>
                <a:gd name="connsiteY104" fmla="*/ 7582 h 10000"/>
                <a:gd name="connsiteX105" fmla="*/ 8824 w 10000"/>
                <a:gd name="connsiteY105" fmla="*/ 7490 h 10000"/>
                <a:gd name="connsiteX106" fmla="*/ 8548 w 10000"/>
                <a:gd name="connsiteY106" fmla="*/ 7256 h 10000"/>
                <a:gd name="connsiteX107" fmla="*/ 8432 w 10000"/>
                <a:gd name="connsiteY107" fmla="*/ 7162 h 10000"/>
                <a:gd name="connsiteX108" fmla="*/ 8353 w 10000"/>
                <a:gd name="connsiteY108" fmla="*/ 7025 h 10000"/>
                <a:gd name="connsiteX109" fmla="*/ 8353 w 10000"/>
                <a:gd name="connsiteY109" fmla="*/ 6928 h 10000"/>
                <a:gd name="connsiteX110" fmla="*/ 8237 w 10000"/>
                <a:gd name="connsiteY110" fmla="*/ 6697 h 10000"/>
                <a:gd name="connsiteX111" fmla="*/ 8157 w 10000"/>
                <a:gd name="connsiteY111" fmla="*/ 6697 h 10000"/>
                <a:gd name="connsiteX112" fmla="*/ 7961 w 10000"/>
                <a:gd name="connsiteY112" fmla="*/ 6604 h 10000"/>
                <a:gd name="connsiteX113" fmla="*/ 7882 w 10000"/>
                <a:gd name="connsiteY113" fmla="*/ 6604 h 10000"/>
                <a:gd name="connsiteX114" fmla="*/ 7805 w 10000"/>
                <a:gd name="connsiteY114" fmla="*/ 6604 h 10000"/>
                <a:gd name="connsiteX115" fmla="*/ 7687 w 10000"/>
                <a:gd name="connsiteY115" fmla="*/ 6604 h 10000"/>
                <a:gd name="connsiteX116" fmla="*/ 7608 w 10000"/>
                <a:gd name="connsiteY116" fmla="*/ 6512 h 10000"/>
                <a:gd name="connsiteX117" fmla="*/ 7687 w 10000"/>
                <a:gd name="connsiteY117" fmla="*/ 6373 h 10000"/>
                <a:gd name="connsiteX118" fmla="*/ 7805 w 10000"/>
                <a:gd name="connsiteY118" fmla="*/ 6281 h 10000"/>
                <a:gd name="connsiteX119" fmla="*/ 7805 w 10000"/>
                <a:gd name="connsiteY119" fmla="*/ 6046 h 10000"/>
                <a:gd name="connsiteX120" fmla="*/ 7882 w 10000"/>
                <a:gd name="connsiteY120" fmla="*/ 6046 h 10000"/>
                <a:gd name="connsiteX121" fmla="*/ 8157 w 10000"/>
                <a:gd name="connsiteY121" fmla="*/ 6046 h 10000"/>
                <a:gd name="connsiteX122" fmla="*/ 8353 w 10000"/>
                <a:gd name="connsiteY122" fmla="*/ 6046 h 10000"/>
                <a:gd name="connsiteX123" fmla="*/ 8432 w 10000"/>
                <a:gd name="connsiteY123" fmla="*/ 5951 h 10000"/>
                <a:gd name="connsiteX124" fmla="*/ 8432 w 10000"/>
                <a:gd name="connsiteY124" fmla="*/ 5721 h 10000"/>
                <a:gd name="connsiteX125" fmla="*/ 8432 w 10000"/>
                <a:gd name="connsiteY125" fmla="*/ 5071 h 10000"/>
                <a:gd name="connsiteX126" fmla="*/ 8432 w 10000"/>
                <a:gd name="connsiteY126" fmla="*/ 4837 h 10000"/>
                <a:gd name="connsiteX127" fmla="*/ 8548 w 10000"/>
                <a:gd name="connsiteY127" fmla="*/ 4606 h 10000"/>
                <a:gd name="connsiteX128" fmla="*/ 8432 w 10000"/>
                <a:gd name="connsiteY128" fmla="*/ 4510 h 10000"/>
                <a:gd name="connsiteX129" fmla="*/ 8432 w 10000"/>
                <a:gd name="connsiteY129" fmla="*/ 4418 h 10000"/>
                <a:gd name="connsiteX130" fmla="*/ 8548 w 10000"/>
                <a:gd name="connsiteY130" fmla="*/ 4418 h 10000"/>
                <a:gd name="connsiteX131" fmla="*/ 8548 w 10000"/>
                <a:gd name="connsiteY131" fmla="*/ 4280 h 10000"/>
                <a:gd name="connsiteX132" fmla="*/ 8627 w 10000"/>
                <a:gd name="connsiteY132" fmla="*/ 4094 h 10000"/>
                <a:gd name="connsiteX133" fmla="*/ 8706 w 10000"/>
                <a:gd name="connsiteY133" fmla="*/ 4094 h 10000"/>
                <a:gd name="connsiteX134" fmla="*/ 8902 w 10000"/>
                <a:gd name="connsiteY134" fmla="*/ 4094 h 10000"/>
                <a:gd name="connsiteX135" fmla="*/ 8902 w 10000"/>
                <a:gd name="connsiteY135" fmla="*/ 3955 h 10000"/>
                <a:gd name="connsiteX136" fmla="*/ 8980 w 10000"/>
                <a:gd name="connsiteY136" fmla="*/ 3534 h 10000"/>
                <a:gd name="connsiteX137" fmla="*/ 9100 w 10000"/>
                <a:gd name="connsiteY137" fmla="*/ 3396 h 10000"/>
                <a:gd name="connsiteX138" fmla="*/ 9452 w 10000"/>
                <a:gd name="connsiteY138" fmla="*/ 2652 h 10000"/>
                <a:gd name="connsiteX139" fmla="*/ 9648 w 10000"/>
                <a:gd name="connsiteY139" fmla="*/ 2559 h 10000"/>
                <a:gd name="connsiteX140" fmla="*/ 9726 w 10000"/>
                <a:gd name="connsiteY140" fmla="*/ 2421 h 10000"/>
                <a:gd name="connsiteX141" fmla="*/ 9843 w 10000"/>
                <a:gd name="connsiteY141" fmla="*/ 2324 h 10000"/>
                <a:gd name="connsiteX142" fmla="*/ 10000 w 10000"/>
                <a:gd name="connsiteY142" fmla="*/ 1444 h 10000"/>
                <a:gd name="connsiteX143" fmla="*/ 10000 w 10000"/>
                <a:gd name="connsiteY143" fmla="*/ 1209 h 10000"/>
                <a:gd name="connsiteX144" fmla="*/ 10000 w 10000"/>
                <a:gd name="connsiteY144" fmla="*/ 976 h 10000"/>
                <a:gd name="connsiteX0" fmla="*/ 10000 w 10000"/>
                <a:gd name="connsiteY0" fmla="*/ 976 h 10000"/>
                <a:gd name="connsiteX1" fmla="*/ 1490 w 10000"/>
                <a:gd name="connsiteY1" fmla="*/ 0 h 10000"/>
                <a:gd name="connsiteX2" fmla="*/ 1020 w 10000"/>
                <a:gd name="connsiteY2" fmla="*/ 0 h 10000"/>
                <a:gd name="connsiteX3" fmla="*/ 314 w 10000"/>
                <a:gd name="connsiteY3" fmla="*/ 675 h 10000"/>
                <a:gd name="connsiteX4" fmla="*/ 274 w 10000"/>
                <a:gd name="connsiteY4" fmla="*/ 1112 h 10000"/>
                <a:gd name="connsiteX5" fmla="*/ 274 w 10000"/>
                <a:gd name="connsiteY5" fmla="*/ 1209 h 10000"/>
                <a:gd name="connsiteX6" fmla="*/ 392 w 10000"/>
                <a:gd name="connsiteY6" fmla="*/ 1351 h 10000"/>
                <a:gd name="connsiteX7" fmla="*/ 274 w 10000"/>
                <a:gd name="connsiteY7" fmla="*/ 1444 h 10000"/>
                <a:gd name="connsiteX8" fmla="*/ 196 w 10000"/>
                <a:gd name="connsiteY8" fmla="*/ 1534 h 10000"/>
                <a:gd name="connsiteX9" fmla="*/ 196 w 10000"/>
                <a:gd name="connsiteY9" fmla="*/ 1534 h 10000"/>
                <a:gd name="connsiteX10" fmla="*/ 196 w 10000"/>
                <a:gd name="connsiteY10" fmla="*/ 1768 h 10000"/>
                <a:gd name="connsiteX11" fmla="*/ 196 w 10000"/>
                <a:gd name="connsiteY11" fmla="*/ 2000 h 10000"/>
                <a:gd name="connsiteX12" fmla="*/ 117 w 10000"/>
                <a:gd name="connsiteY12" fmla="*/ 2094 h 10000"/>
                <a:gd name="connsiteX13" fmla="*/ 0 w 10000"/>
                <a:gd name="connsiteY13" fmla="*/ 2188 h 10000"/>
                <a:gd name="connsiteX14" fmla="*/ 0 w 10000"/>
                <a:gd name="connsiteY14" fmla="*/ 2324 h 10000"/>
                <a:gd name="connsiteX15" fmla="*/ 0 w 10000"/>
                <a:gd name="connsiteY15" fmla="*/ 2559 h 10000"/>
                <a:gd name="connsiteX16" fmla="*/ 117 w 10000"/>
                <a:gd name="connsiteY16" fmla="*/ 2559 h 10000"/>
                <a:gd name="connsiteX17" fmla="*/ 117 w 10000"/>
                <a:gd name="connsiteY17" fmla="*/ 2559 h 10000"/>
                <a:gd name="connsiteX18" fmla="*/ 392 w 10000"/>
                <a:gd name="connsiteY18" fmla="*/ 2421 h 10000"/>
                <a:gd name="connsiteX19" fmla="*/ 274 w 10000"/>
                <a:gd name="connsiteY19" fmla="*/ 2742 h 10000"/>
                <a:gd name="connsiteX20" fmla="*/ 392 w 10000"/>
                <a:gd name="connsiteY20" fmla="*/ 2978 h 10000"/>
                <a:gd name="connsiteX21" fmla="*/ 548 w 10000"/>
                <a:gd name="connsiteY21" fmla="*/ 3396 h 10000"/>
                <a:gd name="connsiteX22" fmla="*/ 548 w 10000"/>
                <a:gd name="connsiteY22" fmla="*/ 3534 h 10000"/>
                <a:gd name="connsiteX23" fmla="*/ 667 w 10000"/>
                <a:gd name="connsiteY23" fmla="*/ 3534 h 10000"/>
                <a:gd name="connsiteX24" fmla="*/ 667 w 10000"/>
                <a:gd name="connsiteY24" fmla="*/ 3626 h 10000"/>
                <a:gd name="connsiteX25" fmla="*/ 746 w 10000"/>
                <a:gd name="connsiteY25" fmla="*/ 3722 h 10000"/>
                <a:gd name="connsiteX26" fmla="*/ 746 w 10000"/>
                <a:gd name="connsiteY26" fmla="*/ 3862 h 10000"/>
                <a:gd name="connsiteX27" fmla="*/ 548 w 10000"/>
                <a:gd name="connsiteY27" fmla="*/ 3955 h 10000"/>
                <a:gd name="connsiteX28" fmla="*/ 746 w 10000"/>
                <a:gd name="connsiteY28" fmla="*/ 4094 h 10000"/>
                <a:gd name="connsiteX29" fmla="*/ 941 w 10000"/>
                <a:gd name="connsiteY29" fmla="*/ 4418 h 10000"/>
                <a:gd name="connsiteX30" fmla="*/ 1137 w 10000"/>
                <a:gd name="connsiteY30" fmla="*/ 4742 h 10000"/>
                <a:gd name="connsiteX31" fmla="*/ 1215 w 10000"/>
                <a:gd name="connsiteY31" fmla="*/ 4931 h 10000"/>
                <a:gd name="connsiteX32" fmla="*/ 1137 w 10000"/>
                <a:gd name="connsiteY32" fmla="*/ 5162 h 10000"/>
                <a:gd name="connsiteX33" fmla="*/ 1137 w 10000"/>
                <a:gd name="connsiteY33" fmla="*/ 5489 h 10000"/>
                <a:gd name="connsiteX34" fmla="*/ 1137 w 10000"/>
                <a:gd name="connsiteY34" fmla="*/ 5629 h 10000"/>
                <a:gd name="connsiteX35" fmla="*/ 1295 w 10000"/>
                <a:gd name="connsiteY35" fmla="*/ 5815 h 10000"/>
                <a:gd name="connsiteX36" fmla="*/ 1411 w 10000"/>
                <a:gd name="connsiteY36" fmla="*/ 5815 h 10000"/>
                <a:gd name="connsiteX37" fmla="*/ 1569 w 10000"/>
                <a:gd name="connsiteY37" fmla="*/ 5815 h 10000"/>
                <a:gd name="connsiteX38" fmla="*/ 1686 w 10000"/>
                <a:gd name="connsiteY38" fmla="*/ 6046 h 10000"/>
                <a:gd name="connsiteX39" fmla="*/ 1765 w 10000"/>
                <a:gd name="connsiteY39" fmla="*/ 6139 h 10000"/>
                <a:gd name="connsiteX40" fmla="*/ 2040 w 10000"/>
                <a:gd name="connsiteY40" fmla="*/ 6139 h 10000"/>
                <a:gd name="connsiteX41" fmla="*/ 2158 w 10000"/>
                <a:gd name="connsiteY41" fmla="*/ 6281 h 10000"/>
                <a:gd name="connsiteX42" fmla="*/ 2235 w 10000"/>
                <a:gd name="connsiteY42" fmla="*/ 6373 h 10000"/>
                <a:gd name="connsiteX43" fmla="*/ 2314 w 10000"/>
                <a:gd name="connsiteY43" fmla="*/ 6373 h 10000"/>
                <a:gd name="connsiteX44" fmla="*/ 2235 w 10000"/>
                <a:gd name="connsiteY44" fmla="*/ 6604 h 10000"/>
                <a:gd name="connsiteX45" fmla="*/ 2314 w 10000"/>
                <a:gd name="connsiteY45" fmla="*/ 6697 h 10000"/>
                <a:gd name="connsiteX46" fmla="*/ 2589 w 10000"/>
                <a:gd name="connsiteY46" fmla="*/ 6928 h 10000"/>
                <a:gd name="connsiteX47" fmla="*/ 2784 w 10000"/>
                <a:gd name="connsiteY47" fmla="*/ 7162 h 10000"/>
                <a:gd name="connsiteX48" fmla="*/ 2863 w 10000"/>
                <a:gd name="connsiteY48" fmla="*/ 7256 h 10000"/>
                <a:gd name="connsiteX49" fmla="*/ 3058 w 10000"/>
                <a:gd name="connsiteY49" fmla="*/ 7351 h 10000"/>
                <a:gd name="connsiteX50" fmla="*/ 3058 w 10000"/>
                <a:gd name="connsiteY50" fmla="*/ 7490 h 10000"/>
                <a:gd name="connsiteX51" fmla="*/ 3177 w 10000"/>
                <a:gd name="connsiteY51" fmla="*/ 7723 h 10000"/>
                <a:gd name="connsiteX52" fmla="*/ 3255 w 10000"/>
                <a:gd name="connsiteY52" fmla="*/ 7813 h 10000"/>
                <a:gd name="connsiteX53" fmla="*/ 3255 w 10000"/>
                <a:gd name="connsiteY53" fmla="*/ 7907 h 10000"/>
                <a:gd name="connsiteX54" fmla="*/ 3333 w 10000"/>
                <a:gd name="connsiteY54" fmla="*/ 8048 h 10000"/>
                <a:gd name="connsiteX55" fmla="*/ 3725 w 10000"/>
                <a:gd name="connsiteY55" fmla="*/ 8233 h 10000"/>
                <a:gd name="connsiteX56" fmla="*/ 3804 w 10000"/>
                <a:gd name="connsiteY56" fmla="*/ 8466 h 10000"/>
                <a:gd name="connsiteX57" fmla="*/ 3804 w 10000"/>
                <a:gd name="connsiteY57" fmla="*/ 8559 h 10000"/>
                <a:gd name="connsiteX58" fmla="*/ 3883 w 10000"/>
                <a:gd name="connsiteY58" fmla="*/ 8698 h 10000"/>
                <a:gd name="connsiteX59" fmla="*/ 4001 w 10000"/>
                <a:gd name="connsiteY59" fmla="*/ 8789 h 10000"/>
                <a:gd name="connsiteX60" fmla="*/ 4196 w 10000"/>
                <a:gd name="connsiteY60" fmla="*/ 9022 h 10000"/>
                <a:gd name="connsiteX61" fmla="*/ 4196 w 10000"/>
                <a:gd name="connsiteY61" fmla="*/ 9117 h 10000"/>
                <a:gd name="connsiteX62" fmla="*/ 4276 w 10000"/>
                <a:gd name="connsiteY62" fmla="*/ 9257 h 10000"/>
                <a:gd name="connsiteX63" fmla="*/ 4550 w 10000"/>
                <a:gd name="connsiteY63" fmla="*/ 9347 h 10000"/>
                <a:gd name="connsiteX64" fmla="*/ 4628 w 10000"/>
                <a:gd name="connsiteY64" fmla="*/ 9347 h 10000"/>
                <a:gd name="connsiteX65" fmla="*/ 4745 w 10000"/>
                <a:gd name="connsiteY65" fmla="*/ 9257 h 10000"/>
                <a:gd name="connsiteX66" fmla="*/ 5019 w 10000"/>
                <a:gd name="connsiteY66" fmla="*/ 9347 h 10000"/>
                <a:gd name="connsiteX67" fmla="*/ 5215 w 10000"/>
                <a:gd name="connsiteY67" fmla="*/ 9257 h 10000"/>
                <a:gd name="connsiteX68" fmla="*/ 5372 w 10000"/>
                <a:gd name="connsiteY68" fmla="*/ 9117 h 10000"/>
                <a:gd name="connsiteX69" fmla="*/ 5491 w 10000"/>
                <a:gd name="connsiteY69" fmla="*/ 9257 h 10000"/>
                <a:gd name="connsiteX70" fmla="*/ 5844 w 10000"/>
                <a:gd name="connsiteY70" fmla="*/ 9581 h 10000"/>
                <a:gd name="connsiteX71" fmla="*/ 5922 w 10000"/>
                <a:gd name="connsiteY71" fmla="*/ 9768 h 10000"/>
                <a:gd name="connsiteX72" fmla="*/ 6039 w 10000"/>
                <a:gd name="connsiteY72" fmla="*/ 9907 h 10000"/>
                <a:gd name="connsiteX73" fmla="*/ 6119 w 10000"/>
                <a:gd name="connsiteY73" fmla="*/ 9907 h 10000"/>
                <a:gd name="connsiteX74" fmla="*/ 6197 w 10000"/>
                <a:gd name="connsiteY74" fmla="*/ 9907 h 10000"/>
                <a:gd name="connsiteX75" fmla="*/ 6313 w 10000"/>
                <a:gd name="connsiteY75" fmla="*/ 9907 h 10000"/>
                <a:gd name="connsiteX76" fmla="*/ 6510 w 10000"/>
                <a:gd name="connsiteY76" fmla="*/ 9907 h 10000"/>
                <a:gd name="connsiteX77" fmla="*/ 6588 w 10000"/>
                <a:gd name="connsiteY77" fmla="*/ 9907 h 10000"/>
                <a:gd name="connsiteX78" fmla="*/ 6785 w 10000"/>
                <a:gd name="connsiteY78" fmla="*/ 9907 h 10000"/>
                <a:gd name="connsiteX79" fmla="*/ 6863 w 10000"/>
                <a:gd name="connsiteY79" fmla="*/ 9907 h 10000"/>
                <a:gd name="connsiteX80" fmla="*/ 6942 w 10000"/>
                <a:gd name="connsiteY80" fmla="*/ 10000 h 10000"/>
                <a:gd name="connsiteX81" fmla="*/ 7137 w 10000"/>
                <a:gd name="connsiteY81" fmla="*/ 9907 h 10000"/>
                <a:gd name="connsiteX82" fmla="*/ 7334 w 10000"/>
                <a:gd name="connsiteY82" fmla="*/ 9907 h 10000"/>
                <a:gd name="connsiteX83" fmla="*/ 7530 w 10000"/>
                <a:gd name="connsiteY83" fmla="*/ 9768 h 10000"/>
                <a:gd name="connsiteX84" fmla="*/ 7687 w 10000"/>
                <a:gd name="connsiteY84" fmla="*/ 9768 h 10000"/>
                <a:gd name="connsiteX85" fmla="*/ 7961 w 10000"/>
                <a:gd name="connsiteY85" fmla="*/ 9768 h 10000"/>
                <a:gd name="connsiteX86" fmla="*/ 8237 w 10000"/>
                <a:gd name="connsiteY86" fmla="*/ 9581 h 10000"/>
                <a:gd name="connsiteX87" fmla="*/ 8237 w 10000"/>
                <a:gd name="connsiteY87" fmla="*/ 9581 h 10000"/>
                <a:gd name="connsiteX88" fmla="*/ 8237 w 10000"/>
                <a:gd name="connsiteY88" fmla="*/ 9581 h 10000"/>
                <a:gd name="connsiteX89" fmla="*/ 8548 w 10000"/>
                <a:gd name="connsiteY89" fmla="*/ 9257 h 10000"/>
                <a:gd name="connsiteX90" fmla="*/ 8627 w 10000"/>
                <a:gd name="connsiteY90" fmla="*/ 9117 h 10000"/>
                <a:gd name="connsiteX91" fmla="*/ 8824 w 10000"/>
                <a:gd name="connsiteY91" fmla="*/ 9117 h 10000"/>
                <a:gd name="connsiteX92" fmla="*/ 9177 w 10000"/>
                <a:gd name="connsiteY92" fmla="*/ 9257 h 10000"/>
                <a:gd name="connsiteX93" fmla="*/ 9374 w 10000"/>
                <a:gd name="connsiteY93" fmla="*/ 9257 h 10000"/>
                <a:gd name="connsiteX94" fmla="*/ 9569 w 10000"/>
                <a:gd name="connsiteY94" fmla="*/ 9117 h 10000"/>
                <a:gd name="connsiteX95" fmla="*/ 9569 w 10000"/>
                <a:gd name="connsiteY95" fmla="*/ 8789 h 10000"/>
                <a:gd name="connsiteX96" fmla="*/ 9648 w 10000"/>
                <a:gd name="connsiteY96" fmla="*/ 8698 h 10000"/>
                <a:gd name="connsiteX97" fmla="*/ 9569 w 10000"/>
                <a:gd name="connsiteY97" fmla="*/ 8559 h 10000"/>
                <a:gd name="connsiteX98" fmla="*/ 9569 w 10000"/>
                <a:gd name="connsiteY98" fmla="*/ 8466 h 10000"/>
                <a:gd name="connsiteX99" fmla="*/ 9177 w 10000"/>
                <a:gd name="connsiteY99" fmla="*/ 8466 h 10000"/>
                <a:gd name="connsiteX100" fmla="*/ 9100 w 10000"/>
                <a:gd name="connsiteY100" fmla="*/ 8370 h 10000"/>
                <a:gd name="connsiteX101" fmla="*/ 9100 w 10000"/>
                <a:gd name="connsiteY101" fmla="*/ 8233 h 10000"/>
                <a:gd name="connsiteX102" fmla="*/ 8902 w 10000"/>
                <a:gd name="connsiteY102" fmla="*/ 7813 h 10000"/>
                <a:gd name="connsiteX103" fmla="*/ 8902 w 10000"/>
                <a:gd name="connsiteY103" fmla="*/ 7582 h 10000"/>
                <a:gd name="connsiteX104" fmla="*/ 8824 w 10000"/>
                <a:gd name="connsiteY104" fmla="*/ 7490 h 10000"/>
                <a:gd name="connsiteX105" fmla="*/ 8548 w 10000"/>
                <a:gd name="connsiteY105" fmla="*/ 7256 h 10000"/>
                <a:gd name="connsiteX106" fmla="*/ 8432 w 10000"/>
                <a:gd name="connsiteY106" fmla="*/ 7162 h 10000"/>
                <a:gd name="connsiteX107" fmla="*/ 8353 w 10000"/>
                <a:gd name="connsiteY107" fmla="*/ 7025 h 10000"/>
                <a:gd name="connsiteX108" fmla="*/ 8353 w 10000"/>
                <a:gd name="connsiteY108" fmla="*/ 6928 h 10000"/>
                <a:gd name="connsiteX109" fmla="*/ 8237 w 10000"/>
                <a:gd name="connsiteY109" fmla="*/ 6697 h 10000"/>
                <a:gd name="connsiteX110" fmla="*/ 8157 w 10000"/>
                <a:gd name="connsiteY110" fmla="*/ 6697 h 10000"/>
                <a:gd name="connsiteX111" fmla="*/ 7961 w 10000"/>
                <a:gd name="connsiteY111" fmla="*/ 6604 h 10000"/>
                <a:gd name="connsiteX112" fmla="*/ 7882 w 10000"/>
                <a:gd name="connsiteY112" fmla="*/ 6604 h 10000"/>
                <a:gd name="connsiteX113" fmla="*/ 7805 w 10000"/>
                <a:gd name="connsiteY113" fmla="*/ 6604 h 10000"/>
                <a:gd name="connsiteX114" fmla="*/ 7687 w 10000"/>
                <a:gd name="connsiteY114" fmla="*/ 6604 h 10000"/>
                <a:gd name="connsiteX115" fmla="*/ 7608 w 10000"/>
                <a:gd name="connsiteY115" fmla="*/ 6512 h 10000"/>
                <a:gd name="connsiteX116" fmla="*/ 7687 w 10000"/>
                <a:gd name="connsiteY116" fmla="*/ 6373 h 10000"/>
                <a:gd name="connsiteX117" fmla="*/ 7805 w 10000"/>
                <a:gd name="connsiteY117" fmla="*/ 6281 h 10000"/>
                <a:gd name="connsiteX118" fmla="*/ 7805 w 10000"/>
                <a:gd name="connsiteY118" fmla="*/ 6046 h 10000"/>
                <a:gd name="connsiteX119" fmla="*/ 7882 w 10000"/>
                <a:gd name="connsiteY119" fmla="*/ 6046 h 10000"/>
                <a:gd name="connsiteX120" fmla="*/ 8157 w 10000"/>
                <a:gd name="connsiteY120" fmla="*/ 6046 h 10000"/>
                <a:gd name="connsiteX121" fmla="*/ 8353 w 10000"/>
                <a:gd name="connsiteY121" fmla="*/ 6046 h 10000"/>
                <a:gd name="connsiteX122" fmla="*/ 8432 w 10000"/>
                <a:gd name="connsiteY122" fmla="*/ 5951 h 10000"/>
                <a:gd name="connsiteX123" fmla="*/ 8432 w 10000"/>
                <a:gd name="connsiteY123" fmla="*/ 5721 h 10000"/>
                <a:gd name="connsiteX124" fmla="*/ 8432 w 10000"/>
                <a:gd name="connsiteY124" fmla="*/ 5071 h 10000"/>
                <a:gd name="connsiteX125" fmla="*/ 8432 w 10000"/>
                <a:gd name="connsiteY125" fmla="*/ 4837 h 10000"/>
                <a:gd name="connsiteX126" fmla="*/ 8548 w 10000"/>
                <a:gd name="connsiteY126" fmla="*/ 4606 h 10000"/>
                <a:gd name="connsiteX127" fmla="*/ 8432 w 10000"/>
                <a:gd name="connsiteY127" fmla="*/ 4510 h 10000"/>
                <a:gd name="connsiteX128" fmla="*/ 8432 w 10000"/>
                <a:gd name="connsiteY128" fmla="*/ 4418 h 10000"/>
                <a:gd name="connsiteX129" fmla="*/ 8548 w 10000"/>
                <a:gd name="connsiteY129" fmla="*/ 4418 h 10000"/>
                <a:gd name="connsiteX130" fmla="*/ 8548 w 10000"/>
                <a:gd name="connsiteY130" fmla="*/ 4280 h 10000"/>
                <a:gd name="connsiteX131" fmla="*/ 8627 w 10000"/>
                <a:gd name="connsiteY131" fmla="*/ 4094 h 10000"/>
                <a:gd name="connsiteX132" fmla="*/ 8706 w 10000"/>
                <a:gd name="connsiteY132" fmla="*/ 4094 h 10000"/>
                <a:gd name="connsiteX133" fmla="*/ 8902 w 10000"/>
                <a:gd name="connsiteY133" fmla="*/ 4094 h 10000"/>
                <a:gd name="connsiteX134" fmla="*/ 8902 w 10000"/>
                <a:gd name="connsiteY134" fmla="*/ 3955 h 10000"/>
                <a:gd name="connsiteX135" fmla="*/ 8980 w 10000"/>
                <a:gd name="connsiteY135" fmla="*/ 3534 h 10000"/>
                <a:gd name="connsiteX136" fmla="*/ 9100 w 10000"/>
                <a:gd name="connsiteY136" fmla="*/ 3396 h 10000"/>
                <a:gd name="connsiteX137" fmla="*/ 9452 w 10000"/>
                <a:gd name="connsiteY137" fmla="*/ 2652 h 10000"/>
                <a:gd name="connsiteX138" fmla="*/ 9648 w 10000"/>
                <a:gd name="connsiteY138" fmla="*/ 2559 h 10000"/>
                <a:gd name="connsiteX139" fmla="*/ 9726 w 10000"/>
                <a:gd name="connsiteY139" fmla="*/ 2421 h 10000"/>
                <a:gd name="connsiteX140" fmla="*/ 9843 w 10000"/>
                <a:gd name="connsiteY140" fmla="*/ 2324 h 10000"/>
                <a:gd name="connsiteX141" fmla="*/ 10000 w 10000"/>
                <a:gd name="connsiteY141" fmla="*/ 1444 h 10000"/>
                <a:gd name="connsiteX142" fmla="*/ 10000 w 10000"/>
                <a:gd name="connsiteY142" fmla="*/ 1209 h 10000"/>
                <a:gd name="connsiteX143" fmla="*/ 10000 w 10000"/>
                <a:gd name="connsiteY143" fmla="*/ 976 h 10000"/>
                <a:gd name="connsiteX0" fmla="*/ 10000 w 10000"/>
                <a:gd name="connsiteY0" fmla="*/ 976 h 10000"/>
                <a:gd name="connsiteX1" fmla="*/ 1020 w 10000"/>
                <a:gd name="connsiteY1" fmla="*/ 0 h 10000"/>
                <a:gd name="connsiteX2" fmla="*/ 314 w 10000"/>
                <a:gd name="connsiteY2" fmla="*/ 675 h 10000"/>
                <a:gd name="connsiteX3" fmla="*/ 274 w 10000"/>
                <a:gd name="connsiteY3" fmla="*/ 1112 h 10000"/>
                <a:gd name="connsiteX4" fmla="*/ 274 w 10000"/>
                <a:gd name="connsiteY4" fmla="*/ 1209 h 10000"/>
                <a:gd name="connsiteX5" fmla="*/ 392 w 10000"/>
                <a:gd name="connsiteY5" fmla="*/ 1351 h 10000"/>
                <a:gd name="connsiteX6" fmla="*/ 274 w 10000"/>
                <a:gd name="connsiteY6" fmla="*/ 1444 h 10000"/>
                <a:gd name="connsiteX7" fmla="*/ 196 w 10000"/>
                <a:gd name="connsiteY7" fmla="*/ 1534 h 10000"/>
                <a:gd name="connsiteX8" fmla="*/ 196 w 10000"/>
                <a:gd name="connsiteY8" fmla="*/ 1534 h 10000"/>
                <a:gd name="connsiteX9" fmla="*/ 196 w 10000"/>
                <a:gd name="connsiteY9" fmla="*/ 1768 h 10000"/>
                <a:gd name="connsiteX10" fmla="*/ 196 w 10000"/>
                <a:gd name="connsiteY10" fmla="*/ 2000 h 10000"/>
                <a:gd name="connsiteX11" fmla="*/ 117 w 10000"/>
                <a:gd name="connsiteY11" fmla="*/ 2094 h 10000"/>
                <a:gd name="connsiteX12" fmla="*/ 0 w 10000"/>
                <a:gd name="connsiteY12" fmla="*/ 2188 h 10000"/>
                <a:gd name="connsiteX13" fmla="*/ 0 w 10000"/>
                <a:gd name="connsiteY13" fmla="*/ 2324 h 10000"/>
                <a:gd name="connsiteX14" fmla="*/ 0 w 10000"/>
                <a:gd name="connsiteY14" fmla="*/ 2559 h 10000"/>
                <a:gd name="connsiteX15" fmla="*/ 117 w 10000"/>
                <a:gd name="connsiteY15" fmla="*/ 2559 h 10000"/>
                <a:gd name="connsiteX16" fmla="*/ 117 w 10000"/>
                <a:gd name="connsiteY16" fmla="*/ 2559 h 10000"/>
                <a:gd name="connsiteX17" fmla="*/ 392 w 10000"/>
                <a:gd name="connsiteY17" fmla="*/ 2421 h 10000"/>
                <a:gd name="connsiteX18" fmla="*/ 274 w 10000"/>
                <a:gd name="connsiteY18" fmla="*/ 2742 h 10000"/>
                <a:gd name="connsiteX19" fmla="*/ 392 w 10000"/>
                <a:gd name="connsiteY19" fmla="*/ 2978 h 10000"/>
                <a:gd name="connsiteX20" fmla="*/ 548 w 10000"/>
                <a:gd name="connsiteY20" fmla="*/ 3396 h 10000"/>
                <a:gd name="connsiteX21" fmla="*/ 548 w 10000"/>
                <a:gd name="connsiteY21" fmla="*/ 3534 h 10000"/>
                <a:gd name="connsiteX22" fmla="*/ 667 w 10000"/>
                <a:gd name="connsiteY22" fmla="*/ 3534 h 10000"/>
                <a:gd name="connsiteX23" fmla="*/ 667 w 10000"/>
                <a:gd name="connsiteY23" fmla="*/ 3626 h 10000"/>
                <a:gd name="connsiteX24" fmla="*/ 746 w 10000"/>
                <a:gd name="connsiteY24" fmla="*/ 3722 h 10000"/>
                <a:gd name="connsiteX25" fmla="*/ 746 w 10000"/>
                <a:gd name="connsiteY25" fmla="*/ 3862 h 10000"/>
                <a:gd name="connsiteX26" fmla="*/ 548 w 10000"/>
                <a:gd name="connsiteY26" fmla="*/ 3955 h 10000"/>
                <a:gd name="connsiteX27" fmla="*/ 746 w 10000"/>
                <a:gd name="connsiteY27" fmla="*/ 4094 h 10000"/>
                <a:gd name="connsiteX28" fmla="*/ 941 w 10000"/>
                <a:gd name="connsiteY28" fmla="*/ 4418 h 10000"/>
                <a:gd name="connsiteX29" fmla="*/ 1137 w 10000"/>
                <a:gd name="connsiteY29" fmla="*/ 4742 h 10000"/>
                <a:gd name="connsiteX30" fmla="*/ 1215 w 10000"/>
                <a:gd name="connsiteY30" fmla="*/ 4931 h 10000"/>
                <a:gd name="connsiteX31" fmla="*/ 1137 w 10000"/>
                <a:gd name="connsiteY31" fmla="*/ 5162 h 10000"/>
                <a:gd name="connsiteX32" fmla="*/ 1137 w 10000"/>
                <a:gd name="connsiteY32" fmla="*/ 5489 h 10000"/>
                <a:gd name="connsiteX33" fmla="*/ 1137 w 10000"/>
                <a:gd name="connsiteY33" fmla="*/ 5629 h 10000"/>
                <a:gd name="connsiteX34" fmla="*/ 1295 w 10000"/>
                <a:gd name="connsiteY34" fmla="*/ 5815 h 10000"/>
                <a:gd name="connsiteX35" fmla="*/ 1411 w 10000"/>
                <a:gd name="connsiteY35" fmla="*/ 5815 h 10000"/>
                <a:gd name="connsiteX36" fmla="*/ 1569 w 10000"/>
                <a:gd name="connsiteY36" fmla="*/ 5815 h 10000"/>
                <a:gd name="connsiteX37" fmla="*/ 1686 w 10000"/>
                <a:gd name="connsiteY37" fmla="*/ 6046 h 10000"/>
                <a:gd name="connsiteX38" fmla="*/ 1765 w 10000"/>
                <a:gd name="connsiteY38" fmla="*/ 6139 h 10000"/>
                <a:gd name="connsiteX39" fmla="*/ 2040 w 10000"/>
                <a:gd name="connsiteY39" fmla="*/ 6139 h 10000"/>
                <a:gd name="connsiteX40" fmla="*/ 2158 w 10000"/>
                <a:gd name="connsiteY40" fmla="*/ 6281 h 10000"/>
                <a:gd name="connsiteX41" fmla="*/ 2235 w 10000"/>
                <a:gd name="connsiteY41" fmla="*/ 6373 h 10000"/>
                <a:gd name="connsiteX42" fmla="*/ 2314 w 10000"/>
                <a:gd name="connsiteY42" fmla="*/ 6373 h 10000"/>
                <a:gd name="connsiteX43" fmla="*/ 2235 w 10000"/>
                <a:gd name="connsiteY43" fmla="*/ 6604 h 10000"/>
                <a:gd name="connsiteX44" fmla="*/ 2314 w 10000"/>
                <a:gd name="connsiteY44" fmla="*/ 6697 h 10000"/>
                <a:gd name="connsiteX45" fmla="*/ 2589 w 10000"/>
                <a:gd name="connsiteY45" fmla="*/ 6928 h 10000"/>
                <a:gd name="connsiteX46" fmla="*/ 2784 w 10000"/>
                <a:gd name="connsiteY46" fmla="*/ 7162 h 10000"/>
                <a:gd name="connsiteX47" fmla="*/ 2863 w 10000"/>
                <a:gd name="connsiteY47" fmla="*/ 7256 h 10000"/>
                <a:gd name="connsiteX48" fmla="*/ 3058 w 10000"/>
                <a:gd name="connsiteY48" fmla="*/ 7351 h 10000"/>
                <a:gd name="connsiteX49" fmla="*/ 3058 w 10000"/>
                <a:gd name="connsiteY49" fmla="*/ 7490 h 10000"/>
                <a:gd name="connsiteX50" fmla="*/ 3177 w 10000"/>
                <a:gd name="connsiteY50" fmla="*/ 7723 h 10000"/>
                <a:gd name="connsiteX51" fmla="*/ 3255 w 10000"/>
                <a:gd name="connsiteY51" fmla="*/ 7813 h 10000"/>
                <a:gd name="connsiteX52" fmla="*/ 3255 w 10000"/>
                <a:gd name="connsiteY52" fmla="*/ 7907 h 10000"/>
                <a:gd name="connsiteX53" fmla="*/ 3333 w 10000"/>
                <a:gd name="connsiteY53" fmla="*/ 8048 h 10000"/>
                <a:gd name="connsiteX54" fmla="*/ 3725 w 10000"/>
                <a:gd name="connsiteY54" fmla="*/ 8233 h 10000"/>
                <a:gd name="connsiteX55" fmla="*/ 3804 w 10000"/>
                <a:gd name="connsiteY55" fmla="*/ 8466 h 10000"/>
                <a:gd name="connsiteX56" fmla="*/ 3804 w 10000"/>
                <a:gd name="connsiteY56" fmla="*/ 8559 h 10000"/>
                <a:gd name="connsiteX57" fmla="*/ 3883 w 10000"/>
                <a:gd name="connsiteY57" fmla="*/ 8698 h 10000"/>
                <a:gd name="connsiteX58" fmla="*/ 4001 w 10000"/>
                <a:gd name="connsiteY58" fmla="*/ 8789 h 10000"/>
                <a:gd name="connsiteX59" fmla="*/ 4196 w 10000"/>
                <a:gd name="connsiteY59" fmla="*/ 9022 h 10000"/>
                <a:gd name="connsiteX60" fmla="*/ 4196 w 10000"/>
                <a:gd name="connsiteY60" fmla="*/ 9117 h 10000"/>
                <a:gd name="connsiteX61" fmla="*/ 4276 w 10000"/>
                <a:gd name="connsiteY61" fmla="*/ 9257 h 10000"/>
                <a:gd name="connsiteX62" fmla="*/ 4550 w 10000"/>
                <a:gd name="connsiteY62" fmla="*/ 9347 h 10000"/>
                <a:gd name="connsiteX63" fmla="*/ 4628 w 10000"/>
                <a:gd name="connsiteY63" fmla="*/ 9347 h 10000"/>
                <a:gd name="connsiteX64" fmla="*/ 4745 w 10000"/>
                <a:gd name="connsiteY64" fmla="*/ 9257 h 10000"/>
                <a:gd name="connsiteX65" fmla="*/ 5019 w 10000"/>
                <a:gd name="connsiteY65" fmla="*/ 9347 h 10000"/>
                <a:gd name="connsiteX66" fmla="*/ 5215 w 10000"/>
                <a:gd name="connsiteY66" fmla="*/ 9257 h 10000"/>
                <a:gd name="connsiteX67" fmla="*/ 5372 w 10000"/>
                <a:gd name="connsiteY67" fmla="*/ 9117 h 10000"/>
                <a:gd name="connsiteX68" fmla="*/ 5491 w 10000"/>
                <a:gd name="connsiteY68" fmla="*/ 9257 h 10000"/>
                <a:gd name="connsiteX69" fmla="*/ 5844 w 10000"/>
                <a:gd name="connsiteY69" fmla="*/ 9581 h 10000"/>
                <a:gd name="connsiteX70" fmla="*/ 5922 w 10000"/>
                <a:gd name="connsiteY70" fmla="*/ 9768 h 10000"/>
                <a:gd name="connsiteX71" fmla="*/ 6039 w 10000"/>
                <a:gd name="connsiteY71" fmla="*/ 9907 h 10000"/>
                <a:gd name="connsiteX72" fmla="*/ 6119 w 10000"/>
                <a:gd name="connsiteY72" fmla="*/ 9907 h 10000"/>
                <a:gd name="connsiteX73" fmla="*/ 6197 w 10000"/>
                <a:gd name="connsiteY73" fmla="*/ 9907 h 10000"/>
                <a:gd name="connsiteX74" fmla="*/ 6313 w 10000"/>
                <a:gd name="connsiteY74" fmla="*/ 9907 h 10000"/>
                <a:gd name="connsiteX75" fmla="*/ 6510 w 10000"/>
                <a:gd name="connsiteY75" fmla="*/ 9907 h 10000"/>
                <a:gd name="connsiteX76" fmla="*/ 6588 w 10000"/>
                <a:gd name="connsiteY76" fmla="*/ 9907 h 10000"/>
                <a:gd name="connsiteX77" fmla="*/ 6785 w 10000"/>
                <a:gd name="connsiteY77" fmla="*/ 9907 h 10000"/>
                <a:gd name="connsiteX78" fmla="*/ 6863 w 10000"/>
                <a:gd name="connsiteY78" fmla="*/ 9907 h 10000"/>
                <a:gd name="connsiteX79" fmla="*/ 6942 w 10000"/>
                <a:gd name="connsiteY79" fmla="*/ 10000 h 10000"/>
                <a:gd name="connsiteX80" fmla="*/ 7137 w 10000"/>
                <a:gd name="connsiteY80" fmla="*/ 9907 h 10000"/>
                <a:gd name="connsiteX81" fmla="*/ 7334 w 10000"/>
                <a:gd name="connsiteY81" fmla="*/ 9907 h 10000"/>
                <a:gd name="connsiteX82" fmla="*/ 7530 w 10000"/>
                <a:gd name="connsiteY82" fmla="*/ 9768 h 10000"/>
                <a:gd name="connsiteX83" fmla="*/ 7687 w 10000"/>
                <a:gd name="connsiteY83" fmla="*/ 9768 h 10000"/>
                <a:gd name="connsiteX84" fmla="*/ 7961 w 10000"/>
                <a:gd name="connsiteY84" fmla="*/ 9768 h 10000"/>
                <a:gd name="connsiteX85" fmla="*/ 8237 w 10000"/>
                <a:gd name="connsiteY85" fmla="*/ 9581 h 10000"/>
                <a:gd name="connsiteX86" fmla="*/ 8237 w 10000"/>
                <a:gd name="connsiteY86" fmla="*/ 9581 h 10000"/>
                <a:gd name="connsiteX87" fmla="*/ 8237 w 10000"/>
                <a:gd name="connsiteY87" fmla="*/ 9581 h 10000"/>
                <a:gd name="connsiteX88" fmla="*/ 8548 w 10000"/>
                <a:gd name="connsiteY88" fmla="*/ 9257 h 10000"/>
                <a:gd name="connsiteX89" fmla="*/ 8627 w 10000"/>
                <a:gd name="connsiteY89" fmla="*/ 9117 h 10000"/>
                <a:gd name="connsiteX90" fmla="*/ 8824 w 10000"/>
                <a:gd name="connsiteY90" fmla="*/ 9117 h 10000"/>
                <a:gd name="connsiteX91" fmla="*/ 9177 w 10000"/>
                <a:gd name="connsiteY91" fmla="*/ 9257 h 10000"/>
                <a:gd name="connsiteX92" fmla="*/ 9374 w 10000"/>
                <a:gd name="connsiteY92" fmla="*/ 9257 h 10000"/>
                <a:gd name="connsiteX93" fmla="*/ 9569 w 10000"/>
                <a:gd name="connsiteY93" fmla="*/ 9117 h 10000"/>
                <a:gd name="connsiteX94" fmla="*/ 9569 w 10000"/>
                <a:gd name="connsiteY94" fmla="*/ 8789 h 10000"/>
                <a:gd name="connsiteX95" fmla="*/ 9648 w 10000"/>
                <a:gd name="connsiteY95" fmla="*/ 8698 h 10000"/>
                <a:gd name="connsiteX96" fmla="*/ 9569 w 10000"/>
                <a:gd name="connsiteY96" fmla="*/ 8559 h 10000"/>
                <a:gd name="connsiteX97" fmla="*/ 9569 w 10000"/>
                <a:gd name="connsiteY97" fmla="*/ 8466 h 10000"/>
                <a:gd name="connsiteX98" fmla="*/ 9177 w 10000"/>
                <a:gd name="connsiteY98" fmla="*/ 8466 h 10000"/>
                <a:gd name="connsiteX99" fmla="*/ 9100 w 10000"/>
                <a:gd name="connsiteY99" fmla="*/ 8370 h 10000"/>
                <a:gd name="connsiteX100" fmla="*/ 9100 w 10000"/>
                <a:gd name="connsiteY100" fmla="*/ 8233 h 10000"/>
                <a:gd name="connsiteX101" fmla="*/ 8902 w 10000"/>
                <a:gd name="connsiteY101" fmla="*/ 7813 h 10000"/>
                <a:gd name="connsiteX102" fmla="*/ 8902 w 10000"/>
                <a:gd name="connsiteY102" fmla="*/ 7582 h 10000"/>
                <a:gd name="connsiteX103" fmla="*/ 8824 w 10000"/>
                <a:gd name="connsiteY103" fmla="*/ 7490 h 10000"/>
                <a:gd name="connsiteX104" fmla="*/ 8548 w 10000"/>
                <a:gd name="connsiteY104" fmla="*/ 7256 h 10000"/>
                <a:gd name="connsiteX105" fmla="*/ 8432 w 10000"/>
                <a:gd name="connsiteY105" fmla="*/ 7162 h 10000"/>
                <a:gd name="connsiteX106" fmla="*/ 8353 w 10000"/>
                <a:gd name="connsiteY106" fmla="*/ 7025 h 10000"/>
                <a:gd name="connsiteX107" fmla="*/ 8353 w 10000"/>
                <a:gd name="connsiteY107" fmla="*/ 6928 h 10000"/>
                <a:gd name="connsiteX108" fmla="*/ 8237 w 10000"/>
                <a:gd name="connsiteY108" fmla="*/ 6697 h 10000"/>
                <a:gd name="connsiteX109" fmla="*/ 8157 w 10000"/>
                <a:gd name="connsiteY109" fmla="*/ 6697 h 10000"/>
                <a:gd name="connsiteX110" fmla="*/ 7961 w 10000"/>
                <a:gd name="connsiteY110" fmla="*/ 6604 h 10000"/>
                <a:gd name="connsiteX111" fmla="*/ 7882 w 10000"/>
                <a:gd name="connsiteY111" fmla="*/ 6604 h 10000"/>
                <a:gd name="connsiteX112" fmla="*/ 7805 w 10000"/>
                <a:gd name="connsiteY112" fmla="*/ 6604 h 10000"/>
                <a:gd name="connsiteX113" fmla="*/ 7687 w 10000"/>
                <a:gd name="connsiteY113" fmla="*/ 6604 h 10000"/>
                <a:gd name="connsiteX114" fmla="*/ 7608 w 10000"/>
                <a:gd name="connsiteY114" fmla="*/ 6512 h 10000"/>
                <a:gd name="connsiteX115" fmla="*/ 7687 w 10000"/>
                <a:gd name="connsiteY115" fmla="*/ 6373 h 10000"/>
                <a:gd name="connsiteX116" fmla="*/ 7805 w 10000"/>
                <a:gd name="connsiteY116" fmla="*/ 6281 h 10000"/>
                <a:gd name="connsiteX117" fmla="*/ 7805 w 10000"/>
                <a:gd name="connsiteY117" fmla="*/ 6046 h 10000"/>
                <a:gd name="connsiteX118" fmla="*/ 7882 w 10000"/>
                <a:gd name="connsiteY118" fmla="*/ 6046 h 10000"/>
                <a:gd name="connsiteX119" fmla="*/ 8157 w 10000"/>
                <a:gd name="connsiteY119" fmla="*/ 6046 h 10000"/>
                <a:gd name="connsiteX120" fmla="*/ 8353 w 10000"/>
                <a:gd name="connsiteY120" fmla="*/ 6046 h 10000"/>
                <a:gd name="connsiteX121" fmla="*/ 8432 w 10000"/>
                <a:gd name="connsiteY121" fmla="*/ 5951 h 10000"/>
                <a:gd name="connsiteX122" fmla="*/ 8432 w 10000"/>
                <a:gd name="connsiteY122" fmla="*/ 5721 h 10000"/>
                <a:gd name="connsiteX123" fmla="*/ 8432 w 10000"/>
                <a:gd name="connsiteY123" fmla="*/ 5071 h 10000"/>
                <a:gd name="connsiteX124" fmla="*/ 8432 w 10000"/>
                <a:gd name="connsiteY124" fmla="*/ 4837 h 10000"/>
                <a:gd name="connsiteX125" fmla="*/ 8548 w 10000"/>
                <a:gd name="connsiteY125" fmla="*/ 4606 h 10000"/>
                <a:gd name="connsiteX126" fmla="*/ 8432 w 10000"/>
                <a:gd name="connsiteY126" fmla="*/ 4510 h 10000"/>
                <a:gd name="connsiteX127" fmla="*/ 8432 w 10000"/>
                <a:gd name="connsiteY127" fmla="*/ 4418 h 10000"/>
                <a:gd name="connsiteX128" fmla="*/ 8548 w 10000"/>
                <a:gd name="connsiteY128" fmla="*/ 4418 h 10000"/>
                <a:gd name="connsiteX129" fmla="*/ 8548 w 10000"/>
                <a:gd name="connsiteY129" fmla="*/ 4280 h 10000"/>
                <a:gd name="connsiteX130" fmla="*/ 8627 w 10000"/>
                <a:gd name="connsiteY130" fmla="*/ 4094 h 10000"/>
                <a:gd name="connsiteX131" fmla="*/ 8706 w 10000"/>
                <a:gd name="connsiteY131" fmla="*/ 4094 h 10000"/>
                <a:gd name="connsiteX132" fmla="*/ 8902 w 10000"/>
                <a:gd name="connsiteY132" fmla="*/ 4094 h 10000"/>
                <a:gd name="connsiteX133" fmla="*/ 8902 w 10000"/>
                <a:gd name="connsiteY133" fmla="*/ 3955 h 10000"/>
                <a:gd name="connsiteX134" fmla="*/ 8980 w 10000"/>
                <a:gd name="connsiteY134" fmla="*/ 3534 h 10000"/>
                <a:gd name="connsiteX135" fmla="*/ 9100 w 10000"/>
                <a:gd name="connsiteY135" fmla="*/ 3396 h 10000"/>
                <a:gd name="connsiteX136" fmla="*/ 9452 w 10000"/>
                <a:gd name="connsiteY136" fmla="*/ 2652 h 10000"/>
                <a:gd name="connsiteX137" fmla="*/ 9648 w 10000"/>
                <a:gd name="connsiteY137" fmla="*/ 2559 h 10000"/>
                <a:gd name="connsiteX138" fmla="*/ 9726 w 10000"/>
                <a:gd name="connsiteY138" fmla="*/ 2421 h 10000"/>
                <a:gd name="connsiteX139" fmla="*/ 9843 w 10000"/>
                <a:gd name="connsiteY139" fmla="*/ 2324 h 10000"/>
                <a:gd name="connsiteX140" fmla="*/ 10000 w 10000"/>
                <a:gd name="connsiteY140" fmla="*/ 1444 h 10000"/>
                <a:gd name="connsiteX141" fmla="*/ 10000 w 10000"/>
                <a:gd name="connsiteY141" fmla="*/ 1209 h 10000"/>
                <a:gd name="connsiteX142" fmla="*/ 10000 w 10000"/>
                <a:gd name="connsiteY142" fmla="*/ 976 h 10000"/>
                <a:gd name="connsiteX0" fmla="*/ 10000 w 10000"/>
                <a:gd name="connsiteY0" fmla="*/ 301 h 9325"/>
                <a:gd name="connsiteX1" fmla="*/ 314 w 10000"/>
                <a:gd name="connsiteY1" fmla="*/ 0 h 9325"/>
                <a:gd name="connsiteX2" fmla="*/ 274 w 10000"/>
                <a:gd name="connsiteY2" fmla="*/ 437 h 9325"/>
                <a:gd name="connsiteX3" fmla="*/ 274 w 10000"/>
                <a:gd name="connsiteY3" fmla="*/ 534 h 9325"/>
                <a:gd name="connsiteX4" fmla="*/ 392 w 10000"/>
                <a:gd name="connsiteY4" fmla="*/ 676 h 9325"/>
                <a:gd name="connsiteX5" fmla="*/ 274 w 10000"/>
                <a:gd name="connsiteY5" fmla="*/ 769 h 9325"/>
                <a:gd name="connsiteX6" fmla="*/ 196 w 10000"/>
                <a:gd name="connsiteY6" fmla="*/ 859 h 9325"/>
                <a:gd name="connsiteX7" fmla="*/ 196 w 10000"/>
                <a:gd name="connsiteY7" fmla="*/ 859 h 9325"/>
                <a:gd name="connsiteX8" fmla="*/ 196 w 10000"/>
                <a:gd name="connsiteY8" fmla="*/ 1093 h 9325"/>
                <a:gd name="connsiteX9" fmla="*/ 196 w 10000"/>
                <a:gd name="connsiteY9" fmla="*/ 1325 h 9325"/>
                <a:gd name="connsiteX10" fmla="*/ 117 w 10000"/>
                <a:gd name="connsiteY10" fmla="*/ 1419 h 9325"/>
                <a:gd name="connsiteX11" fmla="*/ 0 w 10000"/>
                <a:gd name="connsiteY11" fmla="*/ 1513 h 9325"/>
                <a:gd name="connsiteX12" fmla="*/ 0 w 10000"/>
                <a:gd name="connsiteY12" fmla="*/ 1649 h 9325"/>
                <a:gd name="connsiteX13" fmla="*/ 0 w 10000"/>
                <a:gd name="connsiteY13" fmla="*/ 1884 h 9325"/>
                <a:gd name="connsiteX14" fmla="*/ 117 w 10000"/>
                <a:gd name="connsiteY14" fmla="*/ 1884 h 9325"/>
                <a:gd name="connsiteX15" fmla="*/ 117 w 10000"/>
                <a:gd name="connsiteY15" fmla="*/ 1884 h 9325"/>
                <a:gd name="connsiteX16" fmla="*/ 392 w 10000"/>
                <a:gd name="connsiteY16" fmla="*/ 1746 h 9325"/>
                <a:gd name="connsiteX17" fmla="*/ 274 w 10000"/>
                <a:gd name="connsiteY17" fmla="*/ 2067 h 9325"/>
                <a:gd name="connsiteX18" fmla="*/ 392 w 10000"/>
                <a:gd name="connsiteY18" fmla="*/ 2303 h 9325"/>
                <a:gd name="connsiteX19" fmla="*/ 548 w 10000"/>
                <a:gd name="connsiteY19" fmla="*/ 2721 h 9325"/>
                <a:gd name="connsiteX20" fmla="*/ 548 w 10000"/>
                <a:gd name="connsiteY20" fmla="*/ 2859 h 9325"/>
                <a:gd name="connsiteX21" fmla="*/ 667 w 10000"/>
                <a:gd name="connsiteY21" fmla="*/ 2859 h 9325"/>
                <a:gd name="connsiteX22" fmla="*/ 667 w 10000"/>
                <a:gd name="connsiteY22" fmla="*/ 2951 h 9325"/>
                <a:gd name="connsiteX23" fmla="*/ 746 w 10000"/>
                <a:gd name="connsiteY23" fmla="*/ 3047 h 9325"/>
                <a:gd name="connsiteX24" fmla="*/ 746 w 10000"/>
                <a:gd name="connsiteY24" fmla="*/ 3187 h 9325"/>
                <a:gd name="connsiteX25" fmla="*/ 548 w 10000"/>
                <a:gd name="connsiteY25" fmla="*/ 3280 h 9325"/>
                <a:gd name="connsiteX26" fmla="*/ 746 w 10000"/>
                <a:gd name="connsiteY26" fmla="*/ 3419 h 9325"/>
                <a:gd name="connsiteX27" fmla="*/ 941 w 10000"/>
                <a:gd name="connsiteY27" fmla="*/ 3743 h 9325"/>
                <a:gd name="connsiteX28" fmla="*/ 1137 w 10000"/>
                <a:gd name="connsiteY28" fmla="*/ 4067 h 9325"/>
                <a:gd name="connsiteX29" fmla="*/ 1215 w 10000"/>
                <a:gd name="connsiteY29" fmla="*/ 4256 h 9325"/>
                <a:gd name="connsiteX30" fmla="*/ 1137 w 10000"/>
                <a:gd name="connsiteY30" fmla="*/ 4487 h 9325"/>
                <a:gd name="connsiteX31" fmla="*/ 1137 w 10000"/>
                <a:gd name="connsiteY31" fmla="*/ 4814 h 9325"/>
                <a:gd name="connsiteX32" fmla="*/ 1137 w 10000"/>
                <a:gd name="connsiteY32" fmla="*/ 4954 h 9325"/>
                <a:gd name="connsiteX33" fmla="*/ 1295 w 10000"/>
                <a:gd name="connsiteY33" fmla="*/ 5140 h 9325"/>
                <a:gd name="connsiteX34" fmla="*/ 1411 w 10000"/>
                <a:gd name="connsiteY34" fmla="*/ 5140 h 9325"/>
                <a:gd name="connsiteX35" fmla="*/ 1569 w 10000"/>
                <a:gd name="connsiteY35" fmla="*/ 5140 h 9325"/>
                <a:gd name="connsiteX36" fmla="*/ 1686 w 10000"/>
                <a:gd name="connsiteY36" fmla="*/ 5371 h 9325"/>
                <a:gd name="connsiteX37" fmla="*/ 1765 w 10000"/>
                <a:gd name="connsiteY37" fmla="*/ 5464 h 9325"/>
                <a:gd name="connsiteX38" fmla="*/ 2040 w 10000"/>
                <a:gd name="connsiteY38" fmla="*/ 5464 h 9325"/>
                <a:gd name="connsiteX39" fmla="*/ 2158 w 10000"/>
                <a:gd name="connsiteY39" fmla="*/ 5606 h 9325"/>
                <a:gd name="connsiteX40" fmla="*/ 2235 w 10000"/>
                <a:gd name="connsiteY40" fmla="*/ 5698 h 9325"/>
                <a:gd name="connsiteX41" fmla="*/ 2314 w 10000"/>
                <a:gd name="connsiteY41" fmla="*/ 5698 h 9325"/>
                <a:gd name="connsiteX42" fmla="*/ 2235 w 10000"/>
                <a:gd name="connsiteY42" fmla="*/ 5929 h 9325"/>
                <a:gd name="connsiteX43" fmla="*/ 2314 w 10000"/>
                <a:gd name="connsiteY43" fmla="*/ 6022 h 9325"/>
                <a:gd name="connsiteX44" fmla="*/ 2589 w 10000"/>
                <a:gd name="connsiteY44" fmla="*/ 6253 h 9325"/>
                <a:gd name="connsiteX45" fmla="*/ 2784 w 10000"/>
                <a:gd name="connsiteY45" fmla="*/ 6487 h 9325"/>
                <a:gd name="connsiteX46" fmla="*/ 2863 w 10000"/>
                <a:gd name="connsiteY46" fmla="*/ 6581 h 9325"/>
                <a:gd name="connsiteX47" fmla="*/ 3058 w 10000"/>
                <a:gd name="connsiteY47" fmla="*/ 6676 h 9325"/>
                <a:gd name="connsiteX48" fmla="*/ 3058 w 10000"/>
                <a:gd name="connsiteY48" fmla="*/ 6815 h 9325"/>
                <a:gd name="connsiteX49" fmla="*/ 3177 w 10000"/>
                <a:gd name="connsiteY49" fmla="*/ 7048 h 9325"/>
                <a:gd name="connsiteX50" fmla="*/ 3255 w 10000"/>
                <a:gd name="connsiteY50" fmla="*/ 7138 h 9325"/>
                <a:gd name="connsiteX51" fmla="*/ 3255 w 10000"/>
                <a:gd name="connsiteY51" fmla="*/ 7232 h 9325"/>
                <a:gd name="connsiteX52" fmla="*/ 3333 w 10000"/>
                <a:gd name="connsiteY52" fmla="*/ 7373 h 9325"/>
                <a:gd name="connsiteX53" fmla="*/ 3725 w 10000"/>
                <a:gd name="connsiteY53" fmla="*/ 7558 h 9325"/>
                <a:gd name="connsiteX54" fmla="*/ 3804 w 10000"/>
                <a:gd name="connsiteY54" fmla="*/ 7791 h 9325"/>
                <a:gd name="connsiteX55" fmla="*/ 3804 w 10000"/>
                <a:gd name="connsiteY55" fmla="*/ 7884 h 9325"/>
                <a:gd name="connsiteX56" fmla="*/ 3883 w 10000"/>
                <a:gd name="connsiteY56" fmla="*/ 8023 h 9325"/>
                <a:gd name="connsiteX57" fmla="*/ 4001 w 10000"/>
                <a:gd name="connsiteY57" fmla="*/ 8114 h 9325"/>
                <a:gd name="connsiteX58" fmla="*/ 4196 w 10000"/>
                <a:gd name="connsiteY58" fmla="*/ 8347 h 9325"/>
                <a:gd name="connsiteX59" fmla="*/ 4196 w 10000"/>
                <a:gd name="connsiteY59" fmla="*/ 8442 h 9325"/>
                <a:gd name="connsiteX60" fmla="*/ 4276 w 10000"/>
                <a:gd name="connsiteY60" fmla="*/ 8582 h 9325"/>
                <a:gd name="connsiteX61" fmla="*/ 4550 w 10000"/>
                <a:gd name="connsiteY61" fmla="*/ 8672 h 9325"/>
                <a:gd name="connsiteX62" fmla="*/ 4628 w 10000"/>
                <a:gd name="connsiteY62" fmla="*/ 8672 h 9325"/>
                <a:gd name="connsiteX63" fmla="*/ 4745 w 10000"/>
                <a:gd name="connsiteY63" fmla="*/ 8582 h 9325"/>
                <a:gd name="connsiteX64" fmla="*/ 5019 w 10000"/>
                <a:gd name="connsiteY64" fmla="*/ 8672 h 9325"/>
                <a:gd name="connsiteX65" fmla="*/ 5215 w 10000"/>
                <a:gd name="connsiteY65" fmla="*/ 8582 h 9325"/>
                <a:gd name="connsiteX66" fmla="*/ 5372 w 10000"/>
                <a:gd name="connsiteY66" fmla="*/ 8442 h 9325"/>
                <a:gd name="connsiteX67" fmla="*/ 5491 w 10000"/>
                <a:gd name="connsiteY67" fmla="*/ 8582 h 9325"/>
                <a:gd name="connsiteX68" fmla="*/ 5844 w 10000"/>
                <a:gd name="connsiteY68" fmla="*/ 8906 h 9325"/>
                <a:gd name="connsiteX69" fmla="*/ 5922 w 10000"/>
                <a:gd name="connsiteY69" fmla="*/ 9093 h 9325"/>
                <a:gd name="connsiteX70" fmla="*/ 6039 w 10000"/>
                <a:gd name="connsiteY70" fmla="*/ 9232 h 9325"/>
                <a:gd name="connsiteX71" fmla="*/ 6119 w 10000"/>
                <a:gd name="connsiteY71" fmla="*/ 9232 h 9325"/>
                <a:gd name="connsiteX72" fmla="*/ 6197 w 10000"/>
                <a:gd name="connsiteY72" fmla="*/ 9232 h 9325"/>
                <a:gd name="connsiteX73" fmla="*/ 6313 w 10000"/>
                <a:gd name="connsiteY73" fmla="*/ 9232 h 9325"/>
                <a:gd name="connsiteX74" fmla="*/ 6510 w 10000"/>
                <a:gd name="connsiteY74" fmla="*/ 9232 h 9325"/>
                <a:gd name="connsiteX75" fmla="*/ 6588 w 10000"/>
                <a:gd name="connsiteY75" fmla="*/ 9232 h 9325"/>
                <a:gd name="connsiteX76" fmla="*/ 6785 w 10000"/>
                <a:gd name="connsiteY76" fmla="*/ 9232 h 9325"/>
                <a:gd name="connsiteX77" fmla="*/ 6863 w 10000"/>
                <a:gd name="connsiteY77" fmla="*/ 9232 h 9325"/>
                <a:gd name="connsiteX78" fmla="*/ 6942 w 10000"/>
                <a:gd name="connsiteY78" fmla="*/ 9325 h 9325"/>
                <a:gd name="connsiteX79" fmla="*/ 7137 w 10000"/>
                <a:gd name="connsiteY79" fmla="*/ 9232 h 9325"/>
                <a:gd name="connsiteX80" fmla="*/ 7334 w 10000"/>
                <a:gd name="connsiteY80" fmla="*/ 9232 h 9325"/>
                <a:gd name="connsiteX81" fmla="*/ 7530 w 10000"/>
                <a:gd name="connsiteY81" fmla="*/ 9093 h 9325"/>
                <a:gd name="connsiteX82" fmla="*/ 7687 w 10000"/>
                <a:gd name="connsiteY82" fmla="*/ 9093 h 9325"/>
                <a:gd name="connsiteX83" fmla="*/ 7961 w 10000"/>
                <a:gd name="connsiteY83" fmla="*/ 9093 h 9325"/>
                <a:gd name="connsiteX84" fmla="*/ 8237 w 10000"/>
                <a:gd name="connsiteY84" fmla="*/ 8906 h 9325"/>
                <a:gd name="connsiteX85" fmla="*/ 8237 w 10000"/>
                <a:gd name="connsiteY85" fmla="*/ 8906 h 9325"/>
                <a:gd name="connsiteX86" fmla="*/ 8237 w 10000"/>
                <a:gd name="connsiteY86" fmla="*/ 8906 h 9325"/>
                <a:gd name="connsiteX87" fmla="*/ 8548 w 10000"/>
                <a:gd name="connsiteY87" fmla="*/ 8582 h 9325"/>
                <a:gd name="connsiteX88" fmla="*/ 8627 w 10000"/>
                <a:gd name="connsiteY88" fmla="*/ 8442 h 9325"/>
                <a:gd name="connsiteX89" fmla="*/ 8824 w 10000"/>
                <a:gd name="connsiteY89" fmla="*/ 8442 h 9325"/>
                <a:gd name="connsiteX90" fmla="*/ 9177 w 10000"/>
                <a:gd name="connsiteY90" fmla="*/ 8582 h 9325"/>
                <a:gd name="connsiteX91" fmla="*/ 9374 w 10000"/>
                <a:gd name="connsiteY91" fmla="*/ 8582 h 9325"/>
                <a:gd name="connsiteX92" fmla="*/ 9569 w 10000"/>
                <a:gd name="connsiteY92" fmla="*/ 8442 h 9325"/>
                <a:gd name="connsiteX93" fmla="*/ 9569 w 10000"/>
                <a:gd name="connsiteY93" fmla="*/ 8114 h 9325"/>
                <a:gd name="connsiteX94" fmla="*/ 9648 w 10000"/>
                <a:gd name="connsiteY94" fmla="*/ 8023 h 9325"/>
                <a:gd name="connsiteX95" fmla="*/ 9569 w 10000"/>
                <a:gd name="connsiteY95" fmla="*/ 7884 h 9325"/>
                <a:gd name="connsiteX96" fmla="*/ 9569 w 10000"/>
                <a:gd name="connsiteY96" fmla="*/ 7791 h 9325"/>
                <a:gd name="connsiteX97" fmla="*/ 9177 w 10000"/>
                <a:gd name="connsiteY97" fmla="*/ 7791 h 9325"/>
                <a:gd name="connsiteX98" fmla="*/ 9100 w 10000"/>
                <a:gd name="connsiteY98" fmla="*/ 7695 h 9325"/>
                <a:gd name="connsiteX99" fmla="*/ 9100 w 10000"/>
                <a:gd name="connsiteY99" fmla="*/ 7558 h 9325"/>
                <a:gd name="connsiteX100" fmla="*/ 8902 w 10000"/>
                <a:gd name="connsiteY100" fmla="*/ 7138 h 9325"/>
                <a:gd name="connsiteX101" fmla="*/ 8902 w 10000"/>
                <a:gd name="connsiteY101" fmla="*/ 6907 h 9325"/>
                <a:gd name="connsiteX102" fmla="*/ 8824 w 10000"/>
                <a:gd name="connsiteY102" fmla="*/ 6815 h 9325"/>
                <a:gd name="connsiteX103" fmla="*/ 8548 w 10000"/>
                <a:gd name="connsiteY103" fmla="*/ 6581 h 9325"/>
                <a:gd name="connsiteX104" fmla="*/ 8432 w 10000"/>
                <a:gd name="connsiteY104" fmla="*/ 6487 h 9325"/>
                <a:gd name="connsiteX105" fmla="*/ 8353 w 10000"/>
                <a:gd name="connsiteY105" fmla="*/ 6350 h 9325"/>
                <a:gd name="connsiteX106" fmla="*/ 8353 w 10000"/>
                <a:gd name="connsiteY106" fmla="*/ 6253 h 9325"/>
                <a:gd name="connsiteX107" fmla="*/ 8237 w 10000"/>
                <a:gd name="connsiteY107" fmla="*/ 6022 h 9325"/>
                <a:gd name="connsiteX108" fmla="*/ 8157 w 10000"/>
                <a:gd name="connsiteY108" fmla="*/ 6022 h 9325"/>
                <a:gd name="connsiteX109" fmla="*/ 7961 w 10000"/>
                <a:gd name="connsiteY109" fmla="*/ 5929 h 9325"/>
                <a:gd name="connsiteX110" fmla="*/ 7882 w 10000"/>
                <a:gd name="connsiteY110" fmla="*/ 5929 h 9325"/>
                <a:gd name="connsiteX111" fmla="*/ 7805 w 10000"/>
                <a:gd name="connsiteY111" fmla="*/ 5929 h 9325"/>
                <a:gd name="connsiteX112" fmla="*/ 7687 w 10000"/>
                <a:gd name="connsiteY112" fmla="*/ 5929 h 9325"/>
                <a:gd name="connsiteX113" fmla="*/ 7608 w 10000"/>
                <a:gd name="connsiteY113" fmla="*/ 5837 h 9325"/>
                <a:gd name="connsiteX114" fmla="*/ 7687 w 10000"/>
                <a:gd name="connsiteY114" fmla="*/ 5698 h 9325"/>
                <a:gd name="connsiteX115" fmla="*/ 7805 w 10000"/>
                <a:gd name="connsiteY115" fmla="*/ 5606 h 9325"/>
                <a:gd name="connsiteX116" fmla="*/ 7805 w 10000"/>
                <a:gd name="connsiteY116" fmla="*/ 5371 h 9325"/>
                <a:gd name="connsiteX117" fmla="*/ 7882 w 10000"/>
                <a:gd name="connsiteY117" fmla="*/ 5371 h 9325"/>
                <a:gd name="connsiteX118" fmla="*/ 8157 w 10000"/>
                <a:gd name="connsiteY118" fmla="*/ 5371 h 9325"/>
                <a:gd name="connsiteX119" fmla="*/ 8353 w 10000"/>
                <a:gd name="connsiteY119" fmla="*/ 5371 h 9325"/>
                <a:gd name="connsiteX120" fmla="*/ 8432 w 10000"/>
                <a:gd name="connsiteY120" fmla="*/ 5276 h 9325"/>
                <a:gd name="connsiteX121" fmla="*/ 8432 w 10000"/>
                <a:gd name="connsiteY121" fmla="*/ 5046 h 9325"/>
                <a:gd name="connsiteX122" fmla="*/ 8432 w 10000"/>
                <a:gd name="connsiteY122" fmla="*/ 4396 h 9325"/>
                <a:gd name="connsiteX123" fmla="*/ 8432 w 10000"/>
                <a:gd name="connsiteY123" fmla="*/ 4162 h 9325"/>
                <a:gd name="connsiteX124" fmla="*/ 8548 w 10000"/>
                <a:gd name="connsiteY124" fmla="*/ 3931 h 9325"/>
                <a:gd name="connsiteX125" fmla="*/ 8432 w 10000"/>
                <a:gd name="connsiteY125" fmla="*/ 3835 h 9325"/>
                <a:gd name="connsiteX126" fmla="*/ 8432 w 10000"/>
                <a:gd name="connsiteY126" fmla="*/ 3743 h 9325"/>
                <a:gd name="connsiteX127" fmla="*/ 8548 w 10000"/>
                <a:gd name="connsiteY127" fmla="*/ 3743 h 9325"/>
                <a:gd name="connsiteX128" fmla="*/ 8548 w 10000"/>
                <a:gd name="connsiteY128" fmla="*/ 3605 h 9325"/>
                <a:gd name="connsiteX129" fmla="*/ 8627 w 10000"/>
                <a:gd name="connsiteY129" fmla="*/ 3419 h 9325"/>
                <a:gd name="connsiteX130" fmla="*/ 8706 w 10000"/>
                <a:gd name="connsiteY130" fmla="*/ 3419 h 9325"/>
                <a:gd name="connsiteX131" fmla="*/ 8902 w 10000"/>
                <a:gd name="connsiteY131" fmla="*/ 3419 h 9325"/>
                <a:gd name="connsiteX132" fmla="*/ 8902 w 10000"/>
                <a:gd name="connsiteY132" fmla="*/ 3280 h 9325"/>
                <a:gd name="connsiteX133" fmla="*/ 8980 w 10000"/>
                <a:gd name="connsiteY133" fmla="*/ 2859 h 9325"/>
                <a:gd name="connsiteX134" fmla="*/ 9100 w 10000"/>
                <a:gd name="connsiteY134" fmla="*/ 2721 h 9325"/>
                <a:gd name="connsiteX135" fmla="*/ 9452 w 10000"/>
                <a:gd name="connsiteY135" fmla="*/ 1977 h 9325"/>
                <a:gd name="connsiteX136" fmla="*/ 9648 w 10000"/>
                <a:gd name="connsiteY136" fmla="*/ 1884 h 9325"/>
                <a:gd name="connsiteX137" fmla="*/ 9726 w 10000"/>
                <a:gd name="connsiteY137" fmla="*/ 1746 h 9325"/>
                <a:gd name="connsiteX138" fmla="*/ 9843 w 10000"/>
                <a:gd name="connsiteY138" fmla="*/ 1649 h 9325"/>
                <a:gd name="connsiteX139" fmla="*/ 10000 w 10000"/>
                <a:gd name="connsiteY139" fmla="*/ 769 h 9325"/>
                <a:gd name="connsiteX140" fmla="*/ 10000 w 10000"/>
                <a:gd name="connsiteY140" fmla="*/ 534 h 9325"/>
                <a:gd name="connsiteX141" fmla="*/ 10000 w 10000"/>
                <a:gd name="connsiteY141" fmla="*/ 301 h 9325"/>
                <a:gd name="connsiteX0" fmla="*/ 10000 w 10000"/>
                <a:gd name="connsiteY0" fmla="*/ 0 h 9677"/>
                <a:gd name="connsiteX1" fmla="*/ 274 w 10000"/>
                <a:gd name="connsiteY1" fmla="*/ 146 h 9677"/>
                <a:gd name="connsiteX2" fmla="*/ 274 w 10000"/>
                <a:gd name="connsiteY2" fmla="*/ 250 h 9677"/>
                <a:gd name="connsiteX3" fmla="*/ 392 w 10000"/>
                <a:gd name="connsiteY3" fmla="*/ 402 h 9677"/>
                <a:gd name="connsiteX4" fmla="*/ 274 w 10000"/>
                <a:gd name="connsiteY4" fmla="*/ 502 h 9677"/>
                <a:gd name="connsiteX5" fmla="*/ 196 w 10000"/>
                <a:gd name="connsiteY5" fmla="*/ 598 h 9677"/>
                <a:gd name="connsiteX6" fmla="*/ 196 w 10000"/>
                <a:gd name="connsiteY6" fmla="*/ 598 h 9677"/>
                <a:gd name="connsiteX7" fmla="*/ 196 w 10000"/>
                <a:gd name="connsiteY7" fmla="*/ 849 h 9677"/>
                <a:gd name="connsiteX8" fmla="*/ 196 w 10000"/>
                <a:gd name="connsiteY8" fmla="*/ 1098 h 9677"/>
                <a:gd name="connsiteX9" fmla="*/ 117 w 10000"/>
                <a:gd name="connsiteY9" fmla="*/ 1199 h 9677"/>
                <a:gd name="connsiteX10" fmla="*/ 0 w 10000"/>
                <a:gd name="connsiteY10" fmla="*/ 1300 h 9677"/>
                <a:gd name="connsiteX11" fmla="*/ 0 w 10000"/>
                <a:gd name="connsiteY11" fmla="*/ 1445 h 9677"/>
                <a:gd name="connsiteX12" fmla="*/ 0 w 10000"/>
                <a:gd name="connsiteY12" fmla="*/ 1697 h 9677"/>
                <a:gd name="connsiteX13" fmla="*/ 117 w 10000"/>
                <a:gd name="connsiteY13" fmla="*/ 1697 h 9677"/>
                <a:gd name="connsiteX14" fmla="*/ 117 w 10000"/>
                <a:gd name="connsiteY14" fmla="*/ 1697 h 9677"/>
                <a:gd name="connsiteX15" fmla="*/ 392 w 10000"/>
                <a:gd name="connsiteY15" fmla="*/ 1549 h 9677"/>
                <a:gd name="connsiteX16" fmla="*/ 274 w 10000"/>
                <a:gd name="connsiteY16" fmla="*/ 1894 h 9677"/>
                <a:gd name="connsiteX17" fmla="*/ 392 w 10000"/>
                <a:gd name="connsiteY17" fmla="*/ 2147 h 9677"/>
                <a:gd name="connsiteX18" fmla="*/ 548 w 10000"/>
                <a:gd name="connsiteY18" fmla="*/ 2595 h 9677"/>
                <a:gd name="connsiteX19" fmla="*/ 548 w 10000"/>
                <a:gd name="connsiteY19" fmla="*/ 2743 h 9677"/>
                <a:gd name="connsiteX20" fmla="*/ 667 w 10000"/>
                <a:gd name="connsiteY20" fmla="*/ 2743 h 9677"/>
                <a:gd name="connsiteX21" fmla="*/ 667 w 10000"/>
                <a:gd name="connsiteY21" fmla="*/ 2842 h 9677"/>
                <a:gd name="connsiteX22" fmla="*/ 746 w 10000"/>
                <a:gd name="connsiteY22" fmla="*/ 2945 h 9677"/>
                <a:gd name="connsiteX23" fmla="*/ 746 w 10000"/>
                <a:gd name="connsiteY23" fmla="*/ 3095 h 9677"/>
                <a:gd name="connsiteX24" fmla="*/ 548 w 10000"/>
                <a:gd name="connsiteY24" fmla="*/ 3194 h 9677"/>
                <a:gd name="connsiteX25" fmla="*/ 746 w 10000"/>
                <a:gd name="connsiteY25" fmla="*/ 3343 h 9677"/>
                <a:gd name="connsiteX26" fmla="*/ 941 w 10000"/>
                <a:gd name="connsiteY26" fmla="*/ 3691 h 9677"/>
                <a:gd name="connsiteX27" fmla="*/ 1137 w 10000"/>
                <a:gd name="connsiteY27" fmla="*/ 4038 h 9677"/>
                <a:gd name="connsiteX28" fmla="*/ 1215 w 10000"/>
                <a:gd name="connsiteY28" fmla="*/ 4241 h 9677"/>
                <a:gd name="connsiteX29" fmla="*/ 1137 w 10000"/>
                <a:gd name="connsiteY29" fmla="*/ 4489 h 9677"/>
                <a:gd name="connsiteX30" fmla="*/ 1137 w 10000"/>
                <a:gd name="connsiteY30" fmla="*/ 4839 h 9677"/>
                <a:gd name="connsiteX31" fmla="*/ 1137 w 10000"/>
                <a:gd name="connsiteY31" fmla="*/ 4990 h 9677"/>
                <a:gd name="connsiteX32" fmla="*/ 1295 w 10000"/>
                <a:gd name="connsiteY32" fmla="*/ 5189 h 9677"/>
                <a:gd name="connsiteX33" fmla="*/ 1411 w 10000"/>
                <a:gd name="connsiteY33" fmla="*/ 5189 h 9677"/>
                <a:gd name="connsiteX34" fmla="*/ 1569 w 10000"/>
                <a:gd name="connsiteY34" fmla="*/ 5189 h 9677"/>
                <a:gd name="connsiteX35" fmla="*/ 1686 w 10000"/>
                <a:gd name="connsiteY35" fmla="*/ 5437 h 9677"/>
                <a:gd name="connsiteX36" fmla="*/ 1765 w 10000"/>
                <a:gd name="connsiteY36" fmla="*/ 5537 h 9677"/>
                <a:gd name="connsiteX37" fmla="*/ 2040 w 10000"/>
                <a:gd name="connsiteY37" fmla="*/ 5537 h 9677"/>
                <a:gd name="connsiteX38" fmla="*/ 2158 w 10000"/>
                <a:gd name="connsiteY38" fmla="*/ 5689 h 9677"/>
                <a:gd name="connsiteX39" fmla="*/ 2235 w 10000"/>
                <a:gd name="connsiteY39" fmla="*/ 5787 h 9677"/>
                <a:gd name="connsiteX40" fmla="*/ 2314 w 10000"/>
                <a:gd name="connsiteY40" fmla="*/ 5787 h 9677"/>
                <a:gd name="connsiteX41" fmla="*/ 2235 w 10000"/>
                <a:gd name="connsiteY41" fmla="*/ 6035 h 9677"/>
                <a:gd name="connsiteX42" fmla="*/ 2314 w 10000"/>
                <a:gd name="connsiteY42" fmla="*/ 6135 h 9677"/>
                <a:gd name="connsiteX43" fmla="*/ 2589 w 10000"/>
                <a:gd name="connsiteY43" fmla="*/ 6383 h 9677"/>
                <a:gd name="connsiteX44" fmla="*/ 2784 w 10000"/>
                <a:gd name="connsiteY44" fmla="*/ 6634 h 9677"/>
                <a:gd name="connsiteX45" fmla="*/ 2863 w 10000"/>
                <a:gd name="connsiteY45" fmla="*/ 6734 h 9677"/>
                <a:gd name="connsiteX46" fmla="*/ 3058 w 10000"/>
                <a:gd name="connsiteY46" fmla="*/ 6836 h 9677"/>
                <a:gd name="connsiteX47" fmla="*/ 3058 w 10000"/>
                <a:gd name="connsiteY47" fmla="*/ 6985 h 9677"/>
                <a:gd name="connsiteX48" fmla="*/ 3177 w 10000"/>
                <a:gd name="connsiteY48" fmla="*/ 7235 h 9677"/>
                <a:gd name="connsiteX49" fmla="*/ 3255 w 10000"/>
                <a:gd name="connsiteY49" fmla="*/ 7332 h 9677"/>
                <a:gd name="connsiteX50" fmla="*/ 3255 w 10000"/>
                <a:gd name="connsiteY50" fmla="*/ 7432 h 9677"/>
                <a:gd name="connsiteX51" fmla="*/ 3333 w 10000"/>
                <a:gd name="connsiteY51" fmla="*/ 7584 h 9677"/>
                <a:gd name="connsiteX52" fmla="*/ 3725 w 10000"/>
                <a:gd name="connsiteY52" fmla="*/ 7782 h 9677"/>
                <a:gd name="connsiteX53" fmla="*/ 3804 w 10000"/>
                <a:gd name="connsiteY53" fmla="*/ 8032 h 9677"/>
                <a:gd name="connsiteX54" fmla="*/ 3804 w 10000"/>
                <a:gd name="connsiteY54" fmla="*/ 8132 h 9677"/>
                <a:gd name="connsiteX55" fmla="*/ 3883 w 10000"/>
                <a:gd name="connsiteY55" fmla="*/ 8281 h 9677"/>
                <a:gd name="connsiteX56" fmla="*/ 4001 w 10000"/>
                <a:gd name="connsiteY56" fmla="*/ 8378 h 9677"/>
                <a:gd name="connsiteX57" fmla="*/ 4196 w 10000"/>
                <a:gd name="connsiteY57" fmla="*/ 8628 h 9677"/>
                <a:gd name="connsiteX58" fmla="*/ 4196 w 10000"/>
                <a:gd name="connsiteY58" fmla="*/ 8730 h 9677"/>
                <a:gd name="connsiteX59" fmla="*/ 4276 w 10000"/>
                <a:gd name="connsiteY59" fmla="*/ 8880 h 9677"/>
                <a:gd name="connsiteX60" fmla="*/ 4550 w 10000"/>
                <a:gd name="connsiteY60" fmla="*/ 8977 h 9677"/>
                <a:gd name="connsiteX61" fmla="*/ 4628 w 10000"/>
                <a:gd name="connsiteY61" fmla="*/ 8977 h 9677"/>
                <a:gd name="connsiteX62" fmla="*/ 4745 w 10000"/>
                <a:gd name="connsiteY62" fmla="*/ 8880 h 9677"/>
                <a:gd name="connsiteX63" fmla="*/ 5019 w 10000"/>
                <a:gd name="connsiteY63" fmla="*/ 8977 h 9677"/>
                <a:gd name="connsiteX64" fmla="*/ 5215 w 10000"/>
                <a:gd name="connsiteY64" fmla="*/ 8880 h 9677"/>
                <a:gd name="connsiteX65" fmla="*/ 5372 w 10000"/>
                <a:gd name="connsiteY65" fmla="*/ 8730 h 9677"/>
                <a:gd name="connsiteX66" fmla="*/ 5491 w 10000"/>
                <a:gd name="connsiteY66" fmla="*/ 8880 h 9677"/>
                <a:gd name="connsiteX67" fmla="*/ 5844 w 10000"/>
                <a:gd name="connsiteY67" fmla="*/ 9228 h 9677"/>
                <a:gd name="connsiteX68" fmla="*/ 5922 w 10000"/>
                <a:gd name="connsiteY68" fmla="*/ 9428 h 9677"/>
                <a:gd name="connsiteX69" fmla="*/ 6039 w 10000"/>
                <a:gd name="connsiteY69" fmla="*/ 9577 h 9677"/>
                <a:gd name="connsiteX70" fmla="*/ 6119 w 10000"/>
                <a:gd name="connsiteY70" fmla="*/ 9577 h 9677"/>
                <a:gd name="connsiteX71" fmla="*/ 6197 w 10000"/>
                <a:gd name="connsiteY71" fmla="*/ 9577 h 9677"/>
                <a:gd name="connsiteX72" fmla="*/ 6313 w 10000"/>
                <a:gd name="connsiteY72" fmla="*/ 9577 h 9677"/>
                <a:gd name="connsiteX73" fmla="*/ 6510 w 10000"/>
                <a:gd name="connsiteY73" fmla="*/ 9577 h 9677"/>
                <a:gd name="connsiteX74" fmla="*/ 6588 w 10000"/>
                <a:gd name="connsiteY74" fmla="*/ 9577 h 9677"/>
                <a:gd name="connsiteX75" fmla="*/ 6785 w 10000"/>
                <a:gd name="connsiteY75" fmla="*/ 9577 h 9677"/>
                <a:gd name="connsiteX76" fmla="*/ 6863 w 10000"/>
                <a:gd name="connsiteY76" fmla="*/ 9577 h 9677"/>
                <a:gd name="connsiteX77" fmla="*/ 6942 w 10000"/>
                <a:gd name="connsiteY77" fmla="*/ 9677 h 9677"/>
                <a:gd name="connsiteX78" fmla="*/ 7137 w 10000"/>
                <a:gd name="connsiteY78" fmla="*/ 9577 h 9677"/>
                <a:gd name="connsiteX79" fmla="*/ 7334 w 10000"/>
                <a:gd name="connsiteY79" fmla="*/ 9577 h 9677"/>
                <a:gd name="connsiteX80" fmla="*/ 7530 w 10000"/>
                <a:gd name="connsiteY80" fmla="*/ 9428 h 9677"/>
                <a:gd name="connsiteX81" fmla="*/ 7687 w 10000"/>
                <a:gd name="connsiteY81" fmla="*/ 9428 h 9677"/>
                <a:gd name="connsiteX82" fmla="*/ 7961 w 10000"/>
                <a:gd name="connsiteY82" fmla="*/ 9428 h 9677"/>
                <a:gd name="connsiteX83" fmla="*/ 8237 w 10000"/>
                <a:gd name="connsiteY83" fmla="*/ 9228 h 9677"/>
                <a:gd name="connsiteX84" fmla="*/ 8237 w 10000"/>
                <a:gd name="connsiteY84" fmla="*/ 9228 h 9677"/>
                <a:gd name="connsiteX85" fmla="*/ 8237 w 10000"/>
                <a:gd name="connsiteY85" fmla="*/ 9228 h 9677"/>
                <a:gd name="connsiteX86" fmla="*/ 8548 w 10000"/>
                <a:gd name="connsiteY86" fmla="*/ 8880 h 9677"/>
                <a:gd name="connsiteX87" fmla="*/ 8627 w 10000"/>
                <a:gd name="connsiteY87" fmla="*/ 8730 h 9677"/>
                <a:gd name="connsiteX88" fmla="*/ 8824 w 10000"/>
                <a:gd name="connsiteY88" fmla="*/ 8730 h 9677"/>
                <a:gd name="connsiteX89" fmla="*/ 9177 w 10000"/>
                <a:gd name="connsiteY89" fmla="*/ 8880 h 9677"/>
                <a:gd name="connsiteX90" fmla="*/ 9374 w 10000"/>
                <a:gd name="connsiteY90" fmla="*/ 8880 h 9677"/>
                <a:gd name="connsiteX91" fmla="*/ 9569 w 10000"/>
                <a:gd name="connsiteY91" fmla="*/ 8730 h 9677"/>
                <a:gd name="connsiteX92" fmla="*/ 9569 w 10000"/>
                <a:gd name="connsiteY92" fmla="*/ 8378 h 9677"/>
                <a:gd name="connsiteX93" fmla="*/ 9648 w 10000"/>
                <a:gd name="connsiteY93" fmla="*/ 8281 h 9677"/>
                <a:gd name="connsiteX94" fmla="*/ 9569 w 10000"/>
                <a:gd name="connsiteY94" fmla="*/ 8132 h 9677"/>
                <a:gd name="connsiteX95" fmla="*/ 9569 w 10000"/>
                <a:gd name="connsiteY95" fmla="*/ 8032 h 9677"/>
                <a:gd name="connsiteX96" fmla="*/ 9177 w 10000"/>
                <a:gd name="connsiteY96" fmla="*/ 8032 h 9677"/>
                <a:gd name="connsiteX97" fmla="*/ 9100 w 10000"/>
                <a:gd name="connsiteY97" fmla="*/ 7929 h 9677"/>
                <a:gd name="connsiteX98" fmla="*/ 9100 w 10000"/>
                <a:gd name="connsiteY98" fmla="*/ 7782 h 9677"/>
                <a:gd name="connsiteX99" fmla="*/ 8902 w 10000"/>
                <a:gd name="connsiteY99" fmla="*/ 7332 h 9677"/>
                <a:gd name="connsiteX100" fmla="*/ 8902 w 10000"/>
                <a:gd name="connsiteY100" fmla="*/ 7084 h 9677"/>
                <a:gd name="connsiteX101" fmla="*/ 8824 w 10000"/>
                <a:gd name="connsiteY101" fmla="*/ 6985 h 9677"/>
                <a:gd name="connsiteX102" fmla="*/ 8548 w 10000"/>
                <a:gd name="connsiteY102" fmla="*/ 6734 h 9677"/>
                <a:gd name="connsiteX103" fmla="*/ 8432 w 10000"/>
                <a:gd name="connsiteY103" fmla="*/ 6634 h 9677"/>
                <a:gd name="connsiteX104" fmla="*/ 8353 w 10000"/>
                <a:gd name="connsiteY104" fmla="*/ 6487 h 9677"/>
                <a:gd name="connsiteX105" fmla="*/ 8353 w 10000"/>
                <a:gd name="connsiteY105" fmla="*/ 6383 h 9677"/>
                <a:gd name="connsiteX106" fmla="*/ 8237 w 10000"/>
                <a:gd name="connsiteY106" fmla="*/ 6135 h 9677"/>
                <a:gd name="connsiteX107" fmla="*/ 8157 w 10000"/>
                <a:gd name="connsiteY107" fmla="*/ 6135 h 9677"/>
                <a:gd name="connsiteX108" fmla="*/ 7961 w 10000"/>
                <a:gd name="connsiteY108" fmla="*/ 6035 h 9677"/>
                <a:gd name="connsiteX109" fmla="*/ 7882 w 10000"/>
                <a:gd name="connsiteY109" fmla="*/ 6035 h 9677"/>
                <a:gd name="connsiteX110" fmla="*/ 7805 w 10000"/>
                <a:gd name="connsiteY110" fmla="*/ 6035 h 9677"/>
                <a:gd name="connsiteX111" fmla="*/ 7687 w 10000"/>
                <a:gd name="connsiteY111" fmla="*/ 6035 h 9677"/>
                <a:gd name="connsiteX112" fmla="*/ 7608 w 10000"/>
                <a:gd name="connsiteY112" fmla="*/ 5937 h 9677"/>
                <a:gd name="connsiteX113" fmla="*/ 7687 w 10000"/>
                <a:gd name="connsiteY113" fmla="*/ 5787 h 9677"/>
                <a:gd name="connsiteX114" fmla="*/ 7805 w 10000"/>
                <a:gd name="connsiteY114" fmla="*/ 5689 h 9677"/>
                <a:gd name="connsiteX115" fmla="*/ 7805 w 10000"/>
                <a:gd name="connsiteY115" fmla="*/ 5437 h 9677"/>
                <a:gd name="connsiteX116" fmla="*/ 7882 w 10000"/>
                <a:gd name="connsiteY116" fmla="*/ 5437 h 9677"/>
                <a:gd name="connsiteX117" fmla="*/ 8157 w 10000"/>
                <a:gd name="connsiteY117" fmla="*/ 5437 h 9677"/>
                <a:gd name="connsiteX118" fmla="*/ 8353 w 10000"/>
                <a:gd name="connsiteY118" fmla="*/ 5437 h 9677"/>
                <a:gd name="connsiteX119" fmla="*/ 8432 w 10000"/>
                <a:gd name="connsiteY119" fmla="*/ 5335 h 9677"/>
                <a:gd name="connsiteX120" fmla="*/ 8432 w 10000"/>
                <a:gd name="connsiteY120" fmla="*/ 5088 h 9677"/>
                <a:gd name="connsiteX121" fmla="*/ 8432 w 10000"/>
                <a:gd name="connsiteY121" fmla="*/ 4391 h 9677"/>
                <a:gd name="connsiteX122" fmla="*/ 8432 w 10000"/>
                <a:gd name="connsiteY122" fmla="*/ 4140 h 9677"/>
                <a:gd name="connsiteX123" fmla="*/ 8548 w 10000"/>
                <a:gd name="connsiteY123" fmla="*/ 3893 h 9677"/>
                <a:gd name="connsiteX124" fmla="*/ 8432 w 10000"/>
                <a:gd name="connsiteY124" fmla="*/ 3790 h 9677"/>
                <a:gd name="connsiteX125" fmla="*/ 8432 w 10000"/>
                <a:gd name="connsiteY125" fmla="*/ 3691 h 9677"/>
                <a:gd name="connsiteX126" fmla="*/ 8548 w 10000"/>
                <a:gd name="connsiteY126" fmla="*/ 3691 h 9677"/>
                <a:gd name="connsiteX127" fmla="*/ 8548 w 10000"/>
                <a:gd name="connsiteY127" fmla="*/ 3543 h 9677"/>
                <a:gd name="connsiteX128" fmla="*/ 8627 w 10000"/>
                <a:gd name="connsiteY128" fmla="*/ 3343 h 9677"/>
                <a:gd name="connsiteX129" fmla="*/ 8706 w 10000"/>
                <a:gd name="connsiteY129" fmla="*/ 3343 h 9677"/>
                <a:gd name="connsiteX130" fmla="*/ 8902 w 10000"/>
                <a:gd name="connsiteY130" fmla="*/ 3343 h 9677"/>
                <a:gd name="connsiteX131" fmla="*/ 8902 w 10000"/>
                <a:gd name="connsiteY131" fmla="*/ 3194 h 9677"/>
                <a:gd name="connsiteX132" fmla="*/ 8980 w 10000"/>
                <a:gd name="connsiteY132" fmla="*/ 2743 h 9677"/>
                <a:gd name="connsiteX133" fmla="*/ 9100 w 10000"/>
                <a:gd name="connsiteY133" fmla="*/ 2595 h 9677"/>
                <a:gd name="connsiteX134" fmla="*/ 9452 w 10000"/>
                <a:gd name="connsiteY134" fmla="*/ 1797 h 9677"/>
                <a:gd name="connsiteX135" fmla="*/ 9648 w 10000"/>
                <a:gd name="connsiteY135" fmla="*/ 1697 h 9677"/>
                <a:gd name="connsiteX136" fmla="*/ 9726 w 10000"/>
                <a:gd name="connsiteY136" fmla="*/ 1549 h 9677"/>
                <a:gd name="connsiteX137" fmla="*/ 9843 w 10000"/>
                <a:gd name="connsiteY137" fmla="*/ 1445 h 9677"/>
                <a:gd name="connsiteX138" fmla="*/ 10000 w 10000"/>
                <a:gd name="connsiteY138" fmla="*/ 502 h 9677"/>
                <a:gd name="connsiteX139" fmla="*/ 10000 w 10000"/>
                <a:gd name="connsiteY139" fmla="*/ 250 h 9677"/>
                <a:gd name="connsiteX140" fmla="*/ 10000 w 10000"/>
                <a:gd name="connsiteY140" fmla="*/ 0 h 9677"/>
                <a:gd name="connsiteX0" fmla="*/ 10000 w 10000"/>
                <a:gd name="connsiteY0" fmla="*/ 0 h 10000"/>
                <a:gd name="connsiteX1" fmla="*/ 274 w 10000"/>
                <a:gd name="connsiteY1" fmla="*/ 151 h 10000"/>
                <a:gd name="connsiteX2" fmla="*/ 274 w 10000"/>
                <a:gd name="connsiteY2" fmla="*/ 258 h 10000"/>
                <a:gd name="connsiteX3" fmla="*/ 392 w 10000"/>
                <a:gd name="connsiteY3" fmla="*/ 415 h 10000"/>
                <a:gd name="connsiteX4" fmla="*/ 196 w 10000"/>
                <a:gd name="connsiteY4" fmla="*/ 618 h 10000"/>
                <a:gd name="connsiteX5" fmla="*/ 196 w 10000"/>
                <a:gd name="connsiteY5" fmla="*/ 618 h 10000"/>
                <a:gd name="connsiteX6" fmla="*/ 196 w 10000"/>
                <a:gd name="connsiteY6" fmla="*/ 877 h 10000"/>
                <a:gd name="connsiteX7" fmla="*/ 196 w 10000"/>
                <a:gd name="connsiteY7" fmla="*/ 1135 h 10000"/>
                <a:gd name="connsiteX8" fmla="*/ 117 w 10000"/>
                <a:gd name="connsiteY8" fmla="*/ 1239 h 10000"/>
                <a:gd name="connsiteX9" fmla="*/ 0 w 10000"/>
                <a:gd name="connsiteY9" fmla="*/ 1343 h 10000"/>
                <a:gd name="connsiteX10" fmla="*/ 0 w 10000"/>
                <a:gd name="connsiteY10" fmla="*/ 1493 h 10000"/>
                <a:gd name="connsiteX11" fmla="*/ 0 w 10000"/>
                <a:gd name="connsiteY11" fmla="*/ 1754 h 10000"/>
                <a:gd name="connsiteX12" fmla="*/ 117 w 10000"/>
                <a:gd name="connsiteY12" fmla="*/ 1754 h 10000"/>
                <a:gd name="connsiteX13" fmla="*/ 117 w 10000"/>
                <a:gd name="connsiteY13" fmla="*/ 1754 h 10000"/>
                <a:gd name="connsiteX14" fmla="*/ 392 w 10000"/>
                <a:gd name="connsiteY14" fmla="*/ 1601 h 10000"/>
                <a:gd name="connsiteX15" fmla="*/ 274 w 10000"/>
                <a:gd name="connsiteY15" fmla="*/ 1957 h 10000"/>
                <a:gd name="connsiteX16" fmla="*/ 392 w 10000"/>
                <a:gd name="connsiteY16" fmla="*/ 2219 h 10000"/>
                <a:gd name="connsiteX17" fmla="*/ 548 w 10000"/>
                <a:gd name="connsiteY17" fmla="*/ 2682 h 10000"/>
                <a:gd name="connsiteX18" fmla="*/ 548 w 10000"/>
                <a:gd name="connsiteY18" fmla="*/ 2835 h 10000"/>
                <a:gd name="connsiteX19" fmla="*/ 667 w 10000"/>
                <a:gd name="connsiteY19" fmla="*/ 2835 h 10000"/>
                <a:gd name="connsiteX20" fmla="*/ 667 w 10000"/>
                <a:gd name="connsiteY20" fmla="*/ 2937 h 10000"/>
                <a:gd name="connsiteX21" fmla="*/ 746 w 10000"/>
                <a:gd name="connsiteY21" fmla="*/ 3043 h 10000"/>
                <a:gd name="connsiteX22" fmla="*/ 746 w 10000"/>
                <a:gd name="connsiteY22" fmla="*/ 3198 h 10000"/>
                <a:gd name="connsiteX23" fmla="*/ 548 w 10000"/>
                <a:gd name="connsiteY23" fmla="*/ 3301 h 10000"/>
                <a:gd name="connsiteX24" fmla="*/ 746 w 10000"/>
                <a:gd name="connsiteY24" fmla="*/ 3455 h 10000"/>
                <a:gd name="connsiteX25" fmla="*/ 941 w 10000"/>
                <a:gd name="connsiteY25" fmla="*/ 3814 h 10000"/>
                <a:gd name="connsiteX26" fmla="*/ 1137 w 10000"/>
                <a:gd name="connsiteY26" fmla="*/ 4173 h 10000"/>
                <a:gd name="connsiteX27" fmla="*/ 1215 w 10000"/>
                <a:gd name="connsiteY27" fmla="*/ 4383 h 10000"/>
                <a:gd name="connsiteX28" fmla="*/ 1137 w 10000"/>
                <a:gd name="connsiteY28" fmla="*/ 4639 h 10000"/>
                <a:gd name="connsiteX29" fmla="*/ 1137 w 10000"/>
                <a:gd name="connsiteY29" fmla="*/ 5001 h 10000"/>
                <a:gd name="connsiteX30" fmla="*/ 1137 w 10000"/>
                <a:gd name="connsiteY30" fmla="*/ 5157 h 10000"/>
                <a:gd name="connsiteX31" fmla="*/ 1295 w 10000"/>
                <a:gd name="connsiteY31" fmla="*/ 5362 h 10000"/>
                <a:gd name="connsiteX32" fmla="*/ 1411 w 10000"/>
                <a:gd name="connsiteY32" fmla="*/ 5362 h 10000"/>
                <a:gd name="connsiteX33" fmla="*/ 1569 w 10000"/>
                <a:gd name="connsiteY33" fmla="*/ 5362 h 10000"/>
                <a:gd name="connsiteX34" fmla="*/ 1686 w 10000"/>
                <a:gd name="connsiteY34" fmla="*/ 5618 h 10000"/>
                <a:gd name="connsiteX35" fmla="*/ 1765 w 10000"/>
                <a:gd name="connsiteY35" fmla="*/ 5722 h 10000"/>
                <a:gd name="connsiteX36" fmla="*/ 2040 w 10000"/>
                <a:gd name="connsiteY36" fmla="*/ 5722 h 10000"/>
                <a:gd name="connsiteX37" fmla="*/ 2158 w 10000"/>
                <a:gd name="connsiteY37" fmla="*/ 5879 h 10000"/>
                <a:gd name="connsiteX38" fmla="*/ 2235 w 10000"/>
                <a:gd name="connsiteY38" fmla="*/ 5980 h 10000"/>
                <a:gd name="connsiteX39" fmla="*/ 2314 w 10000"/>
                <a:gd name="connsiteY39" fmla="*/ 5980 h 10000"/>
                <a:gd name="connsiteX40" fmla="*/ 2235 w 10000"/>
                <a:gd name="connsiteY40" fmla="*/ 6236 h 10000"/>
                <a:gd name="connsiteX41" fmla="*/ 2314 w 10000"/>
                <a:gd name="connsiteY41" fmla="*/ 6340 h 10000"/>
                <a:gd name="connsiteX42" fmla="*/ 2589 w 10000"/>
                <a:gd name="connsiteY42" fmla="*/ 6596 h 10000"/>
                <a:gd name="connsiteX43" fmla="*/ 2784 w 10000"/>
                <a:gd name="connsiteY43" fmla="*/ 6855 h 10000"/>
                <a:gd name="connsiteX44" fmla="*/ 2863 w 10000"/>
                <a:gd name="connsiteY44" fmla="*/ 6959 h 10000"/>
                <a:gd name="connsiteX45" fmla="*/ 3058 w 10000"/>
                <a:gd name="connsiteY45" fmla="*/ 7064 h 10000"/>
                <a:gd name="connsiteX46" fmla="*/ 3058 w 10000"/>
                <a:gd name="connsiteY46" fmla="*/ 7218 h 10000"/>
                <a:gd name="connsiteX47" fmla="*/ 3177 w 10000"/>
                <a:gd name="connsiteY47" fmla="*/ 7476 h 10000"/>
                <a:gd name="connsiteX48" fmla="*/ 3255 w 10000"/>
                <a:gd name="connsiteY48" fmla="*/ 7577 h 10000"/>
                <a:gd name="connsiteX49" fmla="*/ 3255 w 10000"/>
                <a:gd name="connsiteY49" fmla="*/ 7680 h 10000"/>
                <a:gd name="connsiteX50" fmla="*/ 3333 w 10000"/>
                <a:gd name="connsiteY50" fmla="*/ 7837 h 10000"/>
                <a:gd name="connsiteX51" fmla="*/ 3725 w 10000"/>
                <a:gd name="connsiteY51" fmla="*/ 8042 h 10000"/>
                <a:gd name="connsiteX52" fmla="*/ 3804 w 10000"/>
                <a:gd name="connsiteY52" fmla="*/ 8300 h 10000"/>
                <a:gd name="connsiteX53" fmla="*/ 3804 w 10000"/>
                <a:gd name="connsiteY53" fmla="*/ 8403 h 10000"/>
                <a:gd name="connsiteX54" fmla="*/ 3883 w 10000"/>
                <a:gd name="connsiteY54" fmla="*/ 8557 h 10000"/>
                <a:gd name="connsiteX55" fmla="*/ 4001 w 10000"/>
                <a:gd name="connsiteY55" fmla="*/ 8658 h 10000"/>
                <a:gd name="connsiteX56" fmla="*/ 4196 w 10000"/>
                <a:gd name="connsiteY56" fmla="*/ 8916 h 10000"/>
                <a:gd name="connsiteX57" fmla="*/ 4196 w 10000"/>
                <a:gd name="connsiteY57" fmla="*/ 9021 h 10000"/>
                <a:gd name="connsiteX58" fmla="*/ 4276 w 10000"/>
                <a:gd name="connsiteY58" fmla="*/ 9176 h 10000"/>
                <a:gd name="connsiteX59" fmla="*/ 4550 w 10000"/>
                <a:gd name="connsiteY59" fmla="*/ 9277 h 10000"/>
                <a:gd name="connsiteX60" fmla="*/ 4628 w 10000"/>
                <a:gd name="connsiteY60" fmla="*/ 9277 h 10000"/>
                <a:gd name="connsiteX61" fmla="*/ 4745 w 10000"/>
                <a:gd name="connsiteY61" fmla="*/ 9176 h 10000"/>
                <a:gd name="connsiteX62" fmla="*/ 5019 w 10000"/>
                <a:gd name="connsiteY62" fmla="*/ 9277 h 10000"/>
                <a:gd name="connsiteX63" fmla="*/ 5215 w 10000"/>
                <a:gd name="connsiteY63" fmla="*/ 9176 h 10000"/>
                <a:gd name="connsiteX64" fmla="*/ 5372 w 10000"/>
                <a:gd name="connsiteY64" fmla="*/ 9021 h 10000"/>
                <a:gd name="connsiteX65" fmla="*/ 5491 w 10000"/>
                <a:gd name="connsiteY65" fmla="*/ 9176 h 10000"/>
                <a:gd name="connsiteX66" fmla="*/ 5844 w 10000"/>
                <a:gd name="connsiteY66" fmla="*/ 9536 h 10000"/>
                <a:gd name="connsiteX67" fmla="*/ 5922 w 10000"/>
                <a:gd name="connsiteY67" fmla="*/ 9743 h 10000"/>
                <a:gd name="connsiteX68" fmla="*/ 6039 w 10000"/>
                <a:gd name="connsiteY68" fmla="*/ 9897 h 10000"/>
                <a:gd name="connsiteX69" fmla="*/ 6119 w 10000"/>
                <a:gd name="connsiteY69" fmla="*/ 9897 h 10000"/>
                <a:gd name="connsiteX70" fmla="*/ 6197 w 10000"/>
                <a:gd name="connsiteY70" fmla="*/ 9897 h 10000"/>
                <a:gd name="connsiteX71" fmla="*/ 6313 w 10000"/>
                <a:gd name="connsiteY71" fmla="*/ 9897 h 10000"/>
                <a:gd name="connsiteX72" fmla="*/ 6510 w 10000"/>
                <a:gd name="connsiteY72" fmla="*/ 9897 h 10000"/>
                <a:gd name="connsiteX73" fmla="*/ 6588 w 10000"/>
                <a:gd name="connsiteY73" fmla="*/ 9897 h 10000"/>
                <a:gd name="connsiteX74" fmla="*/ 6785 w 10000"/>
                <a:gd name="connsiteY74" fmla="*/ 9897 h 10000"/>
                <a:gd name="connsiteX75" fmla="*/ 6863 w 10000"/>
                <a:gd name="connsiteY75" fmla="*/ 9897 h 10000"/>
                <a:gd name="connsiteX76" fmla="*/ 6942 w 10000"/>
                <a:gd name="connsiteY76" fmla="*/ 10000 h 10000"/>
                <a:gd name="connsiteX77" fmla="*/ 7137 w 10000"/>
                <a:gd name="connsiteY77" fmla="*/ 9897 h 10000"/>
                <a:gd name="connsiteX78" fmla="*/ 7334 w 10000"/>
                <a:gd name="connsiteY78" fmla="*/ 9897 h 10000"/>
                <a:gd name="connsiteX79" fmla="*/ 7530 w 10000"/>
                <a:gd name="connsiteY79" fmla="*/ 9743 h 10000"/>
                <a:gd name="connsiteX80" fmla="*/ 7687 w 10000"/>
                <a:gd name="connsiteY80" fmla="*/ 9743 h 10000"/>
                <a:gd name="connsiteX81" fmla="*/ 7961 w 10000"/>
                <a:gd name="connsiteY81" fmla="*/ 9743 h 10000"/>
                <a:gd name="connsiteX82" fmla="*/ 8237 w 10000"/>
                <a:gd name="connsiteY82" fmla="*/ 9536 h 10000"/>
                <a:gd name="connsiteX83" fmla="*/ 8237 w 10000"/>
                <a:gd name="connsiteY83" fmla="*/ 9536 h 10000"/>
                <a:gd name="connsiteX84" fmla="*/ 8237 w 10000"/>
                <a:gd name="connsiteY84" fmla="*/ 9536 h 10000"/>
                <a:gd name="connsiteX85" fmla="*/ 8548 w 10000"/>
                <a:gd name="connsiteY85" fmla="*/ 9176 h 10000"/>
                <a:gd name="connsiteX86" fmla="*/ 8627 w 10000"/>
                <a:gd name="connsiteY86" fmla="*/ 9021 h 10000"/>
                <a:gd name="connsiteX87" fmla="*/ 8824 w 10000"/>
                <a:gd name="connsiteY87" fmla="*/ 9021 h 10000"/>
                <a:gd name="connsiteX88" fmla="*/ 9177 w 10000"/>
                <a:gd name="connsiteY88" fmla="*/ 9176 h 10000"/>
                <a:gd name="connsiteX89" fmla="*/ 9374 w 10000"/>
                <a:gd name="connsiteY89" fmla="*/ 9176 h 10000"/>
                <a:gd name="connsiteX90" fmla="*/ 9569 w 10000"/>
                <a:gd name="connsiteY90" fmla="*/ 9021 h 10000"/>
                <a:gd name="connsiteX91" fmla="*/ 9569 w 10000"/>
                <a:gd name="connsiteY91" fmla="*/ 8658 h 10000"/>
                <a:gd name="connsiteX92" fmla="*/ 9648 w 10000"/>
                <a:gd name="connsiteY92" fmla="*/ 8557 h 10000"/>
                <a:gd name="connsiteX93" fmla="*/ 9569 w 10000"/>
                <a:gd name="connsiteY93" fmla="*/ 8403 h 10000"/>
                <a:gd name="connsiteX94" fmla="*/ 9569 w 10000"/>
                <a:gd name="connsiteY94" fmla="*/ 8300 h 10000"/>
                <a:gd name="connsiteX95" fmla="*/ 9177 w 10000"/>
                <a:gd name="connsiteY95" fmla="*/ 8300 h 10000"/>
                <a:gd name="connsiteX96" fmla="*/ 9100 w 10000"/>
                <a:gd name="connsiteY96" fmla="*/ 8194 h 10000"/>
                <a:gd name="connsiteX97" fmla="*/ 9100 w 10000"/>
                <a:gd name="connsiteY97" fmla="*/ 8042 h 10000"/>
                <a:gd name="connsiteX98" fmla="*/ 8902 w 10000"/>
                <a:gd name="connsiteY98" fmla="*/ 7577 h 10000"/>
                <a:gd name="connsiteX99" fmla="*/ 8902 w 10000"/>
                <a:gd name="connsiteY99" fmla="*/ 7320 h 10000"/>
                <a:gd name="connsiteX100" fmla="*/ 8824 w 10000"/>
                <a:gd name="connsiteY100" fmla="*/ 7218 h 10000"/>
                <a:gd name="connsiteX101" fmla="*/ 8548 w 10000"/>
                <a:gd name="connsiteY101" fmla="*/ 6959 h 10000"/>
                <a:gd name="connsiteX102" fmla="*/ 8432 w 10000"/>
                <a:gd name="connsiteY102" fmla="*/ 6855 h 10000"/>
                <a:gd name="connsiteX103" fmla="*/ 8353 w 10000"/>
                <a:gd name="connsiteY103" fmla="*/ 6704 h 10000"/>
                <a:gd name="connsiteX104" fmla="*/ 8353 w 10000"/>
                <a:gd name="connsiteY104" fmla="*/ 6596 h 10000"/>
                <a:gd name="connsiteX105" fmla="*/ 8237 w 10000"/>
                <a:gd name="connsiteY105" fmla="*/ 6340 h 10000"/>
                <a:gd name="connsiteX106" fmla="*/ 8157 w 10000"/>
                <a:gd name="connsiteY106" fmla="*/ 6340 h 10000"/>
                <a:gd name="connsiteX107" fmla="*/ 7961 w 10000"/>
                <a:gd name="connsiteY107" fmla="*/ 6236 h 10000"/>
                <a:gd name="connsiteX108" fmla="*/ 7882 w 10000"/>
                <a:gd name="connsiteY108" fmla="*/ 6236 h 10000"/>
                <a:gd name="connsiteX109" fmla="*/ 7805 w 10000"/>
                <a:gd name="connsiteY109" fmla="*/ 6236 h 10000"/>
                <a:gd name="connsiteX110" fmla="*/ 7687 w 10000"/>
                <a:gd name="connsiteY110" fmla="*/ 6236 h 10000"/>
                <a:gd name="connsiteX111" fmla="*/ 7608 w 10000"/>
                <a:gd name="connsiteY111" fmla="*/ 6135 h 10000"/>
                <a:gd name="connsiteX112" fmla="*/ 7687 w 10000"/>
                <a:gd name="connsiteY112" fmla="*/ 5980 h 10000"/>
                <a:gd name="connsiteX113" fmla="*/ 7805 w 10000"/>
                <a:gd name="connsiteY113" fmla="*/ 5879 h 10000"/>
                <a:gd name="connsiteX114" fmla="*/ 7805 w 10000"/>
                <a:gd name="connsiteY114" fmla="*/ 5618 h 10000"/>
                <a:gd name="connsiteX115" fmla="*/ 7882 w 10000"/>
                <a:gd name="connsiteY115" fmla="*/ 5618 h 10000"/>
                <a:gd name="connsiteX116" fmla="*/ 8157 w 10000"/>
                <a:gd name="connsiteY116" fmla="*/ 5618 h 10000"/>
                <a:gd name="connsiteX117" fmla="*/ 8353 w 10000"/>
                <a:gd name="connsiteY117" fmla="*/ 5618 h 10000"/>
                <a:gd name="connsiteX118" fmla="*/ 8432 w 10000"/>
                <a:gd name="connsiteY118" fmla="*/ 5513 h 10000"/>
                <a:gd name="connsiteX119" fmla="*/ 8432 w 10000"/>
                <a:gd name="connsiteY119" fmla="*/ 5258 h 10000"/>
                <a:gd name="connsiteX120" fmla="*/ 8432 w 10000"/>
                <a:gd name="connsiteY120" fmla="*/ 4538 h 10000"/>
                <a:gd name="connsiteX121" fmla="*/ 8432 w 10000"/>
                <a:gd name="connsiteY121" fmla="*/ 4278 h 10000"/>
                <a:gd name="connsiteX122" fmla="*/ 8548 w 10000"/>
                <a:gd name="connsiteY122" fmla="*/ 4023 h 10000"/>
                <a:gd name="connsiteX123" fmla="*/ 8432 w 10000"/>
                <a:gd name="connsiteY123" fmla="*/ 3917 h 10000"/>
                <a:gd name="connsiteX124" fmla="*/ 8432 w 10000"/>
                <a:gd name="connsiteY124" fmla="*/ 3814 h 10000"/>
                <a:gd name="connsiteX125" fmla="*/ 8548 w 10000"/>
                <a:gd name="connsiteY125" fmla="*/ 3814 h 10000"/>
                <a:gd name="connsiteX126" fmla="*/ 8548 w 10000"/>
                <a:gd name="connsiteY126" fmla="*/ 3661 h 10000"/>
                <a:gd name="connsiteX127" fmla="*/ 8627 w 10000"/>
                <a:gd name="connsiteY127" fmla="*/ 3455 h 10000"/>
                <a:gd name="connsiteX128" fmla="*/ 8706 w 10000"/>
                <a:gd name="connsiteY128" fmla="*/ 3455 h 10000"/>
                <a:gd name="connsiteX129" fmla="*/ 8902 w 10000"/>
                <a:gd name="connsiteY129" fmla="*/ 3455 h 10000"/>
                <a:gd name="connsiteX130" fmla="*/ 8902 w 10000"/>
                <a:gd name="connsiteY130" fmla="*/ 3301 h 10000"/>
                <a:gd name="connsiteX131" fmla="*/ 8980 w 10000"/>
                <a:gd name="connsiteY131" fmla="*/ 2835 h 10000"/>
                <a:gd name="connsiteX132" fmla="*/ 9100 w 10000"/>
                <a:gd name="connsiteY132" fmla="*/ 2682 h 10000"/>
                <a:gd name="connsiteX133" fmla="*/ 9452 w 10000"/>
                <a:gd name="connsiteY133" fmla="*/ 1857 h 10000"/>
                <a:gd name="connsiteX134" fmla="*/ 9648 w 10000"/>
                <a:gd name="connsiteY134" fmla="*/ 1754 h 10000"/>
                <a:gd name="connsiteX135" fmla="*/ 9726 w 10000"/>
                <a:gd name="connsiteY135" fmla="*/ 1601 h 10000"/>
                <a:gd name="connsiteX136" fmla="*/ 9843 w 10000"/>
                <a:gd name="connsiteY136" fmla="*/ 1493 h 10000"/>
                <a:gd name="connsiteX137" fmla="*/ 10000 w 10000"/>
                <a:gd name="connsiteY137" fmla="*/ 519 h 10000"/>
                <a:gd name="connsiteX138" fmla="*/ 10000 w 10000"/>
                <a:gd name="connsiteY138" fmla="*/ 258 h 10000"/>
                <a:gd name="connsiteX139" fmla="*/ 10000 w 10000"/>
                <a:gd name="connsiteY139" fmla="*/ 0 h 10000"/>
                <a:gd name="connsiteX0" fmla="*/ 10000 w 10000"/>
                <a:gd name="connsiteY0" fmla="*/ 0 h 10000"/>
                <a:gd name="connsiteX1" fmla="*/ 274 w 10000"/>
                <a:gd name="connsiteY1" fmla="*/ 151 h 10000"/>
                <a:gd name="connsiteX2" fmla="*/ 274 w 10000"/>
                <a:gd name="connsiteY2" fmla="*/ 258 h 10000"/>
                <a:gd name="connsiteX3" fmla="*/ 392 w 10000"/>
                <a:gd name="connsiteY3" fmla="*/ 415 h 10000"/>
                <a:gd name="connsiteX4" fmla="*/ 196 w 10000"/>
                <a:gd name="connsiteY4" fmla="*/ 618 h 10000"/>
                <a:gd name="connsiteX5" fmla="*/ 196 w 10000"/>
                <a:gd name="connsiteY5" fmla="*/ 618 h 10000"/>
                <a:gd name="connsiteX6" fmla="*/ 196 w 10000"/>
                <a:gd name="connsiteY6" fmla="*/ 1135 h 10000"/>
                <a:gd name="connsiteX7" fmla="*/ 117 w 10000"/>
                <a:gd name="connsiteY7" fmla="*/ 1239 h 10000"/>
                <a:gd name="connsiteX8" fmla="*/ 0 w 10000"/>
                <a:gd name="connsiteY8" fmla="*/ 1343 h 10000"/>
                <a:gd name="connsiteX9" fmla="*/ 0 w 10000"/>
                <a:gd name="connsiteY9" fmla="*/ 1493 h 10000"/>
                <a:gd name="connsiteX10" fmla="*/ 0 w 10000"/>
                <a:gd name="connsiteY10" fmla="*/ 1754 h 10000"/>
                <a:gd name="connsiteX11" fmla="*/ 117 w 10000"/>
                <a:gd name="connsiteY11" fmla="*/ 1754 h 10000"/>
                <a:gd name="connsiteX12" fmla="*/ 117 w 10000"/>
                <a:gd name="connsiteY12" fmla="*/ 1754 h 10000"/>
                <a:gd name="connsiteX13" fmla="*/ 392 w 10000"/>
                <a:gd name="connsiteY13" fmla="*/ 1601 h 10000"/>
                <a:gd name="connsiteX14" fmla="*/ 274 w 10000"/>
                <a:gd name="connsiteY14" fmla="*/ 1957 h 10000"/>
                <a:gd name="connsiteX15" fmla="*/ 392 w 10000"/>
                <a:gd name="connsiteY15" fmla="*/ 2219 h 10000"/>
                <a:gd name="connsiteX16" fmla="*/ 548 w 10000"/>
                <a:gd name="connsiteY16" fmla="*/ 2682 h 10000"/>
                <a:gd name="connsiteX17" fmla="*/ 548 w 10000"/>
                <a:gd name="connsiteY17" fmla="*/ 2835 h 10000"/>
                <a:gd name="connsiteX18" fmla="*/ 667 w 10000"/>
                <a:gd name="connsiteY18" fmla="*/ 2835 h 10000"/>
                <a:gd name="connsiteX19" fmla="*/ 667 w 10000"/>
                <a:gd name="connsiteY19" fmla="*/ 2937 h 10000"/>
                <a:gd name="connsiteX20" fmla="*/ 746 w 10000"/>
                <a:gd name="connsiteY20" fmla="*/ 3043 h 10000"/>
                <a:gd name="connsiteX21" fmla="*/ 746 w 10000"/>
                <a:gd name="connsiteY21" fmla="*/ 3198 h 10000"/>
                <a:gd name="connsiteX22" fmla="*/ 548 w 10000"/>
                <a:gd name="connsiteY22" fmla="*/ 3301 h 10000"/>
                <a:gd name="connsiteX23" fmla="*/ 746 w 10000"/>
                <a:gd name="connsiteY23" fmla="*/ 3455 h 10000"/>
                <a:gd name="connsiteX24" fmla="*/ 941 w 10000"/>
                <a:gd name="connsiteY24" fmla="*/ 3814 h 10000"/>
                <a:gd name="connsiteX25" fmla="*/ 1137 w 10000"/>
                <a:gd name="connsiteY25" fmla="*/ 4173 h 10000"/>
                <a:gd name="connsiteX26" fmla="*/ 1215 w 10000"/>
                <a:gd name="connsiteY26" fmla="*/ 4383 h 10000"/>
                <a:gd name="connsiteX27" fmla="*/ 1137 w 10000"/>
                <a:gd name="connsiteY27" fmla="*/ 4639 h 10000"/>
                <a:gd name="connsiteX28" fmla="*/ 1137 w 10000"/>
                <a:gd name="connsiteY28" fmla="*/ 5001 h 10000"/>
                <a:gd name="connsiteX29" fmla="*/ 1137 w 10000"/>
                <a:gd name="connsiteY29" fmla="*/ 5157 h 10000"/>
                <a:gd name="connsiteX30" fmla="*/ 1295 w 10000"/>
                <a:gd name="connsiteY30" fmla="*/ 5362 h 10000"/>
                <a:gd name="connsiteX31" fmla="*/ 1411 w 10000"/>
                <a:gd name="connsiteY31" fmla="*/ 5362 h 10000"/>
                <a:gd name="connsiteX32" fmla="*/ 1569 w 10000"/>
                <a:gd name="connsiteY32" fmla="*/ 5362 h 10000"/>
                <a:gd name="connsiteX33" fmla="*/ 1686 w 10000"/>
                <a:gd name="connsiteY33" fmla="*/ 5618 h 10000"/>
                <a:gd name="connsiteX34" fmla="*/ 1765 w 10000"/>
                <a:gd name="connsiteY34" fmla="*/ 5722 h 10000"/>
                <a:gd name="connsiteX35" fmla="*/ 2040 w 10000"/>
                <a:gd name="connsiteY35" fmla="*/ 5722 h 10000"/>
                <a:gd name="connsiteX36" fmla="*/ 2158 w 10000"/>
                <a:gd name="connsiteY36" fmla="*/ 5879 h 10000"/>
                <a:gd name="connsiteX37" fmla="*/ 2235 w 10000"/>
                <a:gd name="connsiteY37" fmla="*/ 5980 h 10000"/>
                <a:gd name="connsiteX38" fmla="*/ 2314 w 10000"/>
                <a:gd name="connsiteY38" fmla="*/ 5980 h 10000"/>
                <a:gd name="connsiteX39" fmla="*/ 2235 w 10000"/>
                <a:gd name="connsiteY39" fmla="*/ 6236 h 10000"/>
                <a:gd name="connsiteX40" fmla="*/ 2314 w 10000"/>
                <a:gd name="connsiteY40" fmla="*/ 6340 h 10000"/>
                <a:gd name="connsiteX41" fmla="*/ 2589 w 10000"/>
                <a:gd name="connsiteY41" fmla="*/ 6596 h 10000"/>
                <a:gd name="connsiteX42" fmla="*/ 2784 w 10000"/>
                <a:gd name="connsiteY42" fmla="*/ 6855 h 10000"/>
                <a:gd name="connsiteX43" fmla="*/ 2863 w 10000"/>
                <a:gd name="connsiteY43" fmla="*/ 6959 h 10000"/>
                <a:gd name="connsiteX44" fmla="*/ 3058 w 10000"/>
                <a:gd name="connsiteY44" fmla="*/ 7064 h 10000"/>
                <a:gd name="connsiteX45" fmla="*/ 3058 w 10000"/>
                <a:gd name="connsiteY45" fmla="*/ 7218 h 10000"/>
                <a:gd name="connsiteX46" fmla="*/ 3177 w 10000"/>
                <a:gd name="connsiteY46" fmla="*/ 7476 h 10000"/>
                <a:gd name="connsiteX47" fmla="*/ 3255 w 10000"/>
                <a:gd name="connsiteY47" fmla="*/ 7577 h 10000"/>
                <a:gd name="connsiteX48" fmla="*/ 3255 w 10000"/>
                <a:gd name="connsiteY48" fmla="*/ 7680 h 10000"/>
                <a:gd name="connsiteX49" fmla="*/ 3333 w 10000"/>
                <a:gd name="connsiteY49" fmla="*/ 7837 h 10000"/>
                <a:gd name="connsiteX50" fmla="*/ 3725 w 10000"/>
                <a:gd name="connsiteY50" fmla="*/ 8042 h 10000"/>
                <a:gd name="connsiteX51" fmla="*/ 3804 w 10000"/>
                <a:gd name="connsiteY51" fmla="*/ 8300 h 10000"/>
                <a:gd name="connsiteX52" fmla="*/ 3804 w 10000"/>
                <a:gd name="connsiteY52" fmla="*/ 8403 h 10000"/>
                <a:gd name="connsiteX53" fmla="*/ 3883 w 10000"/>
                <a:gd name="connsiteY53" fmla="*/ 8557 h 10000"/>
                <a:gd name="connsiteX54" fmla="*/ 4001 w 10000"/>
                <a:gd name="connsiteY54" fmla="*/ 8658 h 10000"/>
                <a:gd name="connsiteX55" fmla="*/ 4196 w 10000"/>
                <a:gd name="connsiteY55" fmla="*/ 8916 h 10000"/>
                <a:gd name="connsiteX56" fmla="*/ 4196 w 10000"/>
                <a:gd name="connsiteY56" fmla="*/ 9021 h 10000"/>
                <a:gd name="connsiteX57" fmla="*/ 4276 w 10000"/>
                <a:gd name="connsiteY57" fmla="*/ 9176 h 10000"/>
                <a:gd name="connsiteX58" fmla="*/ 4550 w 10000"/>
                <a:gd name="connsiteY58" fmla="*/ 9277 h 10000"/>
                <a:gd name="connsiteX59" fmla="*/ 4628 w 10000"/>
                <a:gd name="connsiteY59" fmla="*/ 9277 h 10000"/>
                <a:gd name="connsiteX60" fmla="*/ 4745 w 10000"/>
                <a:gd name="connsiteY60" fmla="*/ 9176 h 10000"/>
                <a:gd name="connsiteX61" fmla="*/ 5019 w 10000"/>
                <a:gd name="connsiteY61" fmla="*/ 9277 h 10000"/>
                <a:gd name="connsiteX62" fmla="*/ 5215 w 10000"/>
                <a:gd name="connsiteY62" fmla="*/ 9176 h 10000"/>
                <a:gd name="connsiteX63" fmla="*/ 5372 w 10000"/>
                <a:gd name="connsiteY63" fmla="*/ 9021 h 10000"/>
                <a:gd name="connsiteX64" fmla="*/ 5491 w 10000"/>
                <a:gd name="connsiteY64" fmla="*/ 9176 h 10000"/>
                <a:gd name="connsiteX65" fmla="*/ 5844 w 10000"/>
                <a:gd name="connsiteY65" fmla="*/ 9536 h 10000"/>
                <a:gd name="connsiteX66" fmla="*/ 5922 w 10000"/>
                <a:gd name="connsiteY66" fmla="*/ 9743 h 10000"/>
                <a:gd name="connsiteX67" fmla="*/ 6039 w 10000"/>
                <a:gd name="connsiteY67" fmla="*/ 9897 h 10000"/>
                <a:gd name="connsiteX68" fmla="*/ 6119 w 10000"/>
                <a:gd name="connsiteY68" fmla="*/ 9897 h 10000"/>
                <a:gd name="connsiteX69" fmla="*/ 6197 w 10000"/>
                <a:gd name="connsiteY69" fmla="*/ 9897 h 10000"/>
                <a:gd name="connsiteX70" fmla="*/ 6313 w 10000"/>
                <a:gd name="connsiteY70" fmla="*/ 9897 h 10000"/>
                <a:gd name="connsiteX71" fmla="*/ 6510 w 10000"/>
                <a:gd name="connsiteY71" fmla="*/ 9897 h 10000"/>
                <a:gd name="connsiteX72" fmla="*/ 6588 w 10000"/>
                <a:gd name="connsiteY72" fmla="*/ 9897 h 10000"/>
                <a:gd name="connsiteX73" fmla="*/ 6785 w 10000"/>
                <a:gd name="connsiteY73" fmla="*/ 9897 h 10000"/>
                <a:gd name="connsiteX74" fmla="*/ 6863 w 10000"/>
                <a:gd name="connsiteY74" fmla="*/ 9897 h 10000"/>
                <a:gd name="connsiteX75" fmla="*/ 6942 w 10000"/>
                <a:gd name="connsiteY75" fmla="*/ 10000 h 10000"/>
                <a:gd name="connsiteX76" fmla="*/ 7137 w 10000"/>
                <a:gd name="connsiteY76" fmla="*/ 9897 h 10000"/>
                <a:gd name="connsiteX77" fmla="*/ 7334 w 10000"/>
                <a:gd name="connsiteY77" fmla="*/ 9897 h 10000"/>
                <a:gd name="connsiteX78" fmla="*/ 7530 w 10000"/>
                <a:gd name="connsiteY78" fmla="*/ 9743 h 10000"/>
                <a:gd name="connsiteX79" fmla="*/ 7687 w 10000"/>
                <a:gd name="connsiteY79" fmla="*/ 9743 h 10000"/>
                <a:gd name="connsiteX80" fmla="*/ 7961 w 10000"/>
                <a:gd name="connsiteY80" fmla="*/ 9743 h 10000"/>
                <a:gd name="connsiteX81" fmla="*/ 8237 w 10000"/>
                <a:gd name="connsiteY81" fmla="*/ 9536 h 10000"/>
                <a:gd name="connsiteX82" fmla="*/ 8237 w 10000"/>
                <a:gd name="connsiteY82" fmla="*/ 9536 h 10000"/>
                <a:gd name="connsiteX83" fmla="*/ 8237 w 10000"/>
                <a:gd name="connsiteY83" fmla="*/ 9536 h 10000"/>
                <a:gd name="connsiteX84" fmla="*/ 8548 w 10000"/>
                <a:gd name="connsiteY84" fmla="*/ 9176 h 10000"/>
                <a:gd name="connsiteX85" fmla="*/ 8627 w 10000"/>
                <a:gd name="connsiteY85" fmla="*/ 9021 h 10000"/>
                <a:gd name="connsiteX86" fmla="*/ 8824 w 10000"/>
                <a:gd name="connsiteY86" fmla="*/ 9021 h 10000"/>
                <a:gd name="connsiteX87" fmla="*/ 9177 w 10000"/>
                <a:gd name="connsiteY87" fmla="*/ 9176 h 10000"/>
                <a:gd name="connsiteX88" fmla="*/ 9374 w 10000"/>
                <a:gd name="connsiteY88" fmla="*/ 9176 h 10000"/>
                <a:gd name="connsiteX89" fmla="*/ 9569 w 10000"/>
                <a:gd name="connsiteY89" fmla="*/ 9021 h 10000"/>
                <a:gd name="connsiteX90" fmla="*/ 9569 w 10000"/>
                <a:gd name="connsiteY90" fmla="*/ 8658 h 10000"/>
                <a:gd name="connsiteX91" fmla="*/ 9648 w 10000"/>
                <a:gd name="connsiteY91" fmla="*/ 8557 h 10000"/>
                <a:gd name="connsiteX92" fmla="*/ 9569 w 10000"/>
                <a:gd name="connsiteY92" fmla="*/ 8403 h 10000"/>
                <a:gd name="connsiteX93" fmla="*/ 9569 w 10000"/>
                <a:gd name="connsiteY93" fmla="*/ 8300 h 10000"/>
                <a:gd name="connsiteX94" fmla="*/ 9177 w 10000"/>
                <a:gd name="connsiteY94" fmla="*/ 8300 h 10000"/>
                <a:gd name="connsiteX95" fmla="*/ 9100 w 10000"/>
                <a:gd name="connsiteY95" fmla="*/ 8194 h 10000"/>
                <a:gd name="connsiteX96" fmla="*/ 9100 w 10000"/>
                <a:gd name="connsiteY96" fmla="*/ 8042 h 10000"/>
                <a:gd name="connsiteX97" fmla="*/ 8902 w 10000"/>
                <a:gd name="connsiteY97" fmla="*/ 7577 h 10000"/>
                <a:gd name="connsiteX98" fmla="*/ 8902 w 10000"/>
                <a:gd name="connsiteY98" fmla="*/ 7320 h 10000"/>
                <a:gd name="connsiteX99" fmla="*/ 8824 w 10000"/>
                <a:gd name="connsiteY99" fmla="*/ 7218 h 10000"/>
                <a:gd name="connsiteX100" fmla="*/ 8548 w 10000"/>
                <a:gd name="connsiteY100" fmla="*/ 6959 h 10000"/>
                <a:gd name="connsiteX101" fmla="*/ 8432 w 10000"/>
                <a:gd name="connsiteY101" fmla="*/ 6855 h 10000"/>
                <a:gd name="connsiteX102" fmla="*/ 8353 w 10000"/>
                <a:gd name="connsiteY102" fmla="*/ 6704 h 10000"/>
                <a:gd name="connsiteX103" fmla="*/ 8353 w 10000"/>
                <a:gd name="connsiteY103" fmla="*/ 6596 h 10000"/>
                <a:gd name="connsiteX104" fmla="*/ 8237 w 10000"/>
                <a:gd name="connsiteY104" fmla="*/ 6340 h 10000"/>
                <a:gd name="connsiteX105" fmla="*/ 8157 w 10000"/>
                <a:gd name="connsiteY105" fmla="*/ 6340 h 10000"/>
                <a:gd name="connsiteX106" fmla="*/ 7961 w 10000"/>
                <a:gd name="connsiteY106" fmla="*/ 6236 h 10000"/>
                <a:gd name="connsiteX107" fmla="*/ 7882 w 10000"/>
                <a:gd name="connsiteY107" fmla="*/ 6236 h 10000"/>
                <a:gd name="connsiteX108" fmla="*/ 7805 w 10000"/>
                <a:gd name="connsiteY108" fmla="*/ 6236 h 10000"/>
                <a:gd name="connsiteX109" fmla="*/ 7687 w 10000"/>
                <a:gd name="connsiteY109" fmla="*/ 6236 h 10000"/>
                <a:gd name="connsiteX110" fmla="*/ 7608 w 10000"/>
                <a:gd name="connsiteY110" fmla="*/ 6135 h 10000"/>
                <a:gd name="connsiteX111" fmla="*/ 7687 w 10000"/>
                <a:gd name="connsiteY111" fmla="*/ 5980 h 10000"/>
                <a:gd name="connsiteX112" fmla="*/ 7805 w 10000"/>
                <a:gd name="connsiteY112" fmla="*/ 5879 h 10000"/>
                <a:gd name="connsiteX113" fmla="*/ 7805 w 10000"/>
                <a:gd name="connsiteY113" fmla="*/ 5618 h 10000"/>
                <a:gd name="connsiteX114" fmla="*/ 7882 w 10000"/>
                <a:gd name="connsiteY114" fmla="*/ 5618 h 10000"/>
                <a:gd name="connsiteX115" fmla="*/ 8157 w 10000"/>
                <a:gd name="connsiteY115" fmla="*/ 5618 h 10000"/>
                <a:gd name="connsiteX116" fmla="*/ 8353 w 10000"/>
                <a:gd name="connsiteY116" fmla="*/ 5618 h 10000"/>
                <a:gd name="connsiteX117" fmla="*/ 8432 w 10000"/>
                <a:gd name="connsiteY117" fmla="*/ 5513 h 10000"/>
                <a:gd name="connsiteX118" fmla="*/ 8432 w 10000"/>
                <a:gd name="connsiteY118" fmla="*/ 5258 h 10000"/>
                <a:gd name="connsiteX119" fmla="*/ 8432 w 10000"/>
                <a:gd name="connsiteY119" fmla="*/ 4538 h 10000"/>
                <a:gd name="connsiteX120" fmla="*/ 8432 w 10000"/>
                <a:gd name="connsiteY120" fmla="*/ 4278 h 10000"/>
                <a:gd name="connsiteX121" fmla="*/ 8548 w 10000"/>
                <a:gd name="connsiteY121" fmla="*/ 4023 h 10000"/>
                <a:gd name="connsiteX122" fmla="*/ 8432 w 10000"/>
                <a:gd name="connsiteY122" fmla="*/ 3917 h 10000"/>
                <a:gd name="connsiteX123" fmla="*/ 8432 w 10000"/>
                <a:gd name="connsiteY123" fmla="*/ 3814 h 10000"/>
                <a:gd name="connsiteX124" fmla="*/ 8548 w 10000"/>
                <a:gd name="connsiteY124" fmla="*/ 3814 h 10000"/>
                <a:gd name="connsiteX125" fmla="*/ 8548 w 10000"/>
                <a:gd name="connsiteY125" fmla="*/ 3661 h 10000"/>
                <a:gd name="connsiteX126" fmla="*/ 8627 w 10000"/>
                <a:gd name="connsiteY126" fmla="*/ 3455 h 10000"/>
                <a:gd name="connsiteX127" fmla="*/ 8706 w 10000"/>
                <a:gd name="connsiteY127" fmla="*/ 3455 h 10000"/>
                <a:gd name="connsiteX128" fmla="*/ 8902 w 10000"/>
                <a:gd name="connsiteY128" fmla="*/ 3455 h 10000"/>
                <a:gd name="connsiteX129" fmla="*/ 8902 w 10000"/>
                <a:gd name="connsiteY129" fmla="*/ 3301 h 10000"/>
                <a:gd name="connsiteX130" fmla="*/ 8980 w 10000"/>
                <a:gd name="connsiteY130" fmla="*/ 2835 h 10000"/>
                <a:gd name="connsiteX131" fmla="*/ 9100 w 10000"/>
                <a:gd name="connsiteY131" fmla="*/ 2682 h 10000"/>
                <a:gd name="connsiteX132" fmla="*/ 9452 w 10000"/>
                <a:gd name="connsiteY132" fmla="*/ 1857 h 10000"/>
                <a:gd name="connsiteX133" fmla="*/ 9648 w 10000"/>
                <a:gd name="connsiteY133" fmla="*/ 1754 h 10000"/>
                <a:gd name="connsiteX134" fmla="*/ 9726 w 10000"/>
                <a:gd name="connsiteY134" fmla="*/ 1601 h 10000"/>
                <a:gd name="connsiteX135" fmla="*/ 9843 w 10000"/>
                <a:gd name="connsiteY135" fmla="*/ 1493 h 10000"/>
                <a:gd name="connsiteX136" fmla="*/ 10000 w 10000"/>
                <a:gd name="connsiteY136" fmla="*/ 519 h 10000"/>
                <a:gd name="connsiteX137" fmla="*/ 10000 w 10000"/>
                <a:gd name="connsiteY137" fmla="*/ 258 h 10000"/>
                <a:gd name="connsiteX138" fmla="*/ 10000 w 10000"/>
                <a:gd name="connsiteY138" fmla="*/ 0 h 10000"/>
                <a:gd name="connsiteX0" fmla="*/ 10000 w 10000"/>
                <a:gd name="connsiteY0" fmla="*/ 0 h 10000"/>
                <a:gd name="connsiteX1" fmla="*/ 274 w 10000"/>
                <a:gd name="connsiteY1" fmla="*/ 151 h 10000"/>
                <a:gd name="connsiteX2" fmla="*/ 274 w 10000"/>
                <a:gd name="connsiteY2" fmla="*/ 258 h 10000"/>
                <a:gd name="connsiteX3" fmla="*/ 196 w 10000"/>
                <a:gd name="connsiteY3" fmla="*/ 618 h 10000"/>
                <a:gd name="connsiteX4" fmla="*/ 196 w 10000"/>
                <a:gd name="connsiteY4" fmla="*/ 618 h 10000"/>
                <a:gd name="connsiteX5" fmla="*/ 196 w 10000"/>
                <a:gd name="connsiteY5" fmla="*/ 1135 h 10000"/>
                <a:gd name="connsiteX6" fmla="*/ 117 w 10000"/>
                <a:gd name="connsiteY6" fmla="*/ 1239 h 10000"/>
                <a:gd name="connsiteX7" fmla="*/ 0 w 10000"/>
                <a:gd name="connsiteY7" fmla="*/ 1343 h 10000"/>
                <a:gd name="connsiteX8" fmla="*/ 0 w 10000"/>
                <a:gd name="connsiteY8" fmla="*/ 1493 h 10000"/>
                <a:gd name="connsiteX9" fmla="*/ 0 w 10000"/>
                <a:gd name="connsiteY9" fmla="*/ 1754 h 10000"/>
                <a:gd name="connsiteX10" fmla="*/ 117 w 10000"/>
                <a:gd name="connsiteY10" fmla="*/ 1754 h 10000"/>
                <a:gd name="connsiteX11" fmla="*/ 117 w 10000"/>
                <a:gd name="connsiteY11" fmla="*/ 1754 h 10000"/>
                <a:gd name="connsiteX12" fmla="*/ 392 w 10000"/>
                <a:gd name="connsiteY12" fmla="*/ 1601 h 10000"/>
                <a:gd name="connsiteX13" fmla="*/ 274 w 10000"/>
                <a:gd name="connsiteY13" fmla="*/ 1957 h 10000"/>
                <a:gd name="connsiteX14" fmla="*/ 392 w 10000"/>
                <a:gd name="connsiteY14" fmla="*/ 2219 h 10000"/>
                <a:gd name="connsiteX15" fmla="*/ 548 w 10000"/>
                <a:gd name="connsiteY15" fmla="*/ 2682 h 10000"/>
                <a:gd name="connsiteX16" fmla="*/ 548 w 10000"/>
                <a:gd name="connsiteY16" fmla="*/ 2835 h 10000"/>
                <a:gd name="connsiteX17" fmla="*/ 667 w 10000"/>
                <a:gd name="connsiteY17" fmla="*/ 2835 h 10000"/>
                <a:gd name="connsiteX18" fmla="*/ 667 w 10000"/>
                <a:gd name="connsiteY18" fmla="*/ 2937 h 10000"/>
                <a:gd name="connsiteX19" fmla="*/ 746 w 10000"/>
                <a:gd name="connsiteY19" fmla="*/ 3043 h 10000"/>
                <a:gd name="connsiteX20" fmla="*/ 746 w 10000"/>
                <a:gd name="connsiteY20" fmla="*/ 3198 h 10000"/>
                <a:gd name="connsiteX21" fmla="*/ 548 w 10000"/>
                <a:gd name="connsiteY21" fmla="*/ 3301 h 10000"/>
                <a:gd name="connsiteX22" fmla="*/ 746 w 10000"/>
                <a:gd name="connsiteY22" fmla="*/ 3455 h 10000"/>
                <a:gd name="connsiteX23" fmla="*/ 941 w 10000"/>
                <a:gd name="connsiteY23" fmla="*/ 3814 h 10000"/>
                <a:gd name="connsiteX24" fmla="*/ 1137 w 10000"/>
                <a:gd name="connsiteY24" fmla="*/ 4173 h 10000"/>
                <a:gd name="connsiteX25" fmla="*/ 1215 w 10000"/>
                <a:gd name="connsiteY25" fmla="*/ 4383 h 10000"/>
                <a:gd name="connsiteX26" fmla="*/ 1137 w 10000"/>
                <a:gd name="connsiteY26" fmla="*/ 4639 h 10000"/>
                <a:gd name="connsiteX27" fmla="*/ 1137 w 10000"/>
                <a:gd name="connsiteY27" fmla="*/ 5001 h 10000"/>
                <a:gd name="connsiteX28" fmla="*/ 1137 w 10000"/>
                <a:gd name="connsiteY28" fmla="*/ 5157 h 10000"/>
                <a:gd name="connsiteX29" fmla="*/ 1295 w 10000"/>
                <a:gd name="connsiteY29" fmla="*/ 5362 h 10000"/>
                <a:gd name="connsiteX30" fmla="*/ 1411 w 10000"/>
                <a:gd name="connsiteY30" fmla="*/ 5362 h 10000"/>
                <a:gd name="connsiteX31" fmla="*/ 1569 w 10000"/>
                <a:gd name="connsiteY31" fmla="*/ 5362 h 10000"/>
                <a:gd name="connsiteX32" fmla="*/ 1686 w 10000"/>
                <a:gd name="connsiteY32" fmla="*/ 5618 h 10000"/>
                <a:gd name="connsiteX33" fmla="*/ 1765 w 10000"/>
                <a:gd name="connsiteY33" fmla="*/ 5722 h 10000"/>
                <a:gd name="connsiteX34" fmla="*/ 2040 w 10000"/>
                <a:gd name="connsiteY34" fmla="*/ 5722 h 10000"/>
                <a:gd name="connsiteX35" fmla="*/ 2158 w 10000"/>
                <a:gd name="connsiteY35" fmla="*/ 5879 h 10000"/>
                <a:gd name="connsiteX36" fmla="*/ 2235 w 10000"/>
                <a:gd name="connsiteY36" fmla="*/ 5980 h 10000"/>
                <a:gd name="connsiteX37" fmla="*/ 2314 w 10000"/>
                <a:gd name="connsiteY37" fmla="*/ 5980 h 10000"/>
                <a:gd name="connsiteX38" fmla="*/ 2235 w 10000"/>
                <a:gd name="connsiteY38" fmla="*/ 6236 h 10000"/>
                <a:gd name="connsiteX39" fmla="*/ 2314 w 10000"/>
                <a:gd name="connsiteY39" fmla="*/ 6340 h 10000"/>
                <a:gd name="connsiteX40" fmla="*/ 2589 w 10000"/>
                <a:gd name="connsiteY40" fmla="*/ 6596 h 10000"/>
                <a:gd name="connsiteX41" fmla="*/ 2784 w 10000"/>
                <a:gd name="connsiteY41" fmla="*/ 6855 h 10000"/>
                <a:gd name="connsiteX42" fmla="*/ 2863 w 10000"/>
                <a:gd name="connsiteY42" fmla="*/ 6959 h 10000"/>
                <a:gd name="connsiteX43" fmla="*/ 3058 w 10000"/>
                <a:gd name="connsiteY43" fmla="*/ 7064 h 10000"/>
                <a:gd name="connsiteX44" fmla="*/ 3058 w 10000"/>
                <a:gd name="connsiteY44" fmla="*/ 7218 h 10000"/>
                <a:gd name="connsiteX45" fmla="*/ 3177 w 10000"/>
                <a:gd name="connsiteY45" fmla="*/ 7476 h 10000"/>
                <a:gd name="connsiteX46" fmla="*/ 3255 w 10000"/>
                <a:gd name="connsiteY46" fmla="*/ 7577 h 10000"/>
                <a:gd name="connsiteX47" fmla="*/ 3255 w 10000"/>
                <a:gd name="connsiteY47" fmla="*/ 7680 h 10000"/>
                <a:gd name="connsiteX48" fmla="*/ 3333 w 10000"/>
                <a:gd name="connsiteY48" fmla="*/ 7837 h 10000"/>
                <a:gd name="connsiteX49" fmla="*/ 3725 w 10000"/>
                <a:gd name="connsiteY49" fmla="*/ 8042 h 10000"/>
                <a:gd name="connsiteX50" fmla="*/ 3804 w 10000"/>
                <a:gd name="connsiteY50" fmla="*/ 8300 h 10000"/>
                <a:gd name="connsiteX51" fmla="*/ 3804 w 10000"/>
                <a:gd name="connsiteY51" fmla="*/ 8403 h 10000"/>
                <a:gd name="connsiteX52" fmla="*/ 3883 w 10000"/>
                <a:gd name="connsiteY52" fmla="*/ 8557 h 10000"/>
                <a:gd name="connsiteX53" fmla="*/ 4001 w 10000"/>
                <a:gd name="connsiteY53" fmla="*/ 8658 h 10000"/>
                <a:gd name="connsiteX54" fmla="*/ 4196 w 10000"/>
                <a:gd name="connsiteY54" fmla="*/ 8916 h 10000"/>
                <a:gd name="connsiteX55" fmla="*/ 4196 w 10000"/>
                <a:gd name="connsiteY55" fmla="*/ 9021 h 10000"/>
                <a:gd name="connsiteX56" fmla="*/ 4276 w 10000"/>
                <a:gd name="connsiteY56" fmla="*/ 9176 h 10000"/>
                <a:gd name="connsiteX57" fmla="*/ 4550 w 10000"/>
                <a:gd name="connsiteY57" fmla="*/ 9277 h 10000"/>
                <a:gd name="connsiteX58" fmla="*/ 4628 w 10000"/>
                <a:gd name="connsiteY58" fmla="*/ 9277 h 10000"/>
                <a:gd name="connsiteX59" fmla="*/ 4745 w 10000"/>
                <a:gd name="connsiteY59" fmla="*/ 9176 h 10000"/>
                <a:gd name="connsiteX60" fmla="*/ 5019 w 10000"/>
                <a:gd name="connsiteY60" fmla="*/ 9277 h 10000"/>
                <a:gd name="connsiteX61" fmla="*/ 5215 w 10000"/>
                <a:gd name="connsiteY61" fmla="*/ 9176 h 10000"/>
                <a:gd name="connsiteX62" fmla="*/ 5372 w 10000"/>
                <a:gd name="connsiteY62" fmla="*/ 9021 h 10000"/>
                <a:gd name="connsiteX63" fmla="*/ 5491 w 10000"/>
                <a:gd name="connsiteY63" fmla="*/ 9176 h 10000"/>
                <a:gd name="connsiteX64" fmla="*/ 5844 w 10000"/>
                <a:gd name="connsiteY64" fmla="*/ 9536 h 10000"/>
                <a:gd name="connsiteX65" fmla="*/ 5922 w 10000"/>
                <a:gd name="connsiteY65" fmla="*/ 9743 h 10000"/>
                <a:gd name="connsiteX66" fmla="*/ 6039 w 10000"/>
                <a:gd name="connsiteY66" fmla="*/ 9897 h 10000"/>
                <a:gd name="connsiteX67" fmla="*/ 6119 w 10000"/>
                <a:gd name="connsiteY67" fmla="*/ 9897 h 10000"/>
                <a:gd name="connsiteX68" fmla="*/ 6197 w 10000"/>
                <a:gd name="connsiteY68" fmla="*/ 9897 h 10000"/>
                <a:gd name="connsiteX69" fmla="*/ 6313 w 10000"/>
                <a:gd name="connsiteY69" fmla="*/ 9897 h 10000"/>
                <a:gd name="connsiteX70" fmla="*/ 6510 w 10000"/>
                <a:gd name="connsiteY70" fmla="*/ 9897 h 10000"/>
                <a:gd name="connsiteX71" fmla="*/ 6588 w 10000"/>
                <a:gd name="connsiteY71" fmla="*/ 9897 h 10000"/>
                <a:gd name="connsiteX72" fmla="*/ 6785 w 10000"/>
                <a:gd name="connsiteY72" fmla="*/ 9897 h 10000"/>
                <a:gd name="connsiteX73" fmla="*/ 6863 w 10000"/>
                <a:gd name="connsiteY73" fmla="*/ 9897 h 10000"/>
                <a:gd name="connsiteX74" fmla="*/ 6942 w 10000"/>
                <a:gd name="connsiteY74" fmla="*/ 10000 h 10000"/>
                <a:gd name="connsiteX75" fmla="*/ 7137 w 10000"/>
                <a:gd name="connsiteY75" fmla="*/ 9897 h 10000"/>
                <a:gd name="connsiteX76" fmla="*/ 7334 w 10000"/>
                <a:gd name="connsiteY76" fmla="*/ 9897 h 10000"/>
                <a:gd name="connsiteX77" fmla="*/ 7530 w 10000"/>
                <a:gd name="connsiteY77" fmla="*/ 9743 h 10000"/>
                <a:gd name="connsiteX78" fmla="*/ 7687 w 10000"/>
                <a:gd name="connsiteY78" fmla="*/ 9743 h 10000"/>
                <a:gd name="connsiteX79" fmla="*/ 7961 w 10000"/>
                <a:gd name="connsiteY79" fmla="*/ 9743 h 10000"/>
                <a:gd name="connsiteX80" fmla="*/ 8237 w 10000"/>
                <a:gd name="connsiteY80" fmla="*/ 9536 h 10000"/>
                <a:gd name="connsiteX81" fmla="*/ 8237 w 10000"/>
                <a:gd name="connsiteY81" fmla="*/ 9536 h 10000"/>
                <a:gd name="connsiteX82" fmla="*/ 8237 w 10000"/>
                <a:gd name="connsiteY82" fmla="*/ 9536 h 10000"/>
                <a:gd name="connsiteX83" fmla="*/ 8548 w 10000"/>
                <a:gd name="connsiteY83" fmla="*/ 9176 h 10000"/>
                <a:gd name="connsiteX84" fmla="*/ 8627 w 10000"/>
                <a:gd name="connsiteY84" fmla="*/ 9021 h 10000"/>
                <a:gd name="connsiteX85" fmla="*/ 8824 w 10000"/>
                <a:gd name="connsiteY85" fmla="*/ 9021 h 10000"/>
                <a:gd name="connsiteX86" fmla="*/ 9177 w 10000"/>
                <a:gd name="connsiteY86" fmla="*/ 9176 h 10000"/>
                <a:gd name="connsiteX87" fmla="*/ 9374 w 10000"/>
                <a:gd name="connsiteY87" fmla="*/ 9176 h 10000"/>
                <a:gd name="connsiteX88" fmla="*/ 9569 w 10000"/>
                <a:gd name="connsiteY88" fmla="*/ 9021 h 10000"/>
                <a:gd name="connsiteX89" fmla="*/ 9569 w 10000"/>
                <a:gd name="connsiteY89" fmla="*/ 8658 h 10000"/>
                <a:gd name="connsiteX90" fmla="*/ 9648 w 10000"/>
                <a:gd name="connsiteY90" fmla="*/ 8557 h 10000"/>
                <a:gd name="connsiteX91" fmla="*/ 9569 w 10000"/>
                <a:gd name="connsiteY91" fmla="*/ 8403 h 10000"/>
                <a:gd name="connsiteX92" fmla="*/ 9569 w 10000"/>
                <a:gd name="connsiteY92" fmla="*/ 8300 h 10000"/>
                <a:gd name="connsiteX93" fmla="*/ 9177 w 10000"/>
                <a:gd name="connsiteY93" fmla="*/ 8300 h 10000"/>
                <a:gd name="connsiteX94" fmla="*/ 9100 w 10000"/>
                <a:gd name="connsiteY94" fmla="*/ 8194 h 10000"/>
                <a:gd name="connsiteX95" fmla="*/ 9100 w 10000"/>
                <a:gd name="connsiteY95" fmla="*/ 8042 h 10000"/>
                <a:gd name="connsiteX96" fmla="*/ 8902 w 10000"/>
                <a:gd name="connsiteY96" fmla="*/ 7577 h 10000"/>
                <a:gd name="connsiteX97" fmla="*/ 8902 w 10000"/>
                <a:gd name="connsiteY97" fmla="*/ 7320 h 10000"/>
                <a:gd name="connsiteX98" fmla="*/ 8824 w 10000"/>
                <a:gd name="connsiteY98" fmla="*/ 7218 h 10000"/>
                <a:gd name="connsiteX99" fmla="*/ 8548 w 10000"/>
                <a:gd name="connsiteY99" fmla="*/ 6959 h 10000"/>
                <a:gd name="connsiteX100" fmla="*/ 8432 w 10000"/>
                <a:gd name="connsiteY100" fmla="*/ 6855 h 10000"/>
                <a:gd name="connsiteX101" fmla="*/ 8353 w 10000"/>
                <a:gd name="connsiteY101" fmla="*/ 6704 h 10000"/>
                <a:gd name="connsiteX102" fmla="*/ 8353 w 10000"/>
                <a:gd name="connsiteY102" fmla="*/ 6596 h 10000"/>
                <a:gd name="connsiteX103" fmla="*/ 8237 w 10000"/>
                <a:gd name="connsiteY103" fmla="*/ 6340 h 10000"/>
                <a:gd name="connsiteX104" fmla="*/ 8157 w 10000"/>
                <a:gd name="connsiteY104" fmla="*/ 6340 h 10000"/>
                <a:gd name="connsiteX105" fmla="*/ 7961 w 10000"/>
                <a:gd name="connsiteY105" fmla="*/ 6236 h 10000"/>
                <a:gd name="connsiteX106" fmla="*/ 7882 w 10000"/>
                <a:gd name="connsiteY106" fmla="*/ 6236 h 10000"/>
                <a:gd name="connsiteX107" fmla="*/ 7805 w 10000"/>
                <a:gd name="connsiteY107" fmla="*/ 6236 h 10000"/>
                <a:gd name="connsiteX108" fmla="*/ 7687 w 10000"/>
                <a:gd name="connsiteY108" fmla="*/ 6236 h 10000"/>
                <a:gd name="connsiteX109" fmla="*/ 7608 w 10000"/>
                <a:gd name="connsiteY109" fmla="*/ 6135 h 10000"/>
                <a:gd name="connsiteX110" fmla="*/ 7687 w 10000"/>
                <a:gd name="connsiteY110" fmla="*/ 5980 h 10000"/>
                <a:gd name="connsiteX111" fmla="*/ 7805 w 10000"/>
                <a:gd name="connsiteY111" fmla="*/ 5879 h 10000"/>
                <a:gd name="connsiteX112" fmla="*/ 7805 w 10000"/>
                <a:gd name="connsiteY112" fmla="*/ 5618 h 10000"/>
                <a:gd name="connsiteX113" fmla="*/ 7882 w 10000"/>
                <a:gd name="connsiteY113" fmla="*/ 5618 h 10000"/>
                <a:gd name="connsiteX114" fmla="*/ 8157 w 10000"/>
                <a:gd name="connsiteY114" fmla="*/ 5618 h 10000"/>
                <a:gd name="connsiteX115" fmla="*/ 8353 w 10000"/>
                <a:gd name="connsiteY115" fmla="*/ 5618 h 10000"/>
                <a:gd name="connsiteX116" fmla="*/ 8432 w 10000"/>
                <a:gd name="connsiteY116" fmla="*/ 5513 h 10000"/>
                <a:gd name="connsiteX117" fmla="*/ 8432 w 10000"/>
                <a:gd name="connsiteY117" fmla="*/ 5258 h 10000"/>
                <a:gd name="connsiteX118" fmla="*/ 8432 w 10000"/>
                <a:gd name="connsiteY118" fmla="*/ 4538 h 10000"/>
                <a:gd name="connsiteX119" fmla="*/ 8432 w 10000"/>
                <a:gd name="connsiteY119" fmla="*/ 4278 h 10000"/>
                <a:gd name="connsiteX120" fmla="*/ 8548 w 10000"/>
                <a:gd name="connsiteY120" fmla="*/ 4023 h 10000"/>
                <a:gd name="connsiteX121" fmla="*/ 8432 w 10000"/>
                <a:gd name="connsiteY121" fmla="*/ 3917 h 10000"/>
                <a:gd name="connsiteX122" fmla="*/ 8432 w 10000"/>
                <a:gd name="connsiteY122" fmla="*/ 3814 h 10000"/>
                <a:gd name="connsiteX123" fmla="*/ 8548 w 10000"/>
                <a:gd name="connsiteY123" fmla="*/ 3814 h 10000"/>
                <a:gd name="connsiteX124" fmla="*/ 8548 w 10000"/>
                <a:gd name="connsiteY124" fmla="*/ 3661 h 10000"/>
                <a:gd name="connsiteX125" fmla="*/ 8627 w 10000"/>
                <a:gd name="connsiteY125" fmla="*/ 3455 h 10000"/>
                <a:gd name="connsiteX126" fmla="*/ 8706 w 10000"/>
                <a:gd name="connsiteY126" fmla="*/ 3455 h 10000"/>
                <a:gd name="connsiteX127" fmla="*/ 8902 w 10000"/>
                <a:gd name="connsiteY127" fmla="*/ 3455 h 10000"/>
                <a:gd name="connsiteX128" fmla="*/ 8902 w 10000"/>
                <a:gd name="connsiteY128" fmla="*/ 3301 h 10000"/>
                <a:gd name="connsiteX129" fmla="*/ 8980 w 10000"/>
                <a:gd name="connsiteY129" fmla="*/ 2835 h 10000"/>
                <a:gd name="connsiteX130" fmla="*/ 9100 w 10000"/>
                <a:gd name="connsiteY130" fmla="*/ 2682 h 10000"/>
                <a:gd name="connsiteX131" fmla="*/ 9452 w 10000"/>
                <a:gd name="connsiteY131" fmla="*/ 1857 h 10000"/>
                <a:gd name="connsiteX132" fmla="*/ 9648 w 10000"/>
                <a:gd name="connsiteY132" fmla="*/ 1754 h 10000"/>
                <a:gd name="connsiteX133" fmla="*/ 9726 w 10000"/>
                <a:gd name="connsiteY133" fmla="*/ 1601 h 10000"/>
                <a:gd name="connsiteX134" fmla="*/ 9843 w 10000"/>
                <a:gd name="connsiteY134" fmla="*/ 1493 h 10000"/>
                <a:gd name="connsiteX135" fmla="*/ 10000 w 10000"/>
                <a:gd name="connsiteY135" fmla="*/ 519 h 10000"/>
                <a:gd name="connsiteX136" fmla="*/ 10000 w 10000"/>
                <a:gd name="connsiteY136" fmla="*/ 258 h 10000"/>
                <a:gd name="connsiteX137" fmla="*/ 10000 w 10000"/>
                <a:gd name="connsiteY137" fmla="*/ 0 h 10000"/>
                <a:gd name="connsiteX0" fmla="*/ 10000 w 10000"/>
                <a:gd name="connsiteY0" fmla="*/ 0 h 10000"/>
                <a:gd name="connsiteX1" fmla="*/ 274 w 10000"/>
                <a:gd name="connsiteY1" fmla="*/ 151 h 10000"/>
                <a:gd name="connsiteX2" fmla="*/ 274 w 10000"/>
                <a:gd name="connsiteY2" fmla="*/ 258 h 10000"/>
                <a:gd name="connsiteX3" fmla="*/ 196 w 10000"/>
                <a:gd name="connsiteY3" fmla="*/ 618 h 10000"/>
                <a:gd name="connsiteX4" fmla="*/ 196 w 10000"/>
                <a:gd name="connsiteY4" fmla="*/ 1135 h 10000"/>
                <a:gd name="connsiteX5" fmla="*/ 117 w 10000"/>
                <a:gd name="connsiteY5" fmla="*/ 1239 h 10000"/>
                <a:gd name="connsiteX6" fmla="*/ 0 w 10000"/>
                <a:gd name="connsiteY6" fmla="*/ 1343 h 10000"/>
                <a:gd name="connsiteX7" fmla="*/ 0 w 10000"/>
                <a:gd name="connsiteY7" fmla="*/ 1493 h 10000"/>
                <a:gd name="connsiteX8" fmla="*/ 0 w 10000"/>
                <a:gd name="connsiteY8" fmla="*/ 1754 h 10000"/>
                <a:gd name="connsiteX9" fmla="*/ 117 w 10000"/>
                <a:gd name="connsiteY9" fmla="*/ 1754 h 10000"/>
                <a:gd name="connsiteX10" fmla="*/ 117 w 10000"/>
                <a:gd name="connsiteY10" fmla="*/ 1754 h 10000"/>
                <a:gd name="connsiteX11" fmla="*/ 392 w 10000"/>
                <a:gd name="connsiteY11" fmla="*/ 1601 h 10000"/>
                <a:gd name="connsiteX12" fmla="*/ 274 w 10000"/>
                <a:gd name="connsiteY12" fmla="*/ 1957 h 10000"/>
                <a:gd name="connsiteX13" fmla="*/ 392 w 10000"/>
                <a:gd name="connsiteY13" fmla="*/ 2219 h 10000"/>
                <a:gd name="connsiteX14" fmla="*/ 548 w 10000"/>
                <a:gd name="connsiteY14" fmla="*/ 2682 h 10000"/>
                <a:gd name="connsiteX15" fmla="*/ 548 w 10000"/>
                <a:gd name="connsiteY15" fmla="*/ 2835 h 10000"/>
                <a:gd name="connsiteX16" fmla="*/ 667 w 10000"/>
                <a:gd name="connsiteY16" fmla="*/ 2835 h 10000"/>
                <a:gd name="connsiteX17" fmla="*/ 667 w 10000"/>
                <a:gd name="connsiteY17" fmla="*/ 2937 h 10000"/>
                <a:gd name="connsiteX18" fmla="*/ 746 w 10000"/>
                <a:gd name="connsiteY18" fmla="*/ 3043 h 10000"/>
                <a:gd name="connsiteX19" fmla="*/ 746 w 10000"/>
                <a:gd name="connsiteY19" fmla="*/ 3198 h 10000"/>
                <a:gd name="connsiteX20" fmla="*/ 548 w 10000"/>
                <a:gd name="connsiteY20" fmla="*/ 3301 h 10000"/>
                <a:gd name="connsiteX21" fmla="*/ 746 w 10000"/>
                <a:gd name="connsiteY21" fmla="*/ 3455 h 10000"/>
                <a:gd name="connsiteX22" fmla="*/ 941 w 10000"/>
                <a:gd name="connsiteY22" fmla="*/ 3814 h 10000"/>
                <a:gd name="connsiteX23" fmla="*/ 1137 w 10000"/>
                <a:gd name="connsiteY23" fmla="*/ 4173 h 10000"/>
                <a:gd name="connsiteX24" fmla="*/ 1215 w 10000"/>
                <a:gd name="connsiteY24" fmla="*/ 4383 h 10000"/>
                <a:gd name="connsiteX25" fmla="*/ 1137 w 10000"/>
                <a:gd name="connsiteY25" fmla="*/ 4639 h 10000"/>
                <a:gd name="connsiteX26" fmla="*/ 1137 w 10000"/>
                <a:gd name="connsiteY26" fmla="*/ 5001 h 10000"/>
                <a:gd name="connsiteX27" fmla="*/ 1137 w 10000"/>
                <a:gd name="connsiteY27" fmla="*/ 5157 h 10000"/>
                <a:gd name="connsiteX28" fmla="*/ 1295 w 10000"/>
                <a:gd name="connsiteY28" fmla="*/ 5362 h 10000"/>
                <a:gd name="connsiteX29" fmla="*/ 1411 w 10000"/>
                <a:gd name="connsiteY29" fmla="*/ 5362 h 10000"/>
                <a:gd name="connsiteX30" fmla="*/ 1569 w 10000"/>
                <a:gd name="connsiteY30" fmla="*/ 5362 h 10000"/>
                <a:gd name="connsiteX31" fmla="*/ 1686 w 10000"/>
                <a:gd name="connsiteY31" fmla="*/ 5618 h 10000"/>
                <a:gd name="connsiteX32" fmla="*/ 1765 w 10000"/>
                <a:gd name="connsiteY32" fmla="*/ 5722 h 10000"/>
                <a:gd name="connsiteX33" fmla="*/ 2040 w 10000"/>
                <a:gd name="connsiteY33" fmla="*/ 5722 h 10000"/>
                <a:gd name="connsiteX34" fmla="*/ 2158 w 10000"/>
                <a:gd name="connsiteY34" fmla="*/ 5879 h 10000"/>
                <a:gd name="connsiteX35" fmla="*/ 2235 w 10000"/>
                <a:gd name="connsiteY35" fmla="*/ 5980 h 10000"/>
                <a:gd name="connsiteX36" fmla="*/ 2314 w 10000"/>
                <a:gd name="connsiteY36" fmla="*/ 5980 h 10000"/>
                <a:gd name="connsiteX37" fmla="*/ 2235 w 10000"/>
                <a:gd name="connsiteY37" fmla="*/ 6236 h 10000"/>
                <a:gd name="connsiteX38" fmla="*/ 2314 w 10000"/>
                <a:gd name="connsiteY38" fmla="*/ 6340 h 10000"/>
                <a:gd name="connsiteX39" fmla="*/ 2589 w 10000"/>
                <a:gd name="connsiteY39" fmla="*/ 6596 h 10000"/>
                <a:gd name="connsiteX40" fmla="*/ 2784 w 10000"/>
                <a:gd name="connsiteY40" fmla="*/ 6855 h 10000"/>
                <a:gd name="connsiteX41" fmla="*/ 2863 w 10000"/>
                <a:gd name="connsiteY41" fmla="*/ 6959 h 10000"/>
                <a:gd name="connsiteX42" fmla="*/ 3058 w 10000"/>
                <a:gd name="connsiteY42" fmla="*/ 7064 h 10000"/>
                <a:gd name="connsiteX43" fmla="*/ 3058 w 10000"/>
                <a:gd name="connsiteY43" fmla="*/ 7218 h 10000"/>
                <a:gd name="connsiteX44" fmla="*/ 3177 w 10000"/>
                <a:gd name="connsiteY44" fmla="*/ 7476 h 10000"/>
                <a:gd name="connsiteX45" fmla="*/ 3255 w 10000"/>
                <a:gd name="connsiteY45" fmla="*/ 7577 h 10000"/>
                <a:gd name="connsiteX46" fmla="*/ 3255 w 10000"/>
                <a:gd name="connsiteY46" fmla="*/ 7680 h 10000"/>
                <a:gd name="connsiteX47" fmla="*/ 3333 w 10000"/>
                <a:gd name="connsiteY47" fmla="*/ 7837 h 10000"/>
                <a:gd name="connsiteX48" fmla="*/ 3725 w 10000"/>
                <a:gd name="connsiteY48" fmla="*/ 8042 h 10000"/>
                <a:gd name="connsiteX49" fmla="*/ 3804 w 10000"/>
                <a:gd name="connsiteY49" fmla="*/ 8300 h 10000"/>
                <a:gd name="connsiteX50" fmla="*/ 3804 w 10000"/>
                <a:gd name="connsiteY50" fmla="*/ 8403 h 10000"/>
                <a:gd name="connsiteX51" fmla="*/ 3883 w 10000"/>
                <a:gd name="connsiteY51" fmla="*/ 8557 h 10000"/>
                <a:gd name="connsiteX52" fmla="*/ 4001 w 10000"/>
                <a:gd name="connsiteY52" fmla="*/ 8658 h 10000"/>
                <a:gd name="connsiteX53" fmla="*/ 4196 w 10000"/>
                <a:gd name="connsiteY53" fmla="*/ 8916 h 10000"/>
                <a:gd name="connsiteX54" fmla="*/ 4196 w 10000"/>
                <a:gd name="connsiteY54" fmla="*/ 9021 h 10000"/>
                <a:gd name="connsiteX55" fmla="*/ 4276 w 10000"/>
                <a:gd name="connsiteY55" fmla="*/ 9176 h 10000"/>
                <a:gd name="connsiteX56" fmla="*/ 4550 w 10000"/>
                <a:gd name="connsiteY56" fmla="*/ 9277 h 10000"/>
                <a:gd name="connsiteX57" fmla="*/ 4628 w 10000"/>
                <a:gd name="connsiteY57" fmla="*/ 9277 h 10000"/>
                <a:gd name="connsiteX58" fmla="*/ 4745 w 10000"/>
                <a:gd name="connsiteY58" fmla="*/ 9176 h 10000"/>
                <a:gd name="connsiteX59" fmla="*/ 5019 w 10000"/>
                <a:gd name="connsiteY59" fmla="*/ 9277 h 10000"/>
                <a:gd name="connsiteX60" fmla="*/ 5215 w 10000"/>
                <a:gd name="connsiteY60" fmla="*/ 9176 h 10000"/>
                <a:gd name="connsiteX61" fmla="*/ 5372 w 10000"/>
                <a:gd name="connsiteY61" fmla="*/ 9021 h 10000"/>
                <a:gd name="connsiteX62" fmla="*/ 5491 w 10000"/>
                <a:gd name="connsiteY62" fmla="*/ 9176 h 10000"/>
                <a:gd name="connsiteX63" fmla="*/ 5844 w 10000"/>
                <a:gd name="connsiteY63" fmla="*/ 9536 h 10000"/>
                <a:gd name="connsiteX64" fmla="*/ 5922 w 10000"/>
                <a:gd name="connsiteY64" fmla="*/ 9743 h 10000"/>
                <a:gd name="connsiteX65" fmla="*/ 6039 w 10000"/>
                <a:gd name="connsiteY65" fmla="*/ 9897 h 10000"/>
                <a:gd name="connsiteX66" fmla="*/ 6119 w 10000"/>
                <a:gd name="connsiteY66" fmla="*/ 9897 h 10000"/>
                <a:gd name="connsiteX67" fmla="*/ 6197 w 10000"/>
                <a:gd name="connsiteY67" fmla="*/ 9897 h 10000"/>
                <a:gd name="connsiteX68" fmla="*/ 6313 w 10000"/>
                <a:gd name="connsiteY68" fmla="*/ 9897 h 10000"/>
                <a:gd name="connsiteX69" fmla="*/ 6510 w 10000"/>
                <a:gd name="connsiteY69" fmla="*/ 9897 h 10000"/>
                <a:gd name="connsiteX70" fmla="*/ 6588 w 10000"/>
                <a:gd name="connsiteY70" fmla="*/ 9897 h 10000"/>
                <a:gd name="connsiteX71" fmla="*/ 6785 w 10000"/>
                <a:gd name="connsiteY71" fmla="*/ 9897 h 10000"/>
                <a:gd name="connsiteX72" fmla="*/ 6863 w 10000"/>
                <a:gd name="connsiteY72" fmla="*/ 9897 h 10000"/>
                <a:gd name="connsiteX73" fmla="*/ 6942 w 10000"/>
                <a:gd name="connsiteY73" fmla="*/ 10000 h 10000"/>
                <a:gd name="connsiteX74" fmla="*/ 7137 w 10000"/>
                <a:gd name="connsiteY74" fmla="*/ 9897 h 10000"/>
                <a:gd name="connsiteX75" fmla="*/ 7334 w 10000"/>
                <a:gd name="connsiteY75" fmla="*/ 9897 h 10000"/>
                <a:gd name="connsiteX76" fmla="*/ 7530 w 10000"/>
                <a:gd name="connsiteY76" fmla="*/ 9743 h 10000"/>
                <a:gd name="connsiteX77" fmla="*/ 7687 w 10000"/>
                <a:gd name="connsiteY77" fmla="*/ 9743 h 10000"/>
                <a:gd name="connsiteX78" fmla="*/ 7961 w 10000"/>
                <a:gd name="connsiteY78" fmla="*/ 9743 h 10000"/>
                <a:gd name="connsiteX79" fmla="*/ 8237 w 10000"/>
                <a:gd name="connsiteY79" fmla="*/ 9536 h 10000"/>
                <a:gd name="connsiteX80" fmla="*/ 8237 w 10000"/>
                <a:gd name="connsiteY80" fmla="*/ 9536 h 10000"/>
                <a:gd name="connsiteX81" fmla="*/ 8237 w 10000"/>
                <a:gd name="connsiteY81" fmla="*/ 9536 h 10000"/>
                <a:gd name="connsiteX82" fmla="*/ 8548 w 10000"/>
                <a:gd name="connsiteY82" fmla="*/ 9176 h 10000"/>
                <a:gd name="connsiteX83" fmla="*/ 8627 w 10000"/>
                <a:gd name="connsiteY83" fmla="*/ 9021 h 10000"/>
                <a:gd name="connsiteX84" fmla="*/ 8824 w 10000"/>
                <a:gd name="connsiteY84" fmla="*/ 9021 h 10000"/>
                <a:gd name="connsiteX85" fmla="*/ 9177 w 10000"/>
                <a:gd name="connsiteY85" fmla="*/ 9176 h 10000"/>
                <a:gd name="connsiteX86" fmla="*/ 9374 w 10000"/>
                <a:gd name="connsiteY86" fmla="*/ 9176 h 10000"/>
                <a:gd name="connsiteX87" fmla="*/ 9569 w 10000"/>
                <a:gd name="connsiteY87" fmla="*/ 9021 h 10000"/>
                <a:gd name="connsiteX88" fmla="*/ 9569 w 10000"/>
                <a:gd name="connsiteY88" fmla="*/ 8658 h 10000"/>
                <a:gd name="connsiteX89" fmla="*/ 9648 w 10000"/>
                <a:gd name="connsiteY89" fmla="*/ 8557 h 10000"/>
                <a:gd name="connsiteX90" fmla="*/ 9569 w 10000"/>
                <a:gd name="connsiteY90" fmla="*/ 8403 h 10000"/>
                <a:gd name="connsiteX91" fmla="*/ 9569 w 10000"/>
                <a:gd name="connsiteY91" fmla="*/ 8300 h 10000"/>
                <a:gd name="connsiteX92" fmla="*/ 9177 w 10000"/>
                <a:gd name="connsiteY92" fmla="*/ 8300 h 10000"/>
                <a:gd name="connsiteX93" fmla="*/ 9100 w 10000"/>
                <a:gd name="connsiteY93" fmla="*/ 8194 h 10000"/>
                <a:gd name="connsiteX94" fmla="*/ 9100 w 10000"/>
                <a:gd name="connsiteY94" fmla="*/ 8042 h 10000"/>
                <a:gd name="connsiteX95" fmla="*/ 8902 w 10000"/>
                <a:gd name="connsiteY95" fmla="*/ 7577 h 10000"/>
                <a:gd name="connsiteX96" fmla="*/ 8902 w 10000"/>
                <a:gd name="connsiteY96" fmla="*/ 7320 h 10000"/>
                <a:gd name="connsiteX97" fmla="*/ 8824 w 10000"/>
                <a:gd name="connsiteY97" fmla="*/ 7218 h 10000"/>
                <a:gd name="connsiteX98" fmla="*/ 8548 w 10000"/>
                <a:gd name="connsiteY98" fmla="*/ 6959 h 10000"/>
                <a:gd name="connsiteX99" fmla="*/ 8432 w 10000"/>
                <a:gd name="connsiteY99" fmla="*/ 6855 h 10000"/>
                <a:gd name="connsiteX100" fmla="*/ 8353 w 10000"/>
                <a:gd name="connsiteY100" fmla="*/ 6704 h 10000"/>
                <a:gd name="connsiteX101" fmla="*/ 8353 w 10000"/>
                <a:gd name="connsiteY101" fmla="*/ 6596 h 10000"/>
                <a:gd name="connsiteX102" fmla="*/ 8237 w 10000"/>
                <a:gd name="connsiteY102" fmla="*/ 6340 h 10000"/>
                <a:gd name="connsiteX103" fmla="*/ 8157 w 10000"/>
                <a:gd name="connsiteY103" fmla="*/ 6340 h 10000"/>
                <a:gd name="connsiteX104" fmla="*/ 7961 w 10000"/>
                <a:gd name="connsiteY104" fmla="*/ 6236 h 10000"/>
                <a:gd name="connsiteX105" fmla="*/ 7882 w 10000"/>
                <a:gd name="connsiteY105" fmla="*/ 6236 h 10000"/>
                <a:gd name="connsiteX106" fmla="*/ 7805 w 10000"/>
                <a:gd name="connsiteY106" fmla="*/ 6236 h 10000"/>
                <a:gd name="connsiteX107" fmla="*/ 7687 w 10000"/>
                <a:gd name="connsiteY107" fmla="*/ 6236 h 10000"/>
                <a:gd name="connsiteX108" fmla="*/ 7608 w 10000"/>
                <a:gd name="connsiteY108" fmla="*/ 6135 h 10000"/>
                <a:gd name="connsiteX109" fmla="*/ 7687 w 10000"/>
                <a:gd name="connsiteY109" fmla="*/ 5980 h 10000"/>
                <a:gd name="connsiteX110" fmla="*/ 7805 w 10000"/>
                <a:gd name="connsiteY110" fmla="*/ 5879 h 10000"/>
                <a:gd name="connsiteX111" fmla="*/ 7805 w 10000"/>
                <a:gd name="connsiteY111" fmla="*/ 5618 h 10000"/>
                <a:gd name="connsiteX112" fmla="*/ 7882 w 10000"/>
                <a:gd name="connsiteY112" fmla="*/ 5618 h 10000"/>
                <a:gd name="connsiteX113" fmla="*/ 8157 w 10000"/>
                <a:gd name="connsiteY113" fmla="*/ 5618 h 10000"/>
                <a:gd name="connsiteX114" fmla="*/ 8353 w 10000"/>
                <a:gd name="connsiteY114" fmla="*/ 5618 h 10000"/>
                <a:gd name="connsiteX115" fmla="*/ 8432 w 10000"/>
                <a:gd name="connsiteY115" fmla="*/ 5513 h 10000"/>
                <a:gd name="connsiteX116" fmla="*/ 8432 w 10000"/>
                <a:gd name="connsiteY116" fmla="*/ 5258 h 10000"/>
                <a:gd name="connsiteX117" fmla="*/ 8432 w 10000"/>
                <a:gd name="connsiteY117" fmla="*/ 4538 h 10000"/>
                <a:gd name="connsiteX118" fmla="*/ 8432 w 10000"/>
                <a:gd name="connsiteY118" fmla="*/ 4278 h 10000"/>
                <a:gd name="connsiteX119" fmla="*/ 8548 w 10000"/>
                <a:gd name="connsiteY119" fmla="*/ 4023 h 10000"/>
                <a:gd name="connsiteX120" fmla="*/ 8432 w 10000"/>
                <a:gd name="connsiteY120" fmla="*/ 3917 h 10000"/>
                <a:gd name="connsiteX121" fmla="*/ 8432 w 10000"/>
                <a:gd name="connsiteY121" fmla="*/ 3814 h 10000"/>
                <a:gd name="connsiteX122" fmla="*/ 8548 w 10000"/>
                <a:gd name="connsiteY122" fmla="*/ 3814 h 10000"/>
                <a:gd name="connsiteX123" fmla="*/ 8548 w 10000"/>
                <a:gd name="connsiteY123" fmla="*/ 3661 h 10000"/>
                <a:gd name="connsiteX124" fmla="*/ 8627 w 10000"/>
                <a:gd name="connsiteY124" fmla="*/ 3455 h 10000"/>
                <a:gd name="connsiteX125" fmla="*/ 8706 w 10000"/>
                <a:gd name="connsiteY125" fmla="*/ 3455 h 10000"/>
                <a:gd name="connsiteX126" fmla="*/ 8902 w 10000"/>
                <a:gd name="connsiteY126" fmla="*/ 3455 h 10000"/>
                <a:gd name="connsiteX127" fmla="*/ 8902 w 10000"/>
                <a:gd name="connsiteY127" fmla="*/ 3301 h 10000"/>
                <a:gd name="connsiteX128" fmla="*/ 8980 w 10000"/>
                <a:gd name="connsiteY128" fmla="*/ 2835 h 10000"/>
                <a:gd name="connsiteX129" fmla="*/ 9100 w 10000"/>
                <a:gd name="connsiteY129" fmla="*/ 2682 h 10000"/>
                <a:gd name="connsiteX130" fmla="*/ 9452 w 10000"/>
                <a:gd name="connsiteY130" fmla="*/ 1857 h 10000"/>
                <a:gd name="connsiteX131" fmla="*/ 9648 w 10000"/>
                <a:gd name="connsiteY131" fmla="*/ 1754 h 10000"/>
                <a:gd name="connsiteX132" fmla="*/ 9726 w 10000"/>
                <a:gd name="connsiteY132" fmla="*/ 1601 h 10000"/>
                <a:gd name="connsiteX133" fmla="*/ 9843 w 10000"/>
                <a:gd name="connsiteY133" fmla="*/ 1493 h 10000"/>
                <a:gd name="connsiteX134" fmla="*/ 10000 w 10000"/>
                <a:gd name="connsiteY134" fmla="*/ 519 h 10000"/>
                <a:gd name="connsiteX135" fmla="*/ 10000 w 10000"/>
                <a:gd name="connsiteY135" fmla="*/ 258 h 10000"/>
                <a:gd name="connsiteX136" fmla="*/ 10000 w 10000"/>
                <a:gd name="connsiteY136" fmla="*/ 0 h 10000"/>
                <a:gd name="connsiteX0" fmla="*/ 10000 w 10000"/>
                <a:gd name="connsiteY0" fmla="*/ 0 h 10000"/>
                <a:gd name="connsiteX1" fmla="*/ 274 w 10000"/>
                <a:gd name="connsiteY1" fmla="*/ 151 h 10000"/>
                <a:gd name="connsiteX2" fmla="*/ 196 w 10000"/>
                <a:gd name="connsiteY2" fmla="*/ 618 h 10000"/>
                <a:gd name="connsiteX3" fmla="*/ 196 w 10000"/>
                <a:gd name="connsiteY3" fmla="*/ 1135 h 10000"/>
                <a:gd name="connsiteX4" fmla="*/ 117 w 10000"/>
                <a:gd name="connsiteY4" fmla="*/ 1239 h 10000"/>
                <a:gd name="connsiteX5" fmla="*/ 0 w 10000"/>
                <a:gd name="connsiteY5" fmla="*/ 1343 h 10000"/>
                <a:gd name="connsiteX6" fmla="*/ 0 w 10000"/>
                <a:gd name="connsiteY6" fmla="*/ 1493 h 10000"/>
                <a:gd name="connsiteX7" fmla="*/ 0 w 10000"/>
                <a:gd name="connsiteY7" fmla="*/ 1754 h 10000"/>
                <a:gd name="connsiteX8" fmla="*/ 117 w 10000"/>
                <a:gd name="connsiteY8" fmla="*/ 1754 h 10000"/>
                <a:gd name="connsiteX9" fmla="*/ 117 w 10000"/>
                <a:gd name="connsiteY9" fmla="*/ 1754 h 10000"/>
                <a:gd name="connsiteX10" fmla="*/ 392 w 10000"/>
                <a:gd name="connsiteY10" fmla="*/ 1601 h 10000"/>
                <a:gd name="connsiteX11" fmla="*/ 274 w 10000"/>
                <a:gd name="connsiteY11" fmla="*/ 1957 h 10000"/>
                <a:gd name="connsiteX12" fmla="*/ 392 w 10000"/>
                <a:gd name="connsiteY12" fmla="*/ 2219 h 10000"/>
                <a:gd name="connsiteX13" fmla="*/ 548 w 10000"/>
                <a:gd name="connsiteY13" fmla="*/ 2682 h 10000"/>
                <a:gd name="connsiteX14" fmla="*/ 548 w 10000"/>
                <a:gd name="connsiteY14" fmla="*/ 2835 h 10000"/>
                <a:gd name="connsiteX15" fmla="*/ 667 w 10000"/>
                <a:gd name="connsiteY15" fmla="*/ 2835 h 10000"/>
                <a:gd name="connsiteX16" fmla="*/ 667 w 10000"/>
                <a:gd name="connsiteY16" fmla="*/ 2937 h 10000"/>
                <a:gd name="connsiteX17" fmla="*/ 746 w 10000"/>
                <a:gd name="connsiteY17" fmla="*/ 3043 h 10000"/>
                <a:gd name="connsiteX18" fmla="*/ 746 w 10000"/>
                <a:gd name="connsiteY18" fmla="*/ 3198 h 10000"/>
                <a:gd name="connsiteX19" fmla="*/ 548 w 10000"/>
                <a:gd name="connsiteY19" fmla="*/ 3301 h 10000"/>
                <a:gd name="connsiteX20" fmla="*/ 746 w 10000"/>
                <a:gd name="connsiteY20" fmla="*/ 3455 h 10000"/>
                <a:gd name="connsiteX21" fmla="*/ 941 w 10000"/>
                <a:gd name="connsiteY21" fmla="*/ 3814 h 10000"/>
                <a:gd name="connsiteX22" fmla="*/ 1137 w 10000"/>
                <a:gd name="connsiteY22" fmla="*/ 4173 h 10000"/>
                <a:gd name="connsiteX23" fmla="*/ 1215 w 10000"/>
                <a:gd name="connsiteY23" fmla="*/ 4383 h 10000"/>
                <a:gd name="connsiteX24" fmla="*/ 1137 w 10000"/>
                <a:gd name="connsiteY24" fmla="*/ 4639 h 10000"/>
                <a:gd name="connsiteX25" fmla="*/ 1137 w 10000"/>
                <a:gd name="connsiteY25" fmla="*/ 5001 h 10000"/>
                <a:gd name="connsiteX26" fmla="*/ 1137 w 10000"/>
                <a:gd name="connsiteY26" fmla="*/ 5157 h 10000"/>
                <a:gd name="connsiteX27" fmla="*/ 1295 w 10000"/>
                <a:gd name="connsiteY27" fmla="*/ 5362 h 10000"/>
                <a:gd name="connsiteX28" fmla="*/ 1411 w 10000"/>
                <a:gd name="connsiteY28" fmla="*/ 5362 h 10000"/>
                <a:gd name="connsiteX29" fmla="*/ 1569 w 10000"/>
                <a:gd name="connsiteY29" fmla="*/ 5362 h 10000"/>
                <a:gd name="connsiteX30" fmla="*/ 1686 w 10000"/>
                <a:gd name="connsiteY30" fmla="*/ 5618 h 10000"/>
                <a:gd name="connsiteX31" fmla="*/ 1765 w 10000"/>
                <a:gd name="connsiteY31" fmla="*/ 5722 h 10000"/>
                <a:gd name="connsiteX32" fmla="*/ 2040 w 10000"/>
                <a:gd name="connsiteY32" fmla="*/ 5722 h 10000"/>
                <a:gd name="connsiteX33" fmla="*/ 2158 w 10000"/>
                <a:gd name="connsiteY33" fmla="*/ 5879 h 10000"/>
                <a:gd name="connsiteX34" fmla="*/ 2235 w 10000"/>
                <a:gd name="connsiteY34" fmla="*/ 5980 h 10000"/>
                <a:gd name="connsiteX35" fmla="*/ 2314 w 10000"/>
                <a:gd name="connsiteY35" fmla="*/ 5980 h 10000"/>
                <a:gd name="connsiteX36" fmla="*/ 2235 w 10000"/>
                <a:gd name="connsiteY36" fmla="*/ 6236 h 10000"/>
                <a:gd name="connsiteX37" fmla="*/ 2314 w 10000"/>
                <a:gd name="connsiteY37" fmla="*/ 6340 h 10000"/>
                <a:gd name="connsiteX38" fmla="*/ 2589 w 10000"/>
                <a:gd name="connsiteY38" fmla="*/ 6596 h 10000"/>
                <a:gd name="connsiteX39" fmla="*/ 2784 w 10000"/>
                <a:gd name="connsiteY39" fmla="*/ 6855 h 10000"/>
                <a:gd name="connsiteX40" fmla="*/ 2863 w 10000"/>
                <a:gd name="connsiteY40" fmla="*/ 6959 h 10000"/>
                <a:gd name="connsiteX41" fmla="*/ 3058 w 10000"/>
                <a:gd name="connsiteY41" fmla="*/ 7064 h 10000"/>
                <a:gd name="connsiteX42" fmla="*/ 3058 w 10000"/>
                <a:gd name="connsiteY42" fmla="*/ 7218 h 10000"/>
                <a:gd name="connsiteX43" fmla="*/ 3177 w 10000"/>
                <a:gd name="connsiteY43" fmla="*/ 7476 h 10000"/>
                <a:gd name="connsiteX44" fmla="*/ 3255 w 10000"/>
                <a:gd name="connsiteY44" fmla="*/ 7577 h 10000"/>
                <a:gd name="connsiteX45" fmla="*/ 3255 w 10000"/>
                <a:gd name="connsiteY45" fmla="*/ 7680 h 10000"/>
                <a:gd name="connsiteX46" fmla="*/ 3333 w 10000"/>
                <a:gd name="connsiteY46" fmla="*/ 7837 h 10000"/>
                <a:gd name="connsiteX47" fmla="*/ 3725 w 10000"/>
                <a:gd name="connsiteY47" fmla="*/ 8042 h 10000"/>
                <a:gd name="connsiteX48" fmla="*/ 3804 w 10000"/>
                <a:gd name="connsiteY48" fmla="*/ 8300 h 10000"/>
                <a:gd name="connsiteX49" fmla="*/ 3804 w 10000"/>
                <a:gd name="connsiteY49" fmla="*/ 8403 h 10000"/>
                <a:gd name="connsiteX50" fmla="*/ 3883 w 10000"/>
                <a:gd name="connsiteY50" fmla="*/ 8557 h 10000"/>
                <a:gd name="connsiteX51" fmla="*/ 4001 w 10000"/>
                <a:gd name="connsiteY51" fmla="*/ 8658 h 10000"/>
                <a:gd name="connsiteX52" fmla="*/ 4196 w 10000"/>
                <a:gd name="connsiteY52" fmla="*/ 8916 h 10000"/>
                <a:gd name="connsiteX53" fmla="*/ 4196 w 10000"/>
                <a:gd name="connsiteY53" fmla="*/ 9021 h 10000"/>
                <a:gd name="connsiteX54" fmla="*/ 4276 w 10000"/>
                <a:gd name="connsiteY54" fmla="*/ 9176 h 10000"/>
                <a:gd name="connsiteX55" fmla="*/ 4550 w 10000"/>
                <a:gd name="connsiteY55" fmla="*/ 9277 h 10000"/>
                <a:gd name="connsiteX56" fmla="*/ 4628 w 10000"/>
                <a:gd name="connsiteY56" fmla="*/ 9277 h 10000"/>
                <a:gd name="connsiteX57" fmla="*/ 4745 w 10000"/>
                <a:gd name="connsiteY57" fmla="*/ 9176 h 10000"/>
                <a:gd name="connsiteX58" fmla="*/ 5019 w 10000"/>
                <a:gd name="connsiteY58" fmla="*/ 9277 h 10000"/>
                <a:gd name="connsiteX59" fmla="*/ 5215 w 10000"/>
                <a:gd name="connsiteY59" fmla="*/ 9176 h 10000"/>
                <a:gd name="connsiteX60" fmla="*/ 5372 w 10000"/>
                <a:gd name="connsiteY60" fmla="*/ 9021 h 10000"/>
                <a:gd name="connsiteX61" fmla="*/ 5491 w 10000"/>
                <a:gd name="connsiteY61" fmla="*/ 9176 h 10000"/>
                <a:gd name="connsiteX62" fmla="*/ 5844 w 10000"/>
                <a:gd name="connsiteY62" fmla="*/ 9536 h 10000"/>
                <a:gd name="connsiteX63" fmla="*/ 5922 w 10000"/>
                <a:gd name="connsiteY63" fmla="*/ 9743 h 10000"/>
                <a:gd name="connsiteX64" fmla="*/ 6039 w 10000"/>
                <a:gd name="connsiteY64" fmla="*/ 9897 h 10000"/>
                <a:gd name="connsiteX65" fmla="*/ 6119 w 10000"/>
                <a:gd name="connsiteY65" fmla="*/ 9897 h 10000"/>
                <a:gd name="connsiteX66" fmla="*/ 6197 w 10000"/>
                <a:gd name="connsiteY66" fmla="*/ 9897 h 10000"/>
                <a:gd name="connsiteX67" fmla="*/ 6313 w 10000"/>
                <a:gd name="connsiteY67" fmla="*/ 9897 h 10000"/>
                <a:gd name="connsiteX68" fmla="*/ 6510 w 10000"/>
                <a:gd name="connsiteY68" fmla="*/ 9897 h 10000"/>
                <a:gd name="connsiteX69" fmla="*/ 6588 w 10000"/>
                <a:gd name="connsiteY69" fmla="*/ 9897 h 10000"/>
                <a:gd name="connsiteX70" fmla="*/ 6785 w 10000"/>
                <a:gd name="connsiteY70" fmla="*/ 9897 h 10000"/>
                <a:gd name="connsiteX71" fmla="*/ 6863 w 10000"/>
                <a:gd name="connsiteY71" fmla="*/ 9897 h 10000"/>
                <a:gd name="connsiteX72" fmla="*/ 6942 w 10000"/>
                <a:gd name="connsiteY72" fmla="*/ 10000 h 10000"/>
                <a:gd name="connsiteX73" fmla="*/ 7137 w 10000"/>
                <a:gd name="connsiteY73" fmla="*/ 9897 h 10000"/>
                <a:gd name="connsiteX74" fmla="*/ 7334 w 10000"/>
                <a:gd name="connsiteY74" fmla="*/ 9897 h 10000"/>
                <a:gd name="connsiteX75" fmla="*/ 7530 w 10000"/>
                <a:gd name="connsiteY75" fmla="*/ 9743 h 10000"/>
                <a:gd name="connsiteX76" fmla="*/ 7687 w 10000"/>
                <a:gd name="connsiteY76" fmla="*/ 9743 h 10000"/>
                <a:gd name="connsiteX77" fmla="*/ 7961 w 10000"/>
                <a:gd name="connsiteY77" fmla="*/ 9743 h 10000"/>
                <a:gd name="connsiteX78" fmla="*/ 8237 w 10000"/>
                <a:gd name="connsiteY78" fmla="*/ 9536 h 10000"/>
                <a:gd name="connsiteX79" fmla="*/ 8237 w 10000"/>
                <a:gd name="connsiteY79" fmla="*/ 9536 h 10000"/>
                <a:gd name="connsiteX80" fmla="*/ 8237 w 10000"/>
                <a:gd name="connsiteY80" fmla="*/ 9536 h 10000"/>
                <a:gd name="connsiteX81" fmla="*/ 8548 w 10000"/>
                <a:gd name="connsiteY81" fmla="*/ 9176 h 10000"/>
                <a:gd name="connsiteX82" fmla="*/ 8627 w 10000"/>
                <a:gd name="connsiteY82" fmla="*/ 9021 h 10000"/>
                <a:gd name="connsiteX83" fmla="*/ 8824 w 10000"/>
                <a:gd name="connsiteY83" fmla="*/ 9021 h 10000"/>
                <a:gd name="connsiteX84" fmla="*/ 9177 w 10000"/>
                <a:gd name="connsiteY84" fmla="*/ 9176 h 10000"/>
                <a:gd name="connsiteX85" fmla="*/ 9374 w 10000"/>
                <a:gd name="connsiteY85" fmla="*/ 9176 h 10000"/>
                <a:gd name="connsiteX86" fmla="*/ 9569 w 10000"/>
                <a:gd name="connsiteY86" fmla="*/ 9021 h 10000"/>
                <a:gd name="connsiteX87" fmla="*/ 9569 w 10000"/>
                <a:gd name="connsiteY87" fmla="*/ 8658 h 10000"/>
                <a:gd name="connsiteX88" fmla="*/ 9648 w 10000"/>
                <a:gd name="connsiteY88" fmla="*/ 8557 h 10000"/>
                <a:gd name="connsiteX89" fmla="*/ 9569 w 10000"/>
                <a:gd name="connsiteY89" fmla="*/ 8403 h 10000"/>
                <a:gd name="connsiteX90" fmla="*/ 9569 w 10000"/>
                <a:gd name="connsiteY90" fmla="*/ 8300 h 10000"/>
                <a:gd name="connsiteX91" fmla="*/ 9177 w 10000"/>
                <a:gd name="connsiteY91" fmla="*/ 8300 h 10000"/>
                <a:gd name="connsiteX92" fmla="*/ 9100 w 10000"/>
                <a:gd name="connsiteY92" fmla="*/ 8194 h 10000"/>
                <a:gd name="connsiteX93" fmla="*/ 9100 w 10000"/>
                <a:gd name="connsiteY93" fmla="*/ 8042 h 10000"/>
                <a:gd name="connsiteX94" fmla="*/ 8902 w 10000"/>
                <a:gd name="connsiteY94" fmla="*/ 7577 h 10000"/>
                <a:gd name="connsiteX95" fmla="*/ 8902 w 10000"/>
                <a:gd name="connsiteY95" fmla="*/ 7320 h 10000"/>
                <a:gd name="connsiteX96" fmla="*/ 8824 w 10000"/>
                <a:gd name="connsiteY96" fmla="*/ 7218 h 10000"/>
                <a:gd name="connsiteX97" fmla="*/ 8548 w 10000"/>
                <a:gd name="connsiteY97" fmla="*/ 6959 h 10000"/>
                <a:gd name="connsiteX98" fmla="*/ 8432 w 10000"/>
                <a:gd name="connsiteY98" fmla="*/ 6855 h 10000"/>
                <a:gd name="connsiteX99" fmla="*/ 8353 w 10000"/>
                <a:gd name="connsiteY99" fmla="*/ 6704 h 10000"/>
                <a:gd name="connsiteX100" fmla="*/ 8353 w 10000"/>
                <a:gd name="connsiteY100" fmla="*/ 6596 h 10000"/>
                <a:gd name="connsiteX101" fmla="*/ 8237 w 10000"/>
                <a:gd name="connsiteY101" fmla="*/ 6340 h 10000"/>
                <a:gd name="connsiteX102" fmla="*/ 8157 w 10000"/>
                <a:gd name="connsiteY102" fmla="*/ 6340 h 10000"/>
                <a:gd name="connsiteX103" fmla="*/ 7961 w 10000"/>
                <a:gd name="connsiteY103" fmla="*/ 6236 h 10000"/>
                <a:gd name="connsiteX104" fmla="*/ 7882 w 10000"/>
                <a:gd name="connsiteY104" fmla="*/ 6236 h 10000"/>
                <a:gd name="connsiteX105" fmla="*/ 7805 w 10000"/>
                <a:gd name="connsiteY105" fmla="*/ 6236 h 10000"/>
                <a:gd name="connsiteX106" fmla="*/ 7687 w 10000"/>
                <a:gd name="connsiteY106" fmla="*/ 6236 h 10000"/>
                <a:gd name="connsiteX107" fmla="*/ 7608 w 10000"/>
                <a:gd name="connsiteY107" fmla="*/ 6135 h 10000"/>
                <a:gd name="connsiteX108" fmla="*/ 7687 w 10000"/>
                <a:gd name="connsiteY108" fmla="*/ 5980 h 10000"/>
                <a:gd name="connsiteX109" fmla="*/ 7805 w 10000"/>
                <a:gd name="connsiteY109" fmla="*/ 5879 h 10000"/>
                <a:gd name="connsiteX110" fmla="*/ 7805 w 10000"/>
                <a:gd name="connsiteY110" fmla="*/ 5618 h 10000"/>
                <a:gd name="connsiteX111" fmla="*/ 7882 w 10000"/>
                <a:gd name="connsiteY111" fmla="*/ 5618 h 10000"/>
                <a:gd name="connsiteX112" fmla="*/ 8157 w 10000"/>
                <a:gd name="connsiteY112" fmla="*/ 5618 h 10000"/>
                <a:gd name="connsiteX113" fmla="*/ 8353 w 10000"/>
                <a:gd name="connsiteY113" fmla="*/ 5618 h 10000"/>
                <a:gd name="connsiteX114" fmla="*/ 8432 w 10000"/>
                <a:gd name="connsiteY114" fmla="*/ 5513 h 10000"/>
                <a:gd name="connsiteX115" fmla="*/ 8432 w 10000"/>
                <a:gd name="connsiteY115" fmla="*/ 5258 h 10000"/>
                <a:gd name="connsiteX116" fmla="*/ 8432 w 10000"/>
                <a:gd name="connsiteY116" fmla="*/ 4538 h 10000"/>
                <a:gd name="connsiteX117" fmla="*/ 8432 w 10000"/>
                <a:gd name="connsiteY117" fmla="*/ 4278 h 10000"/>
                <a:gd name="connsiteX118" fmla="*/ 8548 w 10000"/>
                <a:gd name="connsiteY118" fmla="*/ 4023 h 10000"/>
                <a:gd name="connsiteX119" fmla="*/ 8432 w 10000"/>
                <a:gd name="connsiteY119" fmla="*/ 3917 h 10000"/>
                <a:gd name="connsiteX120" fmla="*/ 8432 w 10000"/>
                <a:gd name="connsiteY120" fmla="*/ 3814 h 10000"/>
                <a:gd name="connsiteX121" fmla="*/ 8548 w 10000"/>
                <a:gd name="connsiteY121" fmla="*/ 3814 h 10000"/>
                <a:gd name="connsiteX122" fmla="*/ 8548 w 10000"/>
                <a:gd name="connsiteY122" fmla="*/ 3661 h 10000"/>
                <a:gd name="connsiteX123" fmla="*/ 8627 w 10000"/>
                <a:gd name="connsiteY123" fmla="*/ 3455 h 10000"/>
                <a:gd name="connsiteX124" fmla="*/ 8706 w 10000"/>
                <a:gd name="connsiteY124" fmla="*/ 3455 h 10000"/>
                <a:gd name="connsiteX125" fmla="*/ 8902 w 10000"/>
                <a:gd name="connsiteY125" fmla="*/ 3455 h 10000"/>
                <a:gd name="connsiteX126" fmla="*/ 8902 w 10000"/>
                <a:gd name="connsiteY126" fmla="*/ 3301 h 10000"/>
                <a:gd name="connsiteX127" fmla="*/ 8980 w 10000"/>
                <a:gd name="connsiteY127" fmla="*/ 2835 h 10000"/>
                <a:gd name="connsiteX128" fmla="*/ 9100 w 10000"/>
                <a:gd name="connsiteY128" fmla="*/ 2682 h 10000"/>
                <a:gd name="connsiteX129" fmla="*/ 9452 w 10000"/>
                <a:gd name="connsiteY129" fmla="*/ 1857 h 10000"/>
                <a:gd name="connsiteX130" fmla="*/ 9648 w 10000"/>
                <a:gd name="connsiteY130" fmla="*/ 1754 h 10000"/>
                <a:gd name="connsiteX131" fmla="*/ 9726 w 10000"/>
                <a:gd name="connsiteY131" fmla="*/ 1601 h 10000"/>
                <a:gd name="connsiteX132" fmla="*/ 9843 w 10000"/>
                <a:gd name="connsiteY132" fmla="*/ 1493 h 10000"/>
                <a:gd name="connsiteX133" fmla="*/ 10000 w 10000"/>
                <a:gd name="connsiteY133" fmla="*/ 519 h 10000"/>
                <a:gd name="connsiteX134" fmla="*/ 10000 w 10000"/>
                <a:gd name="connsiteY134" fmla="*/ 258 h 10000"/>
                <a:gd name="connsiteX135" fmla="*/ 10000 w 10000"/>
                <a:gd name="connsiteY135" fmla="*/ 0 h 10000"/>
                <a:gd name="connsiteX0" fmla="*/ 10466 w 10466"/>
                <a:gd name="connsiteY0" fmla="*/ 0 h 10000"/>
                <a:gd name="connsiteX1" fmla="*/ 740 w 10466"/>
                <a:gd name="connsiteY1" fmla="*/ 151 h 10000"/>
                <a:gd name="connsiteX2" fmla="*/ 662 w 10466"/>
                <a:gd name="connsiteY2" fmla="*/ 1135 h 10000"/>
                <a:gd name="connsiteX3" fmla="*/ 583 w 10466"/>
                <a:gd name="connsiteY3" fmla="*/ 1239 h 10000"/>
                <a:gd name="connsiteX4" fmla="*/ 466 w 10466"/>
                <a:gd name="connsiteY4" fmla="*/ 1343 h 10000"/>
                <a:gd name="connsiteX5" fmla="*/ 466 w 10466"/>
                <a:gd name="connsiteY5" fmla="*/ 1493 h 10000"/>
                <a:gd name="connsiteX6" fmla="*/ 466 w 10466"/>
                <a:gd name="connsiteY6" fmla="*/ 1754 h 10000"/>
                <a:gd name="connsiteX7" fmla="*/ 583 w 10466"/>
                <a:gd name="connsiteY7" fmla="*/ 1754 h 10000"/>
                <a:gd name="connsiteX8" fmla="*/ 583 w 10466"/>
                <a:gd name="connsiteY8" fmla="*/ 1754 h 10000"/>
                <a:gd name="connsiteX9" fmla="*/ 858 w 10466"/>
                <a:gd name="connsiteY9" fmla="*/ 1601 h 10000"/>
                <a:gd name="connsiteX10" fmla="*/ 740 w 10466"/>
                <a:gd name="connsiteY10" fmla="*/ 1957 h 10000"/>
                <a:gd name="connsiteX11" fmla="*/ 858 w 10466"/>
                <a:gd name="connsiteY11" fmla="*/ 2219 h 10000"/>
                <a:gd name="connsiteX12" fmla="*/ 1014 w 10466"/>
                <a:gd name="connsiteY12" fmla="*/ 2682 h 10000"/>
                <a:gd name="connsiteX13" fmla="*/ 1014 w 10466"/>
                <a:gd name="connsiteY13" fmla="*/ 2835 h 10000"/>
                <a:gd name="connsiteX14" fmla="*/ 1133 w 10466"/>
                <a:gd name="connsiteY14" fmla="*/ 2835 h 10000"/>
                <a:gd name="connsiteX15" fmla="*/ 1133 w 10466"/>
                <a:gd name="connsiteY15" fmla="*/ 2937 h 10000"/>
                <a:gd name="connsiteX16" fmla="*/ 1212 w 10466"/>
                <a:gd name="connsiteY16" fmla="*/ 3043 h 10000"/>
                <a:gd name="connsiteX17" fmla="*/ 1212 w 10466"/>
                <a:gd name="connsiteY17" fmla="*/ 3198 h 10000"/>
                <a:gd name="connsiteX18" fmla="*/ 1014 w 10466"/>
                <a:gd name="connsiteY18" fmla="*/ 3301 h 10000"/>
                <a:gd name="connsiteX19" fmla="*/ 1212 w 10466"/>
                <a:gd name="connsiteY19" fmla="*/ 3455 h 10000"/>
                <a:gd name="connsiteX20" fmla="*/ 1407 w 10466"/>
                <a:gd name="connsiteY20" fmla="*/ 3814 h 10000"/>
                <a:gd name="connsiteX21" fmla="*/ 1603 w 10466"/>
                <a:gd name="connsiteY21" fmla="*/ 4173 h 10000"/>
                <a:gd name="connsiteX22" fmla="*/ 1681 w 10466"/>
                <a:gd name="connsiteY22" fmla="*/ 4383 h 10000"/>
                <a:gd name="connsiteX23" fmla="*/ 1603 w 10466"/>
                <a:gd name="connsiteY23" fmla="*/ 4639 h 10000"/>
                <a:gd name="connsiteX24" fmla="*/ 1603 w 10466"/>
                <a:gd name="connsiteY24" fmla="*/ 5001 h 10000"/>
                <a:gd name="connsiteX25" fmla="*/ 1603 w 10466"/>
                <a:gd name="connsiteY25" fmla="*/ 5157 h 10000"/>
                <a:gd name="connsiteX26" fmla="*/ 1761 w 10466"/>
                <a:gd name="connsiteY26" fmla="*/ 5362 h 10000"/>
                <a:gd name="connsiteX27" fmla="*/ 1877 w 10466"/>
                <a:gd name="connsiteY27" fmla="*/ 5362 h 10000"/>
                <a:gd name="connsiteX28" fmla="*/ 2035 w 10466"/>
                <a:gd name="connsiteY28" fmla="*/ 5362 h 10000"/>
                <a:gd name="connsiteX29" fmla="*/ 2152 w 10466"/>
                <a:gd name="connsiteY29" fmla="*/ 5618 h 10000"/>
                <a:gd name="connsiteX30" fmla="*/ 2231 w 10466"/>
                <a:gd name="connsiteY30" fmla="*/ 5722 h 10000"/>
                <a:gd name="connsiteX31" fmla="*/ 2506 w 10466"/>
                <a:gd name="connsiteY31" fmla="*/ 5722 h 10000"/>
                <a:gd name="connsiteX32" fmla="*/ 2624 w 10466"/>
                <a:gd name="connsiteY32" fmla="*/ 5879 h 10000"/>
                <a:gd name="connsiteX33" fmla="*/ 2701 w 10466"/>
                <a:gd name="connsiteY33" fmla="*/ 5980 h 10000"/>
                <a:gd name="connsiteX34" fmla="*/ 2780 w 10466"/>
                <a:gd name="connsiteY34" fmla="*/ 5980 h 10000"/>
                <a:gd name="connsiteX35" fmla="*/ 2701 w 10466"/>
                <a:gd name="connsiteY35" fmla="*/ 6236 h 10000"/>
                <a:gd name="connsiteX36" fmla="*/ 2780 w 10466"/>
                <a:gd name="connsiteY36" fmla="*/ 6340 h 10000"/>
                <a:gd name="connsiteX37" fmla="*/ 3055 w 10466"/>
                <a:gd name="connsiteY37" fmla="*/ 6596 h 10000"/>
                <a:gd name="connsiteX38" fmla="*/ 3250 w 10466"/>
                <a:gd name="connsiteY38" fmla="*/ 6855 h 10000"/>
                <a:gd name="connsiteX39" fmla="*/ 3329 w 10466"/>
                <a:gd name="connsiteY39" fmla="*/ 6959 h 10000"/>
                <a:gd name="connsiteX40" fmla="*/ 3524 w 10466"/>
                <a:gd name="connsiteY40" fmla="*/ 7064 h 10000"/>
                <a:gd name="connsiteX41" fmla="*/ 3524 w 10466"/>
                <a:gd name="connsiteY41" fmla="*/ 7218 h 10000"/>
                <a:gd name="connsiteX42" fmla="*/ 3643 w 10466"/>
                <a:gd name="connsiteY42" fmla="*/ 7476 h 10000"/>
                <a:gd name="connsiteX43" fmla="*/ 3721 w 10466"/>
                <a:gd name="connsiteY43" fmla="*/ 7577 h 10000"/>
                <a:gd name="connsiteX44" fmla="*/ 3721 w 10466"/>
                <a:gd name="connsiteY44" fmla="*/ 7680 h 10000"/>
                <a:gd name="connsiteX45" fmla="*/ 3799 w 10466"/>
                <a:gd name="connsiteY45" fmla="*/ 7837 h 10000"/>
                <a:gd name="connsiteX46" fmla="*/ 4191 w 10466"/>
                <a:gd name="connsiteY46" fmla="*/ 8042 h 10000"/>
                <a:gd name="connsiteX47" fmla="*/ 4270 w 10466"/>
                <a:gd name="connsiteY47" fmla="*/ 8300 h 10000"/>
                <a:gd name="connsiteX48" fmla="*/ 4270 w 10466"/>
                <a:gd name="connsiteY48" fmla="*/ 8403 h 10000"/>
                <a:gd name="connsiteX49" fmla="*/ 4349 w 10466"/>
                <a:gd name="connsiteY49" fmla="*/ 8557 h 10000"/>
                <a:gd name="connsiteX50" fmla="*/ 4467 w 10466"/>
                <a:gd name="connsiteY50" fmla="*/ 8658 h 10000"/>
                <a:gd name="connsiteX51" fmla="*/ 4662 w 10466"/>
                <a:gd name="connsiteY51" fmla="*/ 8916 h 10000"/>
                <a:gd name="connsiteX52" fmla="*/ 4662 w 10466"/>
                <a:gd name="connsiteY52" fmla="*/ 9021 h 10000"/>
                <a:gd name="connsiteX53" fmla="*/ 4742 w 10466"/>
                <a:gd name="connsiteY53" fmla="*/ 9176 h 10000"/>
                <a:gd name="connsiteX54" fmla="*/ 5016 w 10466"/>
                <a:gd name="connsiteY54" fmla="*/ 9277 h 10000"/>
                <a:gd name="connsiteX55" fmla="*/ 5094 w 10466"/>
                <a:gd name="connsiteY55" fmla="*/ 9277 h 10000"/>
                <a:gd name="connsiteX56" fmla="*/ 5211 w 10466"/>
                <a:gd name="connsiteY56" fmla="*/ 9176 h 10000"/>
                <a:gd name="connsiteX57" fmla="*/ 5485 w 10466"/>
                <a:gd name="connsiteY57" fmla="*/ 9277 h 10000"/>
                <a:gd name="connsiteX58" fmla="*/ 5681 w 10466"/>
                <a:gd name="connsiteY58" fmla="*/ 9176 h 10000"/>
                <a:gd name="connsiteX59" fmla="*/ 5838 w 10466"/>
                <a:gd name="connsiteY59" fmla="*/ 9021 h 10000"/>
                <a:gd name="connsiteX60" fmla="*/ 5957 w 10466"/>
                <a:gd name="connsiteY60" fmla="*/ 9176 h 10000"/>
                <a:gd name="connsiteX61" fmla="*/ 6310 w 10466"/>
                <a:gd name="connsiteY61" fmla="*/ 9536 h 10000"/>
                <a:gd name="connsiteX62" fmla="*/ 6388 w 10466"/>
                <a:gd name="connsiteY62" fmla="*/ 9743 h 10000"/>
                <a:gd name="connsiteX63" fmla="*/ 6505 w 10466"/>
                <a:gd name="connsiteY63" fmla="*/ 9897 h 10000"/>
                <a:gd name="connsiteX64" fmla="*/ 6585 w 10466"/>
                <a:gd name="connsiteY64" fmla="*/ 9897 h 10000"/>
                <a:gd name="connsiteX65" fmla="*/ 6663 w 10466"/>
                <a:gd name="connsiteY65" fmla="*/ 9897 h 10000"/>
                <a:gd name="connsiteX66" fmla="*/ 6779 w 10466"/>
                <a:gd name="connsiteY66" fmla="*/ 9897 h 10000"/>
                <a:gd name="connsiteX67" fmla="*/ 6976 w 10466"/>
                <a:gd name="connsiteY67" fmla="*/ 9897 h 10000"/>
                <a:gd name="connsiteX68" fmla="*/ 7054 w 10466"/>
                <a:gd name="connsiteY68" fmla="*/ 9897 h 10000"/>
                <a:gd name="connsiteX69" fmla="*/ 7251 w 10466"/>
                <a:gd name="connsiteY69" fmla="*/ 9897 h 10000"/>
                <a:gd name="connsiteX70" fmla="*/ 7329 w 10466"/>
                <a:gd name="connsiteY70" fmla="*/ 9897 h 10000"/>
                <a:gd name="connsiteX71" fmla="*/ 7408 w 10466"/>
                <a:gd name="connsiteY71" fmla="*/ 10000 h 10000"/>
                <a:gd name="connsiteX72" fmla="*/ 7603 w 10466"/>
                <a:gd name="connsiteY72" fmla="*/ 9897 h 10000"/>
                <a:gd name="connsiteX73" fmla="*/ 7800 w 10466"/>
                <a:gd name="connsiteY73" fmla="*/ 9897 h 10000"/>
                <a:gd name="connsiteX74" fmla="*/ 7996 w 10466"/>
                <a:gd name="connsiteY74" fmla="*/ 9743 h 10000"/>
                <a:gd name="connsiteX75" fmla="*/ 8153 w 10466"/>
                <a:gd name="connsiteY75" fmla="*/ 9743 h 10000"/>
                <a:gd name="connsiteX76" fmla="*/ 8427 w 10466"/>
                <a:gd name="connsiteY76" fmla="*/ 9743 h 10000"/>
                <a:gd name="connsiteX77" fmla="*/ 8703 w 10466"/>
                <a:gd name="connsiteY77" fmla="*/ 9536 h 10000"/>
                <a:gd name="connsiteX78" fmla="*/ 8703 w 10466"/>
                <a:gd name="connsiteY78" fmla="*/ 9536 h 10000"/>
                <a:gd name="connsiteX79" fmla="*/ 8703 w 10466"/>
                <a:gd name="connsiteY79" fmla="*/ 9536 h 10000"/>
                <a:gd name="connsiteX80" fmla="*/ 9014 w 10466"/>
                <a:gd name="connsiteY80" fmla="*/ 9176 h 10000"/>
                <a:gd name="connsiteX81" fmla="*/ 9093 w 10466"/>
                <a:gd name="connsiteY81" fmla="*/ 9021 h 10000"/>
                <a:gd name="connsiteX82" fmla="*/ 9290 w 10466"/>
                <a:gd name="connsiteY82" fmla="*/ 9021 h 10000"/>
                <a:gd name="connsiteX83" fmla="*/ 9643 w 10466"/>
                <a:gd name="connsiteY83" fmla="*/ 9176 h 10000"/>
                <a:gd name="connsiteX84" fmla="*/ 9840 w 10466"/>
                <a:gd name="connsiteY84" fmla="*/ 9176 h 10000"/>
                <a:gd name="connsiteX85" fmla="*/ 10035 w 10466"/>
                <a:gd name="connsiteY85" fmla="*/ 9021 h 10000"/>
                <a:gd name="connsiteX86" fmla="*/ 10035 w 10466"/>
                <a:gd name="connsiteY86" fmla="*/ 8658 h 10000"/>
                <a:gd name="connsiteX87" fmla="*/ 10114 w 10466"/>
                <a:gd name="connsiteY87" fmla="*/ 8557 h 10000"/>
                <a:gd name="connsiteX88" fmla="*/ 10035 w 10466"/>
                <a:gd name="connsiteY88" fmla="*/ 8403 h 10000"/>
                <a:gd name="connsiteX89" fmla="*/ 10035 w 10466"/>
                <a:gd name="connsiteY89" fmla="*/ 8300 h 10000"/>
                <a:gd name="connsiteX90" fmla="*/ 9643 w 10466"/>
                <a:gd name="connsiteY90" fmla="*/ 8300 h 10000"/>
                <a:gd name="connsiteX91" fmla="*/ 9566 w 10466"/>
                <a:gd name="connsiteY91" fmla="*/ 8194 h 10000"/>
                <a:gd name="connsiteX92" fmla="*/ 9566 w 10466"/>
                <a:gd name="connsiteY92" fmla="*/ 8042 h 10000"/>
                <a:gd name="connsiteX93" fmla="*/ 9368 w 10466"/>
                <a:gd name="connsiteY93" fmla="*/ 7577 h 10000"/>
                <a:gd name="connsiteX94" fmla="*/ 9368 w 10466"/>
                <a:gd name="connsiteY94" fmla="*/ 7320 h 10000"/>
                <a:gd name="connsiteX95" fmla="*/ 9290 w 10466"/>
                <a:gd name="connsiteY95" fmla="*/ 7218 h 10000"/>
                <a:gd name="connsiteX96" fmla="*/ 9014 w 10466"/>
                <a:gd name="connsiteY96" fmla="*/ 6959 h 10000"/>
                <a:gd name="connsiteX97" fmla="*/ 8898 w 10466"/>
                <a:gd name="connsiteY97" fmla="*/ 6855 h 10000"/>
                <a:gd name="connsiteX98" fmla="*/ 8819 w 10466"/>
                <a:gd name="connsiteY98" fmla="*/ 6704 h 10000"/>
                <a:gd name="connsiteX99" fmla="*/ 8819 w 10466"/>
                <a:gd name="connsiteY99" fmla="*/ 6596 h 10000"/>
                <a:gd name="connsiteX100" fmla="*/ 8703 w 10466"/>
                <a:gd name="connsiteY100" fmla="*/ 6340 h 10000"/>
                <a:gd name="connsiteX101" fmla="*/ 8623 w 10466"/>
                <a:gd name="connsiteY101" fmla="*/ 6340 h 10000"/>
                <a:gd name="connsiteX102" fmla="*/ 8427 w 10466"/>
                <a:gd name="connsiteY102" fmla="*/ 6236 h 10000"/>
                <a:gd name="connsiteX103" fmla="*/ 8348 w 10466"/>
                <a:gd name="connsiteY103" fmla="*/ 6236 h 10000"/>
                <a:gd name="connsiteX104" fmla="*/ 8271 w 10466"/>
                <a:gd name="connsiteY104" fmla="*/ 6236 h 10000"/>
                <a:gd name="connsiteX105" fmla="*/ 8153 w 10466"/>
                <a:gd name="connsiteY105" fmla="*/ 6236 h 10000"/>
                <a:gd name="connsiteX106" fmla="*/ 8074 w 10466"/>
                <a:gd name="connsiteY106" fmla="*/ 6135 h 10000"/>
                <a:gd name="connsiteX107" fmla="*/ 8153 w 10466"/>
                <a:gd name="connsiteY107" fmla="*/ 5980 h 10000"/>
                <a:gd name="connsiteX108" fmla="*/ 8271 w 10466"/>
                <a:gd name="connsiteY108" fmla="*/ 5879 h 10000"/>
                <a:gd name="connsiteX109" fmla="*/ 8271 w 10466"/>
                <a:gd name="connsiteY109" fmla="*/ 5618 h 10000"/>
                <a:gd name="connsiteX110" fmla="*/ 8348 w 10466"/>
                <a:gd name="connsiteY110" fmla="*/ 5618 h 10000"/>
                <a:gd name="connsiteX111" fmla="*/ 8623 w 10466"/>
                <a:gd name="connsiteY111" fmla="*/ 5618 h 10000"/>
                <a:gd name="connsiteX112" fmla="*/ 8819 w 10466"/>
                <a:gd name="connsiteY112" fmla="*/ 5618 h 10000"/>
                <a:gd name="connsiteX113" fmla="*/ 8898 w 10466"/>
                <a:gd name="connsiteY113" fmla="*/ 5513 h 10000"/>
                <a:gd name="connsiteX114" fmla="*/ 8898 w 10466"/>
                <a:gd name="connsiteY114" fmla="*/ 5258 h 10000"/>
                <a:gd name="connsiteX115" fmla="*/ 8898 w 10466"/>
                <a:gd name="connsiteY115" fmla="*/ 4538 h 10000"/>
                <a:gd name="connsiteX116" fmla="*/ 8898 w 10466"/>
                <a:gd name="connsiteY116" fmla="*/ 4278 h 10000"/>
                <a:gd name="connsiteX117" fmla="*/ 9014 w 10466"/>
                <a:gd name="connsiteY117" fmla="*/ 4023 h 10000"/>
                <a:gd name="connsiteX118" fmla="*/ 8898 w 10466"/>
                <a:gd name="connsiteY118" fmla="*/ 3917 h 10000"/>
                <a:gd name="connsiteX119" fmla="*/ 8898 w 10466"/>
                <a:gd name="connsiteY119" fmla="*/ 3814 h 10000"/>
                <a:gd name="connsiteX120" fmla="*/ 9014 w 10466"/>
                <a:gd name="connsiteY120" fmla="*/ 3814 h 10000"/>
                <a:gd name="connsiteX121" fmla="*/ 9014 w 10466"/>
                <a:gd name="connsiteY121" fmla="*/ 3661 h 10000"/>
                <a:gd name="connsiteX122" fmla="*/ 9093 w 10466"/>
                <a:gd name="connsiteY122" fmla="*/ 3455 h 10000"/>
                <a:gd name="connsiteX123" fmla="*/ 9172 w 10466"/>
                <a:gd name="connsiteY123" fmla="*/ 3455 h 10000"/>
                <a:gd name="connsiteX124" fmla="*/ 9368 w 10466"/>
                <a:gd name="connsiteY124" fmla="*/ 3455 h 10000"/>
                <a:gd name="connsiteX125" fmla="*/ 9368 w 10466"/>
                <a:gd name="connsiteY125" fmla="*/ 3301 h 10000"/>
                <a:gd name="connsiteX126" fmla="*/ 9446 w 10466"/>
                <a:gd name="connsiteY126" fmla="*/ 2835 h 10000"/>
                <a:gd name="connsiteX127" fmla="*/ 9566 w 10466"/>
                <a:gd name="connsiteY127" fmla="*/ 2682 h 10000"/>
                <a:gd name="connsiteX128" fmla="*/ 9918 w 10466"/>
                <a:gd name="connsiteY128" fmla="*/ 1857 h 10000"/>
                <a:gd name="connsiteX129" fmla="*/ 10114 w 10466"/>
                <a:gd name="connsiteY129" fmla="*/ 1754 h 10000"/>
                <a:gd name="connsiteX130" fmla="*/ 10192 w 10466"/>
                <a:gd name="connsiteY130" fmla="*/ 1601 h 10000"/>
                <a:gd name="connsiteX131" fmla="*/ 10309 w 10466"/>
                <a:gd name="connsiteY131" fmla="*/ 1493 h 10000"/>
                <a:gd name="connsiteX132" fmla="*/ 10466 w 10466"/>
                <a:gd name="connsiteY132" fmla="*/ 519 h 10000"/>
                <a:gd name="connsiteX133" fmla="*/ 10466 w 10466"/>
                <a:gd name="connsiteY133" fmla="*/ 258 h 10000"/>
                <a:gd name="connsiteX134" fmla="*/ 10466 w 10466"/>
                <a:gd name="connsiteY134" fmla="*/ 0 h 10000"/>
                <a:gd name="connsiteX0" fmla="*/ 10000 w 10000"/>
                <a:gd name="connsiteY0" fmla="*/ 0 h 10000"/>
                <a:gd name="connsiteX1" fmla="*/ 196 w 10000"/>
                <a:gd name="connsiteY1" fmla="*/ 1135 h 10000"/>
                <a:gd name="connsiteX2" fmla="*/ 117 w 10000"/>
                <a:gd name="connsiteY2" fmla="*/ 1239 h 10000"/>
                <a:gd name="connsiteX3" fmla="*/ 0 w 10000"/>
                <a:gd name="connsiteY3" fmla="*/ 1343 h 10000"/>
                <a:gd name="connsiteX4" fmla="*/ 0 w 10000"/>
                <a:gd name="connsiteY4" fmla="*/ 1493 h 10000"/>
                <a:gd name="connsiteX5" fmla="*/ 0 w 10000"/>
                <a:gd name="connsiteY5" fmla="*/ 1754 h 10000"/>
                <a:gd name="connsiteX6" fmla="*/ 117 w 10000"/>
                <a:gd name="connsiteY6" fmla="*/ 1754 h 10000"/>
                <a:gd name="connsiteX7" fmla="*/ 117 w 10000"/>
                <a:gd name="connsiteY7" fmla="*/ 1754 h 10000"/>
                <a:gd name="connsiteX8" fmla="*/ 392 w 10000"/>
                <a:gd name="connsiteY8" fmla="*/ 1601 h 10000"/>
                <a:gd name="connsiteX9" fmla="*/ 274 w 10000"/>
                <a:gd name="connsiteY9" fmla="*/ 1957 h 10000"/>
                <a:gd name="connsiteX10" fmla="*/ 392 w 10000"/>
                <a:gd name="connsiteY10" fmla="*/ 2219 h 10000"/>
                <a:gd name="connsiteX11" fmla="*/ 548 w 10000"/>
                <a:gd name="connsiteY11" fmla="*/ 2682 h 10000"/>
                <a:gd name="connsiteX12" fmla="*/ 548 w 10000"/>
                <a:gd name="connsiteY12" fmla="*/ 2835 h 10000"/>
                <a:gd name="connsiteX13" fmla="*/ 667 w 10000"/>
                <a:gd name="connsiteY13" fmla="*/ 2835 h 10000"/>
                <a:gd name="connsiteX14" fmla="*/ 667 w 10000"/>
                <a:gd name="connsiteY14" fmla="*/ 2937 h 10000"/>
                <a:gd name="connsiteX15" fmla="*/ 746 w 10000"/>
                <a:gd name="connsiteY15" fmla="*/ 3043 h 10000"/>
                <a:gd name="connsiteX16" fmla="*/ 746 w 10000"/>
                <a:gd name="connsiteY16" fmla="*/ 3198 h 10000"/>
                <a:gd name="connsiteX17" fmla="*/ 548 w 10000"/>
                <a:gd name="connsiteY17" fmla="*/ 3301 h 10000"/>
                <a:gd name="connsiteX18" fmla="*/ 746 w 10000"/>
                <a:gd name="connsiteY18" fmla="*/ 3455 h 10000"/>
                <a:gd name="connsiteX19" fmla="*/ 941 w 10000"/>
                <a:gd name="connsiteY19" fmla="*/ 3814 h 10000"/>
                <a:gd name="connsiteX20" fmla="*/ 1137 w 10000"/>
                <a:gd name="connsiteY20" fmla="*/ 4173 h 10000"/>
                <a:gd name="connsiteX21" fmla="*/ 1215 w 10000"/>
                <a:gd name="connsiteY21" fmla="*/ 4383 h 10000"/>
                <a:gd name="connsiteX22" fmla="*/ 1137 w 10000"/>
                <a:gd name="connsiteY22" fmla="*/ 4639 h 10000"/>
                <a:gd name="connsiteX23" fmla="*/ 1137 w 10000"/>
                <a:gd name="connsiteY23" fmla="*/ 5001 h 10000"/>
                <a:gd name="connsiteX24" fmla="*/ 1137 w 10000"/>
                <a:gd name="connsiteY24" fmla="*/ 5157 h 10000"/>
                <a:gd name="connsiteX25" fmla="*/ 1295 w 10000"/>
                <a:gd name="connsiteY25" fmla="*/ 5362 h 10000"/>
                <a:gd name="connsiteX26" fmla="*/ 1411 w 10000"/>
                <a:gd name="connsiteY26" fmla="*/ 5362 h 10000"/>
                <a:gd name="connsiteX27" fmla="*/ 1569 w 10000"/>
                <a:gd name="connsiteY27" fmla="*/ 5362 h 10000"/>
                <a:gd name="connsiteX28" fmla="*/ 1686 w 10000"/>
                <a:gd name="connsiteY28" fmla="*/ 5618 h 10000"/>
                <a:gd name="connsiteX29" fmla="*/ 1765 w 10000"/>
                <a:gd name="connsiteY29" fmla="*/ 5722 h 10000"/>
                <a:gd name="connsiteX30" fmla="*/ 2040 w 10000"/>
                <a:gd name="connsiteY30" fmla="*/ 5722 h 10000"/>
                <a:gd name="connsiteX31" fmla="*/ 2158 w 10000"/>
                <a:gd name="connsiteY31" fmla="*/ 5879 h 10000"/>
                <a:gd name="connsiteX32" fmla="*/ 2235 w 10000"/>
                <a:gd name="connsiteY32" fmla="*/ 5980 h 10000"/>
                <a:gd name="connsiteX33" fmla="*/ 2314 w 10000"/>
                <a:gd name="connsiteY33" fmla="*/ 5980 h 10000"/>
                <a:gd name="connsiteX34" fmla="*/ 2235 w 10000"/>
                <a:gd name="connsiteY34" fmla="*/ 6236 h 10000"/>
                <a:gd name="connsiteX35" fmla="*/ 2314 w 10000"/>
                <a:gd name="connsiteY35" fmla="*/ 6340 h 10000"/>
                <a:gd name="connsiteX36" fmla="*/ 2589 w 10000"/>
                <a:gd name="connsiteY36" fmla="*/ 6596 h 10000"/>
                <a:gd name="connsiteX37" fmla="*/ 2784 w 10000"/>
                <a:gd name="connsiteY37" fmla="*/ 6855 h 10000"/>
                <a:gd name="connsiteX38" fmla="*/ 2863 w 10000"/>
                <a:gd name="connsiteY38" fmla="*/ 6959 h 10000"/>
                <a:gd name="connsiteX39" fmla="*/ 3058 w 10000"/>
                <a:gd name="connsiteY39" fmla="*/ 7064 h 10000"/>
                <a:gd name="connsiteX40" fmla="*/ 3058 w 10000"/>
                <a:gd name="connsiteY40" fmla="*/ 7218 h 10000"/>
                <a:gd name="connsiteX41" fmla="*/ 3177 w 10000"/>
                <a:gd name="connsiteY41" fmla="*/ 7476 h 10000"/>
                <a:gd name="connsiteX42" fmla="*/ 3255 w 10000"/>
                <a:gd name="connsiteY42" fmla="*/ 7577 h 10000"/>
                <a:gd name="connsiteX43" fmla="*/ 3255 w 10000"/>
                <a:gd name="connsiteY43" fmla="*/ 7680 h 10000"/>
                <a:gd name="connsiteX44" fmla="*/ 3333 w 10000"/>
                <a:gd name="connsiteY44" fmla="*/ 7837 h 10000"/>
                <a:gd name="connsiteX45" fmla="*/ 3725 w 10000"/>
                <a:gd name="connsiteY45" fmla="*/ 8042 h 10000"/>
                <a:gd name="connsiteX46" fmla="*/ 3804 w 10000"/>
                <a:gd name="connsiteY46" fmla="*/ 8300 h 10000"/>
                <a:gd name="connsiteX47" fmla="*/ 3804 w 10000"/>
                <a:gd name="connsiteY47" fmla="*/ 8403 h 10000"/>
                <a:gd name="connsiteX48" fmla="*/ 3883 w 10000"/>
                <a:gd name="connsiteY48" fmla="*/ 8557 h 10000"/>
                <a:gd name="connsiteX49" fmla="*/ 4001 w 10000"/>
                <a:gd name="connsiteY49" fmla="*/ 8658 h 10000"/>
                <a:gd name="connsiteX50" fmla="*/ 4196 w 10000"/>
                <a:gd name="connsiteY50" fmla="*/ 8916 h 10000"/>
                <a:gd name="connsiteX51" fmla="*/ 4196 w 10000"/>
                <a:gd name="connsiteY51" fmla="*/ 9021 h 10000"/>
                <a:gd name="connsiteX52" fmla="*/ 4276 w 10000"/>
                <a:gd name="connsiteY52" fmla="*/ 9176 h 10000"/>
                <a:gd name="connsiteX53" fmla="*/ 4550 w 10000"/>
                <a:gd name="connsiteY53" fmla="*/ 9277 h 10000"/>
                <a:gd name="connsiteX54" fmla="*/ 4628 w 10000"/>
                <a:gd name="connsiteY54" fmla="*/ 9277 h 10000"/>
                <a:gd name="connsiteX55" fmla="*/ 4745 w 10000"/>
                <a:gd name="connsiteY55" fmla="*/ 9176 h 10000"/>
                <a:gd name="connsiteX56" fmla="*/ 5019 w 10000"/>
                <a:gd name="connsiteY56" fmla="*/ 9277 h 10000"/>
                <a:gd name="connsiteX57" fmla="*/ 5215 w 10000"/>
                <a:gd name="connsiteY57" fmla="*/ 9176 h 10000"/>
                <a:gd name="connsiteX58" fmla="*/ 5372 w 10000"/>
                <a:gd name="connsiteY58" fmla="*/ 9021 h 10000"/>
                <a:gd name="connsiteX59" fmla="*/ 5491 w 10000"/>
                <a:gd name="connsiteY59" fmla="*/ 9176 h 10000"/>
                <a:gd name="connsiteX60" fmla="*/ 5844 w 10000"/>
                <a:gd name="connsiteY60" fmla="*/ 9536 h 10000"/>
                <a:gd name="connsiteX61" fmla="*/ 5922 w 10000"/>
                <a:gd name="connsiteY61" fmla="*/ 9743 h 10000"/>
                <a:gd name="connsiteX62" fmla="*/ 6039 w 10000"/>
                <a:gd name="connsiteY62" fmla="*/ 9897 h 10000"/>
                <a:gd name="connsiteX63" fmla="*/ 6119 w 10000"/>
                <a:gd name="connsiteY63" fmla="*/ 9897 h 10000"/>
                <a:gd name="connsiteX64" fmla="*/ 6197 w 10000"/>
                <a:gd name="connsiteY64" fmla="*/ 9897 h 10000"/>
                <a:gd name="connsiteX65" fmla="*/ 6313 w 10000"/>
                <a:gd name="connsiteY65" fmla="*/ 9897 h 10000"/>
                <a:gd name="connsiteX66" fmla="*/ 6510 w 10000"/>
                <a:gd name="connsiteY66" fmla="*/ 9897 h 10000"/>
                <a:gd name="connsiteX67" fmla="*/ 6588 w 10000"/>
                <a:gd name="connsiteY67" fmla="*/ 9897 h 10000"/>
                <a:gd name="connsiteX68" fmla="*/ 6785 w 10000"/>
                <a:gd name="connsiteY68" fmla="*/ 9897 h 10000"/>
                <a:gd name="connsiteX69" fmla="*/ 6863 w 10000"/>
                <a:gd name="connsiteY69" fmla="*/ 9897 h 10000"/>
                <a:gd name="connsiteX70" fmla="*/ 6942 w 10000"/>
                <a:gd name="connsiteY70" fmla="*/ 10000 h 10000"/>
                <a:gd name="connsiteX71" fmla="*/ 7137 w 10000"/>
                <a:gd name="connsiteY71" fmla="*/ 9897 h 10000"/>
                <a:gd name="connsiteX72" fmla="*/ 7334 w 10000"/>
                <a:gd name="connsiteY72" fmla="*/ 9897 h 10000"/>
                <a:gd name="connsiteX73" fmla="*/ 7530 w 10000"/>
                <a:gd name="connsiteY73" fmla="*/ 9743 h 10000"/>
                <a:gd name="connsiteX74" fmla="*/ 7687 w 10000"/>
                <a:gd name="connsiteY74" fmla="*/ 9743 h 10000"/>
                <a:gd name="connsiteX75" fmla="*/ 7961 w 10000"/>
                <a:gd name="connsiteY75" fmla="*/ 9743 h 10000"/>
                <a:gd name="connsiteX76" fmla="*/ 8237 w 10000"/>
                <a:gd name="connsiteY76" fmla="*/ 9536 h 10000"/>
                <a:gd name="connsiteX77" fmla="*/ 8237 w 10000"/>
                <a:gd name="connsiteY77" fmla="*/ 9536 h 10000"/>
                <a:gd name="connsiteX78" fmla="*/ 8237 w 10000"/>
                <a:gd name="connsiteY78" fmla="*/ 9536 h 10000"/>
                <a:gd name="connsiteX79" fmla="*/ 8548 w 10000"/>
                <a:gd name="connsiteY79" fmla="*/ 9176 h 10000"/>
                <a:gd name="connsiteX80" fmla="*/ 8627 w 10000"/>
                <a:gd name="connsiteY80" fmla="*/ 9021 h 10000"/>
                <a:gd name="connsiteX81" fmla="*/ 8824 w 10000"/>
                <a:gd name="connsiteY81" fmla="*/ 9021 h 10000"/>
                <a:gd name="connsiteX82" fmla="*/ 9177 w 10000"/>
                <a:gd name="connsiteY82" fmla="*/ 9176 h 10000"/>
                <a:gd name="connsiteX83" fmla="*/ 9374 w 10000"/>
                <a:gd name="connsiteY83" fmla="*/ 9176 h 10000"/>
                <a:gd name="connsiteX84" fmla="*/ 9569 w 10000"/>
                <a:gd name="connsiteY84" fmla="*/ 9021 h 10000"/>
                <a:gd name="connsiteX85" fmla="*/ 9569 w 10000"/>
                <a:gd name="connsiteY85" fmla="*/ 8658 h 10000"/>
                <a:gd name="connsiteX86" fmla="*/ 9648 w 10000"/>
                <a:gd name="connsiteY86" fmla="*/ 8557 h 10000"/>
                <a:gd name="connsiteX87" fmla="*/ 9569 w 10000"/>
                <a:gd name="connsiteY87" fmla="*/ 8403 h 10000"/>
                <a:gd name="connsiteX88" fmla="*/ 9569 w 10000"/>
                <a:gd name="connsiteY88" fmla="*/ 8300 h 10000"/>
                <a:gd name="connsiteX89" fmla="*/ 9177 w 10000"/>
                <a:gd name="connsiteY89" fmla="*/ 8300 h 10000"/>
                <a:gd name="connsiteX90" fmla="*/ 9100 w 10000"/>
                <a:gd name="connsiteY90" fmla="*/ 8194 h 10000"/>
                <a:gd name="connsiteX91" fmla="*/ 9100 w 10000"/>
                <a:gd name="connsiteY91" fmla="*/ 8042 h 10000"/>
                <a:gd name="connsiteX92" fmla="*/ 8902 w 10000"/>
                <a:gd name="connsiteY92" fmla="*/ 7577 h 10000"/>
                <a:gd name="connsiteX93" fmla="*/ 8902 w 10000"/>
                <a:gd name="connsiteY93" fmla="*/ 7320 h 10000"/>
                <a:gd name="connsiteX94" fmla="*/ 8824 w 10000"/>
                <a:gd name="connsiteY94" fmla="*/ 7218 h 10000"/>
                <a:gd name="connsiteX95" fmla="*/ 8548 w 10000"/>
                <a:gd name="connsiteY95" fmla="*/ 6959 h 10000"/>
                <a:gd name="connsiteX96" fmla="*/ 8432 w 10000"/>
                <a:gd name="connsiteY96" fmla="*/ 6855 h 10000"/>
                <a:gd name="connsiteX97" fmla="*/ 8353 w 10000"/>
                <a:gd name="connsiteY97" fmla="*/ 6704 h 10000"/>
                <a:gd name="connsiteX98" fmla="*/ 8353 w 10000"/>
                <a:gd name="connsiteY98" fmla="*/ 6596 h 10000"/>
                <a:gd name="connsiteX99" fmla="*/ 8237 w 10000"/>
                <a:gd name="connsiteY99" fmla="*/ 6340 h 10000"/>
                <a:gd name="connsiteX100" fmla="*/ 8157 w 10000"/>
                <a:gd name="connsiteY100" fmla="*/ 6340 h 10000"/>
                <a:gd name="connsiteX101" fmla="*/ 7961 w 10000"/>
                <a:gd name="connsiteY101" fmla="*/ 6236 h 10000"/>
                <a:gd name="connsiteX102" fmla="*/ 7882 w 10000"/>
                <a:gd name="connsiteY102" fmla="*/ 6236 h 10000"/>
                <a:gd name="connsiteX103" fmla="*/ 7805 w 10000"/>
                <a:gd name="connsiteY103" fmla="*/ 6236 h 10000"/>
                <a:gd name="connsiteX104" fmla="*/ 7687 w 10000"/>
                <a:gd name="connsiteY104" fmla="*/ 6236 h 10000"/>
                <a:gd name="connsiteX105" fmla="*/ 7608 w 10000"/>
                <a:gd name="connsiteY105" fmla="*/ 6135 h 10000"/>
                <a:gd name="connsiteX106" fmla="*/ 7687 w 10000"/>
                <a:gd name="connsiteY106" fmla="*/ 5980 h 10000"/>
                <a:gd name="connsiteX107" fmla="*/ 7805 w 10000"/>
                <a:gd name="connsiteY107" fmla="*/ 5879 h 10000"/>
                <a:gd name="connsiteX108" fmla="*/ 7805 w 10000"/>
                <a:gd name="connsiteY108" fmla="*/ 5618 h 10000"/>
                <a:gd name="connsiteX109" fmla="*/ 7882 w 10000"/>
                <a:gd name="connsiteY109" fmla="*/ 5618 h 10000"/>
                <a:gd name="connsiteX110" fmla="*/ 8157 w 10000"/>
                <a:gd name="connsiteY110" fmla="*/ 5618 h 10000"/>
                <a:gd name="connsiteX111" fmla="*/ 8353 w 10000"/>
                <a:gd name="connsiteY111" fmla="*/ 5618 h 10000"/>
                <a:gd name="connsiteX112" fmla="*/ 8432 w 10000"/>
                <a:gd name="connsiteY112" fmla="*/ 5513 h 10000"/>
                <a:gd name="connsiteX113" fmla="*/ 8432 w 10000"/>
                <a:gd name="connsiteY113" fmla="*/ 5258 h 10000"/>
                <a:gd name="connsiteX114" fmla="*/ 8432 w 10000"/>
                <a:gd name="connsiteY114" fmla="*/ 4538 h 10000"/>
                <a:gd name="connsiteX115" fmla="*/ 8432 w 10000"/>
                <a:gd name="connsiteY115" fmla="*/ 4278 h 10000"/>
                <a:gd name="connsiteX116" fmla="*/ 8548 w 10000"/>
                <a:gd name="connsiteY116" fmla="*/ 4023 h 10000"/>
                <a:gd name="connsiteX117" fmla="*/ 8432 w 10000"/>
                <a:gd name="connsiteY117" fmla="*/ 3917 h 10000"/>
                <a:gd name="connsiteX118" fmla="*/ 8432 w 10000"/>
                <a:gd name="connsiteY118" fmla="*/ 3814 h 10000"/>
                <a:gd name="connsiteX119" fmla="*/ 8548 w 10000"/>
                <a:gd name="connsiteY119" fmla="*/ 3814 h 10000"/>
                <a:gd name="connsiteX120" fmla="*/ 8548 w 10000"/>
                <a:gd name="connsiteY120" fmla="*/ 3661 h 10000"/>
                <a:gd name="connsiteX121" fmla="*/ 8627 w 10000"/>
                <a:gd name="connsiteY121" fmla="*/ 3455 h 10000"/>
                <a:gd name="connsiteX122" fmla="*/ 8706 w 10000"/>
                <a:gd name="connsiteY122" fmla="*/ 3455 h 10000"/>
                <a:gd name="connsiteX123" fmla="*/ 8902 w 10000"/>
                <a:gd name="connsiteY123" fmla="*/ 3455 h 10000"/>
                <a:gd name="connsiteX124" fmla="*/ 8902 w 10000"/>
                <a:gd name="connsiteY124" fmla="*/ 3301 h 10000"/>
                <a:gd name="connsiteX125" fmla="*/ 8980 w 10000"/>
                <a:gd name="connsiteY125" fmla="*/ 2835 h 10000"/>
                <a:gd name="connsiteX126" fmla="*/ 9100 w 10000"/>
                <a:gd name="connsiteY126" fmla="*/ 2682 h 10000"/>
                <a:gd name="connsiteX127" fmla="*/ 9452 w 10000"/>
                <a:gd name="connsiteY127" fmla="*/ 1857 h 10000"/>
                <a:gd name="connsiteX128" fmla="*/ 9648 w 10000"/>
                <a:gd name="connsiteY128" fmla="*/ 1754 h 10000"/>
                <a:gd name="connsiteX129" fmla="*/ 9726 w 10000"/>
                <a:gd name="connsiteY129" fmla="*/ 1601 h 10000"/>
                <a:gd name="connsiteX130" fmla="*/ 9843 w 10000"/>
                <a:gd name="connsiteY130" fmla="*/ 1493 h 10000"/>
                <a:gd name="connsiteX131" fmla="*/ 10000 w 10000"/>
                <a:gd name="connsiteY131" fmla="*/ 519 h 10000"/>
                <a:gd name="connsiteX132" fmla="*/ 10000 w 10000"/>
                <a:gd name="connsiteY132" fmla="*/ 258 h 10000"/>
                <a:gd name="connsiteX133" fmla="*/ 10000 w 10000"/>
                <a:gd name="connsiteY133" fmla="*/ 0 h 10000"/>
                <a:gd name="connsiteX0" fmla="*/ 10000 w 10000"/>
                <a:gd name="connsiteY0" fmla="*/ 0 h 9742"/>
                <a:gd name="connsiteX1" fmla="*/ 196 w 10000"/>
                <a:gd name="connsiteY1" fmla="*/ 877 h 9742"/>
                <a:gd name="connsiteX2" fmla="*/ 117 w 10000"/>
                <a:gd name="connsiteY2" fmla="*/ 981 h 9742"/>
                <a:gd name="connsiteX3" fmla="*/ 0 w 10000"/>
                <a:gd name="connsiteY3" fmla="*/ 1085 h 9742"/>
                <a:gd name="connsiteX4" fmla="*/ 0 w 10000"/>
                <a:gd name="connsiteY4" fmla="*/ 1235 h 9742"/>
                <a:gd name="connsiteX5" fmla="*/ 0 w 10000"/>
                <a:gd name="connsiteY5" fmla="*/ 1496 h 9742"/>
                <a:gd name="connsiteX6" fmla="*/ 117 w 10000"/>
                <a:gd name="connsiteY6" fmla="*/ 1496 h 9742"/>
                <a:gd name="connsiteX7" fmla="*/ 117 w 10000"/>
                <a:gd name="connsiteY7" fmla="*/ 1496 h 9742"/>
                <a:gd name="connsiteX8" fmla="*/ 392 w 10000"/>
                <a:gd name="connsiteY8" fmla="*/ 1343 h 9742"/>
                <a:gd name="connsiteX9" fmla="*/ 274 w 10000"/>
                <a:gd name="connsiteY9" fmla="*/ 1699 h 9742"/>
                <a:gd name="connsiteX10" fmla="*/ 392 w 10000"/>
                <a:gd name="connsiteY10" fmla="*/ 1961 h 9742"/>
                <a:gd name="connsiteX11" fmla="*/ 548 w 10000"/>
                <a:gd name="connsiteY11" fmla="*/ 2424 h 9742"/>
                <a:gd name="connsiteX12" fmla="*/ 548 w 10000"/>
                <a:gd name="connsiteY12" fmla="*/ 2577 h 9742"/>
                <a:gd name="connsiteX13" fmla="*/ 667 w 10000"/>
                <a:gd name="connsiteY13" fmla="*/ 2577 h 9742"/>
                <a:gd name="connsiteX14" fmla="*/ 667 w 10000"/>
                <a:gd name="connsiteY14" fmla="*/ 2679 h 9742"/>
                <a:gd name="connsiteX15" fmla="*/ 746 w 10000"/>
                <a:gd name="connsiteY15" fmla="*/ 2785 h 9742"/>
                <a:gd name="connsiteX16" fmla="*/ 746 w 10000"/>
                <a:gd name="connsiteY16" fmla="*/ 2940 h 9742"/>
                <a:gd name="connsiteX17" fmla="*/ 548 w 10000"/>
                <a:gd name="connsiteY17" fmla="*/ 3043 h 9742"/>
                <a:gd name="connsiteX18" fmla="*/ 746 w 10000"/>
                <a:gd name="connsiteY18" fmla="*/ 3197 h 9742"/>
                <a:gd name="connsiteX19" fmla="*/ 941 w 10000"/>
                <a:gd name="connsiteY19" fmla="*/ 3556 h 9742"/>
                <a:gd name="connsiteX20" fmla="*/ 1137 w 10000"/>
                <a:gd name="connsiteY20" fmla="*/ 3915 h 9742"/>
                <a:gd name="connsiteX21" fmla="*/ 1215 w 10000"/>
                <a:gd name="connsiteY21" fmla="*/ 4125 h 9742"/>
                <a:gd name="connsiteX22" fmla="*/ 1137 w 10000"/>
                <a:gd name="connsiteY22" fmla="*/ 4381 h 9742"/>
                <a:gd name="connsiteX23" fmla="*/ 1137 w 10000"/>
                <a:gd name="connsiteY23" fmla="*/ 4743 h 9742"/>
                <a:gd name="connsiteX24" fmla="*/ 1137 w 10000"/>
                <a:gd name="connsiteY24" fmla="*/ 4899 h 9742"/>
                <a:gd name="connsiteX25" fmla="*/ 1295 w 10000"/>
                <a:gd name="connsiteY25" fmla="*/ 5104 h 9742"/>
                <a:gd name="connsiteX26" fmla="*/ 1411 w 10000"/>
                <a:gd name="connsiteY26" fmla="*/ 5104 h 9742"/>
                <a:gd name="connsiteX27" fmla="*/ 1569 w 10000"/>
                <a:gd name="connsiteY27" fmla="*/ 5104 h 9742"/>
                <a:gd name="connsiteX28" fmla="*/ 1686 w 10000"/>
                <a:gd name="connsiteY28" fmla="*/ 5360 h 9742"/>
                <a:gd name="connsiteX29" fmla="*/ 1765 w 10000"/>
                <a:gd name="connsiteY29" fmla="*/ 5464 h 9742"/>
                <a:gd name="connsiteX30" fmla="*/ 2040 w 10000"/>
                <a:gd name="connsiteY30" fmla="*/ 5464 h 9742"/>
                <a:gd name="connsiteX31" fmla="*/ 2158 w 10000"/>
                <a:gd name="connsiteY31" fmla="*/ 5621 h 9742"/>
                <a:gd name="connsiteX32" fmla="*/ 2235 w 10000"/>
                <a:gd name="connsiteY32" fmla="*/ 5722 h 9742"/>
                <a:gd name="connsiteX33" fmla="*/ 2314 w 10000"/>
                <a:gd name="connsiteY33" fmla="*/ 5722 h 9742"/>
                <a:gd name="connsiteX34" fmla="*/ 2235 w 10000"/>
                <a:gd name="connsiteY34" fmla="*/ 5978 h 9742"/>
                <a:gd name="connsiteX35" fmla="*/ 2314 w 10000"/>
                <a:gd name="connsiteY35" fmla="*/ 6082 h 9742"/>
                <a:gd name="connsiteX36" fmla="*/ 2589 w 10000"/>
                <a:gd name="connsiteY36" fmla="*/ 6338 h 9742"/>
                <a:gd name="connsiteX37" fmla="*/ 2784 w 10000"/>
                <a:gd name="connsiteY37" fmla="*/ 6597 h 9742"/>
                <a:gd name="connsiteX38" fmla="*/ 2863 w 10000"/>
                <a:gd name="connsiteY38" fmla="*/ 6701 h 9742"/>
                <a:gd name="connsiteX39" fmla="*/ 3058 w 10000"/>
                <a:gd name="connsiteY39" fmla="*/ 6806 h 9742"/>
                <a:gd name="connsiteX40" fmla="*/ 3058 w 10000"/>
                <a:gd name="connsiteY40" fmla="*/ 6960 h 9742"/>
                <a:gd name="connsiteX41" fmla="*/ 3177 w 10000"/>
                <a:gd name="connsiteY41" fmla="*/ 7218 h 9742"/>
                <a:gd name="connsiteX42" fmla="*/ 3255 w 10000"/>
                <a:gd name="connsiteY42" fmla="*/ 7319 h 9742"/>
                <a:gd name="connsiteX43" fmla="*/ 3255 w 10000"/>
                <a:gd name="connsiteY43" fmla="*/ 7422 h 9742"/>
                <a:gd name="connsiteX44" fmla="*/ 3333 w 10000"/>
                <a:gd name="connsiteY44" fmla="*/ 7579 h 9742"/>
                <a:gd name="connsiteX45" fmla="*/ 3725 w 10000"/>
                <a:gd name="connsiteY45" fmla="*/ 7784 h 9742"/>
                <a:gd name="connsiteX46" fmla="*/ 3804 w 10000"/>
                <a:gd name="connsiteY46" fmla="*/ 8042 h 9742"/>
                <a:gd name="connsiteX47" fmla="*/ 3804 w 10000"/>
                <a:gd name="connsiteY47" fmla="*/ 8145 h 9742"/>
                <a:gd name="connsiteX48" fmla="*/ 3883 w 10000"/>
                <a:gd name="connsiteY48" fmla="*/ 8299 h 9742"/>
                <a:gd name="connsiteX49" fmla="*/ 4001 w 10000"/>
                <a:gd name="connsiteY49" fmla="*/ 8400 h 9742"/>
                <a:gd name="connsiteX50" fmla="*/ 4196 w 10000"/>
                <a:gd name="connsiteY50" fmla="*/ 8658 h 9742"/>
                <a:gd name="connsiteX51" fmla="*/ 4196 w 10000"/>
                <a:gd name="connsiteY51" fmla="*/ 8763 h 9742"/>
                <a:gd name="connsiteX52" fmla="*/ 4276 w 10000"/>
                <a:gd name="connsiteY52" fmla="*/ 8918 h 9742"/>
                <a:gd name="connsiteX53" fmla="*/ 4550 w 10000"/>
                <a:gd name="connsiteY53" fmla="*/ 9019 h 9742"/>
                <a:gd name="connsiteX54" fmla="*/ 4628 w 10000"/>
                <a:gd name="connsiteY54" fmla="*/ 9019 h 9742"/>
                <a:gd name="connsiteX55" fmla="*/ 4745 w 10000"/>
                <a:gd name="connsiteY55" fmla="*/ 8918 h 9742"/>
                <a:gd name="connsiteX56" fmla="*/ 5019 w 10000"/>
                <a:gd name="connsiteY56" fmla="*/ 9019 h 9742"/>
                <a:gd name="connsiteX57" fmla="*/ 5215 w 10000"/>
                <a:gd name="connsiteY57" fmla="*/ 8918 h 9742"/>
                <a:gd name="connsiteX58" fmla="*/ 5372 w 10000"/>
                <a:gd name="connsiteY58" fmla="*/ 8763 h 9742"/>
                <a:gd name="connsiteX59" fmla="*/ 5491 w 10000"/>
                <a:gd name="connsiteY59" fmla="*/ 8918 h 9742"/>
                <a:gd name="connsiteX60" fmla="*/ 5844 w 10000"/>
                <a:gd name="connsiteY60" fmla="*/ 9278 h 9742"/>
                <a:gd name="connsiteX61" fmla="*/ 5922 w 10000"/>
                <a:gd name="connsiteY61" fmla="*/ 9485 h 9742"/>
                <a:gd name="connsiteX62" fmla="*/ 6039 w 10000"/>
                <a:gd name="connsiteY62" fmla="*/ 9639 h 9742"/>
                <a:gd name="connsiteX63" fmla="*/ 6119 w 10000"/>
                <a:gd name="connsiteY63" fmla="*/ 9639 h 9742"/>
                <a:gd name="connsiteX64" fmla="*/ 6197 w 10000"/>
                <a:gd name="connsiteY64" fmla="*/ 9639 h 9742"/>
                <a:gd name="connsiteX65" fmla="*/ 6313 w 10000"/>
                <a:gd name="connsiteY65" fmla="*/ 9639 h 9742"/>
                <a:gd name="connsiteX66" fmla="*/ 6510 w 10000"/>
                <a:gd name="connsiteY66" fmla="*/ 9639 h 9742"/>
                <a:gd name="connsiteX67" fmla="*/ 6588 w 10000"/>
                <a:gd name="connsiteY67" fmla="*/ 9639 h 9742"/>
                <a:gd name="connsiteX68" fmla="*/ 6785 w 10000"/>
                <a:gd name="connsiteY68" fmla="*/ 9639 h 9742"/>
                <a:gd name="connsiteX69" fmla="*/ 6863 w 10000"/>
                <a:gd name="connsiteY69" fmla="*/ 9639 h 9742"/>
                <a:gd name="connsiteX70" fmla="*/ 6942 w 10000"/>
                <a:gd name="connsiteY70" fmla="*/ 9742 h 9742"/>
                <a:gd name="connsiteX71" fmla="*/ 7137 w 10000"/>
                <a:gd name="connsiteY71" fmla="*/ 9639 h 9742"/>
                <a:gd name="connsiteX72" fmla="*/ 7334 w 10000"/>
                <a:gd name="connsiteY72" fmla="*/ 9639 h 9742"/>
                <a:gd name="connsiteX73" fmla="*/ 7530 w 10000"/>
                <a:gd name="connsiteY73" fmla="*/ 9485 h 9742"/>
                <a:gd name="connsiteX74" fmla="*/ 7687 w 10000"/>
                <a:gd name="connsiteY74" fmla="*/ 9485 h 9742"/>
                <a:gd name="connsiteX75" fmla="*/ 7961 w 10000"/>
                <a:gd name="connsiteY75" fmla="*/ 9485 h 9742"/>
                <a:gd name="connsiteX76" fmla="*/ 8237 w 10000"/>
                <a:gd name="connsiteY76" fmla="*/ 9278 h 9742"/>
                <a:gd name="connsiteX77" fmla="*/ 8237 w 10000"/>
                <a:gd name="connsiteY77" fmla="*/ 9278 h 9742"/>
                <a:gd name="connsiteX78" fmla="*/ 8237 w 10000"/>
                <a:gd name="connsiteY78" fmla="*/ 9278 h 9742"/>
                <a:gd name="connsiteX79" fmla="*/ 8548 w 10000"/>
                <a:gd name="connsiteY79" fmla="*/ 8918 h 9742"/>
                <a:gd name="connsiteX80" fmla="*/ 8627 w 10000"/>
                <a:gd name="connsiteY80" fmla="*/ 8763 h 9742"/>
                <a:gd name="connsiteX81" fmla="*/ 8824 w 10000"/>
                <a:gd name="connsiteY81" fmla="*/ 8763 h 9742"/>
                <a:gd name="connsiteX82" fmla="*/ 9177 w 10000"/>
                <a:gd name="connsiteY82" fmla="*/ 8918 h 9742"/>
                <a:gd name="connsiteX83" fmla="*/ 9374 w 10000"/>
                <a:gd name="connsiteY83" fmla="*/ 8918 h 9742"/>
                <a:gd name="connsiteX84" fmla="*/ 9569 w 10000"/>
                <a:gd name="connsiteY84" fmla="*/ 8763 h 9742"/>
                <a:gd name="connsiteX85" fmla="*/ 9569 w 10000"/>
                <a:gd name="connsiteY85" fmla="*/ 8400 h 9742"/>
                <a:gd name="connsiteX86" fmla="*/ 9648 w 10000"/>
                <a:gd name="connsiteY86" fmla="*/ 8299 h 9742"/>
                <a:gd name="connsiteX87" fmla="*/ 9569 w 10000"/>
                <a:gd name="connsiteY87" fmla="*/ 8145 h 9742"/>
                <a:gd name="connsiteX88" fmla="*/ 9569 w 10000"/>
                <a:gd name="connsiteY88" fmla="*/ 8042 h 9742"/>
                <a:gd name="connsiteX89" fmla="*/ 9177 w 10000"/>
                <a:gd name="connsiteY89" fmla="*/ 8042 h 9742"/>
                <a:gd name="connsiteX90" fmla="*/ 9100 w 10000"/>
                <a:gd name="connsiteY90" fmla="*/ 7936 h 9742"/>
                <a:gd name="connsiteX91" fmla="*/ 9100 w 10000"/>
                <a:gd name="connsiteY91" fmla="*/ 7784 h 9742"/>
                <a:gd name="connsiteX92" fmla="*/ 8902 w 10000"/>
                <a:gd name="connsiteY92" fmla="*/ 7319 h 9742"/>
                <a:gd name="connsiteX93" fmla="*/ 8902 w 10000"/>
                <a:gd name="connsiteY93" fmla="*/ 7062 h 9742"/>
                <a:gd name="connsiteX94" fmla="*/ 8824 w 10000"/>
                <a:gd name="connsiteY94" fmla="*/ 6960 h 9742"/>
                <a:gd name="connsiteX95" fmla="*/ 8548 w 10000"/>
                <a:gd name="connsiteY95" fmla="*/ 6701 h 9742"/>
                <a:gd name="connsiteX96" fmla="*/ 8432 w 10000"/>
                <a:gd name="connsiteY96" fmla="*/ 6597 h 9742"/>
                <a:gd name="connsiteX97" fmla="*/ 8353 w 10000"/>
                <a:gd name="connsiteY97" fmla="*/ 6446 h 9742"/>
                <a:gd name="connsiteX98" fmla="*/ 8353 w 10000"/>
                <a:gd name="connsiteY98" fmla="*/ 6338 h 9742"/>
                <a:gd name="connsiteX99" fmla="*/ 8237 w 10000"/>
                <a:gd name="connsiteY99" fmla="*/ 6082 h 9742"/>
                <a:gd name="connsiteX100" fmla="*/ 8157 w 10000"/>
                <a:gd name="connsiteY100" fmla="*/ 6082 h 9742"/>
                <a:gd name="connsiteX101" fmla="*/ 7961 w 10000"/>
                <a:gd name="connsiteY101" fmla="*/ 5978 h 9742"/>
                <a:gd name="connsiteX102" fmla="*/ 7882 w 10000"/>
                <a:gd name="connsiteY102" fmla="*/ 5978 h 9742"/>
                <a:gd name="connsiteX103" fmla="*/ 7805 w 10000"/>
                <a:gd name="connsiteY103" fmla="*/ 5978 h 9742"/>
                <a:gd name="connsiteX104" fmla="*/ 7687 w 10000"/>
                <a:gd name="connsiteY104" fmla="*/ 5978 h 9742"/>
                <a:gd name="connsiteX105" fmla="*/ 7608 w 10000"/>
                <a:gd name="connsiteY105" fmla="*/ 5877 h 9742"/>
                <a:gd name="connsiteX106" fmla="*/ 7687 w 10000"/>
                <a:gd name="connsiteY106" fmla="*/ 5722 h 9742"/>
                <a:gd name="connsiteX107" fmla="*/ 7805 w 10000"/>
                <a:gd name="connsiteY107" fmla="*/ 5621 h 9742"/>
                <a:gd name="connsiteX108" fmla="*/ 7805 w 10000"/>
                <a:gd name="connsiteY108" fmla="*/ 5360 h 9742"/>
                <a:gd name="connsiteX109" fmla="*/ 7882 w 10000"/>
                <a:gd name="connsiteY109" fmla="*/ 5360 h 9742"/>
                <a:gd name="connsiteX110" fmla="*/ 8157 w 10000"/>
                <a:gd name="connsiteY110" fmla="*/ 5360 h 9742"/>
                <a:gd name="connsiteX111" fmla="*/ 8353 w 10000"/>
                <a:gd name="connsiteY111" fmla="*/ 5360 h 9742"/>
                <a:gd name="connsiteX112" fmla="*/ 8432 w 10000"/>
                <a:gd name="connsiteY112" fmla="*/ 5255 h 9742"/>
                <a:gd name="connsiteX113" fmla="*/ 8432 w 10000"/>
                <a:gd name="connsiteY113" fmla="*/ 5000 h 9742"/>
                <a:gd name="connsiteX114" fmla="*/ 8432 w 10000"/>
                <a:gd name="connsiteY114" fmla="*/ 4280 h 9742"/>
                <a:gd name="connsiteX115" fmla="*/ 8432 w 10000"/>
                <a:gd name="connsiteY115" fmla="*/ 4020 h 9742"/>
                <a:gd name="connsiteX116" fmla="*/ 8548 w 10000"/>
                <a:gd name="connsiteY116" fmla="*/ 3765 h 9742"/>
                <a:gd name="connsiteX117" fmla="*/ 8432 w 10000"/>
                <a:gd name="connsiteY117" fmla="*/ 3659 h 9742"/>
                <a:gd name="connsiteX118" fmla="*/ 8432 w 10000"/>
                <a:gd name="connsiteY118" fmla="*/ 3556 h 9742"/>
                <a:gd name="connsiteX119" fmla="*/ 8548 w 10000"/>
                <a:gd name="connsiteY119" fmla="*/ 3556 h 9742"/>
                <a:gd name="connsiteX120" fmla="*/ 8548 w 10000"/>
                <a:gd name="connsiteY120" fmla="*/ 3403 h 9742"/>
                <a:gd name="connsiteX121" fmla="*/ 8627 w 10000"/>
                <a:gd name="connsiteY121" fmla="*/ 3197 h 9742"/>
                <a:gd name="connsiteX122" fmla="*/ 8706 w 10000"/>
                <a:gd name="connsiteY122" fmla="*/ 3197 h 9742"/>
                <a:gd name="connsiteX123" fmla="*/ 8902 w 10000"/>
                <a:gd name="connsiteY123" fmla="*/ 3197 h 9742"/>
                <a:gd name="connsiteX124" fmla="*/ 8902 w 10000"/>
                <a:gd name="connsiteY124" fmla="*/ 3043 h 9742"/>
                <a:gd name="connsiteX125" fmla="*/ 8980 w 10000"/>
                <a:gd name="connsiteY125" fmla="*/ 2577 h 9742"/>
                <a:gd name="connsiteX126" fmla="*/ 9100 w 10000"/>
                <a:gd name="connsiteY126" fmla="*/ 2424 h 9742"/>
                <a:gd name="connsiteX127" fmla="*/ 9452 w 10000"/>
                <a:gd name="connsiteY127" fmla="*/ 1599 h 9742"/>
                <a:gd name="connsiteX128" fmla="*/ 9648 w 10000"/>
                <a:gd name="connsiteY128" fmla="*/ 1496 h 9742"/>
                <a:gd name="connsiteX129" fmla="*/ 9726 w 10000"/>
                <a:gd name="connsiteY129" fmla="*/ 1343 h 9742"/>
                <a:gd name="connsiteX130" fmla="*/ 9843 w 10000"/>
                <a:gd name="connsiteY130" fmla="*/ 1235 h 9742"/>
                <a:gd name="connsiteX131" fmla="*/ 10000 w 10000"/>
                <a:gd name="connsiteY131" fmla="*/ 261 h 9742"/>
                <a:gd name="connsiteX132" fmla="*/ 10000 w 10000"/>
                <a:gd name="connsiteY132" fmla="*/ 0 h 9742"/>
                <a:gd name="connsiteX0" fmla="*/ 10000 w 10685"/>
                <a:gd name="connsiteY0" fmla="*/ 0 h 10000"/>
                <a:gd name="connsiteX1" fmla="*/ 196 w 10685"/>
                <a:gd name="connsiteY1" fmla="*/ 900 h 10000"/>
                <a:gd name="connsiteX2" fmla="*/ 117 w 10685"/>
                <a:gd name="connsiteY2" fmla="*/ 1007 h 10000"/>
                <a:gd name="connsiteX3" fmla="*/ 0 w 10685"/>
                <a:gd name="connsiteY3" fmla="*/ 1114 h 10000"/>
                <a:gd name="connsiteX4" fmla="*/ 0 w 10685"/>
                <a:gd name="connsiteY4" fmla="*/ 1268 h 10000"/>
                <a:gd name="connsiteX5" fmla="*/ 0 w 10685"/>
                <a:gd name="connsiteY5" fmla="*/ 1536 h 10000"/>
                <a:gd name="connsiteX6" fmla="*/ 117 w 10685"/>
                <a:gd name="connsiteY6" fmla="*/ 1536 h 10000"/>
                <a:gd name="connsiteX7" fmla="*/ 117 w 10685"/>
                <a:gd name="connsiteY7" fmla="*/ 1536 h 10000"/>
                <a:gd name="connsiteX8" fmla="*/ 392 w 10685"/>
                <a:gd name="connsiteY8" fmla="*/ 1379 h 10000"/>
                <a:gd name="connsiteX9" fmla="*/ 274 w 10685"/>
                <a:gd name="connsiteY9" fmla="*/ 1744 h 10000"/>
                <a:gd name="connsiteX10" fmla="*/ 392 w 10685"/>
                <a:gd name="connsiteY10" fmla="*/ 2013 h 10000"/>
                <a:gd name="connsiteX11" fmla="*/ 548 w 10685"/>
                <a:gd name="connsiteY11" fmla="*/ 2488 h 10000"/>
                <a:gd name="connsiteX12" fmla="*/ 548 w 10685"/>
                <a:gd name="connsiteY12" fmla="*/ 2645 h 10000"/>
                <a:gd name="connsiteX13" fmla="*/ 667 w 10685"/>
                <a:gd name="connsiteY13" fmla="*/ 2645 h 10000"/>
                <a:gd name="connsiteX14" fmla="*/ 667 w 10685"/>
                <a:gd name="connsiteY14" fmla="*/ 2750 h 10000"/>
                <a:gd name="connsiteX15" fmla="*/ 746 w 10685"/>
                <a:gd name="connsiteY15" fmla="*/ 2859 h 10000"/>
                <a:gd name="connsiteX16" fmla="*/ 746 w 10685"/>
                <a:gd name="connsiteY16" fmla="*/ 3018 h 10000"/>
                <a:gd name="connsiteX17" fmla="*/ 548 w 10685"/>
                <a:gd name="connsiteY17" fmla="*/ 3124 h 10000"/>
                <a:gd name="connsiteX18" fmla="*/ 746 w 10685"/>
                <a:gd name="connsiteY18" fmla="*/ 3282 h 10000"/>
                <a:gd name="connsiteX19" fmla="*/ 941 w 10685"/>
                <a:gd name="connsiteY19" fmla="*/ 3650 h 10000"/>
                <a:gd name="connsiteX20" fmla="*/ 1137 w 10685"/>
                <a:gd name="connsiteY20" fmla="*/ 4019 h 10000"/>
                <a:gd name="connsiteX21" fmla="*/ 1215 w 10685"/>
                <a:gd name="connsiteY21" fmla="*/ 4234 h 10000"/>
                <a:gd name="connsiteX22" fmla="*/ 1137 w 10685"/>
                <a:gd name="connsiteY22" fmla="*/ 4497 h 10000"/>
                <a:gd name="connsiteX23" fmla="*/ 1137 w 10685"/>
                <a:gd name="connsiteY23" fmla="*/ 4869 h 10000"/>
                <a:gd name="connsiteX24" fmla="*/ 1137 w 10685"/>
                <a:gd name="connsiteY24" fmla="*/ 5029 h 10000"/>
                <a:gd name="connsiteX25" fmla="*/ 1295 w 10685"/>
                <a:gd name="connsiteY25" fmla="*/ 5239 h 10000"/>
                <a:gd name="connsiteX26" fmla="*/ 1411 w 10685"/>
                <a:gd name="connsiteY26" fmla="*/ 5239 h 10000"/>
                <a:gd name="connsiteX27" fmla="*/ 1569 w 10685"/>
                <a:gd name="connsiteY27" fmla="*/ 5239 h 10000"/>
                <a:gd name="connsiteX28" fmla="*/ 1686 w 10685"/>
                <a:gd name="connsiteY28" fmla="*/ 5502 h 10000"/>
                <a:gd name="connsiteX29" fmla="*/ 1765 w 10685"/>
                <a:gd name="connsiteY29" fmla="*/ 5609 h 10000"/>
                <a:gd name="connsiteX30" fmla="*/ 2040 w 10685"/>
                <a:gd name="connsiteY30" fmla="*/ 5609 h 10000"/>
                <a:gd name="connsiteX31" fmla="*/ 2158 w 10685"/>
                <a:gd name="connsiteY31" fmla="*/ 5770 h 10000"/>
                <a:gd name="connsiteX32" fmla="*/ 2235 w 10685"/>
                <a:gd name="connsiteY32" fmla="*/ 5874 h 10000"/>
                <a:gd name="connsiteX33" fmla="*/ 2314 w 10685"/>
                <a:gd name="connsiteY33" fmla="*/ 5874 h 10000"/>
                <a:gd name="connsiteX34" fmla="*/ 2235 w 10685"/>
                <a:gd name="connsiteY34" fmla="*/ 6136 h 10000"/>
                <a:gd name="connsiteX35" fmla="*/ 2314 w 10685"/>
                <a:gd name="connsiteY35" fmla="*/ 6243 h 10000"/>
                <a:gd name="connsiteX36" fmla="*/ 2589 w 10685"/>
                <a:gd name="connsiteY36" fmla="*/ 6506 h 10000"/>
                <a:gd name="connsiteX37" fmla="*/ 2784 w 10685"/>
                <a:gd name="connsiteY37" fmla="*/ 6772 h 10000"/>
                <a:gd name="connsiteX38" fmla="*/ 2863 w 10685"/>
                <a:gd name="connsiteY38" fmla="*/ 6878 h 10000"/>
                <a:gd name="connsiteX39" fmla="*/ 3058 w 10685"/>
                <a:gd name="connsiteY39" fmla="*/ 6986 h 10000"/>
                <a:gd name="connsiteX40" fmla="*/ 3058 w 10685"/>
                <a:gd name="connsiteY40" fmla="*/ 7144 h 10000"/>
                <a:gd name="connsiteX41" fmla="*/ 3177 w 10685"/>
                <a:gd name="connsiteY41" fmla="*/ 7409 h 10000"/>
                <a:gd name="connsiteX42" fmla="*/ 3255 w 10685"/>
                <a:gd name="connsiteY42" fmla="*/ 7513 h 10000"/>
                <a:gd name="connsiteX43" fmla="*/ 3255 w 10685"/>
                <a:gd name="connsiteY43" fmla="*/ 7619 h 10000"/>
                <a:gd name="connsiteX44" fmla="*/ 3333 w 10685"/>
                <a:gd name="connsiteY44" fmla="*/ 7780 h 10000"/>
                <a:gd name="connsiteX45" fmla="*/ 3725 w 10685"/>
                <a:gd name="connsiteY45" fmla="*/ 7990 h 10000"/>
                <a:gd name="connsiteX46" fmla="*/ 3804 w 10685"/>
                <a:gd name="connsiteY46" fmla="*/ 8255 h 10000"/>
                <a:gd name="connsiteX47" fmla="*/ 3804 w 10685"/>
                <a:gd name="connsiteY47" fmla="*/ 8361 h 10000"/>
                <a:gd name="connsiteX48" fmla="*/ 3883 w 10685"/>
                <a:gd name="connsiteY48" fmla="*/ 8519 h 10000"/>
                <a:gd name="connsiteX49" fmla="*/ 4001 w 10685"/>
                <a:gd name="connsiteY49" fmla="*/ 8622 h 10000"/>
                <a:gd name="connsiteX50" fmla="*/ 4196 w 10685"/>
                <a:gd name="connsiteY50" fmla="*/ 8887 h 10000"/>
                <a:gd name="connsiteX51" fmla="*/ 4196 w 10685"/>
                <a:gd name="connsiteY51" fmla="*/ 8995 h 10000"/>
                <a:gd name="connsiteX52" fmla="*/ 4276 w 10685"/>
                <a:gd name="connsiteY52" fmla="*/ 9154 h 10000"/>
                <a:gd name="connsiteX53" fmla="*/ 4550 w 10685"/>
                <a:gd name="connsiteY53" fmla="*/ 9258 h 10000"/>
                <a:gd name="connsiteX54" fmla="*/ 4628 w 10685"/>
                <a:gd name="connsiteY54" fmla="*/ 9258 h 10000"/>
                <a:gd name="connsiteX55" fmla="*/ 4745 w 10685"/>
                <a:gd name="connsiteY55" fmla="*/ 9154 h 10000"/>
                <a:gd name="connsiteX56" fmla="*/ 5019 w 10685"/>
                <a:gd name="connsiteY56" fmla="*/ 9258 h 10000"/>
                <a:gd name="connsiteX57" fmla="*/ 5215 w 10685"/>
                <a:gd name="connsiteY57" fmla="*/ 9154 h 10000"/>
                <a:gd name="connsiteX58" fmla="*/ 5372 w 10685"/>
                <a:gd name="connsiteY58" fmla="*/ 8995 h 10000"/>
                <a:gd name="connsiteX59" fmla="*/ 5491 w 10685"/>
                <a:gd name="connsiteY59" fmla="*/ 9154 h 10000"/>
                <a:gd name="connsiteX60" fmla="*/ 5844 w 10685"/>
                <a:gd name="connsiteY60" fmla="*/ 9524 h 10000"/>
                <a:gd name="connsiteX61" fmla="*/ 5922 w 10685"/>
                <a:gd name="connsiteY61" fmla="*/ 9736 h 10000"/>
                <a:gd name="connsiteX62" fmla="*/ 6039 w 10685"/>
                <a:gd name="connsiteY62" fmla="*/ 9894 h 10000"/>
                <a:gd name="connsiteX63" fmla="*/ 6119 w 10685"/>
                <a:gd name="connsiteY63" fmla="*/ 9894 h 10000"/>
                <a:gd name="connsiteX64" fmla="*/ 6197 w 10685"/>
                <a:gd name="connsiteY64" fmla="*/ 9894 h 10000"/>
                <a:gd name="connsiteX65" fmla="*/ 6313 w 10685"/>
                <a:gd name="connsiteY65" fmla="*/ 9894 h 10000"/>
                <a:gd name="connsiteX66" fmla="*/ 6510 w 10685"/>
                <a:gd name="connsiteY66" fmla="*/ 9894 h 10000"/>
                <a:gd name="connsiteX67" fmla="*/ 6588 w 10685"/>
                <a:gd name="connsiteY67" fmla="*/ 9894 h 10000"/>
                <a:gd name="connsiteX68" fmla="*/ 6785 w 10685"/>
                <a:gd name="connsiteY68" fmla="*/ 9894 h 10000"/>
                <a:gd name="connsiteX69" fmla="*/ 6863 w 10685"/>
                <a:gd name="connsiteY69" fmla="*/ 9894 h 10000"/>
                <a:gd name="connsiteX70" fmla="*/ 6942 w 10685"/>
                <a:gd name="connsiteY70" fmla="*/ 10000 h 10000"/>
                <a:gd name="connsiteX71" fmla="*/ 7137 w 10685"/>
                <a:gd name="connsiteY71" fmla="*/ 9894 h 10000"/>
                <a:gd name="connsiteX72" fmla="*/ 7334 w 10685"/>
                <a:gd name="connsiteY72" fmla="*/ 9894 h 10000"/>
                <a:gd name="connsiteX73" fmla="*/ 7530 w 10685"/>
                <a:gd name="connsiteY73" fmla="*/ 9736 h 10000"/>
                <a:gd name="connsiteX74" fmla="*/ 7687 w 10685"/>
                <a:gd name="connsiteY74" fmla="*/ 9736 h 10000"/>
                <a:gd name="connsiteX75" fmla="*/ 7961 w 10685"/>
                <a:gd name="connsiteY75" fmla="*/ 9736 h 10000"/>
                <a:gd name="connsiteX76" fmla="*/ 8237 w 10685"/>
                <a:gd name="connsiteY76" fmla="*/ 9524 h 10000"/>
                <a:gd name="connsiteX77" fmla="*/ 8237 w 10685"/>
                <a:gd name="connsiteY77" fmla="*/ 9524 h 10000"/>
                <a:gd name="connsiteX78" fmla="*/ 8237 w 10685"/>
                <a:gd name="connsiteY78" fmla="*/ 9524 h 10000"/>
                <a:gd name="connsiteX79" fmla="*/ 8548 w 10685"/>
                <a:gd name="connsiteY79" fmla="*/ 9154 h 10000"/>
                <a:gd name="connsiteX80" fmla="*/ 8627 w 10685"/>
                <a:gd name="connsiteY80" fmla="*/ 8995 h 10000"/>
                <a:gd name="connsiteX81" fmla="*/ 8824 w 10685"/>
                <a:gd name="connsiteY81" fmla="*/ 8995 h 10000"/>
                <a:gd name="connsiteX82" fmla="*/ 9177 w 10685"/>
                <a:gd name="connsiteY82" fmla="*/ 9154 h 10000"/>
                <a:gd name="connsiteX83" fmla="*/ 9374 w 10685"/>
                <a:gd name="connsiteY83" fmla="*/ 9154 h 10000"/>
                <a:gd name="connsiteX84" fmla="*/ 9569 w 10685"/>
                <a:gd name="connsiteY84" fmla="*/ 8995 h 10000"/>
                <a:gd name="connsiteX85" fmla="*/ 9569 w 10685"/>
                <a:gd name="connsiteY85" fmla="*/ 8622 h 10000"/>
                <a:gd name="connsiteX86" fmla="*/ 9648 w 10685"/>
                <a:gd name="connsiteY86" fmla="*/ 8519 h 10000"/>
                <a:gd name="connsiteX87" fmla="*/ 9569 w 10685"/>
                <a:gd name="connsiteY87" fmla="*/ 8361 h 10000"/>
                <a:gd name="connsiteX88" fmla="*/ 9569 w 10685"/>
                <a:gd name="connsiteY88" fmla="*/ 8255 h 10000"/>
                <a:gd name="connsiteX89" fmla="*/ 9177 w 10685"/>
                <a:gd name="connsiteY89" fmla="*/ 8255 h 10000"/>
                <a:gd name="connsiteX90" fmla="*/ 9100 w 10685"/>
                <a:gd name="connsiteY90" fmla="*/ 8146 h 10000"/>
                <a:gd name="connsiteX91" fmla="*/ 9100 w 10685"/>
                <a:gd name="connsiteY91" fmla="*/ 7990 h 10000"/>
                <a:gd name="connsiteX92" fmla="*/ 8902 w 10685"/>
                <a:gd name="connsiteY92" fmla="*/ 7513 h 10000"/>
                <a:gd name="connsiteX93" fmla="*/ 8902 w 10685"/>
                <a:gd name="connsiteY93" fmla="*/ 7249 h 10000"/>
                <a:gd name="connsiteX94" fmla="*/ 8824 w 10685"/>
                <a:gd name="connsiteY94" fmla="*/ 7144 h 10000"/>
                <a:gd name="connsiteX95" fmla="*/ 8548 w 10685"/>
                <a:gd name="connsiteY95" fmla="*/ 6878 h 10000"/>
                <a:gd name="connsiteX96" fmla="*/ 8432 w 10685"/>
                <a:gd name="connsiteY96" fmla="*/ 6772 h 10000"/>
                <a:gd name="connsiteX97" fmla="*/ 8353 w 10685"/>
                <a:gd name="connsiteY97" fmla="*/ 6617 h 10000"/>
                <a:gd name="connsiteX98" fmla="*/ 8353 w 10685"/>
                <a:gd name="connsiteY98" fmla="*/ 6506 h 10000"/>
                <a:gd name="connsiteX99" fmla="*/ 8237 w 10685"/>
                <a:gd name="connsiteY99" fmla="*/ 6243 h 10000"/>
                <a:gd name="connsiteX100" fmla="*/ 8157 w 10685"/>
                <a:gd name="connsiteY100" fmla="*/ 6243 h 10000"/>
                <a:gd name="connsiteX101" fmla="*/ 7961 w 10685"/>
                <a:gd name="connsiteY101" fmla="*/ 6136 h 10000"/>
                <a:gd name="connsiteX102" fmla="*/ 7882 w 10685"/>
                <a:gd name="connsiteY102" fmla="*/ 6136 h 10000"/>
                <a:gd name="connsiteX103" fmla="*/ 7805 w 10685"/>
                <a:gd name="connsiteY103" fmla="*/ 6136 h 10000"/>
                <a:gd name="connsiteX104" fmla="*/ 7687 w 10685"/>
                <a:gd name="connsiteY104" fmla="*/ 6136 h 10000"/>
                <a:gd name="connsiteX105" fmla="*/ 7608 w 10685"/>
                <a:gd name="connsiteY105" fmla="*/ 6033 h 10000"/>
                <a:gd name="connsiteX106" fmla="*/ 7687 w 10685"/>
                <a:gd name="connsiteY106" fmla="*/ 5874 h 10000"/>
                <a:gd name="connsiteX107" fmla="*/ 7805 w 10685"/>
                <a:gd name="connsiteY107" fmla="*/ 5770 h 10000"/>
                <a:gd name="connsiteX108" fmla="*/ 7805 w 10685"/>
                <a:gd name="connsiteY108" fmla="*/ 5502 h 10000"/>
                <a:gd name="connsiteX109" fmla="*/ 7882 w 10685"/>
                <a:gd name="connsiteY109" fmla="*/ 5502 h 10000"/>
                <a:gd name="connsiteX110" fmla="*/ 8157 w 10685"/>
                <a:gd name="connsiteY110" fmla="*/ 5502 h 10000"/>
                <a:gd name="connsiteX111" fmla="*/ 8353 w 10685"/>
                <a:gd name="connsiteY111" fmla="*/ 5502 h 10000"/>
                <a:gd name="connsiteX112" fmla="*/ 8432 w 10685"/>
                <a:gd name="connsiteY112" fmla="*/ 5394 h 10000"/>
                <a:gd name="connsiteX113" fmla="*/ 8432 w 10685"/>
                <a:gd name="connsiteY113" fmla="*/ 5132 h 10000"/>
                <a:gd name="connsiteX114" fmla="*/ 8432 w 10685"/>
                <a:gd name="connsiteY114" fmla="*/ 4393 h 10000"/>
                <a:gd name="connsiteX115" fmla="*/ 8432 w 10685"/>
                <a:gd name="connsiteY115" fmla="*/ 4126 h 10000"/>
                <a:gd name="connsiteX116" fmla="*/ 8548 w 10685"/>
                <a:gd name="connsiteY116" fmla="*/ 3865 h 10000"/>
                <a:gd name="connsiteX117" fmla="*/ 8432 w 10685"/>
                <a:gd name="connsiteY117" fmla="*/ 3756 h 10000"/>
                <a:gd name="connsiteX118" fmla="*/ 8432 w 10685"/>
                <a:gd name="connsiteY118" fmla="*/ 3650 h 10000"/>
                <a:gd name="connsiteX119" fmla="*/ 8548 w 10685"/>
                <a:gd name="connsiteY119" fmla="*/ 3650 h 10000"/>
                <a:gd name="connsiteX120" fmla="*/ 8548 w 10685"/>
                <a:gd name="connsiteY120" fmla="*/ 3493 h 10000"/>
                <a:gd name="connsiteX121" fmla="*/ 8627 w 10685"/>
                <a:gd name="connsiteY121" fmla="*/ 3282 h 10000"/>
                <a:gd name="connsiteX122" fmla="*/ 8706 w 10685"/>
                <a:gd name="connsiteY122" fmla="*/ 3282 h 10000"/>
                <a:gd name="connsiteX123" fmla="*/ 8902 w 10685"/>
                <a:gd name="connsiteY123" fmla="*/ 3282 h 10000"/>
                <a:gd name="connsiteX124" fmla="*/ 8902 w 10685"/>
                <a:gd name="connsiteY124" fmla="*/ 3124 h 10000"/>
                <a:gd name="connsiteX125" fmla="*/ 8980 w 10685"/>
                <a:gd name="connsiteY125" fmla="*/ 2645 h 10000"/>
                <a:gd name="connsiteX126" fmla="*/ 9100 w 10685"/>
                <a:gd name="connsiteY126" fmla="*/ 2488 h 10000"/>
                <a:gd name="connsiteX127" fmla="*/ 9452 w 10685"/>
                <a:gd name="connsiteY127" fmla="*/ 1641 h 10000"/>
                <a:gd name="connsiteX128" fmla="*/ 9648 w 10685"/>
                <a:gd name="connsiteY128" fmla="*/ 1536 h 10000"/>
                <a:gd name="connsiteX129" fmla="*/ 9726 w 10685"/>
                <a:gd name="connsiteY129" fmla="*/ 1379 h 10000"/>
                <a:gd name="connsiteX130" fmla="*/ 9843 w 10685"/>
                <a:gd name="connsiteY130" fmla="*/ 1268 h 10000"/>
                <a:gd name="connsiteX131" fmla="*/ 10000 w 10685"/>
                <a:gd name="connsiteY131" fmla="*/ 0 h 10000"/>
                <a:gd name="connsiteX0" fmla="*/ 9843 w 9843"/>
                <a:gd name="connsiteY0" fmla="*/ 368 h 9100"/>
                <a:gd name="connsiteX1" fmla="*/ 196 w 9843"/>
                <a:gd name="connsiteY1" fmla="*/ 0 h 9100"/>
                <a:gd name="connsiteX2" fmla="*/ 117 w 9843"/>
                <a:gd name="connsiteY2" fmla="*/ 107 h 9100"/>
                <a:gd name="connsiteX3" fmla="*/ 0 w 9843"/>
                <a:gd name="connsiteY3" fmla="*/ 214 h 9100"/>
                <a:gd name="connsiteX4" fmla="*/ 0 w 9843"/>
                <a:gd name="connsiteY4" fmla="*/ 368 h 9100"/>
                <a:gd name="connsiteX5" fmla="*/ 0 w 9843"/>
                <a:gd name="connsiteY5" fmla="*/ 636 h 9100"/>
                <a:gd name="connsiteX6" fmla="*/ 117 w 9843"/>
                <a:gd name="connsiteY6" fmla="*/ 636 h 9100"/>
                <a:gd name="connsiteX7" fmla="*/ 117 w 9843"/>
                <a:gd name="connsiteY7" fmla="*/ 636 h 9100"/>
                <a:gd name="connsiteX8" fmla="*/ 392 w 9843"/>
                <a:gd name="connsiteY8" fmla="*/ 479 h 9100"/>
                <a:gd name="connsiteX9" fmla="*/ 274 w 9843"/>
                <a:gd name="connsiteY9" fmla="*/ 844 h 9100"/>
                <a:gd name="connsiteX10" fmla="*/ 392 w 9843"/>
                <a:gd name="connsiteY10" fmla="*/ 1113 h 9100"/>
                <a:gd name="connsiteX11" fmla="*/ 548 w 9843"/>
                <a:gd name="connsiteY11" fmla="*/ 1588 h 9100"/>
                <a:gd name="connsiteX12" fmla="*/ 548 w 9843"/>
                <a:gd name="connsiteY12" fmla="*/ 1745 h 9100"/>
                <a:gd name="connsiteX13" fmla="*/ 667 w 9843"/>
                <a:gd name="connsiteY13" fmla="*/ 1745 h 9100"/>
                <a:gd name="connsiteX14" fmla="*/ 667 w 9843"/>
                <a:gd name="connsiteY14" fmla="*/ 1850 h 9100"/>
                <a:gd name="connsiteX15" fmla="*/ 746 w 9843"/>
                <a:gd name="connsiteY15" fmla="*/ 1959 h 9100"/>
                <a:gd name="connsiteX16" fmla="*/ 746 w 9843"/>
                <a:gd name="connsiteY16" fmla="*/ 2118 h 9100"/>
                <a:gd name="connsiteX17" fmla="*/ 548 w 9843"/>
                <a:gd name="connsiteY17" fmla="*/ 2224 h 9100"/>
                <a:gd name="connsiteX18" fmla="*/ 746 w 9843"/>
                <a:gd name="connsiteY18" fmla="*/ 2382 h 9100"/>
                <a:gd name="connsiteX19" fmla="*/ 941 w 9843"/>
                <a:gd name="connsiteY19" fmla="*/ 2750 h 9100"/>
                <a:gd name="connsiteX20" fmla="*/ 1137 w 9843"/>
                <a:gd name="connsiteY20" fmla="*/ 3119 h 9100"/>
                <a:gd name="connsiteX21" fmla="*/ 1215 w 9843"/>
                <a:gd name="connsiteY21" fmla="*/ 3334 h 9100"/>
                <a:gd name="connsiteX22" fmla="*/ 1137 w 9843"/>
                <a:gd name="connsiteY22" fmla="*/ 3597 h 9100"/>
                <a:gd name="connsiteX23" fmla="*/ 1137 w 9843"/>
                <a:gd name="connsiteY23" fmla="*/ 3969 h 9100"/>
                <a:gd name="connsiteX24" fmla="*/ 1137 w 9843"/>
                <a:gd name="connsiteY24" fmla="*/ 4129 h 9100"/>
                <a:gd name="connsiteX25" fmla="*/ 1295 w 9843"/>
                <a:gd name="connsiteY25" fmla="*/ 4339 h 9100"/>
                <a:gd name="connsiteX26" fmla="*/ 1411 w 9843"/>
                <a:gd name="connsiteY26" fmla="*/ 4339 h 9100"/>
                <a:gd name="connsiteX27" fmla="*/ 1569 w 9843"/>
                <a:gd name="connsiteY27" fmla="*/ 4339 h 9100"/>
                <a:gd name="connsiteX28" fmla="*/ 1686 w 9843"/>
                <a:gd name="connsiteY28" fmla="*/ 4602 h 9100"/>
                <a:gd name="connsiteX29" fmla="*/ 1765 w 9843"/>
                <a:gd name="connsiteY29" fmla="*/ 4709 h 9100"/>
                <a:gd name="connsiteX30" fmla="*/ 2040 w 9843"/>
                <a:gd name="connsiteY30" fmla="*/ 4709 h 9100"/>
                <a:gd name="connsiteX31" fmla="*/ 2158 w 9843"/>
                <a:gd name="connsiteY31" fmla="*/ 4870 h 9100"/>
                <a:gd name="connsiteX32" fmla="*/ 2235 w 9843"/>
                <a:gd name="connsiteY32" fmla="*/ 4974 h 9100"/>
                <a:gd name="connsiteX33" fmla="*/ 2314 w 9843"/>
                <a:gd name="connsiteY33" fmla="*/ 4974 h 9100"/>
                <a:gd name="connsiteX34" fmla="*/ 2235 w 9843"/>
                <a:gd name="connsiteY34" fmla="*/ 5236 h 9100"/>
                <a:gd name="connsiteX35" fmla="*/ 2314 w 9843"/>
                <a:gd name="connsiteY35" fmla="*/ 5343 h 9100"/>
                <a:gd name="connsiteX36" fmla="*/ 2589 w 9843"/>
                <a:gd name="connsiteY36" fmla="*/ 5606 h 9100"/>
                <a:gd name="connsiteX37" fmla="*/ 2784 w 9843"/>
                <a:gd name="connsiteY37" fmla="*/ 5872 h 9100"/>
                <a:gd name="connsiteX38" fmla="*/ 2863 w 9843"/>
                <a:gd name="connsiteY38" fmla="*/ 5978 h 9100"/>
                <a:gd name="connsiteX39" fmla="*/ 3058 w 9843"/>
                <a:gd name="connsiteY39" fmla="*/ 6086 h 9100"/>
                <a:gd name="connsiteX40" fmla="*/ 3058 w 9843"/>
                <a:gd name="connsiteY40" fmla="*/ 6244 h 9100"/>
                <a:gd name="connsiteX41" fmla="*/ 3177 w 9843"/>
                <a:gd name="connsiteY41" fmla="*/ 6509 h 9100"/>
                <a:gd name="connsiteX42" fmla="*/ 3255 w 9843"/>
                <a:gd name="connsiteY42" fmla="*/ 6613 h 9100"/>
                <a:gd name="connsiteX43" fmla="*/ 3255 w 9843"/>
                <a:gd name="connsiteY43" fmla="*/ 6719 h 9100"/>
                <a:gd name="connsiteX44" fmla="*/ 3333 w 9843"/>
                <a:gd name="connsiteY44" fmla="*/ 6880 h 9100"/>
                <a:gd name="connsiteX45" fmla="*/ 3725 w 9843"/>
                <a:gd name="connsiteY45" fmla="*/ 7090 h 9100"/>
                <a:gd name="connsiteX46" fmla="*/ 3804 w 9843"/>
                <a:gd name="connsiteY46" fmla="*/ 7355 h 9100"/>
                <a:gd name="connsiteX47" fmla="*/ 3804 w 9843"/>
                <a:gd name="connsiteY47" fmla="*/ 7461 h 9100"/>
                <a:gd name="connsiteX48" fmla="*/ 3883 w 9843"/>
                <a:gd name="connsiteY48" fmla="*/ 7619 h 9100"/>
                <a:gd name="connsiteX49" fmla="*/ 4001 w 9843"/>
                <a:gd name="connsiteY49" fmla="*/ 7722 h 9100"/>
                <a:gd name="connsiteX50" fmla="*/ 4196 w 9843"/>
                <a:gd name="connsiteY50" fmla="*/ 7987 h 9100"/>
                <a:gd name="connsiteX51" fmla="*/ 4196 w 9843"/>
                <a:gd name="connsiteY51" fmla="*/ 8095 h 9100"/>
                <a:gd name="connsiteX52" fmla="*/ 4276 w 9843"/>
                <a:gd name="connsiteY52" fmla="*/ 8254 h 9100"/>
                <a:gd name="connsiteX53" fmla="*/ 4550 w 9843"/>
                <a:gd name="connsiteY53" fmla="*/ 8358 h 9100"/>
                <a:gd name="connsiteX54" fmla="*/ 4628 w 9843"/>
                <a:gd name="connsiteY54" fmla="*/ 8358 h 9100"/>
                <a:gd name="connsiteX55" fmla="*/ 4745 w 9843"/>
                <a:gd name="connsiteY55" fmla="*/ 8254 h 9100"/>
                <a:gd name="connsiteX56" fmla="*/ 5019 w 9843"/>
                <a:gd name="connsiteY56" fmla="*/ 8358 h 9100"/>
                <a:gd name="connsiteX57" fmla="*/ 5215 w 9843"/>
                <a:gd name="connsiteY57" fmla="*/ 8254 h 9100"/>
                <a:gd name="connsiteX58" fmla="*/ 5372 w 9843"/>
                <a:gd name="connsiteY58" fmla="*/ 8095 h 9100"/>
                <a:gd name="connsiteX59" fmla="*/ 5491 w 9843"/>
                <a:gd name="connsiteY59" fmla="*/ 8254 h 9100"/>
                <a:gd name="connsiteX60" fmla="*/ 5844 w 9843"/>
                <a:gd name="connsiteY60" fmla="*/ 8624 h 9100"/>
                <a:gd name="connsiteX61" fmla="*/ 5922 w 9843"/>
                <a:gd name="connsiteY61" fmla="*/ 8836 h 9100"/>
                <a:gd name="connsiteX62" fmla="*/ 6039 w 9843"/>
                <a:gd name="connsiteY62" fmla="*/ 8994 h 9100"/>
                <a:gd name="connsiteX63" fmla="*/ 6119 w 9843"/>
                <a:gd name="connsiteY63" fmla="*/ 8994 h 9100"/>
                <a:gd name="connsiteX64" fmla="*/ 6197 w 9843"/>
                <a:gd name="connsiteY64" fmla="*/ 8994 h 9100"/>
                <a:gd name="connsiteX65" fmla="*/ 6313 w 9843"/>
                <a:gd name="connsiteY65" fmla="*/ 8994 h 9100"/>
                <a:gd name="connsiteX66" fmla="*/ 6510 w 9843"/>
                <a:gd name="connsiteY66" fmla="*/ 8994 h 9100"/>
                <a:gd name="connsiteX67" fmla="*/ 6588 w 9843"/>
                <a:gd name="connsiteY67" fmla="*/ 8994 h 9100"/>
                <a:gd name="connsiteX68" fmla="*/ 6785 w 9843"/>
                <a:gd name="connsiteY68" fmla="*/ 8994 h 9100"/>
                <a:gd name="connsiteX69" fmla="*/ 6863 w 9843"/>
                <a:gd name="connsiteY69" fmla="*/ 8994 h 9100"/>
                <a:gd name="connsiteX70" fmla="*/ 6942 w 9843"/>
                <a:gd name="connsiteY70" fmla="*/ 9100 h 9100"/>
                <a:gd name="connsiteX71" fmla="*/ 7137 w 9843"/>
                <a:gd name="connsiteY71" fmla="*/ 8994 h 9100"/>
                <a:gd name="connsiteX72" fmla="*/ 7334 w 9843"/>
                <a:gd name="connsiteY72" fmla="*/ 8994 h 9100"/>
                <a:gd name="connsiteX73" fmla="*/ 7530 w 9843"/>
                <a:gd name="connsiteY73" fmla="*/ 8836 h 9100"/>
                <a:gd name="connsiteX74" fmla="*/ 7687 w 9843"/>
                <a:gd name="connsiteY74" fmla="*/ 8836 h 9100"/>
                <a:gd name="connsiteX75" fmla="*/ 7961 w 9843"/>
                <a:gd name="connsiteY75" fmla="*/ 8836 h 9100"/>
                <a:gd name="connsiteX76" fmla="*/ 8237 w 9843"/>
                <a:gd name="connsiteY76" fmla="*/ 8624 h 9100"/>
                <a:gd name="connsiteX77" fmla="*/ 8237 w 9843"/>
                <a:gd name="connsiteY77" fmla="*/ 8624 h 9100"/>
                <a:gd name="connsiteX78" fmla="*/ 8237 w 9843"/>
                <a:gd name="connsiteY78" fmla="*/ 8624 h 9100"/>
                <a:gd name="connsiteX79" fmla="*/ 8548 w 9843"/>
                <a:gd name="connsiteY79" fmla="*/ 8254 h 9100"/>
                <a:gd name="connsiteX80" fmla="*/ 8627 w 9843"/>
                <a:gd name="connsiteY80" fmla="*/ 8095 h 9100"/>
                <a:gd name="connsiteX81" fmla="*/ 8824 w 9843"/>
                <a:gd name="connsiteY81" fmla="*/ 8095 h 9100"/>
                <a:gd name="connsiteX82" fmla="*/ 9177 w 9843"/>
                <a:gd name="connsiteY82" fmla="*/ 8254 h 9100"/>
                <a:gd name="connsiteX83" fmla="*/ 9374 w 9843"/>
                <a:gd name="connsiteY83" fmla="*/ 8254 h 9100"/>
                <a:gd name="connsiteX84" fmla="*/ 9569 w 9843"/>
                <a:gd name="connsiteY84" fmla="*/ 8095 h 9100"/>
                <a:gd name="connsiteX85" fmla="*/ 9569 w 9843"/>
                <a:gd name="connsiteY85" fmla="*/ 7722 h 9100"/>
                <a:gd name="connsiteX86" fmla="*/ 9648 w 9843"/>
                <a:gd name="connsiteY86" fmla="*/ 7619 h 9100"/>
                <a:gd name="connsiteX87" fmla="*/ 9569 w 9843"/>
                <a:gd name="connsiteY87" fmla="*/ 7461 h 9100"/>
                <a:gd name="connsiteX88" fmla="*/ 9569 w 9843"/>
                <a:gd name="connsiteY88" fmla="*/ 7355 h 9100"/>
                <a:gd name="connsiteX89" fmla="*/ 9177 w 9843"/>
                <a:gd name="connsiteY89" fmla="*/ 7355 h 9100"/>
                <a:gd name="connsiteX90" fmla="*/ 9100 w 9843"/>
                <a:gd name="connsiteY90" fmla="*/ 7246 h 9100"/>
                <a:gd name="connsiteX91" fmla="*/ 9100 w 9843"/>
                <a:gd name="connsiteY91" fmla="*/ 7090 h 9100"/>
                <a:gd name="connsiteX92" fmla="*/ 8902 w 9843"/>
                <a:gd name="connsiteY92" fmla="*/ 6613 h 9100"/>
                <a:gd name="connsiteX93" fmla="*/ 8902 w 9843"/>
                <a:gd name="connsiteY93" fmla="*/ 6349 h 9100"/>
                <a:gd name="connsiteX94" fmla="*/ 8824 w 9843"/>
                <a:gd name="connsiteY94" fmla="*/ 6244 h 9100"/>
                <a:gd name="connsiteX95" fmla="*/ 8548 w 9843"/>
                <a:gd name="connsiteY95" fmla="*/ 5978 h 9100"/>
                <a:gd name="connsiteX96" fmla="*/ 8432 w 9843"/>
                <a:gd name="connsiteY96" fmla="*/ 5872 h 9100"/>
                <a:gd name="connsiteX97" fmla="*/ 8353 w 9843"/>
                <a:gd name="connsiteY97" fmla="*/ 5717 h 9100"/>
                <a:gd name="connsiteX98" fmla="*/ 8353 w 9843"/>
                <a:gd name="connsiteY98" fmla="*/ 5606 h 9100"/>
                <a:gd name="connsiteX99" fmla="*/ 8237 w 9843"/>
                <a:gd name="connsiteY99" fmla="*/ 5343 h 9100"/>
                <a:gd name="connsiteX100" fmla="*/ 8157 w 9843"/>
                <a:gd name="connsiteY100" fmla="*/ 5343 h 9100"/>
                <a:gd name="connsiteX101" fmla="*/ 7961 w 9843"/>
                <a:gd name="connsiteY101" fmla="*/ 5236 h 9100"/>
                <a:gd name="connsiteX102" fmla="*/ 7882 w 9843"/>
                <a:gd name="connsiteY102" fmla="*/ 5236 h 9100"/>
                <a:gd name="connsiteX103" fmla="*/ 7805 w 9843"/>
                <a:gd name="connsiteY103" fmla="*/ 5236 h 9100"/>
                <a:gd name="connsiteX104" fmla="*/ 7687 w 9843"/>
                <a:gd name="connsiteY104" fmla="*/ 5236 h 9100"/>
                <a:gd name="connsiteX105" fmla="*/ 7608 w 9843"/>
                <a:gd name="connsiteY105" fmla="*/ 5133 h 9100"/>
                <a:gd name="connsiteX106" fmla="*/ 7687 w 9843"/>
                <a:gd name="connsiteY106" fmla="*/ 4974 h 9100"/>
                <a:gd name="connsiteX107" fmla="*/ 7805 w 9843"/>
                <a:gd name="connsiteY107" fmla="*/ 4870 h 9100"/>
                <a:gd name="connsiteX108" fmla="*/ 7805 w 9843"/>
                <a:gd name="connsiteY108" fmla="*/ 4602 h 9100"/>
                <a:gd name="connsiteX109" fmla="*/ 7882 w 9843"/>
                <a:gd name="connsiteY109" fmla="*/ 4602 h 9100"/>
                <a:gd name="connsiteX110" fmla="*/ 8157 w 9843"/>
                <a:gd name="connsiteY110" fmla="*/ 4602 h 9100"/>
                <a:gd name="connsiteX111" fmla="*/ 8353 w 9843"/>
                <a:gd name="connsiteY111" fmla="*/ 4602 h 9100"/>
                <a:gd name="connsiteX112" fmla="*/ 8432 w 9843"/>
                <a:gd name="connsiteY112" fmla="*/ 4494 h 9100"/>
                <a:gd name="connsiteX113" fmla="*/ 8432 w 9843"/>
                <a:gd name="connsiteY113" fmla="*/ 4232 h 9100"/>
                <a:gd name="connsiteX114" fmla="*/ 8432 w 9843"/>
                <a:gd name="connsiteY114" fmla="*/ 3493 h 9100"/>
                <a:gd name="connsiteX115" fmla="*/ 8432 w 9843"/>
                <a:gd name="connsiteY115" fmla="*/ 3226 h 9100"/>
                <a:gd name="connsiteX116" fmla="*/ 8548 w 9843"/>
                <a:gd name="connsiteY116" fmla="*/ 2965 h 9100"/>
                <a:gd name="connsiteX117" fmla="*/ 8432 w 9843"/>
                <a:gd name="connsiteY117" fmla="*/ 2856 h 9100"/>
                <a:gd name="connsiteX118" fmla="*/ 8432 w 9843"/>
                <a:gd name="connsiteY118" fmla="*/ 2750 h 9100"/>
                <a:gd name="connsiteX119" fmla="*/ 8548 w 9843"/>
                <a:gd name="connsiteY119" fmla="*/ 2750 h 9100"/>
                <a:gd name="connsiteX120" fmla="*/ 8548 w 9843"/>
                <a:gd name="connsiteY120" fmla="*/ 2593 h 9100"/>
                <a:gd name="connsiteX121" fmla="*/ 8627 w 9843"/>
                <a:gd name="connsiteY121" fmla="*/ 2382 h 9100"/>
                <a:gd name="connsiteX122" fmla="*/ 8706 w 9843"/>
                <a:gd name="connsiteY122" fmla="*/ 2382 h 9100"/>
                <a:gd name="connsiteX123" fmla="*/ 8902 w 9843"/>
                <a:gd name="connsiteY123" fmla="*/ 2382 h 9100"/>
                <a:gd name="connsiteX124" fmla="*/ 8902 w 9843"/>
                <a:gd name="connsiteY124" fmla="*/ 2224 h 9100"/>
                <a:gd name="connsiteX125" fmla="*/ 8980 w 9843"/>
                <a:gd name="connsiteY125" fmla="*/ 1745 h 9100"/>
                <a:gd name="connsiteX126" fmla="*/ 9100 w 9843"/>
                <a:gd name="connsiteY126" fmla="*/ 1588 h 9100"/>
                <a:gd name="connsiteX127" fmla="*/ 9452 w 9843"/>
                <a:gd name="connsiteY127" fmla="*/ 741 h 9100"/>
                <a:gd name="connsiteX128" fmla="*/ 9648 w 9843"/>
                <a:gd name="connsiteY128" fmla="*/ 636 h 9100"/>
                <a:gd name="connsiteX129" fmla="*/ 9726 w 9843"/>
                <a:gd name="connsiteY129" fmla="*/ 479 h 9100"/>
                <a:gd name="connsiteX130" fmla="*/ 9843 w 9843"/>
                <a:gd name="connsiteY130" fmla="*/ 368 h 9100"/>
                <a:gd name="connsiteX0" fmla="*/ 10000 w 10000"/>
                <a:gd name="connsiteY0" fmla="*/ 404 h 10000"/>
                <a:gd name="connsiteX1" fmla="*/ 199 w 10000"/>
                <a:gd name="connsiteY1" fmla="*/ 0 h 10000"/>
                <a:gd name="connsiteX2" fmla="*/ 119 w 10000"/>
                <a:gd name="connsiteY2" fmla="*/ 118 h 10000"/>
                <a:gd name="connsiteX3" fmla="*/ 0 w 10000"/>
                <a:gd name="connsiteY3" fmla="*/ 404 h 10000"/>
                <a:gd name="connsiteX4" fmla="*/ 0 w 10000"/>
                <a:gd name="connsiteY4" fmla="*/ 699 h 10000"/>
                <a:gd name="connsiteX5" fmla="*/ 119 w 10000"/>
                <a:gd name="connsiteY5" fmla="*/ 699 h 10000"/>
                <a:gd name="connsiteX6" fmla="*/ 119 w 10000"/>
                <a:gd name="connsiteY6" fmla="*/ 699 h 10000"/>
                <a:gd name="connsiteX7" fmla="*/ 398 w 10000"/>
                <a:gd name="connsiteY7" fmla="*/ 526 h 10000"/>
                <a:gd name="connsiteX8" fmla="*/ 278 w 10000"/>
                <a:gd name="connsiteY8" fmla="*/ 927 h 10000"/>
                <a:gd name="connsiteX9" fmla="*/ 398 w 10000"/>
                <a:gd name="connsiteY9" fmla="*/ 1223 h 10000"/>
                <a:gd name="connsiteX10" fmla="*/ 557 w 10000"/>
                <a:gd name="connsiteY10" fmla="*/ 1745 h 10000"/>
                <a:gd name="connsiteX11" fmla="*/ 557 w 10000"/>
                <a:gd name="connsiteY11" fmla="*/ 1918 h 10000"/>
                <a:gd name="connsiteX12" fmla="*/ 678 w 10000"/>
                <a:gd name="connsiteY12" fmla="*/ 1918 h 10000"/>
                <a:gd name="connsiteX13" fmla="*/ 678 w 10000"/>
                <a:gd name="connsiteY13" fmla="*/ 2033 h 10000"/>
                <a:gd name="connsiteX14" fmla="*/ 758 w 10000"/>
                <a:gd name="connsiteY14" fmla="*/ 2153 h 10000"/>
                <a:gd name="connsiteX15" fmla="*/ 758 w 10000"/>
                <a:gd name="connsiteY15" fmla="*/ 2327 h 10000"/>
                <a:gd name="connsiteX16" fmla="*/ 557 w 10000"/>
                <a:gd name="connsiteY16" fmla="*/ 2444 h 10000"/>
                <a:gd name="connsiteX17" fmla="*/ 758 w 10000"/>
                <a:gd name="connsiteY17" fmla="*/ 2618 h 10000"/>
                <a:gd name="connsiteX18" fmla="*/ 956 w 10000"/>
                <a:gd name="connsiteY18" fmla="*/ 3022 h 10000"/>
                <a:gd name="connsiteX19" fmla="*/ 1155 w 10000"/>
                <a:gd name="connsiteY19" fmla="*/ 3427 h 10000"/>
                <a:gd name="connsiteX20" fmla="*/ 1234 w 10000"/>
                <a:gd name="connsiteY20" fmla="*/ 3664 h 10000"/>
                <a:gd name="connsiteX21" fmla="*/ 1155 w 10000"/>
                <a:gd name="connsiteY21" fmla="*/ 3953 h 10000"/>
                <a:gd name="connsiteX22" fmla="*/ 1155 w 10000"/>
                <a:gd name="connsiteY22" fmla="*/ 4362 h 10000"/>
                <a:gd name="connsiteX23" fmla="*/ 1155 w 10000"/>
                <a:gd name="connsiteY23" fmla="*/ 4537 h 10000"/>
                <a:gd name="connsiteX24" fmla="*/ 1316 w 10000"/>
                <a:gd name="connsiteY24" fmla="*/ 4768 h 10000"/>
                <a:gd name="connsiteX25" fmla="*/ 1434 w 10000"/>
                <a:gd name="connsiteY25" fmla="*/ 4768 h 10000"/>
                <a:gd name="connsiteX26" fmla="*/ 1594 w 10000"/>
                <a:gd name="connsiteY26" fmla="*/ 4768 h 10000"/>
                <a:gd name="connsiteX27" fmla="*/ 1713 w 10000"/>
                <a:gd name="connsiteY27" fmla="*/ 5057 h 10000"/>
                <a:gd name="connsiteX28" fmla="*/ 1793 w 10000"/>
                <a:gd name="connsiteY28" fmla="*/ 5175 h 10000"/>
                <a:gd name="connsiteX29" fmla="*/ 2073 w 10000"/>
                <a:gd name="connsiteY29" fmla="*/ 5175 h 10000"/>
                <a:gd name="connsiteX30" fmla="*/ 2192 w 10000"/>
                <a:gd name="connsiteY30" fmla="*/ 5352 h 10000"/>
                <a:gd name="connsiteX31" fmla="*/ 2271 w 10000"/>
                <a:gd name="connsiteY31" fmla="*/ 5466 h 10000"/>
                <a:gd name="connsiteX32" fmla="*/ 2351 w 10000"/>
                <a:gd name="connsiteY32" fmla="*/ 5466 h 10000"/>
                <a:gd name="connsiteX33" fmla="*/ 2271 w 10000"/>
                <a:gd name="connsiteY33" fmla="*/ 5754 h 10000"/>
                <a:gd name="connsiteX34" fmla="*/ 2351 w 10000"/>
                <a:gd name="connsiteY34" fmla="*/ 5871 h 10000"/>
                <a:gd name="connsiteX35" fmla="*/ 2630 w 10000"/>
                <a:gd name="connsiteY35" fmla="*/ 6160 h 10000"/>
                <a:gd name="connsiteX36" fmla="*/ 2828 w 10000"/>
                <a:gd name="connsiteY36" fmla="*/ 6453 h 10000"/>
                <a:gd name="connsiteX37" fmla="*/ 2909 w 10000"/>
                <a:gd name="connsiteY37" fmla="*/ 6569 h 10000"/>
                <a:gd name="connsiteX38" fmla="*/ 3107 w 10000"/>
                <a:gd name="connsiteY38" fmla="*/ 6688 h 10000"/>
                <a:gd name="connsiteX39" fmla="*/ 3107 w 10000"/>
                <a:gd name="connsiteY39" fmla="*/ 6862 h 10000"/>
                <a:gd name="connsiteX40" fmla="*/ 3228 w 10000"/>
                <a:gd name="connsiteY40" fmla="*/ 7153 h 10000"/>
                <a:gd name="connsiteX41" fmla="*/ 3307 w 10000"/>
                <a:gd name="connsiteY41" fmla="*/ 7267 h 10000"/>
                <a:gd name="connsiteX42" fmla="*/ 3307 w 10000"/>
                <a:gd name="connsiteY42" fmla="*/ 7384 h 10000"/>
                <a:gd name="connsiteX43" fmla="*/ 3386 w 10000"/>
                <a:gd name="connsiteY43" fmla="*/ 7560 h 10000"/>
                <a:gd name="connsiteX44" fmla="*/ 3784 w 10000"/>
                <a:gd name="connsiteY44" fmla="*/ 7791 h 10000"/>
                <a:gd name="connsiteX45" fmla="*/ 3865 w 10000"/>
                <a:gd name="connsiteY45" fmla="*/ 8082 h 10000"/>
                <a:gd name="connsiteX46" fmla="*/ 3865 w 10000"/>
                <a:gd name="connsiteY46" fmla="*/ 8199 h 10000"/>
                <a:gd name="connsiteX47" fmla="*/ 3945 w 10000"/>
                <a:gd name="connsiteY47" fmla="*/ 8373 h 10000"/>
                <a:gd name="connsiteX48" fmla="*/ 4065 w 10000"/>
                <a:gd name="connsiteY48" fmla="*/ 8486 h 10000"/>
                <a:gd name="connsiteX49" fmla="*/ 4263 w 10000"/>
                <a:gd name="connsiteY49" fmla="*/ 8777 h 10000"/>
                <a:gd name="connsiteX50" fmla="*/ 4263 w 10000"/>
                <a:gd name="connsiteY50" fmla="*/ 8896 h 10000"/>
                <a:gd name="connsiteX51" fmla="*/ 4344 w 10000"/>
                <a:gd name="connsiteY51" fmla="*/ 9070 h 10000"/>
                <a:gd name="connsiteX52" fmla="*/ 4623 w 10000"/>
                <a:gd name="connsiteY52" fmla="*/ 9185 h 10000"/>
                <a:gd name="connsiteX53" fmla="*/ 4702 w 10000"/>
                <a:gd name="connsiteY53" fmla="*/ 9185 h 10000"/>
                <a:gd name="connsiteX54" fmla="*/ 4821 w 10000"/>
                <a:gd name="connsiteY54" fmla="*/ 9070 h 10000"/>
                <a:gd name="connsiteX55" fmla="*/ 5099 w 10000"/>
                <a:gd name="connsiteY55" fmla="*/ 9185 h 10000"/>
                <a:gd name="connsiteX56" fmla="*/ 5298 w 10000"/>
                <a:gd name="connsiteY56" fmla="*/ 9070 h 10000"/>
                <a:gd name="connsiteX57" fmla="*/ 5458 w 10000"/>
                <a:gd name="connsiteY57" fmla="*/ 8896 h 10000"/>
                <a:gd name="connsiteX58" fmla="*/ 5579 w 10000"/>
                <a:gd name="connsiteY58" fmla="*/ 9070 h 10000"/>
                <a:gd name="connsiteX59" fmla="*/ 5937 w 10000"/>
                <a:gd name="connsiteY59" fmla="*/ 9477 h 10000"/>
                <a:gd name="connsiteX60" fmla="*/ 6016 w 10000"/>
                <a:gd name="connsiteY60" fmla="*/ 9710 h 10000"/>
                <a:gd name="connsiteX61" fmla="*/ 6135 w 10000"/>
                <a:gd name="connsiteY61" fmla="*/ 9884 h 10000"/>
                <a:gd name="connsiteX62" fmla="*/ 6217 w 10000"/>
                <a:gd name="connsiteY62" fmla="*/ 9884 h 10000"/>
                <a:gd name="connsiteX63" fmla="*/ 6296 w 10000"/>
                <a:gd name="connsiteY63" fmla="*/ 9884 h 10000"/>
                <a:gd name="connsiteX64" fmla="*/ 6414 w 10000"/>
                <a:gd name="connsiteY64" fmla="*/ 9884 h 10000"/>
                <a:gd name="connsiteX65" fmla="*/ 6614 w 10000"/>
                <a:gd name="connsiteY65" fmla="*/ 9884 h 10000"/>
                <a:gd name="connsiteX66" fmla="*/ 6693 w 10000"/>
                <a:gd name="connsiteY66" fmla="*/ 9884 h 10000"/>
                <a:gd name="connsiteX67" fmla="*/ 6893 w 10000"/>
                <a:gd name="connsiteY67" fmla="*/ 9884 h 10000"/>
                <a:gd name="connsiteX68" fmla="*/ 6972 w 10000"/>
                <a:gd name="connsiteY68" fmla="*/ 9884 h 10000"/>
                <a:gd name="connsiteX69" fmla="*/ 7053 w 10000"/>
                <a:gd name="connsiteY69" fmla="*/ 10000 h 10000"/>
                <a:gd name="connsiteX70" fmla="*/ 7251 w 10000"/>
                <a:gd name="connsiteY70" fmla="*/ 9884 h 10000"/>
                <a:gd name="connsiteX71" fmla="*/ 7451 w 10000"/>
                <a:gd name="connsiteY71" fmla="*/ 9884 h 10000"/>
                <a:gd name="connsiteX72" fmla="*/ 7650 w 10000"/>
                <a:gd name="connsiteY72" fmla="*/ 9710 h 10000"/>
                <a:gd name="connsiteX73" fmla="*/ 7810 w 10000"/>
                <a:gd name="connsiteY73" fmla="*/ 9710 h 10000"/>
                <a:gd name="connsiteX74" fmla="*/ 8088 w 10000"/>
                <a:gd name="connsiteY74" fmla="*/ 9710 h 10000"/>
                <a:gd name="connsiteX75" fmla="*/ 8368 w 10000"/>
                <a:gd name="connsiteY75" fmla="*/ 9477 h 10000"/>
                <a:gd name="connsiteX76" fmla="*/ 8368 w 10000"/>
                <a:gd name="connsiteY76" fmla="*/ 9477 h 10000"/>
                <a:gd name="connsiteX77" fmla="*/ 8368 w 10000"/>
                <a:gd name="connsiteY77" fmla="*/ 9477 h 10000"/>
                <a:gd name="connsiteX78" fmla="*/ 8684 w 10000"/>
                <a:gd name="connsiteY78" fmla="*/ 9070 h 10000"/>
                <a:gd name="connsiteX79" fmla="*/ 8765 w 10000"/>
                <a:gd name="connsiteY79" fmla="*/ 8896 h 10000"/>
                <a:gd name="connsiteX80" fmla="*/ 8965 w 10000"/>
                <a:gd name="connsiteY80" fmla="*/ 8896 h 10000"/>
                <a:gd name="connsiteX81" fmla="*/ 9323 w 10000"/>
                <a:gd name="connsiteY81" fmla="*/ 9070 h 10000"/>
                <a:gd name="connsiteX82" fmla="*/ 9524 w 10000"/>
                <a:gd name="connsiteY82" fmla="*/ 9070 h 10000"/>
                <a:gd name="connsiteX83" fmla="*/ 9722 w 10000"/>
                <a:gd name="connsiteY83" fmla="*/ 8896 h 10000"/>
                <a:gd name="connsiteX84" fmla="*/ 9722 w 10000"/>
                <a:gd name="connsiteY84" fmla="*/ 8486 h 10000"/>
                <a:gd name="connsiteX85" fmla="*/ 9802 w 10000"/>
                <a:gd name="connsiteY85" fmla="*/ 8373 h 10000"/>
                <a:gd name="connsiteX86" fmla="*/ 9722 w 10000"/>
                <a:gd name="connsiteY86" fmla="*/ 8199 h 10000"/>
                <a:gd name="connsiteX87" fmla="*/ 9722 w 10000"/>
                <a:gd name="connsiteY87" fmla="*/ 8082 h 10000"/>
                <a:gd name="connsiteX88" fmla="*/ 9323 w 10000"/>
                <a:gd name="connsiteY88" fmla="*/ 8082 h 10000"/>
                <a:gd name="connsiteX89" fmla="*/ 9245 w 10000"/>
                <a:gd name="connsiteY89" fmla="*/ 7963 h 10000"/>
                <a:gd name="connsiteX90" fmla="*/ 9245 w 10000"/>
                <a:gd name="connsiteY90" fmla="*/ 7791 h 10000"/>
                <a:gd name="connsiteX91" fmla="*/ 9044 w 10000"/>
                <a:gd name="connsiteY91" fmla="*/ 7267 h 10000"/>
                <a:gd name="connsiteX92" fmla="*/ 9044 w 10000"/>
                <a:gd name="connsiteY92" fmla="*/ 6977 h 10000"/>
                <a:gd name="connsiteX93" fmla="*/ 8965 w 10000"/>
                <a:gd name="connsiteY93" fmla="*/ 6862 h 10000"/>
                <a:gd name="connsiteX94" fmla="*/ 8684 w 10000"/>
                <a:gd name="connsiteY94" fmla="*/ 6569 h 10000"/>
                <a:gd name="connsiteX95" fmla="*/ 8566 w 10000"/>
                <a:gd name="connsiteY95" fmla="*/ 6453 h 10000"/>
                <a:gd name="connsiteX96" fmla="*/ 8486 w 10000"/>
                <a:gd name="connsiteY96" fmla="*/ 6282 h 10000"/>
                <a:gd name="connsiteX97" fmla="*/ 8486 w 10000"/>
                <a:gd name="connsiteY97" fmla="*/ 6160 h 10000"/>
                <a:gd name="connsiteX98" fmla="*/ 8368 w 10000"/>
                <a:gd name="connsiteY98" fmla="*/ 5871 h 10000"/>
                <a:gd name="connsiteX99" fmla="*/ 8287 w 10000"/>
                <a:gd name="connsiteY99" fmla="*/ 5871 h 10000"/>
                <a:gd name="connsiteX100" fmla="*/ 8088 w 10000"/>
                <a:gd name="connsiteY100" fmla="*/ 5754 h 10000"/>
                <a:gd name="connsiteX101" fmla="*/ 8008 w 10000"/>
                <a:gd name="connsiteY101" fmla="*/ 5754 h 10000"/>
                <a:gd name="connsiteX102" fmla="*/ 7929 w 10000"/>
                <a:gd name="connsiteY102" fmla="*/ 5754 h 10000"/>
                <a:gd name="connsiteX103" fmla="*/ 7810 w 10000"/>
                <a:gd name="connsiteY103" fmla="*/ 5754 h 10000"/>
                <a:gd name="connsiteX104" fmla="*/ 7729 w 10000"/>
                <a:gd name="connsiteY104" fmla="*/ 5641 h 10000"/>
                <a:gd name="connsiteX105" fmla="*/ 7810 w 10000"/>
                <a:gd name="connsiteY105" fmla="*/ 5466 h 10000"/>
                <a:gd name="connsiteX106" fmla="*/ 7929 w 10000"/>
                <a:gd name="connsiteY106" fmla="*/ 5352 h 10000"/>
                <a:gd name="connsiteX107" fmla="*/ 7929 w 10000"/>
                <a:gd name="connsiteY107" fmla="*/ 5057 h 10000"/>
                <a:gd name="connsiteX108" fmla="*/ 8008 w 10000"/>
                <a:gd name="connsiteY108" fmla="*/ 5057 h 10000"/>
                <a:gd name="connsiteX109" fmla="*/ 8287 w 10000"/>
                <a:gd name="connsiteY109" fmla="*/ 5057 h 10000"/>
                <a:gd name="connsiteX110" fmla="*/ 8486 w 10000"/>
                <a:gd name="connsiteY110" fmla="*/ 5057 h 10000"/>
                <a:gd name="connsiteX111" fmla="*/ 8566 w 10000"/>
                <a:gd name="connsiteY111" fmla="*/ 4938 h 10000"/>
                <a:gd name="connsiteX112" fmla="*/ 8566 w 10000"/>
                <a:gd name="connsiteY112" fmla="*/ 4651 h 10000"/>
                <a:gd name="connsiteX113" fmla="*/ 8566 w 10000"/>
                <a:gd name="connsiteY113" fmla="*/ 3838 h 10000"/>
                <a:gd name="connsiteX114" fmla="*/ 8566 w 10000"/>
                <a:gd name="connsiteY114" fmla="*/ 3545 h 10000"/>
                <a:gd name="connsiteX115" fmla="*/ 8684 w 10000"/>
                <a:gd name="connsiteY115" fmla="*/ 3258 h 10000"/>
                <a:gd name="connsiteX116" fmla="*/ 8566 w 10000"/>
                <a:gd name="connsiteY116" fmla="*/ 3138 h 10000"/>
                <a:gd name="connsiteX117" fmla="*/ 8566 w 10000"/>
                <a:gd name="connsiteY117" fmla="*/ 3022 h 10000"/>
                <a:gd name="connsiteX118" fmla="*/ 8684 w 10000"/>
                <a:gd name="connsiteY118" fmla="*/ 3022 h 10000"/>
                <a:gd name="connsiteX119" fmla="*/ 8684 w 10000"/>
                <a:gd name="connsiteY119" fmla="*/ 2849 h 10000"/>
                <a:gd name="connsiteX120" fmla="*/ 8765 w 10000"/>
                <a:gd name="connsiteY120" fmla="*/ 2618 h 10000"/>
                <a:gd name="connsiteX121" fmla="*/ 8845 w 10000"/>
                <a:gd name="connsiteY121" fmla="*/ 2618 h 10000"/>
                <a:gd name="connsiteX122" fmla="*/ 9044 w 10000"/>
                <a:gd name="connsiteY122" fmla="*/ 2618 h 10000"/>
                <a:gd name="connsiteX123" fmla="*/ 9044 w 10000"/>
                <a:gd name="connsiteY123" fmla="*/ 2444 h 10000"/>
                <a:gd name="connsiteX124" fmla="*/ 9123 w 10000"/>
                <a:gd name="connsiteY124" fmla="*/ 1918 h 10000"/>
                <a:gd name="connsiteX125" fmla="*/ 9245 w 10000"/>
                <a:gd name="connsiteY125" fmla="*/ 1745 h 10000"/>
                <a:gd name="connsiteX126" fmla="*/ 9603 w 10000"/>
                <a:gd name="connsiteY126" fmla="*/ 814 h 10000"/>
                <a:gd name="connsiteX127" fmla="*/ 9802 w 10000"/>
                <a:gd name="connsiteY127" fmla="*/ 699 h 10000"/>
                <a:gd name="connsiteX128" fmla="*/ 9881 w 10000"/>
                <a:gd name="connsiteY128" fmla="*/ 526 h 10000"/>
                <a:gd name="connsiteX129" fmla="*/ 10000 w 10000"/>
                <a:gd name="connsiteY129" fmla="*/ 404 h 10000"/>
                <a:gd name="connsiteX0" fmla="*/ 10000 w 10000"/>
                <a:gd name="connsiteY0" fmla="*/ 404 h 10000"/>
                <a:gd name="connsiteX1" fmla="*/ 199 w 10000"/>
                <a:gd name="connsiteY1" fmla="*/ 0 h 10000"/>
                <a:gd name="connsiteX2" fmla="*/ 119 w 10000"/>
                <a:gd name="connsiteY2" fmla="*/ 118 h 10000"/>
                <a:gd name="connsiteX3" fmla="*/ 0 w 10000"/>
                <a:gd name="connsiteY3" fmla="*/ 404 h 10000"/>
                <a:gd name="connsiteX4" fmla="*/ 0 w 10000"/>
                <a:gd name="connsiteY4" fmla="*/ 699 h 10000"/>
                <a:gd name="connsiteX5" fmla="*/ 119 w 10000"/>
                <a:gd name="connsiteY5" fmla="*/ 699 h 10000"/>
                <a:gd name="connsiteX6" fmla="*/ 119 w 10000"/>
                <a:gd name="connsiteY6" fmla="*/ 699 h 10000"/>
                <a:gd name="connsiteX7" fmla="*/ 278 w 10000"/>
                <a:gd name="connsiteY7" fmla="*/ 927 h 10000"/>
                <a:gd name="connsiteX8" fmla="*/ 398 w 10000"/>
                <a:gd name="connsiteY8" fmla="*/ 1223 h 10000"/>
                <a:gd name="connsiteX9" fmla="*/ 557 w 10000"/>
                <a:gd name="connsiteY9" fmla="*/ 1745 h 10000"/>
                <a:gd name="connsiteX10" fmla="*/ 557 w 10000"/>
                <a:gd name="connsiteY10" fmla="*/ 1918 h 10000"/>
                <a:gd name="connsiteX11" fmla="*/ 678 w 10000"/>
                <a:gd name="connsiteY11" fmla="*/ 1918 h 10000"/>
                <a:gd name="connsiteX12" fmla="*/ 678 w 10000"/>
                <a:gd name="connsiteY12" fmla="*/ 2033 h 10000"/>
                <a:gd name="connsiteX13" fmla="*/ 758 w 10000"/>
                <a:gd name="connsiteY13" fmla="*/ 2153 h 10000"/>
                <a:gd name="connsiteX14" fmla="*/ 758 w 10000"/>
                <a:gd name="connsiteY14" fmla="*/ 2327 h 10000"/>
                <a:gd name="connsiteX15" fmla="*/ 557 w 10000"/>
                <a:gd name="connsiteY15" fmla="*/ 2444 h 10000"/>
                <a:gd name="connsiteX16" fmla="*/ 758 w 10000"/>
                <a:gd name="connsiteY16" fmla="*/ 2618 h 10000"/>
                <a:gd name="connsiteX17" fmla="*/ 956 w 10000"/>
                <a:gd name="connsiteY17" fmla="*/ 3022 h 10000"/>
                <a:gd name="connsiteX18" fmla="*/ 1155 w 10000"/>
                <a:gd name="connsiteY18" fmla="*/ 3427 h 10000"/>
                <a:gd name="connsiteX19" fmla="*/ 1234 w 10000"/>
                <a:gd name="connsiteY19" fmla="*/ 3664 h 10000"/>
                <a:gd name="connsiteX20" fmla="*/ 1155 w 10000"/>
                <a:gd name="connsiteY20" fmla="*/ 3953 h 10000"/>
                <a:gd name="connsiteX21" fmla="*/ 1155 w 10000"/>
                <a:gd name="connsiteY21" fmla="*/ 4362 h 10000"/>
                <a:gd name="connsiteX22" fmla="*/ 1155 w 10000"/>
                <a:gd name="connsiteY22" fmla="*/ 4537 h 10000"/>
                <a:gd name="connsiteX23" fmla="*/ 1316 w 10000"/>
                <a:gd name="connsiteY23" fmla="*/ 4768 h 10000"/>
                <a:gd name="connsiteX24" fmla="*/ 1434 w 10000"/>
                <a:gd name="connsiteY24" fmla="*/ 4768 h 10000"/>
                <a:gd name="connsiteX25" fmla="*/ 1594 w 10000"/>
                <a:gd name="connsiteY25" fmla="*/ 4768 h 10000"/>
                <a:gd name="connsiteX26" fmla="*/ 1713 w 10000"/>
                <a:gd name="connsiteY26" fmla="*/ 5057 h 10000"/>
                <a:gd name="connsiteX27" fmla="*/ 1793 w 10000"/>
                <a:gd name="connsiteY27" fmla="*/ 5175 h 10000"/>
                <a:gd name="connsiteX28" fmla="*/ 2073 w 10000"/>
                <a:gd name="connsiteY28" fmla="*/ 5175 h 10000"/>
                <a:gd name="connsiteX29" fmla="*/ 2192 w 10000"/>
                <a:gd name="connsiteY29" fmla="*/ 5352 h 10000"/>
                <a:gd name="connsiteX30" fmla="*/ 2271 w 10000"/>
                <a:gd name="connsiteY30" fmla="*/ 5466 h 10000"/>
                <a:gd name="connsiteX31" fmla="*/ 2351 w 10000"/>
                <a:gd name="connsiteY31" fmla="*/ 5466 h 10000"/>
                <a:gd name="connsiteX32" fmla="*/ 2271 w 10000"/>
                <a:gd name="connsiteY32" fmla="*/ 5754 h 10000"/>
                <a:gd name="connsiteX33" fmla="*/ 2351 w 10000"/>
                <a:gd name="connsiteY33" fmla="*/ 5871 h 10000"/>
                <a:gd name="connsiteX34" fmla="*/ 2630 w 10000"/>
                <a:gd name="connsiteY34" fmla="*/ 6160 h 10000"/>
                <a:gd name="connsiteX35" fmla="*/ 2828 w 10000"/>
                <a:gd name="connsiteY35" fmla="*/ 6453 h 10000"/>
                <a:gd name="connsiteX36" fmla="*/ 2909 w 10000"/>
                <a:gd name="connsiteY36" fmla="*/ 6569 h 10000"/>
                <a:gd name="connsiteX37" fmla="*/ 3107 w 10000"/>
                <a:gd name="connsiteY37" fmla="*/ 6688 h 10000"/>
                <a:gd name="connsiteX38" fmla="*/ 3107 w 10000"/>
                <a:gd name="connsiteY38" fmla="*/ 6862 h 10000"/>
                <a:gd name="connsiteX39" fmla="*/ 3228 w 10000"/>
                <a:gd name="connsiteY39" fmla="*/ 7153 h 10000"/>
                <a:gd name="connsiteX40" fmla="*/ 3307 w 10000"/>
                <a:gd name="connsiteY40" fmla="*/ 7267 h 10000"/>
                <a:gd name="connsiteX41" fmla="*/ 3307 w 10000"/>
                <a:gd name="connsiteY41" fmla="*/ 7384 h 10000"/>
                <a:gd name="connsiteX42" fmla="*/ 3386 w 10000"/>
                <a:gd name="connsiteY42" fmla="*/ 7560 h 10000"/>
                <a:gd name="connsiteX43" fmla="*/ 3784 w 10000"/>
                <a:gd name="connsiteY43" fmla="*/ 7791 h 10000"/>
                <a:gd name="connsiteX44" fmla="*/ 3865 w 10000"/>
                <a:gd name="connsiteY44" fmla="*/ 8082 h 10000"/>
                <a:gd name="connsiteX45" fmla="*/ 3865 w 10000"/>
                <a:gd name="connsiteY45" fmla="*/ 8199 h 10000"/>
                <a:gd name="connsiteX46" fmla="*/ 3945 w 10000"/>
                <a:gd name="connsiteY46" fmla="*/ 8373 h 10000"/>
                <a:gd name="connsiteX47" fmla="*/ 4065 w 10000"/>
                <a:gd name="connsiteY47" fmla="*/ 8486 h 10000"/>
                <a:gd name="connsiteX48" fmla="*/ 4263 w 10000"/>
                <a:gd name="connsiteY48" fmla="*/ 8777 h 10000"/>
                <a:gd name="connsiteX49" fmla="*/ 4263 w 10000"/>
                <a:gd name="connsiteY49" fmla="*/ 8896 h 10000"/>
                <a:gd name="connsiteX50" fmla="*/ 4344 w 10000"/>
                <a:gd name="connsiteY50" fmla="*/ 9070 h 10000"/>
                <a:gd name="connsiteX51" fmla="*/ 4623 w 10000"/>
                <a:gd name="connsiteY51" fmla="*/ 9185 h 10000"/>
                <a:gd name="connsiteX52" fmla="*/ 4702 w 10000"/>
                <a:gd name="connsiteY52" fmla="*/ 9185 h 10000"/>
                <a:gd name="connsiteX53" fmla="*/ 4821 w 10000"/>
                <a:gd name="connsiteY53" fmla="*/ 9070 h 10000"/>
                <a:gd name="connsiteX54" fmla="*/ 5099 w 10000"/>
                <a:gd name="connsiteY54" fmla="*/ 9185 h 10000"/>
                <a:gd name="connsiteX55" fmla="*/ 5298 w 10000"/>
                <a:gd name="connsiteY55" fmla="*/ 9070 h 10000"/>
                <a:gd name="connsiteX56" fmla="*/ 5458 w 10000"/>
                <a:gd name="connsiteY56" fmla="*/ 8896 h 10000"/>
                <a:gd name="connsiteX57" fmla="*/ 5579 w 10000"/>
                <a:gd name="connsiteY57" fmla="*/ 9070 h 10000"/>
                <a:gd name="connsiteX58" fmla="*/ 5937 w 10000"/>
                <a:gd name="connsiteY58" fmla="*/ 9477 h 10000"/>
                <a:gd name="connsiteX59" fmla="*/ 6016 w 10000"/>
                <a:gd name="connsiteY59" fmla="*/ 9710 h 10000"/>
                <a:gd name="connsiteX60" fmla="*/ 6135 w 10000"/>
                <a:gd name="connsiteY60" fmla="*/ 9884 h 10000"/>
                <a:gd name="connsiteX61" fmla="*/ 6217 w 10000"/>
                <a:gd name="connsiteY61" fmla="*/ 9884 h 10000"/>
                <a:gd name="connsiteX62" fmla="*/ 6296 w 10000"/>
                <a:gd name="connsiteY62" fmla="*/ 9884 h 10000"/>
                <a:gd name="connsiteX63" fmla="*/ 6414 w 10000"/>
                <a:gd name="connsiteY63" fmla="*/ 9884 h 10000"/>
                <a:gd name="connsiteX64" fmla="*/ 6614 w 10000"/>
                <a:gd name="connsiteY64" fmla="*/ 9884 h 10000"/>
                <a:gd name="connsiteX65" fmla="*/ 6693 w 10000"/>
                <a:gd name="connsiteY65" fmla="*/ 9884 h 10000"/>
                <a:gd name="connsiteX66" fmla="*/ 6893 w 10000"/>
                <a:gd name="connsiteY66" fmla="*/ 9884 h 10000"/>
                <a:gd name="connsiteX67" fmla="*/ 6972 w 10000"/>
                <a:gd name="connsiteY67" fmla="*/ 9884 h 10000"/>
                <a:gd name="connsiteX68" fmla="*/ 7053 w 10000"/>
                <a:gd name="connsiteY68" fmla="*/ 10000 h 10000"/>
                <a:gd name="connsiteX69" fmla="*/ 7251 w 10000"/>
                <a:gd name="connsiteY69" fmla="*/ 9884 h 10000"/>
                <a:gd name="connsiteX70" fmla="*/ 7451 w 10000"/>
                <a:gd name="connsiteY70" fmla="*/ 9884 h 10000"/>
                <a:gd name="connsiteX71" fmla="*/ 7650 w 10000"/>
                <a:gd name="connsiteY71" fmla="*/ 9710 h 10000"/>
                <a:gd name="connsiteX72" fmla="*/ 7810 w 10000"/>
                <a:gd name="connsiteY72" fmla="*/ 9710 h 10000"/>
                <a:gd name="connsiteX73" fmla="*/ 8088 w 10000"/>
                <a:gd name="connsiteY73" fmla="*/ 9710 h 10000"/>
                <a:gd name="connsiteX74" fmla="*/ 8368 w 10000"/>
                <a:gd name="connsiteY74" fmla="*/ 9477 h 10000"/>
                <a:gd name="connsiteX75" fmla="*/ 8368 w 10000"/>
                <a:gd name="connsiteY75" fmla="*/ 9477 h 10000"/>
                <a:gd name="connsiteX76" fmla="*/ 8368 w 10000"/>
                <a:gd name="connsiteY76" fmla="*/ 9477 h 10000"/>
                <a:gd name="connsiteX77" fmla="*/ 8684 w 10000"/>
                <a:gd name="connsiteY77" fmla="*/ 9070 h 10000"/>
                <a:gd name="connsiteX78" fmla="*/ 8765 w 10000"/>
                <a:gd name="connsiteY78" fmla="*/ 8896 h 10000"/>
                <a:gd name="connsiteX79" fmla="*/ 8965 w 10000"/>
                <a:gd name="connsiteY79" fmla="*/ 8896 h 10000"/>
                <a:gd name="connsiteX80" fmla="*/ 9323 w 10000"/>
                <a:gd name="connsiteY80" fmla="*/ 9070 h 10000"/>
                <a:gd name="connsiteX81" fmla="*/ 9524 w 10000"/>
                <a:gd name="connsiteY81" fmla="*/ 9070 h 10000"/>
                <a:gd name="connsiteX82" fmla="*/ 9722 w 10000"/>
                <a:gd name="connsiteY82" fmla="*/ 8896 h 10000"/>
                <a:gd name="connsiteX83" fmla="*/ 9722 w 10000"/>
                <a:gd name="connsiteY83" fmla="*/ 8486 h 10000"/>
                <a:gd name="connsiteX84" fmla="*/ 9802 w 10000"/>
                <a:gd name="connsiteY84" fmla="*/ 8373 h 10000"/>
                <a:gd name="connsiteX85" fmla="*/ 9722 w 10000"/>
                <a:gd name="connsiteY85" fmla="*/ 8199 h 10000"/>
                <a:gd name="connsiteX86" fmla="*/ 9722 w 10000"/>
                <a:gd name="connsiteY86" fmla="*/ 8082 h 10000"/>
                <a:gd name="connsiteX87" fmla="*/ 9323 w 10000"/>
                <a:gd name="connsiteY87" fmla="*/ 8082 h 10000"/>
                <a:gd name="connsiteX88" fmla="*/ 9245 w 10000"/>
                <a:gd name="connsiteY88" fmla="*/ 7963 h 10000"/>
                <a:gd name="connsiteX89" fmla="*/ 9245 w 10000"/>
                <a:gd name="connsiteY89" fmla="*/ 7791 h 10000"/>
                <a:gd name="connsiteX90" fmla="*/ 9044 w 10000"/>
                <a:gd name="connsiteY90" fmla="*/ 7267 h 10000"/>
                <a:gd name="connsiteX91" fmla="*/ 9044 w 10000"/>
                <a:gd name="connsiteY91" fmla="*/ 6977 h 10000"/>
                <a:gd name="connsiteX92" fmla="*/ 8965 w 10000"/>
                <a:gd name="connsiteY92" fmla="*/ 6862 h 10000"/>
                <a:gd name="connsiteX93" fmla="*/ 8684 w 10000"/>
                <a:gd name="connsiteY93" fmla="*/ 6569 h 10000"/>
                <a:gd name="connsiteX94" fmla="*/ 8566 w 10000"/>
                <a:gd name="connsiteY94" fmla="*/ 6453 h 10000"/>
                <a:gd name="connsiteX95" fmla="*/ 8486 w 10000"/>
                <a:gd name="connsiteY95" fmla="*/ 6282 h 10000"/>
                <a:gd name="connsiteX96" fmla="*/ 8486 w 10000"/>
                <a:gd name="connsiteY96" fmla="*/ 6160 h 10000"/>
                <a:gd name="connsiteX97" fmla="*/ 8368 w 10000"/>
                <a:gd name="connsiteY97" fmla="*/ 5871 h 10000"/>
                <a:gd name="connsiteX98" fmla="*/ 8287 w 10000"/>
                <a:gd name="connsiteY98" fmla="*/ 5871 h 10000"/>
                <a:gd name="connsiteX99" fmla="*/ 8088 w 10000"/>
                <a:gd name="connsiteY99" fmla="*/ 5754 h 10000"/>
                <a:gd name="connsiteX100" fmla="*/ 8008 w 10000"/>
                <a:gd name="connsiteY100" fmla="*/ 5754 h 10000"/>
                <a:gd name="connsiteX101" fmla="*/ 7929 w 10000"/>
                <a:gd name="connsiteY101" fmla="*/ 5754 h 10000"/>
                <a:gd name="connsiteX102" fmla="*/ 7810 w 10000"/>
                <a:gd name="connsiteY102" fmla="*/ 5754 h 10000"/>
                <a:gd name="connsiteX103" fmla="*/ 7729 w 10000"/>
                <a:gd name="connsiteY103" fmla="*/ 5641 h 10000"/>
                <a:gd name="connsiteX104" fmla="*/ 7810 w 10000"/>
                <a:gd name="connsiteY104" fmla="*/ 5466 h 10000"/>
                <a:gd name="connsiteX105" fmla="*/ 7929 w 10000"/>
                <a:gd name="connsiteY105" fmla="*/ 5352 h 10000"/>
                <a:gd name="connsiteX106" fmla="*/ 7929 w 10000"/>
                <a:gd name="connsiteY106" fmla="*/ 5057 h 10000"/>
                <a:gd name="connsiteX107" fmla="*/ 8008 w 10000"/>
                <a:gd name="connsiteY107" fmla="*/ 5057 h 10000"/>
                <a:gd name="connsiteX108" fmla="*/ 8287 w 10000"/>
                <a:gd name="connsiteY108" fmla="*/ 5057 h 10000"/>
                <a:gd name="connsiteX109" fmla="*/ 8486 w 10000"/>
                <a:gd name="connsiteY109" fmla="*/ 5057 h 10000"/>
                <a:gd name="connsiteX110" fmla="*/ 8566 w 10000"/>
                <a:gd name="connsiteY110" fmla="*/ 4938 h 10000"/>
                <a:gd name="connsiteX111" fmla="*/ 8566 w 10000"/>
                <a:gd name="connsiteY111" fmla="*/ 4651 h 10000"/>
                <a:gd name="connsiteX112" fmla="*/ 8566 w 10000"/>
                <a:gd name="connsiteY112" fmla="*/ 3838 h 10000"/>
                <a:gd name="connsiteX113" fmla="*/ 8566 w 10000"/>
                <a:gd name="connsiteY113" fmla="*/ 3545 h 10000"/>
                <a:gd name="connsiteX114" fmla="*/ 8684 w 10000"/>
                <a:gd name="connsiteY114" fmla="*/ 3258 h 10000"/>
                <a:gd name="connsiteX115" fmla="*/ 8566 w 10000"/>
                <a:gd name="connsiteY115" fmla="*/ 3138 h 10000"/>
                <a:gd name="connsiteX116" fmla="*/ 8566 w 10000"/>
                <a:gd name="connsiteY116" fmla="*/ 3022 h 10000"/>
                <a:gd name="connsiteX117" fmla="*/ 8684 w 10000"/>
                <a:gd name="connsiteY117" fmla="*/ 3022 h 10000"/>
                <a:gd name="connsiteX118" fmla="*/ 8684 w 10000"/>
                <a:gd name="connsiteY118" fmla="*/ 2849 h 10000"/>
                <a:gd name="connsiteX119" fmla="*/ 8765 w 10000"/>
                <a:gd name="connsiteY119" fmla="*/ 2618 h 10000"/>
                <a:gd name="connsiteX120" fmla="*/ 8845 w 10000"/>
                <a:gd name="connsiteY120" fmla="*/ 2618 h 10000"/>
                <a:gd name="connsiteX121" fmla="*/ 9044 w 10000"/>
                <a:gd name="connsiteY121" fmla="*/ 2618 h 10000"/>
                <a:gd name="connsiteX122" fmla="*/ 9044 w 10000"/>
                <a:gd name="connsiteY122" fmla="*/ 2444 h 10000"/>
                <a:gd name="connsiteX123" fmla="*/ 9123 w 10000"/>
                <a:gd name="connsiteY123" fmla="*/ 1918 h 10000"/>
                <a:gd name="connsiteX124" fmla="*/ 9245 w 10000"/>
                <a:gd name="connsiteY124" fmla="*/ 1745 h 10000"/>
                <a:gd name="connsiteX125" fmla="*/ 9603 w 10000"/>
                <a:gd name="connsiteY125" fmla="*/ 814 h 10000"/>
                <a:gd name="connsiteX126" fmla="*/ 9802 w 10000"/>
                <a:gd name="connsiteY126" fmla="*/ 699 h 10000"/>
                <a:gd name="connsiteX127" fmla="*/ 9881 w 10000"/>
                <a:gd name="connsiteY127" fmla="*/ 526 h 10000"/>
                <a:gd name="connsiteX128" fmla="*/ 10000 w 10000"/>
                <a:gd name="connsiteY128" fmla="*/ 404 h 10000"/>
                <a:gd name="connsiteX0" fmla="*/ 10000 w 10000"/>
                <a:gd name="connsiteY0" fmla="*/ 404 h 10000"/>
                <a:gd name="connsiteX1" fmla="*/ 199 w 10000"/>
                <a:gd name="connsiteY1" fmla="*/ 0 h 10000"/>
                <a:gd name="connsiteX2" fmla="*/ 119 w 10000"/>
                <a:gd name="connsiteY2" fmla="*/ 118 h 10000"/>
                <a:gd name="connsiteX3" fmla="*/ 0 w 10000"/>
                <a:gd name="connsiteY3" fmla="*/ 404 h 10000"/>
                <a:gd name="connsiteX4" fmla="*/ 0 w 10000"/>
                <a:gd name="connsiteY4" fmla="*/ 699 h 10000"/>
                <a:gd name="connsiteX5" fmla="*/ 119 w 10000"/>
                <a:gd name="connsiteY5" fmla="*/ 699 h 10000"/>
                <a:gd name="connsiteX6" fmla="*/ 119 w 10000"/>
                <a:gd name="connsiteY6" fmla="*/ 699 h 10000"/>
                <a:gd name="connsiteX7" fmla="*/ 398 w 10000"/>
                <a:gd name="connsiteY7" fmla="*/ 1223 h 10000"/>
                <a:gd name="connsiteX8" fmla="*/ 557 w 10000"/>
                <a:gd name="connsiteY8" fmla="*/ 1745 h 10000"/>
                <a:gd name="connsiteX9" fmla="*/ 557 w 10000"/>
                <a:gd name="connsiteY9" fmla="*/ 1918 h 10000"/>
                <a:gd name="connsiteX10" fmla="*/ 678 w 10000"/>
                <a:gd name="connsiteY10" fmla="*/ 1918 h 10000"/>
                <a:gd name="connsiteX11" fmla="*/ 678 w 10000"/>
                <a:gd name="connsiteY11" fmla="*/ 2033 h 10000"/>
                <a:gd name="connsiteX12" fmla="*/ 758 w 10000"/>
                <a:gd name="connsiteY12" fmla="*/ 2153 h 10000"/>
                <a:gd name="connsiteX13" fmla="*/ 758 w 10000"/>
                <a:gd name="connsiteY13" fmla="*/ 2327 h 10000"/>
                <a:gd name="connsiteX14" fmla="*/ 557 w 10000"/>
                <a:gd name="connsiteY14" fmla="*/ 2444 h 10000"/>
                <a:gd name="connsiteX15" fmla="*/ 758 w 10000"/>
                <a:gd name="connsiteY15" fmla="*/ 2618 h 10000"/>
                <a:gd name="connsiteX16" fmla="*/ 956 w 10000"/>
                <a:gd name="connsiteY16" fmla="*/ 3022 h 10000"/>
                <a:gd name="connsiteX17" fmla="*/ 1155 w 10000"/>
                <a:gd name="connsiteY17" fmla="*/ 3427 h 10000"/>
                <a:gd name="connsiteX18" fmla="*/ 1234 w 10000"/>
                <a:gd name="connsiteY18" fmla="*/ 3664 h 10000"/>
                <a:gd name="connsiteX19" fmla="*/ 1155 w 10000"/>
                <a:gd name="connsiteY19" fmla="*/ 3953 h 10000"/>
                <a:gd name="connsiteX20" fmla="*/ 1155 w 10000"/>
                <a:gd name="connsiteY20" fmla="*/ 4362 h 10000"/>
                <a:gd name="connsiteX21" fmla="*/ 1155 w 10000"/>
                <a:gd name="connsiteY21" fmla="*/ 4537 h 10000"/>
                <a:gd name="connsiteX22" fmla="*/ 1316 w 10000"/>
                <a:gd name="connsiteY22" fmla="*/ 4768 h 10000"/>
                <a:gd name="connsiteX23" fmla="*/ 1434 w 10000"/>
                <a:gd name="connsiteY23" fmla="*/ 4768 h 10000"/>
                <a:gd name="connsiteX24" fmla="*/ 1594 w 10000"/>
                <a:gd name="connsiteY24" fmla="*/ 4768 h 10000"/>
                <a:gd name="connsiteX25" fmla="*/ 1713 w 10000"/>
                <a:gd name="connsiteY25" fmla="*/ 5057 h 10000"/>
                <a:gd name="connsiteX26" fmla="*/ 1793 w 10000"/>
                <a:gd name="connsiteY26" fmla="*/ 5175 h 10000"/>
                <a:gd name="connsiteX27" fmla="*/ 2073 w 10000"/>
                <a:gd name="connsiteY27" fmla="*/ 5175 h 10000"/>
                <a:gd name="connsiteX28" fmla="*/ 2192 w 10000"/>
                <a:gd name="connsiteY28" fmla="*/ 5352 h 10000"/>
                <a:gd name="connsiteX29" fmla="*/ 2271 w 10000"/>
                <a:gd name="connsiteY29" fmla="*/ 5466 h 10000"/>
                <a:gd name="connsiteX30" fmla="*/ 2351 w 10000"/>
                <a:gd name="connsiteY30" fmla="*/ 5466 h 10000"/>
                <a:gd name="connsiteX31" fmla="*/ 2271 w 10000"/>
                <a:gd name="connsiteY31" fmla="*/ 5754 h 10000"/>
                <a:gd name="connsiteX32" fmla="*/ 2351 w 10000"/>
                <a:gd name="connsiteY32" fmla="*/ 5871 h 10000"/>
                <a:gd name="connsiteX33" fmla="*/ 2630 w 10000"/>
                <a:gd name="connsiteY33" fmla="*/ 6160 h 10000"/>
                <a:gd name="connsiteX34" fmla="*/ 2828 w 10000"/>
                <a:gd name="connsiteY34" fmla="*/ 6453 h 10000"/>
                <a:gd name="connsiteX35" fmla="*/ 2909 w 10000"/>
                <a:gd name="connsiteY35" fmla="*/ 6569 h 10000"/>
                <a:gd name="connsiteX36" fmla="*/ 3107 w 10000"/>
                <a:gd name="connsiteY36" fmla="*/ 6688 h 10000"/>
                <a:gd name="connsiteX37" fmla="*/ 3107 w 10000"/>
                <a:gd name="connsiteY37" fmla="*/ 6862 h 10000"/>
                <a:gd name="connsiteX38" fmla="*/ 3228 w 10000"/>
                <a:gd name="connsiteY38" fmla="*/ 7153 h 10000"/>
                <a:gd name="connsiteX39" fmla="*/ 3307 w 10000"/>
                <a:gd name="connsiteY39" fmla="*/ 7267 h 10000"/>
                <a:gd name="connsiteX40" fmla="*/ 3307 w 10000"/>
                <a:gd name="connsiteY40" fmla="*/ 7384 h 10000"/>
                <a:gd name="connsiteX41" fmla="*/ 3386 w 10000"/>
                <a:gd name="connsiteY41" fmla="*/ 7560 h 10000"/>
                <a:gd name="connsiteX42" fmla="*/ 3784 w 10000"/>
                <a:gd name="connsiteY42" fmla="*/ 7791 h 10000"/>
                <a:gd name="connsiteX43" fmla="*/ 3865 w 10000"/>
                <a:gd name="connsiteY43" fmla="*/ 8082 h 10000"/>
                <a:gd name="connsiteX44" fmla="*/ 3865 w 10000"/>
                <a:gd name="connsiteY44" fmla="*/ 8199 h 10000"/>
                <a:gd name="connsiteX45" fmla="*/ 3945 w 10000"/>
                <a:gd name="connsiteY45" fmla="*/ 8373 h 10000"/>
                <a:gd name="connsiteX46" fmla="*/ 4065 w 10000"/>
                <a:gd name="connsiteY46" fmla="*/ 8486 h 10000"/>
                <a:gd name="connsiteX47" fmla="*/ 4263 w 10000"/>
                <a:gd name="connsiteY47" fmla="*/ 8777 h 10000"/>
                <a:gd name="connsiteX48" fmla="*/ 4263 w 10000"/>
                <a:gd name="connsiteY48" fmla="*/ 8896 h 10000"/>
                <a:gd name="connsiteX49" fmla="*/ 4344 w 10000"/>
                <a:gd name="connsiteY49" fmla="*/ 9070 h 10000"/>
                <a:gd name="connsiteX50" fmla="*/ 4623 w 10000"/>
                <a:gd name="connsiteY50" fmla="*/ 9185 h 10000"/>
                <a:gd name="connsiteX51" fmla="*/ 4702 w 10000"/>
                <a:gd name="connsiteY51" fmla="*/ 9185 h 10000"/>
                <a:gd name="connsiteX52" fmla="*/ 4821 w 10000"/>
                <a:gd name="connsiteY52" fmla="*/ 9070 h 10000"/>
                <a:gd name="connsiteX53" fmla="*/ 5099 w 10000"/>
                <a:gd name="connsiteY53" fmla="*/ 9185 h 10000"/>
                <a:gd name="connsiteX54" fmla="*/ 5298 w 10000"/>
                <a:gd name="connsiteY54" fmla="*/ 9070 h 10000"/>
                <a:gd name="connsiteX55" fmla="*/ 5458 w 10000"/>
                <a:gd name="connsiteY55" fmla="*/ 8896 h 10000"/>
                <a:gd name="connsiteX56" fmla="*/ 5579 w 10000"/>
                <a:gd name="connsiteY56" fmla="*/ 9070 h 10000"/>
                <a:gd name="connsiteX57" fmla="*/ 5937 w 10000"/>
                <a:gd name="connsiteY57" fmla="*/ 9477 h 10000"/>
                <a:gd name="connsiteX58" fmla="*/ 6016 w 10000"/>
                <a:gd name="connsiteY58" fmla="*/ 9710 h 10000"/>
                <a:gd name="connsiteX59" fmla="*/ 6135 w 10000"/>
                <a:gd name="connsiteY59" fmla="*/ 9884 h 10000"/>
                <a:gd name="connsiteX60" fmla="*/ 6217 w 10000"/>
                <a:gd name="connsiteY60" fmla="*/ 9884 h 10000"/>
                <a:gd name="connsiteX61" fmla="*/ 6296 w 10000"/>
                <a:gd name="connsiteY61" fmla="*/ 9884 h 10000"/>
                <a:gd name="connsiteX62" fmla="*/ 6414 w 10000"/>
                <a:gd name="connsiteY62" fmla="*/ 9884 h 10000"/>
                <a:gd name="connsiteX63" fmla="*/ 6614 w 10000"/>
                <a:gd name="connsiteY63" fmla="*/ 9884 h 10000"/>
                <a:gd name="connsiteX64" fmla="*/ 6693 w 10000"/>
                <a:gd name="connsiteY64" fmla="*/ 9884 h 10000"/>
                <a:gd name="connsiteX65" fmla="*/ 6893 w 10000"/>
                <a:gd name="connsiteY65" fmla="*/ 9884 h 10000"/>
                <a:gd name="connsiteX66" fmla="*/ 6972 w 10000"/>
                <a:gd name="connsiteY66" fmla="*/ 9884 h 10000"/>
                <a:gd name="connsiteX67" fmla="*/ 7053 w 10000"/>
                <a:gd name="connsiteY67" fmla="*/ 10000 h 10000"/>
                <a:gd name="connsiteX68" fmla="*/ 7251 w 10000"/>
                <a:gd name="connsiteY68" fmla="*/ 9884 h 10000"/>
                <a:gd name="connsiteX69" fmla="*/ 7451 w 10000"/>
                <a:gd name="connsiteY69" fmla="*/ 9884 h 10000"/>
                <a:gd name="connsiteX70" fmla="*/ 7650 w 10000"/>
                <a:gd name="connsiteY70" fmla="*/ 9710 h 10000"/>
                <a:gd name="connsiteX71" fmla="*/ 7810 w 10000"/>
                <a:gd name="connsiteY71" fmla="*/ 9710 h 10000"/>
                <a:gd name="connsiteX72" fmla="*/ 8088 w 10000"/>
                <a:gd name="connsiteY72" fmla="*/ 9710 h 10000"/>
                <a:gd name="connsiteX73" fmla="*/ 8368 w 10000"/>
                <a:gd name="connsiteY73" fmla="*/ 9477 h 10000"/>
                <a:gd name="connsiteX74" fmla="*/ 8368 w 10000"/>
                <a:gd name="connsiteY74" fmla="*/ 9477 h 10000"/>
                <a:gd name="connsiteX75" fmla="*/ 8368 w 10000"/>
                <a:gd name="connsiteY75" fmla="*/ 9477 h 10000"/>
                <a:gd name="connsiteX76" fmla="*/ 8684 w 10000"/>
                <a:gd name="connsiteY76" fmla="*/ 9070 h 10000"/>
                <a:gd name="connsiteX77" fmla="*/ 8765 w 10000"/>
                <a:gd name="connsiteY77" fmla="*/ 8896 h 10000"/>
                <a:gd name="connsiteX78" fmla="*/ 8965 w 10000"/>
                <a:gd name="connsiteY78" fmla="*/ 8896 h 10000"/>
                <a:gd name="connsiteX79" fmla="*/ 9323 w 10000"/>
                <a:gd name="connsiteY79" fmla="*/ 9070 h 10000"/>
                <a:gd name="connsiteX80" fmla="*/ 9524 w 10000"/>
                <a:gd name="connsiteY80" fmla="*/ 9070 h 10000"/>
                <a:gd name="connsiteX81" fmla="*/ 9722 w 10000"/>
                <a:gd name="connsiteY81" fmla="*/ 8896 h 10000"/>
                <a:gd name="connsiteX82" fmla="*/ 9722 w 10000"/>
                <a:gd name="connsiteY82" fmla="*/ 8486 h 10000"/>
                <a:gd name="connsiteX83" fmla="*/ 9802 w 10000"/>
                <a:gd name="connsiteY83" fmla="*/ 8373 h 10000"/>
                <a:gd name="connsiteX84" fmla="*/ 9722 w 10000"/>
                <a:gd name="connsiteY84" fmla="*/ 8199 h 10000"/>
                <a:gd name="connsiteX85" fmla="*/ 9722 w 10000"/>
                <a:gd name="connsiteY85" fmla="*/ 8082 h 10000"/>
                <a:gd name="connsiteX86" fmla="*/ 9323 w 10000"/>
                <a:gd name="connsiteY86" fmla="*/ 8082 h 10000"/>
                <a:gd name="connsiteX87" fmla="*/ 9245 w 10000"/>
                <a:gd name="connsiteY87" fmla="*/ 7963 h 10000"/>
                <a:gd name="connsiteX88" fmla="*/ 9245 w 10000"/>
                <a:gd name="connsiteY88" fmla="*/ 7791 h 10000"/>
                <a:gd name="connsiteX89" fmla="*/ 9044 w 10000"/>
                <a:gd name="connsiteY89" fmla="*/ 7267 h 10000"/>
                <a:gd name="connsiteX90" fmla="*/ 9044 w 10000"/>
                <a:gd name="connsiteY90" fmla="*/ 6977 h 10000"/>
                <a:gd name="connsiteX91" fmla="*/ 8965 w 10000"/>
                <a:gd name="connsiteY91" fmla="*/ 6862 h 10000"/>
                <a:gd name="connsiteX92" fmla="*/ 8684 w 10000"/>
                <a:gd name="connsiteY92" fmla="*/ 6569 h 10000"/>
                <a:gd name="connsiteX93" fmla="*/ 8566 w 10000"/>
                <a:gd name="connsiteY93" fmla="*/ 6453 h 10000"/>
                <a:gd name="connsiteX94" fmla="*/ 8486 w 10000"/>
                <a:gd name="connsiteY94" fmla="*/ 6282 h 10000"/>
                <a:gd name="connsiteX95" fmla="*/ 8486 w 10000"/>
                <a:gd name="connsiteY95" fmla="*/ 6160 h 10000"/>
                <a:gd name="connsiteX96" fmla="*/ 8368 w 10000"/>
                <a:gd name="connsiteY96" fmla="*/ 5871 h 10000"/>
                <a:gd name="connsiteX97" fmla="*/ 8287 w 10000"/>
                <a:gd name="connsiteY97" fmla="*/ 5871 h 10000"/>
                <a:gd name="connsiteX98" fmla="*/ 8088 w 10000"/>
                <a:gd name="connsiteY98" fmla="*/ 5754 h 10000"/>
                <a:gd name="connsiteX99" fmla="*/ 8008 w 10000"/>
                <a:gd name="connsiteY99" fmla="*/ 5754 h 10000"/>
                <a:gd name="connsiteX100" fmla="*/ 7929 w 10000"/>
                <a:gd name="connsiteY100" fmla="*/ 5754 h 10000"/>
                <a:gd name="connsiteX101" fmla="*/ 7810 w 10000"/>
                <a:gd name="connsiteY101" fmla="*/ 5754 h 10000"/>
                <a:gd name="connsiteX102" fmla="*/ 7729 w 10000"/>
                <a:gd name="connsiteY102" fmla="*/ 5641 h 10000"/>
                <a:gd name="connsiteX103" fmla="*/ 7810 w 10000"/>
                <a:gd name="connsiteY103" fmla="*/ 5466 h 10000"/>
                <a:gd name="connsiteX104" fmla="*/ 7929 w 10000"/>
                <a:gd name="connsiteY104" fmla="*/ 5352 h 10000"/>
                <a:gd name="connsiteX105" fmla="*/ 7929 w 10000"/>
                <a:gd name="connsiteY105" fmla="*/ 5057 h 10000"/>
                <a:gd name="connsiteX106" fmla="*/ 8008 w 10000"/>
                <a:gd name="connsiteY106" fmla="*/ 5057 h 10000"/>
                <a:gd name="connsiteX107" fmla="*/ 8287 w 10000"/>
                <a:gd name="connsiteY107" fmla="*/ 5057 h 10000"/>
                <a:gd name="connsiteX108" fmla="*/ 8486 w 10000"/>
                <a:gd name="connsiteY108" fmla="*/ 5057 h 10000"/>
                <a:gd name="connsiteX109" fmla="*/ 8566 w 10000"/>
                <a:gd name="connsiteY109" fmla="*/ 4938 h 10000"/>
                <a:gd name="connsiteX110" fmla="*/ 8566 w 10000"/>
                <a:gd name="connsiteY110" fmla="*/ 4651 h 10000"/>
                <a:gd name="connsiteX111" fmla="*/ 8566 w 10000"/>
                <a:gd name="connsiteY111" fmla="*/ 3838 h 10000"/>
                <a:gd name="connsiteX112" fmla="*/ 8566 w 10000"/>
                <a:gd name="connsiteY112" fmla="*/ 3545 h 10000"/>
                <a:gd name="connsiteX113" fmla="*/ 8684 w 10000"/>
                <a:gd name="connsiteY113" fmla="*/ 3258 h 10000"/>
                <a:gd name="connsiteX114" fmla="*/ 8566 w 10000"/>
                <a:gd name="connsiteY114" fmla="*/ 3138 h 10000"/>
                <a:gd name="connsiteX115" fmla="*/ 8566 w 10000"/>
                <a:gd name="connsiteY115" fmla="*/ 3022 h 10000"/>
                <a:gd name="connsiteX116" fmla="*/ 8684 w 10000"/>
                <a:gd name="connsiteY116" fmla="*/ 3022 h 10000"/>
                <a:gd name="connsiteX117" fmla="*/ 8684 w 10000"/>
                <a:gd name="connsiteY117" fmla="*/ 2849 h 10000"/>
                <a:gd name="connsiteX118" fmla="*/ 8765 w 10000"/>
                <a:gd name="connsiteY118" fmla="*/ 2618 h 10000"/>
                <a:gd name="connsiteX119" fmla="*/ 8845 w 10000"/>
                <a:gd name="connsiteY119" fmla="*/ 2618 h 10000"/>
                <a:gd name="connsiteX120" fmla="*/ 9044 w 10000"/>
                <a:gd name="connsiteY120" fmla="*/ 2618 h 10000"/>
                <a:gd name="connsiteX121" fmla="*/ 9044 w 10000"/>
                <a:gd name="connsiteY121" fmla="*/ 2444 h 10000"/>
                <a:gd name="connsiteX122" fmla="*/ 9123 w 10000"/>
                <a:gd name="connsiteY122" fmla="*/ 1918 h 10000"/>
                <a:gd name="connsiteX123" fmla="*/ 9245 w 10000"/>
                <a:gd name="connsiteY123" fmla="*/ 1745 h 10000"/>
                <a:gd name="connsiteX124" fmla="*/ 9603 w 10000"/>
                <a:gd name="connsiteY124" fmla="*/ 814 h 10000"/>
                <a:gd name="connsiteX125" fmla="*/ 9802 w 10000"/>
                <a:gd name="connsiteY125" fmla="*/ 699 h 10000"/>
                <a:gd name="connsiteX126" fmla="*/ 9881 w 10000"/>
                <a:gd name="connsiteY126" fmla="*/ 526 h 10000"/>
                <a:gd name="connsiteX127" fmla="*/ 10000 w 10000"/>
                <a:gd name="connsiteY127" fmla="*/ 404 h 10000"/>
                <a:gd name="connsiteX0" fmla="*/ 10000 w 10000"/>
                <a:gd name="connsiteY0" fmla="*/ 404 h 10000"/>
                <a:gd name="connsiteX1" fmla="*/ 199 w 10000"/>
                <a:gd name="connsiteY1" fmla="*/ 0 h 10000"/>
                <a:gd name="connsiteX2" fmla="*/ 119 w 10000"/>
                <a:gd name="connsiteY2" fmla="*/ 118 h 10000"/>
                <a:gd name="connsiteX3" fmla="*/ 0 w 10000"/>
                <a:gd name="connsiteY3" fmla="*/ 699 h 10000"/>
                <a:gd name="connsiteX4" fmla="*/ 119 w 10000"/>
                <a:gd name="connsiteY4" fmla="*/ 699 h 10000"/>
                <a:gd name="connsiteX5" fmla="*/ 119 w 10000"/>
                <a:gd name="connsiteY5" fmla="*/ 699 h 10000"/>
                <a:gd name="connsiteX6" fmla="*/ 398 w 10000"/>
                <a:gd name="connsiteY6" fmla="*/ 1223 h 10000"/>
                <a:gd name="connsiteX7" fmla="*/ 557 w 10000"/>
                <a:gd name="connsiteY7" fmla="*/ 1745 h 10000"/>
                <a:gd name="connsiteX8" fmla="*/ 557 w 10000"/>
                <a:gd name="connsiteY8" fmla="*/ 1918 h 10000"/>
                <a:gd name="connsiteX9" fmla="*/ 678 w 10000"/>
                <a:gd name="connsiteY9" fmla="*/ 1918 h 10000"/>
                <a:gd name="connsiteX10" fmla="*/ 678 w 10000"/>
                <a:gd name="connsiteY10" fmla="*/ 2033 h 10000"/>
                <a:gd name="connsiteX11" fmla="*/ 758 w 10000"/>
                <a:gd name="connsiteY11" fmla="*/ 2153 h 10000"/>
                <a:gd name="connsiteX12" fmla="*/ 758 w 10000"/>
                <a:gd name="connsiteY12" fmla="*/ 2327 h 10000"/>
                <a:gd name="connsiteX13" fmla="*/ 557 w 10000"/>
                <a:gd name="connsiteY13" fmla="*/ 2444 h 10000"/>
                <a:gd name="connsiteX14" fmla="*/ 758 w 10000"/>
                <a:gd name="connsiteY14" fmla="*/ 2618 h 10000"/>
                <a:gd name="connsiteX15" fmla="*/ 956 w 10000"/>
                <a:gd name="connsiteY15" fmla="*/ 3022 h 10000"/>
                <a:gd name="connsiteX16" fmla="*/ 1155 w 10000"/>
                <a:gd name="connsiteY16" fmla="*/ 3427 h 10000"/>
                <a:gd name="connsiteX17" fmla="*/ 1234 w 10000"/>
                <a:gd name="connsiteY17" fmla="*/ 3664 h 10000"/>
                <a:gd name="connsiteX18" fmla="*/ 1155 w 10000"/>
                <a:gd name="connsiteY18" fmla="*/ 3953 h 10000"/>
                <a:gd name="connsiteX19" fmla="*/ 1155 w 10000"/>
                <a:gd name="connsiteY19" fmla="*/ 4362 h 10000"/>
                <a:gd name="connsiteX20" fmla="*/ 1155 w 10000"/>
                <a:gd name="connsiteY20" fmla="*/ 4537 h 10000"/>
                <a:gd name="connsiteX21" fmla="*/ 1316 w 10000"/>
                <a:gd name="connsiteY21" fmla="*/ 4768 h 10000"/>
                <a:gd name="connsiteX22" fmla="*/ 1434 w 10000"/>
                <a:gd name="connsiteY22" fmla="*/ 4768 h 10000"/>
                <a:gd name="connsiteX23" fmla="*/ 1594 w 10000"/>
                <a:gd name="connsiteY23" fmla="*/ 4768 h 10000"/>
                <a:gd name="connsiteX24" fmla="*/ 1713 w 10000"/>
                <a:gd name="connsiteY24" fmla="*/ 5057 h 10000"/>
                <a:gd name="connsiteX25" fmla="*/ 1793 w 10000"/>
                <a:gd name="connsiteY25" fmla="*/ 5175 h 10000"/>
                <a:gd name="connsiteX26" fmla="*/ 2073 w 10000"/>
                <a:gd name="connsiteY26" fmla="*/ 5175 h 10000"/>
                <a:gd name="connsiteX27" fmla="*/ 2192 w 10000"/>
                <a:gd name="connsiteY27" fmla="*/ 5352 h 10000"/>
                <a:gd name="connsiteX28" fmla="*/ 2271 w 10000"/>
                <a:gd name="connsiteY28" fmla="*/ 5466 h 10000"/>
                <a:gd name="connsiteX29" fmla="*/ 2351 w 10000"/>
                <a:gd name="connsiteY29" fmla="*/ 5466 h 10000"/>
                <a:gd name="connsiteX30" fmla="*/ 2271 w 10000"/>
                <a:gd name="connsiteY30" fmla="*/ 5754 h 10000"/>
                <a:gd name="connsiteX31" fmla="*/ 2351 w 10000"/>
                <a:gd name="connsiteY31" fmla="*/ 5871 h 10000"/>
                <a:gd name="connsiteX32" fmla="*/ 2630 w 10000"/>
                <a:gd name="connsiteY32" fmla="*/ 6160 h 10000"/>
                <a:gd name="connsiteX33" fmla="*/ 2828 w 10000"/>
                <a:gd name="connsiteY33" fmla="*/ 6453 h 10000"/>
                <a:gd name="connsiteX34" fmla="*/ 2909 w 10000"/>
                <a:gd name="connsiteY34" fmla="*/ 6569 h 10000"/>
                <a:gd name="connsiteX35" fmla="*/ 3107 w 10000"/>
                <a:gd name="connsiteY35" fmla="*/ 6688 h 10000"/>
                <a:gd name="connsiteX36" fmla="*/ 3107 w 10000"/>
                <a:gd name="connsiteY36" fmla="*/ 6862 h 10000"/>
                <a:gd name="connsiteX37" fmla="*/ 3228 w 10000"/>
                <a:gd name="connsiteY37" fmla="*/ 7153 h 10000"/>
                <a:gd name="connsiteX38" fmla="*/ 3307 w 10000"/>
                <a:gd name="connsiteY38" fmla="*/ 7267 h 10000"/>
                <a:gd name="connsiteX39" fmla="*/ 3307 w 10000"/>
                <a:gd name="connsiteY39" fmla="*/ 7384 h 10000"/>
                <a:gd name="connsiteX40" fmla="*/ 3386 w 10000"/>
                <a:gd name="connsiteY40" fmla="*/ 7560 h 10000"/>
                <a:gd name="connsiteX41" fmla="*/ 3784 w 10000"/>
                <a:gd name="connsiteY41" fmla="*/ 7791 h 10000"/>
                <a:gd name="connsiteX42" fmla="*/ 3865 w 10000"/>
                <a:gd name="connsiteY42" fmla="*/ 8082 h 10000"/>
                <a:gd name="connsiteX43" fmla="*/ 3865 w 10000"/>
                <a:gd name="connsiteY43" fmla="*/ 8199 h 10000"/>
                <a:gd name="connsiteX44" fmla="*/ 3945 w 10000"/>
                <a:gd name="connsiteY44" fmla="*/ 8373 h 10000"/>
                <a:gd name="connsiteX45" fmla="*/ 4065 w 10000"/>
                <a:gd name="connsiteY45" fmla="*/ 8486 h 10000"/>
                <a:gd name="connsiteX46" fmla="*/ 4263 w 10000"/>
                <a:gd name="connsiteY46" fmla="*/ 8777 h 10000"/>
                <a:gd name="connsiteX47" fmla="*/ 4263 w 10000"/>
                <a:gd name="connsiteY47" fmla="*/ 8896 h 10000"/>
                <a:gd name="connsiteX48" fmla="*/ 4344 w 10000"/>
                <a:gd name="connsiteY48" fmla="*/ 9070 h 10000"/>
                <a:gd name="connsiteX49" fmla="*/ 4623 w 10000"/>
                <a:gd name="connsiteY49" fmla="*/ 9185 h 10000"/>
                <a:gd name="connsiteX50" fmla="*/ 4702 w 10000"/>
                <a:gd name="connsiteY50" fmla="*/ 9185 h 10000"/>
                <a:gd name="connsiteX51" fmla="*/ 4821 w 10000"/>
                <a:gd name="connsiteY51" fmla="*/ 9070 h 10000"/>
                <a:gd name="connsiteX52" fmla="*/ 5099 w 10000"/>
                <a:gd name="connsiteY52" fmla="*/ 9185 h 10000"/>
                <a:gd name="connsiteX53" fmla="*/ 5298 w 10000"/>
                <a:gd name="connsiteY53" fmla="*/ 9070 h 10000"/>
                <a:gd name="connsiteX54" fmla="*/ 5458 w 10000"/>
                <a:gd name="connsiteY54" fmla="*/ 8896 h 10000"/>
                <a:gd name="connsiteX55" fmla="*/ 5579 w 10000"/>
                <a:gd name="connsiteY55" fmla="*/ 9070 h 10000"/>
                <a:gd name="connsiteX56" fmla="*/ 5937 w 10000"/>
                <a:gd name="connsiteY56" fmla="*/ 9477 h 10000"/>
                <a:gd name="connsiteX57" fmla="*/ 6016 w 10000"/>
                <a:gd name="connsiteY57" fmla="*/ 9710 h 10000"/>
                <a:gd name="connsiteX58" fmla="*/ 6135 w 10000"/>
                <a:gd name="connsiteY58" fmla="*/ 9884 h 10000"/>
                <a:gd name="connsiteX59" fmla="*/ 6217 w 10000"/>
                <a:gd name="connsiteY59" fmla="*/ 9884 h 10000"/>
                <a:gd name="connsiteX60" fmla="*/ 6296 w 10000"/>
                <a:gd name="connsiteY60" fmla="*/ 9884 h 10000"/>
                <a:gd name="connsiteX61" fmla="*/ 6414 w 10000"/>
                <a:gd name="connsiteY61" fmla="*/ 9884 h 10000"/>
                <a:gd name="connsiteX62" fmla="*/ 6614 w 10000"/>
                <a:gd name="connsiteY62" fmla="*/ 9884 h 10000"/>
                <a:gd name="connsiteX63" fmla="*/ 6693 w 10000"/>
                <a:gd name="connsiteY63" fmla="*/ 9884 h 10000"/>
                <a:gd name="connsiteX64" fmla="*/ 6893 w 10000"/>
                <a:gd name="connsiteY64" fmla="*/ 9884 h 10000"/>
                <a:gd name="connsiteX65" fmla="*/ 6972 w 10000"/>
                <a:gd name="connsiteY65" fmla="*/ 9884 h 10000"/>
                <a:gd name="connsiteX66" fmla="*/ 7053 w 10000"/>
                <a:gd name="connsiteY66" fmla="*/ 10000 h 10000"/>
                <a:gd name="connsiteX67" fmla="*/ 7251 w 10000"/>
                <a:gd name="connsiteY67" fmla="*/ 9884 h 10000"/>
                <a:gd name="connsiteX68" fmla="*/ 7451 w 10000"/>
                <a:gd name="connsiteY68" fmla="*/ 9884 h 10000"/>
                <a:gd name="connsiteX69" fmla="*/ 7650 w 10000"/>
                <a:gd name="connsiteY69" fmla="*/ 9710 h 10000"/>
                <a:gd name="connsiteX70" fmla="*/ 7810 w 10000"/>
                <a:gd name="connsiteY70" fmla="*/ 9710 h 10000"/>
                <a:gd name="connsiteX71" fmla="*/ 8088 w 10000"/>
                <a:gd name="connsiteY71" fmla="*/ 9710 h 10000"/>
                <a:gd name="connsiteX72" fmla="*/ 8368 w 10000"/>
                <a:gd name="connsiteY72" fmla="*/ 9477 h 10000"/>
                <a:gd name="connsiteX73" fmla="*/ 8368 w 10000"/>
                <a:gd name="connsiteY73" fmla="*/ 9477 h 10000"/>
                <a:gd name="connsiteX74" fmla="*/ 8368 w 10000"/>
                <a:gd name="connsiteY74" fmla="*/ 9477 h 10000"/>
                <a:gd name="connsiteX75" fmla="*/ 8684 w 10000"/>
                <a:gd name="connsiteY75" fmla="*/ 9070 h 10000"/>
                <a:gd name="connsiteX76" fmla="*/ 8765 w 10000"/>
                <a:gd name="connsiteY76" fmla="*/ 8896 h 10000"/>
                <a:gd name="connsiteX77" fmla="*/ 8965 w 10000"/>
                <a:gd name="connsiteY77" fmla="*/ 8896 h 10000"/>
                <a:gd name="connsiteX78" fmla="*/ 9323 w 10000"/>
                <a:gd name="connsiteY78" fmla="*/ 9070 h 10000"/>
                <a:gd name="connsiteX79" fmla="*/ 9524 w 10000"/>
                <a:gd name="connsiteY79" fmla="*/ 9070 h 10000"/>
                <a:gd name="connsiteX80" fmla="*/ 9722 w 10000"/>
                <a:gd name="connsiteY80" fmla="*/ 8896 h 10000"/>
                <a:gd name="connsiteX81" fmla="*/ 9722 w 10000"/>
                <a:gd name="connsiteY81" fmla="*/ 8486 h 10000"/>
                <a:gd name="connsiteX82" fmla="*/ 9802 w 10000"/>
                <a:gd name="connsiteY82" fmla="*/ 8373 h 10000"/>
                <a:gd name="connsiteX83" fmla="*/ 9722 w 10000"/>
                <a:gd name="connsiteY83" fmla="*/ 8199 h 10000"/>
                <a:gd name="connsiteX84" fmla="*/ 9722 w 10000"/>
                <a:gd name="connsiteY84" fmla="*/ 8082 h 10000"/>
                <a:gd name="connsiteX85" fmla="*/ 9323 w 10000"/>
                <a:gd name="connsiteY85" fmla="*/ 8082 h 10000"/>
                <a:gd name="connsiteX86" fmla="*/ 9245 w 10000"/>
                <a:gd name="connsiteY86" fmla="*/ 7963 h 10000"/>
                <a:gd name="connsiteX87" fmla="*/ 9245 w 10000"/>
                <a:gd name="connsiteY87" fmla="*/ 7791 h 10000"/>
                <a:gd name="connsiteX88" fmla="*/ 9044 w 10000"/>
                <a:gd name="connsiteY88" fmla="*/ 7267 h 10000"/>
                <a:gd name="connsiteX89" fmla="*/ 9044 w 10000"/>
                <a:gd name="connsiteY89" fmla="*/ 6977 h 10000"/>
                <a:gd name="connsiteX90" fmla="*/ 8965 w 10000"/>
                <a:gd name="connsiteY90" fmla="*/ 6862 h 10000"/>
                <a:gd name="connsiteX91" fmla="*/ 8684 w 10000"/>
                <a:gd name="connsiteY91" fmla="*/ 6569 h 10000"/>
                <a:gd name="connsiteX92" fmla="*/ 8566 w 10000"/>
                <a:gd name="connsiteY92" fmla="*/ 6453 h 10000"/>
                <a:gd name="connsiteX93" fmla="*/ 8486 w 10000"/>
                <a:gd name="connsiteY93" fmla="*/ 6282 h 10000"/>
                <a:gd name="connsiteX94" fmla="*/ 8486 w 10000"/>
                <a:gd name="connsiteY94" fmla="*/ 6160 h 10000"/>
                <a:gd name="connsiteX95" fmla="*/ 8368 w 10000"/>
                <a:gd name="connsiteY95" fmla="*/ 5871 h 10000"/>
                <a:gd name="connsiteX96" fmla="*/ 8287 w 10000"/>
                <a:gd name="connsiteY96" fmla="*/ 5871 h 10000"/>
                <a:gd name="connsiteX97" fmla="*/ 8088 w 10000"/>
                <a:gd name="connsiteY97" fmla="*/ 5754 h 10000"/>
                <a:gd name="connsiteX98" fmla="*/ 8008 w 10000"/>
                <a:gd name="connsiteY98" fmla="*/ 5754 h 10000"/>
                <a:gd name="connsiteX99" fmla="*/ 7929 w 10000"/>
                <a:gd name="connsiteY99" fmla="*/ 5754 h 10000"/>
                <a:gd name="connsiteX100" fmla="*/ 7810 w 10000"/>
                <a:gd name="connsiteY100" fmla="*/ 5754 h 10000"/>
                <a:gd name="connsiteX101" fmla="*/ 7729 w 10000"/>
                <a:gd name="connsiteY101" fmla="*/ 5641 h 10000"/>
                <a:gd name="connsiteX102" fmla="*/ 7810 w 10000"/>
                <a:gd name="connsiteY102" fmla="*/ 5466 h 10000"/>
                <a:gd name="connsiteX103" fmla="*/ 7929 w 10000"/>
                <a:gd name="connsiteY103" fmla="*/ 5352 h 10000"/>
                <a:gd name="connsiteX104" fmla="*/ 7929 w 10000"/>
                <a:gd name="connsiteY104" fmla="*/ 5057 h 10000"/>
                <a:gd name="connsiteX105" fmla="*/ 8008 w 10000"/>
                <a:gd name="connsiteY105" fmla="*/ 5057 h 10000"/>
                <a:gd name="connsiteX106" fmla="*/ 8287 w 10000"/>
                <a:gd name="connsiteY106" fmla="*/ 5057 h 10000"/>
                <a:gd name="connsiteX107" fmla="*/ 8486 w 10000"/>
                <a:gd name="connsiteY107" fmla="*/ 5057 h 10000"/>
                <a:gd name="connsiteX108" fmla="*/ 8566 w 10000"/>
                <a:gd name="connsiteY108" fmla="*/ 4938 h 10000"/>
                <a:gd name="connsiteX109" fmla="*/ 8566 w 10000"/>
                <a:gd name="connsiteY109" fmla="*/ 4651 h 10000"/>
                <a:gd name="connsiteX110" fmla="*/ 8566 w 10000"/>
                <a:gd name="connsiteY110" fmla="*/ 3838 h 10000"/>
                <a:gd name="connsiteX111" fmla="*/ 8566 w 10000"/>
                <a:gd name="connsiteY111" fmla="*/ 3545 h 10000"/>
                <a:gd name="connsiteX112" fmla="*/ 8684 w 10000"/>
                <a:gd name="connsiteY112" fmla="*/ 3258 h 10000"/>
                <a:gd name="connsiteX113" fmla="*/ 8566 w 10000"/>
                <a:gd name="connsiteY113" fmla="*/ 3138 h 10000"/>
                <a:gd name="connsiteX114" fmla="*/ 8566 w 10000"/>
                <a:gd name="connsiteY114" fmla="*/ 3022 h 10000"/>
                <a:gd name="connsiteX115" fmla="*/ 8684 w 10000"/>
                <a:gd name="connsiteY115" fmla="*/ 3022 h 10000"/>
                <a:gd name="connsiteX116" fmla="*/ 8684 w 10000"/>
                <a:gd name="connsiteY116" fmla="*/ 2849 h 10000"/>
                <a:gd name="connsiteX117" fmla="*/ 8765 w 10000"/>
                <a:gd name="connsiteY117" fmla="*/ 2618 h 10000"/>
                <a:gd name="connsiteX118" fmla="*/ 8845 w 10000"/>
                <a:gd name="connsiteY118" fmla="*/ 2618 h 10000"/>
                <a:gd name="connsiteX119" fmla="*/ 9044 w 10000"/>
                <a:gd name="connsiteY119" fmla="*/ 2618 h 10000"/>
                <a:gd name="connsiteX120" fmla="*/ 9044 w 10000"/>
                <a:gd name="connsiteY120" fmla="*/ 2444 h 10000"/>
                <a:gd name="connsiteX121" fmla="*/ 9123 w 10000"/>
                <a:gd name="connsiteY121" fmla="*/ 1918 h 10000"/>
                <a:gd name="connsiteX122" fmla="*/ 9245 w 10000"/>
                <a:gd name="connsiteY122" fmla="*/ 1745 h 10000"/>
                <a:gd name="connsiteX123" fmla="*/ 9603 w 10000"/>
                <a:gd name="connsiteY123" fmla="*/ 814 h 10000"/>
                <a:gd name="connsiteX124" fmla="*/ 9802 w 10000"/>
                <a:gd name="connsiteY124" fmla="*/ 699 h 10000"/>
                <a:gd name="connsiteX125" fmla="*/ 9881 w 10000"/>
                <a:gd name="connsiteY125" fmla="*/ 526 h 10000"/>
                <a:gd name="connsiteX126" fmla="*/ 10000 w 10000"/>
                <a:gd name="connsiteY126" fmla="*/ 404 h 10000"/>
                <a:gd name="connsiteX0" fmla="*/ 10593 w 10593"/>
                <a:gd name="connsiteY0" fmla="*/ 404 h 10000"/>
                <a:gd name="connsiteX1" fmla="*/ 792 w 10593"/>
                <a:gd name="connsiteY1" fmla="*/ 0 h 10000"/>
                <a:gd name="connsiteX2" fmla="*/ 593 w 10593"/>
                <a:gd name="connsiteY2" fmla="*/ 699 h 10000"/>
                <a:gd name="connsiteX3" fmla="*/ 712 w 10593"/>
                <a:gd name="connsiteY3" fmla="*/ 699 h 10000"/>
                <a:gd name="connsiteX4" fmla="*/ 712 w 10593"/>
                <a:gd name="connsiteY4" fmla="*/ 699 h 10000"/>
                <a:gd name="connsiteX5" fmla="*/ 991 w 10593"/>
                <a:gd name="connsiteY5" fmla="*/ 1223 h 10000"/>
                <a:gd name="connsiteX6" fmla="*/ 1150 w 10593"/>
                <a:gd name="connsiteY6" fmla="*/ 1745 h 10000"/>
                <a:gd name="connsiteX7" fmla="*/ 1150 w 10593"/>
                <a:gd name="connsiteY7" fmla="*/ 1918 h 10000"/>
                <a:gd name="connsiteX8" fmla="*/ 1271 w 10593"/>
                <a:gd name="connsiteY8" fmla="*/ 1918 h 10000"/>
                <a:gd name="connsiteX9" fmla="*/ 1271 w 10593"/>
                <a:gd name="connsiteY9" fmla="*/ 2033 h 10000"/>
                <a:gd name="connsiteX10" fmla="*/ 1351 w 10593"/>
                <a:gd name="connsiteY10" fmla="*/ 2153 h 10000"/>
                <a:gd name="connsiteX11" fmla="*/ 1351 w 10593"/>
                <a:gd name="connsiteY11" fmla="*/ 2327 h 10000"/>
                <a:gd name="connsiteX12" fmla="*/ 1150 w 10593"/>
                <a:gd name="connsiteY12" fmla="*/ 2444 h 10000"/>
                <a:gd name="connsiteX13" fmla="*/ 1351 w 10593"/>
                <a:gd name="connsiteY13" fmla="*/ 2618 h 10000"/>
                <a:gd name="connsiteX14" fmla="*/ 1549 w 10593"/>
                <a:gd name="connsiteY14" fmla="*/ 3022 h 10000"/>
                <a:gd name="connsiteX15" fmla="*/ 1748 w 10593"/>
                <a:gd name="connsiteY15" fmla="*/ 3427 h 10000"/>
                <a:gd name="connsiteX16" fmla="*/ 1827 w 10593"/>
                <a:gd name="connsiteY16" fmla="*/ 3664 h 10000"/>
                <a:gd name="connsiteX17" fmla="*/ 1748 w 10593"/>
                <a:gd name="connsiteY17" fmla="*/ 3953 h 10000"/>
                <a:gd name="connsiteX18" fmla="*/ 1748 w 10593"/>
                <a:gd name="connsiteY18" fmla="*/ 4362 h 10000"/>
                <a:gd name="connsiteX19" fmla="*/ 1748 w 10593"/>
                <a:gd name="connsiteY19" fmla="*/ 4537 h 10000"/>
                <a:gd name="connsiteX20" fmla="*/ 1909 w 10593"/>
                <a:gd name="connsiteY20" fmla="*/ 4768 h 10000"/>
                <a:gd name="connsiteX21" fmla="*/ 2027 w 10593"/>
                <a:gd name="connsiteY21" fmla="*/ 4768 h 10000"/>
                <a:gd name="connsiteX22" fmla="*/ 2187 w 10593"/>
                <a:gd name="connsiteY22" fmla="*/ 4768 h 10000"/>
                <a:gd name="connsiteX23" fmla="*/ 2306 w 10593"/>
                <a:gd name="connsiteY23" fmla="*/ 5057 h 10000"/>
                <a:gd name="connsiteX24" fmla="*/ 2386 w 10593"/>
                <a:gd name="connsiteY24" fmla="*/ 5175 h 10000"/>
                <a:gd name="connsiteX25" fmla="*/ 2666 w 10593"/>
                <a:gd name="connsiteY25" fmla="*/ 5175 h 10000"/>
                <a:gd name="connsiteX26" fmla="*/ 2785 w 10593"/>
                <a:gd name="connsiteY26" fmla="*/ 5352 h 10000"/>
                <a:gd name="connsiteX27" fmla="*/ 2864 w 10593"/>
                <a:gd name="connsiteY27" fmla="*/ 5466 h 10000"/>
                <a:gd name="connsiteX28" fmla="*/ 2944 w 10593"/>
                <a:gd name="connsiteY28" fmla="*/ 5466 h 10000"/>
                <a:gd name="connsiteX29" fmla="*/ 2864 w 10593"/>
                <a:gd name="connsiteY29" fmla="*/ 5754 h 10000"/>
                <a:gd name="connsiteX30" fmla="*/ 2944 w 10593"/>
                <a:gd name="connsiteY30" fmla="*/ 5871 h 10000"/>
                <a:gd name="connsiteX31" fmla="*/ 3223 w 10593"/>
                <a:gd name="connsiteY31" fmla="*/ 6160 h 10000"/>
                <a:gd name="connsiteX32" fmla="*/ 3421 w 10593"/>
                <a:gd name="connsiteY32" fmla="*/ 6453 h 10000"/>
                <a:gd name="connsiteX33" fmla="*/ 3502 w 10593"/>
                <a:gd name="connsiteY33" fmla="*/ 6569 h 10000"/>
                <a:gd name="connsiteX34" fmla="*/ 3700 w 10593"/>
                <a:gd name="connsiteY34" fmla="*/ 6688 h 10000"/>
                <a:gd name="connsiteX35" fmla="*/ 3700 w 10593"/>
                <a:gd name="connsiteY35" fmla="*/ 6862 h 10000"/>
                <a:gd name="connsiteX36" fmla="*/ 3821 w 10593"/>
                <a:gd name="connsiteY36" fmla="*/ 7153 h 10000"/>
                <a:gd name="connsiteX37" fmla="*/ 3900 w 10593"/>
                <a:gd name="connsiteY37" fmla="*/ 7267 h 10000"/>
                <a:gd name="connsiteX38" fmla="*/ 3900 w 10593"/>
                <a:gd name="connsiteY38" fmla="*/ 7384 h 10000"/>
                <a:gd name="connsiteX39" fmla="*/ 3979 w 10593"/>
                <a:gd name="connsiteY39" fmla="*/ 7560 h 10000"/>
                <a:gd name="connsiteX40" fmla="*/ 4377 w 10593"/>
                <a:gd name="connsiteY40" fmla="*/ 7791 h 10000"/>
                <a:gd name="connsiteX41" fmla="*/ 4458 w 10593"/>
                <a:gd name="connsiteY41" fmla="*/ 8082 h 10000"/>
                <a:gd name="connsiteX42" fmla="*/ 4458 w 10593"/>
                <a:gd name="connsiteY42" fmla="*/ 8199 h 10000"/>
                <a:gd name="connsiteX43" fmla="*/ 4538 w 10593"/>
                <a:gd name="connsiteY43" fmla="*/ 8373 h 10000"/>
                <a:gd name="connsiteX44" fmla="*/ 4658 w 10593"/>
                <a:gd name="connsiteY44" fmla="*/ 8486 h 10000"/>
                <a:gd name="connsiteX45" fmla="*/ 4856 w 10593"/>
                <a:gd name="connsiteY45" fmla="*/ 8777 h 10000"/>
                <a:gd name="connsiteX46" fmla="*/ 4856 w 10593"/>
                <a:gd name="connsiteY46" fmla="*/ 8896 h 10000"/>
                <a:gd name="connsiteX47" fmla="*/ 4937 w 10593"/>
                <a:gd name="connsiteY47" fmla="*/ 9070 h 10000"/>
                <a:gd name="connsiteX48" fmla="*/ 5216 w 10593"/>
                <a:gd name="connsiteY48" fmla="*/ 9185 h 10000"/>
                <a:gd name="connsiteX49" fmla="*/ 5295 w 10593"/>
                <a:gd name="connsiteY49" fmla="*/ 9185 h 10000"/>
                <a:gd name="connsiteX50" fmla="*/ 5414 w 10593"/>
                <a:gd name="connsiteY50" fmla="*/ 9070 h 10000"/>
                <a:gd name="connsiteX51" fmla="*/ 5692 w 10593"/>
                <a:gd name="connsiteY51" fmla="*/ 9185 h 10000"/>
                <a:gd name="connsiteX52" fmla="*/ 5891 w 10593"/>
                <a:gd name="connsiteY52" fmla="*/ 9070 h 10000"/>
                <a:gd name="connsiteX53" fmla="*/ 6051 w 10593"/>
                <a:gd name="connsiteY53" fmla="*/ 8896 h 10000"/>
                <a:gd name="connsiteX54" fmla="*/ 6172 w 10593"/>
                <a:gd name="connsiteY54" fmla="*/ 9070 h 10000"/>
                <a:gd name="connsiteX55" fmla="*/ 6530 w 10593"/>
                <a:gd name="connsiteY55" fmla="*/ 9477 h 10000"/>
                <a:gd name="connsiteX56" fmla="*/ 6609 w 10593"/>
                <a:gd name="connsiteY56" fmla="*/ 9710 h 10000"/>
                <a:gd name="connsiteX57" fmla="*/ 6728 w 10593"/>
                <a:gd name="connsiteY57" fmla="*/ 9884 h 10000"/>
                <a:gd name="connsiteX58" fmla="*/ 6810 w 10593"/>
                <a:gd name="connsiteY58" fmla="*/ 9884 h 10000"/>
                <a:gd name="connsiteX59" fmla="*/ 6889 w 10593"/>
                <a:gd name="connsiteY59" fmla="*/ 9884 h 10000"/>
                <a:gd name="connsiteX60" fmla="*/ 7007 w 10593"/>
                <a:gd name="connsiteY60" fmla="*/ 9884 h 10000"/>
                <a:gd name="connsiteX61" fmla="*/ 7207 w 10593"/>
                <a:gd name="connsiteY61" fmla="*/ 9884 h 10000"/>
                <a:gd name="connsiteX62" fmla="*/ 7286 w 10593"/>
                <a:gd name="connsiteY62" fmla="*/ 9884 h 10000"/>
                <a:gd name="connsiteX63" fmla="*/ 7486 w 10593"/>
                <a:gd name="connsiteY63" fmla="*/ 9884 h 10000"/>
                <a:gd name="connsiteX64" fmla="*/ 7565 w 10593"/>
                <a:gd name="connsiteY64" fmla="*/ 9884 h 10000"/>
                <a:gd name="connsiteX65" fmla="*/ 7646 w 10593"/>
                <a:gd name="connsiteY65" fmla="*/ 10000 h 10000"/>
                <a:gd name="connsiteX66" fmla="*/ 7844 w 10593"/>
                <a:gd name="connsiteY66" fmla="*/ 9884 h 10000"/>
                <a:gd name="connsiteX67" fmla="*/ 8044 w 10593"/>
                <a:gd name="connsiteY67" fmla="*/ 9884 h 10000"/>
                <a:gd name="connsiteX68" fmla="*/ 8243 w 10593"/>
                <a:gd name="connsiteY68" fmla="*/ 9710 h 10000"/>
                <a:gd name="connsiteX69" fmla="*/ 8403 w 10593"/>
                <a:gd name="connsiteY69" fmla="*/ 9710 h 10000"/>
                <a:gd name="connsiteX70" fmla="*/ 8681 w 10593"/>
                <a:gd name="connsiteY70" fmla="*/ 9710 h 10000"/>
                <a:gd name="connsiteX71" fmla="*/ 8961 w 10593"/>
                <a:gd name="connsiteY71" fmla="*/ 9477 h 10000"/>
                <a:gd name="connsiteX72" fmla="*/ 8961 w 10593"/>
                <a:gd name="connsiteY72" fmla="*/ 9477 h 10000"/>
                <a:gd name="connsiteX73" fmla="*/ 8961 w 10593"/>
                <a:gd name="connsiteY73" fmla="*/ 9477 h 10000"/>
                <a:gd name="connsiteX74" fmla="*/ 9277 w 10593"/>
                <a:gd name="connsiteY74" fmla="*/ 9070 h 10000"/>
                <a:gd name="connsiteX75" fmla="*/ 9358 w 10593"/>
                <a:gd name="connsiteY75" fmla="*/ 8896 h 10000"/>
                <a:gd name="connsiteX76" fmla="*/ 9558 w 10593"/>
                <a:gd name="connsiteY76" fmla="*/ 8896 h 10000"/>
                <a:gd name="connsiteX77" fmla="*/ 9916 w 10593"/>
                <a:gd name="connsiteY77" fmla="*/ 9070 h 10000"/>
                <a:gd name="connsiteX78" fmla="*/ 10117 w 10593"/>
                <a:gd name="connsiteY78" fmla="*/ 9070 h 10000"/>
                <a:gd name="connsiteX79" fmla="*/ 10315 w 10593"/>
                <a:gd name="connsiteY79" fmla="*/ 8896 h 10000"/>
                <a:gd name="connsiteX80" fmla="*/ 10315 w 10593"/>
                <a:gd name="connsiteY80" fmla="*/ 8486 h 10000"/>
                <a:gd name="connsiteX81" fmla="*/ 10395 w 10593"/>
                <a:gd name="connsiteY81" fmla="*/ 8373 h 10000"/>
                <a:gd name="connsiteX82" fmla="*/ 10315 w 10593"/>
                <a:gd name="connsiteY82" fmla="*/ 8199 h 10000"/>
                <a:gd name="connsiteX83" fmla="*/ 10315 w 10593"/>
                <a:gd name="connsiteY83" fmla="*/ 8082 h 10000"/>
                <a:gd name="connsiteX84" fmla="*/ 9916 w 10593"/>
                <a:gd name="connsiteY84" fmla="*/ 8082 h 10000"/>
                <a:gd name="connsiteX85" fmla="*/ 9838 w 10593"/>
                <a:gd name="connsiteY85" fmla="*/ 7963 h 10000"/>
                <a:gd name="connsiteX86" fmla="*/ 9838 w 10593"/>
                <a:gd name="connsiteY86" fmla="*/ 7791 h 10000"/>
                <a:gd name="connsiteX87" fmla="*/ 9637 w 10593"/>
                <a:gd name="connsiteY87" fmla="*/ 7267 h 10000"/>
                <a:gd name="connsiteX88" fmla="*/ 9637 w 10593"/>
                <a:gd name="connsiteY88" fmla="*/ 6977 h 10000"/>
                <a:gd name="connsiteX89" fmla="*/ 9558 w 10593"/>
                <a:gd name="connsiteY89" fmla="*/ 6862 h 10000"/>
                <a:gd name="connsiteX90" fmla="*/ 9277 w 10593"/>
                <a:gd name="connsiteY90" fmla="*/ 6569 h 10000"/>
                <a:gd name="connsiteX91" fmla="*/ 9159 w 10593"/>
                <a:gd name="connsiteY91" fmla="*/ 6453 h 10000"/>
                <a:gd name="connsiteX92" fmla="*/ 9079 w 10593"/>
                <a:gd name="connsiteY92" fmla="*/ 6282 h 10000"/>
                <a:gd name="connsiteX93" fmla="*/ 9079 w 10593"/>
                <a:gd name="connsiteY93" fmla="*/ 6160 h 10000"/>
                <a:gd name="connsiteX94" fmla="*/ 8961 w 10593"/>
                <a:gd name="connsiteY94" fmla="*/ 5871 h 10000"/>
                <a:gd name="connsiteX95" fmla="*/ 8880 w 10593"/>
                <a:gd name="connsiteY95" fmla="*/ 5871 h 10000"/>
                <a:gd name="connsiteX96" fmla="*/ 8681 w 10593"/>
                <a:gd name="connsiteY96" fmla="*/ 5754 h 10000"/>
                <a:gd name="connsiteX97" fmla="*/ 8601 w 10593"/>
                <a:gd name="connsiteY97" fmla="*/ 5754 h 10000"/>
                <a:gd name="connsiteX98" fmla="*/ 8522 w 10593"/>
                <a:gd name="connsiteY98" fmla="*/ 5754 h 10000"/>
                <a:gd name="connsiteX99" fmla="*/ 8403 w 10593"/>
                <a:gd name="connsiteY99" fmla="*/ 5754 h 10000"/>
                <a:gd name="connsiteX100" fmla="*/ 8322 w 10593"/>
                <a:gd name="connsiteY100" fmla="*/ 5641 h 10000"/>
                <a:gd name="connsiteX101" fmla="*/ 8403 w 10593"/>
                <a:gd name="connsiteY101" fmla="*/ 5466 h 10000"/>
                <a:gd name="connsiteX102" fmla="*/ 8522 w 10593"/>
                <a:gd name="connsiteY102" fmla="*/ 5352 h 10000"/>
                <a:gd name="connsiteX103" fmla="*/ 8522 w 10593"/>
                <a:gd name="connsiteY103" fmla="*/ 5057 h 10000"/>
                <a:gd name="connsiteX104" fmla="*/ 8601 w 10593"/>
                <a:gd name="connsiteY104" fmla="*/ 5057 h 10000"/>
                <a:gd name="connsiteX105" fmla="*/ 8880 w 10593"/>
                <a:gd name="connsiteY105" fmla="*/ 5057 h 10000"/>
                <a:gd name="connsiteX106" fmla="*/ 9079 w 10593"/>
                <a:gd name="connsiteY106" fmla="*/ 5057 h 10000"/>
                <a:gd name="connsiteX107" fmla="*/ 9159 w 10593"/>
                <a:gd name="connsiteY107" fmla="*/ 4938 h 10000"/>
                <a:gd name="connsiteX108" fmla="*/ 9159 w 10593"/>
                <a:gd name="connsiteY108" fmla="*/ 4651 h 10000"/>
                <a:gd name="connsiteX109" fmla="*/ 9159 w 10593"/>
                <a:gd name="connsiteY109" fmla="*/ 3838 h 10000"/>
                <a:gd name="connsiteX110" fmla="*/ 9159 w 10593"/>
                <a:gd name="connsiteY110" fmla="*/ 3545 h 10000"/>
                <a:gd name="connsiteX111" fmla="*/ 9277 w 10593"/>
                <a:gd name="connsiteY111" fmla="*/ 3258 h 10000"/>
                <a:gd name="connsiteX112" fmla="*/ 9159 w 10593"/>
                <a:gd name="connsiteY112" fmla="*/ 3138 h 10000"/>
                <a:gd name="connsiteX113" fmla="*/ 9159 w 10593"/>
                <a:gd name="connsiteY113" fmla="*/ 3022 h 10000"/>
                <a:gd name="connsiteX114" fmla="*/ 9277 w 10593"/>
                <a:gd name="connsiteY114" fmla="*/ 3022 h 10000"/>
                <a:gd name="connsiteX115" fmla="*/ 9277 w 10593"/>
                <a:gd name="connsiteY115" fmla="*/ 2849 h 10000"/>
                <a:gd name="connsiteX116" fmla="*/ 9358 w 10593"/>
                <a:gd name="connsiteY116" fmla="*/ 2618 h 10000"/>
                <a:gd name="connsiteX117" fmla="*/ 9438 w 10593"/>
                <a:gd name="connsiteY117" fmla="*/ 2618 h 10000"/>
                <a:gd name="connsiteX118" fmla="*/ 9637 w 10593"/>
                <a:gd name="connsiteY118" fmla="*/ 2618 h 10000"/>
                <a:gd name="connsiteX119" fmla="*/ 9637 w 10593"/>
                <a:gd name="connsiteY119" fmla="*/ 2444 h 10000"/>
                <a:gd name="connsiteX120" fmla="*/ 9716 w 10593"/>
                <a:gd name="connsiteY120" fmla="*/ 1918 h 10000"/>
                <a:gd name="connsiteX121" fmla="*/ 9838 w 10593"/>
                <a:gd name="connsiteY121" fmla="*/ 1745 h 10000"/>
                <a:gd name="connsiteX122" fmla="*/ 10196 w 10593"/>
                <a:gd name="connsiteY122" fmla="*/ 814 h 10000"/>
                <a:gd name="connsiteX123" fmla="*/ 10395 w 10593"/>
                <a:gd name="connsiteY123" fmla="*/ 699 h 10000"/>
                <a:gd name="connsiteX124" fmla="*/ 10474 w 10593"/>
                <a:gd name="connsiteY124" fmla="*/ 526 h 10000"/>
                <a:gd name="connsiteX125" fmla="*/ 10593 w 10593"/>
                <a:gd name="connsiteY125" fmla="*/ 404 h 10000"/>
                <a:gd name="connsiteX0" fmla="*/ 10000 w 10000"/>
                <a:gd name="connsiteY0" fmla="*/ 0 h 9596"/>
                <a:gd name="connsiteX1" fmla="*/ 0 w 10000"/>
                <a:gd name="connsiteY1" fmla="*/ 295 h 9596"/>
                <a:gd name="connsiteX2" fmla="*/ 119 w 10000"/>
                <a:gd name="connsiteY2" fmla="*/ 295 h 9596"/>
                <a:gd name="connsiteX3" fmla="*/ 119 w 10000"/>
                <a:gd name="connsiteY3" fmla="*/ 295 h 9596"/>
                <a:gd name="connsiteX4" fmla="*/ 398 w 10000"/>
                <a:gd name="connsiteY4" fmla="*/ 819 h 9596"/>
                <a:gd name="connsiteX5" fmla="*/ 557 w 10000"/>
                <a:gd name="connsiteY5" fmla="*/ 1341 h 9596"/>
                <a:gd name="connsiteX6" fmla="*/ 557 w 10000"/>
                <a:gd name="connsiteY6" fmla="*/ 1514 h 9596"/>
                <a:gd name="connsiteX7" fmla="*/ 678 w 10000"/>
                <a:gd name="connsiteY7" fmla="*/ 1514 h 9596"/>
                <a:gd name="connsiteX8" fmla="*/ 678 w 10000"/>
                <a:gd name="connsiteY8" fmla="*/ 1629 h 9596"/>
                <a:gd name="connsiteX9" fmla="*/ 758 w 10000"/>
                <a:gd name="connsiteY9" fmla="*/ 1749 h 9596"/>
                <a:gd name="connsiteX10" fmla="*/ 758 w 10000"/>
                <a:gd name="connsiteY10" fmla="*/ 1923 h 9596"/>
                <a:gd name="connsiteX11" fmla="*/ 557 w 10000"/>
                <a:gd name="connsiteY11" fmla="*/ 2040 h 9596"/>
                <a:gd name="connsiteX12" fmla="*/ 758 w 10000"/>
                <a:gd name="connsiteY12" fmla="*/ 2214 h 9596"/>
                <a:gd name="connsiteX13" fmla="*/ 956 w 10000"/>
                <a:gd name="connsiteY13" fmla="*/ 2618 h 9596"/>
                <a:gd name="connsiteX14" fmla="*/ 1155 w 10000"/>
                <a:gd name="connsiteY14" fmla="*/ 3023 h 9596"/>
                <a:gd name="connsiteX15" fmla="*/ 1234 w 10000"/>
                <a:gd name="connsiteY15" fmla="*/ 3260 h 9596"/>
                <a:gd name="connsiteX16" fmla="*/ 1155 w 10000"/>
                <a:gd name="connsiteY16" fmla="*/ 3549 h 9596"/>
                <a:gd name="connsiteX17" fmla="*/ 1155 w 10000"/>
                <a:gd name="connsiteY17" fmla="*/ 3958 h 9596"/>
                <a:gd name="connsiteX18" fmla="*/ 1155 w 10000"/>
                <a:gd name="connsiteY18" fmla="*/ 4133 h 9596"/>
                <a:gd name="connsiteX19" fmla="*/ 1316 w 10000"/>
                <a:gd name="connsiteY19" fmla="*/ 4364 h 9596"/>
                <a:gd name="connsiteX20" fmla="*/ 1434 w 10000"/>
                <a:gd name="connsiteY20" fmla="*/ 4364 h 9596"/>
                <a:gd name="connsiteX21" fmla="*/ 1594 w 10000"/>
                <a:gd name="connsiteY21" fmla="*/ 4364 h 9596"/>
                <a:gd name="connsiteX22" fmla="*/ 1713 w 10000"/>
                <a:gd name="connsiteY22" fmla="*/ 4653 h 9596"/>
                <a:gd name="connsiteX23" fmla="*/ 1793 w 10000"/>
                <a:gd name="connsiteY23" fmla="*/ 4771 h 9596"/>
                <a:gd name="connsiteX24" fmla="*/ 2073 w 10000"/>
                <a:gd name="connsiteY24" fmla="*/ 4771 h 9596"/>
                <a:gd name="connsiteX25" fmla="*/ 2192 w 10000"/>
                <a:gd name="connsiteY25" fmla="*/ 4948 h 9596"/>
                <a:gd name="connsiteX26" fmla="*/ 2271 w 10000"/>
                <a:gd name="connsiteY26" fmla="*/ 5062 h 9596"/>
                <a:gd name="connsiteX27" fmla="*/ 2351 w 10000"/>
                <a:gd name="connsiteY27" fmla="*/ 5062 h 9596"/>
                <a:gd name="connsiteX28" fmla="*/ 2271 w 10000"/>
                <a:gd name="connsiteY28" fmla="*/ 5350 h 9596"/>
                <a:gd name="connsiteX29" fmla="*/ 2351 w 10000"/>
                <a:gd name="connsiteY29" fmla="*/ 5467 h 9596"/>
                <a:gd name="connsiteX30" fmla="*/ 2630 w 10000"/>
                <a:gd name="connsiteY30" fmla="*/ 5756 h 9596"/>
                <a:gd name="connsiteX31" fmla="*/ 2828 w 10000"/>
                <a:gd name="connsiteY31" fmla="*/ 6049 h 9596"/>
                <a:gd name="connsiteX32" fmla="*/ 2909 w 10000"/>
                <a:gd name="connsiteY32" fmla="*/ 6165 h 9596"/>
                <a:gd name="connsiteX33" fmla="*/ 3107 w 10000"/>
                <a:gd name="connsiteY33" fmla="*/ 6284 h 9596"/>
                <a:gd name="connsiteX34" fmla="*/ 3107 w 10000"/>
                <a:gd name="connsiteY34" fmla="*/ 6458 h 9596"/>
                <a:gd name="connsiteX35" fmla="*/ 3228 w 10000"/>
                <a:gd name="connsiteY35" fmla="*/ 6749 h 9596"/>
                <a:gd name="connsiteX36" fmla="*/ 3307 w 10000"/>
                <a:gd name="connsiteY36" fmla="*/ 6863 h 9596"/>
                <a:gd name="connsiteX37" fmla="*/ 3307 w 10000"/>
                <a:gd name="connsiteY37" fmla="*/ 6980 h 9596"/>
                <a:gd name="connsiteX38" fmla="*/ 3386 w 10000"/>
                <a:gd name="connsiteY38" fmla="*/ 7156 h 9596"/>
                <a:gd name="connsiteX39" fmla="*/ 3784 w 10000"/>
                <a:gd name="connsiteY39" fmla="*/ 7387 h 9596"/>
                <a:gd name="connsiteX40" fmla="*/ 3865 w 10000"/>
                <a:gd name="connsiteY40" fmla="*/ 7678 h 9596"/>
                <a:gd name="connsiteX41" fmla="*/ 3865 w 10000"/>
                <a:gd name="connsiteY41" fmla="*/ 7795 h 9596"/>
                <a:gd name="connsiteX42" fmla="*/ 3945 w 10000"/>
                <a:gd name="connsiteY42" fmla="*/ 7969 h 9596"/>
                <a:gd name="connsiteX43" fmla="*/ 4065 w 10000"/>
                <a:gd name="connsiteY43" fmla="*/ 8082 h 9596"/>
                <a:gd name="connsiteX44" fmla="*/ 4263 w 10000"/>
                <a:gd name="connsiteY44" fmla="*/ 8373 h 9596"/>
                <a:gd name="connsiteX45" fmla="*/ 4263 w 10000"/>
                <a:gd name="connsiteY45" fmla="*/ 8492 h 9596"/>
                <a:gd name="connsiteX46" fmla="*/ 4344 w 10000"/>
                <a:gd name="connsiteY46" fmla="*/ 8666 h 9596"/>
                <a:gd name="connsiteX47" fmla="*/ 4623 w 10000"/>
                <a:gd name="connsiteY47" fmla="*/ 8781 h 9596"/>
                <a:gd name="connsiteX48" fmla="*/ 4702 w 10000"/>
                <a:gd name="connsiteY48" fmla="*/ 8781 h 9596"/>
                <a:gd name="connsiteX49" fmla="*/ 4821 w 10000"/>
                <a:gd name="connsiteY49" fmla="*/ 8666 h 9596"/>
                <a:gd name="connsiteX50" fmla="*/ 5099 w 10000"/>
                <a:gd name="connsiteY50" fmla="*/ 8781 h 9596"/>
                <a:gd name="connsiteX51" fmla="*/ 5298 w 10000"/>
                <a:gd name="connsiteY51" fmla="*/ 8666 h 9596"/>
                <a:gd name="connsiteX52" fmla="*/ 5458 w 10000"/>
                <a:gd name="connsiteY52" fmla="*/ 8492 h 9596"/>
                <a:gd name="connsiteX53" fmla="*/ 5579 w 10000"/>
                <a:gd name="connsiteY53" fmla="*/ 8666 h 9596"/>
                <a:gd name="connsiteX54" fmla="*/ 5937 w 10000"/>
                <a:gd name="connsiteY54" fmla="*/ 9073 h 9596"/>
                <a:gd name="connsiteX55" fmla="*/ 6016 w 10000"/>
                <a:gd name="connsiteY55" fmla="*/ 9306 h 9596"/>
                <a:gd name="connsiteX56" fmla="*/ 6135 w 10000"/>
                <a:gd name="connsiteY56" fmla="*/ 9480 h 9596"/>
                <a:gd name="connsiteX57" fmla="*/ 6217 w 10000"/>
                <a:gd name="connsiteY57" fmla="*/ 9480 h 9596"/>
                <a:gd name="connsiteX58" fmla="*/ 6296 w 10000"/>
                <a:gd name="connsiteY58" fmla="*/ 9480 h 9596"/>
                <a:gd name="connsiteX59" fmla="*/ 6414 w 10000"/>
                <a:gd name="connsiteY59" fmla="*/ 9480 h 9596"/>
                <a:gd name="connsiteX60" fmla="*/ 6614 w 10000"/>
                <a:gd name="connsiteY60" fmla="*/ 9480 h 9596"/>
                <a:gd name="connsiteX61" fmla="*/ 6693 w 10000"/>
                <a:gd name="connsiteY61" fmla="*/ 9480 h 9596"/>
                <a:gd name="connsiteX62" fmla="*/ 6893 w 10000"/>
                <a:gd name="connsiteY62" fmla="*/ 9480 h 9596"/>
                <a:gd name="connsiteX63" fmla="*/ 6972 w 10000"/>
                <a:gd name="connsiteY63" fmla="*/ 9480 h 9596"/>
                <a:gd name="connsiteX64" fmla="*/ 7053 w 10000"/>
                <a:gd name="connsiteY64" fmla="*/ 9596 h 9596"/>
                <a:gd name="connsiteX65" fmla="*/ 7251 w 10000"/>
                <a:gd name="connsiteY65" fmla="*/ 9480 h 9596"/>
                <a:gd name="connsiteX66" fmla="*/ 7451 w 10000"/>
                <a:gd name="connsiteY66" fmla="*/ 9480 h 9596"/>
                <a:gd name="connsiteX67" fmla="*/ 7650 w 10000"/>
                <a:gd name="connsiteY67" fmla="*/ 9306 h 9596"/>
                <a:gd name="connsiteX68" fmla="*/ 7810 w 10000"/>
                <a:gd name="connsiteY68" fmla="*/ 9306 h 9596"/>
                <a:gd name="connsiteX69" fmla="*/ 8088 w 10000"/>
                <a:gd name="connsiteY69" fmla="*/ 9306 h 9596"/>
                <a:gd name="connsiteX70" fmla="*/ 8368 w 10000"/>
                <a:gd name="connsiteY70" fmla="*/ 9073 h 9596"/>
                <a:gd name="connsiteX71" fmla="*/ 8368 w 10000"/>
                <a:gd name="connsiteY71" fmla="*/ 9073 h 9596"/>
                <a:gd name="connsiteX72" fmla="*/ 8368 w 10000"/>
                <a:gd name="connsiteY72" fmla="*/ 9073 h 9596"/>
                <a:gd name="connsiteX73" fmla="*/ 8684 w 10000"/>
                <a:gd name="connsiteY73" fmla="*/ 8666 h 9596"/>
                <a:gd name="connsiteX74" fmla="*/ 8765 w 10000"/>
                <a:gd name="connsiteY74" fmla="*/ 8492 h 9596"/>
                <a:gd name="connsiteX75" fmla="*/ 8965 w 10000"/>
                <a:gd name="connsiteY75" fmla="*/ 8492 h 9596"/>
                <a:gd name="connsiteX76" fmla="*/ 9323 w 10000"/>
                <a:gd name="connsiteY76" fmla="*/ 8666 h 9596"/>
                <a:gd name="connsiteX77" fmla="*/ 9524 w 10000"/>
                <a:gd name="connsiteY77" fmla="*/ 8666 h 9596"/>
                <a:gd name="connsiteX78" fmla="*/ 9722 w 10000"/>
                <a:gd name="connsiteY78" fmla="*/ 8492 h 9596"/>
                <a:gd name="connsiteX79" fmla="*/ 9722 w 10000"/>
                <a:gd name="connsiteY79" fmla="*/ 8082 h 9596"/>
                <a:gd name="connsiteX80" fmla="*/ 9802 w 10000"/>
                <a:gd name="connsiteY80" fmla="*/ 7969 h 9596"/>
                <a:gd name="connsiteX81" fmla="*/ 9722 w 10000"/>
                <a:gd name="connsiteY81" fmla="*/ 7795 h 9596"/>
                <a:gd name="connsiteX82" fmla="*/ 9722 w 10000"/>
                <a:gd name="connsiteY82" fmla="*/ 7678 h 9596"/>
                <a:gd name="connsiteX83" fmla="*/ 9323 w 10000"/>
                <a:gd name="connsiteY83" fmla="*/ 7678 h 9596"/>
                <a:gd name="connsiteX84" fmla="*/ 9245 w 10000"/>
                <a:gd name="connsiteY84" fmla="*/ 7559 h 9596"/>
                <a:gd name="connsiteX85" fmla="*/ 9245 w 10000"/>
                <a:gd name="connsiteY85" fmla="*/ 7387 h 9596"/>
                <a:gd name="connsiteX86" fmla="*/ 9044 w 10000"/>
                <a:gd name="connsiteY86" fmla="*/ 6863 h 9596"/>
                <a:gd name="connsiteX87" fmla="*/ 9044 w 10000"/>
                <a:gd name="connsiteY87" fmla="*/ 6573 h 9596"/>
                <a:gd name="connsiteX88" fmla="*/ 8965 w 10000"/>
                <a:gd name="connsiteY88" fmla="*/ 6458 h 9596"/>
                <a:gd name="connsiteX89" fmla="*/ 8684 w 10000"/>
                <a:gd name="connsiteY89" fmla="*/ 6165 h 9596"/>
                <a:gd name="connsiteX90" fmla="*/ 8566 w 10000"/>
                <a:gd name="connsiteY90" fmla="*/ 6049 h 9596"/>
                <a:gd name="connsiteX91" fmla="*/ 8486 w 10000"/>
                <a:gd name="connsiteY91" fmla="*/ 5878 h 9596"/>
                <a:gd name="connsiteX92" fmla="*/ 8486 w 10000"/>
                <a:gd name="connsiteY92" fmla="*/ 5756 h 9596"/>
                <a:gd name="connsiteX93" fmla="*/ 8368 w 10000"/>
                <a:gd name="connsiteY93" fmla="*/ 5467 h 9596"/>
                <a:gd name="connsiteX94" fmla="*/ 8287 w 10000"/>
                <a:gd name="connsiteY94" fmla="*/ 5467 h 9596"/>
                <a:gd name="connsiteX95" fmla="*/ 8088 w 10000"/>
                <a:gd name="connsiteY95" fmla="*/ 5350 h 9596"/>
                <a:gd name="connsiteX96" fmla="*/ 8008 w 10000"/>
                <a:gd name="connsiteY96" fmla="*/ 5350 h 9596"/>
                <a:gd name="connsiteX97" fmla="*/ 7929 w 10000"/>
                <a:gd name="connsiteY97" fmla="*/ 5350 h 9596"/>
                <a:gd name="connsiteX98" fmla="*/ 7810 w 10000"/>
                <a:gd name="connsiteY98" fmla="*/ 5350 h 9596"/>
                <a:gd name="connsiteX99" fmla="*/ 7729 w 10000"/>
                <a:gd name="connsiteY99" fmla="*/ 5237 h 9596"/>
                <a:gd name="connsiteX100" fmla="*/ 7810 w 10000"/>
                <a:gd name="connsiteY100" fmla="*/ 5062 h 9596"/>
                <a:gd name="connsiteX101" fmla="*/ 7929 w 10000"/>
                <a:gd name="connsiteY101" fmla="*/ 4948 h 9596"/>
                <a:gd name="connsiteX102" fmla="*/ 7929 w 10000"/>
                <a:gd name="connsiteY102" fmla="*/ 4653 h 9596"/>
                <a:gd name="connsiteX103" fmla="*/ 8008 w 10000"/>
                <a:gd name="connsiteY103" fmla="*/ 4653 h 9596"/>
                <a:gd name="connsiteX104" fmla="*/ 8287 w 10000"/>
                <a:gd name="connsiteY104" fmla="*/ 4653 h 9596"/>
                <a:gd name="connsiteX105" fmla="*/ 8486 w 10000"/>
                <a:gd name="connsiteY105" fmla="*/ 4653 h 9596"/>
                <a:gd name="connsiteX106" fmla="*/ 8566 w 10000"/>
                <a:gd name="connsiteY106" fmla="*/ 4534 h 9596"/>
                <a:gd name="connsiteX107" fmla="*/ 8566 w 10000"/>
                <a:gd name="connsiteY107" fmla="*/ 4247 h 9596"/>
                <a:gd name="connsiteX108" fmla="*/ 8566 w 10000"/>
                <a:gd name="connsiteY108" fmla="*/ 3434 h 9596"/>
                <a:gd name="connsiteX109" fmla="*/ 8566 w 10000"/>
                <a:gd name="connsiteY109" fmla="*/ 3141 h 9596"/>
                <a:gd name="connsiteX110" fmla="*/ 8684 w 10000"/>
                <a:gd name="connsiteY110" fmla="*/ 2854 h 9596"/>
                <a:gd name="connsiteX111" fmla="*/ 8566 w 10000"/>
                <a:gd name="connsiteY111" fmla="*/ 2734 h 9596"/>
                <a:gd name="connsiteX112" fmla="*/ 8566 w 10000"/>
                <a:gd name="connsiteY112" fmla="*/ 2618 h 9596"/>
                <a:gd name="connsiteX113" fmla="*/ 8684 w 10000"/>
                <a:gd name="connsiteY113" fmla="*/ 2618 h 9596"/>
                <a:gd name="connsiteX114" fmla="*/ 8684 w 10000"/>
                <a:gd name="connsiteY114" fmla="*/ 2445 h 9596"/>
                <a:gd name="connsiteX115" fmla="*/ 8765 w 10000"/>
                <a:gd name="connsiteY115" fmla="*/ 2214 h 9596"/>
                <a:gd name="connsiteX116" fmla="*/ 8845 w 10000"/>
                <a:gd name="connsiteY116" fmla="*/ 2214 h 9596"/>
                <a:gd name="connsiteX117" fmla="*/ 9044 w 10000"/>
                <a:gd name="connsiteY117" fmla="*/ 2214 h 9596"/>
                <a:gd name="connsiteX118" fmla="*/ 9044 w 10000"/>
                <a:gd name="connsiteY118" fmla="*/ 2040 h 9596"/>
                <a:gd name="connsiteX119" fmla="*/ 9123 w 10000"/>
                <a:gd name="connsiteY119" fmla="*/ 1514 h 9596"/>
                <a:gd name="connsiteX120" fmla="*/ 9245 w 10000"/>
                <a:gd name="connsiteY120" fmla="*/ 1341 h 9596"/>
                <a:gd name="connsiteX121" fmla="*/ 9603 w 10000"/>
                <a:gd name="connsiteY121" fmla="*/ 410 h 9596"/>
                <a:gd name="connsiteX122" fmla="*/ 9802 w 10000"/>
                <a:gd name="connsiteY122" fmla="*/ 295 h 9596"/>
                <a:gd name="connsiteX123" fmla="*/ 9881 w 10000"/>
                <a:gd name="connsiteY123" fmla="*/ 122 h 9596"/>
                <a:gd name="connsiteX124" fmla="*/ 10000 w 10000"/>
                <a:gd name="connsiteY124" fmla="*/ 0 h 9596"/>
                <a:gd name="connsiteX0" fmla="*/ 10000 w 10000"/>
                <a:gd name="connsiteY0" fmla="*/ 0 h 10000"/>
                <a:gd name="connsiteX1" fmla="*/ 3108 w 10000"/>
                <a:gd name="connsiteY1" fmla="*/ 1003 h 10000"/>
                <a:gd name="connsiteX2" fmla="*/ 0 w 10000"/>
                <a:gd name="connsiteY2" fmla="*/ 307 h 10000"/>
                <a:gd name="connsiteX3" fmla="*/ 119 w 10000"/>
                <a:gd name="connsiteY3" fmla="*/ 307 h 10000"/>
                <a:gd name="connsiteX4" fmla="*/ 119 w 10000"/>
                <a:gd name="connsiteY4" fmla="*/ 307 h 10000"/>
                <a:gd name="connsiteX5" fmla="*/ 398 w 10000"/>
                <a:gd name="connsiteY5" fmla="*/ 853 h 10000"/>
                <a:gd name="connsiteX6" fmla="*/ 557 w 10000"/>
                <a:gd name="connsiteY6" fmla="*/ 1397 h 10000"/>
                <a:gd name="connsiteX7" fmla="*/ 557 w 10000"/>
                <a:gd name="connsiteY7" fmla="*/ 1578 h 10000"/>
                <a:gd name="connsiteX8" fmla="*/ 678 w 10000"/>
                <a:gd name="connsiteY8" fmla="*/ 1578 h 10000"/>
                <a:gd name="connsiteX9" fmla="*/ 678 w 10000"/>
                <a:gd name="connsiteY9" fmla="*/ 1698 h 10000"/>
                <a:gd name="connsiteX10" fmla="*/ 758 w 10000"/>
                <a:gd name="connsiteY10" fmla="*/ 1823 h 10000"/>
                <a:gd name="connsiteX11" fmla="*/ 758 w 10000"/>
                <a:gd name="connsiteY11" fmla="*/ 2004 h 10000"/>
                <a:gd name="connsiteX12" fmla="*/ 557 w 10000"/>
                <a:gd name="connsiteY12" fmla="*/ 2126 h 10000"/>
                <a:gd name="connsiteX13" fmla="*/ 758 w 10000"/>
                <a:gd name="connsiteY13" fmla="*/ 2307 h 10000"/>
                <a:gd name="connsiteX14" fmla="*/ 956 w 10000"/>
                <a:gd name="connsiteY14" fmla="*/ 2728 h 10000"/>
                <a:gd name="connsiteX15" fmla="*/ 1155 w 10000"/>
                <a:gd name="connsiteY15" fmla="*/ 3150 h 10000"/>
                <a:gd name="connsiteX16" fmla="*/ 1234 w 10000"/>
                <a:gd name="connsiteY16" fmla="*/ 3397 h 10000"/>
                <a:gd name="connsiteX17" fmla="*/ 1155 w 10000"/>
                <a:gd name="connsiteY17" fmla="*/ 3698 h 10000"/>
                <a:gd name="connsiteX18" fmla="*/ 1155 w 10000"/>
                <a:gd name="connsiteY18" fmla="*/ 4125 h 10000"/>
                <a:gd name="connsiteX19" fmla="*/ 1155 w 10000"/>
                <a:gd name="connsiteY19" fmla="*/ 4307 h 10000"/>
                <a:gd name="connsiteX20" fmla="*/ 1316 w 10000"/>
                <a:gd name="connsiteY20" fmla="*/ 4548 h 10000"/>
                <a:gd name="connsiteX21" fmla="*/ 1434 w 10000"/>
                <a:gd name="connsiteY21" fmla="*/ 4548 h 10000"/>
                <a:gd name="connsiteX22" fmla="*/ 1594 w 10000"/>
                <a:gd name="connsiteY22" fmla="*/ 4548 h 10000"/>
                <a:gd name="connsiteX23" fmla="*/ 1713 w 10000"/>
                <a:gd name="connsiteY23" fmla="*/ 4849 h 10000"/>
                <a:gd name="connsiteX24" fmla="*/ 1793 w 10000"/>
                <a:gd name="connsiteY24" fmla="*/ 4972 h 10000"/>
                <a:gd name="connsiteX25" fmla="*/ 2073 w 10000"/>
                <a:gd name="connsiteY25" fmla="*/ 4972 h 10000"/>
                <a:gd name="connsiteX26" fmla="*/ 2192 w 10000"/>
                <a:gd name="connsiteY26" fmla="*/ 5156 h 10000"/>
                <a:gd name="connsiteX27" fmla="*/ 2271 w 10000"/>
                <a:gd name="connsiteY27" fmla="*/ 5275 h 10000"/>
                <a:gd name="connsiteX28" fmla="*/ 2351 w 10000"/>
                <a:gd name="connsiteY28" fmla="*/ 5275 h 10000"/>
                <a:gd name="connsiteX29" fmla="*/ 2271 w 10000"/>
                <a:gd name="connsiteY29" fmla="*/ 5575 h 10000"/>
                <a:gd name="connsiteX30" fmla="*/ 2351 w 10000"/>
                <a:gd name="connsiteY30" fmla="*/ 5697 h 10000"/>
                <a:gd name="connsiteX31" fmla="*/ 2630 w 10000"/>
                <a:gd name="connsiteY31" fmla="*/ 5998 h 10000"/>
                <a:gd name="connsiteX32" fmla="*/ 2828 w 10000"/>
                <a:gd name="connsiteY32" fmla="*/ 6304 h 10000"/>
                <a:gd name="connsiteX33" fmla="*/ 2909 w 10000"/>
                <a:gd name="connsiteY33" fmla="*/ 6425 h 10000"/>
                <a:gd name="connsiteX34" fmla="*/ 3107 w 10000"/>
                <a:gd name="connsiteY34" fmla="*/ 6549 h 10000"/>
                <a:gd name="connsiteX35" fmla="*/ 3107 w 10000"/>
                <a:gd name="connsiteY35" fmla="*/ 6730 h 10000"/>
                <a:gd name="connsiteX36" fmla="*/ 3228 w 10000"/>
                <a:gd name="connsiteY36" fmla="*/ 7033 h 10000"/>
                <a:gd name="connsiteX37" fmla="*/ 3307 w 10000"/>
                <a:gd name="connsiteY37" fmla="*/ 7152 h 10000"/>
                <a:gd name="connsiteX38" fmla="*/ 3307 w 10000"/>
                <a:gd name="connsiteY38" fmla="*/ 7274 h 10000"/>
                <a:gd name="connsiteX39" fmla="*/ 3386 w 10000"/>
                <a:gd name="connsiteY39" fmla="*/ 7457 h 10000"/>
                <a:gd name="connsiteX40" fmla="*/ 3784 w 10000"/>
                <a:gd name="connsiteY40" fmla="*/ 7698 h 10000"/>
                <a:gd name="connsiteX41" fmla="*/ 3865 w 10000"/>
                <a:gd name="connsiteY41" fmla="*/ 8001 h 10000"/>
                <a:gd name="connsiteX42" fmla="*/ 3865 w 10000"/>
                <a:gd name="connsiteY42" fmla="*/ 8123 h 10000"/>
                <a:gd name="connsiteX43" fmla="*/ 3945 w 10000"/>
                <a:gd name="connsiteY43" fmla="*/ 8305 h 10000"/>
                <a:gd name="connsiteX44" fmla="*/ 4065 w 10000"/>
                <a:gd name="connsiteY44" fmla="*/ 8422 h 10000"/>
                <a:gd name="connsiteX45" fmla="*/ 4263 w 10000"/>
                <a:gd name="connsiteY45" fmla="*/ 8726 h 10000"/>
                <a:gd name="connsiteX46" fmla="*/ 4263 w 10000"/>
                <a:gd name="connsiteY46" fmla="*/ 8850 h 10000"/>
                <a:gd name="connsiteX47" fmla="*/ 4344 w 10000"/>
                <a:gd name="connsiteY47" fmla="*/ 9031 h 10000"/>
                <a:gd name="connsiteX48" fmla="*/ 4623 w 10000"/>
                <a:gd name="connsiteY48" fmla="*/ 9151 h 10000"/>
                <a:gd name="connsiteX49" fmla="*/ 4702 w 10000"/>
                <a:gd name="connsiteY49" fmla="*/ 9151 h 10000"/>
                <a:gd name="connsiteX50" fmla="*/ 4821 w 10000"/>
                <a:gd name="connsiteY50" fmla="*/ 9031 h 10000"/>
                <a:gd name="connsiteX51" fmla="*/ 5099 w 10000"/>
                <a:gd name="connsiteY51" fmla="*/ 9151 h 10000"/>
                <a:gd name="connsiteX52" fmla="*/ 5298 w 10000"/>
                <a:gd name="connsiteY52" fmla="*/ 9031 h 10000"/>
                <a:gd name="connsiteX53" fmla="*/ 5458 w 10000"/>
                <a:gd name="connsiteY53" fmla="*/ 8850 h 10000"/>
                <a:gd name="connsiteX54" fmla="*/ 5579 w 10000"/>
                <a:gd name="connsiteY54" fmla="*/ 9031 h 10000"/>
                <a:gd name="connsiteX55" fmla="*/ 5937 w 10000"/>
                <a:gd name="connsiteY55" fmla="*/ 9455 h 10000"/>
                <a:gd name="connsiteX56" fmla="*/ 6016 w 10000"/>
                <a:gd name="connsiteY56" fmla="*/ 9698 h 10000"/>
                <a:gd name="connsiteX57" fmla="*/ 6135 w 10000"/>
                <a:gd name="connsiteY57" fmla="*/ 9879 h 10000"/>
                <a:gd name="connsiteX58" fmla="*/ 6217 w 10000"/>
                <a:gd name="connsiteY58" fmla="*/ 9879 h 10000"/>
                <a:gd name="connsiteX59" fmla="*/ 6296 w 10000"/>
                <a:gd name="connsiteY59" fmla="*/ 9879 h 10000"/>
                <a:gd name="connsiteX60" fmla="*/ 6414 w 10000"/>
                <a:gd name="connsiteY60" fmla="*/ 9879 h 10000"/>
                <a:gd name="connsiteX61" fmla="*/ 6614 w 10000"/>
                <a:gd name="connsiteY61" fmla="*/ 9879 h 10000"/>
                <a:gd name="connsiteX62" fmla="*/ 6693 w 10000"/>
                <a:gd name="connsiteY62" fmla="*/ 9879 h 10000"/>
                <a:gd name="connsiteX63" fmla="*/ 6893 w 10000"/>
                <a:gd name="connsiteY63" fmla="*/ 9879 h 10000"/>
                <a:gd name="connsiteX64" fmla="*/ 6972 w 10000"/>
                <a:gd name="connsiteY64" fmla="*/ 9879 h 10000"/>
                <a:gd name="connsiteX65" fmla="*/ 7053 w 10000"/>
                <a:gd name="connsiteY65" fmla="*/ 10000 h 10000"/>
                <a:gd name="connsiteX66" fmla="*/ 7251 w 10000"/>
                <a:gd name="connsiteY66" fmla="*/ 9879 h 10000"/>
                <a:gd name="connsiteX67" fmla="*/ 7451 w 10000"/>
                <a:gd name="connsiteY67" fmla="*/ 9879 h 10000"/>
                <a:gd name="connsiteX68" fmla="*/ 7650 w 10000"/>
                <a:gd name="connsiteY68" fmla="*/ 9698 h 10000"/>
                <a:gd name="connsiteX69" fmla="*/ 7810 w 10000"/>
                <a:gd name="connsiteY69" fmla="*/ 9698 h 10000"/>
                <a:gd name="connsiteX70" fmla="*/ 8088 w 10000"/>
                <a:gd name="connsiteY70" fmla="*/ 9698 h 10000"/>
                <a:gd name="connsiteX71" fmla="*/ 8368 w 10000"/>
                <a:gd name="connsiteY71" fmla="*/ 9455 h 10000"/>
                <a:gd name="connsiteX72" fmla="*/ 8368 w 10000"/>
                <a:gd name="connsiteY72" fmla="*/ 9455 h 10000"/>
                <a:gd name="connsiteX73" fmla="*/ 8368 w 10000"/>
                <a:gd name="connsiteY73" fmla="*/ 9455 h 10000"/>
                <a:gd name="connsiteX74" fmla="*/ 8684 w 10000"/>
                <a:gd name="connsiteY74" fmla="*/ 9031 h 10000"/>
                <a:gd name="connsiteX75" fmla="*/ 8765 w 10000"/>
                <a:gd name="connsiteY75" fmla="*/ 8850 h 10000"/>
                <a:gd name="connsiteX76" fmla="*/ 8965 w 10000"/>
                <a:gd name="connsiteY76" fmla="*/ 8850 h 10000"/>
                <a:gd name="connsiteX77" fmla="*/ 9323 w 10000"/>
                <a:gd name="connsiteY77" fmla="*/ 9031 h 10000"/>
                <a:gd name="connsiteX78" fmla="*/ 9524 w 10000"/>
                <a:gd name="connsiteY78" fmla="*/ 9031 h 10000"/>
                <a:gd name="connsiteX79" fmla="*/ 9722 w 10000"/>
                <a:gd name="connsiteY79" fmla="*/ 8850 h 10000"/>
                <a:gd name="connsiteX80" fmla="*/ 9722 w 10000"/>
                <a:gd name="connsiteY80" fmla="*/ 8422 h 10000"/>
                <a:gd name="connsiteX81" fmla="*/ 9802 w 10000"/>
                <a:gd name="connsiteY81" fmla="*/ 8305 h 10000"/>
                <a:gd name="connsiteX82" fmla="*/ 9722 w 10000"/>
                <a:gd name="connsiteY82" fmla="*/ 8123 h 10000"/>
                <a:gd name="connsiteX83" fmla="*/ 9722 w 10000"/>
                <a:gd name="connsiteY83" fmla="*/ 8001 h 10000"/>
                <a:gd name="connsiteX84" fmla="*/ 9323 w 10000"/>
                <a:gd name="connsiteY84" fmla="*/ 8001 h 10000"/>
                <a:gd name="connsiteX85" fmla="*/ 9245 w 10000"/>
                <a:gd name="connsiteY85" fmla="*/ 7877 h 10000"/>
                <a:gd name="connsiteX86" fmla="*/ 9245 w 10000"/>
                <a:gd name="connsiteY86" fmla="*/ 7698 h 10000"/>
                <a:gd name="connsiteX87" fmla="*/ 9044 w 10000"/>
                <a:gd name="connsiteY87" fmla="*/ 7152 h 10000"/>
                <a:gd name="connsiteX88" fmla="*/ 9044 w 10000"/>
                <a:gd name="connsiteY88" fmla="*/ 6850 h 10000"/>
                <a:gd name="connsiteX89" fmla="*/ 8965 w 10000"/>
                <a:gd name="connsiteY89" fmla="*/ 6730 h 10000"/>
                <a:gd name="connsiteX90" fmla="*/ 8684 w 10000"/>
                <a:gd name="connsiteY90" fmla="*/ 6425 h 10000"/>
                <a:gd name="connsiteX91" fmla="*/ 8566 w 10000"/>
                <a:gd name="connsiteY91" fmla="*/ 6304 h 10000"/>
                <a:gd name="connsiteX92" fmla="*/ 8486 w 10000"/>
                <a:gd name="connsiteY92" fmla="*/ 6125 h 10000"/>
                <a:gd name="connsiteX93" fmla="*/ 8486 w 10000"/>
                <a:gd name="connsiteY93" fmla="*/ 5998 h 10000"/>
                <a:gd name="connsiteX94" fmla="*/ 8368 w 10000"/>
                <a:gd name="connsiteY94" fmla="*/ 5697 h 10000"/>
                <a:gd name="connsiteX95" fmla="*/ 8287 w 10000"/>
                <a:gd name="connsiteY95" fmla="*/ 5697 h 10000"/>
                <a:gd name="connsiteX96" fmla="*/ 8088 w 10000"/>
                <a:gd name="connsiteY96" fmla="*/ 5575 h 10000"/>
                <a:gd name="connsiteX97" fmla="*/ 8008 w 10000"/>
                <a:gd name="connsiteY97" fmla="*/ 5575 h 10000"/>
                <a:gd name="connsiteX98" fmla="*/ 7929 w 10000"/>
                <a:gd name="connsiteY98" fmla="*/ 5575 h 10000"/>
                <a:gd name="connsiteX99" fmla="*/ 7810 w 10000"/>
                <a:gd name="connsiteY99" fmla="*/ 5575 h 10000"/>
                <a:gd name="connsiteX100" fmla="*/ 7729 w 10000"/>
                <a:gd name="connsiteY100" fmla="*/ 5457 h 10000"/>
                <a:gd name="connsiteX101" fmla="*/ 7810 w 10000"/>
                <a:gd name="connsiteY101" fmla="*/ 5275 h 10000"/>
                <a:gd name="connsiteX102" fmla="*/ 7929 w 10000"/>
                <a:gd name="connsiteY102" fmla="*/ 5156 h 10000"/>
                <a:gd name="connsiteX103" fmla="*/ 7929 w 10000"/>
                <a:gd name="connsiteY103" fmla="*/ 4849 h 10000"/>
                <a:gd name="connsiteX104" fmla="*/ 8008 w 10000"/>
                <a:gd name="connsiteY104" fmla="*/ 4849 h 10000"/>
                <a:gd name="connsiteX105" fmla="*/ 8287 w 10000"/>
                <a:gd name="connsiteY105" fmla="*/ 4849 h 10000"/>
                <a:gd name="connsiteX106" fmla="*/ 8486 w 10000"/>
                <a:gd name="connsiteY106" fmla="*/ 4849 h 10000"/>
                <a:gd name="connsiteX107" fmla="*/ 8566 w 10000"/>
                <a:gd name="connsiteY107" fmla="*/ 4725 h 10000"/>
                <a:gd name="connsiteX108" fmla="*/ 8566 w 10000"/>
                <a:gd name="connsiteY108" fmla="*/ 4426 h 10000"/>
                <a:gd name="connsiteX109" fmla="*/ 8566 w 10000"/>
                <a:gd name="connsiteY109" fmla="*/ 3579 h 10000"/>
                <a:gd name="connsiteX110" fmla="*/ 8566 w 10000"/>
                <a:gd name="connsiteY110" fmla="*/ 3273 h 10000"/>
                <a:gd name="connsiteX111" fmla="*/ 8684 w 10000"/>
                <a:gd name="connsiteY111" fmla="*/ 2974 h 10000"/>
                <a:gd name="connsiteX112" fmla="*/ 8566 w 10000"/>
                <a:gd name="connsiteY112" fmla="*/ 2849 h 10000"/>
                <a:gd name="connsiteX113" fmla="*/ 8566 w 10000"/>
                <a:gd name="connsiteY113" fmla="*/ 2728 h 10000"/>
                <a:gd name="connsiteX114" fmla="*/ 8684 w 10000"/>
                <a:gd name="connsiteY114" fmla="*/ 2728 h 10000"/>
                <a:gd name="connsiteX115" fmla="*/ 8684 w 10000"/>
                <a:gd name="connsiteY115" fmla="*/ 2548 h 10000"/>
                <a:gd name="connsiteX116" fmla="*/ 8765 w 10000"/>
                <a:gd name="connsiteY116" fmla="*/ 2307 h 10000"/>
                <a:gd name="connsiteX117" fmla="*/ 8845 w 10000"/>
                <a:gd name="connsiteY117" fmla="*/ 2307 h 10000"/>
                <a:gd name="connsiteX118" fmla="*/ 9044 w 10000"/>
                <a:gd name="connsiteY118" fmla="*/ 2307 h 10000"/>
                <a:gd name="connsiteX119" fmla="*/ 9044 w 10000"/>
                <a:gd name="connsiteY119" fmla="*/ 2126 h 10000"/>
                <a:gd name="connsiteX120" fmla="*/ 9123 w 10000"/>
                <a:gd name="connsiteY120" fmla="*/ 1578 h 10000"/>
                <a:gd name="connsiteX121" fmla="*/ 9245 w 10000"/>
                <a:gd name="connsiteY121" fmla="*/ 1397 h 10000"/>
                <a:gd name="connsiteX122" fmla="*/ 9603 w 10000"/>
                <a:gd name="connsiteY122" fmla="*/ 427 h 10000"/>
                <a:gd name="connsiteX123" fmla="*/ 9802 w 10000"/>
                <a:gd name="connsiteY123" fmla="*/ 307 h 10000"/>
                <a:gd name="connsiteX124" fmla="*/ 9881 w 10000"/>
                <a:gd name="connsiteY124" fmla="*/ 127 h 10000"/>
                <a:gd name="connsiteX125" fmla="*/ 10000 w 10000"/>
                <a:gd name="connsiteY12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0000" h="10000">
                  <a:moveTo>
                    <a:pt x="10000" y="0"/>
                  </a:moveTo>
                  <a:cubicBezTo>
                    <a:pt x="8752" y="5"/>
                    <a:pt x="4775" y="952"/>
                    <a:pt x="3108" y="1003"/>
                  </a:cubicBezTo>
                  <a:cubicBezTo>
                    <a:pt x="1441" y="1054"/>
                    <a:pt x="379" y="282"/>
                    <a:pt x="0" y="307"/>
                  </a:cubicBezTo>
                  <a:lnTo>
                    <a:pt x="119" y="307"/>
                  </a:lnTo>
                  <a:lnTo>
                    <a:pt x="119" y="307"/>
                  </a:lnTo>
                  <a:lnTo>
                    <a:pt x="398" y="853"/>
                  </a:lnTo>
                  <a:cubicBezTo>
                    <a:pt x="451" y="1035"/>
                    <a:pt x="506" y="1215"/>
                    <a:pt x="557" y="1397"/>
                  </a:cubicBezTo>
                  <a:lnTo>
                    <a:pt x="557" y="1578"/>
                  </a:lnTo>
                  <a:lnTo>
                    <a:pt x="678" y="1578"/>
                  </a:lnTo>
                  <a:lnTo>
                    <a:pt x="678" y="1698"/>
                  </a:lnTo>
                  <a:cubicBezTo>
                    <a:pt x="703" y="1739"/>
                    <a:pt x="730" y="1777"/>
                    <a:pt x="758" y="1823"/>
                  </a:cubicBezTo>
                  <a:lnTo>
                    <a:pt x="758" y="2004"/>
                  </a:lnTo>
                  <a:lnTo>
                    <a:pt x="557" y="2126"/>
                  </a:lnTo>
                  <a:lnTo>
                    <a:pt x="758" y="2307"/>
                  </a:lnTo>
                  <a:cubicBezTo>
                    <a:pt x="823" y="2444"/>
                    <a:pt x="889" y="2588"/>
                    <a:pt x="956" y="2728"/>
                  </a:cubicBezTo>
                  <a:cubicBezTo>
                    <a:pt x="1023" y="2869"/>
                    <a:pt x="1088" y="3013"/>
                    <a:pt x="1155" y="3150"/>
                  </a:cubicBezTo>
                  <a:cubicBezTo>
                    <a:pt x="1182" y="3234"/>
                    <a:pt x="1209" y="3315"/>
                    <a:pt x="1234" y="3397"/>
                  </a:cubicBezTo>
                  <a:cubicBezTo>
                    <a:pt x="1209" y="3503"/>
                    <a:pt x="1182" y="3596"/>
                    <a:pt x="1155" y="3698"/>
                  </a:cubicBezTo>
                  <a:lnTo>
                    <a:pt x="1155" y="4125"/>
                  </a:lnTo>
                  <a:lnTo>
                    <a:pt x="1155" y="4307"/>
                  </a:lnTo>
                  <a:cubicBezTo>
                    <a:pt x="1209" y="4387"/>
                    <a:pt x="1262" y="4468"/>
                    <a:pt x="1316" y="4548"/>
                  </a:cubicBezTo>
                  <a:lnTo>
                    <a:pt x="1434" y="4548"/>
                  </a:lnTo>
                  <a:lnTo>
                    <a:pt x="1594" y="4548"/>
                  </a:lnTo>
                  <a:cubicBezTo>
                    <a:pt x="1634" y="4648"/>
                    <a:pt x="1673" y="4749"/>
                    <a:pt x="1713" y="4849"/>
                  </a:cubicBezTo>
                  <a:cubicBezTo>
                    <a:pt x="1739" y="4891"/>
                    <a:pt x="1767" y="4928"/>
                    <a:pt x="1793" y="4972"/>
                  </a:cubicBezTo>
                  <a:lnTo>
                    <a:pt x="2073" y="4972"/>
                  </a:lnTo>
                  <a:cubicBezTo>
                    <a:pt x="2112" y="5030"/>
                    <a:pt x="2152" y="5093"/>
                    <a:pt x="2192" y="5156"/>
                  </a:cubicBezTo>
                  <a:cubicBezTo>
                    <a:pt x="2218" y="5196"/>
                    <a:pt x="2244" y="5237"/>
                    <a:pt x="2271" y="5275"/>
                  </a:cubicBezTo>
                  <a:lnTo>
                    <a:pt x="2351" y="5275"/>
                  </a:lnTo>
                  <a:cubicBezTo>
                    <a:pt x="2326" y="5378"/>
                    <a:pt x="2297" y="5475"/>
                    <a:pt x="2271" y="5575"/>
                  </a:cubicBezTo>
                  <a:cubicBezTo>
                    <a:pt x="2297" y="5620"/>
                    <a:pt x="2326" y="5657"/>
                    <a:pt x="2351" y="5697"/>
                  </a:cubicBezTo>
                  <a:lnTo>
                    <a:pt x="2630" y="5998"/>
                  </a:lnTo>
                  <a:lnTo>
                    <a:pt x="2828" y="6304"/>
                  </a:lnTo>
                  <a:cubicBezTo>
                    <a:pt x="2855" y="6348"/>
                    <a:pt x="2882" y="6386"/>
                    <a:pt x="2909" y="6425"/>
                  </a:cubicBezTo>
                  <a:lnTo>
                    <a:pt x="3107" y="6549"/>
                  </a:lnTo>
                  <a:lnTo>
                    <a:pt x="3107" y="6730"/>
                  </a:lnTo>
                  <a:cubicBezTo>
                    <a:pt x="3147" y="6831"/>
                    <a:pt x="3187" y="6933"/>
                    <a:pt x="3228" y="7033"/>
                  </a:cubicBezTo>
                  <a:cubicBezTo>
                    <a:pt x="3254" y="7072"/>
                    <a:pt x="3281" y="7109"/>
                    <a:pt x="3307" y="7152"/>
                  </a:cubicBezTo>
                  <a:lnTo>
                    <a:pt x="3307" y="7274"/>
                  </a:lnTo>
                  <a:cubicBezTo>
                    <a:pt x="3333" y="7335"/>
                    <a:pt x="3360" y="7396"/>
                    <a:pt x="3386" y="7457"/>
                  </a:cubicBezTo>
                  <a:lnTo>
                    <a:pt x="3784" y="7698"/>
                  </a:lnTo>
                  <a:cubicBezTo>
                    <a:pt x="3813" y="7799"/>
                    <a:pt x="3838" y="7897"/>
                    <a:pt x="3865" y="8001"/>
                  </a:cubicBezTo>
                  <a:lnTo>
                    <a:pt x="3865" y="8123"/>
                  </a:lnTo>
                  <a:cubicBezTo>
                    <a:pt x="3891" y="8184"/>
                    <a:pt x="3919" y="8241"/>
                    <a:pt x="3945" y="8305"/>
                  </a:cubicBezTo>
                  <a:cubicBezTo>
                    <a:pt x="3986" y="8346"/>
                    <a:pt x="4024" y="8386"/>
                    <a:pt x="4065" y="8422"/>
                  </a:cubicBezTo>
                  <a:cubicBezTo>
                    <a:pt x="4130" y="8524"/>
                    <a:pt x="4196" y="8627"/>
                    <a:pt x="4263" y="8726"/>
                  </a:cubicBezTo>
                  <a:lnTo>
                    <a:pt x="4263" y="8850"/>
                  </a:lnTo>
                  <a:cubicBezTo>
                    <a:pt x="4289" y="8913"/>
                    <a:pt x="4316" y="8972"/>
                    <a:pt x="4344" y="9031"/>
                  </a:cubicBezTo>
                  <a:lnTo>
                    <a:pt x="4623" y="9151"/>
                  </a:lnTo>
                  <a:lnTo>
                    <a:pt x="4702" y="9151"/>
                  </a:lnTo>
                  <a:cubicBezTo>
                    <a:pt x="4741" y="9107"/>
                    <a:pt x="4781" y="9069"/>
                    <a:pt x="4821" y="9031"/>
                  </a:cubicBezTo>
                  <a:lnTo>
                    <a:pt x="5099" y="9151"/>
                  </a:lnTo>
                  <a:lnTo>
                    <a:pt x="5298" y="9031"/>
                  </a:lnTo>
                  <a:cubicBezTo>
                    <a:pt x="5352" y="8971"/>
                    <a:pt x="5406" y="8913"/>
                    <a:pt x="5458" y="8850"/>
                  </a:cubicBezTo>
                  <a:cubicBezTo>
                    <a:pt x="5499" y="8913"/>
                    <a:pt x="5537" y="8974"/>
                    <a:pt x="5579" y="9031"/>
                  </a:cubicBezTo>
                  <a:lnTo>
                    <a:pt x="5937" y="9455"/>
                  </a:lnTo>
                  <a:cubicBezTo>
                    <a:pt x="5964" y="9532"/>
                    <a:pt x="5989" y="9617"/>
                    <a:pt x="6016" y="9698"/>
                  </a:cubicBezTo>
                  <a:cubicBezTo>
                    <a:pt x="6056" y="9755"/>
                    <a:pt x="6096" y="9820"/>
                    <a:pt x="6135" y="9879"/>
                  </a:cubicBezTo>
                  <a:lnTo>
                    <a:pt x="6217" y="9879"/>
                  </a:lnTo>
                  <a:lnTo>
                    <a:pt x="6296" y="9879"/>
                  </a:lnTo>
                  <a:lnTo>
                    <a:pt x="6414" y="9879"/>
                  </a:lnTo>
                  <a:lnTo>
                    <a:pt x="6614" y="9879"/>
                  </a:lnTo>
                  <a:lnTo>
                    <a:pt x="6693" y="9879"/>
                  </a:lnTo>
                  <a:lnTo>
                    <a:pt x="6893" y="9879"/>
                  </a:lnTo>
                  <a:lnTo>
                    <a:pt x="6972" y="9879"/>
                  </a:lnTo>
                  <a:cubicBezTo>
                    <a:pt x="6998" y="9921"/>
                    <a:pt x="7026" y="9962"/>
                    <a:pt x="7053" y="10000"/>
                  </a:cubicBezTo>
                  <a:lnTo>
                    <a:pt x="7251" y="9879"/>
                  </a:lnTo>
                  <a:lnTo>
                    <a:pt x="7451" y="9879"/>
                  </a:lnTo>
                  <a:lnTo>
                    <a:pt x="7650" y="9698"/>
                  </a:lnTo>
                  <a:lnTo>
                    <a:pt x="7810" y="9698"/>
                  </a:lnTo>
                  <a:lnTo>
                    <a:pt x="8088" y="9698"/>
                  </a:lnTo>
                  <a:lnTo>
                    <a:pt x="8368" y="9455"/>
                  </a:lnTo>
                  <a:lnTo>
                    <a:pt x="8368" y="9455"/>
                  </a:lnTo>
                  <a:lnTo>
                    <a:pt x="8368" y="9455"/>
                  </a:lnTo>
                  <a:lnTo>
                    <a:pt x="8684" y="9031"/>
                  </a:lnTo>
                  <a:cubicBezTo>
                    <a:pt x="8712" y="8972"/>
                    <a:pt x="8739" y="8913"/>
                    <a:pt x="8765" y="8850"/>
                  </a:cubicBezTo>
                  <a:lnTo>
                    <a:pt x="8965" y="8850"/>
                  </a:lnTo>
                  <a:lnTo>
                    <a:pt x="9323" y="9031"/>
                  </a:lnTo>
                  <a:lnTo>
                    <a:pt x="9524" y="9031"/>
                  </a:lnTo>
                  <a:lnTo>
                    <a:pt x="9722" y="8850"/>
                  </a:lnTo>
                  <a:lnTo>
                    <a:pt x="9722" y="8422"/>
                  </a:lnTo>
                  <a:cubicBezTo>
                    <a:pt x="9747" y="8384"/>
                    <a:pt x="9776" y="8347"/>
                    <a:pt x="9802" y="8305"/>
                  </a:cubicBezTo>
                  <a:cubicBezTo>
                    <a:pt x="9776" y="8241"/>
                    <a:pt x="9747" y="8184"/>
                    <a:pt x="9722" y="8123"/>
                  </a:cubicBezTo>
                  <a:lnTo>
                    <a:pt x="9722" y="8001"/>
                  </a:lnTo>
                  <a:lnTo>
                    <a:pt x="9323" y="8001"/>
                  </a:lnTo>
                  <a:cubicBezTo>
                    <a:pt x="9297" y="7961"/>
                    <a:pt x="9272" y="7918"/>
                    <a:pt x="9245" y="7877"/>
                  </a:cubicBezTo>
                  <a:lnTo>
                    <a:pt x="9245" y="7698"/>
                  </a:lnTo>
                  <a:lnTo>
                    <a:pt x="9044" y="7152"/>
                  </a:lnTo>
                  <a:lnTo>
                    <a:pt x="9044" y="6850"/>
                  </a:lnTo>
                  <a:cubicBezTo>
                    <a:pt x="9018" y="6811"/>
                    <a:pt x="8992" y="6768"/>
                    <a:pt x="8965" y="6730"/>
                  </a:cubicBezTo>
                  <a:lnTo>
                    <a:pt x="8684" y="6425"/>
                  </a:lnTo>
                  <a:cubicBezTo>
                    <a:pt x="8646" y="6386"/>
                    <a:pt x="8605" y="6341"/>
                    <a:pt x="8566" y="6304"/>
                  </a:cubicBezTo>
                  <a:cubicBezTo>
                    <a:pt x="8540" y="6243"/>
                    <a:pt x="8513" y="6182"/>
                    <a:pt x="8486" y="6125"/>
                  </a:cubicBezTo>
                  <a:lnTo>
                    <a:pt x="8486" y="5998"/>
                  </a:lnTo>
                  <a:cubicBezTo>
                    <a:pt x="8447" y="5900"/>
                    <a:pt x="8407" y="5795"/>
                    <a:pt x="8368" y="5697"/>
                  </a:cubicBezTo>
                  <a:lnTo>
                    <a:pt x="8287" y="5697"/>
                  </a:lnTo>
                  <a:lnTo>
                    <a:pt x="8088" y="5575"/>
                  </a:lnTo>
                  <a:lnTo>
                    <a:pt x="8008" y="5575"/>
                  </a:lnTo>
                  <a:lnTo>
                    <a:pt x="7929" y="5575"/>
                  </a:lnTo>
                  <a:lnTo>
                    <a:pt x="7810" y="5575"/>
                  </a:lnTo>
                  <a:cubicBezTo>
                    <a:pt x="7783" y="5535"/>
                    <a:pt x="7756" y="5494"/>
                    <a:pt x="7729" y="5457"/>
                  </a:cubicBezTo>
                  <a:cubicBezTo>
                    <a:pt x="7756" y="5394"/>
                    <a:pt x="7783" y="5336"/>
                    <a:pt x="7810" y="5275"/>
                  </a:cubicBezTo>
                  <a:cubicBezTo>
                    <a:pt x="7850" y="5237"/>
                    <a:pt x="7888" y="5196"/>
                    <a:pt x="7929" y="5156"/>
                  </a:cubicBezTo>
                  <a:lnTo>
                    <a:pt x="7929" y="4849"/>
                  </a:lnTo>
                  <a:lnTo>
                    <a:pt x="8008" y="4849"/>
                  </a:lnTo>
                  <a:lnTo>
                    <a:pt x="8287" y="4849"/>
                  </a:lnTo>
                  <a:lnTo>
                    <a:pt x="8486" y="4849"/>
                  </a:lnTo>
                  <a:cubicBezTo>
                    <a:pt x="8513" y="4811"/>
                    <a:pt x="8540" y="4767"/>
                    <a:pt x="8566" y="4725"/>
                  </a:cubicBezTo>
                  <a:lnTo>
                    <a:pt x="8566" y="4426"/>
                  </a:lnTo>
                  <a:lnTo>
                    <a:pt x="8566" y="3579"/>
                  </a:lnTo>
                  <a:lnTo>
                    <a:pt x="8566" y="3273"/>
                  </a:lnTo>
                  <a:cubicBezTo>
                    <a:pt x="8605" y="3172"/>
                    <a:pt x="8646" y="3072"/>
                    <a:pt x="8684" y="2974"/>
                  </a:cubicBezTo>
                  <a:cubicBezTo>
                    <a:pt x="8646" y="2928"/>
                    <a:pt x="8605" y="2891"/>
                    <a:pt x="8566" y="2849"/>
                  </a:cubicBezTo>
                  <a:lnTo>
                    <a:pt x="8566" y="2728"/>
                  </a:lnTo>
                  <a:lnTo>
                    <a:pt x="8684" y="2728"/>
                  </a:lnTo>
                  <a:lnTo>
                    <a:pt x="8684" y="2548"/>
                  </a:lnTo>
                  <a:cubicBezTo>
                    <a:pt x="8712" y="2465"/>
                    <a:pt x="8739" y="2387"/>
                    <a:pt x="8765" y="2307"/>
                  </a:cubicBezTo>
                  <a:lnTo>
                    <a:pt x="8845" y="2307"/>
                  </a:lnTo>
                  <a:lnTo>
                    <a:pt x="9044" y="2307"/>
                  </a:lnTo>
                  <a:lnTo>
                    <a:pt x="9044" y="2126"/>
                  </a:lnTo>
                  <a:cubicBezTo>
                    <a:pt x="9071" y="1942"/>
                    <a:pt x="9097" y="1759"/>
                    <a:pt x="9123" y="1578"/>
                  </a:cubicBezTo>
                  <a:cubicBezTo>
                    <a:pt x="9164" y="1518"/>
                    <a:pt x="9204" y="1457"/>
                    <a:pt x="9245" y="1397"/>
                  </a:cubicBezTo>
                  <a:lnTo>
                    <a:pt x="9603" y="427"/>
                  </a:lnTo>
                  <a:lnTo>
                    <a:pt x="9802" y="307"/>
                  </a:lnTo>
                  <a:cubicBezTo>
                    <a:pt x="9827" y="246"/>
                    <a:pt x="9855" y="184"/>
                    <a:pt x="9881" y="127"/>
                  </a:cubicBezTo>
                  <a:cubicBezTo>
                    <a:pt x="9921" y="80"/>
                    <a:pt x="9960" y="44"/>
                    <a:pt x="10000" y="0"/>
                  </a:cubicBezTo>
                  <a:close/>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grpSp>
      <p:grpSp>
        <p:nvGrpSpPr>
          <p:cNvPr id="6077" name="Group 6076">
            <a:extLst>
              <a:ext uri="{FF2B5EF4-FFF2-40B4-BE49-F238E27FC236}">
                <a16:creationId xmlns:a16="http://schemas.microsoft.com/office/drawing/2014/main" id="{0A39C724-D197-4DF3-99F8-7637CF04D6AE}"/>
              </a:ext>
            </a:extLst>
          </p:cNvPr>
          <p:cNvGrpSpPr/>
          <p:nvPr/>
        </p:nvGrpSpPr>
        <p:grpSpPr>
          <a:xfrm>
            <a:off x="9228817" y="4774454"/>
            <a:ext cx="1371118" cy="1136114"/>
            <a:chOff x="5611026" y="3772050"/>
            <a:chExt cx="3239953" cy="2740020"/>
          </a:xfrm>
          <a:solidFill>
            <a:srgbClr val="FFE600"/>
          </a:solidFill>
        </p:grpSpPr>
        <p:sp>
          <p:nvSpPr>
            <p:cNvPr id="6078" name="Freeform 144">
              <a:extLst>
                <a:ext uri="{FF2B5EF4-FFF2-40B4-BE49-F238E27FC236}">
                  <a16:creationId xmlns:a16="http://schemas.microsoft.com/office/drawing/2014/main" id="{282221E5-4559-46EA-8761-BE32B47A7308}"/>
                </a:ext>
              </a:extLst>
            </p:cNvPr>
            <p:cNvSpPr>
              <a:spLocks/>
            </p:cNvSpPr>
            <p:nvPr/>
          </p:nvSpPr>
          <p:spPr bwMode="auto">
            <a:xfrm>
              <a:off x="6550003" y="3839347"/>
              <a:ext cx="32048" cy="28840"/>
            </a:xfrm>
            <a:custGeom>
              <a:avLst/>
              <a:gdLst>
                <a:gd name="T0" fmla="*/ 3 w 10"/>
                <a:gd name="T1" fmla="*/ 9 h 9"/>
                <a:gd name="T2" fmla="*/ 0 w 10"/>
                <a:gd name="T3" fmla="*/ 9 h 9"/>
                <a:gd name="T4" fmla="*/ 0 w 10"/>
                <a:gd name="T5" fmla="*/ 7 h 9"/>
                <a:gd name="T6" fmla="*/ 0 w 10"/>
                <a:gd name="T7" fmla="*/ 5 h 9"/>
                <a:gd name="T8" fmla="*/ 0 w 10"/>
                <a:gd name="T9" fmla="*/ 2 h 9"/>
                <a:gd name="T10" fmla="*/ 3 w 10"/>
                <a:gd name="T11" fmla="*/ 0 h 9"/>
                <a:gd name="T12" fmla="*/ 3 w 10"/>
                <a:gd name="T13" fmla="*/ 2 h 9"/>
                <a:gd name="T14" fmla="*/ 5 w 10"/>
                <a:gd name="T15" fmla="*/ 5 h 9"/>
                <a:gd name="T16" fmla="*/ 5 w 10"/>
                <a:gd name="T17" fmla="*/ 5 h 9"/>
                <a:gd name="T18" fmla="*/ 10 w 10"/>
                <a:gd name="T19" fmla="*/ 9 h 9"/>
                <a:gd name="T20" fmla="*/ 3 w 10"/>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9">
                  <a:moveTo>
                    <a:pt x="3" y="9"/>
                  </a:moveTo>
                  <a:lnTo>
                    <a:pt x="0" y="9"/>
                  </a:lnTo>
                  <a:lnTo>
                    <a:pt x="0" y="7"/>
                  </a:lnTo>
                  <a:lnTo>
                    <a:pt x="0" y="5"/>
                  </a:lnTo>
                  <a:lnTo>
                    <a:pt x="0" y="2"/>
                  </a:lnTo>
                  <a:lnTo>
                    <a:pt x="3" y="0"/>
                  </a:lnTo>
                  <a:lnTo>
                    <a:pt x="3" y="2"/>
                  </a:lnTo>
                  <a:lnTo>
                    <a:pt x="5" y="5"/>
                  </a:lnTo>
                  <a:lnTo>
                    <a:pt x="5" y="5"/>
                  </a:lnTo>
                  <a:lnTo>
                    <a:pt x="10" y="9"/>
                  </a:lnTo>
                  <a:lnTo>
                    <a:pt x="3"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79" name="Freeform 145">
              <a:extLst>
                <a:ext uri="{FF2B5EF4-FFF2-40B4-BE49-F238E27FC236}">
                  <a16:creationId xmlns:a16="http://schemas.microsoft.com/office/drawing/2014/main" id="{B63A33F1-44D6-4F3F-9BCE-1AB77DDF1EA1}"/>
                </a:ext>
              </a:extLst>
            </p:cNvPr>
            <p:cNvSpPr>
              <a:spLocks/>
            </p:cNvSpPr>
            <p:nvPr/>
          </p:nvSpPr>
          <p:spPr bwMode="auto">
            <a:xfrm>
              <a:off x="6550003" y="3839347"/>
              <a:ext cx="32048" cy="28840"/>
            </a:xfrm>
            <a:custGeom>
              <a:avLst/>
              <a:gdLst>
                <a:gd name="T0" fmla="*/ 3 w 10"/>
                <a:gd name="T1" fmla="*/ 9 h 9"/>
                <a:gd name="T2" fmla="*/ 0 w 10"/>
                <a:gd name="T3" fmla="*/ 9 h 9"/>
                <a:gd name="T4" fmla="*/ 0 w 10"/>
                <a:gd name="T5" fmla="*/ 7 h 9"/>
                <a:gd name="T6" fmla="*/ 0 w 10"/>
                <a:gd name="T7" fmla="*/ 5 h 9"/>
                <a:gd name="T8" fmla="*/ 0 w 10"/>
                <a:gd name="T9" fmla="*/ 2 h 9"/>
                <a:gd name="T10" fmla="*/ 3 w 10"/>
                <a:gd name="T11" fmla="*/ 0 h 9"/>
                <a:gd name="T12" fmla="*/ 3 w 10"/>
                <a:gd name="T13" fmla="*/ 2 h 9"/>
                <a:gd name="T14" fmla="*/ 5 w 10"/>
                <a:gd name="T15" fmla="*/ 5 h 9"/>
                <a:gd name="T16" fmla="*/ 5 w 10"/>
                <a:gd name="T17" fmla="*/ 5 h 9"/>
                <a:gd name="T18" fmla="*/ 10 w 10"/>
                <a:gd name="T19" fmla="*/ 9 h 9"/>
                <a:gd name="T20" fmla="*/ 3 w 10"/>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9">
                  <a:moveTo>
                    <a:pt x="3" y="9"/>
                  </a:moveTo>
                  <a:lnTo>
                    <a:pt x="0" y="9"/>
                  </a:lnTo>
                  <a:lnTo>
                    <a:pt x="0" y="7"/>
                  </a:lnTo>
                  <a:lnTo>
                    <a:pt x="0" y="5"/>
                  </a:lnTo>
                  <a:lnTo>
                    <a:pt x="0" y="2"/>
                  </a:lnTo>
                  <a:lnTo>
                    <a:pt x="3" y="0"/>
                  </a:lnTo>
                  <a:lnTo>
                    <a:pt x="3" y="2"/>
                  </a:lnTo>
                  <a:lnTo>
                    <a:pt x="5" y="5"/>
                  </a:lnTo>
                  <a:lnTo>
                    <a:pt x="5" y="5"/>
                  </a:lnTo>
                  <a:lnTo>
                    <a:pt x="10" y="9"/>
                  </a:lnTo>
                  <a:lnTo>
                    <a:pt x="3" y="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0" name="Freeform 146">
              <a:extLst>
                <a:ext uri="{FF2B5EF4-FFF2-40B4-BE49-F238E27FC236}">
                  <a16:creationId xmlns:a16="http://schemas.microsoft.com/office/drawing/2014/main" id="{AE466FD1-E013-4F6D-8432-D64B5A5CE84E}"/>
                </a:ext>
              </a:extLst>
            </p:cNvPr>
            <p:cNvSpPr>
              <a:spLocks/>
            </p:cNvSpPr>
            <p:nvPr/>
          </p:nvSpPr>
          <p:spPr bwMode="auto">
            <a:xfrm>
              <a:off x="6566028" y="3832940"/>
              <a:ext cx="60891" cy="35250"/>
            </a:xfrm>
            <a:custGeom>
              <a:avLst/>
              <a:gdLst>
                <a:gd name="T0" fmla="*/ 0 w 19"/>
                <a:gd name="T1" fmla="*/ 0 h 11"/>
                <a:gd name="T2" fmla="*/ 0 w 19"/>
                <a:gd name="T3" fmla="*/ 2 h 11"/>
                <a:gd name="T4" fmla="*/ 2 w 19"/>
                <a:gd name="T5" fmla="*/ 2 h 11"/>
                <a:gd name="T6" fmla="*/ 5 w 19"/>
                <a:gd name="T7" fmla="*/ 2 h 11"/>
                <a:gd name="T8" fmla="*/ 7 w 19"/>
                <a:gd name="T9" fmla="*/ 4 h 11"/>
                <a:gd name="T10" fmla="*/ 12 w 19"/>
                <a:gd name="T11" fmla="*/ 2 h 11"/>
                <a:gd name="T12" fmla="*/ 12 w 19"/>
                <a:gd name="T13" fmla="*/ 2 h 11"/>
                <a:gd name="T14" fmla="*/ 17 w 19"/>
                <a:gd name="T15" fmla="*/ 0 h 11"/>
                <a:gd name="T16" fmla="*/ 19 w 19"/>
                <a:gd name="T17" fmla="*/ 2 h 11"/>
                <a:gd name="T18" fmla="*/ 19 w 19"/>
                <a:gd name="T19" fmla="*/ 2 h 11"/>
                <a:gd name="T20" fmla="*/ 19 w 19"/>
                <a:gd name="T21" fmla="*/ 7 h 11"/>
                <a:gd name="T22" fmla="*/ 17 w 19"/>
                <a:gd name="T23" fmla="*/ 9 h 11"/>
                <a:gd name="T24" fmla="*/ 12 w 19"/>
                <a:gd name="T25" fmla="*/ 11 h 11"/>
                <a:gd name="T26" fmla="*/ 9 w 19"/>
                <a:gd name="T27" fmla="*/ 11 h 11"/>
                <a:gd name="T28" fmla="*/ 7 w 19"/>
                <a:gd name="T29" fmla="*/ 9 h 11"/>
                <a:gd name="T30" fmla="*/ 2 w 19"/>
                <a:gd name="T31" fmla="*/ 7 h 11"/>
                <a:gd name="T32" fmla="*/ 0 w 19"/>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1">
                  <a:moveTo>
                    <a:pt x="0" y="0"/>
                  </a:moveTo>
                  <a:lnTo>
                    <a:pt x="0" y="2"/>
                  </a:lnTo>
                  <a:lnTo>
                    <a:pt x="2" y="2"/>
                  </a:lnTo>
                  <a:lnTo>
                    <a:pt x="5" y="2"/>
                  </a:lnTo>
                  <a:lnTo>
                    <a:pt x="7" y="4"/>
                  </a:lnTo>
                  <a:lnTo>
                    <a:pt x="12" y="2"/>
                  </a:lnTo>
                  <a:lnTo>
                    <a:pt x="12" y="2"/>
                  </a:lnTo>
                  <a:lnTo>
                    <a:pt x="17" y="0"/>
                  </a:lnTo>
                  <a:lnTo>
                    <a:pt x="19" y="2"/>
                  </a:lnTo>
                  <a:lnTo>
                    <a:pt x="19" y="2"/>
                  </a:lnTo>
                  <a:lnTo>
                    <a:pt x="19" y="7"/>
                  </a:lnTo>
                  <a:lnTo>
                    <a:pt x="17" y="9"/>
                  </a:lnTo>
                  <a:lnTo>
                    <a:pt x="12" y="11"/>
                  </a:lnTo>
                  <a:lnTo>
                    <a:pt x="9" y="11"/>
                  </a:lnTo>
                  <a:lnTo>
                    <a:pt x="7" y="9"/>
                  </a:lnTo>
                  <a:lnTo>
                    <a:pt x="2" y="7"/>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1" name="Freeform 147">
              <a:extLst>
                <a:ext uri="{FF2B5EF4-FFF2-40B4-BE49-F238E27FC236}">
                  <a16:creationId xmlns:a16="http://schemas.microsoft.com/office/drawing/2014/main" id="{6AD6A894-2CF8-4701-8735-54B43BB1C5D3}"/>
                </a:ext>
              </a:extLst>
            </p:cNvPr>
            <p:cNvSpPr>
              <a:spLocks/>
            </p:cNvSpPr>
            <p:nvPr/>
          </p:nvSpPr>
          <p:spPr bwMode="auto">
            <a:xfrm>
              <a:off x="6566028" y="3832940"/>
              <a:ext cx="60891" cy="35250"/>
            </a:xfrm>
            <a:custGeom>
              <a:avLst/>
              <a:gdLst>
                <a:gd name="T0" fmla="*/ 0 w 19"/>
                <a:gd name="T1" fmla="*/ 0 h 11"/>
                <a:gd name="T2" fmla="*/ 0 w 19"/>
                <a:gd name="T3" fmla="*/ 2 h 11"/>
                <a:gd name="T4" fmla="*/ 2 w 19"/>
                <a:gd name="T5" fmla="*/ 2 h 11"/>
                <a:gd name="T6" fmla="*/ 5 w 19"/>
                <a:gd name="T7" fmla="*/ 2 h 11"/>
                <a:gd name="T8" fmla="*/ 7 w 19"/>
                <a:gd name="T9" fmla="*/ 4 h 11"/>
                <a:gd name="T10" fmla="*/ 12 w 19"/>
                <a:gd name="T11" fmla="*/ 2 h 11"/>
                <a:gd name="T12" fmla="*/ 12 w 19"/>
                <a:gd name="T13" fmla="*/ 2 h 11"/>
                <a:gd name="T14" fmla="*/ 17 w 19"/>
                <a:gd name="T15" fmla="*/ 0 h 11"/>
                <a:gd name="T16" fmla="*/ 19 w 19"/>
                <a:gd name="T17" fmla="*/ 2 h 11"/>
                <a:gd name="T18" fmla="*/ 19 w 19"/>
                <a:gd name="T19" fmla="*/ 2 h 11"/>
                <a:gd name="T20" fmla="*/ 19 w 19"/>
                <a:gd name="T21" fmla="*/ 7 h 11"/>
                <a:gd name="T22" fmla="*/ 17 w 19"/>
                <a:gd name="T23" fmla="*/ 9 h 11"/>
                <a:gd name="T24" fmla="*/ 12 w 19"/>
                <a:gd name="T25" fmla="*/ 11 h 11"/>
                <a:gd name="T26" fmla="*/ 9 w 19"/>
                <a:gd name="T27" fmla="*/ 11 h 11"/>
                <a:gd name="T28" fmla="*/ 7 w 19"/>
                <a:gd name="T29" fmla="*/ 9 h 11"/>
                <a:gd name="T30" fmla="*/ 2 w 19"/>
                <a:gd name="T31" fmla="*/ 7 h 11"/>
                <a:gd name="T32" fmla="*/ 0 w 19"/>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1">
                  <a:moveTo>
                    <a:pt x="0" y="0"/>
                  </a:moveTo>
                  <a:lnTo>
                    <a:pt x="0" y="2"/>
                  </a:lnTo>
                  <a:lnTo>
                    <a:pt x="2" y="2"/>
                  </a:lnTo>
                  <a:lnTo>
                    <a:pt x="5" y="2"/>
                  </a:lnTo>
                  <a:lnTo>
                    <a:pt x="7" y="4"/>
                  </a:lnTo>
                  <a:lnTo>
                    <a:pt x="12" y="2"/>
                  </a:lnTo>
                  <a:lnTo>
                    <a:pt x="12" y="2"/>
                  </a:lnTo>
                  <a:lnTo>
                    <a:pt x="17" y="0"/>
                  </a:lnTo>
                  <a:lnTo>
                    <a:pt x="19" y="2"/>
                  </a:lnTo>
                  <a:lnTo>
                    <a:pt x="19" y="2"/>
                  </a:lnTo>
                  <a:lnTo>
                    <a:pt x="19" y="7"/>
                  </a:lnTo>
                  <a:lnTo>
                    <a:pt x="17" y="9"/>
                  </a:lnTo>
                  <a:lnTo>
                    <a:pt x="12" y="11"/>
                  </a:lnTo>
                  <a:lnTo>
                    <a:pt x="9" y="11"/>
                  </a:lnTo>
                  <a:lnTo>
                    <a:pt x="7" y="9"/>
                  </a:lnTo>
                  <a:lnTo>
                    <a:pt x="2" y="7"/>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2" name="Freeform 148">
              <a:extLst>
                <a:ext uri="{FF2B5EF4-FFF2-40B4-BE49-F238E27FC236}">
                  <a16:creationId xmlns:a16="http://schemas.microsoft.com/office/drawing/2014/main" id="{10B56FC7-1F01-4E5C-996E-4DE0B016329E}"/>
                </a:ext>
              </a:extLst>
            </p:cNvPr>
            <p:cNvSpPr>
              <a:spLocks/>
            </p:cNvSpPr>
            <p:nvPr/>
          </p:nvSpPr>
          <p:spPr bwMode="auto">
            <a:xfrm>
              <a:off x="6905726" y="3823322"/>
              <a:ext cx="16025" cy="22433"/>
            </a:xfrm>
            <a:custGeom>
              <a:avLst/>
              <a:gdLst>
                <a:gd name="T0" fmla="*/ 3 w 5"/>
                <a:gd name="T1" fmla="*/ 7 h 7"/>
                <a:gd name="T2" fmla="*/ 0 w 5"/>
                <a:gd name="T3" fmla="*/ 7 h 7"/>
                <a:gd name="T4" fmla="*/ 3 w 5"/>
                <a:gd name="T5" fmla="*/ 5 h 7"/>
                <a:gd name="T6" fmla="*/ 3 w 5"/>
                <a:gd name="T7" fmla="*/ 0 h 7"/>
                <a:gd name="T8" fmla="*/ 5 w 5"/>
                <a:gd name="T9" fmla="*/ 0 h 7"/>
                <a:gd name="T10" fmla="*/ 5 w 5"/>
                <a:gd name="T11" fmla="*/ 3 h 7"/>
                <a:gd name="T12" fmla="*/ 3 w 5"/>
                <a:gd name="T13" fmla="*/ 5 h 7"/>
                <a:gd name="T14" fmla="*/ 3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7"/>
                  </a:moveTo>
                  <a:lnTo>
                    <a:pt x="0" y="7"/>
                  </a:lnTo>
                  <a:lnTo>
                    <a:pt x="3" y="5"/>
                  </a:lnTo>
                  <a:lnTo>
                    <a:pt x="3" y="0"/>
                  </a:lnTo>
                  <a:lnTo>
                    <a:pt x="5" y="0"/>
                  </a:lnTo>
                  <a:lnTo>
                    <a:pt x="5" y="3"/>
                  </a:lnTo>
                  <a:lnTo>
                    <a:pt x="3" y="5"/>
                  </a:lnTo>
                  <a:lnTo>
                    <a:pt x="3"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3" name="Freeform 149">
              <a:extLst>
                <a:ext uri="{FF2B5EF4-FFF2-40B4-BE49-F238E27FC236}">
                  <a16:creationId xmlns:a16="http://schemas.microsoft.com/office/drawing/2014/main" id="{239C69B0-3425-41D5-AF5F-FA408B3437B5}"/>
                </a:ext>
              </a:extLst>
            </p:cNvPr>
            <p:cNvSpPr>
              <a:spLocks/>
            </p:cNvSpPr>
            <p:nvPr/>
          </p:nvSpPr>
          <p:spPr bwMode="auto">
            <a:xfrm>
              <a:off x="6905726" y="3823322"/>
              <a:ext cx="16025" cy="22433"/>
            </a:xfrm>
            <a:custGeom>
              <a:avLst/>
              <a:gdLst>
                <a:gd name="T0" fmla="*/ 3 w 5"/>
                <a:gd name="T1" fmla="*/ 7 h 7"/>
                <a:gd name="T2" fmla="*/ 0 w 5"/>
                <a:gd name="T3" fmla="*/ 7 h 7"/>
                <a:gd name="T4" fmla="*/ 3 w 5"/>
                <a:gd name="T5" fmla="*/ 5 h 7"/>
                <a:gd name="T6" fmla="*/ 3 w 5"/>
                <a:gd name="T7" fmla="*/ 0 h 7"/>
                <a:gd name="T8" fmla="*/ 5 w 5"/>
                <a:gd name="T9" fmla="*/ 0 h 7"/>
                <a:gd name="T10" fmla="*/ 5 w 5"/>
                <a:gd name="T11" fmla="*/ 3 h 7"/>
                <a:gd name="T12" fmla="*/ 3 w 5"/>
                <a:gd name="T13" fmla="*/ 5 h 7"/>
                <a:gd name="T14" fmla="*/ 3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7"/>
                  </a:moveTo>
                  <a:lnTo>
                    <a:pt x="0" y="7"/>
                  </a:lnTo>
                  <a:lnTo>
                    <a:pt x="3" y="5"/>
                  </a:lnTo>
                  <a:lnTo>
                    <a:pt x="3" y="0"/>
                  </a:lnTo>
                  <a:lnTo>
                    <a:pt x="5" y="0"/>
                  </a:lnTo>
                  <a:lnTo>
                    <a:pt x="5" y="3"/>
                  </a:lnTo>
                  <a:lnTo>
                    <a:pt x="3" y="5"/>
                  </a:lnTo>
                  <a:lnTo>
                    <a:pt x="3"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4" name="Freeform 150">
              <a:extLst>
                <a:ext uri="{FF2B5EF4-FFF2-40B4-BE49-F238E27FC236}">
                  <a16:creationId xmlns:a16="http://schemas.microsoft.com/office/drawing/2014/main" id="{79C41D3D-2BA0-4BBF-8945-C68C607FD070}"/>
                </a:ext>
              </a:extLst>
            </p:cNvPr>
            <p:cNvSpPr>
              <a:spLocks/>
            </p:cNvSpPr>
            <p:nvPr/>
          </p:nvSpPr>
          <p:spPr bwMode="auto">
            <a:xfrm>
              <a:off x="6905726" y="3973945"/>
              <a:ext cx="32048" cy="32048"/>
            </a:xfrm>
            <a:custGeom>
              <a:avLst/>
              <a:gdLst>
                <a:gd name="T0" fmla="*/ 0 w 10"/>
                <a:gd name="T1" fmla="*/ 3 h 10"/>
                <a:gd name="T2" fmla="*/ 3 w 10"/>
                <a:gd name="T3" fmla="*/ 3 h 10"/>
                <a:gd name="T4" fmla="*/ 3 w 10"/>
                <a:gd name="T5" fmla="*/ 3 h 10"/>
                <a:gd name="T6" fmla="*/ 5 w 10"/>
                <a:gd name="T7" fmla="*/ 0 h 10"/>
                <a:gd name="T8" fmla="*/ 5 w 10"/>
                <a:gd name="T9" fmla="*/ 3 h 10"/>
                <a:gd name="T10" fmla="*/ 7 w 10"/>
                <a:gd name="T11" fmla="*/ 0 h 10"/>
                <a:gd name="T12" fmla="*/ 7 w 10"/>
                <a:gd name="T13" fmla="*/ 8 h 10"/>
                <a:gd name="T14" fmla="*/ 10 w 10"/>
                <a:gd name="T15" fmla="*/ 10 h 10"/>
                <a:gd name="T16" fmla="*/ 7 w 10"/>
                <a:gd name="T17" fmla="*/ 10 h 10"/>
                <a:gd name="T18" fmla="*/ 3 w 10"/>
                <a:gd name="T19" fmla="*/ 10 h 10"/>
                <a:gd name="T20" fmla="*/ 0 w 10"/>
                <a:gd name="T21" fmla="*/ 8 h 10"/>
                <a:gd name="T22" fmla="*/ 0 w 10"/>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0" y="3"/>
                  </a:moveTo>
                  <a:lnTo>
                    <a:pt x="3" y="3"/>
                  </a:lnTo>
                  <a:lnTo>
                    <a:pt x="3" y="3"/>
                  </a:lnTo>
                  <a:lnTo>
                    <a:pt x="5" y="0"/>
                  </a:lnTo>
                  <a:lnTo>
                    <a:pt x="5" y="3"/>
                  </a:lnTo>
                  <a:lnTo>
                    <a:pt x="7" y="0"/>
                  </a:lnTo>
                  <a:lnTo>
                    <a:pt x="7" y="8"/>
                  </a:lnTo>
                  <a:lnTo>
                    <a:pt x="10" y="10"/>
                  </a:lnTo>
                  <a:lnTo>
                    <a:pt x="7" y="10"/>
                  </a:lnTo>
                  <a:lnTo>
                    <a:pt x="3" y="10"/>
                  </a:lnTo>
                  <a:lnTo>
                    <a:pt x="0" y="8"/>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5" name="Freeform 151">
              <a:extLst>
                <a:ext uri="{FF2B5EF4-FFF2-40B4-BE49-F238E27FC236}">
                  <a16:creationId xmlns:a16="http://schemas.microsoft.com/office/drawing/2014/main" id="{6A5C9478-5D73-4984-98BF-FAA36E7889AF}"/>
                </a:ext>
              </a:extLst>
            </p:cNvPr>
            <p:cNvSpPr>
              <a:spLocks/>
            </p:cNvSpPr>
            <p:nvPr/>
          </p:nvSpPr>
          <p:spPr bwMode="auto">
            <a:xfrm>
              <a:off x="6905726" y="3973945"/>
              <a:ext cx="32048" cy="32048"/>
            </a:xfrm>
            <a:custGeom>
              <a:avLst/>
              <a:gdLst>
                <a:gd name="T0" fmla="*/ 0 w 10"/>
                <a:gd name="T1" fmla="*/ 3 h 10"/>
                <a:gd name="T2" fmla="*/ 3 w 10"/>
                <a:gd name="T3" fmla="*/ 3 h 10"/>
                <a:gd name="T4" fmla="*/ 3 w 10"/>
                <a:gd name="T5" fmla="*/ 3 h 10"/>
                <a:gd name="T6" fmla="*/ 5 w 10"/>
                <a:gd name="T7" fmla="*/ 0 h 10"/>
                <a:gd name="T8" fmla="*/ 5 w 10"/>
                <a:gd name="T9" fmla="*/ 3 h 10"/>
                <a:gd name="T10" fmla="*/ 7 w 10"/>
                <a:gd name="T11" fmla="*/ 0 h 10"/>
                <a:gd name="T12" fmla="*/ 7 w 10"/>
                <a:gd name="T13" fmla="*/ 8 h 10"/>
                <a:gd name="T14" fmla="*/ 10 w 10"/>
                <a:gd name="T15" fmla="*/ 10 h 10"/>
                <a:gd name="T16" fmla="*/ 7 w 10"/>
                <a:gd name="T17" fmla="*/ 10 h 10"/>
                <a:gd name="T18" fmla="*/ 3 w 10"/>
                <a:gd name="T19" fmla="*/ 10 h 10"/>
                <a:gd name="T20" fmla="*/ 0 w 10"/>
                <a:gd name="T21" fmla="*/ 8 h 10"/>
                <a:gd name="T22" fmla="*/ 0 w 10"/>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0" y="3"/>
                  </a:moveTo>
                  <a:lnTo>
                    <a:pt x="3" y="3"/>
                  </a:lnTo>
                  <a:lnTo>
                    <a:pt x="3" y="3"/>
                  </a:lnTo>
                  <a:lnTo>
                    <a:pt x="5" y="0"/>
                  </a:lnTo>
                  <a:lnTo>
                    <a:pt x="5" y="3"/>
                  </a:lnTo>
                  <a:lnTo>
                    <a:pt x="7" y="0"/>
                  </a:lnTo>
                  <a:lnTo>
                    <a:pt x="7" y="8"/>
                  </a:lnTo>
                  <a:lnTo>
                    <a:pt x="10" y="10"/>
                  </a:lnTo>
                  <a:lnTo>
                    <a:pt x="7" y="10"/>
                  </a:lnTo>
                  <a:lnTo>
                    <a:pt x="3" y="10"/>
                  </a:lnTo>
                  <a:lnTo>
                    <a:pt x="0" y="8"/>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6" name="Freeform 152">
              <a:extLst>
                <a:ext uri="{FF2B5EF4-FFF2-40B4-BE49-F238E27FC236}">
                  <a16:creationId xmlns:a16="http://schemas.microsoft.com/office/drawing/2014/main" id="{78150263-FDF5-4FCE-9C97-FB3C088F4F6C}"/>
                </a:ext>
              </a:extLst>
            </p:cNvPr>
            <p:cNvSpPr>
              <a:spLocks/>
            </p:cNvSpPr>
            <p:nvPr/>
          </p:nvSpPr>
          <p:spPr bwMode="auto">
            <a:xfrm>
              <a:off x="7065961" y="4127770"/>
              <a:ext cx="28843" cy="22433"/>
            </a:xfrm>
            <a:custGeom>
              <a:avLst/>
              <a:gdLst>
                <a:gd name="T0" fmla="*/ 7 w 9"/>
                <a:gd name="T1" fmla="*/ 0 h 7"/>
                <a:gd name="T2" fmla="*/ 9 w 9"/>
                <a:gd name="T3" fmla="*/ 2 h 7"/>
                <a:gd name="T4" fmla="*/ 9 w 9"/>
                <a:gd name="T5" fmla="*/ 2 h 7"/>
                <a:gd name="T6" fmla="*/ 9 w 9"/>
                <a:gd name="T7" fmla="*/ 2 h 7"/>
                <a:gd name="T8" fmla="*/ 7 w 9"/>
                <a:gd name="T9" fmla="*/ 4 h 7"/>
                <a:gd name="T10" fmla="*/ 7 w 9"/>
                <a:gd name="T11" fmla="*/ 4 h 7"/>
                <a:gd name="T12" fmla="*/ 5 w 9"/>
                <a:gd name="T13" fmla="*/ 7 h 7"/>
                <a:gd name="T14" fmla="*/ 2 w 9"/>
                <a:gd name="T15" fmla="*/ 7 h 7"/>
                <a:gd name="T16" fmla="*/ 0 w 9"/>
                <a:gd name="T17" fmla="*/ 4 h 7"/>
                <a:gd name="T18" fmla="*/ 2 w 9"/>
                <a:gd name="T19" fmla="*/ 2 h 7"/>
                <a:gd name="T20" fmla="*/ 5 w 9"/>
                <a:gd name="T21" fmla="*/ 2 h 7"/>
                <a:gd name="T22" fmla="*/ 5 w 9"/>
                <a:gd name="T23" fmla="*/ 0 h 7"/>
                <a:gd name="T24" fmla="*/ 7 w 9"/>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7" y="0"/>
                  </a:moveTo>
                  <a:lnTo>
                    <a:pt x="9" y="2"/>
                  </a:lnTo>
                  <a:lnTo>
                    <a:pt x="9" y="2"/>
                  </a:lnTo>
                  <a:lnTo>
                    <a:pt x="9" y="2"/>
                  </a:lnTo>
                  <a:lnTo>
                    <a:pt x="7" y="4"/>
                  </a:lnTo>
                  <a:lnTo>
                    <a:pt x="7" y="4"/>
                  </a:lnTo>
                  <a:lnTo>
                    <a:pt x="5" y="7"/>
                  </a:lnTo>
                  <a:lnTo>
                    <a:pt x="2" y="7"/>
                  </a:lnTo>
                  <a:lnTo>
                    <a:pt x="0" y="4"/>
                  </a:lnTo>
                  <a:lnTo>
                    <a:pt x="2" y="2"/>
                  </a:lnTo>
                  <a:lnTo>
                    <a:pt x="5" y="2"/>
                  </a:lnTo>
                  <a:lnTo>
                    <a:pt x="5" y="0"/>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7" name="Freeform 153">
              <a:extLst>
                <a:ext uri="{FF2B5EF4-FFF2-40B4-BE49-F238E27FC236}">
                  <a16:creationId xmlns:a16="http://schemas.microsoft.com/office/drawing/2014/main" id="{82BFFE6B-58A4-483E-A9D8-9129DDC2C138}"/>
                </a:ext>
              </a:extLst>
            </p:cNvPr>
            <p:cNvSpPr>
              <a:spLocks/>
            </p:cNvSpPr>
            <p:nvPr/>
          </p:nvSpPr>
          <p:spPr bwMode="auto">
            <a:xfrm>
              <a:off x="7065961" y="4127770"/>
              <a:ext cx="28843" cy="22433"/>
            </a:xfrm>
            <a:custGeom>
              <a:avLst/>
              <a:gdLst>
                <a:gd name="T0" fmla="*/ 7 w 9"/>
                <a:gd name="T1" fmla="*/ 0 h 7"/>
                <a:gd name="T2" fmla="*/ 9 w 9"/>
                <a:gd name="T3" fmla="*/ 2 h 7"/>
                <a:gd name="T4" fmla="*/ 9 w 9"/>
                <a:gd name="T5" fmla="*/ 2 h 7"/>
                <a:gd name="T6" fmla="*/ 9 w 9"/>
                <a:gd name="T7" fmla="*/ 2 h 7"/>
                <a:gd name="T8" fmla="*/ 7 w 9"/>
                <a:gd name="T9" fmla="*/ 4 h 7"/>
                <a:gd name="T10" fmla="*/ 7 w 9"/>
                <a:gd name="T11" fmla="*/ 4 h 7"/>
                <a:gd name="T12" fmla="*/ 5 w 9"/>
                <a:gd name="T13" fmla="*/ 7 h 7"/>
                <a:gd name="T14" fmla="*/ 2 w 9"/>
                <a:gd name="T15" fmla="*/ 7 h 7"/>
                <a:gd name="T16" fmla="*/ 0 w 9"/>
                <a:gd name="T17" fmla="*/ 4 h 7"/>
                <a:gd name="T18" fmla="*/ 2 w 9"/>
                <a:gd name="T19" fmla="*/ 2 h 7"/>
                <a:gd name="T20" fmla="*/ 5 w 9"/>
                <a:gd name="T21" fmla="*/ 2 h 7"/>
                <a:gd name="T22" fmla="*/ 5 w 9"/>
                <a:gd name="T23" fmla="*/ 0 h 7"/>
                <a:gd name="T24" fmla="*/ 7 w 9"/>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7" y="0"/>
                  </a:moveTo>
                  <a:lnTo>
                    <a:pt x="9" y="2"/>
                  </a:lnTo>
                  <a:lnTo>
                    <a:pt x="9" y="2"/>
                  </a:lnTo>
                  <a:lnTo>
                    <a:pt x="9" y="2"/>
                  </a:lnTo>
                  <a:lnTo>
                    <a:pt x="7" y="4"/>
                  </a:lnTo>
                  <a:lnTo>
                    <a:pt x="7" y="4"/>
                  </a:lnTo>
                  <a:lnTo>
                    <a:pt x="5" y="7"/>
                  </a:lnTo>
                  <a:lnTo>
                    <a:pt x="2" y="7"/>
                  </a:lnTo>
                  <a:lnTo>
                    <a:pt x="0" y="4"/>
                  </a:lnTo>
                  <a:lnTo>
                    <a:pt x="2" y="2"/>
                  </a:lnTo>
                  <a:lnTo>
                    <a:pt x="5" y="2"/>
                  </a:lnTo>
                  <a:lnTo>
                    <a:pt x="5" y="0"/>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8" name="Freeform 154">
              <a:extLst>
                <a:ext uri="{FF2B5EF4-FFF2-40B4-BE49-F238E27FC236}">
                  <a16:creationId xmlns:a16="http://schemas.microsoft.com/office/drawing/2014/main" id="{47EF13D0-622F-4DB0-9067-5D2E0D6E62A6}"/>
                </a:ext>
              </a:extLst>
            </p:cNvPr>
            <p:cNvSpPr>
              <a:spLocks/>
            </p:cNvSpPr>
            <p:nvPr/>
          </p:nvSpPr>
          <p:spPr bwMode="auto">
            <a:xfrm>
              <a:off x="7838295" y="4627705"/>
              <a:ext cx="16025" cy="51275"/>
            </a:xfrm>
            <a:custGeom>
              <a:avLst/>
              <a:gdLst>
                <a:gd name="T0" fmla="*/ 2 w 5"/>
                <a:gd name="T1" fmla="*/ 0 h 16"/>
                <a:gd name="T2" fmla="*/ 2 w 5"/>
                <a:gd name="T3" fmla="*/ 0 h 16"/>
                <a:gd name="T4" fmla="*/ 5 w 5"/>
                <a:gd name="T5" fmla="*/ 2 h 16"/>
                <a:gd name="T6" fmla="*/ 5 w 5"/>
                <a:gd name="T7" fmla="*/ 7 h 16"/>
                <a:gd name="T8" fmla="*/ 2 w 5"/>
                <a:gd name="T9" fmla="*/ 14 h 16"/>
                <a:gd name="T10" fmla="*/ 0 w 5"/>
                <a:gd name="T11" fmla="*/ 16 h 16"/>
                <a:gd name="T12" fmla="*/ 0 w 5"/>
                <a:gd name="T13" fmla="*/ 16 h 16"/>
                <a:gd name="T14" fmla="*/ 0 w 5"/>
                <a:gd name="T15" fmla="*/ 14 h 16"/>
                <a:gd name="T16" fmla="*/ 0 w 5"/>
                <a:gd name="T17" fmla="*/ 7 h 16"/>
                <a:gd name="T18" fmla="*/ 2 w 5"/>
                <a:gd name="T19" fmla="*/ 4 h 16"/>
                <a:gd name="T20" fmla="*/ 2 w 5"/>
                <a:gd name="T21" fmla="*/ 2 h 16"/>
                <a:gd name="T22" fmla="*/ 2 w 5"/>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6">
                  <a:moveTo>
                    <a:pt x="2" y="0"/>
                  </a:moveTo>
                  <a:lnTo>
                    <a:pt x="2" y="0"/>
                  </a:lnTo>
                  <a:lnTo>
                    <a:pt x="5" y="2"/>
                  </a:lnTo>
                  <a:lnTo>
                    <a:pt x="5" y="7"/>
                  </a:lnTo>
                  <a:lnTo>
                    <a:pt x="2" y="14"/>
                  </a:lnTo>
                  <a:lnTo>
                    <a:pt x="0" y="16"/>
                  </a:lnTo>
                  <a:lnTo>
                    <a:pt x="0" y="16"/>
                  </a:lnTo>
                  <a:lnTo>
                    <a:pt x="0" y="14"/>
                  </a:lnTo>
                  <a:lnTo>
                    <a:pt x="0" y="7"/>
                  </a:lnTo>
                  <a:lnTo>
                    <a:pt x="2" y="4"/>
                  </a:lnTo>
                  <a:lnTo>
                    <a:pt x="2"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89" name="Freeform 155">
              <a:extLst>
                <a:ext uri="{FF2B5EF4-FFF2-40B4-BE49-F238E27FC236}">
                  <a16:creationId xmlns:a16="http://schemas.microsoft.com/office/drawing/2014/main" id="{EF282853-4CD6-49ED-9623-BA5016A023DC}"/>
                </a:ext>
              </a:extLst>
            </p:cNvPr>
            <p:cNvSpPr>
              <a:spLocks/>
            </p:cNvSpPr>
            <p:nvPr/>
          </p:nvSpPr>
          <p:spPr bwMode="auto">
            <a:xfrm>
              <a:off x="7838295" y="4627705"/>
              <a:ext cx="16025" cy="51275"/>
            </a:xfrm>
            <a:custGeom>
              <a:avLst/>
              <a:gdLst>
                <a:gd name="T0" fmla="*/ 2 w 5"/>
                <a:gd name="T1" fmla="*/ 0 h 16"/>
                <a:gd name="T2" fmla="*/ 2 w 5"/>
                <a:gd name="T3" fmla="*/ 0 h 16"/>
                <a:gd name="T4" fmla="*/ 5 w 5"/>
                <a:gd name="T5" fmla="*/ 2 h 16"/>
                <a:gd name="T6" fmla="*/ 5 w 5"/>
                <a:gd name="T7" fmla="*/ 7 h 16"/>
                <a:gd name="T8" fmla="*/ 2 w 5"/>
                <a:gd name="T9" fmla="*/ 14 h 16"/>
                <a:gd name="T10" fmla="*/ 0 w 5"/>
                <a:gd name="T11" fmla="*/ 16 h 16"/>
                <a:gd name="T12" fmla="*/ 0 w 5"/>
                <a:gd name="T13" fmla="*/ 16 h 16"/>
                <a:gd name="T14" fmla="*/ 0 w 5"/>
                <a:gd name="T15" fmla="*/ 14 h 16"/>
                <a:gd name="T16" fmla="*/ 0 w 5"/>
                <a:gd name="T17" fmla="*/ 7 h 16"/>
                <a:gd name="T18" fmla="*/ 2 w 5"/>
                <a:gd name="T19" fmla="*/ 4 h 16"/>
                <a:gd name="T20" fmla="*/ 2 w 5"/>
                <a:gd name="T21" fmla="*/ 2 h 16"/>
                <a:gd name="T22" fmla="*/ 2 w 5"/>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6">
                  <a:moveTo>
                    <a:pt x="2" y="0"/>
                  </a:moveTo>
                  <a:lnTo>
                    <a:pt x="2" y="0"/>
                  </a:lnTo>
                  <a:lnTo>
                    <a:pt x="5" y="2"/>
                  </a:lnTo>
                  <a:lnTo>
                    <a:pt x="5" y="7"/>
                  </a:lnTo>
                  <a:lnTo>
                    <a:pt x="2" y="14"/>
                  </a:lnTo>
                  <a:lnTo>
                    <a:pt x="0" y="16"/>
                  </a:lnTo>
                  <a:lnTo>
                    <a:pt x="0" y="16"/>
                  </a:lnTo>
                  <a:lnTo>
                    <a:pt x="0" y="14"/>
                  </a:lnTo>
                  <a:lnTo>
                    <a:pt x="0" y="7"/>
                  </a:lnTo>
                  <a:lnTo>
                    <a:pt x="2" y="4"/>
                  </a:lnTo>
                  <a:lnTo>
                    <a:pt x="2" y="2"/>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0" name="Freeform 156">
              <a:extLst>
                <a:ext uri="{FF2B5EF4-FFF2-40B4-BE49-F238E27FC236}">
                  <a16:creationId xmlns:a16="http://schemas.microsoft.com/office/drawing/2014/main" id="{CA807A38-B53D-4999-97E5-9D7A1C02A990}"/>
                </a:ext>
              </a:extLst>
            </p:cNvPr>
            <p:cNvSpPr>
              <a:spLocks/>
            </p:cNvSpPr>
            <p:nvPr/>
          </p:nvSpPr>
          <p:spPr bwMode="auto">
            <a:xfrm>
              <a:off x="7860729" y="4784734"/>
              <a:ext cx="6410" cy="16022"/>
            </a:xfrm>
            <a:custGeom>
              <a:avLst/>
              <a:gdLst>
                <a:gd name="T0" fmla="*/ 0 w 2"/>
                <a:gd name="T1" fmla="*/ 0 h 5"/>
                <a:gd name="T2" fmla="*/ 2 w 2"/>
                <a:gd name="T3" fmla="*/ 0 h 5"/>
                <a:gd name="T4" fmla="*/ 2 w 2"/>
                <a:gd name="T5" fmla="*/ 0 h 5"/>
                <a:gd name="T6" fmla="*/ 2 w 2"/>
                <a:gd name="T7" fmla="*/ 3 h 5"/>
                <a:gd name="T8" fmla="*/ 0 w 2"/>
                <a:gd name="T9" fmla="*/ 5 h 5"/>
                <a:gd name="T10" fmla="*/ 0 w 2"/>
                <a:gd name="T11" fmla="*/ 5 h 5"/>
                <a:gd name="T12" fmla="*/ 0 w 2"/>
                <a:gd name="T13" fmla="*/ 3 h 5"/>
                <a:gd name="T14" fmla="*/ 0 w 2"/>
                <a:gd name="T15" fmla="*/ 0 h 5"/>
                <a:gd name="T16" fmla="*/ 0 w 2"/>
                <a:gd name="T17" fmla="*/ 3 h 5"/>
                <a:gd name="T18" fmla="*/ 0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0"/>
                  </a:moveTo>
                  <a:lnTo>
                    <a:pt x="2" y="0"/>
                  </a:lnTo>
                  <a:lnTo>
                    <a:pt x="2" y="0"/>
                  </a:lnTo>
                  <a:lnTo>
                    <a:pt x="2" y="3"/>
                  </a:lnTo>
                  <a:lnTo>
                    <a:pt x="0" y="5"/>
                  </a:lnTo>
                  <a:lnTo>
                    <a:pt x="0" y="5"/>
                  </a:lnTo>
                  <a:lnTo>
                    <a:pt x="0" y="3"/>
                  </a:lnTo>
                  <a:lnTo>
                    <a:pt x="0" y="0"/>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1" name="Freeform 157">
              <a:extLst>
                <a:ext uri="{FF2B5EF4-FFF2-40B4-BE49-F238E27FC236}">
                  <a16:creationId xmlns:a16="http://schemas.microsoft.com/office/drawing/2014/main" id="{61038D56-7ADD-480E-8FCA-1BF011597AB6}"/>
                </a:ext>
              </a:extLst>
            </p:cNvPr>
            <p:cNvSpPr>
              <a:spLocks/>
            </p:cNvSpPr>
            <p:nvPr/>
          </p:nvSpPr>
          <p:spPr bwMode="auto">
            <a:xfrm>
              <a:off x="7860729" y="4784734"/>
              <a:ext cx="6410" cy="16022"/>
            </a:xfrm>
            <a:custGeom>
              <a:avLst/>
              <a:gdLst>
                <a:gd name="T0" fmla="*/ 0 w 2"/>
                <a:gd name="T1" fmla="*/ 0 h 5"/>
                <a:gd name="T2" fmla="*/ 2 w 2"/>
                <a:gd name="T3" fmla="*/ 0 h 5"/>
                <a:gd name="T4" fmla="*/ 2 w 2"/>
                <a:gd name="T5" fmla="*/ 0 h 5"/>
                <a:gd name="T6" fmla="*/ 2 w 2"/>
                <a:gd name="T7" fmla="*/ 3 h 5"/>
                <a:gd name="T8" fmla="*/ 0 w 2"/>
                <a:gd name="T9" fmla="*/ 5 h 5"/>
                <a:gd name="T10" fmla="*/ 0 w 2"/>
                <a:gd name="T11" fmla="*/ 5 h 5"/>
                <a:gd name="T12" fmla="*/ 0 w 2"/>
                <a:gd name="T13" fmla="*/ 3 h 5"/>
                <a:gd name="T14" fmla="*/ 0 w 2"/>
                <a:gd name="T15" fmla="*/ 0 h 5"/>
                <a:gd name="T16" fmla="*/ 0 w 2"/>
                <a:gd name="T17" fmla="*/ 3 h 5"/>
                <a:gd name="T18" fmla="*/ 0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0"/>
                  </a:moveTo>
                  <a:lnTo>
                    <a:pt x="2" y="0"/>
                  </a:lnTo>
                  <a:lnTo>
                    <a:pt x="2" y="0"/>
                  </a:lnTo>
                  <a:lnTo>
                    <a:pt x="2" y="3"/>
                  </a:lnTo>
                  <a:lnTo>
                    <a:pt x="0" y="5"/>
                  </a:lnTo>
                  <a:lnTo>
                    <a:pt x="0" y="5"/>
                  </a:lnTo>
                  <a:lnTo>
                    <a:pt x="0" y="3"/>
                  </a:lnTo>
                  <a:lnTo>
                    <a:pt x="0" y="0"/>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2" name="Freeform 158">
              <a:extLst>
                <a:ext uri="{FF2B5EF4-FFF2-40B4-BE49-F238E27FC236}">
                  <a16:creationId xmlns:a16="http://schemas.microsoft.com/office/drawing/2014/main" id="{B1E2CDB8-F4B0-4D9A-8E4C-140229E43DFC}"/>
                </a:ext>
              </a:extLst>
            </p:cNvPr>
            <p:cNvSpPr>
              <a:spLocks/>
            </p:cNvSpPr>
            <p:nvPr/>
          </p:nvSpPr>
          <p:spPr bwMode="auto">
            <a:xfrm>
              <a:off x="6915340" y="5323125"/>
              <a:ext cx="89731" cy="28840"/>
            </a:xfrm>
            <a:custGeom>
              <a:avLst/>
              <a:gdLst>
                <a:gd name="T0" fmla="*/ 2 w 28"/>
                <a:gd name="T1" fmla="*/ 5 h 9"/>
                <a:gd name="T2" fmla="*/ 2 w 28"/>
                <a:gd name="T3" fmla="*/ 5 h 9"/>
                <a:gd name="T4" fmla="*/ 4 w 28"/>
                <a:gd name="T5" fmla="*/ 2 h 9"/>
                <a:gd name="T6" fmla="*/ 14 w 28"/>
                <a:gd name="T7" fmla="*/ 0 h 9"/>
                <a:gd name="T8" fmla="*/ 19 w 28"/>
                <a:gd name="T9" fmla="*/ 0 h 9"/>
                <a:gd name="T10" fmla="*/ 19 w 28"/>
                <a:gd name="T11" fmla="*/ 2 h 9"/>
                <a:gd name="T12" fmla="*/ 23 w 28"/>
                <a:gd name="T13" fmla="*/ 5 h 9"/>
                <a:gd name="T14" fmla="*/ 26 w 28"/>
                <a:gd name="T15" fmla="*/ 5 h 9"/>
                <a:gd name="T16" fmla="*/ 28 w 28"/>
                <a:gd name="T17" fmla="*/ 7 h 9"/>
                <a:gd name="T18" fmla="*/ 23 w 28"/>
                <a:gd name="T19" fmla="*/ 7 h 9"/>
                <a:gd name="T20" fmla="*/ 21 w 28"/>
                <a:gd name="T21" fmla="*/ 7 h 9"/>
                <a:gd name="T22" fmla="*/ 19 w 28"/>
                <a:gd name="T23" fmla="*/ 9 h 9"/>
                <a:gd name="T24" fmla="*/ 16 w 28"/>
                <a:gd name="T25" fmla="*/ 9 h 9"/>
                <a:gd name="T26" fmla="*/ 14 w 28"/>
                <a:gd name="T27" fmla="*/ 9 h 9"/>
                <a:gd name="T28" fmla="*/ 7 w 28"/>
                <a:gd name="T29" fmla="*/ 9 h 9"/>
                <a:gd name="T30" fmla="*/ 2 w 28"/>
                <a:gd name="T31" fmla="*/ 9 h 9"/>
                <a:gd name="T32" fmla="*/ 0 w 28"/>
                <a:gd name="T33" fmla="*/ 7 h 9"/>
                <a:gd name="T34" fmla="*/ 2 w 28"/>
                <a:gd name="T3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9">
                  <a:moveTo>
                    <a:pt x="2" y="5"/>
                  </a:moveTo>
                  <a:lnTo>
                    <a:pt x="2" y="5"/>
                  </a:lnTo>
                  <a:lnTo>
                    <a:pt x="4" y="2"/>
                  </a:lnTo>
                  <a:lnTo>
                    <a:pt x="14" y="0"/>
                  </a:lnTo>
                  <a:lnTo>
                    <a:pt x="19" y="0"/>
                  </a:lnTo>
                  <a:lnTo>
                    <a:pt x="19" y="2"/>
                  </a:lnTo>
                  <a:lnTo>
                    <a:pt x="23" y="5"/>
                  </a:lnTo>
                  <a:lnTo>
                    <a:pt x="26" y="5"/>
                  </a:lnTo>
                  <a:lnTo>
                    <a:pt x="28" y="7"/>
                  </a:lnTo>
                  <a:lnTo>
                    <a:pt x="23" y="7"/>
                  </a:lnTo>
                  <a:lnTo>
                    <a:pt x="21" y="7"/>
                  </a:lnTo>
                  <a:lnTo>
                    <a:pt x="19" y="9"/>
                  </a:lnTo>
                  <a:lnTo>
                    <a:pt x="16" y="9"/>
                  </a:lnTo>
                  <a:lnTo>
                    <a:pt x="14" y="9"/>
                  </a:lnTo>
                  <a:lnTo>
                    <a:pt x="7" y="9"/>
                  </a:lnTo>
                  <a:lnTo>
                    <a:pt x="2" y="9"/>
                  </a:lnTo>
                  <a:lnTo>
                    <a:pt x="0" y="7"/>
                  </a:lnTo>
                  <a:lnTo>
                    <a:pt x="2"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3" name="Freeform 159">
              <a:extLst>
                <a:ext uri="{FF2B5EF4-FFF2-40B4-BE49-F238E27FC236}">
                  <a16:creationId xmlns:a16="http://schemas.microsoft.com/office/drawing/2014/main" id="{5664186B-29EF-4F3A-82A9-01788194390A}"/>
                </a:ext>
              </a:extLst>
            </p:cNvPr>
            <p:cNvSpPr>
              <a:spLocks/>
            </p:cNvSpPr>
            <p:nvPr/>
          </p:nvSpPr>
          <p:spPr bwMode="auto">
            <a:xfrm>
              <a:off x="6915340" y="5323125"/>
              <a:ext cx="89731" cy="28840"/>
            </a:xfrm>
            <a:custGeom>
              <a:avLst/>
              <a:gdLst>
                <a:gd name="T0" fmla="*/ 2 w 28"/>
                <a:gd name="T1" fmla="*/ 5 h 9"/>
                <a:gd name="T2" fmla="*/ 2 w 28"/>
                <a:gd name="T3" fmla="*/ 5 h 9"/>
                <a:gd name="T4" fmla="*/ 4 w 28"/>
                <a:gd name="T5" fmla="*/ 2 h 9"/>
                <a:gd name="T6" fmla="*/ 14 w 28"/>
                <a:gd name="T7" fmla="*/ 0 h 9"/>
                <a:gd name="T8" fmla="*/ 19 w 28"/>
                <a:gd name="T9" fmla="*/ 0 h 9"/>
                <a:gd name="T10" fmla="*/ 19 w 28"/>
                <a:gd name="T11" fmla="*/ 2 h 9"/>
                <a:gd name="T12" fmla="*/ 23 w 28"/>
                <a:gd name="T13" fmla="*/ 5 h 9"/>
                <a:gd name="T14" fmla="*/ 26 w 28"/>
                <a:gd name="T15" fmla="*/ 5 h 9"/>
                <a:gd name="T16" fmla="*/ 28 w 28"/>
                <a:gd name="T17" fmla="*/ 7 h 9"/>
                <a:gd name="T18" fmla="*/ 23 w 28"/>
                <a:gd name="T19" fmla="*/ 7 h 9"/>
                <a:gd name="T20" fmla="*/ 21 w 28"/>
                <a:gd name="T21" fmla="*/ 7 h 9"/>
                <a:gd name="T22" fmla="*/ 19 w 28"/>
                <a:gd name="T23" fmla="*/ 9 h 9"/>
                <a:gd name="T24" fmla="*/ 16 w 28"/>
                <a:gd name="T25" fmla="*/ 9 h 9"/>
                <a:gd name="T26" fmla="*/ 14 w 28"/>
                <a:gd name="T27" fmla="*/ 9 h 9"/>
                <a:gd name="T28" fmla="*/ 7 w 28"/>
                <a:gd name="T29" fmla="*/ 9 h 9"/>
                <a:gd name="T30" fmla="*/ 2 w 28"/>
                <a:gd name="T31" fmla="*/ 9 h 9"/>
                <a:gd name="T32" fmla="*/ 0 w 28"/>
                <a:gd name="T33" fmla="*/ 7 h 9"/>
                <a:gd name="T34" fmla="*/ 2 w 28"/>
                <a:gd name="T3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9">
                  <a:moveTo>
                    <a:pt x="2" y="5"/>
                  </a:moveTo>
                  <a:lnTo>
                    <a:pt x="2" y="5"/>
                  </a:lnTo>
                  <a:lnTo>
                    <a:pt x="4" y="2"/>
                  </a:lnTo>
                  <a:lnTo>
                    <a:pt x="14" y="0"/>
                  </a:lnTo>
                  <a:lnTo>
                    <a:pt x="19" y="0"/>
                  </a:lnTo>
                  <a:lnTo>
                    <a:pt x="19" y="2"/>
                  </a:lnTo>
                  <a:lnTo>
                    <a:pt x="23" y="5"/>
                  </a:lnTo>
                  <a:lnTo>
                    <a:pt x="26" y="5"/>
                  </a:lnTo>
                  <a:lnTo>
                    <a:pt x="28" y="7"/>
                  </a:lnTo>
                  <a:lnTo>
                    <a:pt x="23" y="7"/>
                  </a:lnTo>
                  <a:lnTo>
                    <a:pt x="21" y="7"/>
                  </a:lnTo>
                  <a:lnTo>
                    <a:pt x="19" y="9"/>
                  </a:lnTo>
                  <a:lnTo>
                    <a:pt x="16" y="9"/>
                  </a:lnTo>
                  <a:lnTo>
                    <a:pt x="14" y="9"/>
                  </a:lnTo>
                  <a:lnTo>
                    <a:pt x="7" y="9"/>
                  </a:lnTo>
                  <a:lnTo>
                    <a:pt x="2" y="9"/>
                  </a:lnTo>
                  <a:lnTo>
                    <a:pt x="0" y="7"/>
                  </a:lnTo>
                  <a:lnTo>
                    <a:pt x="2"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4" name="Freeform 160">
              <a:extLst>
                <a:ext uri="{FF2B5EF4-FFF2-40B4-BE49-F238E27FC236}">
                  <a16:creationId xmlns:a16="http://schemas.microsoft.com/office/drawing/2014/main" id="{29586FAA-43F1-41B1-939D-389D3F07E5A8}"/>
                </a:ext>
              </a:extLst>
            </p:cNvPr>
            <p:cNvSpPr>
              <a:spLocks/>
            </p:cNvSpPr>
            <p:nvPr/>
          </p:nvSpPr>
          <p:spPr bwMode="auto">
            <a:xfrm>
              <a:off x="7549869" y="5617957"/>
              <a:ext cx="22434" cy="38457"/>
            </a:xfrm>
            <a:custGeom>
              <a:avLst/>
              <a:gdLst>
                <a:gd name="T0" fmla="*/ 0 w 7"/>
                <a:gd name="T1" fmla="*/ 0 h 12"/>
                <a:gd name="T2" fmla="*/ 2 w 7"/>
                <a:gd name="T3" fmla="*/ 0 h 12"/>
                <a:gd name="T4" fmla="*/ 7 w 7"/>
                <a:gd name="T5" fmla="*/ 5 h 12"/>
                <a:gd name="T6" fmla="*/ 7 w 7"/>
                <a:gd name="T7" fmla="*/ 7 h 12"/>
                <a:gd name="T8" fmla="*/ 7 w 7"/>
                <a:gd name="T9" fmla="*/ 9 h 12"/>
                <a:gd name="T10" fmla="*/ 5 w 7"/>
                <a:gd name="T11" fmla="*/ 12 h 12"/>
                <a:gd name="T12" fmla="*/ 5 w 7"/>
                <a:gd name="T13" fmla="*/ 7 h 12"/>
                <a:gd name="T14" fmla="*/ 2 w 7"/>
                <a:gd name="T15" fmla="*/ 5 h 12"/>
                <a:gd name="T16" fmla="*/ 0 w 7"/>
                <a:gd name="T17" fmla="*/ 2 h 12"/>
                <a:gd name="T18" fmla="*/ 0 w 7"/>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2">
                  <a:moveTo>
                    <a:pt x="0" y="0"/>
                  </a:moveTo>
                  <a:lnTo>
                    <a:pt x="2" y="0"/>
                  </a:lnTo>
                  <a:lnTo>
                    <a:pt x="7" y="5"/>
                  </a:lnTo>
                  <a:lnTo>
                    <a:pt x="7" y="7"/>
                  </a:lnTo>
                  <a:lnTo>
                    <a:pt x="7" y="9"/>
                  </a:lnTo>
                  <a:lnTo>
                    <a:pt x="5" y="12"/>
                  </a:lnTo>
                  <a:lnTo>
                    <a:pt x="5" y="7"/>
                  </a:lnTo>
                  <a:lnTo>
                    <a:pt x="2" y="5"/>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5" name="Freeform 161">
              <a:extLst>
                <a:ext uri="{FF2B5EF4-FFF2-40B4-BE49-F238E27FC236}">
                  <a16:creationId xmlns:a16="http://schemas.microsoft.com/office/drawing/2014/main" id="{75882500-E752-4392-8B74-EE1BFE0DB328}"/>
                </a:ext>
              </a:extLst>
            </p:cNvPr>
            <p:cNvSpPr>
              <a:spLocks/>
            </p:cNvSpPr>
            <p:nvPr/>
          </p:nvSpPr>
          <p:spPr bwMode="auto">
            <a:xfrm>
              <a:off x="7549869" y="5617957"/>
              <a:ext cx="22434" cy="38457"/>
            </a:xfrm>
            <a:custGeom>
              <a:avLst/>
              <a:gdLst>
                <a:gd name="T0" fmla="*/ 0 w 7"/>
                <a:gd name="T1" fmla="*/ 0 h 12"/>
                <a:gd name="T2" fmla="*/ 2 w 7"/>
                <a:gd name="T3" fmla="*/ 0 h 12"/>
                <a:gd name="T4" fmla="*/ 7 w 7"/>
                <a:gd name="T5" fmla="*/ 5 h 12"/>
                <a:gd name="T6" fmla="*/ 7 w 7"/>
                <a:gd name="T7" fmla="*/ 7 h 12"/>
                <a:gd name="T8" fmla="*/ 7 w 7"/>
                <a:gd name="T9" fmla="*/ 9 h 12"/>
                <a:gd name="T10" fmla="*/ 5 w 7"/>
                <a:gd name="T11" fmla="*/ 12 h 12"/>
                <a:gd name="T12" fmla="*/ 5 w 7"/>
                <a:gd name="T13" fmla="*/ 7 h 12"/>
                <a:gd name="T14" fmla="*/ 2 w 7"/>
                <a:gd name="T15" fmla="*/ 5 h 12"/>
                <a:gd name="T16" fmla="*/ 0 w 7"/>
                <a:gd name="T17" fmla="*/ 2 h 12"/>
                <a:gd name="T18" fmla="*/ 0 w 7"/>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2">
                  <a:moveTo>
                    <a:pt x="0" y="0"/>
                  </a:moveTo>
                  <a:lnTo>
                    <a:pt x="2" y="0"/>
                  </a:lnTo>
                  <a:lnTo>
                    <a:pt x="7" y="5"/>
                  </a:lnTo>
                  <a:lnTo>
                    <a:pt x="7" y="7"/>
                  </a:lnTo>
                  <a:lnTo>
                    <a:pt x="7" y="9"/>
                  </a:lnTo>
                  <a:lnTo>
                    <a:pt x="5" y="12"/>
                  </a:lnTo>
                  <a:lnTo>
                    <a:pt x="5" y="7"/>
                  </a:lnTo>
                  <a:lnTo>
                    <a:pt x="2" y="5"/>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6" name="Freeform 162">
              <a:extLst>
                <a:ext uri="{FF2B5EF4-FFF2-40B4-BE49-F238E27FC236}">
                  <a16:creationId xmlns:a16="http://schemas.microsoft.com/office/drawing/2014/main" id="{F45722E8-95CA-4056-A280-E29C167A2D2E}"/>
                </a:ext>
              </a:extLst>
            </p:cNvPr>
            <p:cNvSpPr>
              <a:spLocks/>
            </p:cNvSpPr>
            <p:nvPr/>
          </p:nvSpPr>
          <p:spPr bwMode="auto">
            <a:xfrm>
              <a:off x="7565895" y="5656414"/>
              <a:ext cx="22434" cy="16022"/>
            </a:xfrm>
            <a:custGeom>
              <a:avLst/>
              <a:gdLst>
                <a:gd name="T0" fmla="*/ 0 w 7"/>
                <a:gd name="T1" fmla="*/ 2 h 5"/>
                <a:gd name="T2" fmla="*/ 0 w 7"/>
                <a:gd name="T3" fmla="*/ 2 h 5"/>
                <a:gd name="T4" fmla="*/ 5 w 7"/>
                <a:gd name="T5" fmla="*/ 0 h 5"/>
                <a:gd name="T6" fmla="*/ 5 w 7"/>
                <a:gd name="T7" fmla="*/ 2 h 5"/>
                <a:gd name="T8" fmla="*/ 7 w 7"/>
                <a:gd name="T9" fmla="*/ 2 h 5"/>
                <a:gd name="T10" fmla="*/ 5 w 7"/>
                <a:gd name="T11" fmla="*/ 5 h 5"/>
                <a:gd name="T12" fmla="*/ 0 w 7"/>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0" y="2"/>
                  </a:moveTo>
                  <a:lnTo>
                    <a:pt x="0" y="2"/>
                  </a:lnTo>
                  <a:lnTo>
                    <a:pt x="5" y="0"/>
                  </a:lnTo>
                  <a:lnTo>
                    <a:pt x="5" y="2"/>
                  </a:lnTo>
                  <a:lnTo>
                    <a:pt x="7" y="2"/>
                  </a:lnTo>
                  <a:lnTo>
                    <a:pt x="5" y="5"/>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7" name="Freeform 163">
              <a:extLst>
                <a:ext uri="{FF2B5EF4-FFF2-40B4-BE49-F238E27FC236}">
                  <a16:creationId xmlns:a16="http://schemas.microsoft.com/office/drawing/2014/main" id="{A30038AE-A116-4095-9E63-46D31B8719C8}"/>
                </a:ext>
              </a:extLst>
            </p:cNvPr>
            <p:cNvSpPr>
              <a:spLocks/>
            </p:cNvSpPr>
            <p:nvPr/>
          </p:nvSpPr>
          <p:spPr bwMode="auto">
            <a:xfrm>
              <a:off x="7565895" y="5656414"/>
              <a:ext cx="22434" cy="16022"/>
            </a:xfrm>
            <a:custGeom>
              <a:avLst/>
              <a:gdLst>
                <a:gd name="T0" fmla="*/ 0 w 7"/>
                <a:gd name="T1" fmla="*/ 2 h 5"/>
                <a:gd name="T2" fmla="*/ 0 w 7"/>
                <a:gd name="T3" fmla="*/ 2 h 5"/>
                <a:gd name="T4" fmla="*/ 5 w 7"/>
                <a:gd name="T5" fmla="*/ 0 h 5"/>
                <a:gd name="T6" fmla="*/ 5 w 7"/>
                <a:gd name="T7" fmla="*/ 2 h 5"/>
                <a:gd name="T8" fmla="*/ 7 w 7"/>
                <a:gd name="T9" fmla="*/ 2 h 5"/>
                <a:gd name="T10" fmla="*/ 5 w 7"/>
                <a:gd name="T11" fmla="*/ 5 h 5"/>
                <a:gd name="T12" fmla="*/ 0 w 7"/>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0" y="2"/>
                  </a:moveTo>
                  <a:lnTo>
                    <a:pt x="0" y="2"/>
                  </a:lnTo>
                  <a:lnTo>
                    <a:pt x="5" y="0"/>
                  </a:lnTo>
                  <a:lnTo>
                    <a:pt x="5" y="2"/>
                  </a:lnTo>
                  <a:lnTo>
                    <a:pt x="7" y="2"/>
                  </a:lnTo>
                  <a:lnTo>
                    <a:pt x="5" y="5"/>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8" name="Freeform 164">
              <a:extLst>
                <a:ext uri="{FF2B5EF4-FFF2-40B4-BE49-F238E27FC236}">
                  <a16:creationId xmlns:a16="http://schemas.microsoft.com/office/drawing/2014/main" id="{64C3764A-E79D-4A56-B61E-FEA48BCF4855}"/>
                </a:ext>
              </a:extLst>
            </p:cNvPr>
            <p:cNvSpPr>
              <a:spLocks/>
            </p:cNvSpPr>
            <p:nvPr/>
          </p:nvSpPr>
          <p:spPr bwMode="auto">
            <a:xfrm>
              <a:off x="7376817" y="5685257"/>
              <a:ext cx="205102" cy="221123"/>
            </a:xfrm>
            <a:custGeom>
              <a:avLst/>
              <a:gdLst>
                <a:gd name="T0" fmla="*/ 2 w 64"/>
                <a:gd name="T1" fmla="*/ 0 h 69"/>
                <a:gd name="T2" fmla="*/ 7 w 64"/>
                <a:gd name="T3" fmla="*/ 3 h 69"/>
                <a:gd name="T4" fmla="*/ 9 w 64"/>
                <a:gd name="T5" fmla="*/ 3 h 69"/>
                <a:gd name="T6" fmla="*/ 21 w 64"/>
                <a:gd name="T7" fmla="*/ 10 h 69"/>
                <a:gd name="T8" fmla="*/ 33 w 64"/>
                <a:gd name="T9" fmla="*/ 10 h 69"/>
                <a:gd name="T10" fmla="*/ 40 w 64"/>
                <a:gd name="T11" fmla="*/ 7 h 69"/>
                <a:gd name="T12" fmla="*/ 47 w 64"/>
                <a:gd name="T13" fmla="*/ 7 h 69"/>
                <a:gd name="T14" fmla="*/ 52 w 64"/>
                <a:gd name="T15" fmla="*/ 3 h 69"/>
                <a:gd name="T16" fmla="*/ 56 w 64"/>
                <a:gd name="T17" fmla="*/ 3 h 69"/>
                <a:gd name="T18" fmla="*/ 61 w 64"/>
                <a:gd name="T19" fmla="*/ 5 h 69"/>
                <a:gd name="T20" fmla="*/ 64 w 64"/>
                <a:gd name="T21" fmla="*/ 17 h 69"/>
                <a:gd name="T22" fmla="*/ 61 w 64"/>
                <a:gd name="T23" fmla="*/ 26 h 69"/>
                <a:gd name="T24" fmla="*/ 64 w 64"/>
                <a:gd name="T25" fmla="*/ 33 h 69"/>
                <a:gd name="T26" fmla="*/ 64 w 64"/>
                <a:gd name="T27" fmla="*/ 36 h 69"/>
                <a:gd name="T28" fmla="*/ 61 w 64"/>
                <a:gd name="T29" fmla="*/ 29 h 69"/>
                <a:gd name="T30" fmla="*/ 59 w 64"/>
                <a:gd name="T31" fmla="*/ 38 h 69"/>
                <a:gd name="T32" fmla="*/ 56 w 64"/>
                <a:gd name="T33" fmla="*/ 43 h 69"/>
                <a:gd name="T34" fmla="*/ 54 w 64"/>
                <a:gd name="T35" fmla="*/ 50 h 69"/>
                <a:gd name="T36" fmla="*/ 49 w 64"/>
                <a:gd name="T37" fmla="*/ 48 h 69"/>
                <a:gd name="T38" fmla="*/ 49 w 64"/>
                <a:gd name="T39" fmla="*/ 52 h 69"/>
                <a:gd name="T40" fmla="*/ 45 w 64"/>
                <a:gd name="T41" fmla="*/ 57 h 69"/>
                <a:gd name="T42" fmla="*/ 42 w 64"/>
                <a:gd name="T43" fmla="*/ 57 h 69"/>
                <a:gd name="T44" fmla="*/ 40 w 64"/>
                <a:gd name="T45" fmla="*/ 59 h 69"/>
                <a:gd name="T46" fmla="*/ 40 w 64"/>
                <a:gd name="T47" fmla="*/ 64 h 69"/>
                <a:gd name="T48" fmla="*/ 35 w 64"/>
                <a:gd name="T49" fmla="*/ 69 h 69"/>
                <a:gd name="T50" fmla="*/ 31 w 64"/>
                <a:gd name="T51" fmla="*/ 66 h 69"/>
                <a:gd name="T52" fmla="*/ 26 w 64"/>
                <a:gd name="T53" fmla="*/ 66 h 69"/>
                <a:gd name="T54" fmla="*/ 21 w 64"/>
                <a:gd name="T55" fmla="*/ 64 h 69"/>
                <a:gd name="T56" fmla="*/ 26 w 64"/>
                <a:gd name="T57" fmla="*/ 62 h 69"/>
                <a:gd name="T58" fmla="*/ 19 w 64"/>
                <a:gd name="T59" fmla="*/ 59 h 69"/>
                <a:gd name="T60" fmla="*/ 14 w 64"/>
                <a:gd name="T61" fmla="*/ 50 h 69"/>
                <a:gd name="T62" fmla="*/ 7 w 64"/>
                <a:gd name="T63" fmla="*/ 33 h 69"/>
                <a:gd name="T64" fmla="*/ 14 w 64"/>
                <a:gd name="T65" fmla="*/ 36 h 69"/>
                <a:gd name="T66" fmla="*/ 7 w 64"/>
                <a:gd name="T67" fmla="*/ 29 h 69"/>
                <a:gd name="T68" fmla="*/ 0 w 64"/>
                <a:gd name="T6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69">
                  <a:moveTo>
                    <a:pt x="0" y="0"/>
                  </a:moveTo>
                  <a:lnTo>
                    <a:pt x="2" y="0"/>
                  </a:lnTo>
                  <a:lnTo>
                    <a:pt x="5" y="0"/>
                  </a:lnTo>
                  <a:lnTo>
                    <a:pt x="7" y="3"/>
                  </a:lnTo>
                  <a:lnTo>
                    <a:pt x="9" y="3"/>
                  </a:lnTo>
                  <a:lnTo>
                    <a:pt x="9" y="3"/>
                  </a:lnTo>
                  <a:lnTo>
                    <a:pt x="14" y="3"/>
                  </a:lnTo>
                  <a:lnTo>
                    <a:pt x="21" y="10"/>
                  </a:lnTo>
                  <a:lnTo>
                    <a:pt x="33" y="10"/>
                  </a:lnTo>
                  <a:lnTo>
                    <a:pt x="33" y="10"/>
                  </a:lnTo>
                  <a:lnTo>
                    <a:pt x="38" y="7"/>
                  </a:lnTo>
                  <a:lnTo>
                    <a:pt x="40" y="7"/>
                  </a:lnTo>
                  <a:lnTo>
                    <a:pt x="45" y="7"/>
                  </a:lnTo>
                  <a:lnTo>
                    <a:pt x="47" y="7"/>
                  </a:lnTo>
                  <a:lnTo>
                    <a:pt x="49" y="3"/>
                  </a:lnTo>
                  <a:lnTo>
                    <a:pt x="52" y="3"/>
                  </a:lnTo>
                  <a:lnTo>
                    <a:pt x="54" y="5"/>
                  </a:lnTo>
                  <a:lnTo>
                    <a:pt x="56" y="3"/>
                  </a:lnTo>
                  <a:lnTo>
                    <a:pt x="59" y="3"/>
                  </a:lnTo>
                  <a:lnTo>
                    <a:pt x="61" y="5"/>
                  </a:lnTo>
                  <a:lnTo>
                    <a:pt x="64" y="12"/>
                  </a:lnTo>
                  <a:lnTo>
                    <a:pt x="64" y="17"/>
                  </a:lnTo>
                  <a:lnTo>
                    <a:pt x="61" y="19"/>
                  </a:lnTo>
                  <a:lnTo>
                    <a:pt x="61" y="26"/>
                  </a:lnTo>
                  <a:lnTo>
                    <a:pt x="64" y="31"/>
                  </a:lnTo>
                  <a:lnTo>
                    <a:pt x="64" y="33"/>
                  </a:lnTo>
                  <a:lnTo>
                    <a:pt x="64" y="38"/>
                  </a:lnTo>
                  <a:lnTo>
                    <a:pt x="64" y="36"/>
                  </a:lnTo>
                  <a:lnTo>
                    <a:pt x="64" y="31"/>
                  </a:lnTo>
                  <a:lnTo>
                    <a:pt x="61" y="29"/>
                  </a:lnTo>
                  <a:lnTo>
                    <a:pt x="61" y="31"/>
                  </a:lnTo>
                  <a:lnTo>
                    <a:pt x="59" y="38"/>
                  </a:lnTo>
                  <a:lnTo>
                    <a:pt x="59" y="43"/>
                  </a:lnTo>
                  <a:lnTo>
                    <a:pt x="56" y="43"/>
                  </a:lnTo>
                  <a:lnTo>
                    <a:pt x="56" y="48"/>
                  </a:lnTo>
                  <a:lnTo>
                    <a:pt x="54" y="50"/>
                  </a:lnTo>
                  <a:lnTo>
                    <a:pt x="52" y="50"/>
                  </a:lnTo>
                  <a:lnTo>
                    <a:pt x="49" y="48"/>
                  </a:lnTo>
                  <a:lnTo>
                    <a:pt x="49" y="50"/>
                  </a:lnTo>
                  <a:lnTo>
                    <a:pt x="49" y="52"/>
                  </a:lnTo>
                  <a:lnTo>
                    <a:pt x="47" y="55"/>
                  </a:lnTo>
                  <a:lnTo>
                    <a:pt x="45" y="57"/>
                  </a:lnTo>
                  <a:lnTo>
                    <a:pt x="45" y="59"/>
                  </a:lnTo>
                  <a:lnTo>
                    <a:pt x="42" y="57"/>
                  </a:lnTo>
                  <a:lnTo>
                    <a:pt x="42" y="57"/>
                  </a:lnTo>
                  <a:lnTo>
                    <a:pt x="40" y="59"/>
                  </a:lnTo>
                  <a:lnTo>
                    <a:pt x="40" y="62"/>
                  </a:lnTo>
                  <a:lnTo>
                    <a:pt x="40" y="64"/>
                  </a:lnTo>
                  <a:lnTo>
                    <a:pt x="38" y="69"/>
                  </a:lnTo>
                  <a:lnTo>
                    <a:pt x="35" y="69"/>
                  </a:lnTo>
                  <a:lnTo>
                    <a:pt x="33" y="66"/>
                  </a:lnTo>
                  <a:lnTo>
                    <a:pt x="31" y="66"/>
                  </a:lnTo>
                  <a:lnTo>
                    <a:pt x="31" y="66"/>
                  </a:lnTo>
                  <a:lnTo>
                    <a:pt x="26" y="66"/>
                  </a:lnTo>
                  <a:lnTo>
                    <a:pt x="23" y="66"/>
                  </a:lnTo>
                  <a:lnTo>
                    <a:pt x="21" y="64"/>
                  </a:lnTo>
                  <a:lnTo>
                    <a:pt x="23" y="62"/>
                  </a:lnTo>
                  <a:lnTo>
                    <a:pt x="26" y="62"/>
                  </a:lnTo>
                  <a:lnTo>
                    <a:pt x="23" y="62"/>
                  </a:lnTo>
                  <a:lnTo>
                    <a:pt x="19" y="59"/>
                  </a:lnTo>
                  <a:lnTo>
                    <a:pt x="16" y="52"/>
                  </a:lnTo>
                  <a:lnTo>
                    <a:pt x="14" y="50"/>
                  </a:lnTo>
                  <a:lnTo>
                    <a:pt x="12" y="48"/>
                  </a:lnTo>
                  <a:lnTo>
                    <a:pt x="7" y="33"/>
                  </a:lnTo>
                  <a:lnTo>
                    <a:pt x="12" y="40"/>
                  </a:lnTo>
                  <a:lnTo>
                    <a:pt x="14" y="36"/>
                  </a:lnTo>
                  <a:lnTo>
                    <a:pt x="12" y="36"/>
                  </a:lnTo>
                  <a:lnTo>
                    <a:pt x="7" y="29"/>
                  </a:lnTo>
                  <a:lnTo>
                    <a:pt x="0" y="12"/>
                  </a:lnTo>
                  <a:lnTo>
                    <a:pt x="0" y="7"/>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099" name="Freeform 165">
              <a:extLst>
                <a:ext uri="{FF2B5EF4-FFF2-40B4-BE49-F238E27FC236}">
                  <a16:creationId xmlns:a16="http://schemas.microsoft.com/office/drawing/2014/main" id="{A84469F8-02A2-4228-B41A-14C7B7002355}"/>
                </a:ext>
              </a:extLst>
            </p:cNvPr>
            <p:cNvSpPr>
              <a:spLocks/>
            </p:cNvSpPr>
            <p:nvPr/>
          </p:nvSpPr>
          <p:spPr bwMode="auto">
            <a:xfrm>
              <a:off x="7376817" y="5685257"/>
              <a:ext cx="205102" cy="221123"/>
            </a:xfrm>
            <a:custGeom>
              <a:avLst/>
              <a:gdLst>
                <a:gd name="T0" fmla="*/ 2 w 64"/>
                <a:gd name="T1" fmla="*/ 0 h 69"/>
                <a:gd name="T2" fmla="*/ 7 w 64"/>
                <a:gd name="T3" fmla="*/ 3 h 69"/>
                <a:gd name="T4" fmla="*/ 9 w 64"/>
                <a:gd name="T5" fmla="*/ 3 h 69"/>
                <a:gd name="T6" fmla="*/ 21 w 64"/>
                <a:gd name="T7" fmla="*/ 10 h 69"/>
                <a:gd name="T8" fmla="*/ 33 w 64"/>
                <a:gd name="T9" fmla="*/ 10 h 69"/>
                <a:gd name="T10" fmla="*/ 40 w 64"/>
                <a:gd name="T11" fmla="*/ 7 h 69"/>
                <a:gd name="T12" fmla="*/ 47 w 64"/>
                <a:gd name="T13" fmla="*/ 7 h 69"/>
                <a:gd name="T14" fmla="*/ 52 w 64"/>
                <a:gd name="T15" fmla="*/ 3 h 69"/>
                <a:gd name="T16" fmla="*/ 56 w 64"/>
                <a:gd name="T17" fmla="*/ 3 h 69"/>
                <a:gd name="T18" fmla="*/ 61 w 64"/>
                <a:gd name="T19" fmla="*/ 5 h 69"/>
                <a:gd name="T20" fmla="*/ 64 w 64"/>
                <a:gd name="T21" fmla="*/ 17 h 69"/>
                <a:gd name="T22" fmla="*/ 61 w 64"/>
                <a:gd name="T23" fmla="*/ 26 h 69"/>
                <a:gd name="T24" fmla="*/ 64 w 64"/>
                <a:gd name="T25" fmla="*/ 33 h 69"/>
                <a:gd name="T26" fmla="*/ 64 w 64"/>
                <a:gd name="T27" fmla="*/ 36 h 69"/>
                <a:gd name="T28" fmla="*/ 61 w 64"/>
                <a:gd name="T29" fmla="*/ 29 h 69"/>
                <a:gd name="T30" fmla="*/ 59 w 64"/>
                <a:gd name="T31" fmla="*/ 38 h 69"/>
                <a:gd name="T32" fmla="*/ 56 w 64"/>
                <a:gd name="T33" fmla="*/ 43 h 69"/>
                <a:gd name="T34" fmla="*/ 54 w 64"/>
                <a:gd name="T35" fmla="*/ 50 h 69"/>
                <a:gd name="T36" fmla="*/ 49 w 64"/>
                <a:gd name="T37" fmla="*/ 48 h 69"/>
                <a:gd name="T38" fmla="*/ 49 w 64"/>
                <a:gd name="T39" fmla="*/ 52 h 69"/>
                <a:gd name="T40" fmla="*/ 45 w 64"/>
                <a:gd name="T41" fmla="*/ 57 h 69"/>
                <a:gd name="T42" fmla="*/ 42 w 64"/>
                <a:gd name="T43" fmla="*/ 57 h 69"/>
                <a:gd name="T44" fmla="*/ 40 w 64"/>
                <a:gd name="T45" fmla="*/ 59 h 69"/>
                <a:gd name="T46" fmla="*/ 40 w 64"/>
                <a:gd name="T47" fmla="*/ 64 h 69"/>
                <a:gd name="T48" fmla="*/ 35 w 64"/>
                <a:gd name="T49" fmla="*/ 69 h 69"/>
                <a:gd name="T50" fmla="*/ 31 w 64"/>
                <a:gd name="T51" fmla="*/ 66 h 69"/>
                <a:gd name="T52" fmla="*/ 26 w 64"/>
                <a:gd name="T53" fmla="*/ 66 h 69"/>
                <a:gd name="T54" fmla="*/ 21 w 64"/>
                <a:gd name="T55" fmla="*/ 64 h 69"/>
                <a:gd name="T56" fmla="*/ 26 w 64"/>
                <a:gd name="T57" fmla="*/ 62 h 69"/>
                <a:gd name="T58" fmla="*/ 19 w 64"/>
                <a:gd name="T59" fmla="*/ 59 h 69"/>
                <a:gd name="T60" fmla="*/ 14 w 64"/>
                <a:gd name="T61" fmla="*/ 50 h 69"/>
                <a:gd name="T62" fmla="*/ 7 w 64"/>
                <a:gd name="T63" fmla="*/ 33 h 69"/>
                <a:gd name="T64" fmla="*/ 14 w 64"/>
                <a:gd name="T65" fmla="*/ 36 h 69"/>
                <a:gd name="T66" fmla="*/ 7 w 64"/>
                <a:gd name="T67" fmla="*/ 29 h 69"/>
                <a:gd name="T68" fmla="*/ 0 w 64"/>
                <a:gd name="T6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69">
                  <a:moveTo>
                    <a:pt x="0" y="0"/>
                  </a:moveTo>
                  <a:lnTo>
                    <a:pt x="2" y="0"/>
                  </a:lnTo>
                  <a:lnTo>
                    <a:pt x="5" y="0"/>
                  </a:lnTo>
                  <a:lnTo>
                    <a:pt x="7" y="3"/>
                  </a:lnTo>
                  <a:lnTo>
                    <a:pt x="9" y="3"/>
                  </a:lnTo>
                  <a:lnTo>
                    <a:pt x="9" y="3"/>
                  </a:lnTo>
                  <a:lnTo>
                    <a:pt x="14" y="3"/>
                  </a:lnTo>
                  <a:lnTo>
                    <a:pt x="21" y="10"/>
                  </a:lnTo>
                  <a:lnTo>
                    <a:pt x="33" y="10"/>
                  </a:lnTo>
                  <a:lnTo>
                    <a:pt x="33" y="10"/>
                  </a:lnTo>
                  <a:lnTo>
                    <a:pt x="38" y="7"/>
                  </a:lnTo>
                  <a:lnTo>
                    <a:pt x="40" y="7"/>
                  </a:lnTo>
                  <a:lnTo>
                    <a:pt x="45" y="7"/>
                  </a:lnTo>
                  <a:lnTo>
                    <a:pt x="47" y="7"/>
                  </a:lnTo>
                  <a:lnTo>
                    <a:pt x="49" y="3"/>
                  </a:lnTo>
                  <a:lnTo>
                    <a:pt x="52" y="3"/>
                  </a:lnTo>
                  <a:lnTo>
                    <a:pt x="54" y="5"/>
                  </a:lnTo>
                  <a:lnTo>
                    <a:pt x="56" y="3"/>
                  </a:lnTo>
                  <a:lnTo>
                    <a:pt x="59" y="3"/>
                  </a:lnTo>
                  <a:lnTo>
                    <a:pt x="61" y="5"/>
                  </a:lnTo>
                  <a:lnTo>
                    <a:pt x="64" y="12"/>
                  </a:lnTo>
                  <a:lnTo>
                    <a:pt x="64" y="17"/>
                  </a:lnTo>
                  <a:lnTo>
                    <a:pt x="61" y="19"/>
                  </a:lnTo>
                  <a:lnTo>
                    <a:pt x="61" y="26"/>
                  </a:lnTo>
                  <a:lnTo>
                    <a:pt x="64" y="31"/>
                  </a:lnTo>
                  <a:lnTo>
                    <a:pt x="64" y="33"/>
                  </a:lnTo>
                  <a:lnTo>
                    <a:pt x="64" y="38"/>
                  </a:lnTo>
                  <a:lnTo>
                    <a:pt x="64" y="36"/>
                  </a:lnTo>
                  <a:lnTo>
                    <a:pt x="64" y="31"/>
                  </a:lnTo>
                  <a:lnTo>
                    <a:pt x="61" y="29"/>
                  </a:lnTo>
                  <a:lnTo>
                    <a:pt x="61" y="31"/>
                  </a:lnTo>
                  <a:lnTo>
                    <a:pt x="59" y="38"/>
                  </a:lnTo>
                  <a:lnTo>
                    <a:pt x="59" y="43"/>
                  </a:lnTo>
                  <a:lnTo>
                    <a:pt x="56" y="43"/>
                  </a:lnTo>
                  <a:lnTo>
                    <a:pt x="56" y="48"/>
                  </a:lnTo>
                  <a:lnTo>
                    <a:pt x="54" y="50"/>
                  </a:lnTo>
                  <a:lnTo>
                    <a:pt x="52" y="50"/>
                  </a:lnTo>
                  <a:lnTo>
                    <a:pt x="49" y="48"/>
                  </a:lnTo>
                  <a:lnTo>
                    <a:pt x="49" y="50"/>
                  </a:lnTo>
                  <a:lnTo>
                    <a:pt x="49" y="52"/>
                  </a:lnTo>
                  <a:lnTo>
                    <a:pt x="47" y="55"/>
                  </a:lnTo>
                  <a:lnTo>
                    <a:pt x="45" y="57"/>
                  </a:lnTo>
                  <a:lnTo>
                    <a:pt x="45" y="59"/>
                  </a:lnTo>
                  <a:lnTo>
                    <a:pt x="42" y="57"/>
                  </a:lnTo>
                  <a:lnTo>
                    <a:pt x="42" y="57"/>
                  </a:lnTo>
                  <a:lnTo>
                    <a:pt x="40" y="59"/>
                  </a:lnTo>
                  <a:lnTo>
                    <a:pt x="40" y="62"/>
                  </a:lnTo>
                  <a:lnTo>
                    <a:pt x="40" y="64"/>
                  </a:lnTo>
                  <a:lnTo>
                    <a:pt x="38" y="69"/>
                  </a:lnTo>
                  <a:lnTo>
                    <a:pt x="35" y="69"/>
                  </a:lnTo>
                  <a:lnTo>
                    <a:pt x="33" y="66"/>
                  </a:lnTo>
                  <a:lnTo>
                    <a:pt x="31" y="66"/>
                  </a:lnTo>
                  <a:lnTo>
                    <a:pt x="31" y="66"/>
                  </a:lnTo>
                  <a:lnTo>
                    <a:pt x="26" y="66"/>
                  </a:lnTo>
                  <a:lnTo>
                    <a:pt x="23" y="66"/>
                  </a:lnTo>
                  <a:lnTo>
                    <a:pt x="21" y="64"/>
                  </a:lnTo>
                  <a:lnTo>
                    <a:pt x="23" y="62"/>
                  </a:lnTo>
                  <a:lnTo>
                    <a:pt x="26" y="62"/>
                  </a:lnTo>
                  <a:lnTo>
                    <a:pt x="23" y="62"/>
                  </a:lnTo>
                  <a:lnTo>
                    <a:pt x="19" y="59"/>
                  </a:lnTo>
                  <a:lnTo>
                    <a:pt x="16" y="52"/>
                  </a:lnTo>
                  <a:lnTo>
                    <a:pt x="14" y="50"/>
                  </a:lnTo>
                  <a:lnTo>
                    <a:pt x="12" y="48"/>
                  </a:lnTo>
                  <a:lnTo>
                    <a:pt x="7" y="33"/>
                  </a:lnTo>
                  <a:lnTo>
                    <a:pt x="12" y="40"/>
                  </a:lnTo>
                  <a:lnTo>
                    <a:pt x="14" y="36"/>
                  </a:lnTo>
                  <a:lnTo>
                    <a:pt x="12" y="36"/>
                  </a:lnTo>
                  <a:lnTo>
                    <a:pt x="7" y="29"/>
                  </a:lnTo>
                  <a:lnTo>
                    <a:pt x="0" y="12"/>
                  </a:lnTo>
                  <a:lnTo>
                    <a:pt x="0" y="7"/>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0" name="Freeform 166">
              <a:extLst>
                <a:ext uri="{FF2B5EF4-FFF2-40B4-BE49-F238E27FC236}">
                  <a16:creationId xmlns:a16="http://schemas.microsoft.com/office/drawing/2014/main" id="{775D6BF4-CDE0-434E-B7AE-80FBE90D02A6}"/>
                </a:ext>
              </a:extLst>
            </p:cNvPr>
            <p:cNvSpPr>
              <a:spLocks/>
            </p:cNvSpPr>
            <p:nvPr/>
          </p:nvSpPr>
          <p:spPr bwMode="auto">
            <a:xfrm>
              <a:off x="5611026" y="3800892"/>
              <a:ext cx="2256110" cy="1772200"/>
            </a:xfrm>
            <a:custGeom>
              <a:avLst/>
              <a:gdLst>
                <a:gd name="T0" fmla="*/ 24 w 704"/>
                <a:gd name="T1" fmla="*/ 201 h 553"/>
                <a:gd name="T2" fmla="*/ 62 w 704"/>
                <a:gd name="T3" fmla="*/ 180 h 553"/>
                <a:gd name="T4" fmla="*/ 114 w 704"/>
                <a:gd name="T5" fmla="*/ 168 h 553"/>
                <a:gd name="T6" fmla="*/ 159 w 704"/>
                <a:gd name="T7" fmla="*/ 135 h 553"/>
                <a:gd name="T8" fmla="*/ 168 w 704"/>
                <a:gd name="T9" fmla="*/ 106 h 553"/>
                <a:gd name="T10" fmla="*/ 180 w 704"/>
                <a:gd name="T11" fmla="*/ 104 h 553"/>
                <a:gd name="T12" fmla="*/ 201 w 704"/>
                <a:gd name="T13" fmla="*/ 83 h 553"/>
                <a:gd name="T14" fmla="*/ 218 w 704"/>
                <a:gd name="T15" fmla="*/ 71 h 553"/>
                <a:gd name="T16" fmla="*/ 234 w 704"/>
                <a:gd name="T17" fmla="*/ 59 h 553"/>
                <a:gd name="T18" fmla="*/ 260 w 704"/>
                <a:gd name="T19" fmla="*/ 83 h 553"/>
                <a:gd name="T20" fmla="*/ 286 w 704"/>
                <a:gd name="T21" fmla="*/ 80 h 553"/>
                <a:gd name="T22" fmla="*/ 293 w 704"/>
                <a:gd name="T23" fmla="*/ 52 h 553"/>
                <a:gd name="T24" fmla="*/ 310 w 704"/>
                <a:gd name="T25" fmla="*/ 36 h 553"/>
                <a:gd name="T26" fmla="*/ 331 w 704"/>
                <a:gd name="T27" fmla="*/ 17 h 553"/>
                <a:gd name="T28" fmla="*/ 331 w 704"/>
                <a:gd name="T29" fmla="*/ 10 h 553"/>
                <a:gd name="T30" fmla="*/ 355 w 704"/>
                <a:gd name="T31" fmla="*/ 21 h 553"/>
                <a:gd name="T32" fmla="*/ 383 w 704"/>
                <a:gd name="T33" fmla="*/ 28 h 553"/>
                <a:gd name="T34" fmla="*/ 402 w 704"/>
                <a:gd name="T35" fmla="*/ 28 h 553"/>
                <a:gd name="T36" fmla="*/ 407 w 704"/>
                <a:gd name="T37" fmla="*/ 38 h 553"/>
                <a:gd name="T38" fmla="*/ 395 w 704"/>
                <a:gd name="T39" fmla="*/ 52 h 553"/>
                <a:gd name="T40" fmla="*/ 404 w 704"/>
                <a:gd name="T41" fmla="*/ 85 h 553"/>
                <a:gd name="T42" fmla="*/ 440 w 704"/>
                <a:gd name="T43" fmla="*/ 109 h 553"/>
                <a:gd name="T44" fmla="*/ 494 w 704"/>
                <a:gd name="T45" fmla="*/ 88 h 553"/>
                <a:gd name="T46" fmla="*/ 501 w 704"/>
                <a:gd name="T47" fmla="*/ 24 h 553"/>
                <a:gd name="T48" fmla="*/ 515 w 704"/>
                <a:gd name="T49" fmla="*/ 7 h 553"/>
                <a:gd name="T50" fmla="*/ 530 w 704"/>
                <a:gd name="T51" fmla="*/ 54 h 553"/>
                <a:gd name="T52" fmla="*/ 560 w 704"/>
                <a:gd name="T53" fmla="*/ 80 h 553"/>
                <a:gd name="T54" fmla="*/ 574 w 704"/>
                <a:gd name="T55" fmla="*/ 132 h 553"/>
                <a:gd name="T56" fmla="*/ 589 w 704"/>
                <a:gd name="T57" fmla="*/ 156 h 553"/>
                <a:gd name="T58" fmla="*/ 622 w 704"/>
                <a:gd name="T59" fmla="*/ 173 h 553"/>
                <a:gd name="T60" fmla="*/ 633 w 704"/>
                <a:gd name="T61" fmla="*/ 206 h 553"/>
                <a:gd name="T62" fmla="*/ 652 w 704"/>
                <a:gd name="T63" fmla="*/ 210 h 553"/>
                <a:gd name="T64" fmla="*/ 678 w 704"/>
                <a:gd name="T65" fmla="*/ 253 h 553"/>
                <a:gd name="T66" fmla="*/ 697 w 704"/>
                <a:gd name="T67" fmla="*/ 291 h 553"/>
                <a:gd name="T68" fmla="*/ 702 w 704"/>
                <a:gd name="T69" fmla="*/ 347 h 553"/>
                <a:gd name="T70" fmla="*/ 685 w 704"/>
                <a:gd name="T71" fmla="*/ 409 h 553"/>
                <a:gd name="T72" fmla="*/ 664 w 704"/>
                <a:gd name="T73" fmla="*/ 435 h 553"/>
                <a:gd name="T74" fmla="*/ 648 w 704"/>
                <a:gd name="T75" fmla="*/ 480 h 553"/>
                <a:gd name="T76" fmla="*/ 638 w 704"/>
                <a:gd name="T77" fmla="*/ 517 h 553"/>
                <a:gd name="T78" fmla="*/ 579 w 704"/>
                <a:gd name="T79" fmla="*/ 543 h 553"/>
                <a:gd name="T80" fmla="*/ 567 w 704"/>
                <a:gd name="T81" fmla="*/ 543 h 553"/>
                <a:gd name="T82" fmla="*/ 546 w 704"/>
                <a:gd name="T83" fmla="*/ 529 h 553"/>
                <a:gd name="T84" fmla="*/ 499 w 704"/>
                <a:gd name="T85" fmla="*/ 534 h 553"/>
                <a:gd name="T86" fmla="*/ 461 w 704"/>
                <a:gd name="T87" fmla="*/ 487 h 553"/>
                <a:gd name="T88" fmla="*/ 437 w 704"/>
                <a:gd name="T89" fmla="*/ 449 h 553"/>
                <a:gd name="T90" fmla="*/ 423 w 704"/>
                <a:gd name="T91" fmla="*/ 458 h 553"/>
                <a:gd name="T92" fmla="*/ 433 w 704"/>
                <a:gd name="T93" fmla="*/ 421 h 553"/>
                <a:gd name="T94" fmla="*/ 414 w 704"/>
                <a:gd name="T95" fmla="*/ 437 h 553"/>
                <a:gd name="T96" fmla="*/ 388 w 704"/>
                <a:gd name="T97" fmla="*/ 456 h 553"/>
                <a:gd name="T98" fmla="*/ 374 w 704"/>
                <a:gd name="T99" fmla="*/ 425 h 553"/>
                <a:gd name="T100" fmla="*/ 338 w 704"/>
                <a:gd name="T101" fmla="*/ 399 h 553"/>
                <a:gd name="T102" fmla="*/ 246 w 704"/>
                <a:gd name="T103" fmla="*/ 404 h 553"/>
                <a:gd name="T104" fmla="*/ 187 w 704"/>
                <a:gd name="T105" fmla="*/ 430 h 553"/>
                <a:gd name="T106" fmla="*/ 133 w 704"/>
                <a:gd name="T107" fmla="*/ 439 h 553"/>
                <a:gd name="T108" fmla="*/ 85 w 704"/>
                <a:gd name="T109" fmla="*/ 463 h 553"/>
                <a:gd name="T110" fmla="*/ 41 w 704"/>
                <a:gd name="T111" fmla="*/ 447 h 553"/>
                <a:gd name="T112" fmla="*/ 45 w 704"/>
                <a:gd name="T113" fmla="*/ 409 h 553"/>
                <a:gd name="T114" fmla="*/ 22 w 704"/>
                <a:gd name="T115" fmla="*/ 326 h 553"/>
                <a:gd name="T116" fmla="*/ 3 w 704"/>
                <a:gd name="T117" fmla="*/ 286 h 553"/>
                <a:gd name="T118" fmla="*/ 10 w 704"/>
                <a:gd name="T119" fmla="*/ 281 h 553"/>
                <a:gd name="T120" fmla="*/ 3 w 704"/>
                <a:gd name="T121" fmla="*/ 24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553">
                  <a:moveTo>
                    <a:pt x="12" y="203"/>
                  </a:moveTo>
                  <a:lnTo>
                    <a:pt x="15" y="201"/>
                  </a:lnTo>
                  <a:lnTo>
                    <a:pt x="15" y="206"/>
                  </a:lnTo>
                  <a:lnTo>
                    <a:pt x="15" y="206"/>
                  </a:lnTo>
                  <a:lnTo>
                    <a:pt x="15" y="208"/>
                  </a:lnTo>
                  <a:lnTo>
                    <a:pt x="15" y="210"/>
                  </a:lnTo>
                  <a:lnTo>
                    <a:pt x="15" y="210"/>
                  </a:lnTo>
                  <a:lnTo>
                    <a:pt x="15" y="213"/>
                  </a:lnTo>
                  <a:lnTo>
                    <a:pt x="15" y="215"/>
                  </a:lnTo>
                  <a:lnTo>
                    <a:pt x="15" y="215"/>
                  </a:lnTo>
                  <a:lnTo>
                    <a:pt x="19" y="213"/>
                  </a:lnTo>
                  <a:lnTo>
                    <a:pt x="19" y="208"/>
                  </a:lnTo>
                  <a:lnTo>
                    <a:pt x="22" y="203"/>
                  </a:lnTo>
                  <a:lnTo>
                    <a:pt x="24" y="201"/>
                  </a:lnTo>
                  <a:lnTo>
                    <a:pt x="26" y="201"/>
                  </a:lnTo>
                  <a:lnTo>
                    <a:pt x="29" y="201"/>
                  </a:lnTo>
                  <a:lnTo>
                    <a:pt x="31" y="199"/>
                  </a:lnTo>
                  <a:lnTo>
                    <a:pt x="38" y="196"/>
                  </a:lnTo>
                  <a:lnTo>
                    <a:pt x="41" y="194"/>
                  </a:lnTo>
                  <a:lnTo>
                    <a:pt x="43" y="191"/>
                  </a:lnTo>
                  <a:lnTo>
                    <a:pt x="45" y="189"/>
                  </a:lnTo>
                  <a:lnTo>
                    <a:pt x="45" y="187"/>
                  </a:lnTo>
                  <a:lnTo>
                    <a:pt x="50" y="184"/>
                  </a:lnTo>
                  <a:lnTo>
                    <a:pt x="52" y="184"/>
                  </a:lnTo>
                  <a:lnTo>
                    <a:pt x="55" y="182"/>
                  </a:lnTo>
                  <a:lnTo>
                    <a:pt x="59" y="177"/>
                  </a:lnTo>
                  <a:lnTo>
                    <a:pt x="62" y="177"/>
                  </a:lnTo>
                  <a:lnTo>
                    <a:pt x="62" y="180"/>
                  </a:lnTo>
                  <a:lnTo>
                    <a:pt x="67" y="180"/>
                  </a:lnTo>
                  <a:lnTo>
                    <a:pt x="71" y="180"/>
                  </a:lnTo>
                  <a:lnTo>
                    <a:pt x="74" y="180"/>
                  </a:lnTo>
                  <a:lnTo>
                    <a:pt x="76" y="180"/>
                  </a:lnTo>
                  <a:lnTo>
                    <a:pt x="78" y="180"/>
                  </a:lnTo>
                  <a:lnTo>
                    <a:pt x="83" y="177"/>
                  </a:lnTo>
                  <a:lnTo>
                    <a:pt x="85" y="175"/>
                  </a:lnTo>
                  <a:lnTo>
                    <a:pt x="88" y="175"/>
                  </a:lnTo>
                  <a:lnTo>
                    <a:pt x="93" y="173"/>
                  </a:lnTo>
                  <a:lnTo>
                    <a:pt x="95" y="173"/>
                  </a:lnTo>
                  <a:lnTo>
                    <a:pt x="102" y="168"/>
                  </a:lnTo>
                  <a:lnTo>
                    <a:pt x="107" y="168"/>
                  </a:lnTo>
                  <a:lnTo>
                    <a:pt x="109" y="168"/>
                  </a:lnTo>
                  <a:lnTo>
                    <a:pt x="114" y="168"/>
                  </a:lnTo>
                  <a:lnTo>
                    <a:pt x="116" y="168"/>
                  </a:lnTo>
                  <a:lnTo>
                    <a:pt x="121" y="165"/>
                  </a:lnTo>
                  <a:lnTo>
                    <a:pt x="123" y="163"/>
                  </a:lnTo>
                  <a:lnTo>
                    <a:pt x="130" y="163"/>
                  </a:lnTo>
                  <a:lnTo>
                    <a:pt x="135" y="161"/>
                  </a:lnTo>
                  <a:lnTo>
                    <a:pt x="137" y="158"/>
                  </a:lnTo>
                  <a:lnTo>
                    <a:pt x="144" y="151"/>
                  </a:lnTo>
                  <a:lnTo>
                    <a:pt x="144" y="151"/>
                  </a:lnTo>
                  <a:lnTo>
                    <a:pt x="144" y="147"/>
                  </a:lnTo>
                  <a:lnTo>
                    <a:pt x="149" y="144"/>
                  </a:lnTo>
                  <a:lnTo>
                    <a:pt x="149" y="142"/>
                  </a:lnTo>
                  <a:lnTo>
                    <a:pt x="149" y="139"/>
                  </a:lnTo>
                  <a:lnTo>
                    <a:pt x="152" y="139"/>
                  </a:lnTo>
                  <a:lnTo>
                    <a:pt x="159" y="135"/>
                  </a:lnTo>
                  <a:lnTo>
                    <a:pt x="159" y="132"/>
                  </a:lnTo>
                  <a:lnTo>
                    <a:pt x="159" y="130"/>
                  </a:lnTo>
                  <a:lnTo>
                    <a:pt x="156" y="121"/>
                  </a:lnTo>
                  <a:lnTo>
                    <a:pt x="156" y="118"/>
                  </a:lnTo>
                  <a:lnTo>
                    <a:pt x="159" y="114"/>
                  </a:lnTo>
                  <a:lnTo>
                    <a:pt x="159" y="114"/>
                  </a:lnTo>
                  <a:lnTo>
                    <a:pt x="161" y="114"/>
                  </a:lnTo>
                  <a:lnTo>
                    <a:pt x="163" y="111"/>
                  </a:lnTo>
                  <a:lnTo>
                    <a:pt x="166" y="109"/>
                  </a:lnTo>
                  <a:lnTo>
                    <a:pt x="166" y="109"/>
                  </a:lnTo>
                  <a:lnTo>
                    <a:pt x="166" y="106"/>
                  </a:lnTo>
                  <a:lnTo>
                    <a:pt x="168" y="104"/>
                  </a:lnTo>
                  <a:lnTo>
                    <a:pt x="168" y="102"/>
                  </a:lnTo>
                  <a:lnTo>
                    <a:pt x="168" y="106"/>
                  </a:lnTo>
                  <a:lnTo>
                    <a:pt x="170" y="109"/>
                  </a:lnTo>
                  <a:lnTo>
                    <a:pt x="173" y="114"/>
                  </a:lnTo>
                  <a:lnTo>
                    <a:pt x="175" y="116"/>
                  </a:lnTo>
                  <a:lnTo>
                    <a:pt x="175" y="118"/>
                  </a:lnTo>
                  <a:lnTo>
                    <a:pt x="178" y="121"/>
                  </a:lnTo>
                  <a:lnTo>
                    <a:pt x="180" y="123"/>
                  </a:lnTo>
                  <a:lnTo>
                    <a:pt x="180" y="121"/>
                  </a:lnTo>
                  <a:lnTo>
                    <a:pt x="180" y="116"/>
                  </a:lnTo>
                  <a:lnTo>
                    <a:pt x="182" y="116"/>
                  </a:lnTo>
                  <a:lnTo>
                    <a:pt x="185" y="114"/>
                  </a:lnTo>
                  <a:lnTo>
                    <a:pt x="182" y="111"/>
                  </a:lnTo>
                  <a:lnTo>
                    <a:pt x="180" y="106"/>
                  </a:lnTo>
                  <a:lnTo>
                    <a:pt x="180" y="106"/>
                  </a:lnTo>
                  <a:lnTo>
                    <a:pt x="180" y="104"/>
                  </a:lnTo>
                  <a:lnTo>
                    <a:pt x="180" y="99"/>
                  </a:lnTo>
                  <a:lnTo>
                    <a:pt x="180" y="97"/>
                  </a:lnTo>
                  <a:lnTo>
                    <a:pt x="185" y="99"/>
                  </a:lnTo>
                  <a:lnTo>
                    <a:pt x="187" y="99"/>
                  </a:lnTo>
                  <a:lnTo>
                    <a:pt x="192" y="104"/>
                  </a:lnTo>
                  <a:lnTo>
                    <a:pt x="196" y="104"/>
                  </a:lnTo>
                  <a:lnTo>
                    <a:pt x="196" y="102"/>
                  </a:lnTo>
                  <a:lnTo>
                    <a:pt x="194" y="102"/>
                  </a:lnTo>
                  <a:lnTo>
                    <a:pt x="194" y="97"/>
                  </a:lnTo>
                  <a:lnTo>
                    <a:pt x="196" y="95"/>
                  </a:lnTo>
                  <a:lnTo>
                    <a:pt x="199" y="92"/>
                  </a:lnTo>
                  <a:lnTo>
                    <a:pt x="196" y="88"/>
                  </a:lnTo>
                  <a:lnTo>
                    <a:pt x="199" y="85"/>
                  </a:lnTo>
                  <a:lnTo>
                    <a:pt x="201" y="83"/>
                  </a:lnTo>
                  <a:lnTo>
                    <a:pt x="204" y="85"/>
                  </a:lnTo>
                  <a:lnTo>
                    <a:pt x="206" y="85"/>
                  </a:lnTo>
                  <a:lnTo>
                    <a:pt x="204" y="80"/>
                  </a:lnTo>
                  <a:lnTo>
                    <a:pt x="204" y="80"/>
                  </a:lnTo>
                  <a:lnTo>
                    <a:pt x="206" y="78"/>
                  </a:lnTo>
                  <a:lnTo>
                    <a:pt x="211" y="80"/>
                  </a:lnTo>
                  <a:lnTo>
                    <a:pt x="211" y="78"/>
                  </a:lnTo>
                  <a:lnTo>
                    <a:pt x="208" y="76"/>
                  </a:lnTo>
                  <a:lnTo>
                    <a:pt x="208" y="71"/>
                  </a:lnTo>
                  <a:lnTo>
                    <a:pt x="211" y="71"/>
                  </a:lnTo>
                  <a:lnTo>
                    <a:pt x="213" y="69"/>
                  </a:lnTo>
                  <a:lnTo>
                    <a:pt x="215" y="69"/>
                  </a:lnTo>
                  <a:lnTo>
                    <a:pt x="218" y="69"/>
                  </a:lnTo>
                  <a:lnTo>
                    <a:pt x="218" y="71"/>
                  </a:lnTo>
                  <a:lnTo>
                    <a:pt x="220" y="71"/>
                  </a:lnTo>
                  <a:lnTo>
                    <a:pt x="222" y="69"/>
                  </a:lnTo>
                  <a:lnTo>
                    <a:pt x="225" y="64"/>
                  </a:lnTo>
                  <a:lnTo>
                    <a:pt x="225" y="64"/>
                  </a:lnTo>
                  <a:lnTo>
                    <a:pt x="222" y="62"/>
                  </a:lnTo>
                  <a:lnTo>
                    <a:pt x="222" y="59"/>
                  </a:lnTo>
                  <a:lnTo>
                    <a:pt x="225" y="62"/>
                  </a:lnTo>
                  <a:lnTo>
                    <a:pt x="225" y="64"/>
                  </a:lnTo>
                  <a:lnTo>
                    <a:pt x="227" y="62"/>
                  </a:lnTo>
                  <a:lnTo>
                    <a:pt x="227" y="59"/>
                  </a:lnTo>
                  <a:lnTo>
                    <a:pt x="230" y="62"/>
                  </a:lnTo>
                  <a:lnTo>
                    <a:pt x="230" y="62"/>
                  </a:lnTo>
                  <a:lnTo>
                    <a:pt x="232" y="62"/>
                  </a:lnTo>
                  <a:lnTo>
                    <a:pt x="234" y="59"/>
                  </a:lnTo>
                  <a:lnTo>
                    <a:pt x="237" y="59"/>
                  </a:lnTo>
                  <a:lnTo>
                    <a:pt x="234" y="57"/>
                  </a:lnTo>
                  <a:lnTo>
                    <a:pt x="239" y="57"/>
                  </a:lnTo>
                  <a:lnTo>
                    <a:pt x="239" y="57"/>
                  </a:lnTo>
                  <a:lnTo>
                    <a:pt x="241" y="57"/>
                  </a:lnTo>
                  <a:lnTo>
                    <a:pt x="244" y="57"/>
                  </a:lnTo>
                  <a:lnTo>
                    <a:pt x="248" y="59"/>
                  </a:lnTo>
                  <a:lnTo>
                    <a:pt x="251" y="62"/>
                  </a:lnTo>
                  <a:lnTo>
                    <a:pt x="256" y="69"/>
                  </a:lnTo>
                  <a:lnTo>
                    <a:pt x="260" y="73"/>
                  </a:lnTo>
                  <a:lnTo>
                    <a:pt x="258" y="78"/>
                  </a:lnTo>
                  <a:lnTo>
                    <a:pt x="258" y="80"/>
                  </a:lnTo>
                  <a:lnTo>
                    <a:pt x="260" y="83"/>
                  </a:lnTo>
                  <a:lnTo>
                    <a:pt x="260" y="83"/>
                  </a:lnTo>
                  <a:lnTo>
                    <a:pt x="260" y="80"/>
                  </a:lnTo>
                  <a:lnTo>
                    <a:pt x="260" y="78"/>
                  </a:lnTo>
                  <a:lnTo>
                    <a:pt x="260" y="78"/>
                  </a:lnTo>
                  <a:lnTo>
                    <a:pt x="263" y="76"/>
                  </a:lnTo>
                  <a:lnTo>
                    <a:pt x="263" y="76"/>
                  </a:lnTo>
                  <a:lnTo>
                    <a:pt x="263" y="76"/>
                  </a:lnTo>
                  <a:lnTo>
                    <a:pt x="265" y="76"/>
                  </a:lnTo>
                  <a:lnTo>
                    <a:pt x="265" y="76"/>
                  </a:lnTo>
                  <a:lnTo>
                    <a:pt x="267" y="73"/>
                  </a:lnTo>
                  <a:lnTo>
                    <a:pt x="270" y="76"/>
                  </a:lnTo>
                  <a:lnTo>
                    <a:pt x="274" y="76"/>
                  </a:lnTo>
                  <a:lnTo>
                    <a:pt x="277" y="73"/>
                  </a:lnTo>
                  <a:lnTo>
                    <a:pt x="279" y="76"/>
                  </a:lnTo>
                  <a:lnTo>
                    <a:pt x="286" y="80"/>
                  </a:lnTo>
                  <a:lnTo>
                    <a:pt x="286" y="80"/>
                  </a:lnTo>
                  <a:lnTo>
                    <a:pt x="286" y="80"/>
                  </a:lnTo>
                  <a:lnTo>
                    <a:pt x="286" y="76"/>
                  </a:lnTo>
                  <a:lnTo>
                    <a:pt x="289" y="76"/>
                  </a:lnTo>
                  <a:lnTo>
                    <a:pt x="289" y="73"/>
                  </a:lnTo>
                  <a:lnTo>
                    <a:pt x="284" y="69"/>
                  </a:lnTo>
                  <a:lnTo>
                    <a:pt x="282" y="66"/>
                  </a:lnTo>
                  <a:lnTo>
                    <a:pt x="284" y="62"/>
                  </a:lnTo>
                  <a:lnTo>
                    <a:pt x="284" y="62"/>
                  </a:lnTo>
                  <a:lnTo>
                    <a:pt x="286" y="62"/>
                  </a:lnTo>
                  <a:lnTo>
                    <a:pt x="289" y="54"/>
                  </a:lnTo>
                  <a:lnTo>
                    <a:pt x="289" y="52"/>
                  </a:lnTo>
                  <a:lnTo>
                    <a:pt x="291" y="50"/>
                  </a:lnTo>
                  <a:lnTo>
                    <a:pt x="293" y="52"/>
                  </a:lnTo>
                  <a:lnTo>
                    <a:pt x="296" y="52"/>
                  </a:lnTo>
                  <a:lnTo>
                    <a:pt x="298" y="50"/>
                  </a:lnTo>
                  <a:lnTo>
                    <a:pt x="298" y="45"/>
                  </a:lnTo>
                  <a:lnTo>
                    <a:pt x="296" y="45"/>
                  </a:lnTo>
                  <a:lnTo>
                    <a:pt x="296" y="43"/>
                  </a:lnTo>
                  <a:lnTo>
                    <a:pt x="296" y="40"/>
                  </a:lnTo>
                  <a:lnTo>
                    <a:pt x="298" y="38"/>
                  </a:lnTo>
                  <a:lnTo>
                    <a:pt x="300" y="36"/>
                  </a:lnTo>
                  <a:lnTo>
                    <a:pt x="303" y="36"/>
                  </a:lnTo>
                  <a:lnTo>
                    <a:pt x="303" y="33"/>
                  </a:lnTo>
                  <a:lnTo>
                    <a:pt x="305" y="33"/>
                  </a:lnTo>
                  <a:lnTo>
                    <a:pt x="307" y="36"/>
                  </a:lnTo>
                  <a:lnTo>
                    <a:pt x="310" y="38"/>
                  </a:lnTo>
                  <a:lnTo>
                    <a:pt x="310" y="36"/>
                  </a:lnTo>
                  <a:lnTo>
                    <a:pt x="307" y="31"/>
                  </a:lnTo>
                  <a:lnTo>
                    <a:pt x="310" y="31"/>
                  </a:lnTo>
                  <a:lnTo>
                    <a:pt x="310" y="28"/>
                  </a:lnTo>
                  <a:lnTo>
                    <a:pt x="315" y="31"/>
                  </a:lnTo>
                  <a:lnTo>
                    <a:pt x="315" y="28"/>
                  </a:lnTo>
                  <a:lnTo>
                    <a:pt x="319" y="28"/>
                  </a:lnTo>
                  <a:lnTo>
                    <a:pt x="322" y="28"/>
                  </a:lnTo>
                  <a:lnTo>
                    <a:pt x="326" y="28"/>
                  </a:lnTo>
                  <a:lnTo>
                    <a:pt x="329" y="28"/>
                  </a:lnTo>
                  <a:lnTo>
                    <a:pt x="336" y="28"/>
                  </a:lnTo>
                  <a:lnTo>
                    <a:pt x="338" y="26"/>
                  </a:lnTo>
                  <a:lnTo>
                    <a:pt x="338" y="19"/>
                  </a:lnTo>
                  <a:lnTo>
                    <a:pt x="336" y="17"/>
                  </a:lnTo>
                  <a:lnTo>
                    <a:pt x="331" y="17"/>
                  </a:lnTo>
                  <a:lnTo>
                    <a:pt x="329" y="17"/>
                  </a:lnTo>
                  <a:lnTo>
                    <a:pt x="326" y="14"/>
                  </a:lnTo>
                  <a:lnTo>
                    <a:pt x="326" y="12"/>
                  </a:lnTo>
                  <a:lnTo>
                    <a:pt x="324" y="12"/>
                  </a:lnTo>
                  <a:lnTo>
                    <a:pt x="324" y="12"/>
                  </a:lnTo>
                  <a:lnTo>
                    <a:pt x="324" y="12"/>
                  </a:lnTo>
                  <a:lnTo>
                    <a:pt x="326" y="12"/>
                  </a:lnTo>
                  <a:lnTo>
                    <a:pt x="326" y="10"/>
                  </a:lnTo>
                  <a:lnTo>
                    <a:pt x="326" y="10"/>
                  </a:lnTo>
                  <a:lnTo>
                    <a:pt x="329" y="10"/>
                  </a:lnTo>
                  <a:lnTo>
                    <a:pt x="329" y="14"/>
                  </a:lnTo>
                  <a:lnTo>
                    <a:pt x="331" y="12"/>
                  </a:lnTo>
                  <a:lnTo>
                    <a:pt x="331" y="10"/>
                  </a:lnTo>
                  <a:lnTo>
                    <a:pt x="331" y="10"/>
                  </a:lnTo>
                  <a:lnTo>
                    <a:pt x="333" y="12"/>
                  </a:lnTo>
                  <a:lnTo>
                    <a:pt x="333" y="12"/>
                  </a:lnTo>
                  <a:lnTo>
                    <a:pt x="336" y="12"/>
                  </a:lnTo>
                  <a:lnTo>
                    <a:pt x="336" y="14"/>
                  </a:lnTo>
                  <a:lnTo>
                    <a:pt x="338" y="17"/>
                  </a:lnTo>
                  <a:lnTo>
                    <a:pt x="341" y="14"/>
                  </a:lnTo>
                  <a:lnTo>
                    <a:pt x="341" y="14"/>
                  </a:lnTo>
                  <a:lnTo>
                    <a:pt x="343" y="14"/>
                  </a:lnTo>
                  <a:lnTo>
                    <a:pt x="343" y="17"/>
                  </a:lnTo>
                  <a:lnTo>
                    <a:pt x="345" y="19"/>
                  </a:lnTo>
                  <a:lnTo>
                    <a:pt x="350" y="21"/>
                  </a:lnTo>
                  <a:lnTo>
                    <a:pt x="352" y="19"/>
                  </a:lnTo>
                  <a:lnTo>
                    <a:pt x="352" y="21"/>
                  </a:lnTo>
                  <a:lnTo>
                    <a:pt x="355" y="21"/>
                  </a:lnTo>
                  <a:lnTo>
                    <a:pt x="357" y="19"/>
                  </a:lnTo>
                  <a:lnTo>
                    <a:pt x="357" y="19"/>
                  </a:lnTo>
                  <a:lnTo>
                    <a:pt x="357" y="21"/>
                  </a:lnTo>
                  <a:lnTo>
                    <a:pt x="359" y="21"/>
                  </a:lnTo>
                  <a:lnTo>
                    <a:pt x="362" y="24"/>
                  </a:lnTo>
                  <a:lnTo>
                    <a:pt x="367" y="26"/>
                  </a:lnTo>
                  <a:lnTo>
                    <a:pt x="369" y="24"/>
                  </a:lnTo>
                  <a:lnTo>
                    <a:pt x="371" y="26"/>
                  </a:lnTo>
                  <a:lnTo>
                    <a:pt x="374" y="24"/>
                  </a:lnTo>
                  <a:lnTo>
                    <a:pt x="374" y="24"/>
                  </a:lnTo>
                  <a:lnTo>
                    <a:pt x="376" y="26"/>
                  </a:lnTo>
                  <a:lnTo>
                    <a:pt x="381" y="26"/>
                  </a:lnTo>
                  <a:lnTo>
                    <a:pt x="381" y="28"/>
                  </a:lnTo>
                  <a:lnTo>
                    <a:pt x="383" y="28"/>
                  </a:lnTo>
                  <a:lnTo>
                    <a:pt x="385" y="26"/>
                  </a:lnTo>
                  <a:lnTo>
                    <a:pt x="388" y="26"/>
                  </a:lnTo>
                  <a:lnTo>
                    <a:pt x="388" y="24"/>
                  </a:lnTo>
                  <a:lnTo>
                    <a:pt x="393" y="24"/>
                  </a:lnTo>
                  <a:lnTo>
                    <a:pt x="395" y="24"/>
                  </a:lnTo>
                  <a:lnTo>
                    <a:pt x="393" y="26"/>
                  </a:lnTo>
                  <a:lnTo>
                    <a:pt x="395" y="28"/>
                  </a:lnTo>
                  <a:lnTo>
                    <a:pt x="395" y="28"/>
                  </a:lnTo>
                  <a:lnTo>
                    <a:pt x="397" y="26"/>
                  </a:lnTo>
                  <a:lnTo>
                    <a:pt x="397" y="28"/>
                  </a:lnTo>
                  <a:lnTo>
                    <a:pt x="397" y="33"/>
                  </a:lnTo>
                  <a:lnTo>
                    <a:pt x="397" y="33"/>
                  </a:lnTo>
                  <a:lnTo>
                    <a:pt x="400" y="33"/>
                  </a:lnTo>
                  <a:lnTo>
                    <a:pt x="402" y="28"/>
                  </a:lnTo>
                  <a:lnTo>
                    <a:pt x="402" y="28"/>
                  </a:lnTo>
                  <a:lnTo>
                    <a:pt x="402" y="26"/>
                  </a:lnTo>
                  <a:lnTo>
                    <a:pt x="404" y="24"/>
                  </a:lnTo>
                  <a:lnTo>
                    <a:pt x="407" y="24"/>
                  </a:lnTo>
                  <a:lnTo>
                    <a:pt x="407" y="26"/>
                  </a:lnTo>
                  <a:lnTo>
                    <a:pt x="407" y="31"/>
                  </a:lnTo>
                  <a:lnTo>
                    <a:pt x="409" y="28"/>
                  </a:lnTo>
                  <a:lnTo>
                    <a:pt x="411" y="28"/>
                  </a:lnTo>
                  <a:lnTo>
                    <a:pt x="414" y="31"/>
                  </a:lnTo>
                  <a:lnTo>
                    <a:pt x="411" y="31"/>
                  </a:lnTo>
                  <a:lnTo>
                    <a:pt x="411" y="33"/>
                  </a:lnTo>
                  <a:lnTo>
                    <a:pt x="409" y="38"/>
                  </a:lnTo>
                  <a:lnTo>
                    <a:pt x="407" y="38"/>
                  </a:lnTo>
                  <a:lnTo>
                    <a:pt x="407" y="38"/>
                  </a:lnTo>
                  <a:lnTo>
                    <a:pt x="407" y="40"/>
                  </a:lnTo>
                  <a:lnTo>
                    <a:pt x="407" y="43"/>
                  </a:lnTo>
                  <a:lnTo>
                    <a:pt x="407" y="45"/>
                  </a:lnTo>
                  <a:lnTo>
                    <a:pt x="404" y="47"/>
                  </a:lnTo>
                  <a:lnTo>
                    <a:pt x="402" y="45"/>
                  </a:lnTo>
                  <a:lnTo>
                    <a:pt x="402" y="45"/>
                  </a:lnTo>
                  <a:lnTo>
                    <a:pt x="400" y="45"/>
                  </a:lnTo>
                  <a:lnTo>
                    <a:pt x="400" y="50"/>
                  </a:lnTo>
                  <a:lnTo>
                    <a:pt x="400" y="50"/>
                  </a:lnTo>
                  <a:lnTo>
                    <a:pt x="400" y="50"/>
                  </a:lnTo>
                  <a:lnTo>
                    <a:pt x="397" y="47"/>
                  </a:lnTo>
                  <a:lnTo>
                    <a:pt x="397" y="47"/>
                  </a:lnTo>
                  <a:lnTo>
                    <a:pt x="395" y="50"/>
                  </a:lnTo>
                  <a:lnTo>
                    <a:pt x="395" y="52"/>
                  </a:lnTo>
                  <a:lnTo>
                    <a:pt x="395" y="54"/>
                  </a:lnTo>
                  <a:lnTo>
                    <a:pt x="397" y="54"/>
                  </a:lnTo>
                  <a:lnTo>
                    <a:pt x="397" y="59"/>
                  </a:lnTo>
                  <a:lnTo>
                    <a:pt x="397" y="62"/>
                  </a:lnTo>
                  <a:lnTo>
                    <a:pt x="393" y="66"/>
                  </a:lnTo>
                  <a:lnTo>
                    <a:pt x="393" y="71"/>
                  </a:lnTo>
                  <a:lnTo>
                    <a:pt x="393" y="71"/>
                  </a:lnTo>
                  <a:lnTo>
                    <a:pt x="390" y="73"/>
                  </a:lnTo>
                  <a:lnTo>
                    <a:pt x="390" y="78"/>
                  </a:lnTo>
                  <a:lnTo>
                    <a:pt x="393" y="78"/>
                  </a:lnTo>
                  <a:lnTo>
                    <a:pt x="393" y="80"/>
                  </a:lnTo>
                  <a:lnTo>
                    <a:pt x="395" y="80"/>
                  </a:lnTo>
                  <a:lnTo>
                    <a:pt x="400" y="83"/>
                  </a:lnTo>
                  <a:lnTo>
                    <a:pt x="404" y="85"/>
                  </a:lnTo>
                  <a:lnTo>
                    <a:pt x="404" y="88"/>
                  </a:lnTo>
                  <a:lnTo>
                    <a:pt x="404" y="90"/>
                  </a:lnTo>
                  <a:lnTo>
                    <a:pt x="404" y="95"/>
                  </a:lnTo>
                  <a:lnTo>
                    <a:pt x="409" y="92"/>
                  </a:lnTo>
                  <a:lnTo>
                    <a:pt x="416" y="95"/>
                  </a:lnTo>
                  <a:lnTo>
                    <a:pt x="419" y="95"/>
                  </a:lnTo>
                  <a:lnTo>
                    <a:pt x="421" y="97"/>
                  </a:lnTo>
                  <a:lnTo>
                    <a:pt x="423" y="99"/>
                  </a:lnTo>
                  <a:lnTo>
                    <a:pt x="428" y="99"/>
                  </a:lnTo>
                  <a:lnTo>
                    <a:pt x="430" y="102"/>
                  </a:lnTo>
                  <a:lnTo>
                    <a:pt x="433" y="104"/>
                  </a:lnTo>
                  <a:lnTo>
                    <a:pt x="435" y="106"/>
                  </a:lnTo>
                  <a:lnTo>
                    <a:pt x="437" y="106"/>
                  </a:lnTo>
                  <a:lnTo>
                    <a:pt x="440" y="109"/>
                  </a:lnTo>
                  <a:lnTo>
                    <a:pt x="449" y="111"/>
                  </a:lnTo>
                  <a:lnTo>
                    <a:pt x="452" y="114"/>
                  </a:lnTo>
                  <a:lnTo>
                    <a:pt x="454" y="116"/>
                  </a:lnTo>
                  <a:lnTo>
                    <a:pt x="454" y="118"/>
                  </a:lnTo>
                  <a:lnTo>
                    <a:pt x="463" y="125"/>
                  </a:lnTo>
                  <a:lnTo>
                    <a:pt x="468" y="128"/>
                  </a:lnTo>
                  <a:lnTo>
                    <a:pt x="473" y="125"/>
                  </a:lnTo>
                  <a:lnTo>
                    <a:pt x="475" y="125"/>
                  </a:lnTo>
                  <a:lnTo>
                    <a:pt x="482" y="123"/>
                  </a:lnTo>
                  <a:lnTo>
                    <a:pt x="482" y="121"/>
                  </a:lnTo>
                  <a:lnTo>
                    <a:pt x="485" y="114"/>
                  </a:lnTo>
                  <a:lnTo>
                    <a:pt x="489" y="106"/>
                  </a:lnTo>
                  <a:lnTo>
                    <a:pt x="492" y="92"/>
                  </a:lnTo>
                  <a:lnTo>
                    <a:pt x="494" y="88"/>
                  </a:lnTo>
                  <a:lnTo>
                    <a:pt x="494" y="83"/>
                  </a:lnTo>
                  <a:lnTo>
                    <a:pt x="496" y="78"/>
                  </a:lnTo>
                  <a:lnTo>
                    <a:pt x="494" y="73"/>
                  </a:lnTo>
                  <a:lnTo>
                    <a:pt x="494" y="69"/>
                  </a:lnTo>
                  <a:lnTo>
                    <a:pt x="494" y="64"/>
                  </a:lnTo>
                  <a:lnTo>
                    <a:pt x="494" y="52"/>
                  </a:lnTo>
                  <a:lnTo>
                    <a:pt x="496" y="47"/>
                  </a:lnTo>
                  <a:lnTo>
                    <a:pt x="496" y="40"/>
                  </a:lnTo>
                  <a:lnTo>
                    <a:pt x="496" y="38"/>
                  </a:lnTo>
                  <a:lnTo>
                    <a:pt x="499" y="36"/>
                  </a:lnTo>
                  <a:lnTo>
                    <a:pt x="494" y="36"/>
                  </a:lnTo>
                  <a:lnTo>
                    <a:pt x="496" y="31"/>
                  </a:lnTo>
                  <a:lnTo>
                    <a:pt x="496" y="26"/>
                  </a:lnTo>
                  <a:lnTo>
                    <a:pt x="501" y="24"/>
                  </a:lnTo>
                  <a:lnTo>
                    <a:pt x="501" y="21"/>
                  </a:lnTo>
                  <a:lnTo>
                    <a:pt x="504" y="14"/>
                  </a:lnTo>
                  <a:lnTo>
                    <a:pt x="506" y="10"/>
                  </a:lnTo>
                  <a:lnTo>
                    <a:pt x="506" y="5"/>
                  </a:lnTo>
                  <a:lnTo>
                    <a:pt x="506" y="5"/>
                  </a:lnTo>
                  <a:lnTo>
                    <a:pt x="508" y="5"/>
                  </a:lnTo>
                  <a:lnTo>
                    <a:pt x="511" y="5"/>
                  </a:lnTo>
                  <a:lnTo>
                    <a:pt x="513" y="2"/>
                  </a:lnTo>
                  <a:lnTo>
                    <a:pt x="513" y="0"/>
                  </a:lnTo>
                  <a:lnTo>
                    <a:pt x="515" y="0"/>
                  </a:lnTo>
                  <a:lnTo>
                    <a:pt x="515" y="2"/>
                  </a:lnTo>
                  <a:lnTo>
                    <a:pt x="515" y="5"/>
                  </a:lnTo>
                  <a:lnTo>
                    <a:pt x="515" y="5"/>
                  </a:lnTo>
                  <a:lnTo>
                    <a:pt x="515" y="7"/>
                  </a:lnTo>
                  <a:lnTo>
                    <a:pt x="515" y="10"/>
                  </a:lnTo>
                  <a:lnTo>
                    <a:pt x="515" y="19"/>
                  </a:lnTo>
                  <a:lnTo>
                    <a:pt x="518" y="21"/>
                  </a:lnTo>
                  <a:lnTo>
                    <a:pt x="520" y="21"/>
                  </a:lnTo>
                  <a:lnTo>
                    <a:pt x="522" y="24"/>
                  </a:lnTo>
                  <a:lnTo>
                    <a:pt x="520" y="28"/>
                  </a:lnTo>
                  <a:lnTo>
                    <a:pt x="522" y="31"/>
                  </a:lnTo>
                  <a:lnTo>
                    <a:pt x="525" y="33"/>
                  </a:lnTo>
                  <a:lnTo>
                    <a:pt x="525" y="36"/>
                  </a:lnTo>
                  <a:lnTo>
                    <a:pt x="527" y="40"/>
                  </a:lnTo>
                  <a:lnTo>
                    <a:pt x="527" y="40"/>
                  </a:lnTo>
                  <a:lnTo>
                    <a:pt x="530" y="45"/>
                  </a:lnTo>
                  <a:lnTo>
                    <a:pt x="530" y="50"/>
                  </a:lnTo>
                  <a:lnTo>
                    <a:pt x="530" y="54"/>
                  </a:lnTo>
                  <a:lnTo>
                    <a:pt x="530" y="57"/>
                  </a:lnTo>
                  <a:lnTo>
                    <a:pt x="532" y="62"/>
                  </a:lnTo>
                  <a:lnTo>
                    <a:pt x="532" y="64"/>
                  </a:lnTo>
                  <a:lnTo>
                    <a:pt x="534" y="66"/>
                  </a:lnTo>
                  <a:lnTo>
                    <a:pt x="539" y="69"/>
                  </a:lnTo>
                  <a:lnTo>
                    <a:pt x="541" y="64"/>
                  </a:lnTo>
                  <a:lnTo>
                    <a:pt x="544" y="64"/>
                  </a:lnTo>
                  <a:lnTo>
                    <a:pt x="548" y="64"/>
                  </a:lnTo>
                  <a:lnTo>
                    <a:pt x="548" y="69"/>
                  </a:lnTo>
                  <a:lnTo>
                    <a:pt x="553" y="71"/>
                  </a:lnTo>
                  <a:lnTo>
                    <a:pt x="556" y="73"/>
                  </a:lnTo>
                  <a:lnTo>
                    <a:pt x="558" y="76"/>
                  </a:lnTo>
                  <a:lnTo>
                    <a:pt x="560" y="78"/>
                  </a:lnTo>
                  <a:lnTo>
                    <a:pt x="560" y="80"/>
                  </a:lnTo>
                  <a:lnTo>
                    <a:pt x="560" y="83"/>
                  </a:lnTo>
                  <a:lnTo>
                    <a:pt x="560" y="88"/>
                  </a:lnTo>
                  <a:lnTo>
                    <a:pt x="560" y="92"/>
                  </a:lnTo>
                  <a:lnTo>
                    <a:pt x="560" y="95"/>
                  </a:lnTo>
                  <a:lnTo>
                    <a:pt x="563" y="97"/>
                  </a:lnTo>
                  <a:lnTo>
                    <a:pt x="563" y="102"/>
                  </a:lnTo>
                  <a:lnTo>
                    <a:pt x="565" y="106"/>
                  </a:lnTo>
                  <a:lnTo>
                    <a:pt x="567" y="111"/>
                  </a:lnTo>
                  <a:lnTo>
                    <a:pt x="570" y="111"/>
                  </a:lnTo>
                  <a:lnTo>
                    <a:pt x="572" y="116"/>
                  </a:lnTo>
                  <a:lnTo>
                    <a:pt x="574" y="123"/>
                  </a:lnTo>
                  <a:lnTo>
                    <a:pt x="574" y="125"/>
                  </a:lnTo>
                  <a:lnTo>
                    <a:pt x="574" y="130"/>
                  </a:lnTo>
                  <a:lnTo>
                    <a:pt x="574" y="132"/>
                  </a:lnTo>
                  <a:lnTo>
                    <a:pt x="574" y="137"/>
                  </a:lnTo>
                  <a:lnTo>
                    <a:pt x="574" y="139"/>
                  </a:lnTo>
                  <a:lnTo>
                    <a:pt x="577" y="142"/>
                  </a:lnTo>
                  <a:lnTo>
                    <a:pt x="579" y="142"/>
                  </a:lnTo>
                  <a:lnTo>
                    <a:pt x="577" y="144"/>
                  </a:lnTo>
                  <a:lnTo>
                    <a:pt x="579" y="142"/>
                  </a:lnTo>
                  <a:lnTo>
                    <a:pt x="579" y="142"/>
                  </a:lnTo>
                  <a:lnTo>
                    <a:pt x="579" y="144"/>
                  </a:lnTo>
                  <a:lnTo>
                    <a:pt x="579" y="144"/>
                  </a:lnTo>
                  <a:lnTo>
                    <a:pt x="579" y="147"/>
                  </a:lnTo>
                  <a:lnTo>
                    <a:pt x="579" y="151"/>
                  </a:lnTo>
                  <a:lnTo>
                    <a:pt x="584" y="151"/>
                  </a:lnTo>
                  <a:lnTo>
                    <a:pt x="586" y="154"/>
                  </a:lnTo>
                  <a:lnTo>
                    <a:pt x="589" y="156"/>
                  </a:lnTo>
                  <a:lnTo>
                    <a:pt x="596" y="156"/>
                  </a:lnTo>
                  <a:lnTo>
                    <a:pt x="596" y="156"/>
                  </a:lnTo>
                  <a:lnTo>
                    <a:pt x="598" y="156"/>
                  </a:lnTo>
                  <a:lnTo>
                    <a:pt x="598" y="161"/>
                  </a:lnTo>
                  <a:lnTo>
                    <a:pt x="600" y="163"/>
                  </a:lnTo>
                  <a:lnTo>
                    <a:pt x="603" y="165"/>
                  </a:lnTo>
                  <a:lnTo>
                    <a:pt x="605" y="163"/>
                  </a:lnTo>
                  <a:lnTo>
                    <a:pt x="607" y="165"/>
                  </a:lnTo>
                  <a:lnTo>
                    <a:pt x="610" y="165"/>
                  </a:lnTo>
                  <a:lnTo>
                    <a:pt x="612" y="168"/>
                  </a:lnTo>
                  <a:lnTo>
                    <a:pt x="615" y="170"/>
                  </a:lnTo>
                  <a:lnTo>
                    <a:pt x="615" y="168"/>
                  </a:lnTo>
                  <a:lnTo>
                    <a:pt x="617" y="170"/>
                  </a:lnTo>
                  <a:lnTo>
                    <a:pt x="622" y="173"/>
                  </a:lnTo>
                  <a:lnTo>
                    <a:pt x="622" y="175"/>
                  </a:lnTo>
                  <a:lnTo>
                    <a:pt x="624" y="177"/>
                  </a:lnTo>
                  <a:lnTo>
                    <a:pt x="622" y="177"/>
                  </a:lnTo>
                  <a:lnTo>
                    <a:pt x="619" y="182"/>
                  </a:lnTo>
                  <a:lnTo>
                    <a:pt x="622" y="182"/>
                  </a:lnTo>
                  <a:lnTo>
                    <a:pt x="626" y="182"/>
                  </a:lnTo>
                  <a:lnTo>
                    <a:pt x="626" y="184"/>
                  </a:lnTo>
                  <a:lnTo>
                    <a:pt x="629" y="187"/>
                  </a:lnTo>
                  <a:lnTo>
                    <a:pt x="629" y="191"/>
                  </a:lnTo>
                  <a:lnTo>
                    <a:pt x="631" y="191"/>
                  </a:lnTo>
                  <a:lnTo>
                    <a:pt x="631" y="194"/>
                  </a:lnTo>
                  <a:lnTo>
                    <a:pt x="633" y="196"/>
                  </a:lnTo>
                  <a:lnTo>
                    <a:pt x="633" y="199"/>
                  </a:lnTo>
                  <a:lnTo>
                    <a:pt x="633" y="206"/>
                  </a:lnTo>
                  <a:lnTo>
                    <a:pt x="633" y="208"/>
                  </a:lnTo>
                  <a:lnTo>
                    <a:pt x="636" y="210"/>
                  </a:lnTo>
                  <a:lnTo>
                    <a:pt x="636" y="210"/>
                  </a:lnTo>
                  <a:lnTo>
                    <a:pt x="638" y="215"/>
                  </a:lnTo>
                  <a:lnTo>
                    <a:pt x="638" y="215"/>
                  </a:lnTo>
                  <a:lnTo>
                    <a:pt x="638" y="213"/>
                  </a:lnTo>
                  <a:lnTo>
                    <a:pt x="641" y="213"/>
                  </a:lnTo>
                  <a:lnTo>
                    <a:pt x="641" y="208"/>
                  </a:lnTo>
                  <a:lnTo>
                    <a:pt x="643" y="208"/>
                  </a:lnTo>
                  <a:lnTo>
                    <a:pt x="643" y="210"/>
                  </a:lnTo>
                  <a:lnTo>
                    <a:pt x="645" y="213"/>
                  </a:lnTo>
                  <a:lnTo>
                    <a:pt x="650" y="213"/>
                  </a:lnTo>
                  <a:lnTo>
                    <a:pt x="652" y="215"/>
                  </a:lnTo>
                  <a:lnTo>
                    <a:pt x="652" y="210"/>
                  </a:lnTo>
                  <a:lnTo>
                    <a:pt x="655" y="213"/>
                  </a:lnTo>
                  <a:lnTo>
                    <a:pt x="655" y="215"/>
                  </a:lnTo>
                  <a:lnTo>
                    <a:pt x="655" y="215"/>
                  </a:lnTo>
                  <a:lnTo>
                    <a:pt x="657" y="220"/>
                  </a:lnTo>
                  <a:lnTo>
                    <a:pt x="657" y="229"/>
                  </a:lnTo>
                  <a:lnTo>
                    <a:pt x="657" y="234"/>
                  </a:lnTo>
                  <a:lnTo>
                    <a:pt x="659" y="236"/>
                  </a:lnTo>
                  <a:lnTo>
                    <a:pt x="662" y="239"/>
                  </a:lnTo>
                  <a:lnTo>
                    <a:pt x="667" y="243"/>
                  </a:lnTo>
                  <a:lnTo>
                    <a:pt x="671" y="243"/>
                  </a:lnTo>
                  <a:lnTo>
                    <a:pt x="674" y="243"/>
                  </a:lnTo>
                  <a:lnTo>
                    <a:pt x="676" y="246"/>
                  </a:lnTo>
                  <a:lnTo>
                    <a:pt x="676" y="251"/>
                  </a:lnTo>
                  <a:lnTo>
                    <a:pt x="678" y="253"/>
                  </a:lnTo>
                  <a:lnTo>
                    <a:pt x="681" y="255"/>
                  </a:lnTo>
                  <a:lnTo>
                    <a:pt x="683" y="255"/>
                  </a:lnTo>
                  <a:lnTo>
                    <a:pt x="683" y="258"/>
                  </a:lnTo>
                  <a:lnTo>
                    <a:pt x="688" y="262"/>
                  </a:lnTo>
                  <a:lnTo>
                    <a:pt x="688" y="265"/>
                  </a:lnTo>
                  <a:lnTo>
                    <a:pt x="690" y="267"/>
                  </a:lnTo>
                  <a:lnTo>
                    <a:pt x="693" y="269"/>
                  </a:lnTo>
                  <a:lnTo>
                    <a:pt x="693" y="274"/>
                  </a:lnTo>
                  <a:lnTo>
                    <a:pt x="695" y="279"/>
                  </a:lnTo>
                  <a:lnTo>
                    <a:pt x="695" y="279"/>
                  </a:lnTo>
                  <a:lnTo>
                    <a:pt x="695" y="276"/>
                  </a:lnTo>
                  <a:lnTo>
                    <a:pt x="697" y="281"/>
                  </a:lnTo>
                  <a:lnTo>
                    <a:pt x="695" y="286"/>
                  </a:lnTo>
                  <a:lnTo>
                    <a:pt x="697" y="291"/>
                  </a:lnTo>
                  <a:lnTo>
                    <a:pt x="697" y="300"/>
                  </a:lnTo>
                  <a:lnTo>
                    <a:pt x="697" y="302"/>
                  </a:lnTo>
                  <a:lnTo>
                    <a:pt x="697" y="300"/>
                  </a:lnTo>
                  <a:lnTo>
                    <a:pt x="697" y="302"/>
                  </a:lnTo>
                  <a:lnTo>
                    <a:pt x="697" y="305"/>
                  </a:lnTo>
                  <a:lnTo>
                    <a:pt x="697" y="307"/>
                  </a:lnTo>
                  <a:lnTo>
                    <a:pt x="697" y="307"/>
                  </a:lnTo>
                  <a:lnTo>
                    <a:pt x="700" y="312"/>
                  </a:lnTo>
                  <a:lnTo>
                    <a:pt x="702" y="317"/>
                  </a:lnTo>
                  <a:lnTo>
                    <a:pt x="704" y="326"/>
                  </a:lnTo>
                  <a:lnTo>
                    <a:pt x="704" y="336"/>
                  </a:lnTo>
                  <a:lnTo>
                    <a:pt x="704" y="340"/>
                  </a:lnTo>
                  <a:lnTo>
                    <a:pt x="702" y="343"/>
                  </a:lnTo>
                  <a:lnTo>
                    <a:pt x="702" y="347"/>
                  </a:lnTo>
                  <a:lnTo>
                    <a:pt x="700" y="354"/>
                  </a:lnTo>
                  <a:lnTo>
                    <a:pt x="700" y="364"/>
                  </a:lnTo>
                  <a:lnTo>
                    <a:pt x="697" y="364"/>
                  </a:lnTo>
                  <a:lnTo>
                    <a:pt x="695" y="371"/>
                  </a:lnTo>
                  <a:lnTo>
                    <a:pt x="695" y="376"/>
                  </a:lnTo>
                  <a:lnTo>
                    <a:pt x="695" y="383"/>
                  </a:lnTo>
                  <a:lnTo>
                    <a:pt x="695" y="385"/>
                  </a:lnTo>
                  <a:lnTo>
                    <a:pt x="695" y="388"/>
                  </a:lnTo>
                  <a:lnTo>
                    <a:pt x="690" y="399"/>
                  </a:lnTo>
                  <a:lnTo>
                    <a:pt x="688" y="402"/>
                  </a:lnTo>
                  <a:lnTo>
                    <a:pt x="688" y="404"/>
                  </a:lnTo>
                  <a:lnTo>
                    <a:pt x="685" y="406"/>
                  </a:lnTo>
                  <a:lnTo>
                    <a:pt x="685" y="406"/>
                  </a:lnTo>
                  <a:lnTo>
                    <a:pt x="685" y="409"/>
                  </a:lnTo>
                  <a:lnTo>
                    <a:pt x="685" y="411"/>
                  </a:lnTo>
                  <a:lnTo>
                    <a:pt x="681" y="413"/>
                  </a:lnTo>
                  <a:lnTo>
                    <a:pt x="678" y="416"/>
                  </a:lnTo>
                  <a:lnTo>
                    <a:pt x="678" y="416"/>
                  </a:lnTo>
                  <a:lnTo>
                    <a:pt x="681" y="416"/>
                  </a:lnTo>
                  <a:lnTo>
                    <a:pt x="676" y="418"/>
                  </a:lnTo>
                  <a:lnTo>
                    <a:pt x="674" y="418"/>
                  </a:lnTo>
                  <a:lnTo>
                    <a:pt x="674" y="421"/>
                  </a:lnTo>
                  <a:lnTo>
                    <a:pt x="671" y="425"/>
                  </a:lnTo>
                  <a:lnTo>
                    <a:pt x="669" y="430"/>
                  </a:lnTo>
                  <a:lnTo>
                    <a:pt x="667" y="432"/>
                  </a:lnTo>
                  <a:lnTo>
                    <a:pt x="667" y="432"/>
                  </a:lnTo>
                  <a:lnTo>
                    <a:pt x="664" y="432"/>
                  </a:lnTo>
                  <a:lnTo>
                    <a:pt x="664" y="435"/>
                  </a:lnTo>
                  <a:lnTo>
                    <a:pt x="667" y="435"/>
                  </a:lnTo>
                  <a:lnTo>
                    <a:pt x="667" y="439"/>
                  </a:lnTo>
                  <a:lnTo>
                    <a:pt x="664" y="442"/>
                  </a:lnTo>
                  <a:lnTo>
                    <a:pt x="664" y="444"/>
                  </a:lnTo>
                  <a:lnTo>
                    <a:pt x="664" y="447"/>
                  </a:lnTo>
                  <a:lnTo>
                    <a:pt x="659" y="449"/>
                  </a:lnTo>
                  <a:lnTo>
                    <a:pt x="657" y="463"/>
                  </a:lnTo>
                  <a:lnTo>
                    <a:pt x="657" y="468"/>
                  </a:lnTo>
                  <a:lnTo>
                    <a:pt x="652" y="465"/>
                  </a:lnTo>
                  <a:lnTo>
                    <a:pt x="652" y="473"/>
                  </a:lnTo>
                  <a:lnTo>
                    <a:pt x="650" y="473"/>
                  </a:lnTo>
                  <a:lnTo>
                    <a:pt x="648" y="477"/>
                  </a:lnTo>
                  <a:lnTo>
                    <a:pt x="648" y="477"/>
                  </a:lnTo>
                  <a:lnTo>
                    <a:pt x="648" y="480"/>
                  </a:lnTo>
                  <a:lnTo>
                    <a:pt x="645" y="484"/>
                  </a:lnTo>
                  <a:lnTo>
                    <a:pt x="645" y="489"/>
                  </a:lnTo>
                  <a:lnTo>
                    <a:pt x="645" y="491"/>
                  </a:lnTo>
                  <a:lnTo>
                    <a:pt x="645" y="494"/>
                  </a:lnTo>
                  <a:lnTo>
                    <a:pt x="645" y="499"/>
                  </a:lnTo>
                  <a:lnTo>
                    <a:pt x="643" y="503"/>
                  </a:lnTo>
                  <a:lnTo>
                    <a:pt x="643" y="506"/>
                  </a:lnTo>
                  <a:lnTo>
                    <a:pt x="643" y="508"/>
                  </a:lnTo>
                  <a:lnTo>
                    <a:pt x="643" y="510"/>
                  </a:lnTo>
                  <a:lnTo>
                    <a:pt x="643" y="513"/>
                  </a:lnTo>
                  <a:lnTo>
                    <a:pt x="643" y="517"/>
                  </a:lnTo>
                  <a:lnTo>
                    <a:pt x="643" y="517"/>
                  </a:lnTo>
                  <a:lnTo>
                    <a:pt x="641" y="517"/>
                  </a:lnTo>
                  <a:lnTo>
                    <a:pt x="638" y="517"/>
                  </a:lnTo>
                  <a:lnTo>
                    <a:pt x="638" y="522"/>
                  </a:lnTo>
                  <a:lnTo>
                    <a:pt x="631" y="522"/>
                  </a:lnTo>
                  <a:lnTo>
                    <a:pt x="615" y="524"/>
                  </a:lnTo>
                  <a:lnTo>
                    <a:pt x="610" y="524"/>
                  </a:lnTo>
                  <a:lnTo>
                    <a:pt x="603" y="529"/>
                  </a:lnTo>
                  <a:lnTo>
                    <a:pt x="600" y="532"/>
                  </a:lnTo>
                  <a:lnTo>
                    <a:pt x="596" y="534"/>
                  </a:lnTo>
                  <a:lnTo>
                    <a:pt x="593" y="536"/>
                  </a:lnTo>
                  <a:lnTo>
                    <a:pt x="593" y="539"/>
                  </a:lnTo>
                  <a:lnTo>
                    <a:pt x="589" y="541"/>
                  </a:lnTo>
                  <a:lnTo>
                    <a:pt x="586" y="543"/>
                  </a:lnTo>
                  <a:lnTo>
                    <a:pt x="586" y="541"/>
                  </a:lnTo>
                  <a:lnTo>
                    <a:pt x="582" y="543"/>
                  </a:lnTo>
                  <a:lnTo>
                    <a:pt x="579" y="543"/>
                  </a:lnTo>
                  <a:lnTo>
                    <a:pt x="577" y="543"/>
                  </a:lnTo>
                  <a:lnTo>
                    <a:pt x="577" y="546"/>
                  </a:lnTo>
                  <a:lnTo>
                    <a:pt x="579" y="548"/>
                  </a:lnTo>
                  <a:lnTo>
                    <a:pt x="579" y="546"/>
                  </a:lnTo>
                  <a:lnTo>
                    <a:pt x="582" y="543"/>
                  </a:lnTo>
                  <a:lnTo>
                    <a:pt x="584" y="543"/>
                  </a:lnTo>
                  <a:lnTo>
                    <a:pt x="582" y="548"/>
                  </a:lnTo>
                  <a:lnTo>
                    <a:pt x="582" y="550"/>
                  </a:lnTo>
                  <a:lnTo>
                    <a:pt x="582" y="553"/>
                  </a:lnTo>
                  <a:lnTo>
                    <a:pt x="577" y="546"/>
                  </a:lnTo>
                  <a:lnTo>
                    <a:pt x="574" y="546"/>
                  </a:lnTo>
                  <a:lnTo>
                    <a:pt x="572" y="546"/>
                  </a:lnTo>
                  <a:lnTo>
                    <a:pt x="570" y="543"/>
                  </a:lnTo>
                  <a:lnTo>
                    <a:pt x="567" y="543"/>
                  </a:lnTo>
                  <a:lnTo>
                    <a:pt x="565" y="541"/>
                  </a:lnTo>
                  <a:lnTo>
                    <a:pt x="565" y="539"/>
                  </a:lnTo>
                  <a:lnTo>
                    <a:pt x="565" y="534"/>
                  </a:lnTo>
                  <a:lnTo>
                    <a:pt x="563" y="532"/>
                  </a:lnTo>
                  <a:lnTo>
                    <a:pt x="560" y="536"/>
                  </a:lnTo>
                  <a:lnTo>
                    <a:pt x="556" y="536"/>
                  </a:lnTo>
                  <a:lnTo>
                    <a:pt x="553" y="536"/>
                  </a:lnTo>
                  <a:lnTo>
                    <a:pt x="551" y="534"/>
                  </a:lnTo>
                  <a:lnTo>
                    <a:pt x="556" y="534"/>
                  </a:lnTo>
                  <a:lnTo>
                    <a:pt x="556" y="529"/>
                  </a:lnTo>
                  <a:lnTo>
                    <a:pt x="556" y="527"/>
                  </a:lnTo>
                  <a:lnTo>
                    <a:pt x="553" y="524"/>
                  </a:lnTo>
                  <a:lnTo>
                    <a:pt x="548" y="529"/>
                  </a:lnTo>
                  <a:lnTo>
                    <a:pt x="546" y="529"/>
                  </a:lnTo>
                  <a:lnTo>
                    <a:pt x="548" y="532"/>
                  </a:lnTo>
                  <a:lnTo>
                    <a:pt x="548" y="532"/>
                  </a:lnTo>
                  <a:lnTo>
                    <a:pt x="546" y="532"/>
                  </a:lnTo>
                  <a:lnTo>
                    <a:pt x="544" y="534"/>
                  </a:lnTo>
                  <a:lnTo>
                    <a:pt x="539" y="536"/>
                  </a:lnTo>
                  <a:lnTo>
                    <a:pt x="537" y="541"/>
                  </a:lnTo>
                  <a:lnTo>
                    <a:pt x="532" y="543"/>
                  </a:lnTo>
                  <a:lnTo>
                    <a:pt x="527" y="546"/>
                  </a:lnTo>
                  <a:lnTo>
                    <a:pt x="525" y="543"/>
                  </a:lnTo>
                  <a:lnTo>
                    <a:pt x="520" y="541"/>
                  </a:lnTo>
                  <a:lnTo>
                    <a:pt x="513" y="536"/>
                  </a:lnTo>
                  <a:lnTo>
                    <a:pt x="511" y="536"/>
                  </a:lnTo>
                  <a:lnTo>
                    <a:pt x="506" y="536"/>
                  </a:lnTo>
                  <a:lnTo>
                    <a:pt x="499" y="534"/>
                  </a:lnTo>
                  <a:lnTo>
                    <a:pt x="496" y="534"/>
                  </a:lnTo>
                  <a:lnTo>
                    <a:pt x="494" y="536"/>
                  </a:lnTo>
                  <a:lnTo>
                    <a:pt x="492" y="532"/>
                  </a:lnTo>
                  <a:lnTo>
                    <a:pt x="487" y="529"/>
                  </a:lnTo>
                  <a:lnTo>
                    <a:pt x="480" y="527"/>
                  </a:lnTo>
                  <a:lnTo>
                    <a:pt x="475" y="524"/>
                  </a:lnTo>
                  <a:lnTo>
                    <a:pt x="473" y="522"/>
                  </a:lnTo>
                  <a:lnTo>
                    <a:pt x="470" y="517"/>
                  </a:lnTo>
                  <a:lnTo>
                    <a:pt x="468" y="515"/>
                  </a:lnTo>
                  <a:lnTo>
                    <a:pt x="463" y="506"/>
                  </a:lnTo>
                  <a:lnTo>
                    <a:pt x="463" y="503"/>
                  </a:lnTo>
                  <a:lnTo>
                    <a:pt x="463" y="501"/>
                  </a:lnTo>
                  <a:lnTo>
                    <a:pt x="466" y="496"/>
                  </a:lnTo>
                  <a:lnTo>
                    <a:pt x="461" y="487"/>
                  </a:lnTo>
                  <a:lnTo>
                    <a:pt x="454" y="477"/>
                  </a:lnTo>
                  <a:lnTo>
                    <a:pt x="456" y="473"/>
                  </a:lnTo>
                  <a:lnTo>
                    <a:pt x="456" y="473"/>
                  </a:lnTo>
                  <a:lnTo>
                    <a:pt x="452" y="473"/>
                  </a:lnTo>
                  <a:lnTo>
                    <a:pt x="447" y="475"/>
                  </a:lnTo>
                  <a:lnTo>
                    <a:pt x="442" y="477"/>
                  </a:lnTo>
                  <a:lnTo>
                    <a:pt x="437" y="477"/>
                  </a:lnTo>
                  <a:lnTo>
                    <a:pt x="435" y="475"/>
                  </a:lnTo>
                  <a:lnTo>
                    <a:pt x="437" y="473"/>
                  </a:lnTo>
                  <a:lnTo>
                    <a:pt x="440" y="468"/>
                  </a:lnTo>
                  <a:lnTo>
                    <a:pt x="442" y="463"/>
                  </a:lnTo>
                  <a:lnTo>
                    <a:pt x="442" y="458"/>
                  </a:lnTo>
                  <a:lnTo>
                    <a:pt x="440" y="451"/>
                  </a:lnTo>
                  <a:lnTo>
                    <a:pt x="437" y="449"/>
                  </a:lnTo>
                  <a:lnTo>
                    <a:pt x="435" y="447"/>
                  </a:lnTo>
                  <a:lnTo>
                    <a:pt x="430" y="454"/>
                  </a:lnTo>
                  <a:lnTo>
                    <a:pt x="430" y="458"/>
                  </a:lnTo>
                  <a:lnTo>
                    <a:pt x="430" y="461"/>
                  </a:lnTo>
                  <a:lnTo>
                    <a:pt x="428" y="465"/>
                  </a:lnTo>
                  <a:lnTo>
                    <a:pt x="428" y="465"/>
                  </a:lnTo>
                  <a:lnTo>
                    <a:pt x="426" y="465"/>
                  </a:lnTo>
                  <a:lnTo>
                    <a:pt x="423" y="468"/>
                  </a:lnTo>
                  <a:lnTo>
                    <a:pt x="419" y="468"/>
                  </a:lnTo>
                  <a:lnTo>
                    <a:pt x="416" y="470"/>
                  </a:lnTo>
                  <a:lnTo>
                    <a:pt x="414" y="468"/>
                  </a:lnTo>
                  <a:lnTo>
                    <a:pt x="414" y="461"/>
                  </a:lnTo>
                  <a:lnTo>
                    <a:pt x="419" y="461"/>
                  </a:lnTo>
                  <a:lnTo>
                    <a:pt x="423" y="458"/>
                  </a:lnTo>
                  <a:lnTo>
                    <a:pt x="423" y="456"/>
                  </a:lnTo>
                  <a:lnTo>
                    <a:pt x="423" y="451"/>
                  </a:lnTo>
                  <a:lnTo>
                    <a:pt x="423" y="451"/>
                  </a:lnTo>
                  <a:lnTo>
                    <a:pt x="423" y="449"/>
                  </a:lnTo>
                  <a:lnTo>
                    <a:pt x="423" y="447"/>
                  </a:lnTo>
                  <a:lnTo>
                    <a:pt x="423" y="444"/>
                  </a:lnTo>
                  <a:lnTo>
                    <a:pt x="426" y="442"/>
                  </a:lnTo>
                  <a:lnTo>
                    <a:pt x="428" y="435"/>
                  </a:lnTo>
                  <a:lnTo>
                    <a:pt x="430" y="435"/>
                  </a:lnTo>
                  <a:lnTo>
                    <a:pt x="430" y="432"/>
                  </a:lnTo>
                  <a:lnTo>
                    <a:pt x="430" y="423"/>
                  </a:lnTo>
                  <a:lnTo>
                    <a:pt x="433" y="423"/>
                  </a:lnTo>
                  <a:lnTo>
                    <a:pt x="433" y="421"/>
                  </a:lnTo>
                  <a:lnTo>
                    <a:pt x="433" y="421"/>
                  </a:lnTo>
                  <a:lnTo>
                    <a:pt x="433" y="416"/>
                  </a:lnTo>
                  <a:lnTo>
                    <a:pt x="430" y="416"/>
                  </a:lnTo>
                  <a:lnTo>
                    <a:pt x="430" y="411"/>
                  </a:lnTo>
                  <a:lnTo>
                    <a:pt x="428" y="411"/>
                  </a:lnTo>
                  <a:lnTo>
                    <a:pt x="428" y="413"/>
                  </a:lnTo>
                  <a:lnTo>
                    <a:pt x="428" y="421"/>
                  </a:lnTo>
                  <a:lnTo>
                    <a:pt x="426" y="421"/>
                  </a:lnTo>
                  <a:lnTo>
                    <a:pt x="423" y="423"/>
                  </a:lnTo>
                  <a:lnTo>
                    <a:pt x="423" y="428"/>
                  </a:lnTo>
                  <a:lnTo>
                    <a:pt x="421" y="430"/>
                  </a:lnTo>
                  <a:lnTo>
                    <a:pt x="421" y="432"/>
                  </a:lnTo>
                  <a:lnTo>
                    <a:pt x="419" y="435"/>
                  </a:lnTo>
                  <a:lnTo>
                    <a:pt x="416" y="435"/>
                  </a:lnTo>
                  <a:lnTo>
                    <a:pt x="414" y="437"/>
                  </a:lnTo>
                  <a:lnTo>
                    <a:pt x="414" y="437"/>
                  </a:lnTo>
                  <a:lnTo>
                    <a:pt x="409" y="439"/>
                  </a:lnTo>
                  <a:lnTo>
                    <a:pt x="407" y="442"/>
                  </a:lnTo>
                  <a:lnTo>
                    <a:pt x="404" y="442"/>
                  </a:lnTo>
                  <a:lnTo>
                    <a:pt x="404" y="447"/>
                  </a:lnTo>
                  <a:lnTo>
                    <a:pt x="400" y="451"/>
                  </a:lnTo>
                  <a:lnTo>
                    <a:pt x="397" y="454"/>
                  </a:lnTo>
                  <a:lnTo>
                    <a:pt x="395" y="458"/>
                  </a:lnTo>
                  <a:lnTo>
                    <a:pt x="397" y="458"/>
                  </a:lnTo>
                  <a:lnTo>
                    <a:pt x="397" y="463"/>
                  </a:lnTo>
                  <a:lnTo>
                    <a:pt x="395" y="461"/>
                  </a:lnTo>
                  <a:lnTo>
                    <a:pt x="393" y="463"/>
                  </a:lnTo>
                  <a:lnTo>
                    <a:pt x="390" y="458"/>
                  </a:lnTo>
                  <a:lnTo>
                    <a:pt x="388" y="456"/>
                  </a:lnTo>
                  <a:lnTo>
                    <a:pt x="385" y="454"/>
                  </a:lnTo>
                  <a:lnTo>
                    <a:pt x="383" y="454"/>
                  </a:lnTo>
                  <a:lnTo>
                    <a:pt x="383" y="451"/>
                  </a:lnTo>
                  <a:lnTo>
                    <a:pt x="388" y="454"/>
                  </a:lnTo>
                  <a:lnTo>
                    <a:pt x="388" y="451"/>
                  </a:lnTo>
                  <a:lnTo>
                    <a:pt x="388" y="447"/>
                  </a:lnTo>
                  <a:lnTo>
                    <a:pt x="385" y="444"/>
                  </a:lnTo>
                  <a:lnTo>
                    <a:pt x="385" y="439"/>
                  </a:lnTo>
                  <a:lnTo>
                    <a:pt x="383" y="437"/>
                  </a:lnTo>
                  <a:lnTo>
                    <a:pt x="381" y="435"/>
                  </a:lnTo>
                  <a:lnTo>
                    <a:pt x="378" y="430"/>
                  </a:lnTo>
                  <a:lnTo>
                    <a:pt x="376" y="428"/>
                  </a:lnTo>
                  <a:lnTo>
                    <a:pt x="376" y="425"/>
                  </a:lnTo>
                  <a:lnTo>
                    <a:pt x="374" y="425"/>
                  </a:lnTo>
                  <a:lnTo>
                    <a:pt x="371" y="423"/>
                  </a:lnTo>
                  <a:lnTo>
                    <a:pt x="367" y="423"/>
                  </a:lnTo>
                  <a:lnTo>
                    <a:pt x="364" y="418"/>
                  </a:lnTo>
                  <a:lnTo>
                    <a:pt x="364" y="416"/>
                  </a:lnTo>
                  <a:lnTo>
                    <a:pt x="367" y="416"/>
                  </a:lnTo>
                  <a:lnTo>
                    <a:pt x="367" y="411"/>
                  </a:lnTo>
                  <a:lnTo>
                    <a:pt x="359" y="409"/>
                  </a:lnTo>
                  <a:lnTo>
                    <a:pt x="355" y="404"/>
                  </a:lnTo>
                  <a:lnTo>
                    <a:pt x="352" y="402"/>
                  </a:lnTo>
                  <a:lnTo>
                    <a:pt x="352" y="404"/>
                  </a:lnTo>
                  <a:lnTo>
                    <a:pt x="350" y="404"/>
                  </a:lnTo>
                  <a:lnTo>
                    <a:pt x="345" y="402"/>
                  </a:lnTo>
                  <a:lnTo>
                    <a:pt x="341" y="399"/>
                  </a:lnTo>
                  <a:lnTo>
                    <a:pt x="338" y="399"/>
                  </a:lnTo>
                  <a:lnTo>
                    <a:pt x="336" y="402"/>
                  </a:lnTo>
                  <a:lnTo>
                    <a:pt x="333" y="402"/>
                  </a:lnTo>
                  <a:lnTo>
                    <a:pt x="331" y="399"/>
                  </a:lnTo>
                  <a:lnTo>
                    <a:pt x="324" y="392"/>
                  </a:lnTo>
                  <a:lnTo>
                    <a:pt x="319" y="390"/>
                  </a:lnTo>
                  <a:lnTo>
                    <a:pt x="317" y="390"/>
                  </a:lnTo>
                  <a:lnTo>
                    <a:pt x="310" y="390"/>
                  </a:lnTo>
                  <a:lnTo>
                    <a:pt x="298" y="392"/>
                  </a:lnTo>
                  <a:lnTo>
                    <a:pt x="286" y="392"/>
                  </a:lnTo>
                  <a:lnTo>
                    <a:pt x="279" y="392"/>
                  </a:lnTo>
                  <a:lnTo>
                    <a:pt x="267" y="397"/>
                  </a:lnTo>
                  <a:lnTo>
                    <a:pt x="260" y="402"/>
                  </a:lnTo>
                  <a:lnTo>
                    <a:pt x="253" y="402"/>
                  </a:lnTo>
                  <a:lnTo>
                    <a:pt x="246" y="404"/>
                  </a:lnTo>
                  <a:lnTo>
                    <a:pt x="241" y="406"/>
                  </a:lnTo>
                  <a:lnTo>
                    <a:pt x="230" y="406"/>
                  </a:lnTo>
                  <a:lnTo>
                    <a:pt x="225" y="404"/>
                  </a:lnTo>
                  <a:lnTo>
                    <a:pt x="220" y="406"/>
                  </a:lnTo>
                  <a:lnTo>
                    <a:pt x="218" y="409"/>
                  </a:lnTo>
                  <a:lnTo>
                    <a:pt x="208" y="413"/>
                  </a:lnTo>
                  <a:lnTo>
                    <a:pt x="204" y="413"/>
                  </a:lnTo>
                  <a:lnTo>
                    <a:pt x="201" y="416"/>
                  </a:lnTo>
                  <a:lnTo>
                    <a:pt x="199" y="418"/>
                  </a:lnTo>
                  <a:lnTo>
                    <a:pt x="194" y="418"/>
                  </a:lnTo>
                  <a:lnTo>
                    <a:pt x="192" y="421"/>
                  </a:lnTo>
                  <a:lnTo>
                    <a:pt x="189" y="425"/>
                  </a:lnTo>
                  <a:lnTo>
                    <a:pt x="187" y="430"/>
                  </a:lnTo>
                  <a:lnTo>
                    <a:pt x="187" y="430"/>
                  </a:lnTo>
                  <a:lnTo>
                    <a:pt x="185" y="435"/>
                  </a:lnTo>
                  <a:lnTo>
                    <a:pt x="182" y="437"/>
                  </a:lnTo>
                  <a:lnTo>
                    <a:pt x="178" y="439"/>
                  </a:lnTo>
                  <a:lnTo>
                    <a:pt x="175" y="439"/>
                  </a:lnTo>
                  <a:lnTo>
                    <a:pt x="170" y="437"/>
                  </a:lnTo>
                  <a:lnTo>
                    <a:pt x="163" y="437"/>
                  </a:lnTo>
                  <a:lnTo>
                    <a:pt x="156" y="439"/>
                  </a:lnTo>
                  <a:lnTo>
                    <a:pt x="156" y="437"/>
                  </a:lnTo>
                  <a:lnTo>
                    <a:pt x="154" y="437"/>
                  </a:lnTo>
                  <a:lnTo>
                    <a:pt x="152" y="437"/>
                  </a:lnTo>
                  <a:lnTo>
                    <a:pt x="147" y="437"/>
                  </a:lnTo>
                  <a:lnTo>
                    <a:pt x="142" y="437"/>
                  </a:lnTo>
                  <a:lnTo>
                    <a:pt x="137" y="437"/>
                  </a:lnTo>
                  <a:lnTo>
                    <a:pt x="133" y="439"/>
                  </a:lnTo>
                  <a:lnTo>
                    <a:pt x="119" y="439"/>
                  </a:lnTo>
                  <a:lnTo>
                    <a:pt x="116" y="439"/>
                  </a:lnTo>
                  <a:lnTo>
                    <a:pt x="114" y="444"/>
                  </a:lnTo>
                  <a:lnTo>
                    <a:pt x="111" y="447"/>
                  </a:lnTo>
                  <a:lnTo>
                    <a:pt x="111" y="447"/>
                  </a:lnTo>
                  <a:lnTo>
                    <a:pt x="111" y="447"/>
                  </a:lnTo>
                  <a:lnTo>
                    <a:pt x="109" y="449"/>
                  </a:lnTo>
                  <a:lnTo>
                    <a:pt x="104" y="451"/>
                  </a:lnTo>
                  <a:lnTo>
                    <a:pt x="100" y="451"/>
                  </a:lnTo>
                  <a:lnTo>
                    <a:pt x="95" y="454"/>
                  </a:lnTo>
                  <a:lnTo>
                    <a:pt x="93" y="458"/>
                  </a:lnTo>
                  <a:lnTo>
                    <a:pt x="90" y="458"/>
                  </a:lnTo>
                  <a:lnTo>
                    <a:pt x="88" y="461"/>
                  </a:lnTo>
                  <a:lnTo>
                    <a:pt x="85" y="463"/>
                  </a:lnTo>
                  <a:lnTo>
                    <a:pt x="83" y="461"/>
                  </a:lnTo>
                  <a:lnTo>
                    <a:pt x="83" y="463"/>
                  </a:lnTo>
                  <a:lnTo>
                    <a:pt x="81" y="463"/>
                  </a:lnTo>
                  <a:lnTo>
                    <a:pt x="78" y="465"/>
                  </a:lnTo>
                  <a:lnTo>
                    <a:pt x="76" y="461"/>
                  </a:lnTo>
                  <a:lnTo>
                    <a:pt x="64" y="463"/>
                  </a:lnTo>
                  <a:lnTo>
                    <a:pt x="59" y="461"/>
                  </a:lnTo>
                  <a:lnTo>
                    <a:pt x="57" y="458"/>
                  </a:lnTo>
                  <a:lnTo>
                    <a:pt x="55" y="458"/>
                  </a:lnTo>
                  <a:lnTo>
                    <a:pt x="55" y="458"/>
                  </a:lnTo>
                  <a:lnTo>
                    <a:pt x="52" y="458"/>
                  </a:lnTo>
                  <a:lnTo>
                    <a:pt x="48" y="454"/>
                  </a:lnTo>
                  <a:lnTo>
                    <a:pt x="45" y="451"/>
                  </a:lnTo>
                  <a:lnTo>
                    <a:pt x="41" y="447"/>
                  </a:lnTo>
                  <a:lnTo>
                    <a:pt x="38" y="447"/>
                  </a:lnTo>
                  <a:lnTo>
                    <a:pt x="33" y="447"/>
                  </a:lnTo>
                  <a:lnTo>
                    <a:pt x="33" y="437"/>
                  </a:lnTo>
                  <a:lnTo>
                    <a:pt x="33" y="432"/>
                  </a:lnTo>
                  <a:lnTo>
                    <a:pt x="33" y="432"/>
                  </a:lnTo>
                  <a:lnTo>
                    <a:pt x="36" y="432"/>
                  </a:lnTo>
                  <a:lnTo>
                    <a:pt x="41" y="432"/>
                  </a:lnTo>
                  <a:lnTo>
                    <a:pt x="43" y="428"/>
                  </a:lnTo>
                  <a:lnTo>
                    <a:pt x="45" y="423"/>
                  </a:lnTo>
                  <a:lnTo>
                    <a:pt x="45" y="421"/>
                  </a:lnTo>
                  <a:lnTo>
                    <a:pt x="43" y="416"/>
                  </a:lnTo>
                  <a:lnTo>
                    <a:pt x="43" y="411"/>
                  </a:lnTo>
                  <a:lnTo>
                    <a:pt x="43" y="413"/>
                  </a:lnTo>
                  <a:lnTo>
                    <a:pt x="45" y="409"/>
                  </a:lnTo>
                  <a:lnTo>
                    <a:pt x="45" y="404"/>
                  </a:lnTo>
                  <a:lnTo>
                    <a:pt x="45" y="397"/>
                  </a:lnTo>
                  <a:lnTo>
                    <a:pt x="45" y="392"/>
                  </a:lnTo>
                  <a:lnTo>
                    <a:pt x="38" y="380"/>
                  </a:lnTo>
                  <a:lnTo>
                    <a:pt x="38" y="378"/>
                  </a:lnTo>
                  <a:lnTo>
                    <a:pt x="36" y="376"/>
                  </a:lnTo>
                  <a:lnTo>
                    <a:pt x="33" y="371"/>
                  </a:lnTo>
                  <a:lnTo>
                    <a:pt x="31" y="366"/>
                  </a:lnTo>
                  <a:lnTo>
                    <a:pt x="31" y="359"/>
                  </a:lnTo>
                  <a:lnTo>
                    <a:pt x="31" y="347"/>
                  </a:lnTo>
                  <a:lnTo>
                    <a:pt x="29" y="345"/>
                  </a:lnTo>
                  <a:lnTo>
                    <a:pt x="24" y="336"/>
                  </a:lnTo>
                  <a:lnTo>
                    <a:pt x="24" y="331"/>
                  </a:lnTo>
                  <a:lnTo>
                    <a:pt x="22" y="326"/>
                  </a:lnTo>
                  <a:lnTo>
                    <a:pt x="17" y="319"/>
                  </a:lnTo>
                  <a:lnTo>
                    <a:pt x="17" y="314"/>
                  </a:lnTo>
                  <a:lnTo>
                    <a:pt x="15" y="307"/>
                  </a:lnTo>
                  <a:lnTo>
                    <a:pt x="12" y="300"/>
                  </a:lnTo>
                  <a:lnTo>
                    <a:pt x="10" y="300"/>
                  </a:lnTo>
                  <a:lnTo>
                    <a:pt x="5" y="295"/>
                  </a:lnTo>
                  <a:lnTo>
                    <a:pt x="3" y="293"/>
                  </a:lnTo>
                  <a:lnTo>
                    <a:pt x="3" y="291"/>
                  </a:lnTo>
                  <a:lnTo>
                    <a:pt x="0" y="288"/>
                  </a:lnTo>
                  <a:lnTo>
                    <a:pt x="0" y="286"/>
                  </a:lnTo>
                  <a:lnTo>
                    <a:pt x="0" y="284"/>
                  </a:lnTo>
                  <a:lnTo>
                    <a:pt x="0" y="286"/>
                  </a:lnTo>
                  <a:lnTo>
                    <a:pt x="3" y="286"/>
                  </a:lnTo>
                  <a:lnTo>
                    <a:pt x="3" y="286"/>
                  </a:lnTo>
                  <a:lnTo>
                    <a:pt x="5" y="288"/>
                  </a:lnTo>
                  <a:lnTo>
                    <a:pt x="5" y="291"/>
                  </a:lnTo>
                  <a:lnTo>
                    <a:pt x="5" y="291"/>
                  </a:lnTo>
                  <a:lnTo>
                    <a:pt x="7" y="293"/>
                  </a:lnTo>
                  <a:lnTo>
                    <a:pt x="10" y="293"/>
                  </a:lnTo>
                  <a:lnTo>
                    <a:pt x="10" y="291"/>
                  </a:lnTo>
                  <a:lnTo>
                    <a:pt x="10" y="288"/>
                  </a:lnTo>
                  <a:lnTo>
                    <a:pt x="7" y="286"/>
                  </a:lnTo>
                  <a:lnTo>
                    <a:pt x="5" y="276"/>
                  </a:lnTo>
                  <a:lnTo>
                    <a:pt x="3" y="272"/>
                  </a:lnTo>
                  <a:lnTo>
                    <a:pt x="5" y="274"/>
                  </a:lnTo>
                  <a:lnTo>
                    <a:pt x="7" y="276"/>
                  </a:lnTo>
                  <a:lnTo>
                    <a:pt x="7" y="286"/>
                  </a:lnTo>
                  <a:lnTo>
                    <a:pt x="10" y="281"/>
                  </a:lnTo>
                  <a:lnTo>
                    <a:pt x="12" y="284"/>
                  </a:lnTo>
                  <a:lnTo>
                    <a:pt x="12" y="288"/>
                  </a:lnTo>
                  <a:lnTo>
                    <a:pt x="15" y="288"/>
                  </a:lnTo>
                  <a:lnTo>
                    <a:pt x="17" y="286"/>
                  </a:lnTo>
                  <a:lnTo>
                    <a:pt x="17" y="281"/>
                  </a:lnTo>
                  <a:lnTo>
                    <a:pt x="17" y="276"/>
                  </a:lnTo>
                  <a:lnTo>
                    <a:pt x="15" y="274"/>
                  </a:lnTo>
                  <a:lnTo>
                    <a:pt x="12" y="269"/>
                  </a:lnTo>
                  <a:lnTo>
                    <a:pt x="12" y="272"/>
                  </a:lnTo>
                  <a:lnTo>
                    <a:pt x="12" y="269"/>
                  </a:lnTo>
                  <a:lnTo>
                    <a:pt x="10" y="265"/>
                  </a:lnTo>
                  <a:lnTo>
                    <a:pt x="7" y="260"/>
                  </a:lnTo>
                  <a:lnTo>
                    <a:pt x="3" y="251"/>
                  </a:lnTo>
                  <a:lnTo>
                    <a:pt x="3" y="241"/>
                  </a:lnTo>
                  <a:lnTo>
                    <a:pt x="5" y="239"/>
                  </a:lnTo>
                  <a:lnTo>
                    <a:pt x="7" y="234"/>
                  </a:lnTo>
                  <a:lnTo>
                    <a:pt x="10" y="232"/>
                  </a:lnTo>
                  <a:lnTo>
                    <a:pt x="10" y="229"/>
                  </a:lnTo>
                  <a:lnTo>
                    <a:pt x="10" y="222"/>
                  </a:lnTo>
                  <a:lnTo>
                    <a:pt x="7" y="217"/>
                  </a:lnTo>
                  <a:lnTo>
                    <a:pt x="7" y="210"/>
                  </a:lnTo>
                  <a:lnTo>
                    <a:pt x="10" y="208"/>
                  </a:lnTo>
                  <a:lnTo>
                    <a:pt x="12" y="203"/>
                  </a:lnTo>
                  <a:lnTo>
                    <a:pt x="12" y="20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1" name="Freeform 167">
              <a:extLst>
                <a:ext uri="{FF2B5EF4-FFF2-40B4-BE49-F238E27FC236}">
                  <a16:creationId xmlns:a16="http://schemas.microsoft.com/office/drawing/2014/main" id="{7D00A770-FC5C-41B3-9B7A-DA0D5EF2E450}"/>
                </a:ext>
              </a:extLst>
            </p:cNvPr>
            <p:cNvSpPr>
              <a:spLocks/>
            </p:cNvSpPr>
            <p:nvPr/>
          </p:nvSpPr>
          <p:spPr bwMode="auto">
            <a:xfrm>
              <a:off x="5611026" y="3800892"/>
              <a:ext cx="2256110" cy="1772200"/>
            </a:xfrm>
            <a:custGeom>
              <a:avLst/>
              <a:gdLst>
                <a:gd name="T0" fmla="*/ 24 w 704"/>
                <a:gd name="T1" fmla="*/ 201 h 553"/>
                <a:gd name="T2" fmla="*/ 62 w 704"/>
                <a:gd name="T3" fmla="*/ 180 h 553"/>
                <a:gd name="T4" fmla="*/ 114 w 704"/>
                <a:gd name="T5" fmla="*/ 168 h 553"/>
                <a:gd name="T6" fmla="*/ 159 w 704"/>
                <a:gd name="T7" fmla="*/ 135 h 553"/>
                <a:gd name="T8" fmla="*/ 168 w 704"/>
                <a:gd name="T9" fmla="*/ 106 h 553"/>
                <a:gd name="T10" fmla="*/ 180 w 704"/>
                <a:gd name="T11" fmla="*/ 104 h 553"/>
                <a:gd name="T12" fmla="*/ 201 w 704"/>
                <a:gd name="T13" fmla="*/ 83 h 553"/>
                <a:gd name="T14" fmla="*/ 218 w 704"/>
                <a:gd name="T15" fmla="*/ 71 h 553"/>
                <a:gd name="T16" fmla="*/ 234 w 704"/>
                <a:gd name="T17" fmla="*/ 59 h 553"/>
                <a:gd name="T18" fmla="*/ 260 w 704"/>
                <a:gd name="T19" fmla="*/ 83 h 553"/>
                <a:gd name="T20" fmla="*/ 286 w 704"/>
                <a:gd name="T21" fmla="*/ 80 h 553"/>
                <a:gd name="T22" fmla="*/ 293 w 704"/>
                <a:gd name="T23" fmla="*/ 52 h 553"/>
                <a:gd name="T24" fmla="*/ 310 w 704"/>
                <a:gd name="T25" fmla="*/ 36 h 553"/>
                <a:gd name="T26" fmla="*/ 331 w 704"/>
                <a:gd name="T27" fmla="*/ 17 h 553"/>
                <a:gd name="T28" fmla="*/ 331 w 704"/>
                <a:gd name="T29" fmla="*/ 10 h 553"/>
                <a:gd name="T30" fmla="*/ 355 w 704"/>
                <a:gd name="T31" fmla="*/ 21 h 553"/>
                <a:gd name="T32" fmla="*/ 383 w 704"/>
                <a:gd name="T33" fmla="*/ 28 h 553"/>
                <a:gd name="T34" fmla="*/ 402 w 704"/>
                <a:gd name="T35" fmla="*/ 28 h 553"/>
                <a:gd name="T36" fmla="*/ 407 w 704"/>
                <a:gd name="T37" fmla="*/ 38 h 553"/>
                <a:gd name="T38" fmla="*/ 395 w 704"/>
                <a:gd name="T39" fmla="*/ 52 h 553"/>
                <a:gd name="T40" fmla="*/ 404 w 704"/>
                <a:gd name="T41" fmla="*/ 85 h 553"/>
                <a:gd name="T42" fmla="*/ 440 w 704"/>
                <a:gd name="T43" fmla="*/ 109 h 553"/>
                <a:gd name="T44" fmla="*/ 494 w 704"/>
                <a:gd name="T45" fmla="*/ 88 h 553"/>
                <a:gd name="T46" fmla="*/ 501 w 704"/>
                <a:gd name="T47" fmla="*/ 24 h 553"/>
                <a:gd name="T48" fmla="*/ 515 w 704"/>
                <a:gd name="T49" fmla="*/ 7 h 553"/>
                <a:gd name="T50" fmla="*/ 530 w 704"/>
                <a:gd name="T51" fmla="*/ 54 h 553"/>
                <a:gd name="T52" fmla="*/ 560 w 704"/>
                <a:gd name="T53" fmla="*/ 80 h 553"/>
                <a:gd name="T54" fmla="*/ 574 w 704"/>
                <a:gd name="T55" fmla="*/ 132 h 553"/>
                <a:gd name="T56" fmla="*/ 589 w 704"/>
                <a:gd name="T57" fmla="*/ 156 h 553"/>
                <a:gd name="T58" fmla="*/ 622 w 704"/>
                <a:gd name="T59" fmla="*/ 173 h 553"/>
                <a:gd name="T60" fmla="*/ 633 w 704"/>
                <a:gd name="T61" fmla="*/ 206 h 553"/>
                <a:gd name="T62" fmla="*/ 652 w 704"/>
                <a:gd name="T63" fmla="*/ 210 h 553"/>
                <a:gd name="T64" fmla="*/ 678 w 704"/>
                <a:gd name="T65" fmla="*/ 253 h 553"/>
                <a:gd name="T66" fmla="*/ 697 w 704"/>
                <a:gd name="T67" fmla="*/ 291 h 553"/>
                <a:gd name="T68" fmla="*/ 702 w 704"/>
                <a:gd name="T69" fmla="*/ 347 h 553"/>
                <a:gd name="T70" fmla="*/ 685 w 704"/>
                <a:gd name="T71" fmla="*/ 409 h 553"/>
                <a:gd name="T72" fmla="*/ 664 w 704"/>
                <a:gd name="T73" fmla="*/ 435 h 553"/>
                <a:gd name="T74" fmla="*/ 648 w 704"/>
                <a:gd name="T75" fmla="*/ 480 h 553"/>
                <a:gd name="T76" fmla="*/ 638 w 704"/>
                <a:gd name="T77" fmla="*/ 517 h 553"/>
                <a:gd name="T78" fmla="*/ 579 w 704"/>
                <a:gd name="T79" fmla="*/ 543 h 553"/>
                <a:gd name="T80" fmla="*/ 567 w 704"/>
                <a:gd name="T81" fmla="*/ 543 h 553"/>
                <a:gd name="T82" fmla="*/ 546 w 704"/>
                <a:gd name="T83" fmla="*/ 529 h 553"/>
                <a:gd name="T84" fmla="*/ 499 w 704"/>
                <a:gd name="T85" fmla="*/ 534 h 553"/>
                <a:gd name="T86" fmla="*/ 461 w 704"/>
                <a:gd name="T87" fmla="*/ 487 h 553"/>
                <a:gd name="T88" fmla="*/ 437 w 704"/>
                <a:gd name="T89" fmla="*/ 449 h 553"/>
                <a:gd name="T90" fmla="*/ 423 w 704"/>
                <a:gd name="T91" fmla="*/ 458 h 553"/>
                <a:gd name="T92" fmla="*/ 433 w 704"/>
                <a:gd name="T93" fmla="*/ 421 h 553"/>
                <a:gd name="T94" fmla="*/ 414 w 704"/>
                <a:gd name="T95" fmla="*/ 437 h 553"/>
                <a:gd name="T96" fmla="*/ 388 w 704"/>
                <a:gd name="T97" fmla="*/ 456 h 553"/>
                <a:gd name="T98" fmla="*/ 374 w 704"/>
                <a:gd name="T99" fmla="*/ 425 h 553"/>
                <a:gd name="T100" fmla="*/ 338 w 704"/>
                <a:gd name="T101" fmla="*/ 399 h 553"/>
                <a:gd name="T102" fmla="*/ 246 w 704"/>
                <a:gd name="T103" fmla="*/ 404 h 553"/>
                <a:gd name="T104" fmla="*/ 187 w 704"/>
                <a:gd name="T105" fmla="*/ 430 h 553"/>
                <a:gd name="T106" fmla="*/ 133 w 704"/>
                <a:gd name="T107" fmla="*/ 439 h 553"/>
                <a:gd name="T108" fmla="*/ 85 w 704"/>
                <a:gd name="T109" fmla="*/ 463 h 553"/>
                <a:gd name="T110" fmla="*/ 41 w 704"/>
                <a:gd name="T111" fmla="*/ 447 h 553"/>
                <a:gd name="T112" fmla="*/ 45 w 704"/>
                <a:gd name="T113" fmla="*/ 409 h 553"/>
                <a:gd name="T114" fmla="*/ 22 w 704"/>
                <a:gd name="T115" fmla="*/ 326 h 553"/>
                <a:gd name="T116" fmla="*/ 3 w 704"/>
                <a:gd name="T117" fmla="*/ 286 h 553"/>
                <a:gd name="T118" fmla="*/ 10 w 704"/>
                <a:gd name="T119" fmla="*/ 281 h 553"/>
                <a:gd name="T120" fmla="*/ 3 w 704"/>
                <a:gd name="T121" fmla="*/ 24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553">
                  <a:moveTo>
                    <a:pt x="12" y="203"/>
                  </a:moveTo>
                  <a:lnTo>
                    <a:pt x="15" y="201"/>
                  </a:lnTo>
                  <a:lnTo>
                    <a:pt x="15" y="206"/>
                  </a:lnTo>
                  <a:lnTo>
                    <a:pt x="15" y="206"/>
                  </a:lnTo>
                  <a:lnTo>
                    <a:pt x="15" y="208"/>
                  </a:lnTo>
                  <a:lnTo>
                    <a:pt x="15" y="210"/>
                  </a:lnTo>
                  <a:lnTo>
                    <a:pt x="15" y="210"/>
                  </a:lnTo>
                  <a:lnTo>
                    <a:pt x="15" y="213"/>
                  </a:lnTo>
                  <a:lnTo>
                    <a:pt x="15" y="215"/>
                  </a:lnTo>
                  <a:lnTo>
                    <a:pt x="15" y="215"/>
                  </a:lnTo>
                  <a:lnTo>
                    <a:pt x="19" y="213"/>
                  </a:lnTo>
                  <a:lnTo>
                    <a:pt x="19" y="208"/>
                  </a:lnTo>
                  <a:lnTo>
                    <a:pt x="22" y="203"/>
                  </a:lnTo>
                  <a:lnTo>
                    <a:pt x="24" y="201"/>
                  </a:lnTo>
                  <a:lnTo>
                    <a:pt x="26" y="201"/>
                  </a:lnTo>
                  <a:lnTo>
                    <a:pt x="29" y="201"/>
                  </a:lnTo>
                  <a:lnTo>
                    <a:pt x="31" y="199"/>
                  </a:lnTo>
                  <a:lnTo>
                    <a:pt x="38" y="196"/>
                  </a:lnTo>
                  <a:lnTo>
                    <a:pt x="41" y="194"/>
                  </a:lnTo>
                  <a:lnTo>
                    <a:pt x="43" y="191"/>
                  </a:lnTo>
                  <a:lnTo>
                    <a:pt x="45" y="189"/>
                  </a:lnTo>
                  <a:lnTo>
                    <a:pt x="45" y="187"/>
                  </a:lnTo>
                  <a:lnTo>
                    <a:pt x="50" y="184"/>
                  </a:lnTo>
                  <a:lnTo>
                    <a:pt x="52" y="184"/>
                  </a:lnTo>
                  <a:lnTo>
                    <a:pt x="55" y="182"/>
                  </a:lnTo>
                  <a:lnTo>
                    <a:pt x="59" y="177"/>
                  </a:lnTo>
                  <a:lnTo>
                    <a:pt x="62" y="177"/>
                  </a:lnTo>
                  <a:lnTo>
                    <a:pt x="62" y="180"/>
                  </a:lnTo>
                  <a:lnTo>
                    <a:pt x="67" y="180"/>
                  </a:lnTo>
                  <a:lnTo>
                    <a:pt x="71" y="180"/>
                  </a:lnTo>
                  <a:lnTo>
                    <a:pt x="74" y="180"/>
                  </a:lnTo>
                  <a:lnTo>
                    <a:pt x="76" y="180"/>
                  </a:lnTo>
                  <a:lnTo>
                    <a:pt x="78" y="180"/>
                  </a:lnTo>
                  <a:lnTo>
                    <a:pt x="83" y="177"/>
                  </a:lnTo>
                  <a:lnTo>
                    <a:pt x="85" y="175"/>
                  </a:lnTo>
                  <a:lnTo>
                    <a:pt x="88" y="175"/>
                  </a:lnTo>
                  <a:lnTo>
                    <a:pt x="93" y="173"/>
                  </a:lnTo>
                  <a:lnTo>
                    <a:pt x="95" y="173"/>
                  </a:lnTo>
                  <a:lnTo>
                    <a:pt x="102" y="168"/>
                  </a:lnTo>
                  <a:lnTo>
                    <a:pt x="107" y="168"/>
                  </a:lnTo>
                  <a:lnTo>
                    <a:pt x="109" y="168"/>
                  </a:lnTo>
                  <a:lnTo>
                    <a:pt x="114" y="168"/>
                  </a:lnTo>
                  <a:lnTo>
                    <a:pt x="116" y="168"/>
                  </a:lnTo>
                  <a:lnTo>
                    <a:pt x="121" y="165"/>
                  </a:lnTo>
                  <a:lnTo>
                    <a:pt x="123" y="163"/>
                  </a:lnTo>
                  <a:lnTo>
                    <a:pt x="130" y="163"/>
                  </a:lnTo>
                  <a:lnTo>
                    <a:pt x="135" y="161"/>
                  </a:lnTo>
                  <a:lnTo>
                    <a:pt x="137" y="158"/>
                  </a:lnTo>
                  <a:lnTo>
                    <a:pt x="144" y="151"/>
                  </a:lnTo>
                  <a:lnTo>
                    <a:pt x="144" y="151"/>
                  </a:lnTo>
                  <a:lnTo>
                    <a:pt x="144" y="147"/>
                  </a:lnTo>
                  <a:lnTo>
                    <a:pt x="149" y="144"/>
                  </a:lnTo>
                  <a:lnTo>
                    <a:pt x="149" y="142"/>
                  </a:lnTo>
                  <a:lnTo>
                    <a:pt x="149" y="139"/>
                  </a:lnTo>
                  <a:lnTo>
                    <a:pt x="152" y="139"/>
                  </a:lnTo>
                  <a:lnTo>
                    <a:pt x="159" y="135"/>
                  </a:lnTo>
                  <a:lnTo>
                    <a:pt x="159" y="132"/>
                  </a:lnTo>
                  <a:lnTo>
                    <a:pt x="159" y="130"/>
                  </a:lnTo>
                  <a:lnTo>
                    <a:pt x="156" y="121"/>
                  </a:lnTo>
                  <a:lnTo>
                    <a:pt x="156" y="118"/>
                  </a:lnTo>
                  <a:lnTo>
                    <a:pt x="159" y="114"/>
                  </a:lnTo>
                  <a:lnTo>
                    <a:pt x="159" y="114"/>
                  </a:lnTo>
                  <a:lnTo>
                    <a:pt x="161" y="114"/>
                  </a:lnTo>
                  <a:lnTo>
                    <a:pt x="163" y="111"/>
                  </a:lnTo>
                  <a:lnTo>
                    <a:pt x="166" y="109"/>
                  </a:lnTo>
                  <a:lnTo>
                    <a:pt x="166" y="109"/>
                  </a:lnTo>
                  <a:lnTo>
                    <a:pt x="166" y="106"/>
                  </a:lnTo>
                  <a:lnTo>
                    <a:pt x="168" y="104"/>
                  </a:lnTo>
                  <a:lnTo>
                    <a:pt x="168" y="102"/>
                  </a:lnTo>
                  <a:lnTo>
                    <a:pt x="168" y="106"/>
                  </a:lnTo>
                  <a:lnTo>
                    <a:pt x="170" y="109"/>
                  </a:lnTo>
                  <a:lnTo>
                    <a:pt x="173" y="114"/>
                  </a:lnTo>
                  <a:lnTo>
                    <a:pt x="175" y="116"/>
                  </a:lnTo>
                  <a:lnTo>
                    <a:pt x="175" y="118"/>
                  </a:lnTo>
                  <a:lnTo>
                    <a:pt x="178" y="121"/>
                  </a:lnTo>
                  <a:lnTo>
                    <a:pt x="180" y="123"/>
                  </a:lnTo>
                  <a:lnTo>
                    <a:pt x="180" y="121"/>
                  </a:lnTo>
                  <a:lnTo>
                    <a:pt x="180" y="116"/>
                  </a:lnTo>
                  <a:lnTo>
                    <a:pt x="182" y="116"/>
                  </a:lnTo>
                  <a:lnTo>
                    <a:pt x="185" y="114"/>
                  </a:lnTo>
                  <a:lnTo>
                    <a:pt x="182" y="111"/>
                  </a:lnTo>
                  <a:lnTo>
                    <a:pt x="180" y="106"/>
                  </a:lnTo>
                  <a:lnTo>
                    <a:pt x="180" y="106"/>
                  </a:lnTo>
                  <a:lnTo>
                    <a:pt x="180" y="104"/>
                  </a:lnTo>
                  <a:lnTo>
                    <a:pt x="180" y="99"/>
                  </a:lnTo>
                  <a:lnTo>
                    <a:pt x="180" y="97"/>
                  </a:lnTo>
                  <a:lnTo>
                    <a:pt x="185" y="99"/>
                  </a:lnTo>
                  <a:lnTo>
                    <a:pt x="187" y="99"/>
                  </a:lnTo>
                  <a:lnTo>
                    <a:pt x="192" y="104"/>
                  </a:lnTo>
                  <a:lnTo>
                    <a:pt x="196" y="104"/>
                  </a:lnTo>
                  <a:lnTo>
                    <a:pt x="196" y="102"/>
                  </a:lnTo>
                  <a:lnTo>
                    <a:pt x="194" y="102"/>
                  </a:lnTo>
                  <a:lnTo>
                    <a:pt x="194" y="97"/>
                  </a:lnTo>
                  <a:lnTo>
                    <a:pt x="196" y="95"/>
                  </a:lnTo>
                  <a:lnTo>
                    <a:pt x="199" y="92"/>
                  </a:lnTo>
                  <a:lnTo>
                    <a:pt x="196" y="88"/>
                  </a:lnTo>
                  <a:lnTo>
                    <a:pt x="199" y="85"/>
                  </a:lnTo>
                  <a:lnTo>
                    <a:pt x="201" y="83"/>
                  </a:lnTo>
                  <a:lnTo>
                    <a:pt x="204" y="85"/>
                  </a:lnTo>
                  <a:lnTo>
                    <a:pt x="206" y="85"/>
                  </a:lnTo>
                  <a:lnTo>
                    <a:pt x="204" y="80"/>
                  </a:lnTo>
                  <a:lnTo>
                    <a:pt x="204" y="80"/>
                  </a:lnTo>
                  <a:lnTo>
                    <a:pt x="206" y="78"/>
                  </a:lnTo>
                  <a:lnTo>
                    <a:pt x="211" y="80"/>
                  </a:lnTo>
                  <a:lnTo>
                    <a:pt x="211" y="78"/>
                  </a:lnTo>
                  <a:lnTo>
                    <a:pt x="208" y="76"/>
                  </a:lnTo>
                  <a:lnTo>
                    <a:pt x="208" y="71"/>
                  </a:lnTo>
                  <a:lnTo>
                    <a:pt x="211" y="71"/>
                  </a:lnTo>
                  <a:lnTo>
                    <a:pt x="213" y="69"/>
                  </a:lnTo>
                  <a:lnTo>
                    <a:pt x="215" y="69"/>
                  </a:lnTo>
                  <a:lnTo>
                    <a:pt x="218" y="69"/>
                  </a:lnTo>
                  <a:lnTo>
                    <a:pt x="218" y="71"/>
                  </a:lnTo>
                  <a:lnTo>
                    <a:pt x="220" y="71"/>
                  </a:lnTo>
                  <a:lnTo>
                    <a:pt x="222" y="69"/>
                  </a:lnTo>
                  <a:lnTo>
                    <a:pt x="225" y="64"/>
                  </a:lnTo>
                  <a:lnTo>
                    <a:pt x="225" y="64"/>
                  </a:lnTo>
                  <a:lnTo>
                    <a:pt x="222" y="62"/>
                  </a:lnTo>
                  <a:lnTo>
                    <a:pt x="222" y="59"/>
                  </a:lnTo>
                  <a:lnTo>
                    <a:pt x="225" y="62"/>
                  </a:lnTo>
                  <a:lnTo>
                    <a:pt x="225" y="64"/>
                  </a:lnTo>
                  <a:lnTo>
                    <a:pt x="227" y="62"/>
                  </a:lnTo>
                  <a:lnTo>
                    <a:pt x="227" y="59"/>
                  </a:lnTo>
                  <a:lnTo>
                    <a:pt x="230" y="62"/>
                  </a:lnTo>
                  <a:lnTo>
                    <a:pt x="230" y="62"/>
                  </a:lnTo>
                  <a:lnTo>
                    <a:pt x="232" y="62"/>
                  </a:lnTo>
                  <a:lnTo>
                    <a:pt x="234" y="59"/>
                  </a:lnTo>
                  <a:lnTo>
                    <a:pt x="237" y="59"/>
                  </a:lnTo>
                  <a:lnTo>
                    <a:pt x="234" y="57"/>
                  </a:lnTo>
                  <a:lnTo>
                    <a:pt x="239" y="57"/>
                  </a:lnTo>
                  <a:lnTo>
                    <a:pt x="239" y="57"/>
                  </a:lnTo>
                  <a:lnTo>
                    <a:pt x="241" y="57"/>
                  </a:lnTo>
                  <a:lnTo>
                    <a:pt x="244" y="57"/>
                  </a:lnTo>
                  <a:lnTo>
                    <a:pt x="248" y="59"/>
                  </a:lnTo>
                  <a:lnTo>
                    <a:pt x="251" y="62"/>
                  </a:lnTo>
                  <a:lnTo>
                    <a:pt x="256" y="69"/>
                  </a:lnTo>
                  <a:lnTo>
                    <a:pt x="260" y="73"/>
                  </a:lnTo>
                  <a:lnTo>
                    <a:pt x="258" y="78"/>
                  </a:lnTo>
                  <a:lnTo>
                    <a:pt x="258" y="80"/>
                  </a:lnTo>
                  <a:lnTo>
                    <a:pt x="260" y="83"/>
                  </a:lnTo>
                  <a:lnTo>
                    <a:pt x="260" y="83"/>
                  </a:lnTo>
                  <a:lnTo>
                    <a:pt x="260" y="80"/>
                  </a:lnTo>
                  <a:lnTo>
                    <a:pt x="260" y="78"/>
                  </a:lnTo>
                  <a:lnTo>
                    <a:pt x="260" y="78"/>
                  </a:lnTo>
                  <a:lnTo>
                    <a:pt x="263" y="76"/>
                  </a:lnTo>
                  <a:lnTo>
                    <a:pt x="263" y="76"/>
                  </a:lnTo>
                  <a:lnTo>
                    <a:pt x="263" y="76"/>
                  </a:lnTo>
                  <a:lnTo>
                    <a:pt x="265" y="76"/>
                  </a:lnTo>
                  <a:lnTo>
                    <a:pt x="265" y="76"/>
                  </a:lnTo>
                  <a:lnTo>
                    <a:pt x="267" y="73"/>
                  </a:lnTo>
                  <a:lnTo>
                    <a:pt x="270" y="76"/>
                  </a:lnTo>
                  <a:lnTo>
                    <a:pt x="274" y="76"/>
                  </a:lnTo>
                  <a:lnTo>
                    <a:pt x="277" y="73"/>
                  </a:lnTo>
                  <a:lnTo>
                    <a:pt x="279" y="76"/>
                  </a:lnTo>
                  <a:lnTo>
                    <a:pt x="286" y="80"/>
                  </a:lnTo>
                  <a:lnTo>
                    <a:pt x="286" y="80"/>
                  </a:lnTo>
                  <a:lnTo>
                    <a:pt x="286" y="80"/>
                  </a:lnTo>
                  <a:lnTo>
                    <a:pt x="286" y="76"/>
                  </a:lnTo>
                  <a:lnTo>
                    <a:pt x="289" y="76"/>
                  </a:lnTo>
                  <a:lnTo>
                    <a:pt x="289" y="73"/>
                  </a:lnTo>
                  <a:lnTo>
                    <a:pt x="284" y="69"/>
                  </a:lnTo>
                  <a:lnTo>
                    <a:pt x="282" y="66"/>
                  </a:lnTo>
                  <a:lnTo>
                    <a:pt x="284" y="62"/>
                  </a:lnTo>
                  <a:lnTo>
                    <a:pt x="284" y="62"/>
                  </a:lnTo>
                  <a:lnTo>
                    <a:pt x="286" y="62"/>
                  </a:lnTo>
                  <a:lnTo>
                    <a:pt x="289" y="54"/>
                  </a:lnTo>
                  <a:lnTo>
                    <a:pt x="289" y="52"/>
                  </a:lnTo>
                  <a:lnTo>
                    <a:pt x="291" y="50"/>
                  </a:lnTo>
                  <a:lnTo>
                    <a:pt x="293" y="52"/>
                  </a:lnTo>
                  <a:lnTo>
                    <a:pt x="296" y="52"/>
                  </a:lnTo>
                  <a:lnTo>
                    <a:pt x="298" y="50"/>
                  </a:lnTo>
                  <a:lnTo>
                    <a:pt x="298" y="45"/>
                  </a:lnTo>
                  <a:lnTo>
                    <a:pt x="296" y="45"/>
                  </a:lnTo>
                  <a:lnTo>
                    <a:pt x="296" y="43"/>
                  </a:lnTo>
                  <a:lnTo>
                    <a:pt x="296" y="40"/>
                  </a:lnTo>
                  <a:lnTo>
                    <a:pt x="298" y="38"/>
                  </a:lnTo>
                  <a:lnTo>
                    <a:pt x="300" y="36"/>
                  </a:lnTo>
                  <a:lnTo>
                    <a:pt x="303" y="36"/>
                  </a:lnTo>
                  <a:lnTo>
                    <a:pt x="303" y="33"/>
                  </a:lnTo>
                  <a:lnTo>
                    <a:pt x="305" y="33"/>
                  </a:lnTo>
                  <a:lnTo>
                    <a:pt x="307" y="36"/>
                  </a:lnTo>
                  <a:lnTo>
                    <a:pt x="310" y="38"/>
                  </a:lnTo>
                  <a:lnTo>
                    <a:pt x="310" y="36"/>
                  </a:lnTo>
                  <a:lnTo>
                    <a:pt x="307" y="31"/>
                  </a:lnTo>
                  <a:lnTo>
                    <a:pt x="310" y="31"/>
                  </a:lnTo>
                  <a:lnTo>
                    <a:pt x="310" y="28"/>
                  </a:lnTo>
                  <a:lnTo>
                    <a:pt x="315" y="31"/>
                  </a:lnTo>
                  <a:lnTo>
                    <a:pt x="315" y="28"/>
                  </a:lnTo>
                  <a:lnTo>
                    <a:pt x="319" y="28"/>
                  </a:lnTo>
                  <a:lnTo>
                    <a:pt x="322" y="28"/>
                  </a:lnTo>
                  <a:lnTo>
                    <a:pt x="326" y="28"/>
                  </a:lnTo>
                  <a:lnTo>
                    <a:pt x="329" y="28"/>
                  </a:lnTo>
                  <a:lnTo>
                    <a:pt x="336" y="28"/>
                  </a:lnTo>
                  <a:lnTo>
                    <a:pt x="338" y="26"/>
                  </a:lnTo>
                  <a:lnTo>
                    <a:pt x="338" y="19"/>
                  </a:lnTo>
                  <a:lnTo>
                    <a:pt x="336" y="17"/>
                  </a:lnTo>
                  <a:lnTo>
                    <a:pt x="331" y="17"/>
                  </a:lnTo>
                  <a:lnTo>
                    <a:pt x="329" y="17"/>
                  </a:lnTo>
                  <a:lnTo>
                    <a:pt x="326" y="14"/>
                  </a:lnTo>
                  <a:lnTo>
                    <a:pt x="326" y="12"/>
                  </a:lnTo>
                  <a:lnTo>
                    <a:pt x="324" y="12"/>
                  </a:lnTo>
                  <a:lnTo>
                    <a:pt x="324" y="12"/>
                  </a:lnTo>
                  <a:lnTo>
                    <a:pt x="324" y="12"/>
                  </a:lnTo>
                  <a:lnTo>
                    <a:pt x="326" y="12"/>
                  </a:lnTo>
                  <a:lnTo>
                    <a:pt x="326" y="10"/>
                  </a:lnTo>
                  <a:lnTo>
                    <a:pt x="326" y="10"/>
                  </a:lnTo>
                  <a:lnTo>
                    <a:pt x="329" y="10"/>
                  </a:lnTo>
                  <a:lnTo>
                    <a:pt x="329" y="14"/>
                  </a:lnTo>
                  <a:lnTo>
                    <a:pt x="331" y="12"/>
                  </a:lnTo>
                  <a:lnTo>
                    <a:pt x="331" y="10"/>
                  </a:lnTo>
                  <a:lnTo>
                    <a:pt x="331" y="10"/>
                  </a:lnTo>
                  <a:lnTo>
                    <a:pt x="333" y="12"/>
                  </a:lnTo>
                  <a:lnTo>
                    <a:pt x="333" y="12"/>
                  </a:lnTo>
                  <a:lnTo>
                    <a:pt x="336" y="12"/>
                  </a:lnTo>
                  <a:lnTo>
                    <a:pt x="336" y="14"/>
                  </a:lnTo>
                  <a:lnTo>
                    <a:pt x="338" y="17"/>
                  </a:lnTo>
                  <a:lnTo>
                    <a:pt x="341" y="14"/>
                  </a:lnTo>
                  <a:lnTo>
                    <a:pt x="341" y="14"/>
                  </a:lnTo>
                  <a:lnTo>
                    <a:pt x="343" y="14"/>
                  </a:lnTo>
                  <a:lnTo>
                    <a:pt x="343" y="17"/>
                  </a:lnTo>
                  <a:lnTo>
                    <a:pt x="345" y="19"/>
                  </a:lnTo>
                  <a:lnTo>
                    <a:pt x="350" y="21"/>
                  </a:lnTo>
                  <a:lnTo>
                    <a:pt x="352" y="19"/>
                  </a:lnTo>
                  <a:lnTo>
                    <a:pt x="352" y="21"/>
                  </a:lnTo>
                  <a:lnTo>
                    <a:pt x="355" y="21"/>
                  </a:lnTo>
                  <a:lnTo>
                    <a:pt x="357" y="19"/>
                  </a:lnTo>
                  <a:lnTo>
                    <a:pt x="357" y="19"/>
                  </a:lnTo>
                  <a:lnTo>
                    <a:pt x="357" y="21"/>
                  </a:lnTo>
                  <a:lnTo>
                    <a:pt x="359" y="21"/>
                  </a:lnTo>
                  <a:lnTo>
                    <a:pt x="362" y="24"/>
                  </a:lnTo>
                  <a:lnTo>
                    <a:pt x="367" y="26"/>
                  </a:lnTo>
                  <a:lnTo>
                    <a:pt x="369" y="24"/>
                  </a:lnTo>
                  <a:lnTo>
                    <a:pt x="371" y="26"/>
                  </a:lnTo>
                  <a:lnTo>
                    <a:pt x="374" y="24"/>
                  </a:lnTo>
                  <a:lnTo>
                    <a:pt x="374" y="24"/>
                  </a:lnTo>
                  <a:lnTo>
                    <a:pt x="376" y="26"/>
                  </a:lnTo>
                  <a:lnTo>
                    <a:pt x="381" y="26"/>
                  </a:lnTo>
                  <a:lnTo>
                    <a:pt x="381" y="28"/>
                  </a:lnTo>
                  <a:lnTo>
                    <a:pt x="383" y="28"/>
                  </a:lnTo>
                  <a:lnTo>
                    <a:pt x="385" y="26"/>
                  </a:lnTo>
                  <a:lnTo>
                    <a:pt x="388" y="26"/>
                  </a:lnTo>
                  <a:lnTo>
                    <a:pt x="388" y="24"/>
                  </a:lnTo>
                  <a:lnTo>
                    <a:pt x="393" y="24"/>
                  </a:lnTo>
                  <a:lnTo>
                    <a:pt x="395" y="24"/>
                  </a:lnTo>
                  <a:lnTo>
                    <a:pt x="393" y="26"/>
                  </a:lnTo>
                  <a:lnTo>
                    <a:pt x="395" y="28"/>
                  </a:lnTo>
                  <a:lnTo>
                    <a:pt x="395" y="28"/>
                  </a:lnTo>
                  <a:lnTo>
                    <a:pt x="397" y="26"/>
                  </a:lnTo>
                  <a:lnTo>
                    <a:pt x="397" y="28"/>
                  </a:lnTo>
                  <a:lnTo>
                    <a:pt x="397" y="33"/>
                  </a:lnTo>
                  <a:lnTo>
                    <a:pt x="397" y="33"/>
                  </a:lnTo>
                  <a:lnTo>
                    <a:pt x="400" y="33"/>
                  </a:lnTo>
                  <a:lnTo>
                    <a:pt x="402" y="28"/>
                  </a:lnTo>
                  <a:lnTo>
                    <a:pt x="402" y="28"/>
                  </a:lnTo>
                  <a:lnTo>
                    <a:pt x="402" y="26"/>
                  </a:lnTo>
                  <a:lnTo>
                    <a:pt x="404" y="24"/>
                  </a:lnTo>
                  <a:lnTo>
                    <a:pt x="407" y="24"/>
                  </a:lnTo>
                  <a:lnTo>
                    <a:pt x="407" y="26"/>
                  </a:lnTo>
                  <a:lnTo>
                    <a:pt x="407" y="31"/>
                  </a:lnTo>
                  <a:lnTo>
                    <a:pt x="409" y="28"/>
                  </a:lnTo>
                  <a:lnTo>
                    <a:pt x="411" y="28"/>
                  </a:lnTo>
                  <a:lnTo>
                    <a:pt x="414" y="31"/>
                  </a:lnTo>
                  <a:lnTo>
                    <a:pt x="411" y="31"/>
                  </a:lnTo>
                  <a:lnTo>
                    <a:pt x="411" y="33"/>
                  </a:lnTo>
                  <a:lnTo>
                    <a:pt x="409" y="38"/>
                  </a:lnTo>
                  <a:lnTo>
                    <a:pt x="407" y="38"/>
                  </a:lnTo>
                  <a:lnTo>
                    <a:pt x="407" y="38"/>
                  </a:lnTo>
                  <a:lnTo>
                    <a:pt x="407" y="40"/>
                  </a:lnTo>
                  <a:lnTo>
                    <a:pt x="407" y="43"/>
                  </a:lnTo>
                  <a:lnTo>
                    <a:pt x="407" y="45"/>
                  </a:lnTo>
                  <a:lnTo>
                    <a:pt x="404" y="47"/>
                  </a:lnTo>
                  <a:lnTo>
                    <a:pt x="402" y="45"/>
                  </a:lnTo>
                  <a:lnTo>
                    <a:pt x="402" y="45"/>
                  </a:lnTo>
                  <a:lnTo>
                    <a:pt x="400" y="45"/>
                  </a:lnTo>
                  <a:lnTo>
                    <a:pt x="400" y="50"/>
                  </a:lnTo>
                  <a:lnTo>
                    <a:pt x="400" y="50"/>
                  </a:lnTo>
                  <a:lnTo>
                    <a:pt x="400" y="50"/>
                  </a:lnTo>
                  <a:lnTo>
                    <a:pt x="397" y="47"/>
                  </a:lnTo>
                  <a:lnTo>
                    <a:pt x="397" y="47"/>
                  </a:lnTo>
                  <a:lnTo>
                    <a:pt x="395" y="50"/>
                  </a:lnTo>
                  <a:lnTo>
                    <a:pt x="395" y="52"/>
                  </a:lnTo>
                  <a:lnTo>
                    <a:pt x="395" y="54"/>
                  </a:lnTo>
                  <a:lnTo>
                    <a:pt x="397" y="54"/>
                  </a:lnTo>
                  <a:lnTo>
                    <a:pt x="397" y="59"/>
                  </a:lnTo>
                  <a:lnTo>
                    <a:pt x="397" y="62"/>
                  </a:lnTo>
                  <a:lnTo>
                    <a:pt x="393" y="66"/>
                  </a:lnTo>
                  <a:lnTo>
                    <a:pt x="393" y="71"/>
                  </a:lnTo>
                  <a:lnTo>
                    <a:pt x="393" y="71"/>
                  </a:lnTo>
                  <a:lnTo>
                    <a:pt x="390" y="73"/>
                  </a:lnTo>
                  <a:lnTo>
                    <a:pt x="390" y="78"/>
                  </a:lnTo>
                  <a:lnTo>
                    <a:pt x="393" y="78"/>
                  </a:lnTo>
                  <a:lnTo>
                    <a:pt x="393" y="80"/>
                  </a:lnTo>
                  <a:lnTo>
                    <a:pt x="395" y="80"/>
                  </a:lnTo>
                  <a:lnTo>
                    <a:pt x="400" y="83"/>
                  </a:lnTo>
                  <a:lnTo>
                    <a:pt x="404" y="85"/>
                  </a:lnTo>
                  <a:lnTo>
                    <a:pt x="404" y="88"/>
                  </a:lnTo>
                  <a:lnTo>
                    <a:pt x="404" y="90"/>
                  </a:lnTo>
                  <a:lnTo>
                    <a:pt x="404" y="95"/>
                  </a:lnTo>
                  <a:lnTo>
                    <a:pt x="409" y="92"/>
                  </a:lnTo>
                  <a:lnTo>
                    <a:pt x="416" y="95"/>
                  </a:lnTo>
                  <a:lnTo>
                    <a:pt x="419" y="95"/>
                  </a:lnTo>
                  <a:lnTo>
                    <a:pt x="421" y="97"/>
                  </a:lnTo>
                  <a:lnTo>
                    <a:pt x="423" y="99"/>
                  </a:lnTo>
                  <a:lnTo>
                    <a:pt x="428" y="99"/>
                  </a:lnTo>
                  <a:lnTo>
                    <a:pt x="430" y="102"/>
                  </a:lnTo>
                  <a:lnTo>
                    <a:pt x="433" y="104"/>
                  </a:lnTo>
                  <a:lnTo>
                    <a:pt x="435" y="106"/>
                  </a:lnTo>
                  <a:lnTo>
                    <a:pt x="437" y="106"/>
                  </a:lnTo>
                  <a:lnTo>
                    <a:pt x="440" y="109"/>
                  </a:lnTo>
                  <a:lnTo>
                    <a:pt x="449" y="111"/>
                  </a:lnTo>
                  <a:lnTo>
                    <a:pt x="452" y="114"/>
                  </a:lnTo>
                  <a:lnTo>
                    <a:pt x="454" y="116"/>
                  </a:lnTo>
                  <a:lnTo>
                    <a:pt x="454" y="118"/>
                  </a:lnTo>
                  <a:lnTo>
                    <a:pt x="463" y="125"/>
                  </a:lnTo>
                  <a:lnTo>
                    <a:pt x="468" y="128"/>
                  </a:lnTo>
                  <a:lnTo>
                    <a:pt x="473" y="125"/>
                  </a:lnTo>
                  <a:lnTo>
                    <a:pt x="475" y="125"/>
                  </a:lnTo>
                  <a:lnTo>
                    <a:pt x="482" y="123"/>
                  </a:lnTo>
                  <a:lnTo>
                    <a:pt x="482" y="121"/>
                  </a:lnTo>
                  <a:lnTo>
                    <a:pt x="485" y="114"/>
                  </a:lnTo>
                  <a:lnTo>
                    <a:pt x="489" y="106"/>
                  </a:lnTo>
                  <a:lnTo>
                    <a:pt x="492" y="92"/>
                  </a:lnTo>
                  <a:lnTo>
                    <a:pt x="494" y="88"/>
                  </a:lnTo>
                  <a:lnTo>
                    <a:pt x="494" y="83"/>
                  </a:lnTo>
                  <a:lnTo>
                    <a:pt x="496" y="78"/>
                  </a:lnTo>
                  <a:lnTo>
                    <a:pt x="494" y="73"/>
                  </a:lnTo>
                  <a:lnTo>
                    <a:pt x="494" y="69"/>
                  </a:lnTo>
                  <a:lnTo>
                    <a:pt x="494" y="64"/>
                  </a:lnTo>
                  <a:lnTo>
                    <a:pt x="494" y="52"/>
                  </a:lnTo>
                  <a:lnTo>
                    <a:pt x="496" y="47"/>
                  </a:lnTo>
                  <a:lnTo>
                    <a:pt x="496" y="40"/>
                  </a:lnTo>
                  <a:lnTo>
                    <a:pt x="496" y="38"/>
                  </a:lnTo>
                  <a:lnTo>
                    <a:pt x="499" y="36"/>
                  </a:lnTo>
                  <a:lnTo>
                    <a:pt x="494" y="36"/>
                  </a:lnTo>
                  <a:lnTo>
                    <a:pt x="496" y="31"/>
                  </a:lnTo>
                  <a:lnTo>
                    <a:pt x="496" y="26"/>
                  </a:lnTo>
                  <a:lnTo>
                    <a:pt x="501" y="24"/>
                  </a:lnTo>
                  <a:lnTo>
                    <a:pt x="501" y="21"/>
                  </a:lnTo>
                  <a:lnTo>
                    <a:pt x="504" y="14"/>
                  </a:lnTo>
                  <a:lnTo>
                    <a:pt x="506" y="10"/>
                  </a:lnTo>
                  <a:lnTo>
                    <a:pt x="506" y="5"/>
                  </a:lnTo>
                  <a:lnTo>
                    <a:pt x="506" y="5"/>
                  </a:lnTo>
                  <a:lnTo>
                    <a:pt x="508" y="5"/>
                  </a:lnTo>
                  <a:lnTo>
                    <a:pt x="511" y="5"/>
                  </a:lnTo>
                  <a:lnTo>
                    <a:pt x="513" y="2"/>
                  </a:lnTo>
                  <a:lnTo>
                    <a:pt x="513" y="0"/>
                  </a:lnTo>
                  <a:lnTo>
                    <a:pt x="515" y="0"/>
                  </a:lnTo>
                  <a:lnTo>
                    <a:pt x="515" y="2"/>
                  </a:lnTo>
                  <a:lnTo>
                    <a:pt x="515" y="5"/>
                  </a:lnTo>
                  <a:lnTo>
                    <a:pt x="515" y="5"/>
                  </a:lnTo>
                  <a:lnTo>
                    <a:pt x="515" y="7"/>
                  </a:lnTo>
                  <a:lnTo>
                    <a:pt x="515" y="10"/>
                  </a:lnTo>
                  <a:lnTo>
                    <a:pt x="515" y="19"/>
                  </a:lnTo>
                  <a:lnTo>
                    <a:pt x="518" y="21"/>
                  </a:lnTo>
                  <a:lnTo>
                    <a:pt x="520" y="21"/>
                  </a:lnTo>
                  <a:lnTo>
                    <a:pt x="522" y="24"/>
                  </a:lnTo>
                  <a:lnTo>
                    <a:pt x="520" y="28"/>
                  </a:lnTo>
                  <a:lnTo>
                    <a:pt x="522" y="31"/>
                  </a:lnTo>
                  <a:lnTo>
                    <a:pt x="525" y="33"/>
                  </a:lnTo>
                  <a:lnTo>
                    <a:pt x="525" y="36"/>
                  </a:lnTo>
                  <a:lnTo>
                    <a:pt x="527" y="40"/>
                  </a:lnTo>
                  <a:lnTo>
                    <a:pt x="527" y="40"/>
                  </a:lnTo>
                  <a:lnTo>
                    <a:pt x="530" y="45"/>
                  </a:lnTo>
                  <a:lnTo>
                    <a:pt x="530" y="50"/>
                  </a:lnTo>
                  <a:lnTo>
                    <a:pt x="530" y="54"/>
                  </a:lnTo>
                  <a:lnTo>
                    <a:pt x="530" y="57"/>
                  </a:lnTo>
                  <a:lnTo>
                    <a:pt x="532" y="62"/>
                  </a:lnTo>
                  <a:lnTo>
                    <a:pt x="532" y="64"/>
                  </a:lnTo>
                  <a:lnTo>
                    <a:pt x="534" y="66"/>
                  </a:lnTo>
                  <a:lnTo>
                    <a:pt x="539" y="69"/>
                  </a:lnTo>
                  <a:lnTo>
                    <a:pt x="541" y="64"/>
                  </a:lnTo>
                  <a:lnTo>
                    <a:pt x="544" y="64"/>
                  </a:lnTo>
                  <a:lnTo>
                    <a:pt x="548" y="64"/>
                  </a:lnTo>
                  <a:lnTo>
                    <a:pt x="548" y="69"/>
                  </a:lnTo>
                  <a:lnTo>
                    <a:pt x="553" y="71"/>
                  </a:lnTo>
                  <a:lnTo>
                    <a:pt x="556" y="73"/>
                  </a:lnTo>
                  <a:lnTo>
                    <a:pt x="558" y="76"/>
                  </a:lnTo>
                  <a:lnTo>
                    <a:pt x="560" y="78"/>
                  </a:lnTo>
                  <a:lnTo>
                    <a:pt x="560" y="80"/>
                  </a:lnTo>
                  <a:lnTo>
                    <a:pt x="560" y="83"/>
                  </a:lnTo>
                  <a:lnTo>
                    <a:pt x="560" y="88"/>
                  </a:lnTo>
                  <a:lnTo>
                    <a:pt x="560" y="92"/>
                  </a:lnTo>
                  <a:lnTo>
                    <a:pt x="560" y="95"/>
                  </a:lnTo>
                  <a:lnTo>
                    <a:pt x="563" y="97"/>
                  </a:lnTo>
                  <a:lnTo>
                    <a:pt x="563" y="102"/>
                  </a:lnTo>
                  <a:lnTo>
                    <a:pt x="565" y="106"/>
                  </a:lnTo>
                  <a:lnTo>
                    <a:pt x="567" y="111"/>
                  </a:lnTo>
                  <a:lnTo>
                    <a:pt x="570" y="111"/>
                  </a:lnTo>
                  <a:lnTo>
                    <a:pt x="572" y="116"/>
                  </a:lnTo>
                  <a:lnTo>
                    <a:pt x="574" y="123"/>
                  </a:lnTo>
                  <a:lnTo>
                    <a:pt x="574" y="125"/>
                  </a:lnTo>
                  <a:lnTo>
                    <a:pt x="574" y="130"/>
                  </a:lnTo>
                  <a:lnTo>
                    <a:pt x="574" y="132"/>
                  </a:lnTo>
                  <a:lnTo>
                    <a:pt x="574" y="137"/>
                  </a:lnTo>
                  <a:lnTo>
                    <a:pt x="574" y="139"/>
                  </a:lnTo>
                  <a:lnTo>
                    <a:pt x="577" y="142"/>
                  </a:lnTo>
                  <a:lnTo>
                    <a:pt x="579" y="142"/>
                  </a:lnTo>
                  <a:lnTo>
                    <a:pt x="577" y="144"/>
                  </a:lnTo>
                  <a:lnTo>
                    <a:pt x="579" y="142"/>
                  </a:lnTo>
                  <a:lnTo>
                    <a:pt x="579" y="142"/>
                  </a:lnTo>
                  <a:lnTo>
                    <a:pt x="579" y="144"/>
                  </a:lnTo>
                  <a:lnTo>
                    <a:pt x="579" y="144"/>
                  </a:lnTo>
                  <a:lnTo>
                    <a:pt x="579" y="147"/>
                  </a:lnTo>
                  <a:lnTo>
                    <a:pt x="579" y="151"/>
                  </a:lnTo>
                  <a:lnTo>
                    <a:pt x="584" y="151"/>
                  </a:lnTo>
                  <a:lnTo>
                    <a:pt x="586" y="154"/>
                  </a:lnTo>
                  <a:lnTo>
                    <a:pt x="589" y="156"/>
                  </a:lnTo>
                  <a:lnTo>
                    <a:pt x="596" y="156"/>
                  </a:lnTo>
                  <a:lnTo>
                    <a:pt x="596" y="156"/>
                  </a:lnTo>
                  <a:lnTo>
                    <a:pt x="598" y="156"/>
                  </a:lnTo>
                  <a:lnTo>
                    <a:pt x="598" y="161"/>
                  </a:lnTo>
                  <a:lnTo>
                    <a:pt x="600" y="163"/>
                  </a:lnTo>
                  <a:lnTo>
                    <a:pt x="603" y="165"/>
                  </a:lnTo>
                  <a:lnTo>
                    <a:pt x="605" y="163"/>
                  </a:lnTo>
                  <a:lnTo>
                    <a:pt x="607" y="165"/>
                  </a:lnTo>
                  <a:lnTo>
                    <a:pt x="610" y="165"/>
                  </a:lnTo>
                  <a:lnTo>
                    <a:pt x="612" y="168"/>
                  </a:lnTo>
                  <a:lnTo>
                    <a:pt x="615" y="170"/>
                  </a:lnTo>
                  <a:lnTo>
                    <a:pt x="615" y="168"/>
                  </a:lnTo>
                  <a:lnTo>
                    <a:pt x="617" y="170"/>
                  </a:lnTo>
                  <a:lnTo>
                    <a:pt x="622" y="173"/>
                  </a:lnTo>
                  <a:lnTo>
                    <a:pt x="622" y="175"/>
                  </a:lnTo>
                  <a:lnTo>
                    <a:pt x="624" y="177"/>
                  </a:lnTo>
                  <a:lnTo>
                    <a:pt x="622" y="177"/>
                  </a:lnTo>
                  <a:lnTo>
                    <a:pt x="619" y="182"/>
                  </a:lnTo>
                  <a:lnTo>
                    <a:pt x="622" y="182"/>
                  </a:lnTo>
                  <a:lnTo>
                    <a:pt x="626" y="182"/>
                  </a:lnTo>
                  <a:lnTo>
                    <a:pt x="626" y="184"/>
                  </a:lnTo>
                  <a:lnTo>
                    <a:pt x="629" y="187"/>
                  </a:lnTo>
                  <a:lnTo>
                    <a:pt x="629" y="191"/>
                  </a:lnTo>
                  <a:lnTo>
                    <a:pt x="631" y="191"/>
                  </a:lnTo>
                  <a:lnTo>
                    <a:pt x="631" y="194"/>
                  </a:lnTo>
                  <a:lnTo>
                    <a:pt x="633" y="196"/>
                  </a:lnTo>
                  <a:lnTo>
                    <a:pt x="633" y="199"/>
                  </a:lnTo>
                  <a:lnTo>
                    <a:pt x="633" y="206"/>
                  </a:lnTo>
                  <a:lnTo>
                    <a:pt x="633" y="208"/>
                  </a:lnTo>
                  <a:lnTo>
                    <a:pt x="636" y="210"/>
                  </a:lnTo>
                  <a:lnTo>
                    <a:pt x="636" y="210"/>
                  </a:lnTo>
                  <a:lnTo>
                    <a:pt x="638" y="215"/>
                  </a:lnTo>
                  <a:lnTo>
                    <a:pt x="638" y="215"/>
                  </a:lnTo>
                  <a:lnTo>
                    <a:pt x="638" y="213"/>
                  </a:lnTo>
                  <a:lnTo>
                    <a:pt x="641" y="213"/>
                  </a:lnTo>
                  <a:lnTo>
                    <a:pt x="641" y="208"/>
                  </a:lnTo>
                  <a:lnTo>
                    <a:pt x="643" y="208"/>
                  </a:lnTo>
                  <a:lnTo>
                    <a:pt x="643" y="210"/>
                  </a:lnTo>
                  <a:lnTo>
                    <a:pt x="645" y="213"/>
                  </a:lnTo>
                  <a:lnTo>
                    <a:pt x="650" y="213"/>
                  </a:lnTo>
                  <a:lnTo>
                    <a:pt x="652" y="215"/>
                  </a:lnTo>
                  <a:lnTo>
                    <a:pt x="652" y="210"/>
                  </a:lnTo>
                  <a:lnTo>
                    <a:pt x="655" y="213"/>
                  </a:lnTo>
                  <a:lnTo>
                    <a:pt x="655" y="215"/>
                  </a:lnTo>
                  <a:lnTo>
                    <a:pt x="655" y="215"/>
                  </a:lnTo>
                  <a:lnTo>
                    <a:pt x="657" y="220"/>
                  </a:lnTo>
                  <a:lnTo>
                    <a:pt x="657" y="229"/>
                  </a:lnTo>
                  <a:lnTo>
                    <a:pt x="657" y="234"/>
                  </a:lnTo>
                  <a:lnTo>
                    <a:pt x="659" y="236"/>
                  </a:lnTo>
                  <a:lnTo>
                    <a:pt x="662" y="239"/>
                  </a:lnTo>
                  <a:lnTo>
                    <a:pt x="667" y="243"/>
                  </a:lnTo>
                  <a:lnTo>
                    <a:pt x="671" y="243"/>
                  </a:lnTo>
                  <a:lnTo>
                    <a:pt x="674" y="243"/>
                  </a:lnTo>
                  <a:lnTo>
                    <a:pt x="676" y="246"/>
                  </a:lnTo>
                  <a:lnTo>
                    <a:pt x="676" y="251"/>
                  </a:lnTo>
                  <a:lnTo>
                    <a:pt x="678" y="253"/>
                  </a:lnTo>
                  <a:lnTo>
                    <a:pt x="681" y="255"/>
                  </a:lnTo>
                  <a:lnTo>
                    <a:pt x="683" y="255"/>
                  </a:lnTo>
                  <a:lnTo>
                    <a:pt x="683" y="258"/>
                  </a:lnTo>
                  <a:lnTo>
                    <a:pt x="688" y="262"/>
                  </a:lnTo>
                  <a:lnTo>
                    <a:pt x="688" y="265"/>
                  </a:lnTo>
                  <a:lnTo>
                    <a:pt x="690" y="267"/>
                  </a:lnTo>
                  <a:lnTo>
                    <a:pt x="693" y="269"/>
                  </a:lnTo>
                  <a:lnTo>
                    <a:pt x="693" y="274"/>
                  </a:lnTo>
                  <a:lnTo>
                    <a:pt x="695" y="279"/>
                  </a:lnTo>
                  <a:lnTo>
                    <a:pt x="695" y="279"/>
                  </a:lnTo>
                  <a:lnTo>
                    <a:pt x="695" y="276"/>
                  </a:lnTo>
                  <a:lnTo>
                    <a:pt x="697" y="281"/>
                  </a:lnTo>
                  <a:lnTo>
                    <a:pt x="695" y="286"/>
                  </a:lnTo>
                  <a:lnTo>
                    <a:pt x="697" y="291"/>
                  </a:lnTo>
                  <a:lnTo>
                    <a:pt x="697" y="300"/>
                  </a:lnTo>
                  <a:lnTo>
                    <a:pt x="697" y="302"/>
                  </a:lnTo>
                  <a:lnTo>
                    <a:pt x="697" y="300"/>
                  </a:lnTo>
                  <a:lnTo>
                    <a:pt x="697" y="302"/>
                  </a:lnTo>
                  <a:lnTo>
                    <a:pt x="697" y="305"/>
                  </a:lnTo>
                  <a:lnTo>
                    <a:pt x="697" y="307"/>
                  </a:lnTo>
                  <a:lnTo>
                    <a:pt x="697" y="307"/>
                  </a:lnTo>
                  <a:lnTo>
                    <a:pt x="700" y="312"/>
                  </a:lnTo>
                  <a:lnTo>
                    <a:pt x="702" y="317"/>
                  </a:lnTo>
                  <a:lnTo>
                    <a:pt x="704" y="326"/>
                  </a:lnTo>
                  <a:lnTo>
                    <a:pt x="704" y="336"/>
                  </a:lnTo>
                  <a:lnTo>
                    <a:pt x="704" y="340"/>
                  </a:lnTo>
                  <a:lnTo>
                    <a:pt x="702" y="343"/>
                  </a:lnTo>
                  <a:lnTo>
                    <a:pt x="702" y="347"/>
                  </a:lnTo>
                  <a:lnTo>
                    <a:pt x="700" y="354"/>
                  </a:lnTo>
                  <a:lnTo>
                    <a:pt x="700" y="364"/>
                  </a:lnTo>
                  <a:lnTo>
                    <a:pt x="697" y="364"/>
                  </a:lnTo>
                  <a:lnTo>
                    <a:pt x="695" y="371"/>
                  </a:lnTo>
                  <a:lnTo>
                    <a:pt x="695" y="376"/>
                  </a:lnTo>
                  <a:lnTo>
                    <a:pt x="695" y="383"/>
                  </a:lnTo>
                  <a:lnTo>
                    <a:pt x="695" y="385"/>
                  </a:lnTo>
                  <a:lnTo>
                    <a:pt x="695" y="388"/>
                  </a:lnTo>
                  <a:lnTo>
                    <a:pt x="690" y="399"/>
                  </a:lnTo>
                  <a:lnTo>
                    <a:pt x="688" y="402"/>
                  </a:lnTo>
                  <a:lnTo>
                    <a:pt x="688" y="404"/>
                  </a:lnTo>
                  <a:lnTo>
                    <a:pt x="685" y="406"/>
                  </a:lnTo>
                  <a:lnTo>
                    <a:pt x="685" y="406"/>
                  </a:lnTo>
                  <a:lnTo>
                    <a:pt x="685" y="409"/>
                  </a:lnTo>
                  <a:lnTo>
                    <a:pt x="685" y="411"/>
                  </a:lnTo>
                  <a:lnTo>
                    <a:pt x="681" y="413"/>
                  </a:lnTo>
                  <a:lnTo>
                    <a:pt x="678" y="416"/>
                  </a:lnTo>
                  <a:lnTo>
                    <a:pt x="678" y="416"/>
                  </a:lnTo>
                  <a:lnTo>
                    <a:pt x="681" y="416"/>
                  </a:lnTo>
                  <a:lnTo>
                    <a:pt x="676" y="418"/>
                  </a:lnTo>
                  <a:lnTo>
                    <a:pt x="674" y="418"/>
                  </a:lnTo>
                  <a:lnTo>
                    <a:pt x="674" y="421"/>
                  </a:lnTo>
                  <a:lnTo>
                    <a:pt x="671" y="425"/>
                  </a:lnTo>
                  <a:lnTo>
                    <a:pt x="669" y="430"/>
                  </a:lnTo>
                  <a:lnTo>
                    <a:pt x="667" y="432"/>
                  </a:lnTo>
                  <a:lnTo>
                    <a:pt x="667" y="432"/>
                  </a:lnTo>
                  <a:lnTo>
                    <a:pt x="664" y="432"/>
                  </a:lnTo>
                  <a:lnTo>
                    <a:pt x="664" y="435"/>
                  </a:lnTo>
                  <a:lnTo>
                    <a:pt x="667" y="435"/>
                  </a:lnTo>
                  <a:lnTo>
                    <a:pt x="667" y="439"/>
                  </a:lnTo>
                  <a:lnTo>
                    <a:pt x="664" y="442"/>
                  </a:lnTo>
                  <a:lnTo>
                    <a:pt x="664" y="444"/>
                  </a:lnTo>
                  <a:lnTo>
                    <a:pt x="664" y="447"/>
                  </a:lnTo>
                  <a:lnTo>
                    <a:pt x="659" y="449"/>
                  </a:lnTo>
                  <a:lnTo>
                    <a:pt x="657" y="463"/>
                  </a:lnTo>
                  <a:lnTo>
                    <a:pt x="657" y="468"/>
                  </a:lnTo>
                  <a:lnTo>
                    <a:pt x="652" y="465"/>
                  </a:lnTo>
                  <a:lnTo>
                    <a:pt x="652" y="473"/>
                  </a:lnTo>
                  <a:lnTo>
                    <a:pt x="650" y="473"/>
                  </a:lnTo>
                  <a:lnTo>
                    <a:pt x="648" y="477"/>
                  </a:lnTo>
                  <a:lnTo>
                    <a:pt x="648" y="477"/>
                  </a:lnTo>
                  <a:lnTo>
                    <a:pt x="648" y="480"/>
                  </a:lnTo>
                  <a:lnTo>
                    <a:pt x="645" y="484"/>
                  </a:lnTo>
                  <a:lnTo>
                    <a:pt x="645" y="489"/>
                  </a:lnTo>
                  <a:lnTo>
                    <a:pt x="645" y="491"/>
                  </a:lnTo>
                  <a:lnTo>
                    <a:pt x="645" y="494"/>
                  </a:lnTo>
                  <a:lnTo>
                    <a:pt x="645" y="499"/>
                  </a:lnTo>
                  <a:lnTo>
                    <a:pt x="643" y="503"/>
                  </a:lnTo>
                  <a:lnTo>
                    <a:pt x="643" y="506"/>
                  </a:lnTo>
                  <a:lnTo>
                    <a:pt x="643" y="508"/>
                  </a:lnTo>
                  <a:lnTo>
                    <a:pt x="643" y="510"/>
                  </a:lnTo>
                  <a:lnTo>
                    <a:pt x="643" y="513"/>
                  </a:lnTo>
                  <a:lnTo>
                    <a:pt x="643" y="517"/>
                  </a:lnTo>
                  <a:lnTo>
                    <a:pt x="643" y="517"/>
                  </a:lnTo>
                  <a:lnTo>
                    <a:pt x="641" y="517"/>
                  </a:lnTo>
                  <a:lnTo>
                    <a:pt x="638" y="517"/>
                  </a:lnTo>
                  <a:lnTo>
                    <a:pt x="638" y="522"/>
                  </a:lnTo>
                  <a:lnTo>
                    <a:pt x="631" y="522"/>
                  </a:lnTo>
                  <a:lnTo>
                    <a:pt x="615" y="524"/>
                  </a:lnTo>
                  <a:lnTo>
                    <a:pt x="610" y="524"/>
                  </a:lnTo>
                  <a:lnTo>
                    <a:pt x="603" y="529"/>
                  </a:lnTo>
                  <a:lnTo>
                    <a:pt x="600" y="532"/>
                  </a:lnTo>
                  <a:lnTo>
                    <a:pt x="596" y="534"/>
                  </a:lnTo>
                  <a:lnTo>
                    <a:pt x="593" y="536"/>
                  </a:lnTo>
                  <a:lnTo>
                    <a:pt x="593" y="539"/>
                  </a:lnTo>
                  <a:lnTo>
                    <a:pt x="589" y="541"/>
                  </a:lnTo>
                  <a:lnTo>
                    <a:pt x="586" y="543"/>
                  </a:lnTo>
                  <a:lnTo>
                    <a:pt x="586" y="541"/>
                  </a:lnTo>
                  <a:lnTo>
                    <a:pt x="582" y="543"/>
                  </a:lnTo>
                  <a:lnTo>
                    <a:pt x="579" y="543"/>
                  </a:lnTo>
                  <a:lnTo>
                    <a:pt x="577" y="543"/>
                  </a:lnTo>
                  <a:lnTo>
                    <a:pt x="577" y="546"/>
                  </a:lnTo>
                  <a:lnTo>
                    <a:pt x="579" y="548"/>
                  </a:lnTo>
                  <a:lnTo>
                    <a:pt x="579" y="546"/>
                  </a:lnTo>
                  <a:lnTo>
                    <a:pt x="582" y="543"/>
                  </a:lnTo>
                  <a:lnTo>
                    <a:pt x="584" y="543"/>
                  </a:lnTo>
                  <a:lnTo>
                    <a:pt x="582" y="548"/>
                  </a:lnTo>
                  <a:lnTo>
                    <a:pt x="582" y="550"/>
                  </a:lnTo>
                  <a:lnTo>
                    <a:pt x="582" y="553"/>
                  </a:lnTo>
                  <a:lnTo>
                    <a:pt x="577" y="546"/>
                  </a:lnTo>
                  <a:lnTo>
                    <a:pt x="574" y="546"/>
                  </a:lnTo>
                  <a:lnTo>
                    <a:pt x="572" y="546"/>
                  </a:lnTo>
                  <a:lnTo>
                    <a:pt x="570" y="543"/>
                  </a:lnTo>
                  <a:lnTo>
                    <a:pt x="567" y="543"/>
                  </a:lnTo>
                  <a:lnTo>
                    <a:pt x="565" y="541"/>
                  </a:lnTo>
                  <a:lnTo>
                    <a:pt x="565" y="539"/>
                  </a:lnTo>
                  <a:lnTo>
                    <a:pt x="565" y="534"/>
                  </a:lnTo>
                  <a:lnTo>
                    <a:pt x="563" y="532"/>
                  </a:lnTo>
                  <a:lnTo>
                    <a:pt x="560" y="536"/>
                  </a:lnTo>
                  <a:lnTo>
                    <a:pt x="556" y="536"/>
                  </a:lnTo>
                  <a:lnTo>
                    <a:pt x="553" y="536"/>
                  </a:lnTo>
                  <a:lnTo>
                    <a:pt x="551" y="534"/>
                  </a:lnTo>
                  <a:lnTo>
                    <a:pt x="556" y="534"/>
                  </a:lnTo>
                  <a:lnTo>
                    <a:pt x="556" y="529"/>
                  </a:lnTo>
                  <a:lnTo>
                    <a:pt x="556" y="527"/>
                  </a:lnTo>
                  <a:lnTo>
                    <a:pt x="553" y="524"/>
                  </a:lnTo>
                  <a:lnTo>
                    <a:pt x="548" y="529"/>
                  </a:lnTo>
                  <a:lnTo>
                    <a:pt x="546" y="529"/>
                  </a:lnTo>
                  <a:lnTo>
                    <a:pt x="548" y="532"/>
                  </a:lnTo>
                  <a:lnTo>
                    <a:pt x="548" y="532"/>
                  </a:lnTo>
                  <a:lnTo>
                    <a:pt x="546" y="532"/>
                  </a:lnTo>
                  <a:lnTo>
                    <a:pt x="544" y="534"/>
                  </a:lnTo>
                  <a:lnTo>
                    <a:pt x="539" y="536"/>
                  </a:lnTo>
                  <a:lnTo>
                    <a:pt x="537" y="541"/>
                  </a:lnTo>
                  <a:lnTo>
                    <a:pt x="532" y="543"/>
                  </a:lnTo>
                  <a:lnTo>
                    <a:pt x="527" y="546"/>
                  </a:lnTo>
                  <a:lnTo>
                    <a:pt x="525" y="543"/>
                  </a:lnTo>
                  <a:lnTo>
                    <a:pt x="520" y="541"/>
                  </a:lnTo>
                  <a:lnTo>
                    <a:pt x="513" y="536"/>
                  </a:lnTo>
                  <a:lnTo>
                    <a:pt x="511" y="536"/>
                  </a:lnTo>
                  <a:lnTo>
                    <a:pt x="506" y="536"/>
                  </a:lnTo>
                  <a:lnTo>
                    <a:pt x="499" y="534"/>
                  </a:lnTo>
                  <a:lnTo>
                    <a:pt x="496" y="534"/>
                  </a:lnTo>
                  <a:lnTo>
                    <a:pt x="494" y="536"/>
                  </a:lnTo>
                  <a:lnTo>
                    <a:pt x="492" y="532"/>
                  </a:lnTo>
                  <a:lnTo>
                    <a:pt x="487" y="529"/>
                  </a:lnTo>
                  <a:lnTo>
                    <a:pt x="480" y="527"/>
                  </a:lnTo>
                  <a:lnTo>
                    <a:pt x="475" y="524"/>
                  </a:lnTo>
                  <a:lnTo>
                    <a:pt x="473" y="522"/>
                  </a:lnTo>
                  <a:lnTo>
                    <a:pt x="470" y="517"/>
                  </a:lnTo>
                  <a:lnTo>
                    <a:pt x="468" y="515"/>
                  </a:lnTo>
                  <a:lnTo>
                    <a:pt x="463" y="506"/>
                  </a:lnTo>
                  <a:lnTo>
                    <a:pt x="463" y="503"/>
                  </a:lnTo>
                  <a:lnTo>
                    <a:pt x="463" y="501"/>
                  </a:lnTo>
                  <a:lnTo>
                    <a:pt x="466" y="496"/>
                  </a:lnTo>
                  <a:lnTo>
                    <a:pt x="461" y="487"/>
                  </a:lnTo>
                  <a:lnTo>
                    <a:pt x="454" y="477"/>
                  </a:lnTo>
                  <a:lnTo>
                    <a:pt x="456" y="473"/>
                  </a:lnTo>
                  <a:lnTo>
                    <a:pt x="456" y="473"/>
                  </a:lnTo>
                  <a:lnTo>
                    <a:pt x="452" y="473"/>
                  </a:lnTo>
                  <a:lnTo>
                    <a:pt x="447" y="475"/>
                  </a:lnTo>
                  <a:lnTo>
                    <a:pt x="442" y="477"/>
                  </a:lnTo>
                  <a:lnTo>
                    <a:pt x="437" y="477"/>
                  </a:lnTo>
                  <a:lnTo>
                    <a:pt x="435" y="475"/>
                  </a:lnTo>
                  <a:lnTo>
                    <a:pt x="437" y="473"/>
                  </a:lnTo>
                  <a:lnTo>
                    <a:pt x="440" y="468"/>
                  </a:lnTo>
                  <a:lnTo>
                    <a:pt x="442" y="463"/>
                  </a:lnTo>
                  <a:lnTo>
                    <a:pt x="442" y="458"/>
                  </a:lnTo>
                  <a:lnTo>
                    <a:pt x="440" y="451"/>
                  </a:lnTo>
                  <a:lnTo>
                    <a:pt x="437" y="449"/>
                  </a:lnTo>
                  <a:lnTo>
                    <a:pt x="435" y="447"/>
                  </a:lnTo>
                  <a:lnTo>
                    <a:pt x="430" y="454"/>
                  </a:lnTo>
                  <a:lnTo>
                    <a:pt x="430" y="458"/>
                  </a:lnTo>
                  <a:lnTo>
                    <a:pt x="430" y="461"/>
                  </a:lnTo>
                  <a:lnTo>
                    <a:pt x="428" y="465"/>
                  </a:lnTo>
                  <a:lnTo>
                    <a:pt x="428" y="465"/>
                  </a:lnTo>
                  <a:lnTo>
                    <a:pt x="426" y="465"/>
                  </a:lnTo>
                  <a:lnTo>
                    <a:pt x="423" y="468"/>
                  </a:lnTo>
                  <a:lnTo>
                    <a:pt x="419" y="468"/>
                  </a:lnTo>
                  <a:lnTo>
                    <a:pt x="416" y="470"/>
                  </a:lnTo>
                  <a:lnTo>
                    <a:pt x="414" y="468"/>
                  </a:lnTo>
                  <a:lnTo>
                    <a:pt x="414" y="461"/>
                  </a:lnTo>
                  <a:lnTo>
                    <a:pt x="419" y="461"/>
                  </a:lnTo>
                  <a:lnTo>
                    <a:pt x="423" y="458"/>
                  </a:lnTo>
                  <a:lnTo>
                    <a:pt x="423" y="456"/>
                  </a:lnTo>
                  <a:lnTo>
                    <a:pt x="423" y="451"/>
                  </a:lnTo>
                  <a:lnTo>
                    <a:pt x="423" y="451"/>
                  </a:lnTo>
                  <a:lnTo>
                    <a:pt x="423" y="449"/>
                  </a:lnTo>
                  <a:lnTo>
                    <a:pt x="423" y="447"/>
                  </a:lnTo>
                  <a:lnTo>
                    <a:pt x="423" y="444"/>
                  </a:lnTo>
                  <a:lnTo>
                    <a:pt x="426" y="442"/>
                  </a:lnTo>
                  <a:lnTo>
                    <a:pt x="428" y="435"/>
                  </a:lnTo>
                  <a:lnTo>
                    <a:pt x="430" y="435"/>
                  </a:lnTo>
                  <a:lnTo>
                    <a:pt x="430" y="432"/>
                  </a:lnTo>
                  <a:lnTo>
                    <a:pt x="430" y="423"/>
                  </a:lnTo>
                  <a:lnTo>
                    <a:pt x="433" y="423"/>
                  </a:lnTo>
                  <a:lnTo>
                    <a:pt x="433" y="421"/>
                  </a:lnTo>
                  <a:lnTo>
                    <a:pt x="433" y="421"/>
                  </a:lnTo>
                  <a:lnTo>
                    <a:pt x="433" y="416"/>
                  </a:lnTo>
                  <a:lnTo>
                    <a:pt x="430" y="416"/>
                  </a:lnTo>
                  <a:lnTo>
                    <a:pt x="430" y="411"/>
                  </a:lnTo>
                  <a:lnTo>
                    <a:pt x="428" y="411"/>
                  </a:lnTo>
                  <a:lnTo>
                    <a:pt x="428" y="413"/>
                  </a:lnTo>
                  <a:lnTo>
                    <a:pt x="428" y="421"/>
                  </a:lnTo>
                  <a:lnTo>
                    <a:pt x="426" y="421"/>
                  </a:lnTo>
                  <a:lnTo>
                    <a:pt x="423" y="423"/>
                  </a:lnTo>
                  <a:lnTo>
                    <a:pt x="423" y="428"/>
                  </a:lnTo>
                  <a:lnTo>
                    <a:pt x="421" y="430"/>
                  </a:lnTo>
                  <a:lnTo>
                    <a:pt x="421" y="432"/>
                  </a:lnTo>
                  <a:lnTo>
                    <a:pt x="419" y="435"/>
                  </a:lnTo>
                  <a:lnTo>
                    <a:pt x="416" y="435"/>
                  </a:lnTo>
                  <a:lnTo>
                    <a:pt x="414" y="437"/>
                  </a:lnTo>
                  <a:lnTo>
                    <a:pt x="414" y="437"/>
                  </a:lnTo>
                  <a:lnTo>
                    <a:pt x="409" y="439"/>
                  </a:lnTo>
                  <a:lnTo>
                    <a:pt x="407" y="442"/>
                  </a:lnTo>
                  <a:lnTo>
                    <a:pt x="404" y="442"/>
                  </a:lnTo>
                  <a:lnTo>
                    <a:pt x="404" y="447"/>
                  </a:lnTo>
                  <a:lnTo>
                    <a:pt x="400" y="451"/>
                  </a:lnTo>
                  <a:lnTo>
                    <a:pt x="397" y="454"/>
                  </a:lnTo>
                  <a:lnTo>
                    <a:pt x="395" y="458"/>
                  </a:lnTo>
                  <a:lnTo>
                    <a:pt x="397" y="458"/>
                  </a:lnTo>
                  <a:lnTo>
                    <a:pt x="397" y="463"/>
                  </a:lnTo>
                  <a:lnTo>
                    <a:pt x="395" y="461"/>
                  </a:lnTo>
                  <a:lnTo>
                    <a:pt x="393" y="463"/>
                  </a:lnTo>
                  <a:lnTo>
                    <a:pt x="390" y="458"/>
                  </a:lnTo>
                  <a:lnTo>
                    <a:pt x="388" y="456"/>
                  </a:lnTo>
                  <a:lnTo>
                    <a:pt x="385" y="454"/>
                  </a:lnTo>
                  <a:lnTo>
                    <a:pt x="383" y="454"/>
                  </a:lnTo>
                  <a:lnTo>
                    <a:pt x="383" y="451"/>
                  </a:lnTo>
                  <a:lnTo>
                    <a:pt x="388" y="454"/>
                  </a:lnTo>
                  <a:lnTo>
                    <a:pt x="388" y="451"/>
                  </a:lnTo>
                  <a:lnTo>
                    <a:pt x="388" y="447"/>
                  </a:lnTo>
                  <a:lnTo>
                    <a:pt x="385" y="444"/>
                  </a:lnTo>
                  <a:lnTo>
                    <a:pt x="385" y="439"/>
                  </a:lnTo>
                  <a:lnTo>
                    <a:pt x="383" y="437"/>
                  </a:lnTo>
                  <a:lnTo>
                    <a:pt x="381" y="435"/>
                  </a:lnTo>
                  <a:lnTo>
                    <a:pt x="378" y="430"/>
                  </a:lnTo>
                  <a:lnTo>
                    <a:pt x="376" y="428"/>
                  </a:lnTo>
                  <a:lnTo>
                    <a:pt x="376" y="425"/>
                  </a:lnTo>
                  <a:lnTo>
                    <a:pt x="374" y="425"/>
                  </a:lnTo>
                  <a:lnTo>
                    <a:pt x="371" y="423"/>
                  </a:lnTo>
                  <a:lnTo>
                    <a:pt x="367" y="423"/>
                  </a:lnTo>
                  <a:lnTo>
                    <a:pt x="364" y="418"/>
                  </a:lnTo>
                  <a:lnTo>
                    <a:pt x="364" y="416"/>
                  </a:lnTo>
                  <a:lnTo>
                    <a:pt x="367" y="416"/>
                  </a:lnTo>
                  <a:lnTo>
                    <a:pt x="367" y="411"/>
                  </a:lnTo>
                  <a:lnTo>
                    <a:pt x="359" y="409"/>
                  </a:lnTo>
                  <a:lnTo>
                    <a:pt x="355" y="404"/>
                  </a:lnTo>
                  <a:lnTo>
                    <a:pt x="352" y="402"/>
                  </a:lnTo>
                  <a:lnTo>
                    <a:pt x="352" y="404"/>
                  </a:lnTo>
                  <a:lnTo>
                    <a:pt x="350" y="404"/>
                  </a:lnTo>
                  <a:lnTo>
                    <a:pt x="345" y="402"/>
                  </a:lnTo>
                  <a:lnTo>
                    <a:pt x="341" y="399"/>
                  </a:lnTo>
                  <a:lnTo>
                    <a:pt x="338" y="399"/>
                  </a:lnTo>
                  <a:lnTo>
                    <a:pt x="336" y="402"/>
                  </a:lnTo>
                  <a:lnTo>
                    <a:pt x="333" y="402"/>
                  </a:lnTo>
                  <a:lnTo>
                    <a:pt x="331" y="399"/>
                  </a:lnTo>
                  <a:lnTo>
                    <a:pt x="324" y="392"/>
                  </a:lnTo>
                  <a:lnTo>
                    <a:pt x="319" y="390"/>
                  </a:lnTo>
                  <a:lnTo>
                    <a:pt x="317" y="390"/>
                  </a:lnTo>
                  <a:lnTo>
                    <a:pt x="310" y="390"/>
                  </a:lnTo>
                  <a:lnTo>
                    <a:pt x="298" y="392"/>
                  </a:lnTo>
                  <a:lnTo>
                    <a:pt x="286" y="392"/>
                  </a:lnTo>
                  <a:lnTo>
                    <a:pt x="279" y="392"/>
                  </a:lnTo>
                  <a:lnTo>
                    <a:pt x="267" y="397"/>
                  </a:lnTo>
                  <a:lnTo>
                    <a:pt x="260" y="402"/>
                  </a:lnTo>
                  <a:lnTo>
                    <a:pt x="253" y="402"/>
                  </a:lnTo>
                  <a:lnTo>
                    <a:pt x="246" y="404"/>
                  </a:lnTo>
                  <a:lnTo>
                    <a:pt x="241" y="406"/>
                  </a:lnTo>
                  <a:lnTo>
                    <a:pt x="230" y="406"/>
                  </a:lnTo>
                  <a:lnTo>
                    <a:pt x="225" y="404"/>
                  </a:lnTo>
                  <a:lnTo>
                    <a:pt x="220" y="406"/>
                  </a:lnTo>
                  <a:lnTo>
                    <a:pt x="218" y="409"/>
                  </a:lnTo>
                  <a:lnTo>
                    <a:pt x="208" y="413"/>
                  </a:lnTo>
                  <a:lnTo>
                    <a:pt x="204" y="413"/>
                  </a:lnTo>
                  <a:lnTo>
                    <a:pt x="201" y="416"/>
                  </a:lnTo>
                  <a:lnTo>
                    <a:pt x="199" y="418"/>
                  </a:lnTo>
                  <a:lnTo>
                    <a:pt x="194" y="418"/>
                  </a:lnTo>
                  <a:lnTo>
                    <a:pt x="192" y="421"/>
                  </a:lnTo>
                  <a:lnTo>
                    <a:pt x="189" y="425"/>
                  </a:lnTo>
                  <a:lnTo>
                    <a:pt x="187" y="430"/>
                  </a:lnTo>
                  <a:lnTo>
                    <a:pt x="187" y="430"/>
                  </a:lnTo>
                  <a:lnTo>
                    <a:pt x="185" y="435"/>
                  </a:lnTo>
                  <a:lnTo>
                    <a:pt x="182" y="437"/>
                  </a:lnTo>
                  <a:lnTo>
                    <a:pt x="178" y="439"/>
                  </a:lnTo>
                  <a:lnTo>
                    <a:pt x="175" y="439"/>
                  </a:lnTo>
                  <a:lnTo>
                    <a:pt x="170" y="437"/>
                  </a:lnTo>
                  <a:lnTo>
                    <a:pt x="163" y="437"/>
                  </a:lnTo>
                  <a:lnTo>
                    <a:pt x="156" y="439"/>
                  </a:lnTo>
                  <a:lnTo>
                    <a:pt x="156" y="437"/>
                  </a:lnTo>
                  <a:lnTo>
                    <a:pt x="154" y="437"/>
                  </a:lnTo>
                  <a:lnTo>
                    <a:pt x="152" y="437"/>
                  </a:lnTo>
                  <a:lnTo>
                    <a:pt x="147" y="437"/>
                  </a:lnTo>
                  <a:lnTo>
                    <a:pt x="142" y="437"/>
                  </a:lnTo>
                  <a:lnTo>
                    <a:pt x="137" y="437"/>
                  </a:lnTo>
                  <a:lnTo>
                    <a:pt x="133" y="439"/>
                  </a:lnTo>
                  <a:lnTo>
                    <a:pt x="119" y="439"/>
                  </a:lnTo>
                  <a:lnTo>
                    <a:pt x="116" y="439"/>
                  </a:lnTo>
                  <a:lnTo>
                    <a:pt x="114" y="444"/>
                  </a:lnTo>
                  <a:lnTo>
                    <a:pt x="111" y="447"/>
                  </a:lnTo>
                  <a:lnTo>
                    <a:pt x="111" y="447"/>
                  </a:lnTo>
                  <a:lnTo>
                    <a:pt x="111" y="447"/>
                  </a:lnTo>
                  <a:lnTo>
                    <a:pt x="109" y="449"/>
                  </a:lnTo>
                  <a:lnTo>
                    <a:pt x="104" y="451"/>
                  </a:lnTo>
                  <a:lnTo>
                    <a:pt x="100" y="451"/>
                  </a:lnTo>
                  <a:lnTo>
                    <a:pt x="95" y="454"/>
                  </a:lnTo>
                  <a:lnTo>
                    <a:pt x="93" y="458"/>
                  </a:lnTo>
                  <a:lnTo>
                    <a:pt x="90" y="458"/>
                  </a:lnTo>
                  <a:lnTo>
                    <a:pt x="88" y="461"/>
                  </a:lnTo>
                  <a:lnTo>
                    <a:pt x="85" y="463"/>
                  </a:lnTo>
                  <a:lnTo>
                    <a:pt x="83" y="461"/>
                  </a:lnTo>
                  <a:lnTo>
                    <a:pt x="83" y="463"/>
                  </a:lnTo>
                  <a:lnTo>
                    <a:pt x="81" y="463"/>
                  </a:lnTo>
                  <a:lnTo>
                    <a:pt x="78" y="465"/>
                  </a:lnTo>
                  <a:lnTo>
                    <a:pt x="76" y="461"/>
                  </a:lnTo>
                  <a:lnTo>
                    <a:pt x="64" y="463"/>
                  </a:lnTo>
                  <a:lnTo>
                    <a:pt x="59" y="461"/>
                  </a:lnTo>
                  <a:lnTo>
                    <a:pt x="57" y="458"/>
                  </a:lnTo>
                  <a:lnTo>
                    <a:pt x="55" y="458"/>
                  </a:lnTo>
                  <a:lnTo>
                    <a:pt x="55" y="458"/>
                  </a:lnTo>
                  <a:lnTo>
                    <a:pt x="52" y="458"/>
                  </a:lnTo>
                  <a:lnTo>
                    <a:pt x="48" y="454"/>
                  </a:lnTo>
                  <a:lnTo>
                    <a:pt x="45" y="451"/>
                  </a:lnTo>
                  <a:lnTo>
                    <a:pt x="41" y="447"/>
                  </a:lnTo>
                  <a:lnTo>
                    <a:pt x="38" y="447"/>
                  </a:lnTo>
                  <a:lnTo>
                    <a:pt x="33" y="447"/>
                  </a:lnTo>
                  <a:lnTo>
                    <a:pt x="33" y="437"/>
                  </a:lnTo>
                  <a:lnTo>
                    <a:pt x="33" y="432"/>
                  </a:lnTo>
                  <a:lnTo>
                    <a:pt x="33" y="432"/>
                  </a:lnTo>
                  <a:lnTo>
                    <a:pt x="36" y="432"/>
                  </a:lnTo>
                  <a:lnTo>
                    <a:pt x="41" y="432"/>
                  </a:lnTo>
                  <a:lnTo>
                    <a:pt x="43" y="428"/>
                  </a:lnTo>
                  <a:lnTo>
                    <a:pt x="45" y="423"/>
                  </a:lnTo>
                  <a:lnTo>
                    <a:pt x="45" y="421"/>
                  </a:lnTo>
                  <a:lnTo>
                    <a:pt x="43" y="416"/>
                  </a:lnTo>
                  <a:lnTo>
                    <a:pt x="43" y="411"/>
                  </a:lnTo>
                  <a:lnTo>
                    <a:pt x="43" y="413"/>
                  </a:lnTo>
                  <a:lnTo>
                    <a:pt x="45" y="409"/>
                  </a:lnTo>
                  <a:lnTo>
                    <a:pt x="45" y="404"/>
                  </a:lnTo>
                  <a:lnTo>
                    <a:pt x="45" y="397"/>
                  </a:lnTo>
                  <a:lnTo>
                    <a:pt x="45" y="392"/>
                  </a:lnTo>
                  <a:lnTo>
                    <a:pt x="38" y="380"/>
                  </a:lnTo>
                  <a:lnTo>
                    <a:pt x="38" y="378"/>
                  </a:lnTo>
                  <a:lnTo>
                    <a:pt x="36" y="376"/>
                  </a:lnTo>
                  <a:lnTo>
                    <a:pt x="33" y="371"/>
                  </a:lnTo>
                  <a:lnTo>
                    <a:pt x="31" y="366"/>
                  </a:lnTo>
                  <a:lnTo>
                    <a:pt x="31" y="359"/>
                  </a:lnTo>
                  <a:lnTo>
                    <a:pt x="31" y="347"/>
                  </a:lnTo>
                  <a:lnTo>
                    <a:pt x="29" y="345"/>
                  </a:lnTo>
                  <a:lnTo>
                    <a:pt x="24" y="336"/>
                  </a:lnTo>
                  <a:lnTo>
                    <a:pt x="24" y="331"/>
                  </a:lnTo>
                  <a:lnTo>
                    <a:pt x="22" y="326"/>
                  </a:lnTo>
                  <a:lnTo>
                    <a:pt x="17" y="319"/>
                  </a:lnTo>
                  <a:lnTo>
                    <a:pt x="17" y="314"/>
                  </a:lnTo>
                  <a:lnTo>
                    <a:pt x="15" y="307"/>
                  </a:lnTo>
                  <a:lnTo>
                    <a:pt x="12" y="300"/>
                  </a:lnTo>
                  <a:lnTo>
                    <a:pt x="10" y="300"/>
                  </a:lnTo>
                  <a:lnTo>
                    <a:pt x="5" y="295"/>
                  </a:lnTo>
                  <a:lnTo>
                    <a:pt x="3" y="293"/>
                  </a:lnTo>
                  <a:lnTo>
                    <a:pt x="3" y="291"/>
                  </a:lnTo>
                  <a:lnTo>
                    <a:pt x="0" y="288"/>
                  </a:lnTo>
                  <a:lnTo>
                    <a:pt x="0" y="286"/>
                  </a:lnTo>
                  <a:lnTo>
                    <a:pt x="0" y="284"/>
                  </a:lnTo>
                  <a:lnTo>
                    <a:pt x="0" y="286"/>
                  </a:lnTo>
                  <a:lnTo>
                    <a:pt x="3" y="286"/>
                  </a:lnTo>
                  <a:lnTo>
                    <a:pt x="3" y="286"/>
                  </a:lnTo>
                  <a:lnTo>
                    <a:pt x="5" y="288"/>
                  </a:lnTo>
                  <a:lnTo>
                    <a:pt x="5" y="291"/>
                  </a:lnTo>
                  <a:lnTo>
                    <a:pt x="5" y="291"/>
                  </a:lnTo>
                  <a:lnTo>
                    <a:pt x="7" y="293"/>
                  </a:lnTo>
                  <a:lnTo>
                    <a:pt x="10" y="293"/>
                  </a:lnTo>
                  <a:lnTo>
                    <a:pt x="10" y="291"/>
                  </a:lnTo>
                  <a:lnTo>
                    <a:pt x="10" y="288"/>
                  </a:lnTo>
                  <a:lnTo>
                    <a:pt x="7" y="286"/>
                  </a:lnTo>
                  <a:lnTo>
                    <a:pt x="5" y="276"/>
                  </a:lnTo>
                  <a:lnTo>
                    <a:pt x="3" y="272"/>
                  </a:lnTo>
                  <a:lnTo>
                    <a:pt x="5" y="274"/>
                  </a:lnTo>
                  <a:lnTo>
                    <a:pt x="7" y="276"/>
                  </a:lnTo>
                  <a:lnTo>
                    <a:pt x="7" y="286"/>
                  </a:lnTo>
                  <a:lnTo>
                    <a:pt x="10" y="281"/>
                  </a:lnTo>
                  <a:lnTo>
                    <a:pt x="12" y="284"/>
                  </a:lnTo>
                  <a:lnTo>
                    <a:pt x="12" y="288"/>
                  </a:lnTo>
                  <a:lnTo>
                    <a:pt x="15" y="288"/>
                  </a:lnTo>
                  <a:lnTo>
                    <a:pt x="17" y="286"/>
                  </a:lnTo>
                  <a:lnTo>
                    <a:pt x="17" y="281"/>
                  </a:lnTo>
                  <a:lnTo>
                    <a:pt x="17" y="276"/>
                  </a:lnTo>
                  <a:lnTo>
                    <a:pt x="15" y="274"/>
                  </a:lnTo>
                  <a:lnTo>
                    <a:pt x="12" y="269"/>
                  </a:lnTo>
                  <a:lnTo>
                    <a:pt x="12" y="272"/>
                  </a:lnTo>
                  <a:lnTo>
                    <a:pt x="12" y="269"/>
                  </a:lnTo>
                  <a:lnTo>
                    <a:pt x="10" y="265"/>
                  </a:lnTo>
                  <a:lnTo>
                    <a:pt x="7" y="260"/>
                  </a:lnTo>
                  <a:lnTo>
                    <a:pt x="3" y="251"/>
                  </a:lnTo>
                  <a:lnTo>
                    <a:pt x="3" y="241"/>
                  </a:lnTo>
                  <a:lnTo>
                    <a:pt x="5" y="239"/>
                  </a:lnTo>
                  <a:lnTo>
                    <a:pt x="7" y="234"/>
                  </a:lnTo>
                  <a:lnTo>
                    <a:pt x="10" y="232"/>
                  </a:lnTo>
                  <a:lnTo>
                    <a:pt x="10" y="229"/>
                  </a:lnTo>
                  <a:lnTo>
                    <a:pt x="10" y="222"/>
                  </a:lnTo>
                  <a:lnTo>
                    <a:pt x="7" y="217"/>
                  </a:lnTo>
                  <a:lnTo>
                    <a:pt x="7" y="210"/>
                  </a:lnTo>
                  <a:lnTo>
                    <a:pt x="10" y="208"/>
                  </a:lnTo>
                  <a:lnTo>
                    <a:pt x="12" y="203"/>
                  </a:lnTo>
                  <a:lnTo>
                    <a:pt x="12" y="20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2" name="Freeform 449">
              <a:extLst>
                <a:ext uri="{FF2B5EF4-FFF2-40B4-BE49-F238E27FC236}">
                  <a16:creationId xmlns:a16="http://schemas.microsoft.com/office/drawing/2014/main" id="{EE46F844-ACCC-4D80-82B5-ABE2E3E28B33}"/>
                </a:ext>
              </a:extLst>
            </p:cNvPr>
            <p:cNvSpPr>
              <a:spLocks/>
            </p:cNvSpPr>
            <p:nvPr/>
          </p:nvSpPr>
          <p:spPr bwMode="auto">
            <a:xfrm>
              <a:off x="7735743" y="3861781"/>
              <a:ext cx="22434" cy="6410"/>
            </a:xfrm>
            <a:custGeom>
              <a:avLst/>
              <a:gdLst>
                <a:gd name="T0" fmla="*/ 0 w 7"/>
                <a:gd name="T1" fmla="*/ 2 h 2"/>
                <a:gd name="T2" fmla="*/ 0 w 7"/>
                <a:gd name="T3" fmla="*/ 0 h 2"/>
                <a:gd name="T4" fmla="*/ 0 w 7"/>
                <a:gd name="T5" fmla="*/ 0 h 2"/>
                <a:gd name="T6" fmla="*/ 0 w 7"/>
                <a:gd name="T7" fmla="*/ 0 h 2"/>
                <a:gd name="T8" fmla="*/ 3 w 7"/>
                <a:gd name="T9" fmla="*/ 0 h 2"/>
                <a:gd name="T10" fmla="*/ 5 w 7"/>
                <a:gd name="T11" fmla="*/ 0 h 2"/>
                <a:gd name="T12" fmla="*/ 7 w 7"/>
                <a:gd name="T13" fmla="*/ 2 h 2"/>
                <a:gd name="T14" fmla="*/ 7 w 7"/>
                <a:gd name="T15" fmla="*/ 2 h 2"/>
                <a:gd name="T16" fmla="*/ 5 w 7"/>
                <a:gd name="T17" fmla="*/ 2 h 2"/>
                <a:gd name="T18" fmla="*/ 3 w 7"/>
                <a:gd name="T19" fmla="*/ 2 h 2"/>
                <a:gd name="T20" fmla="*/ 0 w 7"/>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0" y="2"/>
                  </a:moveTo>
                  <a:lnTo>
                    <a:pt x="0" y="0"/>
                  </a:lnTo>
                  <a:lnTo>
                    <a:pt x="0" y="0"/>
                  </a:lnTo>
                  <a:lnTo>
                    <a:pt x="0" y="0"/>
                  </a:lnTo>
                  <a:lnTo>
                    <a:pt x="3" y="0"/>
                  </a:lnTo>
                  <a:lnTo>
                    <a:pt x="5" y="0"/>
                  </a:lnTo>
                  <a:lnTo>
                    <a:pt x="7" y="2"/>
                  </a:lnTo>
                  <a:lnTo>
                    <a:pt x="7" y="2"/>
                  </a:lnTo>
                  <a:lnTo>
                    <a:pt x="5" y="2"/>
                  </a:lnTo>
                  <a:lnTo>
                    <a:pt x="3"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3" name="Freeform 450">
              <a:extLst>
                <a:ext uri="{FF2B5EF4-FFF2-40B4-BE49-F238E27FC236}">
                  <a16:creationId xmlns:a16="http://schemas.microsoft.com/office/drawing/2014/main" id="{403FC054-E12D-4F69-9981-C83DD6862BD3}"/>
                </a:ext>
              </a:extLst>
            </p:cNvPr>
            <p:cNvSpPr>
              <a:spLocks/>
            </p:cNvSpPr>
            <p:nvPr/>
          </p:nvSpPr>
          <p:spPr bwMode="auto">
            <a:xfrm>
              <a:off x="7735743" y="3861781"/>
              <a:ext cx="22434" cy="6410"/>
            </a:xfrm>
            <a:custGeom>
              <a:avLst/>
              <a:gdLst>
                <a:gd name="T0" fmla="*/ 0 w 7"/>
                <a:gd name="T1" fmla="*/ 2 h 2"/>
                <a:gd name="T2" fmla="*/ 0 w 7"/>
                <a:gd name="T3" fmla="*/ 0 h 2"/>
                <a:gd name="T4" fmla="*/ 0 w 7"/>
                <a:gd name="T5" fmla="*/ 0 h 2"/>
                <a:gd name="T6" fmla="*/ 0 w 7"/>
                <a:gd name="T7" fmla="*/ 0 h 2"/>
                <a:gd name="T8" fmla="*/ 3 w 7"/>
                <a:gd name="T9" fmla="*/ 0 h 2"/>
                <a:gd name="T10" fmla="*/ 5 w 7"/>
                <a:gd name="T11" fmla="*/ 0 h 2"/>
                <a:gd name="T12" fmla="*/ 7 w 7"/>
                <a:gd name="T13" fmla="*/ 2 h 2"/>
                <a:gd name="T14" fmla="*/ 7 w 7"/>
                <a:gd name="T15" fmla="*/ 2 h 2"/>
                <a:gd name="T16" fmla="*/ 5 w 7"/>
                <a:gd name="T17" fmla="*/ 2 h 2"/>
                <a:gd name="T18" fmla="*/ 3 w 7"/>
                <a:gd name="T19" fmla="*/ 2 h 2"/>
                <a:gd name="T20" fmla="*/ 0 w 7"/>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0" y="2"/>
                  </a:moveTo>
                  <a:lnTo>
                    <a:pt x="0" y="0"/>
                  </a:lnTo>
                  <a:lnTo>
                    <a:pt x="0" y="0"/>
                  </a:lnTo>
                  <a:lnTo>
                    <a:pt x="0" y="0"/>
                  </a:lnTo>
                  <a:lnTo>
                    <a:pt x="3" y="0"/>
                  </a:lnTo>
                  <a:lnTo>
                    <a:pt x="5" y="0"/>
                  </a:lnTo>
                  <a:lnTo>
                    <a:pt x="7" y="2"/>
                  </a:lnTo>
                  <a:lnTo>
                    <a:pt x="7" y="2"/>
                  </a:lnTo>
                  <a:lnTo>
                    <a:pt x="5" y="2"/>
                  </a:lnTo>
                  <a:lnTo>
                    <a:pt x="3"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4" name="Freeform 451">
              <a:extLst>
                <a:ext uri="{FF2B5EF4-FFF2-40B4-BE49-F238E27FC236}">
                  <a16:creationId xmlns:a16="http://schemas.microsoft.com/office/drawing/2014/main" id="{2D038D19-3D45-49E5-B580-0136B98BB55A}"/>
                </a:ext>
              </a:extLst>
            </p:cNvPr>
            <p:cNvSpPr>
              <a:spLocks/>
            </p:cNvSpPr>
            <p:nvPr/>
          </p:nvSpPr>
          <p:spPr bwMode="auto">
            <a:xfrm>
              <a:off x="8069032" y="6473613"/>
              <a:ext cx="16025" cy="38457"/>
            </a:xfrm>
            <a:custGeom>
              <a:avLst/>
              <a:gdLst>
                <a:gd name="T0" fmla="*/ 5 w 5"/>
                <a:gd name="T1" fmla="*/ 0 h 12"/>
                <a:gd name="T2" fmla="*/ 5 w 5"/>
                <a:gd name="T3" fmla="*/ 2 h 12"/>
                <a:gd name="T4" fmla="*/ 5 w 5"/>
                <a:gd name="T5" fmla="*/ 7 h 12"/>
                <a:gd name="T6" fmla="*/ 5 w 5"/>
                <a:gd name="T7" fmla="*/ 9 h 12"/>
                <a:gd name="T8" fmla="*/ 5 w 5"/>
                <a:gd name="T9" fmla="*/ 7 h 12"/>
                <a:gd name="T10" fmla="*/ 5 w 5"/>
                <a:gd name="T11" fmla="*/ 9 h 12"/>
                <a:gd name="T12" fmla="*/ 3 w 5"/>
                <a:gd name="T13" fmla="*/ 9 h 12"/>
                <a:gd name="T14" fmla="*/ 5 w 5"/>
                <a:gd name="T15" fmla="*/ 9 h 12"/>
                <a:gd name="T16" fmla="*/ 5 w 5"/>
                <a:gd name="T17" fmla="*/ 12 h 12"/>
                <a:gd name="T18" fmla="*/ 3 w 5"/>
                <a:gd name="T19" fmla="*/ 12 h 12"/>
                <a:gd name="T20" fmla="*/ 0 w 5"/>
                <a:gd name="T21" fmla="*/ 9 h 12"/>
                <a:gd name="T22" fmla="*/ 0 w 5"/>
                <a:gd name="T23" fmla="*/ 7 h 12"/>
                <a:gd name="T24" fmla="*/ 0 w 5"/>
                <a:gd name="T25" fmla="*/ 7 h 12"/>
                <a:gd name="T26" fmla="*/ 0 w 5"/>
                <a:gd name="T27" fmla="*/ 5 h 12"/>
                <a:gd name="T28" fmla="*/ 3 w 5"/>
                <a:gd name="T29" fmla="*/ 2 h 12"/>
                <a:gd name="T30" fmla="*/ 5 w 5"/>
                <a:gd name="T31" fmla="*/ 0 h 12"/>
                <a:gd name="T32" fmla="*/ 5 w 5"/>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2">
                  <a:moveTo>
                    <a:pt x="5" y="0"/>
                  </a:moveTo>
                  <a:lnTo>
                    <a:pt x="5" y="2"/>
                  </a:lnTo>
                  <a:lnTo>
                    <a:pt x="5" y="7"/>
                  </a:lnTo>
                  <a:lnTo>
                    <a:pt x="5" y="9"/>
                  </a:lnTo>
                  <a:lnTo>
                    <a:pt x="5" y="7"/>
                  </a:lnTo>
                  <a:lnTo>
                    <a:pt x="5" y="9"/>
                  </a:lnTo>
                  <a:lnTo>
                    <a:pt x="3" y="9"/>
                  </a:lnTo>
                  <a:lnTo>
                    <a:pt x="5" y="9"/>
                  </a:lnTo>
                  <a:lnTo>
                    <a:pt x="5" y="12"/>
                  </a:lnTo>
                  <a:lnTo>
                    <a:pt x="3" y="12"/>
                  </a:lnTo>
                  <a:lnTo>
                    <a:pt x="0" y="9"/>
                  </a:lnTo>
                  <a:lnTo>
                    <a:pt x="0" y="7"/>
                  </a:lnTo>
                  <a:lnTo>
                    <a:pt x="0" y="7"/>
                  </a:lnTo>
                  <a:lnTo>
                    <a:pt x="0" y="5"/>
                  </a:lnTo>
                  <a:lnTo>
                    <a:pt x="3" y="2"/>
                  </a:lnTo>
                  <a:lnTo>
                    <a:pt x="5" y="0"/>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5" name="Freeform 452">
              <a:extLst>
                <a:ext uri="{FF2B5EF4-FFF2-40B4-BE49-F238E27FC236}">
                  <a16:creationId xmlns:a16="http://schemas.microsoft.com/office/drawing/2014/main" id="{B2A1C768-09FC-474C-9C4B-A4CD6520273E}"/>
                </a:ext>
              </a:extLst>
            </p:cNvPr>
            <p:cNvSpPr>
              <a:spLocks/>
            </p:cNvSpPr>
            <p:nvPr/>
          </p:nvSpPr>
          <p:spPr bwMode="auto">
            <a:xfrm>
              <a:off x="8069032" y="6473613"/>
              <a:ext cx="16025" cy="38457"/>
            </a:xfrm>
            <a:custGeom>
              <a:avLst/>
              <a:gdLst>
                <a:gd name="T0" fmla="*/ 5 w 5"/>
                <a:gd name="T1" fmla="*/ 0 h 12"/>
                <a:gd name="T2" fmla="*/ 5 w 5"/>
                <a:gd name="T3" fmla="*/ 2 h 12"/>
                <a:gd name="T4" fmla="*/ 5 w 5"/>
                <a:gd name="T5" fmla="*/ 7 h 12"/>
                <a:gd name="T6" fmla="*/ 5 w 5"/>
                <a:gd name="T7" fmla="*/ 9 h 12"/>
                <a:gd name="T8" fmla="*/ 5 w 5"/>
                <a:gd name="T9" fmla="*/ 7 h 12"/>
                <a:gd name="T10" fmla="*/ 5 w 5"/>
                <a:gd name="T11" fmla="*/ 9 h 12"/>
                <a:gd name="T12" fmla="*/ 3 w 5"/>
                <a:gd name="T13" fmla="*/ 9 h 12"/>
                <a:gd name="T14" fmla="*/ 5 w 5"/>
                <a:gd name="T15" fmla="*/ 9 h 12"/>
                <a:gd name="T16" fmla="*/ 5 w 5"/>
                <a:gd name="T17" fmla="*/ 12 h 12"/>
                <a:gd name="T18" fmla="*/ 3 w 5"/>
                <a:gd name="T19" fmla="*/ 12 h 12"/>
                <a:gd name="T20" fmla="*/ 0 w 5"/>
                <a:gd name="T21" fmla="*/ 9 h 12"/>
                <a:gd name="T22" fmla="*/ 0 w 5"/>
                <a:gd name="T23" fmla="*/ 7 h 12"/>
                <a:gd name="T24" fmla="*/ 0 w 5"/>
                <a:gd name="T25" fmla="*/ 7 h 12"/>
                <a:gd name="T26" fmla="*/ 0 w 5"/>
                <a:gd name="T27" fmla="*/ 5 h 12"/>
                <a:gd name="T28" fmla="*/ 3 w 5"/>
                <a:gd name="T29" fmla="*/ 2 h 12"/>
                <a:gd name="T30" fmla="*/ 5 w 5"/>
                <a:gd name="T31" fmla="*/ 0 h 12"/>
                <a:gd name="T32" fmla="*/ 5 w 5"/>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2">
                  <a:moveTo>
                    <a:pt x="5" y="0"/>
                  </a:moveTo>
                  <a:lnTo>
                    <a:pt x="5" y="2"/>
                  </a:lnTo>
                  <a:lnTo>
                    <a:pt x="5" y="7"/>
                  </a:lnTo>
                  <a:lnTo>
                    <a:pt x="5" y="9"/>
                  </a:lnTo>
                  <a:lnTo>
                    <a:pt x="5" y="7"/>
                  </a:lnTo>
                  <a:lnTo>
                    <a:pt x="5" y="9"/>
                  </a:lnTo>
                  <a:lnTo>
                    <a:pt x="3" y="9"/>
                  </a:lnTo>
                  <a:lnTo>
                    <a:pt x="5" y="9"/>
                  </a:lnTo>
                  <a:lnTo>
                    <a:pt x="5" y="12"/>
                  </a:lnTo>
                  <a:lnTo>
                    <a:pt x="3" y="12"/>
                  </a:lnTo>
                  <a:lnTo>
                    <a:pt x="0" y="9"/>
                  </a:lnTo>
                  <a:lnTo>
                    <a:pt x="0" y="7"/>
                  </a:lnTo>
                  <a:lnTo>
                    <a:pt x="0" y="7"/>
                  </a:lnTo>
                  <a:lnTo>
                    <a:pt x="0" y="5"/>
                  </a:lnTo>
                  <a:lnTo>
                    <a:pt x="3" y="2"/>
                  </a:lnTo>
                  <a:lnTo>
                    <a:pt x="5"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6" name="Freeform 453">
              <a:extLst>
                <a:ext uri="{FF2B5EF4-FFF2-40B4-BE49-F238E27FC236}">
                  <a16:creationId xmlns:a16="http://schemas.microsoft.com/office/drawing/2014/main" id="{D1053FB2-1170-4563-9230-FC08F4D7681B}"/>
                </a:ext>
              </a:extLst>
            </p:cNvPr>
            <p:cNvSpPr>
              <a:spLocks/>
            </p:cNvSpPr>
            <p:nvPr/>
          </p:nvSpPr>
          <p:spPr bwMode="auto">
            <a:xfrm>
              <a:off x="8161969" y="6146734"/>
              <a:ext cx="28843" cy="54482"/>
            </a:xfrm>
            <a:custGeom>
              <a:avLst/>
              <a:gdLst>
                <a:gd name="T0" fmla="*/ 7 w 9"/>
                <a:gd name="T1" fmla="*/ 0 h 17"/>
                <a:gd name="T2" fmla="*/ 7 w 9"/>
                <a:gd name="T3" fmla="*/ 0 h 17"/>
                <a:gd name="T4" fmla="*/ 7 w 9"/>
                <a:gd name="T5" fmla="*/ 3 h 17"/>
                <a:gd name="T6" fmla="*/ 9 w 9"/>
                <a:gd name="T7" fmla="*/ 5 h 17"/>
                <a:gd name="T8" fmla="*/ 9 w 9"/>
                <a:gd name="T9" fmla="*/ 5 h 17"/>
                <a:gd name="T10" fmla="*/ 7 w 9"/>
                <a:gd name="T11" fmla="*/ 7 h 17"/>
                <a:gd name="T12" fmla="*/ 9 w 9"/>
                <a:gd name="T13" fmla="*/ 7 h 17"/>
                <a:gd name="T14" fmla="*/ 9 w 9"/>
                <a:gd name="T15" fmla="*/ 10 h 17"/>
                <a:gd name="T16" fmla="*/ 9 w 9"/>
                <a:gd name="T17" fmla="*/ 10 h 17"/>
                <a:gd name="T18" fmla="*/ 7 w 9"/>
                <a:gd name="T19" fmla="*/ 12 h 17"/>
                <a:gd name="T20" fmla="*/ 4 w 9"/>
                <a:gd name="T21" fmla="*/ 12 h 17"/>
                <a:gd name="T22" fmla="*/ 4 w 9"/>
                <a:gd name="T23" fmla="*/ 12 h 17"/>
                <a:gd name="T24" fmla="*/ 2 w 9"/>
                <a:gd name="T25" fmla="*/ 12 h 17"/>
                <a:gd name="T26" fmla="*/ 2 w 9"/>
                <a:gd name="T27" fmla="*/ 17 h 17"/>
                <a:gd name="T28" fmla="*/ 0 w 9"/>
                <a:gd name="T29" fmla="*/ 15 h 17"/>
                <a:gd name="T30" fmla="*/ 0 w 9"/>
                <a:gd name="T31" fmla="*/ 15 h 17"/>
                <a:gd name="T32" fmla="*/ 0 w 9"/>
                <a:gd name="T33" fmla="*/ 10 h 17"/>
                <a:gd name="T34" fmla="*/ 2 w 9"/>
                <a:gd name="T35" fmla="*/ 7 h 17"/>
                <a:gd name="T36" fmla="*/ 2 w 9"/>
                <a:gd name="T37" fmla="*/ 5 h 17"/>
                <a:gd name="T38" fmla="*/ 2 w 9"/>
                <a:gd name="T39" fmla="*/ 0 h 17"/>
                <a:gd name="T40" fmla="*/ 4 w 9"/>
                <a:gd name="T41" fmla="*/ 0 h 17"/>
                <a:gd name="T42" fmla="*/ 7 w 9"/>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7">
                  <a:moveTo>
                    <a:pt x="7" y="0"/>
                  </a:moveTo>
                  <a:lnTo>
                    <a:pt x="7" y="0"/>
                  </a:lnTo>
                  <a:lnTo>
                    <a:pt x="7" y="3"/>
                  </a:lnTo>
                  <a:lnTo>
                    <a:pt x="9" y="5"/>
                  </a:lnTo>
                  <a:lnTo>
                    <a:pt x="9" y="5"/>
                  </a:lnTo>
                  <a:lnTo>
                    <a:pt x="7" y="7"/>
                  </a:lnTo>
                  <a:lnTo>
                    <a:pt x="9" y="7"/>
                  </a:lnTo>
                  <a:lnTo>
                    <a:pt x="9" y="10"/>
                  </a:lnTo>
                  <a:lnTo>
                    <a:pt x="9" y="10"/>
                  </a:lnTo>
                  <a:lnTo>
                    <a:pt x="7" y="12"/>
                  </a:lnTo>
                  <a:lnTo>
                    <a:pt x="4" y="12"/>
                  </a:lnTo>
                  <a:lnTo>
                    <a:pt x="4" y="12"/>
                  </a:lnTo>
                  <a:lnTo>
                    <a:pt x="2" y="12"/>
                  </a:lnTo>
                  <a:lnTo>
                    <a:pt x="2" y="17"/>
                  </a:lnTo>
                  <a:lnTo>
                    <a:pt x="0" y="15"/>
                  </a:lnTo>
                  <a:lnTo>
                    <a:pt x="0" y="15"/>
                  </a:lnTo>
                  <a:lnTo>
                    <a:pt x="0" y="10"/>
                  </a:lnTo>
                  <a:lnTo>
                    <a:pt x="2" y="7"/>
                  </a:lnTo>
                  <a:lnTo>
                    <a:pt x="2" y="5"/>
                  </a:lnTo>
                  <a:lnTo>
                    <a:pt x="2" y="0"/>
                  </a:lnTo>
                  <a:lnTo>
                    <a:pt x="4" y="0"/>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7" name="Freeform 454">
              <a:extLst>
                <a:ext uri="{FF2B5EF4-FFF2-40B4-BE49-F238E27FC236}">
                  <a16:creationId xmlns:a16="http://schemas.microsoft.com/office/drawing/2014/main" id="{981E85BB-EDDB-43D2-B223-64ABB47126F7}"/>
                </a:ext>
              </a:extLst>
            </p:cNvPr>
            <p:cNvSpPr>
              <a:spLocks/>
            </p:cNvSpPr>
            <p:nvPr/>
          </p:nvSpPr>
          <p:spPr bwMode="auto">
            <a:xfrm>
              <a:off x="8161969" y="6146734"/>
              <a:ext cx="28843" cy="54482"/>
            </a:xfrm>
            <a:custGeom>
              <a:avLst/>
              <a:gdLst>
                <a:gd name="T0" fmla="*/ 7 w 9"/>
                <a:gd name="T1" fmla="*/ 0 h 17"/>
                <a:gd name="T2" fmla="*/ 7 w 9"/>
                <a:gd name="T3" fmla="*/ 0 h 17"/>
                <a:gd name="T4" fmla="*/ 7 w 9"/>
                <a:gd name="T5" fmla="*/ 3 h 17"/>
                <a:gd name="T6" fmla="*/ 9 w 9"/>
                <a:gd name="T7" fmla="*/ 5 h 17"/>
                <a:gd name="T8" fmla="*/ 9 w 9"/>
                <a:gd name="T9" fmla="*/ 5 h 17"/>
                <a:gd name="T10" fmla="*/ 7 w 9"/>
                <a:gd name="T11" fmla="*/ 7 h 17"/>
                <a:gd name="T12" fmla="*/ 9 w 9"/>
                <a:gd name="T13" fmla="*/ 7 h 17"/>
                <a:gd name="T14" fmla="*/ 9 w 9"/>
                <a:gd name="T15" fmla="*/ 10 h 17"/>
                <a:gd name="T16" fmla="*/ 9 w 9"/>
                <a:gd name="T17" fmla="*/ 10 h 17"/>
                <a:gd name="T18" fmla="*/ 7 w 9"/>
                <a:gd name="T19" fmla="*/ 12 h 17"/>
                <a:gd name="T20" fmla="*/ 4 w 9"/>
                <a:gd name="T21" fmla="*/ 12 h 17"/>
                <a:gd name="T22" fmla="*/ 4 w 9"/>
                <a:gd name="T23" fmla="*/ 12 h 17"/>
                <a:gd name="T24" fmla="*/ 2 w 9"/>
                <a:gd name="T25" fmla="*/ 12 h 17"/>
                <a:gd name="T26" fmla="*/ 2 w 9"/>
                <a:gd name="T27" fmla="*/ 17 h 17"/>
                <a:gd name="T28" fmla="*/ 0 w 9"/>
                <a:gd name="T29" fmla="*/ 15 h 17"/>
                <a:gd name="T30" fmla="*/ 0 w 9"/>
                <a:gd name="T31" fmla="*/ 15 h 17"/>
                <a:gd name="T32" fmla="*/ 0 w 9"/>
                <a:gd name="T33" fmla="*/ 10 h 17"/>
                <a:gd name="T34" fmla="*/ 2 w 9"/>
                <a:gd name="T35" fmla="*/ 7 h 17"/>
                <a:gd name="T36" fmla="*/ 2 w 9"/>
                <a:gd name="T37" fmla="*/ 5 h 17"/>
                <a:gd name="T38" fmla="*/ 2 w 9"/>
                <a:gd name="T39" fmla="*/ 0 h 17"/>
                <a:gd name="T40" fmla="*/ 4 w 9"/>
                <a:gd name="T41" fmla="*/ 0 h 17"/>
                <a:gd name="T42" fmla="*/ 7 w 9"/>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7">
                  <a:moveTo>
                    <a:pt x="7" y="0"/>
                  </a:moveTo>
                  <a:lnTo>
                    <a:pt x="7" y="0"/>
                  </a:lnTo>
                  <a:lnTo>
                    <a:pt x="7" y="3"/>
                  </a:lnTo>
                  <a:lnTo>
                    <a:pt x="9" y="5"/>
                  </a:lnTo>
                  <a:lnTo>
                    <a:pt x="9" y="5"/>
                  </a:lnTo>
                  <a:lnTo>
                    <a:pt x="7" y="7"/>
                  </a:lnTo>
                  <a:lnTo>
                    <a:pt x="9" y="7"/>
                  </a:lnTo>
                  <a:lnTo>
                    <a:pt x="9" y="10"/>
                  </a:lnTo>
                  <a:lnTo>
                    <a:pt x="9" y="10"/>
                  </a:lnTo>
                  <a:lnTo>
                    <a:pt x="7" y="12"/>
                  </a:lnTo>
                  <a:lnTo>
                    <a:pt x="4" y="12"/>
                  </a:lnTo>
                  <a:lnTo>
                    <a:pt x="4" y="12"/>
                  </a:lnTo>
                  <a:lnTo>
                    <a:pt x="2" y="12"/>
                  </a:lnTo>
                  <a:lnTo>
                    <a:pt x="2" y="17"/>
                  </a:lnTo>
                  <a:lnTo>
                    <a:pt x="0" y="15"/>
                  </a:lnTo>
                  <a:lnTo>
                    <a:pt x="0" y="15"/>
                  </a:lnTo>
                  <a:lnTo>
                    <a:pt x="0" y="10"/>
                  </a:lnTo>
                  <a:lnTo>
                    <a:pt x="2" y="7"/>
                  </a:lnTo>
                  <a:lnTo>
                    <a:pt x="2" y="5"/>
                  </a:lnTo>
                  <a:lnTo>
                    <a:pt x="2" y="0"/>
                  </a:lnTo>
                  <a:lnTo>
                    <a:pt x="4" y="0"/>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8" name="Freeform 455">
              <a:extLst>
                <a:ext uri="{FF2B5EF4-FFF2-40B4-BE49-F238E27FC236}">
                  <a16:creationId xmlns:a16="http://schemas.microsoft.com/office/drawing/2014/main" id="{9D6D0C50-7FC3-4925-8487-229C684F2625}"/>
                </a:ext>
              </a:extLst>
            </p:cNvPr>
            <p:cNvSpPr>
              <a:spLocks/>
            </p:cNvSpPr>
            <p:nvPr/>
          </p:nvSpPr>
          <p:spPr bwMode="auto">
            <a:xfrm>
              <a:off x="8101079" y="5678848"/>
              <a:ext cx="429430" cy="467886"/>
            </a:xfrm>
            <a:custGeom>
              <a:avLst/>
              <a:gdLst>
                <a:gd name="T0" fmla="*/ 101 w 134"/>
                <a:gd name="T1" fmla="*/ 5 h 146"/>
                <a:gd name="T2" fmla="*/ 108 w 134"/>
                <a:gd name="T3" fmla="*/ 0 h 146"/>
                <a:gd name="T4" fmla="*/ 111 w 134"/>
                <a:gd name="T5" fmla="*/ 7 h 146"/>
                <a:gd name="T6" fmla="*/ 116 w 134"/>
                <a:gd name="T7" fmla="*/ 16 h 146"/>
                <a:gd name="T8" fmla="*/ 125 w 134"/>
                <a:gd name="T9" fmla="*/ 9 h 146"/>
                <a:gd name="T10" fmla="*/ 127 w 134"/>
                <a:gd name="T11" fmla="*/ 9 h 146"/>
                <a:gd name="T12" fmla="*/ 130 w 134"/>
                <a:gd name="T13" fmla="*/ 14 h 146"/>
                <a:gd name="T14" fmla="*/ 134 w 134"/>
                <a:gd name="T15" fmla="*/ 12 h 146"/>
                <a:gd name="T16" fmla="*/ 132 w 134"/>
                <a:gd name="T17" fmla="*/ 21 h 146"/>
                <a:gd name="T18" fmla="*/ 130 w 134"/>
                <a:gd name="T19" fmla="*/ 35 h 146"/>
                <a:gd name="T20" fmla="*/ 123 w 134"/>
                <a:gd name="T21" fmla="*/ 45 h 146"/>
                <a:gd name="T22" fmla="*/ 116 w 134"/>
                <a:gd name="T23" fmla="*/ 57 h 146"/>
                <a:gd name="T24" fmla="*/ 108 w 134"/>
                <a:gd name="T25" fmla="*/ 71 h 146"/>
                <a:gd name="T26" fmla="*/ 116 w 134"/>
                <a:gd name="T27" fmla="*/ 78 h 146"/>
                <a:gd name="T28" fmla="*/ 104 w 134"/>
                <a:gd name="T29" fmla="*/ 73 h 146"/>
                <a:gd name="T30" fmla="*/ 101 w 134"/>
                <a:gd name="T31" fmla="*/ 75 h 146"/>
                <a:gd name="T32" fmla="*/ 92 w 134"/>
                <a:gd name="T33" fmla="*/ 83 h 146"/>
                <a:gd name="T34" fmla="*/ 87 w 134"/>
                <a:gd name="T35" fmla="*/ 83 h 146"/>
                <a:gd name="T36" fmla="*/ 82 w 134"/>
                <a:gd name="T37" fmla="*/ 101 h 146"/>
                <a:gd name="T38" fmla="*/ 78 w 134"/>
                <a:gd name="T39" fmla="*/ 113 h 146"/>
                <a:gd name="T40" fmla="*/ 73 w 134"/>
                <a:gd name="T41" fmla="*/ 123 h 146"/>
                <a:gd name="T42" fmla="*/ 73 w 134"/>
                <a:gd name="T43" fmla="*/ 130 h 146"/>
                <a:gd name="T44" fmla="*/ 61 w 134"/>
                <a:gd name="T45" fmla="*/ 137 h 146"/>
                <a:gd name="T46" fmla="*/ 56 w 134"/>
                <a:gd name="T47" fmla="*/ 142 h 146"/>
                <a:gd name="T48" fmla="*/ 45 w 134"/>
                <a:gd name="T49" fmla="*/ 146 h 146"/>
                <a:gd name="T50" fmla="*/ 38 w 134"/>
                <a:gd name="T51" fmla="*/ 144 h 146"/>
                <a:gd name="T52" fmla="*/ 33 w 134"/>
                <a:gd name="T53" fmla="*/ 144 h 146"/>
                <a:gd name="T54" fmla="*/ 30 w 134"/>
                <a:gd name="T55" fmla="*/ 139 h 146"/>
                <a:gd name="T56" fmla="*/ 19 w 134"/>
                <a:gd name="T57" fmla="*/ 132 h 146"/>
                <a:gd name="T58" fmla="*/ 4 w 134"/>
                <a:gd name="T59" fmla="*/ 132 h 146"/>
                <a:gd name="T60" fmla="*/ 4 w 134"/>
                <a:gd name="T61" fmla="*/ 130 h 146"/>
                <a:gd name="T62" fmla="*/ 2 w 134"/>
                <a:gd name="T63" fmla="*/ 127 h 146"/>
                <a:gd name="T64" fmla="*/ 4 w 134"/>
                <a:gd name="T65" fmla="*/ 123 h 146"/>
                <a:gd name="T66" fmla="*/ 7 w 134"/>
                <a:gd name="T67" fmla="*/ 120 h 146"/>
                <a:gd name="T68" fmla="*/ 4 w 134"/>
                <a:gd name="T69" fmla="*/ 116 h 146"/>
                <a:gd name="T70" fmla="*/ 7 w 134"/>
                <a:gd name="T71" fmla="*/ 111 h 146"/>
                <a:gd name="T72" fmla="*/ 12 w 134"/>
                <a:gd name="T73" fmla="*/ 113 h 146"/>
                <a:gd name="T74" fmla="*/ 9 w 134"/>
                <a:gd name="T75" fmla="*/ 109 h 146"/>
                <a:gd name="T76" fmla="*/ 16 w 134"/>
                <a:gd name="T77" fmla="*/ 101 h 146"/>
                <a:gd name="T78" fmla="*/ 19 w 134"/>
                <a:gd name="T79" fmla="*/ 104 h 146"/>
                <a:gd name="T80" fmla="*/ 19 w 134"/>
                <a:gd name="T81" fmla="*/ 97 h 146"/>
                <a:gd name="T82" fmla="*/ 26 w 134"/>
                <a:gd name="T83" fmla="*/ 87 h 146"/>
                <a:gd name="T84" fmla="*/ 33 w 134"/>
                <a:gd name="T85" fmla="*/ 80 h 146"/>
                <a:gd name="T86" fmla="*/ 42 w 134"/>
                <a:gd name="T87" fmla="*/ 78 h 146"/>
                <a:gd name="T88" fmla="*/ 59 w 134"/>
                <a:gd name="T89" fmla="*/ 66 h 146"/>
                <a:gd name="T90" fmla="*/ 71 w 134"/>
                <a:gd name="T91" fmla="*/ 57 h 146"/>
                <a:gd name="T92" fmla="*/ 82 w 134"/>
                <a:gd name="T93" fmla="*/ 45 h 146"/>
                <a:gd name="T94" fmla="*/ 92 w 134"/>
                <a:gd name="T95" fmla="*/ 24 h 146"/>
                <a:gd name="T96" fmla="*/ 99 w 134"/>
                <a:gd name="T97"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 h="146">
                  <a:moveTo>
                    <a:pt x="99" y="9"/>
                  </a:moveTo>
                  <a:lnTo>
                    <a:pt x="99" y="9"/>
                  </a:lnTo>
                  <a:lnTo>
                    <a:pt x="99" y="5"/>
                  </a:lnTo>
                  <a:lnTo>
                    <a:pt x="101" y="5"/>
                  </a:lnTo>
                  <a:lnTo>
                    <a:pt x="104" y="0"/>
                  </a:lnTo>
                  <a:lnTo>
                    <a:pt x="106" y="0"/>
                  </a:lnTo>
                  <a:lnTo>
                    <a:pt x="106" y="0"/>
                  </a:lnTo>
                  <a:lnTo>
                    <a:pt x="108" y="0"/>
                  </a:lnTo>
                  <a:lnTo>
                    <a:pt x="108" y="0"/>
                  </a:lnTo>
                  <a:lnTo>
                    <a:pt x="108" y="5"/>
                  </a:lnTo>
                  <a:lnTo>
                    <a:pt x="108" y="5"/>
                  </a:lnTo>
                  <a:lnTo>
                    <a:pt x="111" y="7"/>
                  </a:lnTo>
                  <a:lnTo>
                    <a:pt x="113" y="7"/>
                  </a:lnTo>
                  <a:lnTo>
                    <a:pt x="113" y="7"/>
                  </a:lnTo>
                  <a:lnTo>
                    <a:pt x="113" y="14"/>
                  </a:lnTo>
                  <a:lnTo>
                    <a:pt x="116" y="16"/>
                  </a:lnTo>
                  <a:lnTo>
                    <a:pt x="118" y="16"/>
                  </a:lnTo>
                  <a:lnTo>
                    <a:pt x="123" y="12"/>
                  </a:lnTo>
                  <a:lnTo>
                    <a:pt x="123" y="12"/>
                  </a:lnTo>
                  <a:lnTo>
                    <a:pt x="125" y="9"/>
                  </a:lnTo>
                  <a:lnTo>
                    <a:pt x="127" y="9"/>
                  </a:lnTo>
                  <a:lnTo>
                    <a:pt x="130" y="7"/>
                  </a:lnTo>
                  <a:lnTo>
                    <a:pt x="130" y="9"/>
                  </a:lnTo>
                  <a:lnTo>
                    <a:pt x="127" y="9"/>
                  </a:lnTo>
                  <a:lnTo>
                    <a:pt x="127" y="12"/>
                  </a:lnTo>
                  <a:lnTo>
                    <a:pt x="130" y="14"/>
                  </a:lnTo>
                  <a:lnTo>
                    <a:pt x="127" y="16"/>
                  </a:lnTo>
                  <a:lnTo>
                    <a:pt x="130" y="14"/>
                  </a:lnTo>
                  <a:lnTo>
                    <a:pt x="130" y="12"/>
                  </a:lnTo>
                  <a:lnTo>
                    <a:pt x="132" y="9"/>
                  </a:lnTo>
                  <a:lnTo>
                    <a:pt x="132" y="9"/>
                  </a:lnTo>
                  <a:lnTo>
                    <a:pt x="134" y="12"/>
                  </a:lnTo>
                  <a:lnTo>
                    <a:pt x="132" y="16"/>
                  </a:lnTo>
                  <a:lnTo>
                    <a:pt x="132" y="16"/>
                  </a:lnTo>
                  <a:lnTo>
                    <a:pt x="134" y="16"/>
                  </a:lnTo>
                  <a:lnTo>
                    <a:pt x="132" y="21"/>
                  </a:lnTo>
                  <a:lnTo>
                    <a:pt x="134" y="26"/>
                  </a:lnTo>
                  <a:lnTo>
                    <a:pt x="134" y="28"/>
                  </a:lnTo>
                  <a:lnTo>
                    <a:pt x="132" y="33"/>
                  </a:lnTo>
                  <a:lnTo>
                    <a:pt x="130" y="35"/>
                  </a:lnTo>
                  <a:lnTo>
                    <a:pt x="130" y="38"/>
                  </a:lnTo>
                  <a:lnTo>
                    <a:pt x="127" y="38"/>
                  </a:lnTo>
                  <a:lnTo>
                    <a:pt x="127" y="40"/>
                  </a:lnTo>
                  <a:lnTo>
                    <a:pt x="123" y="45"/>
                  </a:lnTo>
                  <a:lnTo>
                    <a:pt x="120" y="52"/>
                  </a:lnTo>
                  <a:lnTo>
                    <a:pt x="118" y="54"/>
                  </a:lnTo>
                  <a:lnTo>
                    <a:pt x="116" y="54"/>
                  </a:lnTo>
                  <a:lnTo>
                    <a:pt x="116" y="57"/>
                  </a:lnTo>
                  <a:lnTo>
                    <a:pt x="111" y="59"/>
                  </a:lnTo>
                  <a:lnTo>
                    <a:pt x="111" y="61"/>
                  </a:lnTo>
                  <a:lnTo>
                    <a:pt x="111" y="68"/>
                  </a:lnTo>
                  <a:lnTo>
                    <a:pt x="108" y="71"/>
                  </a:lnTo>
                  <a:lnTo>
                    <a:pt x="113" y="73"/>
                  </a:lnTo>
                  <a:lnTo>
                    <a:pt x="113" y="73"/>
                  </a:lnTo>
                  <a:lnTo>
                    <a:pt x="116" y="75"/>
                  </a:lnTo>
                  <a:lnTo>
                    <a:pt x="116" y="78"/>
                  </a:lnTo>
                  <a:lnTo>
                    <a:pt x="113" y="75"/>
                  </a:lnTo>
                  <a:lnTo>
                    <a:pt x="113" y="78"/>
                  </a:lnTo>
                  <a:lnTo>
                    <a:pt x="106" y="75"/>
                  </a:lnTo>
                  <a:lnTo>
                    <a:pt x="104" y="73"/>
                  </a:lnTo>
                  <a:lnTo>
                    <a:pt x="104" y="75"/>
                  </a:lnTo>
                  <a:lnTo>
                    <a:pt x="104" y="75"/>
                  </a:lnTo>
                  <a:lnTo>
                    <a:pt x="101" y="78"/>
                  </a:lnTo>
                  <a:lnTo>
                    <a:pt x="101" y="75"/>
                  </a:lnTo>
                  <a:lnTo>
                    <a:pt x="99" y="75"/>
                  </a:lnTo>
                  <a:lnTo>
                    <a:pt x="99" y="78"/>
                  </a:lnTo>
                  <a:lnTo>
                    <a:pt x="94" y="80"/>
                  </a:lnTo>
                  <a:lnTo>
                    <a:pt x="92" y="83"/>
                  </a:lnTo>
                  <a:lnTo>
                    <a:pt x="90" y="83"/>
                  </a:lnTo>
                  <a:lnTo>
                    <a:pt x="90" y="80"/>
                  </a:lnTo>
                  <a:lnTo>
                    <a:pt x="87" y="80"/>
                  </a:lnTo>
                  <a:lnTo>
                    <a:pt x="87" y="83"/>
                  </a:lnTo>
                  <a:lnTo>
                    <a:pt x="87" y="87"/>
                  </a:lnTo>
                  <a:lnTo>
                    <a:pt x="85" y="92"/>
                  </a:lnTo>
                  <a:lnTo>
                    <a:pt x="85" y="94"/>
                  </a:lnTo>
                  <a:lnTo>
                    <a:pt x="82" y="101"/>
                  </a:lnTo>
                  <a:lnTo>
                    <a:pt x="82" y="101"/>
                  </a:lnTo>
                  <a:lnTo>
                    <a:pt x="82" y="106"/>
                  </a:lnTo>
                  <a:lnTo>
                    <a:pt x="80" y="109"/>
                  </a:lnTo>
                  <a:lnTo>
                    <a:pt x="78" y="113"/>
                  </a:lnTo>
                  <a:lnTo>
                    <a:pt x="78" y="116"/>
                  </a:lnTo>
                  <a:lnTo>
                    <a:pt x="75" y="120"/>
                  </a:lnTo>
                  <a:lnTo>
                    <a:pt x="75" y="123"/>
                  </a:lnTo>
                  <a:lnTo>
                    <a:pt x="73" y="123"/>
                  </a:lnTo>
                  <a:lnTo>
                    <a:pt x="73" y="125"/>
                  </a:lnTo>
                  <a:lnTo>
                    <a:pt x="73" y="127"/>
                  </a:lnTo>
                  <a:lnTo>
                    <a:pt x="75" y="127"/>
                  </a:lnTo>
                  <a:lnTo>
                    <a:pt x="73" y="130"/>
                  </a:lnTo>
                  <a:lnTo>
                    <a:pt x="71" y="130"/>
                  </a:lnTo>
                  <a:lnTo>
                    <a:pt x="68" y="130"/>
                  </a:lnTo>
                  <a:lnTo>
                    <a:pt x="66" y="135"/>
                  </a:lnTo>
                  <a:lnTo>
                    <a:pt x="61" y="137"/>
                  </a:lnTo>
                  <a:lnTo>
                    <a:pt x="59" y="137"/>
                  </a:lnTo>
                  <a:lnTo>
                    <a:pt x="59" y="139"/>
                  </a:lnTo>
                  <a:lnTo>
                    <a:pt x="56" y="139"/>
                  </a:lnTo>
                  <a:lnTo>
                    <a:pt x="56" y="142"/>
                  </a:lnTo>
                  <a:lnTo>
                    <a:pt x="54" y="144"/>
                  </a:lnTo>
                  <a:lnTo>
                    <a:pt x="49" y="144"/>
                  </a:lnTo>
                  <a:lnTo>
                    <a:pt x="47" y="144"/>
                  </a:lnTo>
                  <a:lnTo>
                    <a:pt x="45" y="146"/>
                  </a:lnTo>
                  <a:lnTo>
                    <a:pt x="42" y="144"/>
                  </a:lnTo>
                  <a:lnTo>
                    <a:pt x="42" y="142"/>
                  </a:lnTo>
                  <a:lnTo>
                    <a:pt x="40" y="142"/>
                  </a:lnTo>
                  <a:lnTo>
                    <a:pt x="38" y="144"/>
                  </a:lnTo>
                  <a:lnTo>
                    <a:pt x="35" y="144"/>
                  </a:lnTo>
                  <a:lnTo>
                    <a:pt x="35" y="144"/>
                  </a:lnTo>
                  <a:lnTo>
                    <a:pt x="35" y="144"/>
                  </a:lnTo>
                  <a:lnTo>
                    <a:pt x="33" y="144"/>
                  </a:lnTo>
                  <a:lnTo>
                    <a:pt x="33" y="142"/>
                  </a:lnTo>
                  <a:lnTo>
                    <a:pt x="33" y="139"/>
                  </a:lnTo>
                  <a:lnTo>
                    <a:pt x="30" y="139"/>
                  </a:lnTo>
                  <a:lnTo>
                    <a:pt x="30" y="139"/>
                  </a:lnTo>
                  <a:lnTo>
                    <a:pt x="23" y="139"/>
                  </a:lnTo>
                  <a:lnTo>
                    <a:pt x="21" y="135"/>
                  </a:lnTo>
                  <a:lnTo>
                    <a:pt x="21" y="135"/>
                  </a:lnTo>
                  <a:lnTo>
                    <a:pt x="19" y="132"/>
                  </a:lnTo>
                  <a:lnTo>
                    <a:pt x="16" y="135"/>
                  </a:lnTo>
                  <a:lnTo>
                    <a:pt x="12" y="137"/>
                  </a:lnTo>
                  <a:lnTo>
                    <a:pt x="7" y="135"/>
                  </a:lnTo>
                  <a:lnTo>
                    <a:pt x="4" y="132"/>
                  </a:lnTo>
                  <a:lnTo>
                    <a:pt x="4" y="130"/>
                  </a:lnTo>
                  <a:lnTo>
                    <a:pt x="7" y="130"/>
                  </a:lnTo>
                  <a:lnTo>
                    <a:pt x="7" y="127"/>
                  </a:lnTo>
                  <a:lnTo>
                    <a:pt x="4" y="130"/>
                  </a:lnTo>
                  <a:lnTo>
                    <a:pt x="2" y="130"/>
                  </a:lnTo>
                  <a:lnTo>
                    <a:pt x="4" y="127"/>
                  </a:lnTo>
                  <a:lnTo>
                    <a:pt x="4" y="127"/>
                  </a:lnTo>
                  <a:lnTo>
                    <a:pt x="2" y="127"/>
                  </a:lnTo>
                  <a:lnTo>
                    <a:pt x="2" y="127"/>
                  </a:lnTo>
                  <a:lnTo>
                    <a:pt x="0" y="127"/>
                  </a:lnTo>
                  <a:lnTo>
                    <a:pt x="2" y="125"/>
                  </a:lnTo>
                  <a:lnTo>
                    <a:pt x="4" y="123"/>
                  </a:lnTo>
                  <a:lnTo>
                    <a:pt x="7" y="123"/>
                  </a:lnTo>
                  <a:lnTo>
                    <a:pt x="7" y="123"/>
                  </a:lnTo>
                  <a:lnTo>
                    <a:pt x="7" y="120"/>
                  </a:lnTo>
                  <a:lnTo>
                    <a:pt x="7" y="120"/>
                  </a:lnTo>
                  <a:lnTo>
                    <a:pt x="9" y="118"/>
                  </a:lnTo>
                  <a:lnTo>
                    <a:pt x="7" y="118"/>
                  </a:lnTo>
                  <a:lnTo>
                    <a:pt x="4" y="118"/>
                  </a:lnTo>
                  <a:lnTo>
                    <a:pt x="4" y="116"/>
                  </a:lnTo>
                  <a:lnTo>
                    <a:pt x="7" y="116"/>
                  </a:lnTo>
                  <a:lnTo>
                    <a:pt x="7" y="113"/>
                  </a:lnTo>
                  <a:lnTo>
                    <a:pt x="7" y="113"/>
                  </a:lnTo>
                  <a:lnTo>
                    <a:pt x="7" y="111"/>
                  </a:lnTo>
                  <a:lnTo>
                    <a:pt x="9" y="111"/>
                  </a:lnTo>
                  <a:lnTo>
                    <a:pt x="9" y="113"/>
                  </a:lnTo>
                  <a:lnTo>
                    <a:pt x="12" y="111"/>
                  </a:lnTo>
                  <a:lnTo>
                    <a:pt x="12" y="113"/>
                  </a:lnTo>
                  <a:lnTo>
                    <a:pt x="14" y="111"/>
                  </a:lnTo>
                  <a:lnTo>
                    <a:pt x="12" y="111"/>
                  </a:lnTo>
                  <a:lnTo>
                    <a:pt x="12" y="111"/>
                  </a:lnTo>
                  <a:lnTo>
                    <a:pt x="9" y="109"/>
                  </a:lnTo>
                  <a:lnTo>
                    <a:pt x="12" y="104"/>
                  </a:lnTo>
                  <a:lnTo>
                    <a:pt x="14" y="101"/>
                  </a:lnTo>
                  <a:lnTo>
                    <a:pt x="14" y="101"/>
                  </a:lnTo>
                  <a:lnTo>
                    <a:pt x="16" y="101"/>
                  </a:lnTo>
                  <a:lnTo>
                    <a:pt x="16" y="104"/>
                  </a:lnTo>
                  <a:lnTo>
                    <a:pt x="16" y="104"/>
                  </a:lnTo>
                  <a:lnTo>
                    <a:pt x="16" y="104"/>
                  </a:lnTo>
                  <a:lnTo>
                    <a:pt x="19" y="104"/>
                  </a:lnTo>
                  <a:lnTo>
                    <a:pt x="16" y="101"/>
                  </a:lnTo>
                  <a:lnTo>
                    <a:pt x="19" y="99"/>
                  </a:lnTo>
                  <a:lnTo>
                    <a:pt x="19" y="99"/>
                  </a:lnTo>
                  <a:lnTo>
                    <a:pt x="19" y="97"/>
                  </a:lnTo>
                  <a:lnTo>
                    <a:pt x="21" y="94"/>
                  </a:lnTo>
                  <a:lnTo>
                    <a:pt x="23" y="92"/>
                  </a:lnTo>
                  <a:lnTo>
                    <a:pt x="23" y="90"/>
                  </a:lnTo>
                  <a:lnTo>
                    <a:pt x="26" y="87"/>
                  </a:lnTo>
                  <a:lnTo>
                    <a:pt x="28" y="87"/>
                  </a:lnTo>
                  <a:lnTo>
                    <a:pt x="30" y="83"/>
                  </a:lnTo>
                  <a:lnTo>
                    <a:pt x="30" y="83"/>
                  </a:lnTo>
                  <a:lnTo>
                    <a:pt x="33" y="80"/>
                  </a:lnTo>
                  <a:lnTo>
                    <a:pt x="35" y="80"/>
                  </a:lnTo>
                  <a:lnTo>
                    <a:pt x="38" y="80"/>
                  </a:lnTo>
                  <a:lnTo>
                    <a:pt x="40" y="80"/>
                  </a:lnTo>
                  <a:lnTo>
                    <a:pt x="42" y="78"/>
                  </a:lnTo>
                  <a:lnTo>
                    <a:pt x="45" y="78"/>
                  </a:lnTo>
                  <a:lnTo>
                    <a:pt x="49" y="73"/>
                  </a:lnTo>
                  <a:lnTo>
                    <a:pt x="54" y="71"/>
                  </a:lnTo>
                  <a:lnTo>
                    <a:pt x="59" y="66"/>
                  </a:lnTo>
                  <a:lnTo>
                    <a:pt x="64" y="64"/>
                  </a:lnTo>
                  <a:lnTo>
                    <a:pt x="64" y="59"/>
                  </a:lnTo>
                  <a:lnTo>
                    <a:pt x="68" y="57"/>
                  </a:lnTo>
                  <a:lnTo>
                    <a:pt x="71" y="57"/>
                  </a:lnTo>
                  <a:lnTo>
                    <a:pt x="71" y="57"/>
                  </a:lnTo>
                  <a:lnTo>
                    <a:pt x="75" y="54"/>
                  </a:lnTo>
                  <a:lnTo>
                    <a:pt x="78" y="52"/>
                  </a:lnTo>
                  <a:lnTo>
                    <a:pt x="82" y="45"/>
                  </a:lnTo>
                  <a:lnTo>
                    <a:pt x="82" y="40"/>
                  </a:lnTo>
                  <a:lnTo>
                    <a:pt x="85" y="33"/>
                  </a:lnTo>
                  <a:lnTo>
                    <a:pt x="87" y="28"/>
                  </a:lnTo>
                  <a:lnTo>
                    <a:pt x="92" y="24"/>
                  </a:lnTo>
                  <a:lnTo>
                    <a:pt x="94" y="24"/>
                  </a:lnTo>
                  <a:lnTo>
                    <a:pt x="94" y="21"/>
                  </a:lnTo>
                  <a:lnTo>
                    <a:pt x="97" y="19"/>
                  </a:lnTo>
                  <a:lnTo>
                    <a:pt x="99"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09" name="Freeform 456">
              <a:extLst>
                <a:ext uri="{FF2B5EF4-FFF2-40B4-BE49-F238E27FC236}">
                  <a16:creationId xmlns:a16="http://schemas.microsoft.com/office/drawing/2014/main" id="{94D6CEB0-130D-45CF-AAEE-87F89C27EF8A}"/>
                </a:ext>
              </a:extLst>
            </p:cNvPr>
            <p:cNvSpPr>
              <a:spLocks/>
            </p:cNvSpPr>
            <p:nvPr/>
          </p:nvSpPr>
          <p:spPr bwMode="auto">
            <a:xfrm>
              <a:off x="8101079" y="5678848"/>
              <a:ext cx="429430" cy="467886"/>
            </a:xfrm>
            <a:custGeom>
              <a:avLst/>
              <a:gdLst>
                <a:gd name="T0" fmla="*/ 101 w 134"/>
                <a:gd name="T1" fmla="*/ 5 h 146"/>
                <a:gd name="T2" fmla="*/ 108 w 134"/>
                <a:gd name="T3" fmla="*/ 0 h 146"/>
                <a:gd name="T4" fmla="*/ 111 w 134"/>
                <a:gd name="T5" fmla="*/ 7 h 146"/>
                <a:gd name="T6" fmla="*/ 116 w 134"/>
                <a:gd name="T7" fmla="*/ 16 h 146"/>
                <a:gd name="T8" fmla="*/ 125 w 134"/>
                <a:gd name="T9" fmla="*/ 9 h 146"/>
                <a:gd name="T10" fmla="*/ 127 w 134"/>
                <a:gd name="T11" fmla="*/ 9 h 146"/>
                <a:gd name="T12" fmla="*/ 130 w 134"/>
                <a:gd name="T13" fmla="*/ 14 h 146"/>
                <a:gd name="T14" fmla="*/ 134 w 134"/>
                <a:gd name="T15" fmla="*/ 12 h 146"/>
                <a:gd name="T16" fmla="*/ 132 w 134"/>
                <a:gd name="T17" fmla="*/ 21 h 146"/>
                <a:gd name="T18" fmla="*/ 130 w 134"/>
                <a:gd name="T19" fmla="*/ 35 h 146"/>
                <a:gd name="T20" fmla="*/ 123 w 134"/>
                <a:gd name="T21" fmla="*/ 45 h 146"/>
                <a:gd name="T22" fmla="*/ 116 w 134"/>
                <a:gd name="T23" fmla="*/ 57 h 146"/>
                <a:gd name="T24" fmla="*/ 108 w 134"/>
                <a:gd name="T25" fmla="*/ 71 h 146"/>
                <a:gd name="T26" fmla="*/ 116 w 134"/>
                <a:gd name="T27" fmla="*/ 78 h 146"/>
                <a:gd name="T28" fmla="*/ 104 w 134"/>
                <a:gd name="T29" fmla="*/ 73 h 146"/>
                <a:gd name="T30" fmla="*/ 101 w 134"/>
                <a:gd name="T31" fmla="*/ 75 h 146"/>
                <a:gd name="T32" fmla="*/ 92 w 134"/>
                <a:gd name="T33" fmla="*/ 83 h 146"/>
                <a:gd name="T34" fmla="*/ 87 w 134"/>
                <a:gd name="T35" fmla="*/ 83 h 146"/>
                <a:gd name="T36" fmla="*/ 82 w 134"/>
                <a:gd name="T37" fmla="*/ 101 h 146"/>
                <a:gd name="T38" fmla="*/ 78 w 134"/>
                <a:gd name="T39" fmla="*/ 113 h 146"/>
                <a:gd name="T40" fmla="*/ 73 w 134"/>
                <a:gd name="T41" fmla="*/ 123 h 146"/>
                <a:gd name="T42" fmla="*/ 73 w 134"/>
                <a:gd name="T43" fmla="*/ 130 h 146"/>
                <a:gd name="T44" fmla="*/ 61 w 134"/>
                <a:gd name="T45" fmla="*/ 137 h 146"/>
                <a:gd name="T46" fmla="*/ 56 w 134"/>
                <a:gd name="T47" fmla="*/ 142 h 146"/>
                <a:gd name="T48" fmla="*/ 45 w 134"/>
                <a:gd name="T49" fmla="*/ 146 h 146"/>
                <a:gd name="T50" fmla="*/ 38 w 134"/>
                <a:gd name="T51" fmla="*/ 144 h 146"/>
                <a:gd name="T52" fmla="*/ 33 w 134"/>
                <a:gd name="T53" fmla="*/ 144 h 146"/>
                <a:gd name="T54" fmla="*/ 30 w 134"/>
                <a:gd name="T55" fmla="*/ 139 h 146"/>
                <a:gd name="T56" fmla="*/ 19 w 134"/>
                <a:gd name="T57" fmla="*/ 132 h 146"/>
                <a:gd name="T58" fmla="*/ 4 w 134"/>
                <a:gd name="T59" fmla="*/ 132 h 146"/>
                <a:gd name="T60" fmla="*/ 4 w 134"/>
                <a:gd name="T61" fmla="*/ 130 h 146"/>
                <a:gd name="T62" fmla="*/ 2 w 134"/>
                <a:gd name="T63" fmla="*/ 127 h 146"/>
                <a:gd name="T64" fmla="*/ 4 w 134"/>
                <a:gd name="T65" fmla="*/ 123 h 146"/>
                <a:gd name="T66" fmla="*/ 7 w 134"/>
                <a:gd name="T67" fmla="*/ 120 h 146"/>
                <a:gd name="T68" fmla="*/ 4 w 134"/>
                <a:gd name="T69" fmla="*/ 116 h 146"/>
                <a:gd name="T70" fmla="*/ 7 w 134"/>
                <a:gd name="T71" fmla="*/ 111 h 146"/>
                <a:gd name="T72" fmla="*/ 12 w 134"/>
                <a:gd name="T73" fmla="*/ 113 h 146"/>
                <a:gd name="T74" fmla="*/ 9 w 134"/>
                <a:gd name="T75" fmla="*/ 109 h 146"/>
                <a:gd name="T76" fmla="*/ 16 w 134"/>
                <a:gd name="T77" fmla="*/ 101 h 146"/>
                <a:gd name="T78" fmla="*/ 19 w 134"/>
                <a:gd name="T79" fmla="*/ 104 h 146"/>
                <a:gd name="T80" fmla="*/ 19 w 134"/>
                <a:gd name="T81" fmla="*/ 97 h 146"/>
                <a:gd name="T82" fmla="*/ 26 w 134"/>
                <a:gd name="T83" fmla="*/ 87 h 146"/>
                <a:gd name="T84" fmla="*/ 33 w 134"/>
                <a:gd name="T85" fmla="*/ 80 h 146"/>
                <a:gd name="T86" fmla="*/ 42 w 134"/>
                <a:gd name="T87" fmla="*/ 78 h 146"/>
                <a:gd name="T88" fmla="*/ 59 w 134"/>
                <a:gd name="T89" fmla="*/ 66 h 146"/>
                <a:gd name="T90" fmla="*/ 71 w 134"/>
                <a:gd name="T91" fmla="*/ 57 h 146"/>
                <a:gd name="T92" fmla="*/ 82 w 134"/>
                <a:gd name="T93" fmla="*/ 45 h 146"/>
                <a:gd name="T94" fmla="*/ 92 w 134"/>
                <a:gd name="T95" fmla="*/ 24 h 146"/>
                <a:gd name="T96" fmla="*/ 99 w 134"/>
                <a:gd name="T97"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 h="146">
                  <a:moveTo>
                    <a:pt x="99" y="9"/>
                  </a:moveTo>
                  <a:lnTo>
                    <a:pt x="99" y="9"/>
                  </a:lnTo>
                  <a:lnTo>
                    <a:pt x="99" y="5"/>
                  </a:lnTo>
                  <a:lnTo>
                    <a:pt x="101" y="5"/>
                  </a:lnTo>
                  <a:lnTo>
                    <a:pt x="104" y="0"/>
                  </a:lnTo>
                  <a:lnTo>
                    <a:pt x="106" y="0"/>
                  </a:lnTo>
                  <a:lnTo>
                    <a:pt x="106" y="0"/>
                  </a:lnTo>
                  <a:lnTo>
                    <a:pt x="108" y="0"/>
                  </a:lnTo>
                  <a:lnTo>
                    <a:pt x="108" y="0"/>
                  </a:lnTo>
                  <a:lnTo>
                    <a:pt x="108" y="5"/>
                  </a:lnTo>
                  <a:lnTo>
                    <a:pt x="108" y="5"/>
                  </a:lnTo>
                  <a:lnTo>
                    <a:pt x="111" y="7"/>
                  </a:lnTo>
                  <a:lnTo>
                    <a:pt x="113" y="7"/>
                  </a:lnTo>
                  <a:lnTo>
                    <a:pt x="113" y="7"/>
                  </a:lnTo>
                  <a:lnTo>
                    <a:pt x="113" y="14"/>
                  </a:lnTo>
                  <a:lnTo>
                    <a:pt x="116" y="16"/>
                  </a:lnTo>
                  <a:lnTo>
                    <a:pt x="118" y="16"/>
                  </a:lnTo>
                  <a:lnTo>
                    <a:pt x="123" y="12"/>
                  </a:lnTo>
                  <a:lnTo>
                    <a:pt x="123" y="12"/>
                  </a:lnTo>
                  <a:lnTo>
                    <a:pt x="125" y="9"/>
                  </a:lnTo>
                  <a:lnTo>
                    <a:pt x="127" y="9"/>
                  </a:lnTo>
                  <a:lnTo>
                    <a:pt x="130" y="7"/>
                  </a:lnTo>
                  <a:lnTo>
                    <a:pt x="130" y="9"/>
                  </a:lnTo>
                  <a:lnTo>
                    <a:pt x="127" y="9"/>
                  </a:lnTo>
                  <a:lnTo>
                    <a:pt x="127" y="12"/>
                  </a:lnTo>
                  <a:lnTo>
                    <a:pt x="130" y="14"/>
                  </a:lnTo>
                  <a:lnTo>
                    <a:pt x="127" y="16"/>
                  </a:lnTo>
                  <a:lnTo>
                    <a:pt x="130" y="14"/>
                  </a:lnTo>
                  <a:lnTo>
                    <a:pt x="130" y="12"/>
                  </a:lnTo>
                  <a:lnTo>
                    <a:pt x="132" y="9"/>
                  </a:lnTo>
                  <a:lnTo>
                    <a:pt x="132" y="9"/>
                  </a:lnTo>
                  <a:lnTo>
                    <a:pt x="134" y="12"/>
                  </a:lnTo>
                  <a:lnTo>
                    <a:pt x="132" y="16"/>
                  </a:lnTo>
                  <a:lnTo>
                    <a:pt x="132" y="16"/>
                  </a:lnTo>
                  <a:lnTo>
                    <a:pt x="134" y="16"/>
                  </a:lnTo>
                  <a:lnTo>
                    <a:pt x="132" y="21"/>
                  </a:lnTo>
                  <a:lnTo>
                    <a:pt x="134" y="26"/>
                  </a:lnTo>
                  <a:lnTo>
                    <a:pt x="134" y="28"/>
                  </a:lnTo>
                  <a:lnTo>
                    <a:pt x="132" y="33"/>
                  </a:lnTo>
                  <a:lnTo>
                    <a:pt x="130" y="35"/>
                  </a:lnTo>
                  <a:lnTo>
                    <a:pt x="130" y="38"/>
                  </a:lnTo>
                  <a:lnTo>
                    <a:pt x="127" y="38"/>
                  </a:lnTo>
                  <a:lnTo>
                    <a:pt x="127" y="40"/>
                  </a:lnTo>
                  <a:lnTo>
                    <a:pt x="123" y="45"/>
                  </a:lnTo>
                  <a:lnTo>
                    <a:pt x="120" y="52"/>
                  </a:lnTo>
                  <a:lnTo>
                    <a:pt x="118" y="54"/>
                  </a:lnTo>
                  <a:lnTo>
                    <a:pt x="116" y="54"/>
                  </a:lnTo>
                  <a:lnTo>
                    <a:pt x="116" y="57"/>
                  </a:lnTo>
                  <a:lnTo>
                    <a:pt x="111" y="59"/>
                  </a:lnTo>
                  <a:lnTo>
                    <a:pt x="111" y="61"/>
                  </a:lnTo>
                  <a:lnTo>
                    <a:pt x="111" y="68"/>
                  </a:lnTo>
                  <a:lnTo>
                    <a:pt x="108" y="71"/>
                  </a:lnTo>
                  <a:lnTo>
                    <a:pt x="113" y="73"/>
                  </a:lnTo>
                  <a:lnTo>
                    <a:pt x="113" y="73"/>
                  </a:lnTo>
                  <a:lnTo>
                    <a:pt x="116" y="75"/>
                  </a:lnTo>
                  <a:lnTo>
                    <a:pt x="116" y="78"/>
                  </a:lnTo>
                  <a:lnTo>
                    <a:pt x="113" y="75"/>
                  </a:lnTo>
                  <a:lnTo>
                    <a:pt x="113" y="78"/>
                  </a:lnTo>
                  <a:lnTo>
                    <a:pt x="106" y="75"/>
                  </a:lnTo>
                  <a:lnTo>
                    <a:pt x="104" y="73"/>
                  </a:lnTo>
                  <a:lnTo>
                    <a:pt x="104" y="75"/>
                  </a:lnTo>
                  <a:lnTo>
                    <a:pt x="104" y="75"/>
                  </a:lnTo>
                  <a:lnTo>
                    <a:pt x="101" y="78"/>
                  </a:lnTo>
                  <a:lnTo>
                    <a:pt x="101" y="75"/>
                  </a:lnTo>
                  <a:lnTo>
                    <a:pt x="99" y="75"/>
                  </a:lnTo>
                  <a:lnTo>
                    <a:pt x="99" y="78"/>
                  </a:lnTo>
                  <a:lnTo>
                    <a:pt x="94" y="80"/>
                  </a:lnTo>
                  <a:lnTo>
                    <a:pt x="92" y="83"/>
                  </a:lnTo>
                  <a:lnTo>
                    <a:pt x="90" y="83"/>
                  </a:lnTo>
                  <a:lnTo>
                    <a:pt x="90" y="80"/>
                  </a:lnTo>
                  <a:lnTo>
                    <a:pt x="87" y="80"/>
                  </a:lnTo>
                  <a:lnTo>
                    <a:pt x="87" y="83"/>
                  </a:lnTo>
                  <a:lnTo>
                    <a:pt x="87" y="87"/>
                  </a:lnTo>
                  <a:lnTo>
                    <a:pt x="85" y="92"/>
                  </a:lnTo>
                  <a:lnTo>
                    <a:pt x="85" y="94"/>
                  </a:lnTo>
                  <a:lnTo>
                    <a:pt x="82" y="101"/>
                  </a:lnTo>
                  <a:lnTo>
                    <a:pt x="82" y="101"/>
                  </a:lnTo>
                  <a:lnTo>
                    <a:pt x="82" y="106"/>
                  </a:lnTo>
                  <a:lnTo>
                    <a:pt x="80" y="109"/>
                  </a:lnTo>
                  <a:lnTo>
                    <a:pt x="78" y="113"/>
                  </a:lnTo>
                  <a:lnTo>
                    <a:pt x="78" y="116"/>
                  </a:lnTo>
                  <a:lnTo>
                    <a:pt x="75" y="120"/>
                  </a:lnTo>
                  <a:lnTo>
                    <a:pt x="75" y="123"/>
                  </a:lnTo>
                  <a:lnTo>
                    <a:pt x="73" y="123"/>
                  </a:lnTo>
                  <a:lnTo>
                    <a:pt x="73" y="125"/>
                  </a:lnTo>
                  <a:lnTo>
                    <a:pt x="73" y="127"/>
                  </a:lnTo>
                  <a:lnTo>
                    <a:pt x="75" y="127"/>
                  </a:lnTo>
                  <a:lnTo>
                    <a:pt x="73" y="130"/>
                  </a:lnTo>
                  <a:lnTo>
                    <a:pt x="71" y="130"/>
                  </a:lnTo>
                  <a:lnTo>
                    <a:pt x="68" y="130"/>
                  </a:lnTo>
                  <a:lnTo>
                    <a:pt x="66" y="135"/>
                  </a:lnTo>
                  <a:lnTo>
                    <a:pt x="61" y="137"/>
                  </a:lnTo>
                  <a:lnTo>
                    <a:pt x="59" y="137"/>
                  </a:lnTo>
                  <a:lnTo>
                    <a:pt x="59" y="139"/>
                  </a:lnTo>
                  <a:lnTo>
                    <a:pt x="56" y="139"/>
                  </a:lnTo>
                  <a:lnTo>
                    <a:pt x="56" y="142"/>
                  </a:lnTo>
                  <a:lnTo>
                    <a:pt x="54" y="144"/>
                  </a:lnTo>
                  <a:lnTo>
                    <a:pt x="49" y="144"/>
                  </a:lnTo>
                  <a:lnTo>
                    <a:pt x="47" y="144"/>
                  </a:lnTo>
                  <a:lnTo>
                    <a:pt x="45" y="146"/>
                  </a:lnTo>
                  <a:lnTo>
                    <a:pt x="42" y="144"/>
                  </a:lnTo>
                  <a:lnTo>
                    <a:pt x="42" y="142"/>
                  </a:lnTo>
                  <a:lnTo>
                    <a:pt x="40" y="142"/>
                  </a:lnTo>
                  <a:lnTo>
                    <a:pt x="38" y="144"/>
                  </a:lnTo>
                  <a:lnTo>
                    <a:pt x="35" y="144"/>
                  </a:lnTo>
                  <a:lnTo>
                    <a:pt x="35" y="144"/>
                  </a:lnTo>
                  <a:lnTo>
                    <a:pt x="35" y="144"/>
                  </a:lnTo>
                  <a:lnTo>
                    <a:pt x="33" y="144"/>
                  </a:lnTo>
                  <a:lnTo>
                    <a:pt x="33" y="142"/>
                  </a:lnTo>
                  <a:lnTo>
                    <a:pt x="33" y="139"/>
                  </a:lnTo>
                  <a:lnTo>
                    <a:pt x="30" y="139"/>
                  </a:lnTo>
                  <a:lnTo>
                    <a:pt x="30" y="139"/>
                  </a:lnTo>
                  <a:lnTo>
                    <a:pt x="23" y="139"/>
                  </a:lnTo>
                  <a:lnTo>
                    <a:pt x="21" y="135"/>
                  </a:lnTo>
                  <a:lnTo>
                    <a:pt x="21" y="135"/>
                  </a:lnTo>
                  <a:lnTo>
                    <a:pt x="19" y="132"/>
                  </a:lnTo>
                  <a:lnTo>
                    <a:pt x="16" y="135"/>
                  </a:lnTo>
                  <a:lnTo>
                    <a:pt x="12" y="137"/>
                  </a:lnTo>
                  <a:lnTo>
                    <a:pt x="7" y="135"/>
                  </a:lnTo>
                  <a:lnTo>
                    <a:pt x="4" y="132"/>
                  </a:lnTo>
                  <a:lnTo>
                    <a:pt x="4" y="130"/>
                  </a:lnTo>
                  <a:lnTo>
                    <a:pt x="7" y="130"/>
                  </a:lnTo>
                  <a:lnTo>
                    <a:pt x="7" y="127"/>
                  </a:lnTo>
                  <a:lnTo>
                    <a:pt x="4" y="130"/>
                  </a:lnTo>
                  <a:lnTo>
                    <a:pt x="2" y="130"/>
                  </a:lnTo>
                  <a:lnTo>
                    <a:pt x="4" y="127"/>
                  </a:lnTo>
                  <a:lnTo>
                    <a:pt x="4" y="127"/>
                  </a:lnTo>
                  <a:lnTo>
                    <a:pt x="2" y="127"/>
                  </a:lnTo>
                  <a:lnTo>
                    <a:pt x="2" y="127"/>
                  </a:lnTo>
                  <a:lnTo>
                    <a:pt x="0" y="127"/>
                  </a:lnTo>
                  <a:lnTo>
                    <a:pt x="2" y="125"/>
                  </a:lnTo>
                  <a:lnTo>
                    <a:pt x="4" y="123"/>
                  </a:lnTo>
                  <a:lnTo>
                    <a:pt x="7" y="123"/>
                  </a:lnTo>
                  <a:lnTo>
                    <a:pt x="7" y="123"/>
                  </a:lnTo>
                  <a:lnTo>
                    <a:pt x="7" y="120"/>
                  </a:lnTo>
                  <a:lnTo>
                    <a:pt x="7" y="120"/>
                  </a:lnTo>
                  <a:lnTo>
                    <a:pt x="9" y="118"/>
                  </a:lnTo>
                  <a:lnTo>
                    <a:pt x="7" y="118"/>
                  </a:lnTo>
                  <a:lnTo>
                    <a:pt x="4" y="118"/>
                  </a:lnTo>
                  <a:lnTo>
                    <a:pt x="4" y="116"/>
                  </a:lnTo>
                  <a:lnTo>
                    <a:pt x="7" y="116"/>
                  </a:lnTo>
                  <a:lnTo>
                    <a:pt x="7" y="113"/>
                  </a:lnTo>
                  <a:lnTo>
                    <a:pt x="7" y="113"/>
                  </a:lnTo>
                  <a:lnTo>
                    <a:pt x="7" y="111"/>
                  </a:lnTo>
                  <a:lnTo>
                    <a:pt x="9" y="111"/>
                  </a:lnTo>
                  <a:lnTo>
                    <a:pt x="9" y="113"/>
                  </a:lnTo>
                  <a:lnTo>
                    <a:pt x="12" y="111"/>
                  </a:lnTo>
                  <a:lnTo>
                    <a:pt x="12" y="113"/>
                  </a:lnTo>
                  <a:lnTo>
                    <a:pt x="14" y="111"/>
                  </a:lnTo>
                  <a:lnTo>
                    <a:pt x="12" y="111"/>
                  </a:lnTo>
                  <a:lnTo>
                    <a:pt x="12" y="111"/>
                  </a:lnTo>
                  <a:lnTo>
                    <a:pt x="9" y="109"/>
                  </a:lnTo>
                  <a:lnTo>
                    <a:pt x="12" y="104"/>
                  </a:lnTo>
                  <a:lnTo>
                    <a:pt x="14" y="101"/>
                  </a:lnTo>
                  <a:lnTo>
                    <a:pt x="14" y="101"/>
                  </a:lnTo>
                  <a:lnTo>
                    <a:pt x="16" y="101"/>
                  </a:lnTo>
                  <a:lnTo>
                    <a:pt x="16" y="104"/>
                  </a:lnTo>
                  <a:lnTo>
                    <a:pt x="16" y="104"/>
                  </a:lnTo>
                  <a:lnTo>
                    <a:pt x="16" y="104"/>
                  </a:lnTo>
                  <a:lnTo>
                    <a:pt x="19" y="104"/>
                  </a:lnTo>
                  <a:lnTo>
                    <a:pt x="16" y="101"/>
                  </a:lnTo>
                  <a:lnTo>
                    <a:pt x="19" y="99"/>
                  </a:lnTo>
                  <a:lnTo>
                    <a:pt x="19" y="99"/>
                  </a:lnTo>
                  <a:lnTo>
                    <a:pt x="19" y="97"/>
                  </a:lnTo>
                  <a:lnTo>
                    <a:pt x="21" y="94"/>
                  </a:lnTo>
                  <a:lnTo>
                    <a:pt x="23" y="92"/>
                  </a:lnTo>
                  <a:lnTo>
                    <a:pt x="23" y="90"/>
                  </a:lnTo>
                  <a:lnTo>
                    <a:pt x="26" y="87"/>
                  </a:lnTo>
                  <a:lnTo>
                    <a:pt x="28" y="87"/>
                  </a:lnTo>
                  <a:lnTo>
                    <a:pt x="30" y="83"/>
                  </a:lnTo>
                  <a:lnTo>
                    <a:pt x="30" y="83"/>
                  </a:lnTo>
                  <a:lnTo>
                    <a:pt x="33" y="80"/>
                  </a:lnTo>
                  <a:lnTo>
                    <a:pt x="35" y="80"/>
                  </a:lnTo>
                  <a:lnTo>
                    <a:pt x="38" y="80"/>
                  </a:lnTo>
                  <a:lnTo>
                    <a:pt x="40" y="80"/>
                  </a:lnTo>
                  <a:lnTo>
                    <a:pt x="42" y="78"/>
                  </a:lnTo>
                  <a:lnTo>
                    <a:pt x="45" y="78"/>
                  </a:lnTo>
                  <a:lnTo>
                    <a:pt x="49" y="73"/>
                  </a:lnTo>
                  <a:lnTo>
                    <a:pt x="54" y="71"/>
                  </a:lnTo>
                  <a:lnTo>
                    <a:pt x="59" y="66"/>
                  </a:lnTo>
                  <a:lnTo>
                    <a:pt x="64" y="64"/>
                  </a:lnTo>
                  <a:lnTo>
                    <a:pt x="64" y="59"/>
                  </a:lnTo>
                  <a:lnTo>
                    <a:pt x="68" y="57"/>
                  </a:lnTo>
                  <a:lnTo>
                    <a:pt x="71" y="57"/>
                  </a:lnTo>
                  <a:lnTo>
                    <a:pt x="71" y="57"/>
                  </a:lnTo>
                  <a:lnTo>
                    <a:pt x="75" y="54"/>
                  </a:lnTo>
                  <a:lnTo>
                    <a:pt x="78" y="52"/>
                  </a:lnTo>
                  <a:lnTo>
                    <a:pt x="82" y="45"/>
                  </a:lnTo>
                  <a:lnTo>
                    <a:pt x="82" y="40"/>
                  </a:lnTo>
                  <a:lnTo>
                    <a:pt x="85" y="33"/>
                  </a:lnTo>
                  <a:lnTo>
                    <a:pt x="87" y="28"/>
                  </a:lnTo>
                  <a:lnTo>
                    <a:pt x="92" y="24"/>
                  </a:lnTo>
                  <a:lnTo>
                    <a:pt x="94" y="24"/>
                  </a:lnTo>
                  <a:lnTo>
                    <a:pt x="94" y="21"/>
                  </a:lnTo>
                  <a:lnTo>
                    <a:pt x="97" y="19"/>
                  </a:lnTo>
                  <a:lnTo>
                    <a:pt x="99" y="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0" name="Freeform 457">
              <a:extLst>
                <a:ext uri="{FF2B5EF4-FFF2-40B4-BE49-F238E27FC236}">
                  <a16:creationId xmlns:a16="http://schemas.microsoft.com/office/drawing/2014/main" id="{BD856096-6250-43E0-9480-BAB2CA20B6C0}"/>
                </a:ext>
              </a:extLst>
            </p:cNvPr>
            <p:cNvSpPr>
              <a:spLocks/>
            </p:cNvSpPr>
            <p:nvPr/>
          </p:nvSpPr>
          <p:spPr bwMode="auto">
            <a:xfrm>
              <a:off x="8447186" y="5246214"/>
              <a:ext cx="320470" cy="499933"/>
            </a:xfrm>
            <a:custGeom>
              <a:avLst/>
              <a:gdLst>
                <a:gd name="T0" fmla="*/ 41 w 100"/>
                <a:gd name="T1" fmla="*/ 140 h 156"/>
                <a:gd name="T2" fmla="*/ 45 w 100"/>
                <a:gd name="T3" fmla="*/ 125 h 156"/>
                <a:gd name="T4" fmla="*/ 31 w 100"/>
                <a:gd name="T5" fmla="*/ 116 h 156"/>
                <a:gd name="T6" fmla="*/ 19 w 100"/>
                <a:gd name="T7" fmla="*/ 104 h 156"/>
                <a:gd name="T8" fmla="*/ 33 w 100"/>
                <a:gd name="T9" fmla="*/ 95 h 156"/>
                <a:gd name="T10" fmla="*/ 38 w 100"/>
                <a:gd name="T11" fmla="*/ 81 h 156"/>
                <a:gd name="T12" fmla="*/ 38 w 100"/>
                <a:gd name="T13" fmla="*/ 71 h 156"/>
                <a:gd name="T14" fmla="*/ 36 w 100"/>
                <a:gd name="T15" fmla="*/ 62 h 156"/>
                <a:gd name="T16" fmla="*/ 36 w 100"/>
                <a:gd name="T17" fmla="*/ 57 h 156"/>
                <a:gd name="T18" fmla="*/ 31 w 100"/>
                <a:gd name="T19" fmla="*/ 55 h 156"/>
                <a:gd name="T20" fmla="*/ 29 w 100"/>
                <a:gd name="T21" fmla="*/ 45 h 156"/>
                <a:gd name="T22" fmla="*/ 29 w 100"/>
                <a:gd name="T23" fmla="*/ 40 h 156"/>
                <a:gd name="T24" fmla="*/ 24 w 100"/>
                <a:gd name="T25" fmla="*/ 38 h 156"/>
                <a:gd name="T26" fmla="*/ 15 w 100"/>
                <a:gd name="T27" fmla="*/ 26 h 156"/>
                <a:gd name="T28" fmla="*/ 15 w 100"/>
                <a:gd name="T29" fmla="*/ 19 h 156"/>
                <a:gd name="T30" fmla="*/ 10 w 100"/>
                <a:gd name="T31" fmla="*/ 19 h 156"/>
                <a:gd name="T32" fmla="*/ 3 w 100"/>
                <a:gd name="T33" fmla="*/ 5 h 156"/>
                <a:gd name="T34" fmla="*/ 3 w 100"/>
                <a:gd name="T35" fmla="*/ 0 h 156"/>
                <a:gd name="T36" fmla="*/ 8 w 100"/>
                <a:gd name="T37" fmla="*/ 10 h 156"/>
                <a:gd name="T38" fmla="*/ 12 w 100"/>
                <a:gd name="T39" fmla="*/ 10 h 156"/>
                <a:gd name="T40" fmla="*/ 19 w 100"/>
                <a:gd name="T41" fmla="*/ 12 h 156"/>
                <a:gd name="T42" fmla="*/ 26 w 100"/>
                <a:gd name="T43" fmla="*/ 19 h 156"/>
                <a:gd name="T44" fmla="*/ 29 w 100"/>
                <a:gd name="T45" fmla="*/ 22 h 156"/>
                <a:gd name="T46" fmla="*/ 33 w 100"/>
                <a:gd name="T47" fmla="*/ 31 h 156"/>
                <a:gd name="T48" fmla="*/ 29 w 100"/>
                <a:gd name="T49" fmla="*/ 31 h 156"/>
                <a:gd name="T50" fmla="*/ 31 w 100"/>
                <a:gd name="T51" fmla="*/ 33 h 156"/>
                <a:gd name="T52" fmla="*/ 36 w 100"/>
                <a:gd name="T53" fmla="*/ 45 h 156"/>
                <a:gd name="T54" fmla="*/ 36 w 100"/>
                <a:gd name="T55" fmla="*/ 50 h 156"/>
                <a:gd name="T56" fmla="*/ 38 w 100"/>
                <a:gd name="T57" fmla="*/ 55 h 156"/>
                <a:gd name="T58" fmla="*/ 43 w 100"/>
                <a:gd name="T59" fmla="*/ 55 h 156"/>
                <a:gd name="T60" fmla="*/ 48 w 100"/>
                <a:gd name="T61" fmla="*/ 57 h 156"/>
                <a:gd name="T62" fmla="*/ 48 w 100"/>
                <a:gd name="T63" fmla="*/ 45 h 156"/>
                <a:gd name="T64" fmla="*/ 55 w 100"/>
                <a:gd name="T65" fmla="*/ 52 h 156"/>
                <a:gd name="T66" fmla="*/ 55 w 100"/>
                <a:gd name="T67" fmla="*/ 62 h 156"/>
                <a:gd name="T68" fmla="*/ 59 w 100"/>
                <a:gd name="T69" fmla="*/ 69 h 156"/>
                <a:gd name="T70" fmla="*/ 76 w 100"/>
                <a:gd name="T71" fmla="*/ 76 h 156"/>
                <a:gd name="T72" fmla="*/ 85 w 100"/>
                <a:gd name="T73" fmla="*/ 71 h 156"/>
                <a:gd name="T74" fmla="*/ 93 w 100"/>
                <a:gd name="T75" fmla="*/ 66 h 156"/>
                <a:gd name="T76" fmla="*/ 100 w 100"/>
                <a:gd name="T77" fmla="*/ 73 h 156"/>
                <a:gd name="T78" fmla="*/ 97 w 100"/>
                <a:gd name="T79" fmla="*/ 85 h 156"/>
                <a:gd name="T80" fmla="*/ 93 w 100"/>
                <a:gd name="T81" fmla="*/ 97 h 156"/>
                <a:gd name="T82" fmla="*/ 93 w 100"/>
                <a:gd name="T83" fmla="*/ 102 h 156"/>
                <a:gd name="T84" fmla="*/ 85 w 100"/>
                <a:gd name="T85" fmla="*/ 99 h 156"/>
                <a:gd name="T86" fmla="*/ 78 w 100"/>
                <a:gd name="T87" fmla="*/ 102 h 156"/>
                <a:gd name="T88" fmla="*/ 74 w 100"/>
                <a:gd name="T89" fmla="*/ 114 h 156"/>
                <a:gd name="T90" fmla="*/ 69 w 100"/>
                <a:gd name="T91" fmla="*/ 128 h 156"/>
                <a:gd name="T92" fmla="*/ 55 w 100"/>
                <a:gd name="T93" fmla="*/ 151 h 156"/>
                <a:gd name="T94" fmla="*/ 43 w 100"/>
                <a:gd name="T95"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56">
                  <a:moveTo>
                    <a:pt x="36" y="149"/>
                  </a:moveTo>
                  <a:lnTo>
                    <a:pt x="38" y="147"/>
                  </a:lnTo>
                  <a:lnTo>
                    <a:pt x="38" y="142"/>
                  </a:lnTo>
                  <a:lnTo>
                    <a:pt x="41" y="140"/>
                  </a:lnTo>
                  <a:lnTo>
                    <a:pt x="43" y="137"/>
                  </a:lnTo>
                  <a:lnTo>
                    <a:pt x="43" y="133"/>
                  </a:lnTo>
                  <a:lnTo>
                    <a:pt x="45" y="130"/>
                  </a:lnTo>
                  <a:lnTo>
                    <a:pt x="45" y="125"/>
                  </a:lnTo>
                  <a:lnTo>
                    <a:pt x="43" y="123"/>
                  </a:lnTo>
                  <a:lnTo>
                    <a:pt x="38" y="118"/>
                  </a:lnTo>
                  <a:lnTo>
                    <a:pt x="36" y="118"/>
                  </a:lnTo>
                  <a:lnTo>
                    <a:pt x="31" y="116"/>
                  </a:lnTo>
                  <a:lnTo>
                    <a:pt x="26" y="111"/>
                  </a:lnTo>
                  <a:lnTo>
                    <a:pt x="22" y="111"/>
                  </a:lnTo>
                  <a:lnTo>
                    <a:pt x="19" y="107"/>
                  </a:lnTo>
                  <a:lnTo>
                    <a:pt x="19" y="104"/>
                  </a:lnTo>
                  <a:lnTo>
                    <a:pt x="22" y="99"/>
                  </a:lnTo>
                  <a:lnTo>
                    <a:pt x="26" y="99"/>
                  </a:lnTo>
                  <a:lnTo>
                    <a:pt x="29" y="97"/>
                  </a:lnTo>
                  <a:lnTo>
                    <a:pt x="33" y="95"/>
                  </a:lnTo>
                  <a:lnTo>
                    <a:pt x="33" y="90"/>
                  </a:lnTo>
                  <a:lnTo>
                    <a:pt x="33" y="83"/>
                  </a:lnTo>
                  <a:lnTo>
                    <a:pt x="36" y="78"/>
                  </a:lnTo>
                  <a:lnTo>
                    <a:pt x="38" y="81"/>
                  </a:lnTo>
                  <a:lnTo>
                    <a:pt x="38" y="78"/>
                  </a:lnTo>
                  <a:lnTo>
                    <a:pt x="38" y="76"/>
                  </a:lnTo>
                  <a:lnTo>
                    <a:pt x="38" y="73"/>
                  </a:lnTo>
                  <a:lnTo>
                    <a:pt x="38" y="71"/>
                  </a:lnTo>
                  <a:lnTo>
                    <a:pt x="38" y="71"/>
                  </a:lnTo>
                  <a:lnTo>
                    <a:pt x="36" y="66"/>
                  </a:lnTo>
                  <a:lnTo>
                    <a:pt x="38" y="62"/>
                  </a:lnTo>
                  <a:lnTo>
                    <a:pt x="36" y="62"/>
                  </a:lnTo>
                  <a:lnTo>
                    <a:pt x="33" y="59"/>
                  </a:lnTo>
                  <a:lnTo>
                    <a:pt x="33" y="57"/>
                  </a:lnTo>
                  <a:lnTo>
                    <a:pt x="36" y="57"/>
                  </a:lnTo>
                  <a:lnTo>
                    <a:pt x="36" y="57"/>
                  </a:lnTo>
                  <a:lnTo>
                    <a:pt x="36" y="55"/>
                  </a:lnTo>
                  <a:lnTo>
                    <a:pt x="36" y="55"/>
                  </a:lnTo>
                  <a:lnTo>
                    <a:pt x="33" y="55"/>
                  </a:lnTo>
                  <a:lnTo>
                    <a:pt x="31" y="55"/>
                  </a:lnTo>
                  <a:lnTo>
                    <a:pt x="29" y="48"/>
                  </a:lnTo>
                  <a:lnTo>
                    <a:pt x="26" y="43"/>
                  </a:lnTo>
                  <a:lnTo>
                    <a:pt x="29" y="48"/>
                  </a:lnTo>
                  <a:lnTo>
                    <a:pt x="29" y="45"/>
                  </a:lnTo>
                  <a:lnTo>
                    <a:pt x="29" y="43"/>
                  </a:lnTo>
                  <a:lnTo>
                    <a:pt x="29" y="43"/>
                  </a:lnTo>
                  <a:lnTo>
                    <a:pt x="26" y="40"/>
                  </a:lnTo>
                  <a:lnTo>
                    <a:pt x="29" y="40"/>
                  </a:lnTo>
                  <a:lnTo>
                    <a:pt x="29" y="38"/>
                  </a:lnTo>
                  <a:lnTo>
                    <a:pt x="26" y="36"/>
                  </a:lnTo>
                  <a:lnTo>
                    <a:pt x="26" y="38"/>
                  </a:lnTo>
                  <a:lnTo>
                    <a:pt x="24" y="38"/>
                  </a:lnTo>
                  <a:lnTo>
                    <a:pt x="24" y="38"/>
                  </a:lnTo>
                  <a:lnTo>
                    <a:pt x="24" y="40"/>
                  </a:lnTo>
                  <a:lnTo>
                    <a:pt x="19" y="33"/>
                  </a:lnTo>
                  <a:lnTo>
                    <a:pt x="15" y="26"/>
                  </a:lnTo>
                  <a:lnTo>
                    <a:pt x="12" y="24"/>
                  </a:lnTo>
                  <a:lnTo>
                    <a:pt x="12" y="24"/>
                  </a:lnTo>
                  <a:lnTo>
                    <a:pt x="15" y="22"/>
                  </a:lnTo>
                  <a:lnTo>
                    <a:pt x="15" y="19"/>
                  </a:lnTo>
                  <a:lnTo>
                    <a:pt x="15" y="19"/>
                  </a:lnTo>
                  <a:lnTo>
                    <a:pt x="12" y="19"/>
                  </a:lnTo>
                  <a:lnTo>
                    <a:pt x="12" y="22"/>
                  </a:lnTo>
                  <a:lnTo>
                    <a:pt x="10" y="19"/>
                  </a:lnTo>
                  <a:lnTo>
                    <a:pt x="8" y="17"/>
                  </a:lnTo>
                  <a:lnTo>
                    <a:pt x="8" y="14"/>
                  </a:lnTo>
                  <a:lnTo>
                    <a:pt x="8" y="10"/>
                  </a:lnTo>
                  <a:lnTo>
                    <a:pt x="3" y="5"/>
                  </a:lnTo>
                  <a:lnTo>
                    <a:pt x="0" y="3"/>
                  </a:lnTo>
                  <a:lnTo>
                    <a:pt x="0" y="0"/>
                  </a:lnTo>
                  <a:lnTo>
                    <a:pt x="3" y="0"/>
                  </a:lnTo>
                  <a:lnTo>
                    <a:pt x="3" y="0"/>
                  </a:lnTo>
                  <a:lnTo>
                    <a:pt x="5" y="0"/>
                  </a:lnTo>
                  <a:lnTo>
                    <a:pt x="5" y="3"/>
                  </a:lnTo>
                  <a:lnTo>
                    <a:pt x="8" y="7"/>
                  </a:lnTo>
                  <a:lnTo>
                    <a:pt x="8" y="10"/>
                  </a:lnTo>
                  <a:lnTo>
                    <a:pt x="8" y="12"/>
                  </a:lnTo>
                  <a:lnTo>
                    <a:pt x="10" y="10"/>
                  </a:lnTo>
                  <a:lnTo>
                    <a:pt x="12" y="10"/>
                  </a:lnTo>
                  <a:lnTo>
                    <a:pt x="12" y="10"/>
                  </a:lnTo>
                  <a:lnTo>
                    <a:pt x="12" y="12"/>
                  </a:lnTo>
                  <a:lnTo>
                    <a:pt x="15" y="10"/>
                  </a:lnTo>
                  <a:lnTo>
                    <a:pt x="17" y="12"/>
                  </a:lnTo>
                  <a:lnTo>
                    <a:pt x="19" y="12"/>
                  </a:lnTo>
                  <a:lnTo>
                    <a:pt x="22" y="12"/>
                  </a:lnTo>
                  <a:lnTo>
                    <a:pt x="24" y="14"/>
                  </a:lnTo>
                  <a:lnTo>
                    <a:pt x="22" y="17"/>
                  </a:lnTo>
                  <a:lnTo>
                    <a:pt x="26" y="19"/>
                  </a:lnTo>
                  <a:lnTo>
                    <a:pt x="26" y="17"/>
                  </a:lnTo>
                  <a:lnTo>
                    <a:pt x="26" y="19"/>
                  </a:lnTo>
                  <a:lnTo>
                    <a:pt x="26" y="22"/>
                  </a:lnTo>
                  <a:lnTo>
                    <a:pt x="29" y="22"/>
                  </a:lnTo>
                  <a:lnTo>
                    <a:pt x="31" y="24"/>
                  </a:lnTo>
                  <a:lnTo>
                    <a:pt x="31" y="26"/>
                  </a:lnTo>
                  <a:lnTo>
                    <a:pt x="31" y="29"/>
                  </a:lnTo>
                  <a:lnTo>
                    <a:pt x="33" y="31"/>
                  </a:lnTo>
                  <a:lnTo>
                    <a:pt x="31" y="29"/>
                  </a:lnTo>
                  <a:lnTo>
                    <a:pt x="29" y="29"/>
                  </a:lnTo>
                  <a:lnTo>
                    <a:pt x="26" y="29"/>
                  </a:lnTo>
                  <a:lnTo>
                    <a:pt x="29" y="31"/>
                  </a:lnTo>
                  <a:lnTo>
                    <a:pt x="29" y="31"/>
                  </a:lnTo>
                  <a:lnTo>
                    <a:pt x="29" y="31"/>
                  </a:lnTo>
                  <a:lnTo>
                    <a:pt x="31" y="31"/>
                  </a:lnTo>
                  <a:lnTo>
                    <a:pt x="31" y="33"/>
                  </a:lnTo>
                  <a:lnTo>
                    <a:pt x="33" y="36"/>
                  </a:lnTo>
                  <a:lnTo>
                    <a:pt x="36" y="40"/>
                  </a:lnTo>
                  <a:lnTo>
                    <a:pt x="38" y="43"/>
                  </a:lnTo>
                  <a:lnTo>
                    <a:pt x="36" y="45"/>
                  </a:lnTo>
                  <a:lnTo>
                    <a:pt x="36" y="48"/>
                  </a:lnTo>
                  <a:lnTo>
                    <a:pt x="36" y="48"/>
                  </a:lnTo>
                  <a:lnTo>
                    <a:pt x="36" y="50"/>
                  </a:lnTo>
                  <a:lnTo>
                    <a:pt x="36" y="50"/>
                  </a:lnTo>
                  <a:lnTo>
                    <a:pt x="33" y="52"/>
                  </a:lnTo>
                  <a:lnTo>
                    <a:pt x="36" y="52"/>
                  </a:lnTo>
                  <a:lnTo>
                    <a:pt x="36" y="52"/>
                  </a:lnTo>
                  <a:lnTo>
                    <a:pt x="38" y="55"/>
                  </a:lnTo>
                  <a:lnTo>
                    <a:pt x="41" y="55"/>
                  </a:lnTo>
                  <a:lnTo>
                    <a:pt x="41" y="52"/>
                  </a:lnTo>
                  <a:lnTo>
                    <a:pt x="43" y="52"/>
                  </a:lnTo>
                  <a:lnTo>
                    <a:pt x="43" y="55"/>
                  </a:lnTo>
                  <a:lnTo>
                    <a:pt x="45" y="57"/>
                  </a:lnTo>
                  <a:lnTo>
                    <a:pt x="45" y="59"/>
                  </a:lnTo>
                  <a:lnTo>
                    <a:pt x="48" y="59"/>
                  </a:lnTo>
                  <a:lnTo>
                    <a:pt x="48" y="57"/>
                  </a:lnTo>
                  <a:lnTo>
                    <a:pt x="48" y="50"/>
                  </a:lnTo>
                  <a:lnTo>
                    <a:pt x="48" y="48"/>
                  </a:lnTo>
                  <a:lnTo>
                    <a:pt x="45" y="45"/>
                  </a:lnTo>
                  <a:lnTo>
                    <a:pt x="48" y="45"/>
                  </a:lnTo>
                  <a:lnTo>
                    <a:pt x="48" y="48"/>
                  </a:lnTo>
                  <a:lnTo>
                    <a:pt x="52" y="48"/>
                  </a:lnTo>
                  <a:lnTo>
                    <a:pt x="52" y="52"/>
                  </a:lnTo>
                  <a:lnTo>
                    <a:pt x="55" y="52"/>
                  </a:lnTo>
                  <a:lnTo>
                    <a:pt x="55" y="55"/>
                  </a:lnTo>
                  <a:lnTo>
                    <a:pt x="55" y="57"/>
                  </a:lnTo>
                  <a:lnTo>
                    <a:pt x="55" y="59"/>
                  </a:lnTo>
                  <a:lnTo>
                    <a:pt x="55" y="62"/>
                  </a:lnTo>
                  <a:lnTo>
                    <a:pt x="55" y="62"/>
                  </a:lnTo>
                  <a:lnTo>
                    <a:pt x="57" y="64"/>
                  </a:lnTo>
                  <a:lnTo>
                    <a:pt x="57" y="69"/>
                  </a:lnTo>
                  <a:lnTo>
                    <a:pt x="59" y="69"/>
                  </a:lnTo>
                  <a:lnTo>
                    <a:pt x="62" y="69"/>
                  </a:lnTo>
                  <a:lnTo>
                    <a:pt x="67" y="71"/>
                  </a:lnTo>
                  <a:lnTo>
                    <a:pt x="74" y="76"/>
                  </a:lnTo>
                  <a:lnTo>
                    <a:pt x="76" y="76"/>
                  </a:lnTo>
                  <a:lnTo>
                    <a:pt x="81" y="76"/>
                  </a:lnTo>
                  <a:lnTo>
                    <a:pt x="81" y="76"/>
                  </a:lnTo>
                  <a:lnTo>
                    <a:pt x="83" y="76"/>
                  </a:lnTo>
                  <a:lnTo>
                    <a:pt x="85" y="71"/>
                  </a:lnTo>
                  <a:lnTo>
                    <a:pt x="85" y="71"/>
                  </a:lnTo>
                  <a:lnTo>
                    <a:pt x="88" y="69"/>
                  </a:lnTo>
                  <a:lnTo>
                    <a:pt x="90" y="69"/>
                  </a:lnTo>
                  <a:lnTo>
                    <a:pt x="93" y="66"/>
                  </a:lnTo>
                  <a:lnTo>
                    <a:pt x="93" y="66"/>
                  </a:lnTo>
                  <a:lnTo>
                    <a:pt x="95" y="66"/>
                  </a:lnTo>
                  <a:lnTo>
                    <a:pt x="100" y="69"/>
                  </a:lnTo>
                  <a:lnTo>
                    <a:pt x="100" y="73"/>
                  </a:lnTo>
                  <a:lnTo>
                    <a:pt x="97" y="78"/>
                  </a:lnTo>
                  <a:lnTo>
                    <a:pt x="97" y="83"/>
                  </a:lnTo>
                  <a:lnTo>
                    <a:pt x="97" y="83"/>
                  </a:lnTo>
                  <a:lnTo>
                    <a:pt x="97" y="85"/>
                  </a:lnTo>
                  <a:lnTo>
                    <a:pt x="97" y="90"/>
                  </a:lnTo>
                  <a:lnTo>
                    <a:pt x="95" y="90"/>
                  </a:lnTo>
                  <a:lnTo>
                    <a:pt x="93" y="92"/>
                  </a:lnTo>
                  <a:lnTo>
                    <a:pt x="93" y="97"/>
                  </a:lnTo>
                  <a:lnTo>
                    <a:pt x="90" y="97"/>
                  </a:lnTo>
                  <a:lnTo>
                    <a:pt x="90" y="99"/>
                  </a:lnTo>
                  <a:lnTo>
                    <a:pt x="93" y="102"/>
                  </a:lnTo>
                  <a:lnTo>
                    <a:pt x="93" y="102"/>
                  </a:lnTo>
                  <a:lnTo>
                    <a:pt x="90" y="104"/>
                  </a:lnTo>
                  <a:lnTo>
                    <a:pt x="90" y="99"/>
                  </a:lnTo>
                  <a:lnTo>
                    <a:pt x="88" y="99"/>
                  </a:lnTo>
                  <a:lnTo>
                    <a:pt x="85" y="99"/>
                  </a:lnTo>
                  <a:lnTo>
                    <a:pt x="83" y="99"/>
                  </a:lnTo>
                  <a:lnTo>
                    <a:pt x="81" y="99"/>
                  </a:lnTo>
                  <a:lnTo>
                    <a:pt x="78" y="102"/>
                  </a:lnTo>
                  <a:lnTo>
                    <a:pt x="78" y="102"/>
                  </a:lnTo>
                  <a:lnTo>
                    <a:pt x="71" y="109"/>
                  </a:lnTo>
                  <a:lnTo>
                    <a:pt x="71" y="111"/>
                  </a:lnTo>
                  <a:lnTo>
                    <a:pt x="74" y="111"/>
                  </a:lnTo>
                  <a:lnTo>
                    <a:pt x="74" y="114"/>
                  </a:lnTo>
                  <a:lnTo>
                    <a:pt x="76" y="114"/>
                  </a:lnTo>
                  <a:lnTo>
                    <a:pt x="76" y="116"/>
                  </a:lnTo>
                  <a:lnTo>
                    <a:pt x="74" y="121"/>
                  </a:lnTo>
                  <a:lnTo>
                    <a:pt x="69" y="128"/>
                  </a:lnTo>
                  <a:lnTo>
                    <a:pt x="69" y="130"/>
                  </a:lnTo>
                  <a:lnTo>
                    <a:pt x="64" y="135"/>
                  </a:lnTo>
                  <a:lnTo>
                    <a:pt x="59" y="147"/>
                  </a:lnTo>
                  <a:lnTo>
                    <a:pt x="55" y="151"/>
                  </a:lnTo>
                  <a:lnTo>
                    <a:pt x="50" y="156"/>
                  </a:lnTo>
                  <a:lnTo>
                    <a:pt x="45" y="156"/>
                  </a:lnTo>
                  <a:lnTo>
                    <a:pt x="45" y="156"/>
                  </a:lnTo>
                  <a:lnTo>
                    <a:pt x="43" y="154"/>
                  </a:lnTo>
                  <a:lnTo>
                    <a:pt x="36" y="154"/>
                  </a:lnTo>
                  <a:lnTo>
                    <a:pt x="36" y="151"/>
                  </a:lnTo>
                  <a:lnTo>
                    <a:pt x="36" y="14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1" name="Freeform 458">
              <a:extLst>
                <a:ext uri="{FF2B5EF4-FFF2-40B4-BE49-F238E27FC236}">
                  <a16:creationId xmlns:a16="http://schemas.microsoft.com/office/drawing/2014/main" id="{9B0F9F78-C4A0-4157-90E4-0C1D5A9C0677}"/>
                </a:ext>
              </a:extLst>
            </p:cNvPr>
            <p:cNvSpPr>
              <a:spLocks/>
            </p:cNvSpPr>
            <p:nvPr/>
          </p:nvSpPr>
          <p:spPr bwMode="auto">
            <a:xfrm>
              <a:off x="8447186" y="5246214"/>
              <a:ext cx="320470" cy="499933"/>
            </a:xfrm>
            <a:custGeom>
              <a:avLst/>
              <a:gdLst>
                <a:gd name="T0" fmla="*/ 41 w 100"/>
                <a:gd name="T1" fmla="*/ 140 h 156"/>
                <a:gd name="T2" fmla="*/ 45 w 100"/>
                <a:gd name="T3" fmla="*/ 125 h 156"/>
                <a:gd name="T4" fmla="*/ 31 w 100"/>
                <a:gd name="T5" fmla="*/ 116 h 156"/>
                <a:gd name="T6" fmla="*/ 19 w 100"/>
                <a:gd name="T7" fmla="*/ 104 h 156"/>
                <a:gd name="T8" fmla="*/ 33 w 100"/>
                <a:gd name="T9" fmla="*/ 95 h 156"/>
                <a:gd name="T10" fmla="*/ 38 w 100"/>
                <a:gd name="T11" fmla="*/ 81 h 156"/>
                <a:gd name="T12" fmla="*/ 38 w 100"/>
                <a:gd name="T13" fmla="*/ 71 h 156"/>
                <a:gd name="T14" fmla="*/ 36 w 100"/>
                <a:gd name="T15" fmla="*/ 62 h 156"/>
                <a:gd name="T16" fmla="*/ 36 w 100"/>
                <a:gd name="T17" fmla="*/ 57 h 156"/>
                <a:gd name="T18" fmla="*/ 31 w 100"/>
                <a:gd name="T19" fmla="*/ 55 h 156"/>
                <a:gd name="T20" fmla="*/ 29 w 100"/>
                <a:gd name="T21" fmla="*/ 45 h 156"/>
                <a:gd name="T22" fmla="*/ 29 w 100"/>
                <a:gd name="T23" fmla="*/ 40 h 156"/>
                <a:gd name="T24" fmla="*/ 24 w 100"/>
                <a:gd name="T25" fmla="*/ 38 h 156"/>
                <a:gd name="T26" fmla="*/ 15 w 100"/>
                <a:gd name="T27" fmla="*/ 26 h 156"/>
                <a:gd name="T28" fmla="*/ 15 w 100"/>
                <a:gd name="T29" fmla="*/ 19 h 156"/>
                <a:gd name="T30" fmla="*/ 10 w 100"/>
                <a:gd name="T31" fmla="*/ 19 h 156"/>
                <a:gd name="T32" fmla="*/ 3 w 100"/>
                <a:gd name="T33" fmla="*/ 5 h 156"/>
                <a:gd name="T34" fmla="*/ 3 w 100"/>
                <a:gd name="T35" fmla="*/ 0 h 156"/>
                <a:gd name="T36" fmla="*/ 8 w 100"/>
                <a:gd name="T37" fmla="*/ 10 h 156"/>
                <a:gd name="T38" fmla="*/ 12 w 100"/>
                <a:gd name="T39" fmla="*/ 10 h 156"/>
                <a:gd name="T40" fmla="*/ 19 w 100"/>
                <a:gd name="T41" fmla="*/ 12 h 156"/>
                <a:gd name="T42" fmla="*/ 26 w 100"/>
                <a:gd name="T43" fmla="*/ 19 h 156"/>
                <a:gd name="T44" fmla="*/ 29 w 100"/>
                <a:gd name="T45" fmla="*/ 22 h 156"/>
                <a:gd name="T46" fmla="*/ 33 w 100"/>
                <a:gd name="T47" fmla="*/ 31 h 156"/>
                <a:gd name="T48" fmla="*/ 29 w 100"/>
                <a:gd name="T49" fmla="*/ 31 h 156"/>
                <a:gd name="T50" fmla="*/ 31 w 100"/>
                <a:gd name="T51" fmla="*/ 33 h 156"/>
                <a:gd name="T52" fmla="*/ 36 w 100"/>
                <a:gd name="T53" fmla="*/ 45 h 156"/>
                <a:gd name="T54" fmla="*/ 36 w 100"/>
                <a:gd name="T55" fmla="*/ 50 h 156"/>
                <a:gd name="T56" fmla="*/ 38 w 100"/>
                <a:gd name="T57" fmla="*/ 55 h 156"/>
                <a:gd name="T58" fmla="*/ 43 w 100"/>
                <a:gd name="T59" fmla="*/ 55 h 156"/>
                <a:gd name="T60" fmla="*/ 48 w 100"/>
                <a:gd name="T61" fmla="*/ 57 h 156"/>
                <a:gd name="T62" fmla="*/ 48 w 100"/>
                <a:gd name="T63" fmla="*/ 45 h 156"/>
                <a:gd name="T64" fmla="*/ 55 w 100"/>
                <a:gd name="T65" fmla="*/ 52 h 156"/>
                <a:gd name="T66" fmla="*/ 55 w 100"/>
                <a:gd name="T67" fmla="*/ 62 h 156"/>
                <a:gd name="T68" fmla="*/ 59 w 100"/>
                <a:gd name="T69" fmla="*/ 69 h 156"/>
                <a:gd name="T70" fmla="*/ 76 w 100"/>
                <a:gd name="T71" fmla="*/ 76 h 156"/>
                <a:gd name="T72" fmla="*/ 85 w 100"/>
                <a:gd name="T73" fmla="*/ 71 h 156"/>
                <a:gd name="T74" fmla="*/ 93 w 100"/>
                <a:gd name="T75" fmla="*/ 66 h 156"/>
                <a:gd name="T76" fmla="*/ 100 w 100"/>
                <a:gd name="T77" fmla="*/ 73 h 156"/>
                <a:gd name="T78" fmla="*/ 97 w 100"/>
                <a:gd name="T79" fmla="*/ 85 h 156"/>
                <a:gd name="T80" fmla="*/ 93 w 100"/>
                <a:gd name="T81" fmla="*/ 97 h 156"/>
                <a:gd name="T82" fmla="*/ 93 w 100"/>
                <a:gd name="T83" fmla="*/ 102 h 156"/>
                <a:gd name="T84" fmla="*/ 85 w 100"/>
                <a:gd name="T85" fmla="*/ 99 h 156"/>
                <a:gd name="T86" fmla="*/ 78 w 100"/>
                <a:gd name="T87" fmla="*/ 102 h 156"/>
                <a:gd name="T88" fmla="*/ 74 w 100"/>
                <a:gd name="T89" fmla="*/ 114 h 156"/>
                <a:gd name="T90" fmla="*/ 69 w 100"/>
                <a:gd name="T91" fmla="*/ 128 h 156"/>
                <a:gd name="T92" fmla="*/ 55 w 100"/>
                <a:gd name="T93" fmla="*/ 151 h 156"/>
                <a:gd name="T94" fmla="*/ 43 w 100"/>
                <a:gd name="T95"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56">
                  <a:moveTo>
                    <a:pt x="36" y="149"/>
                  </a:moveTo>
                  <a:lnTo>
                    <a:pt x="38" y="147"/>
                  </a:lnTo>
                  <a:lnTo>
                    <a:pt x="38" y="142"/>
                  </a:lnTo>
                  <a:lnTo>
                    <a:pt x="41" y="140"/>
                  </a:lnTo>
                  <a:lnTo>
                    <a:pt x="43" y="137"/>
                  </a:lnTo>
                  <a:lnTo>
                    <a:pt x="43" y="133"/>
                  </a:lnTo>
                  <a:lnTo>
                    <a:pt x="45" y="130"/>
                  </a:lnTo>
                  <a:lnTo>
                    <a:pt x="45" y="125"/>
                  </a:lnTo>
                  <a:lnTo>
                    <a:pt x="43" y="123"/>
                  </a:lnTo>
                  <a:lnTo>
                    <a:pt x="38" y="118"/>
                  </a:lnTo>
                  <a:lnTo>
                    <a:pt x="36" y="118"/>
                  </a:lnTo>
                  <a:lnTo>
                    <a:pt x="31" y="116"/>
                  </a:lnTo>
                  <a:lnTo>
                    <a:pt x="26" y="111"/>
                  </a:lnTo>
                  <a:lnTo>
                    <a:pt x="22" y="111"/>
                  </a:lnTo>
                  <a:lnTo>
                    <a:pt x="19" y="107"/>
                  </a:lnTo>
                  <a:lnTo>
                    <a:pt x="19" y="104"/>
                  </a:lnTo>
                  <a:lnTo>
                    <a:pt x="22" y="99"/>
                  </a:lnTo>
                  <a:lnTo>
                    <a:pt x="26" y="99"/>
                  </a:lnTo>
                  <a:lnTo>
                    <a:pt x="29" y="97"/>
                  </a:lnTo>
                  <a:lnTo>
                    <a:pt x="33" y="95"/>
                  </a:lnTo>
                  <a:lnTo>
                    <a:pt x="33" y="90"/>
                  </a:lnTo>
                  <a:lnTo>
                    <a:pt x="33" y="83"/>
                  </a:lnTo>
                  <a:lnTo>
                    <a:pt x="36" y="78"/>
                  </a:lnTo>
                  <a:lnTo>
                    <a:pt x="38" y="81"/>
                  </a:lnTo>
                  <a:lnTo>
                    <a:pt x="38" y="78"/>
                  </a:lnTo>
                  <a:lnTo>
                    <a:pt x="38" y="76"/>
                  </a:lnTo>
                  <a:lnTo>
                    <a:pt x="38" y="73"/>
                  </a:lnTo>
                  <a:lnTo>
                    <a:pt x="38" y="71"/>
                  </a:lnTo>
                  <a:lnTo>
                    <a:pt x="38" y="71"/>
                  </a:lnTo>
                  <a:lnTo>
                    <a:pt x="36" y="66"/>
                  </a:lnTo>
                  <a:lnTo>
                    <a:pt x="38" y="62"/>
                  </a:lnTo>
                  <a:lnTo>
                    <a:pt x="36" y="62"/>
                  </a:lnTo>
                  <a:lnTo>
                    <a:pt x="33" y="59"/>
                  </a:lnTo>
                  <a:lnTo>
                    <a:pt x="33" y="57"/>
                  </a:lnTo>
                  <a:lnTo>
                    <a:pt x="36" y="57"/>
                  </a:lnTo>
                  <a:lnTo>
                    <a:pt x="36" y="57"/>
                  </a:lnTo>
                  <a:lnTo>
                    <a:pt x="36" y="55"/>
                  </a:lnTo>
                  <a:lnTo>
                    <a:pt x="36" y="55"/>
                  </a:lnTo>
                  <a:lnTo>
                    <a:pt x="33" y="55"/>
                  </a:lnTo>
                  <a:lnTo>
                    <a:pt x="31" y="55"/>
                  </a:lnTo>
                  <a:lnTo>
                    <a:pt x="29" y="48"/>
                  </a:lnTo>
                  <a:lnTo>
                    <a:pt x="26" y="43"/>
                  </a:lnTo>
                  <a:lnTo>
                    <a:pt x="29" y="48"/>
                  </a:lnTo>
                  <a:lnTo>
                    <a:pt x="29" y="45"/>
                  </a:lnTo>
                  <a:lnTo>
                    <a:pt x="29" y="43"/>
                  </a:lnTo>
                  <a:lnTo>
                    <a:pt x="29" y="43"/>
                  </a:lnTo>
                  <a:lnTo>
                    <a:pt x="26" y="40"/>
                  </a:lnTo>
                  <a:lnTo>
                    <a:pt x="29" y="40"/>
                  </a:lnTo>
                  <a:lnTo>
                    <a:pt x="29" y="38"/>
                  </a:lnTo>
                  <a:lnTo>
                    <a:pt x="26" y="36"/>
                  </a:lnTo>
                  <a:lnTo>
                    <a:pt x="26" y="38"/>
                  </a:lnTo>
                  <a:lnTo>
                    <a:pt x="24" y="38"/>
                  </a:lnTo>
                  <a:lnTo>
                    <a:pt x="24" y="38"/>
                  </a:lnTo>
                  <a:lnTo>
                    <a:pt x="24" y="40"/>
                  </a:lnTo>
                  <a:lnTo>
                    <a:pt x="19" y="33"/>
                  </a:lnTo>
                  <a:lnTo>
                    <a:pt x="15" y="26"/>
                  </a:lnTo>
                  <a:lnTo>
                    <a:pt x="12" y="24"/>
                  </a:lnTo>
                  <a:lnTo>
                    <a:pt x="12" y="24"/>
                  </a:lnTo>
                  <a:lnTo>
                    <a:pt x="15" y="22"/>
                  </a:lnTo>
                  <a:lnTo>
                    <a:pt x="15" y="19"/>
                  </a:lnTo>
                  <a:lnTo>
                    <a:pt x="15" y="19"/>
                  </a:lnTo>
                  <a:lnTo>
                    <a:pt x="12" y="19"/>
                  </a:lnTo>
                  <a:lnTo>
                    <a:pt x="12" y="22"/>
                  </a:lnTo>
                  <a:lnTo>
                    <a:pt x="10" y="19"/>
                  </a:lnTo>
                  <a:lnTo>
                    <a:pt x="8" y="17"/>
                  </a:lnTo>
                  <a:lnTo>
                    <a:pt x="8" y="14"/>
                  </a:lnTo>
                  <a:lnTo>
                    <a:pt x="8" y="10"/>
                  </a:lnTo>
                  <a:lnTo>
                    <a:pt x="3" y="5"/>
                  </a:lnTo>
                  <a:lnTo>
                    <a:pt x="0" y="3"/>
                  </a:lnTo>
                  <a:lnTo>
                    <a:pt x="0" y="0"/>
                  </a:lnTo>
                  <a:lnTo>
                    <a:pt x="3" y="0"/>
                  </a:lnTo>
                  <a:lnTo>
                    <a:pt x="3" y="0"/>
                  </a:lnTo>
                  <a:lnTo>
                    <a:pt x="5" y="0"/>
                  </a:lnTo>
                  <a:lnTo>
                    <a:pt x="5" y="3"/>
                  </a:lnTo>
                  <a:lnTo>
                    <a:pt x="8" y="7"/>
                  </a:lnTo>
                  <a:lnTo>
                    <a:pt x="8" y="10"/>
                  </a:lnTo>
                  <a:lnTo>
                    <a:pt x="8" y="12"/>
                  </a:lnTo>
                  <a:lnTo>
                    <a:pt x="10" y="10"/>
                  </a:lnTo>
                  <a:lnTo>
                    <a:pt x="12" y="10"/>
                  </a:lnTo>
                  <a:lnTo>
                    <a:pt x="12" y="10"/>
                  </a:lnTo>
                  <a:lnTo>
                    <a:pt x="12" y="12"/>
                  </a:lnTo>
                  <a:lnTo>
                    <a:pt x="15" y="10"/>
                  </a:lnTo>
                  <a:lnTo>
                    <a:pt x="17" y="12"/>
                  </a:lnTo>
                  <a:lnTo>
                    <a:pt x="19" y="12"/>
                  </a:lnTo>
                  <a:lnTo>
                    <a:pt x="22" y="12"/>
                  </a:lnTo>
                  <a:lnTo>
                    <a:pt x="24" y="14"/>
                  </a:lnTo>
                  <a:lnTo>
                    <a:pt x="22" y="17"/>
                  </a:lnTo>
                  <a:lnTo>
                    <a:pt x="26" y="19"/>
                  </a:lnTo>
                  <a:lnTo>
                    <a:pt x="26" y="17"/>
                  </a:lnTo>
                  <a:lnTo>
                    <a:pt x="26" y="19"/>
                  </a:lnTo>
                  <a:lnTo>
                    <a:pt x="26" y="22"/>
                  </a:lnTo>
                  <a:lnTo>
                    <a:pt x="29" y="22"/>
                  </a:lnTo>
                  <a:lnTo>
                    <a:pt x="31" y="24"/>
                  </a:lnTo>
                  <a:lnTo>
                    <a:pt x="31" y="26"/>
                  </a:lnTo>
                  <a:lnTo>
                    <a:pt x="31" y="29"/>
                  </a:lnTo>
                  <a:lnTo>
                    <a:pt x="33" y="31"/>
                  </a:lnTo>
                  <a:lnTo>
                    <a:pt x="31" y="29"/>
                  </a:lnTo>
                  <a:lnTo>
                    <a:pt x="29" y="29"/>
                  </a:lnTo>
                  <a:lnTo>
                    <a:pt x="26" y="29"/>
                  </a:lnTo>
                  <a:lnTo>
                    <a:pt x="29" y="31"/>
                  </a:lnTo>
                  <a:lnTo>
                    <a:pt x="29" y="31"/>
                  </a:lnTo>
                  <a:lnTo>
                    <a:pt x="29" y="31"/>
                  </a:lnTo>
                  <a:lnTo>
                    <a:pt x="31" y="31"/>
                  </a:lnTo>
                  <a:lnTo>
                    <a:pt x="31" y="33"/>
                  </a:lnTo>
                  <a:lnTo>
                    <a:pt x="33" y="36"/>
                  </a:lnTo>
                  <a:lnTo>
                    <a:pt x="36" y="40"/>
                  </a:lnTo>
                  <a:lnTo>
                    <a:pt x="38" y="43"/>
                  </a:lnTo>
                  <a:lnTo>
                    <a:pt x="36" y="45"/>
                  </a:lnTo>
                  <a:lnTo>
                    <a:pt x="36" y="48"/>
                  </a:lnTo>
                  <a:lnTo>
                    <a:pt x="36" y="48"/>
                  </a:lnTo>
                  <a:lnTo>
                    <a:pt x="36" y="50"/>
                  </a:lnTo>
                  <a:lnTo>
                    <a:pt x="36" y="50"/>
                  </a:lnTo>
                  <a:lnTo>
                    <a:pt x="33" y="52"/>
                  </a:lnTo>
                  <a:lnTo>
                    <a:pt x="36" y="52"/>
                  </a:lnTo>
                  <a:lnTo>
                    <a:pt x="36" y="52"/>
                  </a:lnTo>
                  <a:lnTo>
                    <a:pt x="38" y="55"/>
                  </a:lnTo>
                  <a:lnTo>
                    <a:pt x="41" y="55"/>
                  </a:lnTo>
                  <a:lnTo>
                    <a:pt x="41" y="52"/>
                  </a:lnTo>
                  <a:lnTo>
                    <a:pt x="43" y="52"/>
                  </a:lnTo>
                  <a:lnTo>
                    <a:pt x="43" y="55"/>
                  </a:lnTo>
                  <a:lnTo>
                    <a:pt x="45" y="57"/>
                  </a:lnTo>
                  <a:lnTo>
                    <a:pt x="45" y="59"/>
                  </a:lnTo>
                  <a:lnTo>
                    <a:pt x="48" y="59"/>
                  </a:lnTo>
                  <a:lnTo>
                    <a:pt x="48" y="57"/>
                  </a:lnTo>
                  <a:lnTo>
                    <a:pt x="48" y="50"/>
                  </a:lnTo>
                  <a:lnTo>
                    <a:pt x="48" y="48"/>
                  </a:lnTo>
                  <a:lnTo>
                    <a:pt x="45" y="45"/>
                  </a:lnTo>
                  <a:lnTo>
                    <a:pt x="48" y="45"/>
                  </a:lnTo>
                  <a:lnTo>
                    <a:pt x="48" y="48"/>
                  </a:lnTo>
                  <a:lnTo>
                    <a:pt x="52" y="48"/>
                  </a:lnTo>
                  <a:lnTo>
                    <a:pt x="52" y="52"/>
                  </a:lnTo>
                  <a:lnTo>
                    <a:pt x="55" y="52"/>
                  </a:lnTo>
                  <a:lnTo>
                    <a:pt x="55" y="55"/>
                  </a:lnTo>
                  <a:lnTo>
                    <a:pt x="55" y="57"/>
                  </a:lnTo>
                  <a:lnTo>
                    <a:pt x="55" y="59"/>
                  </a:lnTo>
                  <a:lnTo>
                    <a:pt x="55" y="62"/>
                  </a:lnTo>
                  <a:lnTo>
                    <a:pt x="55" y="62"/>
                  </a:lnTo>
                  <a:lnTo>
                    <a:pt x="57" y="64"/>
                  </a:lnTo>
                  <a:lnTo>
                    <a:pt x="57" y="69"/>
                  </a:lnTo>
                  <a:lnTo>
                    <a:pt x="59" y="69"/>
                  </a:lnTo>
                  <a:lnTo>
                    <a:pt x="62" y="69"/>
                  </a:lnTo>
                  <a:lnTo>
                    <a:pt x="67" y="71"/>
                  </a:lnTo>
                  <a:lnTo>
                    <a:pt x="74" y="76"/>
                  </a:lnTo>
                  <a:lnTo>
                    <a:pt x="76" y="76"/>
                  </a:lnTo>
                  <a:lnTo>
                    <a:pt x="81" y="76"/>
                  </a:lnTo>
                  <a:lnTo>
                    <a:pt x="81" y="76"/>
                  </a:lnTo>
                  <a:lnTo>
                    <a:pt x="83" y="76"/>
                  </a:lnTo>
                  <a:lnTo>
                    <a:pt x="85" y="71"/>
                  </a:lnTo>
                  <a:lnTo>
                    <a:pt x="85" y="71"/>
                  </a:lnTo>
                  <a:lnTo>
                    <a:pt x="88" y="69"/>
                  </a:lnTo>
                  <a:lnTo>
                    <a:pt x="90" y="69"/>
                  </a:lnTo>
                  <a:lnTo>
                    <a:pt x="93" y="66"/>
                  </a:lnTo>
                  <a:lnTo>
                    <a:pt x="93" y="66"/>
                  </a:lnTo>
                  <a:lnTo>
                    <a:pt x="95" y="66"/>
                  </a:lnTo>
                  <a:lnTo>
                    <a:pt x="100" y="69"/>
                  </a:lnTo>
                  <a:lnTo>
                    <a:pt x="100" y="73"/>
                  </a:lnTo>
                  <a:lnTo>
                    <a:pt x="97" y="78"/>
                  </a:lnTo>
                  <a:lnTo>
                    <a:pt x="97" y="83"/>
                  </a:lnTo>
                  <a:lnTo>
                    <a:pt x="97" y="83"/>
                  </a:lnTo>
                  <a:lnTo>
                    <a:pt x="97" y="85"/>
                  </a:lnTo>
                  <a:lnTo>
                    <a:pt x="97" y="90"/>
                  </a:lnTo>
                  <a:lnTo>
                    <a:pt x="95" y="90"/>
                  </a:lnTo>
                  <a:lnTo>
                    <a:pt x="93" y="92"/>
                  </a:lnTo>
                  <a:lnTo>
                    <a:pt x="93" y="97"/>
                  </a:lnTo>
                  <a:lnTo>
                    <a:pt x="90" y="97"/>
                  </a:lnTo>
                  <a:lnTo>
                    <a:pt x="90" y="99"/>
                  </a:lnTo>
                  <a:lnTo>
                    <a:pt x="93" y="102"/>
                  </a:lnTo>
                  <a:lnTo>
                    <a:pt x="93" y="102"/>
                  </a:lnTo>
                  <a:lnTo>
                    <a:pt x="90" y="104"/>
                  </a:lnTo>
                  <a:lnTo>
                    <a:pt x="90" y="99"/>
                  </a:lnTo>
                  <a:lnTo>
                    <a:pt x="88" y="99"/>
                  </a:lnTo>
                  <a:lnTo>
                    <a:pt x="85" y="99"/>
                  </a:lnTo>
                  <a:lnTo>
                    <a:pt x="83" y="99"/>
                  </a:lnTo>
                  <a:lnTo>
                    <a:pt x="81" y="99"/>
                  </a:lnTo>
                  <a:lnTo>
                    <a:pt x="78" y="102"/>
                  </a:lnTo>
                  <a:lnTo>
                    <a:pt x="78" y="102"/>
                  </a:lnTo>
                  <a:lnTo>
                    <a:pt x="71" y="109"/>
                  </a:lnTo>
                  <a:lnTo>
                    <a:pt x="71" y="111"/>
                  </a:lnTo>
                  <a:lnTo>
                    <a:pt x="74" y="111"/>
                  </a:lnTo>
                  <a:lnTo>
                    <a:pt x="74" y="114"/>
                  </a:lnTo>
                  <a:lnTo>
                    <a:pt x="76" y="114"/>
                  </a:lnTo>
                  <a:lnTo>
                    <a:pt x="76" y="116"/>
                  </a:lnTo>
                  <a:lnTo>
                    <a:pt x="74" y="121"/>
                  </a:lnTo>
                  <a:lnTo>
                    <a:pt x="69" y="128"/>
                  </a:lnTo>
                  <a:lnTo>
                    <a:pt x="69" y="130"/>
                  </a:lnTo>
                  <a:lnTo>
                    <a:pt x="64" y="135"/>
                  </a:lnTo>
                  <a:lnTo>
                    <a:pt x="59" y="147"/>
                  </a:lnTo>
                  <a:lnTo>
                    <a:pt x="55" y="151"/>
                  </a:lnTo>
                  <a:lnTo>
                    <a:pt x="50" y="156"/>
                  </a:lnTo>
                  <a:lnTo>
                    <a:pt x="45" y="156"/>
                  </a:lnTo>
                  <a:lnTo>
                    <a:pt x="45" y="156"/>
                  </a:lnTo>
                  <a:lnTo>
                    <a:pt x="43" y="154"/>
                  </a:lnTo>
                  <a:lnTo>
                    <a:pt x="36" y="154"/>
                  </a:lnTo>
                  <a:lnTo>
                    <a:pt x="36" y="151"/>
                  </a:lnTo>
                  <a:lnTo>
                    <a:pt x="36" y="14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2" name="Freeform 487">
              <a:extLst>
                <a:ext uri="{FF2B5EF4-FFF2-40B4-BE49-F238E27FC236}">
                  <a16:creationId xmlns:a16="http://schemas.microsoft.com/office/drawing/2014/main" id="{26B4F2EA-6F21-49C3-A133-73C2B56CE58B}"/>
                </a:ext>
              </a:extLst>
            </p:cNvPr>
            <p:cNvSpPr>
              <a:spLocks/>
            </p:cNvSpPr>
            <p:nvPr/>
          </p:nvSpPr>
          <p:spPr bwMode="auto">
            <a:xfrm>
              <a:off x="7828680" y="3772050"/>
              <a:ext cx="51275" cy="35253"/>
            </a:xfrm>
            <a:custGeom>
              <a:avLst/>
              <a:gdLst>
                <a:gd name="T0" fmla="*/ 0 w 16"/>
                <a:gd name="T1" fmla="*/ 0 h 11"/>
                <a:gd name="T2" fmla="*/ 0 w 16"/>
                <a:gd name="T3" fmla="*/ 2 h 11"/>
                <a:gd name="T4" fmla="*/ 2 w 16"/>
                <a:gd name="T5" fmla="*/ 2 h 11"/>
                <a:gd name="T6" fmla="*/ 12 w 16"/>
                <a:gd name="T7" fmla="*/ 4 h 11"/>
                <a:gd name="T8" fmla="*/ 12 w 16"/>
                <a:gd name="T9" fmla="*/ 7 h 11"/>
                <a:gd name="T10" fmla="*/ 14 w 16"/>
                <a:gd name="T11" fmla="*/ 9 h 11"/>
                <a:gd name="T12" fmla="*/ 14 w 16"/>
                <a:gd name="T13" fmla="*/ 9 h 11"/>
                <a:gd name="T14" fmla="*/ 16 w 16"/>
                <a:gd name="T15" fmla="*/ 11 h 11"/>
                <a:gd name="T16" fmla="*/ 14 w 16"/>
                <a:gd name="T17" fmla="*/ 11 h 11"/>
                <a:gd name="T18" fmla="*/ 9 w 16"/>
                <a:gd name="T19" fmla="*/ 11 h 11"/>
                <a:gd name="T20" fmla="*/ 7 w 16"/>
                <a:gd name="T21" fmla="*/ 9 h 11"/>
                <a:gd name="T22" fmla="*/ 4 w 16"/>
                <a:gd name="T23" fmla="*/ 7 h 11"/>
                <a:gd name="T24" fmla="*/ 2 w 16"/>
                <a:gd name="T25" fmla="*/ 4 h 11"/>
                <a:gd name="T26" fmla="*/ 0 w 16"/>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1">
                  <a:moveTo>
                    <a:pt x="0" y="0"/>
                  </a:moveTo>
                  <a:lnTo>
                    <a:pt x="0" y="2"/>
                  </a:lnTo>
                  <a:lnTo>
                    <a:pt x="2" y="2"/>
                  </a:lnTo>
                  <a:lnTo>
                    <a:pt x="12" y="4"/>
                  </a:lnTo>
                  <a:lnTo>
                    <a:pt x="12" y="7"/>
                  </a:lnTo>
                  <a:lnTo>
                    <a:pt x="14" y="9"/>
                  </a:lnTo>
                  <a:lnTo>
                    <a:pt x="14" y="9"/>
                  </a:lnTo>
                  <a:lnTo>
                    <a:pt x="16" y="11"/>
                  </a:lnTo>
                  <a:lnTo>
                    <a:pt x="14" y="11"/>
                  </a:lnTo>
                  <a:lnTo>
                    <a:pt x="9" y="11"/>
                  </a:lnTo>
                  <a:lnTo>
                    <a:pt x="7" y="9"/>
                  </a:lnTo>
                  <a:lnTo>
                    <a:pt x="4" y="7"/>
                  </a:lnTo>
                  <a:lnTo>
                    <a:pt x="2" y="4"/>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3" name="Freeform 488">
              <a:extLst>
                <a:ext uri="{FF2B5EF4-FFF2-40B4-BE49-F238E27FC236}">
                  <a16:creationId xmlns:a16="http://schemas.microsoft.com/office/drawing/2014/main" id="{FEBC3EE5-F05F-4E39-ABD2-0810E065A081}"/>
                </a:ext>
              </a:extLst>
            </p:cNvPr>
            <p:cNvSpPr>
              <a:spLocks/>
            </p:cNvSpPr>
            <p:nvPr/>
          </p:nvSpPr>
          <p:spPr bwMode="auto">
            <a:xfrm>
              <a:off x="7828680" y="3772050"/>
              <a:ext cx="51275" cy="35253"/>
            </a:xfrm>
            <a:custGeom>
              <a:avLst/>
              <a:gdLst>
                <a:gd name="T0" fmla="*/ 0 w 16"/>
                <a:gd name="T1" fmla="*/ 0 h 11"/>
                <a:gd name="T2" fmla="*/ 0 w 16"/>
                <a:gd name="T3" fmla="*/ 2 h 11"/>
                <a:gd name="T4" fmla="*/ 2 w 16"/>
                <a:gd name="T5" fmla="*/ 2 h 11"/>
                <a:gd name="T6" fmla="*/ 12 w 16"/>
                <a:gd name="T7" fmla="*/ 4 h 11"/>
                <a:gd name="T8" fmla="*/ 12 w 16"/>
                <a:gd name="T9" fmla="*/ 7 h 11"/>
                <a:gd name="T10" fmla="*/ 14 w 16"/>
                <a:gd name="T11" fmla="*/ 9 h 11"/>
                <a:gd name="T12" fmla="*/ 14 w 16"/>
                <a:gd name="T13" fmla="*/ 9 h 11"/>
                <a:gd name="T14" fmla="*/ 16 w 16"/>
                <a:gd name="T15" fmla="*/ 11 h 11"/>
                <a:gd name="T16" fmla="*/ 14 w 16"/>
                <a:gd name="T17" fmla="*/ 11 h 11"/>
                <a:gd name="T18" fmla="*/ 9 w 16"/>
                <a:gd name="T19" fmla="*/ 11 h 11"/>
                <a:gd name="T20" fmla="*/ 7 w 16"/>
                <a:gd name="T21" fmla="*/ 9 h 11"/>
                <a:gd name="T22" fmla="*/ 4 w 16"/>
                <a:gd name="T23" fmla="*/ 7 h 11"/>
                <a:gd name="T24" fmla="*/ 2 w 16"/>
                <a:gd name="T25" fmla="*/ 4 h 11"/>
                <a:gd name="T26" fmla="*/ 0 w 16"/>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1">
                  <a:moveTo>
                    <a:pt x="0" y="0"/>
                  </a:moveTo>
                  <a:lnTo>
                    <a:pt x="0" y="2"/>
                  </a:lnTo>
                  <a:lnTo>
                    <a:pt x="2" y="2"/>
                  </a:lnTo>
                  <a:lnTo>
                    <a:pt x="12" y="4"/>
                  </a:lnTo>
                  <a:lnTo>
                    <a:pt x="12" y="7"/>
                  </a:lnTo>
                  <a:lnTo>
                    <a:pt x="14" y="9"/>
                  </a:lnTo>
                  <a:lnTo>
                    <a:pt x="14" y="9"/>
                  </a:lnTo>
                  <a:lnTo>
                    <a:pt x="16" y="11"/>
                  </a:lnTo>
                  <a:lnTo>
                    <a:pt x="14" y="11"/>
                  </a:lnTo>
                  <a:lnTo>
                    <a:pt x="9" y="11"/>
                  </a:lnTo>
                  <a:lnTo>
                    <a:pt x="7" y="9"/>
                  </a:lnTo>
                  <a:lnTo>
                    <a:pt x="4" y="7"/>
                  </a:lnTo>
                  <a:lnTo>
                    <a:pt x="2" y="4"/>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4" name="Freeform 489">
              <a:extLst>
                <a:ext uri="{FF2B5EF4-FFF2-40B4-BE49-F238E27FC236}">
                  <a16:creationId xmlns:a16="http://schemas.microsoft.com/office/drawing/2014/main" id="{C07E4BF7-F2D3-4356-81B5-447E225DCFA7}"/>
                </a:ext>
              </a:extLst>
            </p:cNvPr>
            <p:cNvSpPr>
              <a:spLocks/>
            </p:cNvSpPr>
            <p:nvPr/>
          </p:nvSpPr>
          <p:spPr bwMode="auto">
            <a:xfrm>
              <a:off x="8062621" y="3800892"/>
              <a:ext cx="22434" cy="6410"/>
            </a:xfrm>
            <a:custGeom>
              <a:avLst/>
              <a:gdLst>
                <a:gd name="T0" fmla="*/ 0 w 7"/>
                <a:gd name="T1" fmla="*/ 2 h 2"/>
                <a:gd name="T2" fmla="*/ 0 w 7"/>
                <a:gd name="T3" fmla="*/ 2 h 2"/>
                <a:gd name="T4" fmla="*/ 0 w 7"/>
                <a:gd name="T5" fmla="*/ 2 h 2"/>
                <a:gd name="T6" fmla="*/ 2 w 7"/>
                <a:gd name="T7" fmla="*/ 0 h 2"/>
                <a:gd name="T8" fmla="*/ 5 w 7"/>
                <a:gd name="T9" fmla="*/ 0 h 2"/>
                <a:gd name="T10" fmla="*/ 5 w 7"/>
                <a:gd name="T11" fmla="*/ 0 h 2"/>
                <a:gd name="T12" fmla="*/ 7 w 7"/>
                <a:gd name="T13" fmla="*/ 2 h 2"/>
                <a:gd name="T14" fmla="*/ 5 w 7"/>
                <a:gd name="T15" fmla="*/ 2 h 2"/>
                <a:gd name="T16" fmla="*/ 2 w 7"/>
                <a:gd name="T17" fmla="*/ 2 h 2"/>
                <a:gd name="T18" fmla="*/ 2 w 7"/>
                <a:gd name="T19" fmla="*/ 2 h 2"/>
                <a:gd name="T20" fmla="*/ 2 w 7"/>
                <a:gd name="T21" fmla="*/ 2 h 2"/>
                <a:gd name="T22" fmla="*/ 0 w 7"/>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0" y="2"/>
                  </a:moveTo>
                  <a:lnTo>
                    <a:pt x="0" y="2"/>
                  </a:lnTo>
                  <a:lnTo>
                    <a:pt x="0" y="2"/>
                  </a:lnTo>
                  <a:lnTo>
                    <a:pt x="2" y="0"/>
                  </a:lnTo>
                  <a:lnTo>
                    <a:pt x="5" y="0"/>
                  </a:lnTo>
                  <a:lnTo>
                    <a:pt x="5" y="0"/>
                  </a:lnTo>
                  <a:lnTo>
                    <a:pt x="7" y="2"/>
                  </a:lnTo>
                  <a:lnTo>
                    <a:pt x="5" y="2"/>
                  </a:lnTo>
                  <a:lnTo>
                    <a:pt x="2" y="2"/>
                  </a:lnTo>
                  <a:lnTo>
                    <a:pt x="2" y="2"/>
                  </a:lnTo>
                  <a:lnTo>
                    <a:pt x="2"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5" name="Freeform 490">
              <a:extLst>
                <a:ext uri="{FF2B5EF4-FFF2-40B4-BE49-F238E27FC236}">
                  <a16:creationId xmlns:a16="http://schemas.microsoft.com/office/drawing/2014/main" id="{6C9487E9-9269-4951-B3C5-855928CD59E2}"/>
                </a:ext>
              </a:extLst>
            </p:cNvPr>
            <p:cNvSpPr>
              <a:spLocks/>
            </p:cNvSpPr>
            <p:nvPr/>
          </p:nvSpPr>
          <p:spPr bwMode="auto">
            <a:xfrm>
              <a:off x="8062621" y="3800892"/>
              <a:ext cx="22434" cy="6410"/>
            </a:xfrm>
            <a:custGeom>
              <a:avLst/>
              <a:gdLst>
                <a:gd name="T0" fmla="*/ 0 w 7"/>
                <a:gd name="T1" fmla="*/ 2 h 2"/>
                <a:gd name="T2" fmla="*/ 0 w 7"/>
                <a:gd name="T3" fmla="*/ 2 h 2"/>
                <a:gd name="T4" fmla="*/ 0 w 7"/>
                <a:gd name="T5" fmla="*/ 2 h 2"/>
                <a:gd name="T6" fmla="*/ 2 w 7"/>
                <a:gd name="T7" fmla="*/ 0 h 2"/>
                <a:gd name="T8" fmla="*/ 5 w 7"/>
                <a:gd name="T9" fmla="*/ 0 h 2"/>
                <a:gd name="T10" fmla="*/ 5 w 7"/>
                <a:gd name="T11" fmla="*/ 0 h 2"/>
                <a:gd name="T12" fmla="*/ 7 w 7"/>
                <a:gd name="T13" fmla="*/ 2 h 2"/>
                <a:gd name="T14" fmla="*/ 5 w 7"/>
                <a:gd name="T15" fmla="*/ 2 h 2"/>
                <a:gd name="T16" fmla="*/ 2 w 7"/>
                <a:gd name="T17" fmla="*/ 2 h 2"/>
                <a:gd name="T18" fmla="*/ 2 w 7"/>
                <a:gd name="T19" fmla="*/ 2 h 2"/>
                <a:gd name="T20" fmla="*/ 2 w 7"/>
                <a:gd name="T21" fmla="*/ 2 h 2"/>
                <a:gd name="T22" fmla="*/ 0 w 7"/>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0" y="2"/>
                  </a:moveTo>
                  <a:lnTo>
                    <a:pt x="0" y="2"/>
                  </a:lnTo>
                  <a:lnTo>
                    <a:pt x="0" y="2"/>
                  </a:lnTo>
                  <a:lnTo>
                    <a:pt x="2" y="0"/>
                  </a:lnTo>
                  <a:lnTo>
                    <a:pt x="5" y="0"/>
                  </a:lnTo>
                  <a:lnTo>
                    <a:pt x="5" y="0"/>
                  </a:lnTo>
                  <a:lnTo>
                    <a:pt x="7" y="2"/>
                  </a:lnTo>
                  <a:lnTo>
                    <a:pt x="5" y="2"/>
                  </a:lnTo>
                  <a:lnTo>
                    <a:pt x="2" y="2"/>
                  </a:lnTo>
                  <a:lnTo>
                    <a:pt x="2" y="2"/>
                  </a:lnTo>
                  <a:lnTo>
                    <a:pt x="2"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6" name="Freeform 802">
              <a:extLst>
                <a:ext uri="{FF2B5EF4-FFF2-40B4-BE49-F238E27FC236}">
                  <a16:creationId xmlns:a16="http://schemas.microsoft.com/office/drawing/2014/main" id="{0173AF30-D7D6-4ADB-B2A4-BFDD7A65B765}"/>
                </a:ext>
              </a:extLst>
            </p:cNvPr>
            <p:cNvSpPr>
              <a:spLocks/>
            </p:cNvSpPr>
            <p:nvPr/>
          </p:nvSpPr>
          <p:spPr bwMode="auto">
            <a:xfrm>
              <a:off x="8697154" y="4179046"/>
              <a:ext cx="76912" cy="54480"/>
            </a:xfrm>
            <a:custGeom>
              <a:avLst/>
              <a:gdLst>
                <a:gd name="T0" fmla="*/ 12 w 24"/>
                <a:gd name="T1" fmla="*/ 3 h 17"/>
                <a:gd name="T2" fmla="*/ 15 w 24"/>
                <a:gd name="T3" fmla="*/ 3 h 17"/>
                <a:gd name="T4" fmla="*/ 17 w 24"/>
                <a:gd name="T5" fmla="*/ 0 h 17"/>
                <a:gd name="T6" fmla="*/ 17 w 24"/>
                <a:gd name="T7" fmla="*/ 3 h 17"/>
                <a:gd name="T8" fmla="*/ 19 w 24"/>
                <a:gd name="T9" fmla="*/ 5 h 17"/>
                <a:gd name="T10" fmla="*/ 22 w 24"/>
                <a:gd name="T11" fmla="*/ 5 h 17"/>
                <a:gd name="T12" fmla="*/ 22 w 24"/>
                <a:gd name="T13" fmla="*/ 5 h 17"/>
                <a:gd name="T14" fmla="*/ 22 w 24"/>
                <a:gd name="T15" fmla="*/ 7 h 17"/>
                <a:gd name="T16" fmla="*/ 24 w 24"/>
                <a:gd name="T17" fmla="*/ 14 h 17"/>
                <a:gd name="T18" fmla="*/ 24 w 24"/>
                <a:gd name="T19" fmla="*/ 14 h 17"/>
                <a:gd name="T20" fmla="*/ 19 w 24"/>
                <a:gd name="T21" fmla="*/ 14 h 17"/>
                <a:gd name="T22" fmla="*/ 17 w 24"/>
                <a:gd name="T23" fmla="*/ 17 h 17"/>
                <a:gd name="T24" fmla="*/ 12 w 24"/>
                <a:gd name="T25" fmla="*/ 17 h 17"/>
                <a:gd name="T26" fmla="*/ 7 w 24"/>
                <a:gd name="T27" fmla="*/ 17 h 17"/>
                <a:gd name="T28" fmla="*/ 7 w 24"/>
                <a:gd name="T29" fmla="*/ 17 h 17"/>
                <a:gd name="T30" fmla="*/ 3 w 24"/>
                <a:gd name="T31" fmla="*/ 14 h 17"/>
                <a:gd name="T32" fmla="*/ 0 w 24"/>
                <a:gd name="T33" fmla="*/ 14 h 17"/>
                <a:gd name="T34" fmla="*/ 0 w 24"/>
                <a:gd name="T35" fmla="*/ 12 h 17"/>
                <a:gd name="T36" fmla="*/ 3 w 24"/>
                <a:gd name="T37" fmla="*/ 7 h 17"/>
                <a:gd name="T38" fmla="*/ 5 w 24"/>
                <a:gd name="T39" fmla="*/ 3 h 17"/>
                <a:gd name="T40" fmla="*/ 7 w 24"/>
                <a:gd name="T41" fmla="*/ 3 h 17"/>
                <a:gd name="T42" fmla="*/ 10 w 24"/>
                <a:gd name="T43" fmla="*/ 3 h 17"/>
                <a:gd name="T44" fmla="*/ 12 w 24"/>
                <a:gd name="T45"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17">
                  <a:moveTo>
                    <a:pt x="12" y="3"/>
                  </a:moveTo>
                  <a:lnTo>
                    <a:pt x="15" y="3"/>
                  </a:lnTo>
                  <a:lnTo>
                    <a:pt x="17" y="0"/>
                  </a:lnTo>
                  <a:lnTo>
                    <a:pt x="17" y="3"/>
                  </a:lnTo>
                  <a:lnTo>
                    <a:pt x="19" y="5"/>
                  </a:lnTo>
                  <a:lnTo>
                    <a:pt x="22" y="5"/>
                  </a:lnTo>
                  <a:lnTo>
                    <a:pt x="22" y="5"/>
                  </a:lnTo>
                  <a:lnTo>
                    <a:pt x="22" y="7"/>
                  </a:lnTo>
                  <a:lnTo>
                    <a:pt x="24" y="14"/>
                  </a:lnTo>
                  <a:lnTo>
                    <a:pt x="24" y="14"/>
                  </a:lnTo>
                  <a:lnTo>
                    <a:pt x="19" y="14"/>
                  </a:lnTo>
                  <a:lnTo>
                    <a:pt x="17" y="17"/>
                  </a:lnTo>
                  <a:lnTo>
                    <a:pt x="12" y="17"/>
                  </a:lnTo>
                  <a:lnTo>
                    <a:pt x="7" y="17"/>
                  </a:lnTo>
                  <a:lnTo>
                    <a:pt x="7" y="17"/>
                  </a:lnTo>
                  <a:lnTo>
                    <a:pt x="3" y="14"/>
                  </a:lnTo>
                  <a:lnTo>
                    <a:pt x="0" y="14"/>
                  </a:lnTo>
                  <a:lnTo>
                    <a:pt x="0" y="12"/>
                  </a:lnTo>
                  <a:lnTo>
                    <a:pt x="3" y="7"/>
                  </a:lnTo>
                  <a:lnTo>
                    <a:pt x="5" y="3"/>
                  </a:lnTo>
                  <a:lnTo>
                    <a:pt x="7" y="3"/>
                  </a:lnTo>
                  <a:lnTo>
                    <a:pt x="10" y="3"/>
                  </a:lnTo>
                  <a:lnTo>
                    <a:pt x="1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7" name="Freeform 803">
              <a:extLst>
                <a:ext uri="{FF2B5EF4-FFF2-40B4-BE49-F238E27FC236}">
                  <a16:creationId xmlns:a16="http://schemas.microsoft.com/office/drawing/2014/main" id="{FA0DD01E-F1F9-4712-B063-302467B8E4F0}"/>
                </a:ext>
              </a:extLst>
            </p:cNvPr>
            <p:cNvSpPr>
              <a:spLocks/>
            </p:cNvSpPr>
            <p:nvPr/>
          </p:nvSpPr>
          <p:spPr bwMode="auto">
            <a:xfrm>
              <a:off x="8697154" y="4179046"/>
              <a:ext cx="76912" cy="54480"/>
            </a:xfrm>
            <a:custGeom>
              <a:avLst/>
              <a:gdLst>
                <a:gd name="T0" fmla="*/ 12 w 24"/>
                <a:gd name="T1" fmla="*/ 3 h 17"/>
                <a:gd name="T2" fmla="*/ 15 w 24"/>
                <a:gd name="T3" fmla="*/ 3 h 17"/>
                <a:gd name="T4" fmla="*/ 17 w 24"/>
                <a:gd name="T5" fmla="*/ 0 h 17"/>
                <a:gd name="T6" fmla="*/ 17 w 24"/>
                <a:gd name="T7" fmla="*/ 3 h 17"/>
                <a:gd name="T8" fmla="*/ 19 w 24"/>
                <a:gd name="T9" fmla="*/ 5 h 17"/>
                <a:gd name="T10" fmla="*/ 22 w 24"/>
                <a:gd name="T11" fmla="*/ 5 h 17"/>
                <a:gd name="T12" fmla="*/ 22 w 24"/>
                <a:gd name="T13" fmla="*/ 5 h 17"/>
                <a:gd name="T14" fmla="*/ 22 w 24"/>
                <a:gd name="T15" fmla="*/ 7 h 17"/>
                <a:gd name="T16" fmla="*/ 24 w 24"/>
                <a:gd name="T17" fmla="*/ 14 h 17"/>
                <a:gd name="T18" fmla="*/ 24 w 24"/>
                <a:gd name="T19" fmla="*/ 14 h 17"/>
                <a:gd name="T20" fmla="*/ 19 w 24"/>
                <a:gd name="T21" fmla="*/ 14 h 17"/>
                <a:gd name="T22" fmla="*/ 17 w 24"/>
                <a:gd name="T23" fmla="*/ 17 h 17"/>
                <a:gd name="T24" fmla="*/ 12 w 24"/>
                <a:gd name="T25" fmla="*/ 17 h 17"/>
                <a:gd name="T26" fmla="*/ 7 w 24"/>
                <a:gd name="T27" fmla="*/ 17 h 17"/>
                <a:gd name="T28" fmla="*/ 7 w 24"/>
                <a:gd name="T29" fmla="*/ 17 h 17"/>
                <a:gd name="T30" fmla="*/ 3 w 24"/>
                <a:gd name="T31" fmla="*/ 14 h 17"/>
                <a:gd name="T32" fmla="*/ 0 w 24"/>
                <a:gd name="T33" fmla="*/ 14 h 17"/>
                <a:gd name="T34" fmla="*/ 0 w 24"/>
                <a:gd name="T35" fmla="*/ 12 h 17"/>
                <a:gd name="T36" fmla="*/ 3 w 24"/>
                <a:gd name="T37" fmla="*/ 7 h 17"/>
                <a:gd name="T38" fmla="*/ 5 w 24"/>
                <a:gd name="T39" fmla="*/ 3 h 17"/>
                <a:gd name="T40" fmla="*/ 7 w 24"/>
                <a:gd name="T41" fmla="*/ 3 h 17"/>
                <a:gd name="T42" fmla="*/ 10 w 24"/>
                <a:gd name="T43" fmla="*/ 3 h 17"/>
                <a:gd name="T44" fmla="*/ 12 w 24"/>
                <a:gd name="T45"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17">
                  <a:moveTo>
                    <a:pt x="12" y="3"/>
                  </a:moveTo>
                  <a:lnTo>
                    <a:pt x="15" y="3"/>
                  </a:lnTo>
                  <a:lnTo>
                    <a:pt x="17" y="0"/>
                  </a:lnTo>
                  <a:lnTo>
                    <a:pt x="17" y="3"/>
                  </a:lnTo>
                  <a:lnTo>
                    <a:pt x="19" y="5"/>
                  </a:lnTo>
                  <a:lnTo>
                    <a:pt x="22" y="5"/>
                  </a:lnTo>
                  <a:lnTo>
                    <a:pt x="22" y="5"/>
                  </a:lnTo>
                  <a:lnTo>
                    <a:pt x="22" y="7"/>
                  </a:lnTo>
                  <a:lnTo>
                    <a:pt x="24" y="14"/>
                  </a:lnTo>
                  <a:lnTo>
                    <a:pt x="24" y="14"/>
                  </a:lnTo>
                  <a:lnTo>
                    <a:pt x="19" y="14"/>
                  </a:lnTo>
                  <a:lnTo>
                    <a:pt x="17" y="17"/>
                  </a:lnTo>
                  <a:lnTo>
                    <a:pt x="12" y="17"/>
                  </a:lnTo>
                  <a:lnTo>
                    <a:pt x="7" y="17"/>
                  </a:lnTo>
                  <a:lnTo>
                    <a:pt x="7" y="17"/>
                  </a:lnTo>
                  <a:lnTo>
                    <a:pt x="3" y="14"/>
                  </a:lnTo>
                  <a:lnTo>
                    <a:pt x="0" y="14"/>
                  </a:lnTo>
                  <a:lnTo>
                    <a:pt x="0" y="12"/>
                  </a:lnTo>
                  <a:lnTo>
                    <a:pt x="3" y="7"/>
                  </a:lnTo>
                  <a:lnTo>
                    <a:pt x="5" y="3"/>
                  </a:lnTo>
                  <a:lnTo>
                    <a:pt x="7" y="3"/>
                  </a:lnTo>
                  <a:lnTo>
                    <a:pt x="10" y="3"/>
                  </a:lnTo>
                  <a:lnTo>
                    <a:pt x="1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8" name="Freeform 804">
              <a:extLst>
                <a:ext uri="{FF2B5EF4-FFF2-40B4-BE49-F238E27FC236}">
                  <a16:creationId xmlns:a16="http://schemas.microsoft.com/office/drawing/2014/main" id="{7C1A2C4F-E695-4826-8992-07EAC784FA59}"/>
                </a:ext>
              </a:extLst>
            </p:cNvPr>
            <p:cNvSpPr>
              <a:spLocks/>
            </p:cNvSpPr>
            <p:nvPr/>
          </p:nvSpPr>
          <p:spPr bwMode="auto">
            <a:xfrm>
              <a:off x="8767656" y="4111747"/>
              <a:ext cx="83323" cy="54480"/>
            </a:xfrm>
            <a:custGeom>
              <a:avLst/>
              <a:gdLst>
                <a:gd name="T0" fmla="*/ 7 w 26"/>
                <a:gd name="T1" fmla="*/ 7 h 17"/>
                <a:gd name="T2" fmla="*/ 9 w 26"/>
                <a:gd name="T3" fmla="*/ 7 h 17"/>
                <a:gd name="T4" fmla="*/ 9 w 26"/>
                <a:gd name="T5" fmla="*/ 7 h 17"/>
                <a:gd name="T6" fmla="*/ 19 w 26"/>
                <a:gd name="T7" fmla="*/ 2 h 17"/>
                <a:gd name="T8" fmla="*/ 21 w 26"/>
                <a:gd name="T9" fmla="*/ 2 h 17"/>
                <a:gd name="T10" fmla="*/ 26 w 26"/>
                <a:gd name="T11" fmla="*/ 0 h 17"/>
                <a:gd name="T12" fmla="*/ 26 w 26"/>
                <a:gd name="T13" fmla="*/ 2 h 17"/>
                <a:gd name="T14" fmla="*/ 21 w 26"/>
                <a:gd name="T15" fmla="*/ 7 h 17"/>
                <a:gd name="T16" fmla="*/ 19 w 26"/>
                <a:gd name="T17" fmla="*/ 9 h 17"/>
                <a:gd name="T18" fmla="*/ 23 w 26"/>
                <a:gd name="T19" fmla="*/ 7 h 17"/>
                <a:gd name="T20" fmla="*/ 23 w 26"/>
                <a:gd name="T21" fmla="*/ 9 h 17"/>
                <a:gd name="T22" fmla="*/ 23 w 26"/>
                <a:gd name="T23" fmla="*/ 12 h 17"/>
                <a:gd name="T24" fmla="*/ 19 w 26"/>
                <a:gd name="T25" fmla="*/ 12 h 17"/>
                <a:gd name="T26" fmla="*/ 14 w 26"/>
                <a:gd name="T27" fmla="*/ 12 h 17"/>
                <a:gd name="T28" fmla="*/ 14 w 26"/>
                <a:gd name="T29" fmla="*/ 9 h 17"/>
                <a:gd name="T30" fmla="*/ 11 w 26"/>
                <a:gd name="T31" fmla="*/ 9 h 17"/>
                <a:gd name="T32" fmla="*/ 11 w 26"/>
                <a:gd name="T33" fmla="*/ 12 h 17"/>
                <a:gd name="T34" fmla="*/ 9 w 26"/>
                <a:gd name="T35" fmla="*/ 14 h 17"/>
                <a:gd name="T36" fmla="*/ 7 w 26"/>
                <a:gd name="T37" fmla="*/ 14 h 17"/>
                <a:gd name="T38" fmla="*/ 7 w 26"/>
                <a:gd name="T39" fmla="*/ 14 h 17"/>
                <a:gd name="T40" fmla="*/ 4 w 26"/>
                <a:gd name="T41" fmla="*/ 17 h 17"/>
                <a:gd name="T42" fmla="*/ 2 w 26"/>
                <a:gd name="T43" fmla="*/ 14 h 17"/>
                <a:gd name="T44" fmla="*/ 2 w 26"/>
                <a:gd name="T45" fmla="*/ 12 h 17"/>
                <a:gd name="T46" fmla="*/ 0 w 26"/>
                <a:gd name="T47" fmla="*/ 12 h 17"/>
                <a:gd name="T48" fmla="*/ 0 w 26"/>
                <a:gd name="T49" fmla="*/ 9 h 17"/>
                <a:gd name="T50" fmla="*/ 2 w 26"/>
                <a:gd name="T51" fmla="*/ 9 h 17"/>
                <a:gd name="T52" fmla="*/ 7 w 26"/>
                <a:gd name="T5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7">
                  <a:moveTo>
                    <a:pt x="7" y="7"/>
                  </a:moveTo>
                  <a:lnTo>
                    <a:pt x="9" y="7"/>
                  </a:lnTo>
                  <a:lnTo>
                    <a:pt x="9" y="7"/>
                  </a:lnTo>
                  <a:lnTo>
                    <a:pt x="19" y="2"/>
                  </a:lnTo>
                  <a:lnTo>
                    <a:pt x="21" y="2"/>
                  </a:lnTo>
                  <a:lnTo>
                    <a:pt x="26" y="0"/>
                  </a:lnTo>
                  <a:lnTo>
                    <a:pt x="26" y="2"/>
                  </a:lnTo>
                  <a:lnTo>
                    <a:pt x="21" y="7"/>
                  </a:lnTo>
                  <a:lnTo>
                    <a:pt x="19" y="9"/>
                  </a:lnTo>
                  <a:lnTo>
                    <a:pt x="23" y="7"/>
                  </a:lnTo>
                  <a:lnTo>
                    <a:pt x="23" y="9"/>
                  </a:lnTo>
                  <a:lnTo>
                    <a:pt x="23" y="12"/>
                  </a:lnTo>
                  <a:lnTo>
                    <a:pt x="19" y="12"/>
                  </a:lnTo>
                  <a:lnTo>
                    <a:pt x="14" y="12"/>
                  </a:lnTo>
                  <a:lnTo>
                    <a:pt x="14" y="9"/>
                  </a:lnTo>
                  <a:lnTo>
                    <a:pt x="11" y="9"/>
                  </a:lnTo>
                  <a:lnTo>
                    <a:pt x="11" y="12"/>
                  </a:lnTo>
                  <a:lnTo>
                    <a:pt x="9" y="14"/>
                  </a:lnTo>
                  <a:lnTo>
                    <a:pt x="7" y="14"/>
                  </a:lnTo>
                  <a:lnTo>
                    <a:pt x="7" y="14"/>
                  </a:lnTo>
                  <a:lnTo>
                    <a:pt x="4" y="17"/>
                  </a:lnTo>
                  <a:lnTo>
                    <a:pt x="2" y="14"/>
                  </a:lnTo>
                  <a:lnTo>
                    <a:pt x="2" y="12"/>
                  </a:lnTo>
                  <a:lnTo>
                    <a:pt x="0" y="12"/>
                  </a:lnTo>
                  <a:lnTo>
                    <a:pt x="0" y="9"/>
                  </a:lnTo>
                  <a:lnTo>
                    <a:pt x="2" y="9"/>
                  </a:lnTo>
                  <a:lnTo>
                    <a:pt x="7"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19" name="Freeform 805">
              <a:extLst>
                <a:ext uri="{FF2B5EF4-FFF2-40B4-BE49-F238E27FC236}">
                  <a16:creationId xmlns:a16="http://schemas.microsoft.com/office/drawing/2014/main" id="{68A1DC35-6C4A-4CFF-9368-0F2A0133F55D}"/>
                </a:ext>
              </a:extLst>
            </p:cNvPr>
            <p:cNvSpPr>
              <a:spLocks/>
            </p:cNvSpPr>
            <p:nvPr/>
          </p:nvSpPr>
          <p:spPr bwMode="auto">
            <a:xfrm>
              <a:off x="8767656" y="4111747"/>
              <a:ext cx="83323" cy="54480"/>
            </a:xfrm>
            <a:custGeom>
              <a:avLst/>
              <a:gdLst>
                <a:gd name="T0" fmla="*/ 7 w 26"/>
                <a:gd name="T1" fmla="*/ 7 h 17"/>
                <a:gd name="T2" fmla="*/ 9 w 26"/>
                <a:gd name="T3" fmla="*/ 7 h 17"/>
                <a:gd name="T4" fmla="*/ 9 w 26"/>
                <a:gd name="T5" fmla="*/ 7 h 17"/>
                <a:gd name="T6" fmla="*/ 19 w 26"/>
                <a:gd name="T7" fmla="*/ 2 h 17"/>
                <a:gd name="T8" fmla="*/ 21 w 26"/>
                <a:gd name="T9" fmla="*/ 2 h 17"/>
                <a:gd name="T10" fmla="*/ 26 w 26"/>
                <a:gd name="T11" fmla="*/ 0 h 17"/>
                <a:gd name="T12" fmla="*/ 26 w 26"/>
                <a:gd name="T13" fmla="*/ 2 h 17"/>
                <a:gd name="T14" fmla="*/ 21 w 26"/>
                <a:gd name="T15" fmla="*/ 7 h 17"/>
                <a:gd name="T16" fmla="*/ 19 w 26"/>
                <a:gd name="T17" fmla="*/ 9 h 17"/>
                <a:gd name="T18" fmla="*/ 23 w 26"/>
                <a:gd name="T19" fmla="*/ 7 h 17"/>
                <a:gd name="T20" fmla="*/ 23 w 26"/>
                <a:gd name="T21" fmla="*/ 9 h 17"/>
                <a:gd name="T22" fmla="*/ 23 w 26"/>
                <a:gd name="T23" fmla="*/ 12 h 17"/>
                <a:gd name="T24" fmla="*/ 19 w 26"/>
                <a:gd name="T25" fmla="*/ 12 h 17"/>
                <a:gd name="T26" fmla="*/ 14 w 26"/>
                <a:gd name="T27" fmla="*/ 12 h 17"/>
                <a:gd name="T28" fmla="*/ 14 w 26"/>
                <a:gd name="T29" fmla="*/ 9 h 17"/>
                <a:gd name="T30" fmla="*/ 11 w 26"/>
                <a:gd name="T31" fmla="*/ 9 h 17"/>
                <a:gd name="T32" fmla="*/ 11 w 26"/>
                <a:gd name="T33" fmla="*/ 12 h 17"/>
                <a:gd name="T34" fmla="*/ 9 w 26"/>
                <a:gd name="T35" fmla="*/ 14 h 17"/>
                <a:gd name="T36" fmla="*/ 7 w 26"/>
                <a:gd name="T37" fmla="*/ 14 h 17"/>
                <a:gd name="T38" fmla="*/ 7 w 26"/>
                <a:gd name="T39" fmla="*/ 14 h 17"/>
                <a:gd name="T40" fmla="*/ 4 w 26"/>
                <a:gd name="T41" fmla="*/ 17 h 17"/>
                <a:gd name="T42" fmla="*/ 2 w 26"/>
                <a:gd name="T43" fmla="*/ 14 h 17"/>
                <a:gd name="T44" fmla="*/ 2 w 26"/>
                <a:gd name="T45" fmla="*/ 12 h 17"/>
                <a:gd name="T46" fmla="*/ 0 w 26"/>
                <a:gd name="T47" fmla="*/ 12 h 17"/>
                <a:gd name="T48" fmla="*/ 0 w 26"/>
                <a:gd name="T49" fmla="*/ 9 h 17"/>
                <a:gd name="T50" fmla="*/ 2 w 26"/>
                <a:gd name="T51" fmla="*/ 9 h 17"/>
                <a:gd name="T52" fmla="*/ 7 w 26"/>
                <a:gd name="T5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7">
                  <a:moveTo>
                    <a:pt x="7" y="7"/>
                  </a:moveTo>
                  <a:lnTo>
                    <a:pt x="9" y="7"/>
                  </a:lnTo>
                  <a:lnTo>
                    <a:pt x="9" y="7"/>
                  </a:lnTo>
                  <a:lnTo>
                    <a:pt x="19" y="2"/>
                  </a:lnTo>
                  <a:lnTo>
                    <a:pt x="21" y="2"/>
                  </a:lnTo>
                  <a:lnTo>
                    <a:pt x="26" y="0"/>
                  </a:lnTo>
                  <a:lnTo>
                    <a:pt x="26" y="2"/>
                  </a:lnTo>
                  <a:lnTo>
                    <a:pt x="21" y="7"/>
                  </a:lnTo>
                  <a:lnTo>
                    <a:pt x="19" y="9"/>
                  </a:lnTo>
                  <a:lnTo>
                    <a:pt x="23" y="7"/>
                  </a:lnTo>
                  <a:lnTo>
                    <a:pt x="23" y="9"/>
                  </a:lnTo>
                  <a:lnTo>
                    <a:pt x="23" y="12"/>
                  </a:lnTo>
                  <a:lnTo>
                    <a:pt x="19" y="12"/>
                  </a:lnTo>
                  <a:lnTo>
                    <a:pt x="14" y="12"/>
                  </a:lnTo>
                  <a:lnTo>
                    <a:pt x="14" y="9"/>
                  </a:lnTo>
                  <a:lnTo>
                    <a:pt x="11" y="9"/>
                  </a:lnTo>
                  <a:lnTo>
                    <a:pt x="11" y="12"/>
                  </a:lnTo>
                  <a:lnTo>
                    <a:pt x="9" y="14"/>
                  </a:lnTo>
                  <a:lnTo>
                    <a:pt x="7" y="14"/>
                  </a:lnTo>
                  <a:lnTo>
                    <a:pt x="7" y="14"/>
                  </a:lnTo>
                  <a:lnTo>
                    <a:pt x="4" y="17"/>
                  </a:lnTo>
                  <a:lnTo>
                    <a:pt x="2" y="14"/>
                  </a:lnTo>
                  <a:lnTo>
                    <a:pt x="2" y="12"/>
                  </a:lnTo>
                  <a:lnTo>
                    <a:pt x="0" y="12"/>
                  </a:lnTo>
                  <a:lnTo>
                    <a:pt x="0" y="9"/>
                  </a:lnTo>
                  <a:lnTo>
                    <a:pt x="2" y="9"/>
                  </a:lnTo>
                  <a:lnTo>
                    <a:pt x="7"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0" name="Freeform 921">
              <a:extLst>
                <a:ext uri="{FF2B5EF4-FFF2-40B4-BE49-F238E27FC236}">
                  <a16:creationId xmlns:a16="http://schemas.microsoft.com/office/drawing/2014/main" id="{2A691F4F-91B6-4F0B-9959-2EE8B98892B1}"/>
                </a:ext>
              </a:extLst>
            </p:cNvPr>
            <p:cNvSpPr>
              <a:spLocks/>
            </p:cNvSpPr>
            <p:nvPr/>
          </p:nvSpPr>
          <p:spPr bwMode="auto">
            <a:xfrm>
              <a:off x="8101079" y="4028424"/>
              <a:ext cx="38457" cy="54480"/>
            </a:xfrm>
            <a:custGeom>
              <a:avLst/>
              <a:gdLst>
                <a:gd name="T0" fmla="*/ 0 w 12"/>
                <a:gd name="T1" fmla="*/ 0 h 17"/>
                <a:gd name="T2" fmla="*/ 0 w 12"/>
                <a:gd name="T3" fmla="*/ 0 h 17"/>
                <a:gd name="T4" fmla="*/ 2 w 12"/>
                <a:gd name="T5" fmla="*/ 2 h 17"/>
                <a:gd name="T6" fmla="*/ 2 w 12"/>
                <a:gd name="T7" fmla="*/ 2 h 17"/>
                <a:gd name="T8" fmla="*/ 2 w 12"/>
                <a:gd name="T9" fmla="*/ 5 h 17"/>
                <a:gd name="T10" fmla="*/ 4 w 12"/>
                <a:gd name="T11" fmla="*/ 9 h 17"/>
                <a:gd name="T12" fmla="*/ 4 w 12"/>
                <a:gd name="T13" fmla="*/ 9 h 17"/>
                <a:gd name="T14" fmla="*/ 7 w 12"/>
                <a:gd name="T15" fmla="*/ 9 h 17"/>
                <a:gd name="T16" fmla="*/ 7 w 12"/>
                <a:gd name="T17" fmla="*/ 7 h 17"/>
                <a:gd name="T18" fmla="*/ 7 w 12"/>
                <a:gd name="T19" fmla="*/ 5 h 17"/>
                <a:gd name="T20" fmla="*/ 9 w 12"/>
                <a:gd name="T21" fmla="*/ 7 h 17"/>
                <a:gd name="T22" fmla="*/ 9 w 12"/>
                <a:gd name="T23" fmla="*/ 7 h 17"/>
                <a:gd name="T24" fmla="*/ 9 w 12"/>
                <a:gd name="T25" fmla="*/ 9 h 17"/>
                <a:gd name="T26" fmla="*/ 12 w 12"/>
                <a:gd name="T27" fmla="*/ 12 h 17"/>
                <a:gd name="T28" fmla="*/ 12 w 12"/>
                <a:gd name="T29" fmla="*/ 14 h 17"/>
                <a:gd name="T30" fmla="*/ 9 w 12"/>
                <a:gd name="T31" fmla="*/ 14 h 17"/>
                <a:gd name="T32" fmla="*/ 7 w 12"/>
                <a:gd name="T33" fmla="*/ 17 h 17"/>
                <a:gd name="T34" fmla="*/ 4 w 12"/>
                <a:gd name="T35" fmla="*/ 17 h 17"/>
                <a:gd name="T36" fmla="*/ 4 w 12"/>
                <a:gd name="T37" fmla="*/ 17 h 17"/>
                <a:gd name="T38" fmla="*/ 2 w 12"/>
                <a:gd name="T39" fmla="*/ 12 h 17"/>
                <a:gd name="T40" fmla="*/ 2 w 12"/>
                <a:gd name="T41" fmla="*/ 7 h 17"/>
                <a:gd name="T42" fmla="*/ 0 w 12"/>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17">
                  <a:moveTo>
                    <a:pt x="0" y="0"/>
                  </a:moveTo>
                  <a:lnTo>
                    <a:pt x="0" y="0"/>
                  </a:lnTo>
                  <a:lnTo>
                    <a:pt x="2" y="2"/>
                  </a:lnTo>
                  <a:lnTo>
                    <a:pt x="2" y="2"/>
                  </a:lnTo>
                  <a:lnTo>
                    <a:pt x="2" y="5"/>
                  </a:lnTo>
                  <a:lnTo>
                    <a:pt x="4" y="9"/>
                  </a:lnTo>
                  <a:lnTo>
                    <a:pt x="4" y="9"/>
                  </a:lnTo>
                  <a:lnTo>
                    <a:pt x="7" y="9"/>
                  </a:lnTo>
                  <a:lnTo>
                    <a:pt x="7" y="7"/>
                  </a:lnTo>
                  <a:lnTo>
                    <a:pt x="7" y="5"/>
                  </a:lnTo>
                  <a:lnTo>
                    <a:pt x="9" y="7"/>
                  </a:lnTo>
                  <a:lnTo>
                    <a:pt x="9" y="7"/>
                  </a:lnTo>
                  <a:lnTo>
                    <a:pt x="9" y="9"/>
                  </a:lnTo>
                  <a:lnTo>
                    <a:pt x="12" y="12"/>
                  </a:lnTo>
                  <a:lnTo>
                    <a:pt x="12" y="14"/>
                  </a:lnTo>
                  <a:lnTo>
                    <a:pt x="9" y="14"/>
                  </a:lnTo>
                  <a:lnTo>
                    <a:pt x="7" y="17"/>
                  </a:lnTo>
                  <a:lnTo>
                    <a:pt x="4" y="17"/>
                  </a:lnTo>
                  <a:lnTo>
                    <a:pt x="4" y="17"/>
                  </a:lnTo>
                  <a:lnTo>
                    <a:pt x="2" y="12"/>
                  </a:lnTo>
                  <a:lnTo>
                    <a:pt x="2" y="7"/>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1" name="Freeform 922">
              <a:extLst>
                <a:ext uri="{FF2B5EF4-FFF2-40B4-BE49-F238E27FC236}">
                  <a16:creationId xmlns:a16="http://schemas.microsoft.com/office/drawing/2014/main" id="{8AFFCC63-004C-4203-AB9E-EB773441B477}"/>
                </a:ext>
              </a:extLst>
            </p:cNvPr>
            <p:cNvSpPr>
              <a:spLocks/>
            </p:cNvSpPr>
            <p:nvPr/>
          </p:nvSpPr>
          <p:spPr bwMode="auto">
            <a:xfrm>
              <a:off x="8101079" y="4028424"/>
              <a:ext cx="38457" cy="54480"/>
            </a:xfrm>
            <a:custGeom>
              <a:avLst/>
              <a:gdLst>
                <a:gd name="T0" fmla="*/ 0 w 12"/>
                <a:gd name="T1" fmla="*/ 0 h 17"/>
                <a:gd name="T2" fmla="*/ 0 w 12"/>
                <a:gd name="T3" fmla="*/ 0 h 17"/>
                <a:gd name="T4" fmla="*/ 2 w 12"/>
                <a:gd name="T5" fmla="*/ 2 h 17"/>
                <a:gd name="T6" fmla="*/ 2 w 12"/>
                <a:gd name="T7" fmla="*/ 2 h 17"/>
                <a:gd name="T8" fmla="*/ 2 w 12"/>
                <a:gd name="T9" fmla="*/ 5 h 17"/>
                <a:gd name="T10" fmla="*/ 4 w 12"/>
                <a:gd name="T11" fmla="*/ 9 h 17"/>
                <a:gd name="T12" fmla="*/ 4 w 12"/>
                <a:gd name="T13" fmla="*/ 9 h 17"/>
                <a:gd name="T14" fmla="*/ 7 w 12"/>
                <a:gd name="T15" fmla="*/ 9 h 17"/>
                <a:gd name="T16" fmla="*/ 7 w 12"/>
                <a:gd name="T17" fmla="*/ 7 h 17"/>
                <a:gd name="T18" fmla="*/ 7 w 12"/>
                <a:gd name="T19" fmla="*/ 5 h 17"/>
                <a:gd name="T20" fmla="*/ 9 w 12"/>
                <a:gd name="T21" fmla="*/ 7 h 17"/>
                <a:gd name="T22" fmla="*/ 9 w 12"/>
                <a:gd name="T23" fmla="*/ 7 h 17"/>
                <a:gd name="T24" fmla="*/ 9 w 12"/>
                <a:gd name="T25" fmla="*/ 9 h 17"/>
                <a:gd name="T26" fmla="*/ 12 w 12"/>
                <a:gd name="T27" fmla="*/ 12 h 17"/>
                <a:gd name="T28" fmla="*/ 12 w 12"/>
                <a:gd name="T29" fmla="*/ 14 h 17"/>
                <a:gd name="T30" fmla="*/ 9 w 12"/>
                <a:gd name="T31" fmla="*/ 14 h 17"/>
                <a:gd name="T32" fmla="*/ 7 w 12"/>
                <a:gd name="T33" fmla="*/ 17 h 17"/>
                <a:gd name="T34" fmla="*/ 4 w 12"/>
                <a:gd name="T35" fmla="*/ 17 h 17"/>
                <a:gd name="T36" fmla="*/ 4 w 12"/>
                <a:gd name="T37" fmla="*/ 17 h 17"/>
                <a:gd name="T38" fmla="*/ 2 w 12"/>
                <a:gd name="T39" fmla="*/ 12 h 17"/>
                <a:gd name="T40" fmla="*/ 2 w 12"/>
                <a:gd name="T41" fmla="*/ 7 h 17"/>
                <a:gd name="T42" fmla="*/ 0 w 12"/>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17">
                  <a:moveTo>
                    <a:pt x="0" y="0"/>
                  </a:moveTo>
                  <a:lnTo>
                    <a:pt x="0" y="0"/>
                  </a:lnTo>
                  <a:lnTo>
                    <a:pt x="2" y="2"/>
                  </a:lnTo>
                  <a:lnTo>
                    <a:pt x="2" y="2"/>
                  </a:lnTo>
                  <a:lnTo>
                    <a:pt x="2" y="5"/>
                  </a:lnTo>
                  <a:lnTo>
                    <a:pt x="4" y="9"/>
                  </a:lnTo>
                  <a:lnTo>
                    <a:pt x="4" y="9"/>
                  </a:lnTo>
                  <a:lnTo>
                    <a:pt x="7" y="9"/>
                  </a:lnTo>
                  <a:lnTo>
                    <a:pt x="7" y="7"/>
                  </a:lnTo>
                  <a:lnTo>
                    <a:pt x="7" y="5"/>
                  </a:lnTo>
                  <a:lnTo>
                    <a:pt x="9" y="7"/>
                  </a:lnTo>
                  <a:lnTo>
                    <a:pt x="9" y="7"/>
                  </a:lnTo>
                  <a:lnTo>
                    <a:pt x="9" y="9"/>
                  </a:lnTo>
                  <a:lnTo>
                    <a:pt x="12" y="12"/>
                  </a:lnTo>
                  <a:lnTo>
                    <a:pt x="12" y="14"/>
                  </a:lnTo>
                  <a:lnTo>
                    <a:pt x="9" y="14"/>
                  </a:lnTo>
                  <a:lnTo>
                    <a:pt x="7" y="17"/>
                  </a:lnTo>
                  <a:lnTo>
                    <a:pt x="4" y="17"/>
                  </a:lnTo>
                  <a:lnTo>
                    <a:pt x="4" y="17"/>
                  </a:lnTo>
                  <a:lnTo>
                    <a:pt x="2" y="12"/>
                  </a:lnTo>
                  <a:lnTo>
                    <a:pt x="2" y="7"/>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2" name="Freeform 923">
              <a:extLst>
                <a:ext uri="{FF2B5EF4-FFF2-40B4-BE49-F238E27FC236}">
                  <a16:creationId xmlns:a16="http://schemas.microsoft.com/office/drawing/2014/main" id="{D8E40A8F-446A-41FB-ADD8-EA02D40006F5}"/>
                </a:ext>
              </a:extLst>
            </p:cNvPr>
            <p:cNvSpPr>
              <a:spLocks/>
            </p:cNvSpPr>
            <p:nvPr/>
          </p:nvSpPr>
          <p:spPr bwMode="auto">
            <a:xfrm>
              <a:off x="8139535" y="4095724"/>
              <a:ext cx="28843" cy="38457"/>
            </a:xfrm>
            <a:custGeom>
              <a:avLst/>
              <a:gdLst>
                <a:gd name="T0" fmla="*/ 0 w 9"/>
                <a:gd name="T1" fmla="*/ 0 h 12"/>
                <a:gd name="T2" fmla="*/ 0 w 9"/>
                <a:gd name="T3" fmla="*/ 0 h 12"/>
                <a:gd name="T4" fmla="*/ 2 w 9"/>
                <a:gd name="T5" fmla="*/ 0 h 12"/>
                <a:gd name="T6" fmla="*/ 2 w 9"/>
                <a:gd name="T7" fmla="*/ 3 h 12"/>
                <a:gd name="T8" fmla="*/ 4 w 9"/>
                <a:gd name="T9" fmla="*/ 3 h 12"/>
                <a:gd name="T10" fmla="*/ 7 w 9"/>
                <a:gd name="T11" fmla="*/ 7 h 12"/>
                <a:gd name="T12" fmla="*/ 7 w 9"/>
                <a:gd name="T13" fmla="*/ 7 h 12"/>
                <a:gd name="T14" fmla="*/ 9 w 9"/>
                <a:gd name="T15" fmla="*/ 10 h 12"/>
                <a:gd name="T16" fmla="*/ 9 w 9"/>
                <a:gd name="T17" fmla="*/ 12 h 12"/>
                <a:gd name="T18" fmla="*/ 2 w 9"/>
                <a:gd name="T19" fmla="*/ 12 h 12"/>
                <a:gd name="T20" fmla="*/ 2 w 9"/>
                <a:gd name="T21" fmla="*/ 5 h 12"/>
                <a:gd name="T22" fmla="*/ 2 w 9"/>
                <a:gd name="T23" fmla="*/ 5 h 12"/>
                <a:gd name="T24" fmla="*/ 0 w 9"/>
                <a:gd name="T25" fmla="*/ 3 h 12"/>
                <a:gd name="T26" fmla="*/ 0 w 9"/>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0" y="0"/>
                  </a:moveTo>
                  <a:lnTo>
                    <a:pt x="0" y="0"/>
                  </a:lnTo>
                  <a:lnTo>
                    <a:pt x="2" y="0"/>
                  </a:lnTo>
                  <a:lnTo>
                    <a:pt x="2" y="3"/>
                  </a:lnTo>
                  <a:lnTo>
                    <a:pt x="4" y="3"/>
                  </a:lnTo>
                  <a:lnTo>
                    <a:pt x="7" y="7"/>
                  </a:lnTo>
                  <a:lnTo>
                    <a:pt x="7" y="7"/>
                  </a:lnTo>
                  <a:lnTo>
                    <a:pt x="9" y="10"/>
                  </a:lnTo>
                  <a:lnTo>
                    <a:pt x="9" y="12"/>
                  </a:lnTo>
                  <a:lnTo>
                    <a:pt x="2" y="12"/>
                  </a:lnTo>
                  <a:lnTo>
                    <a:pt x="2" y="5"/>
                  </a:lnTo>
                  <a:lnTo>
                    <a:pt x="2" y="5"/>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3" name="Freeform 924">
              <a:extLst>
                <a:ext uri="{FF2B5EF4-FFF2-40B4-BE49-F238E27FC236}">
                  <a16:creationId xmlns:a16="http://schemas.microsoft.com/office/drawing/2014/main" id="{6A53C0E0-C205-4B50-8903-C5B8B9B065CB}"/>
                </a:ext>
              </a:extLst>
            </p:cNvPr>
            <p:cNvSpPr>
              <a:spLocks/>
            </p:cNvSpPr>
            <p:nvPr/>
          </p:nvSpPr>
          <p:spPr bwMode="auto">
            <a:xfrm>
              <a:off x="8139535" y="4095724"/>
              <a:ext cx="28843" cy="38457"/>
            </a:xfrm>
            <a:custGeom>
              <a:avLst/>
              <a:gdLst>
                <a:gd name="T0" fmla="*/ 0 w 9"/>
                <a:gd name="T1" fmla="*/ 0 h 12"/>
                <a:gd name="T2" fmla="*/ 0 w 9"/>
                <a:gd name="T3" fmla="*/ 0 h 12"/>
                <a:gd name="T4" fmla="*/ 2 w 9"/>
                <a:gd name="T5" fmla="*/ 0 h 12"/>
                <a:gd name="T6" fmla="*/ 2 w 9"/>
                <a:gd name="T7" fmla="*/ 3 h 12"/>
                <a:gd name="T8" fmla="*/ 4 w 9"/>
                <a:gd name="T9" fmla="*/ 3 h 12"/>
                <a:gd name="T10" fmla="*/ 7 w 9"/>
                <a:gd name="T11" fmla="*/ 7 h 12"/>
                <a:gd name="T12" fmla="*/ 7 w 9"/>
                <a:gd name="T13" fmla="*/ 7 h 12"/>
                <a:gd name="T14" fmla="*/ 9 w 9"/>
                <a:gd name="T15" fmla="*/ 10 h 12"/>
                <a:gd name="T16" fmla="*/ 9 w 9"/>
                <a:gd name="T17" fmla="*/ 12 h 12"/>
                <a:gd name="T18" fmla="*/ 2 w 9"/>
                <a:gd name="T19" fmla="*/ 12 h 12"/>
                <a:gd name="T20" fmla="*/ 2 w 9"/>
                <a:gd name="T21" fmla="*/ 5 h 12"/>
                <a:gd name="T22" fmla="*/ 2 w 9"/>
                <a:gd name="T23" fmla="*/ 5 h 12"/>
                <a:gd name="T24" fmla="*/ 0 w 9"/>
                <a:gd name="T25" fmla="*/ 3 h 12"/>
                <a:gd name="T26" fmla="*/ 0 w 9"/>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0" y="0"/>
                  </a:moveTo>
                  <a:lnTo>
                    <a:pt x="0" y="0"/>
                  </a:lnTo>
                  <a:lnTo>
                    <a:pt x="2" y="0"/>
                  </a:lnTo>
                  <a:lnTo>
                    <a:pt x="2" y="3"/>
                  </a:lnTo>
                  <a:lnTo>
                    <a:pt x="4" y="3"/>
                  </a:lnTo>
                  <a:lnTo>
                    <a:pt x="7" y="7"/>
                  </a:lnTo>
                  <a:lnTo>
                    <a:pt x="7" y="7"/>
                  </a:lnTo>
                  <a:lnTo>
                    <a:pt x="9" y="10"/>
                  </a:lnTo>
                  <a:lnTo>
                    <a:pt x="9" y="12"/>
                  </a:lnTo>
                  <a:lnTo>
                    <a:pt x="2" y="12"/>
                  </a:lnTo>
                  <a:lnTo>
                    <a:pt x="2" y="5"/>
                  </a:lnTo>
                  <a:lnTo>
                    <a:pt x="2" y="5"/>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4" name="Freeform 925">
              <a:extLst>
                <a:ext uri="{FF2B5EF4-FFF2-40B4-BE49-F238E27FC236}">
                  <a16:creationId xmlns:a16="http://schemas.microsoft.com/office/drawing/2014/main" id="{33B462DD-0E81-4CFC-B9E9-121741FFFB8C}"/>
                </a:ext>
              </a:extLst>
            </p:cNvPr>
            <p:cNvSpPr>
              <a:spLocks/>
            </p:cNvSpPr>
            <p:nvPr/>
          </p:nvSpPr>
          <p:spPr bwMode="auto">
            <a:xfrm>
              <a:off x="8190811" y="4073290"/>
              <a:ext cx="6410" cy="22433"/>
            </a:xfrm>
            <a:custGeom>
              <a:avLst/>
              <a:gdLst>
                <a:gd name="T0" fmla="*/ 0 w 2"/>
                <a:gd name="T1" fmla="*/ 0 h 7"/>
                <a:gd name="T2" fmla="*/ 0 w 2"/>
                <a:gd name="T3" fmla="*/ 0 h 7"/>
                <a:gd name="T4" fmla="*/ 0 w 2"/>
                <a:gd name="T5" fmla="*/ 3 h 7"/>
                <a:gd name="T6" fmla="*/ 0 w 2"/>
                <a:gd name="T7" fmla="*/ 5 h 7"/>
                <a:gd name="T8" fmla="*/ 2 w 2"/>
                <a:gd name="T9" fmla="*/ 5 h 7"/>
                <a:gd name="T10" fmla="*/ 2 w 2"/>
                <a:gd name="T11" fmla="*/ 7 h 7"/>
                <a:gd name="T12" fmla="*/ 0 w 2"/>
                <a:gd name="T13" fmla="*/ 7 h 7"/>
                <a:gd name="T14" fmla="*/ 0 w 2"/>
                <a:gd name="T15" fmla="*/ 7 h 7"/>
                <a:gd name="T16" fmla="*/ 0 w 2"/>
                <a:gd name="T17" fmla="*/ 5 h 7"/>
                <a:gd name="T18" fmla="*/ 0 w 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0"/>
                  </a:moveTo>
                  <a:lnTo>
                    <a:pt x="0" y="0"/>
                  </a:lnTo>
                  <a:lnTo>
                    <a:pt x="0" y="3"/>
                  </a:lnTo>
                  <a:lnTo>
                    <a:pt x="0" y="5"/>
                  </a:lnTo>
                  <a:lnTo>
                    <a:pt x="2" y="5"/>
                  </a:lnTo>
                  <a:lnTo>
                    <a:pt x="2" y="7"/>
                  </a:lnTo>
                  <a:lnTo>
                    <a:pt x="0" y="7"/>
                  </a:lnTo>
                  <a:lnTo>
                    <a:pt x="0" y="7"/>
                  </a:lnTo>
                  <a:lnTo>
                    <a:pt x="0" y="5"/>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5" name="Freeform 926">
              <a:extLst>
                <a:ext uri="{FF2B5EF4-FFF2-40B4-BE49-F238E27FC236}">
                  <a16:creationId xmlns:a16="http://schemas.microsoft.com/office/drawing/2014/main" id="{EE2DFB5E-E5AD-4E54-8847-425200878448}"/>
                </a:ext>
              </a:extLst>
            </p:cNvPr>
            <p:cNvSpPr>
              <a:spLocks/>
            </p:cNvSpPr>
            <p:nvPr/>
          </p:nvSpPr>
          <p:spPr bwMode="auto">
            <a:xfrm>
              <a:off x="8190811" y="4073290"/>
              <a:ext cx="6410" cy="22433"/>
            </a:xfrm>
            <a:custGeom>
              <a:avLst/>
              <a:gdLst>
                <a:gd name="T0" fmla="*/ 0 w 2"/>
                <a:gd name="T1" fmla="*/ 0 h 7"/>
                <a:gd name="T2" fmla="*/ 0 w 2"/>
                <a:gd name="T3" fmla="*/ 0 h 7"/>
                <a:gd name="T4" fmla="*/ 0 w 2"/>
                <a:gd name="T5" fmla="*/ 3 h 7"/>
                <a:gd name="T6" fmla="*/ 0 w 2"/>
                <a:gd name="T7" fmla="*/ 5 h 7"/>
                <a:gd name="T8" fmla="*/ 2 w 2"/>
                <a:gd name="T9" fmla="*/ 5 h 7"/>
                <a:gd name="T10" fmla="*/ 2 w 2"/>
                <a:gd name="T11" fmla="*/ 7 h 7"/>
                <a:gd name="T12" fmla="*/ 0 w 2"/>
                <a:gd name="T13" fmla="*/ 7 h 7"/>
                <a:gd name="T14" fmla="*/ 0 w 2"/>
                <a:gd name="T15" fmla="*/ 7 h 7"/>
                <a:gd name="T16" fmla="*/ 0 w 2"/>
                <a:gd name="T17" fmla="*/ 5 h 7"/>
                <a:gd name="T18" fmla="*/ 0 w 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0"/>
                  </a:moveTo>
                  <a:lnTo>
                    <a:pt x="0" y="0"/>
                  </a:lnTo>
                  <a:lnTo>
                    <a:pt x="0" y="3"/>
                  </a:lnTo>
                  <a:lnTo>
                    <a:pt x="0" y="5"/>
                  </a:lnTo>
                  <a:lnTo>
                    <a:pt x="2" y="5"/>
                  </a:lnTo>
                  <a:lnTo>
                    <a:pt x="2" y="7"/>
                  </a:lnTo>
                  <a:lnTo>
                    <a:pt x="0" y="7"/>
                  </a:lnTo>
                  <a:lnTo>
                    <a:pt x="0" y="7"/>
                  </a:lnTo>
                  <a:lnTo>
                    <a:pt x="0" y="5"/>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6" name="Freeform 927">
              <a:extLst>
                <a:ext uri="{FF2B5EF4-FFF2-40B4-BE49-F238E27FC236}">
                  <a16:creationId xmlns:a16="http://schemas.microsoft.com/office/drawing/2014/main" id="{C57DEAB6-A93A-49FA-8E7D-36C8BE08BB2F}"/>
                </a:ext>
              </a:extLst>
            </p:cNvPr>
            <p:cNvSpPr>
              <a:spLocks/>
            </p:cNvSpPr>
            <p:nvPr/>
          </p:nvSpPr>
          <p:spPr bwMode="auto">
            <a:xfrm>
              <a:off x="8174785" y="4105337"/>
              <a:ext cx="22434" cy="22433"/>
            </a:xfrm>
            <a:custGeom>
              <a:avLst/>
              <a:gdLst>
                <a:gd name="T0" fmla="*/ 5 w 7"/>
                <a:gd name="T1" fmla="*/ 2 h 7"/>
                <a:gd name="T2" fmla="*/ 5 w 7"/>
                <a:gd name="T3" fmla="*/ 0 h 7"/>
                <a:gd name="T4" fmla="*/ 5 w 7"/>
                <a:gd name="T5" fmla="*/ 4 h 7"/>
                <a:gd name="T6" fmla="*/ 7 w 7"/>
                <a:gd name="T7" fmla="*/ 7 h 7"/>
                <a:gd name="T8" fmla="*/ 3 w 7"/>
                <a:gd name="T9" fmla="*/ 7 h 7"/>
                <a:gd name="T10" fmla="*/ 3 w 7"/>
                <a:gd name="T11" fmla="*/ 4 h 7"/>
                <a:gd name="T12" fmla="*/ 0 w 7"/>
                <a:gd name="T13" fmla="*/ 4 h 7"/>
                <a:gd name="T14" fmla="*/ 0 w 7"/>
                <a:gd name="T15" fmla="*/ 4 h 7"/>
                <a:gd name="T16" fmla="*/ 3 w 7"/>
                <a:gd name="T17" fmla="*/ 2 h 7"/>
                <a:gd name="T18" fmla="*/ 3 w 7"/>
                <a:gd name="T19" fmla="*/ 2 h 7"/>
                <a:gd name="T20" fmla="*/ 5 w 7"/>
                <a:gd name="T2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5" y="2"/>
                  </a:moveTo>
                  <a:lnTo>
                    <a:pt x="5" y="0"/>
                  </a:lnTo>
                  <a:lnTo>
                    <a:pt x="5" y="4"/>
                  </a:lnTo>
                  <a:lnTo>
                    <a:pt x="7" y="7"/>
                  </a:lnTo>
                  <a:lnTo>
                    <a:pt x="3" y="7"/>
                  </a:lnTo>
                  <a:lnTo>
                    <a:pt x="3" y="4"/>
                  </a:lnTo>
                  <a:lnTo>
                    <a:pt x="0" y="4"/>
                  </a:lnTo>
                  <a:lnTo>
                    <a:pt x="0" y="4"/>
                  </a:lnTo>
                  <a:lnTo>
                    <a:pt x="3" y="2"/>
                  </a:lnTo>
                  <a:lnTo>
                    <a:pt x="3" y="2"/>
                  </a:lnTo>
                  <a:lnTo>
                    <a:pt x="5"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7" name="Freeform 928">
              <a:extLst>
                <a:ext uri="{FF2B5EF4-FFF2-40B4-BE49-F238E27FC236}">
                  <a16:creationId xmlns:a16="http://schemas.microsoft.com/office/drawing/2014/main" id="{533F0B17-022D-43EE-9D8E-A07F92A842D3}"/>
                </a:ext>
              </a:extLst>
            </p:cNvPr>
            <p:cNvSpPr>
              <a:spLocks/>
            </p:cNvSpPr>
            <p:nvPr/>
          </p:nvSpPr>
          <p:spPr bwMode="auto">
            <a:xfrm>
              <a:off x="8174785" y="4105337"/>
              <a:ext cx="22434" cy="22433"/>
            </a:xfrm>
            <a:custGeom>
              <a:avLst/>
              <a:gdLst>
                <a:gd name="T0" fmla="*/ 5 w 7"/>
                <a:gd name="T1" fmla="*/ 2 h 7"/>
                <a:gd name="T2" fmla="*/ 5 w 7"/>
                <a:gd name="T3" fmla="*/ 0 h 7"/>
                <a:gd name="T4" fmla="*/ 5 w 7"/>
                <a:gd name="T5" fmla="*/ 4 h 7"/>
                <a:gd name="T6" fmla="*/ 7 w 7"/>
                <a:gd name="T7" fmla="*/ 7 h 7"/>
                <a:gd name="T8" fmla="*/ 3 w 7"/>
                <a:gd name="T9" fmla="*/ 7 h 7"/>
                <a:gd name="T10" fmla="*/ 3 w 7"/>
                <a:gd name="T11" fmla="*/ 4 h 7"/>
                <a:gd name="T12" fmla="*/ 0 w 7"/>
                <a:gd name="T13" fmla="*/ 4 h 7"/>
                <a:gd name="T14" fmla="*/ 0 w 7"/>
                <a:gd name="T15" fmla="*/ 4 h 7"/>
                <a:gd name="T16" fmla="*/ 3 w 7"/>
                <a:gd name="T17" fmla="*/ 2 h 7"/>
                <a:gd name="T18" fmla="*/ 3 w 7"/>
                <a:gd name="T19" fmla="*/ 2 h 7"/>
                <a:gd name="T20" fmla="*/ 5 w 7"/>
                <a:gd name="T2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5" y="2"/>
                  </a:moveTo>
                  <a:lnTo>
                    <a:pt x="5" y="0"/>
                  </a:lnTo>
                  <a:lnTo>
                    <a:pt x="5" y="4"/>
                  </a:lnTo>
                  <a:lnTo>
                    <a:pt x="7" y="7"/>
                  </a:lnTo>
                  <a:lnTo>
                    <a:pt x="3" y="7"/>
                  </a:lnTo>
                  <a:lnTo>
                    <a:pt x="3" y="4"/>
                  </a:lnTo>
                  <a:lnTo>
                    <a:pt x="0" y="4"/>
                  </a:lnTo>
                  <a:lnTo>
                    <a:pt x="0" y="4"/>
                  </a:lnTo>
                  <a:lnTo>
                    <a:pt x="3" y="2"/>
                  </a:lnTo>
                  <a:lnTo>
                    <a:pt x="3" y="2"/>
                  </a:lnTo>
                  <a:lnTo>
                    <a:pt x="5"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8" name="Freeform 929">
              <a:extLst>
                <a:ext uri="{FF2B5EF4-FFF2-40B4-BE49-F238E27FC236}">
                  <a16:creationId xmlns:a16="http://schemas.microsoft.com/office/drawing/2014/main" id="{2F706F23-E9AC-447E-A38C-37574295A7AE}"/>
                </a:ext>
              </a:extLst>
            </p:cNvPr>
            <p:cNvSpPr>
              <a:spLocks/>
            </p:cNvSpPr>
            <p:nvPr/>
          </p:nvSpPr>
          <p:spPr bwMode="auto">
            <a:xfrm>
              <a:off x="8190811" y="4195069"/>
              <a:ext cx="22434" cy="16022"/>
            </a:xfrm>
            <a:custGeom>
              <a:avLst/>
              <a:gdLst>
                <a:gd name="T0" fmla="*/ 5 w 7"/>
                <a:gd name="T1" fmla="*/ 0 h 5"/>
                <a:gd name="T2" fmla="*/ 5 w 7"/>
                <a:gd name="T3" fmla="*/ 0 h 5"/>
                <a:gd name="T4" fmla="*/ 7 w 7"/>
                <a:gd name="T5" fmla="*/ 5 h 5"/>
                <a:gd name="T6" fmla="*/ 5 w 7"/>
                <a:gd name="T7" fmla="*/ 5 h 5"/>
                <a:gd name="T8" fmla="*/ 2 w 7"/>
                <a:gd name="T9" fmla="*/ 5 h 5"/>
                <a:gd name="T10" fmla="*/ 0 w 7"/>
                <a:gd name="T11" fmla="*/ 2 h 5"/>
                <a:gd name="T12" fmla="*/ 0 w 7"/>
                <a:gd name="T13" fmla="*/ 2 h 5"/>
                <a:gd name="T14" fmla="*/ 2 w 7"/>
                <a:gd name="T15" fmla="*/ 0 h 5"/>
                <a:gd name="T16" fmla="*/ 2 w 7"/>
                <a:gd name="T17" fmla="*/ 0 h 5"/>
                <a:gd name="T18" fmla="*/ 5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5" y="0"/>
                  </a:moveTo>
                  <a:lnTo>
                    <a:pt x="5" y="0"/>
                  </a:lnTo>
                  <a:lnTo>
                    <a:pt x="7" y="5"/>
                  </a:lnTo>
                  <a:lnTo>
                    <a:pt x="5" y="5"/>
                  </a:lnTo>
                  <a:lnTo>
                    <a:pt x="2" y="5"/>
                  </a:lnTo>
                  <a:lnTo>
                    <a:pt x="0" y="2"/>
                  </a:lnTo>
                  <a:lnTo>
                    <a:pt x="0" y="2"/>
                  </a:lnTo>
                  <a:lnTo>
                    <a:pt x="2" y="0"/>
                  </a:lnTo>
                  <a:lnTo>
                    <a:pt x="2" y="0"/>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29" name="Freeform 930">
              <a:extLst>
                <a:ext uri="{FF2B5EF4-FFF2-40B4-BE49-F238E27FC236}">
                  <a16:creationId xmlns:a16="http://schemas.microsoft.com/office/drawing/2014/main" id="{A0CBD74D-6BF8-479F-9E0F-0016C8CD4A7E}"/>
                </a:ext>
              </a:extLst>
            </p:cNvPr>
            <p:cNvSpPr>
              <a:spLocks/>
            </p:cNvSpPr>
            <p:nvPr/>
          </p:nvSpPr>
          <p:spPr bwMode="auto">
            <a:xfrm>
              <a:off x="8190811" y="4195069"/>
              <a:ext cx="22434" cy="16022"/>
            </a:xfrm>
            <a:custGeom>
              <a:avLst/>
              <a:gdLst>
                <a:gd name="T0" fmla="*/ 5 w 7"/>
                <a:gd name="T1" fmla="*/ 0 h 5"/>
                <a:gd name="T2" fmla="*/ 5 w 7"/>
                <a:gd name="T3" fmla="*/ 0 h 5"/>
                <a:gd name="T4" fmla="*/ 7 w 7"/>
                <a:gd name="T5" fmla="*/ 5 h 5"/>
                <a:gd name="T6" fmla="*/ 5 w 7"/>
                <a:gd name="T7" fmla="*/ 5 h 5"/>
                <a:gd name="T8" fmla="*/ 2 w 7"/>
                <a:gd name="T9" fmla="*/ 5 h 5"/>
                <a:gd name="T10" fmla="*/ 0 w 7"/>
                <a:gd name="T11" fmla="*/ 2 h 5"/>
                <a:gd name="T12" fmla="*/ 0 w 7"/>
                <a:gd name="T13" fmla="*/ 2 h 5"/>
                <a:gd name="T14" fmla="*/ 2 w 7"/>
                <a:gd name="T15" fmla="*/ 0 h 5"/>
                <a:gd name="T16" fmla="*/ 2 w 7"/>
                <a:gd name="T17" fmla="*/ 0 h 5"/>
                <a:gd name="T18" fmla="*/ 5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5" y="0"/>
                  </a:moveTo>
                  <a:lnTo>
                    <a:pt x="5" y="0"/>
                  </a:lnTo>
                  <a:lnTo>
                    <a:pt x="7" y="5"/>
                  </a:lnTo>
                  <a:lnTo>
                    <a:pt x="5" y="5"/>
                  </a:lnTo>
                  <a:lnTo>
                    <a:pt x="2" y="5"/>
                  </a:lnTo>
                  <a:lnTo>
                    <a:pt x="0" y="2"/>
                  </a:lnTo>
                  <a:lnTo>
                    <a:pt x="0" y="2"/>
                  </a:lnTo>
                  <a:lnTo>
                    <a:pt x="2" y="0"/>
                  </a:lnTo>
                  <a:lnTo>
                    <a:pt x="2"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0" name="Freeform 931">
              <a:extLst>
                <a:ext uri="{FF2B5EF4-FFF2-40B4-BE49-F238E27FC236}">
                  <a16:creationId xmlns:a16="http://schemas.microsoft.com/office/drawing/2014/main" id="{62031DB5-D378-4E29-9954-4AF9034A6F75}"/>
                </a:ext>
              </a:extLst>
            </p:cNvPr>
            <p:cNvSpPr>
              <a:spLocks/>
            </p:cNvSpPr>
            <p:nvPr/>
          </p:nvSpPr>
          <p:spPr bwMode="auto">
            <a:xfrm>
              <a:off x="8235676" y="4255960"/>
              <a:ext cx="9615" cy="22433"/>
            </a:xfrm>
            <a:custGeom>
              <a:avLst/>
              <a:gdLst>
                <a:gd name="T0" fmla="*/ 0 w 3"/>
                <a:gd name="T1" fmla="*/ 0 h 7"/>
                <a:gd name="T2" fmla="*/ 0 w 3"/>
                <a:gd name="T3" fmla="*/ 0 h 7"/>
                <a:gd name="T4" fmla="*/ 0 w 3"/>
                <a:gd name="T5" fmla="*/ 0 h 7"/>
                <a:gd name="T6" fmla="*/ 3 w 3"/>
                <a:gd name="T7" fmla="*/ 0 h 7"/>
                <a:gd name="T8" fmla="*/ 3 w 3"/>
                <a:gd name="T9" fmla="*/ 2 h 7"/>
                <a:gd name="T10" fmla="*/ 3 w 3"/>
                <a:gd name="T11" fmla="*/ 2 h 7"/>
                <a:gd name="T12" fmla="*/ 3 w 3"/>
                <a:gd name="T13" fmla="*/ 7 h 7"/>
                <a:gd name="T14" fmla="*/ 3 w 3"/>
                <a:gd name="T15" fmla="*/ 7 h 7"/>
                <a:gd name="T16" fmla="*/ 0 w 3"/>
                <a:gd name="T17" fmla="*/ 5 h 7"/>
                <a:gd name="T18" fmla="*/ 0 w 3"/>
                <a:gd name="T19" fmla="*/ 2 h 7"/>
                <a:gd name="T20" fmla="*/ 0 w 3"/>
                <a:gd name="T21" fmla="*/ 0 h 7"/>
                <a:gd name="T22" fmla="*/ 0 w 3"/>
                <a:gd name="T23" fmla="*/ 5 h 7"/>
                <a:gd name="T24" fmla="*/ 0 w 3"/>
                <a:gd name="T25" fmla="*/ 2 h 7"/>
                <a:gd name="T26" fmla="*/ 0 w 3"/>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7">
                  <a:moveTo>
                    <a:pt x="0" y="0"/>
                  </a:moveTo>
                  <a:lnTo>
                    <a:pt x="0" y="0"/>
                  </a:lnTo>
                  <a:lnTo>
                    <a:pt x="0" y="0"/>
                  </a:lnTo>
                  <a:lnTo>
                    <a:pt x="3" y="0"/>
                  </a:lnTo>
                  <a:lnTo>
                    <a:pt x="3" y="2"/>
                  </a:lnTo>
                  <a:lnTo>
                    <a:pt x="3" y="2"/>
                  </a:lnTo>
                  <a:lnTo>
                    <a:pt x="3" y="7"/>
                  </a:lnTo>
                  <a:lnTo>
                    <a:pt x="3" y="7"/>
                  </a:lnTo>
                  <a:lnTo>
                    <a:pt x="0" y="5"/>
                  </a:lnTo>
                  <a:lnTo>
                    <a:pt x="0" y="2"/>
                  </a:lnTo>
                  <a:lnTo>
                    <a:pt x="0" y="0"/>
                  </a:lnTo>
                  <a:lnTo>
                    <a:pt x="0" y="5"/>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1" name="Freeform 932">
              <a:extLst>
                <a:ext uri="{FF2B5EF4-FFF2-40B4-BE49-F238E27FC236}">
                  <a16:creationId xmlns:a16="http://schemas.microsoft.com/office/drawing/2014/main" id="{64B701FC-1FD5-41BB-AC5A-FA3231338326}"/>
                </a:ext>
              </a:extLst>
            </p:cNvPr>
            <p:cNvSpPr>
              <a:spLocks/>
            </p:cNvSpPr>
            <p:nvPr/>
          </p:nvSpPr>
          <p:spPr bwMode="auto">
            <a:xfrm>
              <a:off x="8235676" y="4255960"/>
              <a:ext cx="9615" cy="22433"/>
            </a:xfrm>
            <a:custGeom>
              <a:avLst/>
              <a:gdLst>
                <a:gd name="T0" fmla="*/ 0 w 3"/>
                <a:gd name="T1" fmla="*/ 0 h 7"/>
                <a:gd name="T2" fmla="*/ 0 w 3"/>
                <a:gd name="T3" fmla="*/ 0 h 7"/>
                <a:gd name="T4" fmla="*/ 0 w 3"/>
                <a:gd name="T5" fmla="*/ 0 h 7"/>
                <a:gd name="T6" fmla="*/ 3 w 3"/>
                <a:gd name="T7" fmla="*/ 0 h 7"/>
                <a:gd name="T8" fmla="*/ 3 w 3"/>
                <a:gd name="T9" fmla="*/ 2 h 7"/>
                <a:gd name="T10" fmla="*/ 3 w 3"/>
                <a:gd name="T11" fmla="*/ 2 h 7"/>
                <a:gd name="T12" fmla="*/ 3 w 3"/>
                <a:gd name="T13" fmla="*/ 7 h 7"/>
                <a:gd name="T14" fmla="*/ 3 w 3"/>
                <a:gd name="T15" fmla="*/ 7 h 7"/>
                <a:gd name="T16" fmla="*/ 0 w 3"/>
                <a:gd name="T17" fmla="*/ 5 h 7"/>
                <a:gd name="T18" fmla="*/ 0 w 3"/>
                <a:gd name="T19" fmla="*/ 2 h 7"/>
                <a:gd name="T20" fmla="*/ 0 w 3"/>
                <a:gd name="T21" fmla="*/ 0 h 7"/>
                <a:gd name="T22" fmla="*/ 0 w 3"/>
                <a:gd name="T23" fmla="*/ 5 h 7"/>
                <a:gd name="T24" fmla="*/ 0 w 3"/>
                <a:gd name="T25" fmla="*/ 2 h 7"/>
                <a:gd name="T26" fmla="*/ 0 w 3"/>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7">
                  <a:moveTo>
                    <a:pt x="0" y="0"/>
                  </a:moveTo>
                  <a:lnTo>
                    <a:pt x="0" y="0"/>
                  </a:lnTo>
                  <a:lnTo>
                    <a:pt x="0" y="0"/>
                  </a:lnTo>
                  <a:lnTo>
                    <a:pt x="3" y="0"/>
                  </a:lnTo>
                  <a:lnTo>
                    <a:pt x="3" y="2"/>
                  </a:lnTo>
                  <a:lnTo>
                    <a:pt x="3" y="2"/>
                  </a:lnTo>
                  <a:lnTo>
                    <a:pt x="3" y="7"/>
                  </a:lnTo>
                  <a:lnTo>
                    <a:pt x="3" y="7"/>
                  </a:lnTo>
                  <a:lnTo>
                    <a:pt x="0" y="5"/>
                  </a:lnTo>
                  <a:lnTo>
                    <a:pt x="0" y="2"/>
                  </a:lnTo>
                  <a:lnTo>
                    <a:pt x="0" y="0"/>
                  </a:lnTo>
                  <a:lnTo>
                    <a:pt x="0" y="5"/>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2" name="Freeform 933">
              <a:extLst>
                <a:ext uri="{FF2B5EF4-FFF2-40B4-BE49-F238E27FC236}">
                  <a16:creationId xmlns:a16="http://schemas.microsoft.com/office/drawing/2014/main" id="{F7309909-F7E2-4B7F-9EAE-99F24E908395}"/>
                </a:ext>
              </a:extLst>
            </p:cNvPr>
            <p:cNvSpPr>
              <a:spLocks/>
            </p:cNvSpPr>
            <p:nvPr/>
          </p:nvSpPr>
          <p:spPr bwMode="auto">
            <a:xfrm>
              <a:off x="8251699" y="4300825"/>
              <a:ext cx="6410" cy="16022"/>
            </a:xfrm>
            <a:custGeom>
              <a:avLst/>
              <a:gdLst>
                <a:gd name="T0" fmla="*/ 0 w 2"/>
                <a:gd name="T1" fmla="*/ 0 h 5"/>
                <a:gd name="T2" fmla="*/ 0 w 2"/>
                <a:gd name="T3" fmla="*/ 0 h 5"/>
                <a:gd name="T4" fmla="*/ 2 w 2"/>
                <a:gd name="T5" fmla="*/ 2 h 5"/>
                <a:gd name="T6" fmla="*/ 2 w 2"/>
                <a:gd name="T7" fmla="*/ 5 h 5"/>
                <a:gd name="T8" fmla="*/ 0 w 2"/>
                <a:gd name="T9" fmla="*/ 5 h 5"/>
                <a:gd name="T10" fmla="*/ 0 w 2"/>
                <a:gd name="T11" fmla="*/ 2 h 5"/>
                <a:gd name="T12" fmla="*/ 0 w 2"/>
                <a:gd name="T13" fmla="*/ 0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5"/>
                  </a:lnTo>
                  <a:lnTo>
                    <a:pt x="0" y="5"/>
                  </a:lnTo>
                  <a:lnTo>
                    <a:pt x="0" y="2"/>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3" name="Freeform 934">
              <a:extLst>
                <a:ext uri="{FF2B5EF4-FFF2-40B4-BE49-F238E27FC236}">
                  <a16:creationId xmlns:a16="http://schemas.microsoft.com/office/drawing/2014/main" id="{B70E1EDC-41E9-49A2-9623-0CDDDCDB616F}"/>
                </a:ext>
              </a:extLst>
            </p:cNvPr>
            <p:cNvSpPr>
              <a:spLocks/>
            </p:cNvSpPr>
            <p:nvPr/>
          </p:nvSpPr>
          <p:spPr bwMode="auto">
            <a:xfrm>
              <a:off x="8251699" y="4300825"/>
              <a:ext cx="6410" cy="16022"/>
            </a:xfrm>
            <a:custGeom>
              <a:avLst/>
              <a:gdLst>
                <a:gd name="T0" fmla="*/ 0 w 2"/>
                <a:gd name="T1" fmla="*/ 0 h 5"/>
                <a:gd name="T2" fmla="*/ 0 w 2"/>
                <a:gd name="T3" fmla="*/ 0 h 5"/>
                <a:gd name="T4" fmla="*/ 2 w 2"/>
                <a:gd name="T5" fmla="*/ 2 h 5"/>
                <a:gd name="T6" fmla="*/ 2 w 2"/>
                <a:gd name="T7" fmla="*/ 5 h 5"/>
                <a:gd name="T8" fmla="*/ 0 w 2"/>
                <a:gd name="T9" fmla="*/ 5 h 5"/>
                <a:gd name="T10" fmla="*/ 0 w 2"/>
                <a:gd name="T11" fmla="*/ 2 h 5"/>
                <a:gd name="T12" fmla="*/ 0 w 2"/>
                <a:gd name="T13" fmla="*/ 0 h 5"/>
                <a:gd name="T14" fmla="*/ 0 w 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0"/>
                  </a:moveTo>
                  <a:lnTo>
                    <a:pt x="0" y="0"/>
                  </a:lnTo>
                  <a:lnTo>
                    <a:pt x="2" y="2"/>
                  </a:lnTo>
                  <a:lnTo>
                    <a:pt x="2" y="5"/>
                  </a:lnTo>
                  <a:lnTo>
                    <a:pt x="0" y="5"/>
                  </a:lnTo>
                  <a:lnTo>
                    <a:pt x="0" y="2"/>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4" name="Freeform 1082">
              <a:extLst>
                <a:ext uri="{FF2B5EF4-FFF2-40B4-BE49-F238E27FC236}">
                  <a16:creationId xmlns:a16="http://schemas.microsoft.com/office/drawing/2014/main" id="{8567665F-41E1-48C8-85E6-CBB4C74EE664}"/>
                </a:ext>
              </a:extLst>
            </p:cNvPr>
            <p:cNvSpPr>
              <a:spLocks/>
            </p:cNvSpPr>
            <p:nvPr/>
          </p:nvSpPr>
          <p:spPr bwMode="auto">
            <a:xfrm>
              <a:off x="7963277" y="4355306"/>
              <a:ext cx="160235" cy="128188"/>
            </a:xfrm>
            <a:custGeom>
              <a:avLst/>
              <a:gdLst>
                <a:gd name="T0" fmla="*/ 19 w 50"/>
                <a:gd name="T1" fmla="*/ 21 h 40"/>
                <a:gd name="T2" fmla="*/ 12 w 50"/>
                <a:gd name="T3" fmla="*/ 18 h 40"/>
                <a:gd name="T4" fmla="*/ 7 w 50"/>
                <a:gd name="T5" fmla="*/ 11 h 40"/>
                <a:gd name="T6" fmla="*/ 5 w 50"/>
                <a:gd name="T7" fmla="*/ 11 h 40"/>
                <a:gd name="T8" fmla="*/ 5 w 50"/>
                <a:gd name="T9" fmla="*/ 7 h 40"/>
                <a:gd name="T10" fmla="*/ 0 w 50"/>
                <a:gd name="T11" fmla="*/ 4 h 40"/>
                <a:gd name="T12" fmla="*/ 0 w 50"/>
                <a:gd name="T13" fmla="*/ 2 h 40"/>
                <a:gd name="T14" fmla="*/ 0 w 50"/>
                <a:gd name="T15" fmla="*/ 0 h 40"/>
                <a:gd name="T16" fmla="*/ 0 w 50"/>
                <a:gd name="T17" fmla="*/ 0 h 40"/>
                <a:gd name="T18" fmla="*/ 3 w 50"/>
                <a:gd name="T19" fmla="*/ 0 h 40"/>
                <a:gd name="T20" fmla="*/ 5 w 50"/>
                <a:gd name="T21" fmla="*/ 0 h 40"/>
                <a:gd name="T22" fmla="*/ 10 w 50"/>
                <a:gd name="T23" fmla="*/ 2 h 40"/>
                <a:gd name="T24" fmla="*/ 12 w 50"/>
                <a:gd name="T25" fmla="*/ 4 h 40"/>
                <a:gd name="T26" fmla="*/ 12 w 50"/>
                <a:gd name="T27" fmla="*/ 7 h 40"/>
                <a:gd name="T28" fmla="*/ 14 w 50"/>
                <a:gd name="T29" fmla="*/ 7 h 40"/>
                <a:gd name="T30" fmla="*/ 14 w 50"/>
                <a:gd name="T31" fmla="*/ 7 h 40"/>
                <a:gd name="T32" fmla="*/ 17 w 50"/>
                <a:gd name="T33" fmla="*/ 9 h 40"/>
                <a:gd name="T34" fmla="*/ 21 w 50"/>
                <a:gd name="T35" fmla="*/ 11 h 40"/>
                <a:gd name="T36" fmla="*/ 21 w 50"/>
                <a:gd name="T37" fmla="*/ 14 h 40"/>
                <a:gd name="T38" fmla="*/ 24 w 50"/>
                <a:gd name="T39" fmla="*/ 16 h 40"/>
                <a:gd name="T40" fmla="*/ 24 w 50"/>
                <a:gd name="T41" fmla="*/ 16 h 40"/>
                <a:gd name="T42" fmla="*/ 26 w 50"/>
                <a:gd name="T43" fmla="*/ 18 h 40"/>
                <a:gd name="T44" fmla="*/ 29 w 50"/>
                <a:gd name="T45" fmla="*/ 21 h 40"/>
                <a:gd name="T46" fmla="*/ 29 w 50"/>
                <a:gd name="T47" fmla="*/ 23 h 40"/>
                <a:gd name="T48" fmla="*/ 31 w 50"/>
                <a:gd name="T49" fmla="*/ 23 h 40"/>
                <a:gd name="T50" fmla="*/ 31 w 50"/>
                <a:gd name="T51" fmla="*/ 26 h 40"/>
                <a:gd name="T52" fmla="*/ 33 w 50"/>
                <a:gd name="T53" fmla="*/ 26 h 40"/>
                <a:gd name="T54" fmla="*/ 38 w 50"/>
                <a:gd name="T55" fmla="*/ 26 h 40"/>
                <a:gd name="T56" fmla="*/ 45 w 50"/>
                <a:gd name="T57" fmla="*/ 30 h 40"/>
                <a:gd name="T58" fmla="*/ 45 w 50"/>
                <a:gd name="T59" fmla="*/ 33 h 40"/>
                <a:gd name="T60" fmla="*/ 47 w 50"/>
                <a:gd name="T61" fmla="*/ 33 h 40"/>
                <a:gd name="T62" fmla="*/ 50 w 50"/>
                <a:gd name="T63" fmla="*/ 35 h 40"/>
                <a:gd name="T64" fmla="*/ 50 w 50"/>
                <a:gd name="T65" fmla="*/ 37 h 40"/>
                <a:gd name="T66" fmla="*/ 50 w 50"/>
                <a:gd name="T67" fmla="*/ 37 h 40"/>
                <a:gd name="T68" fmla="*/ 47 w 50"/>
                <a:gd name="T69" fmla="*/ 37 h 40"/>
                <a:gd name="T70" fmla="*/ 47 w 50"/>
                <a:gd name="T71" fmla="*/ 40 h 40"/>
                <a:gd name="T72" fmla="*/ 47 w 50"/>
                <a:gd name="T73" fmla="*/ 40 h 40"/>
                <a:gd name="T74" fmla="*/ 45 w 50"/>
                <a:gd name="T75" fmla="*/ 40 h 40"/>
                <a:gd name="T76" fmla="*/ 45 w 50"/>
                <a:gd name="T77" fmla="*/ 37 h 40"/>
                <a:gd name="T78" fmla="*/ 43 w 50"/>
                <a:gd name="T79" fmla="*/ 37 h 40"/>
                <a:gd name="T80" fmla="*/ 40 w 50"/>
                <a:gd name="T81" fmla="*/ 37 h 40"/>
                <a:gd name="T82" fmla="*/ 38 w 50"/>
                <a:gd name="T83" fmla="*/ 35 h 40"/>
                <a:gd name="T84" fmla="*/ 36 w 50"/>
                <a:gd name="T85" fmla="*/ 35 h 40"/>
                <a:gd name="T86" fmla="*/ 36 w 50"/>
                <a:gd name="T87" fmla="*/ 35 h 40"/>
                <a:gd name="T88" fmla="*/ 36 w 50"/>
                <a:gd name="T89" fmla="*/ 33 h 40"/>
                <a:gd name="T90" fmla="*/ 33 w 50"/>
                <a:gd name="T91" fmla="*/ 33 h 40"/>
                <a:gd name="T92" fmla="*/ 33 w 50"/>
                <a:gd name="T93" fmla="*/ 30 h 40"/>
                <a:gd name="T94" fmla="*/ 31 w 50"/>
                <a:gd name="T95" fmla="*/ 30 h 40"/>
                <a:gd name="T96" fmla="*/ 31 w 50"/>
                <a:gd name="T97" fmla="*/ 30 h 40"/>
                <a:gd name="T98" fmla="*/ 29 w 50"/>
                <a:gd name="T99" fmla="*/ 30 h 40"/>
                <a:gd name="T100" fmla="*/ 29 w 50"/>
                <a:gd name="T101" fmla="*/ 28 h 40"/>
                <a:gd name="T102" fmla="*/ 26 w 50"/>
                <a:gd name="T103" fmla="*/ 28 h 40"/>
                <a:gd name="T104" fmla="*/ 24 w 50"/>
                <a:gd name="T105" fmla="*/ 26 h 40"/>
                <a:gd name="T106" fmla="*/ 21 w 50"/>
                <a:gd name="T107" fmla="*/ 26 h 40"/>
                <a:gd name="T108" fmla="*/ 19 w 50"/>
                <a:gd name="T109" fmla="*/ 26 h 40"/>
                <a:gd name="T110" fmla="*/ 19 w 50"/>
                <a:gd name="T111" fmla="*/ 23 h 40"/>
                <a:gd name="T112" fmla="*/ 19 w 50"/>
                <a:gd name="T113"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 h="40">
                  <a:moveTo>
                    <a:pt x="19" y="21"/>
                  </a:moveTo>
                  <a:lnTo>
                    <a:pt x="12" y="18"/>
                  </a:lnTo>
                  <a:lnTo>
                    <a:pt x="7" y="11"/>
                  </a:lnTo>
                  <a:lnTo>
                    <a:pt x="5" y="11"/>
                  </a:lnTo>
                  <a:lnTo>
                    <a:pt x="5" y="7"/>
                  </a:lnTo>
                  <a:lnTo>
                    <a:pt x="0" y="4"/>
                  </a:lnTo>
                  <a:lnTo>
                    <a:pt x="0" y="2"/>
                  </a:lnTo>
                  <a:lnTo>
                    <a:pt x="0" y="0"/>
                  </a:lnTo>
                  <a:lnTo>
                    <a:pt x="0" y="0"/>
                  </a:lnTo>
                  <a:lnTo>
                    <a:pt x="3" y="0"/>
                  </a:lnTo>
                  <a:lnTo>
                    <a:pt x="5" y="0"/>
                  </a:lnTo>
                  <a:lnTo>
                    <a:pt x="10" y="2"/>
                  </a:lnTo>
                  <a:lnTo>
                    <a:pt x="12" y="4"/>
                  </a:lnTo>
                  <a:lnTo>
                    <a:pt x="12" y="7"/>
                  </a:lnTo>
                  <a:lnTo>
                    <a:pt x="14" y="7"/>
                  </a:lnTo>
                  <a:lnTo>
                    <a:pt x="14" y="7"/>
                  </a:lnTo>
                  <a:lnTo>
                    <a:pt x="17" y="9"/>
                  </a:lnTo>
                  <a:lnTo>
                    <a:pt x="21" y="11"/>
                  </a:lnTo>
                  <a:lnTo>
                    <a:pt x="21" y="14"/>
                  </a:lnTo>
                  <a:lnTo>
                    <a:pt x="24" y="16"/>
                  </a:lnTo>
                  <a:lnTo>
                    <a:pt x="24" y="16"/>
                  </a:lnTo>
                  <a:lnTo>
                    <a:pt x="26" y="18"/>
                  </a:lnTo>
                  <a:lnTo>
                    <a:pt x="29" y="21"/>
                  </a:lnTo>
                  <a:lnTo>
                    <a:pt x="29" y="23"/>
                  </a:lnTo>
                  <a:lnTo>
                    <a:pt x="31" y="23"/>
                  </a:lnTo>
                  <a:lnTo>
                    <a:pt x="31" y="26"/>
                  </a:lnTo>
                  <a:lnTo>
                    <a:pt x="33" y="26"/>
                  </a:lnTo>
                  <a:lnTo>
                    <a:pt x="38" y="26"/>
                  </a:lnTo>
                  <a:lnTo>
                    <a:pt x="45" y="30"/>
                  </a:lnTo>
                  <a:lnTo>
                    <a:pt x="45" y="33"/>
                  </a:lnTo>
                  <a:lnTo>
                    <a:pt x="47" y="33"/>
                  </a:lnTo>
                  <a:lnTo>
                    <a:pt x="50" y="35"/>
                  </a:lnTo>
                  <a:lnTo>
                    <a:pt x="50" y="37"/>
                  </a:lnTo>
                  <a:lnTo>
                    <a:pt x="50" y="37"/>
                  </a:lnTo>
                  <a:lnTo>
                    <a:pt x="47" y="37"/>
                  </a:lnTo>
                  <a:lnTo>
                    <a:pt x="47" y="40"/>
                  </a:lnTo>
                  <a:lnTo>
                    <a:pt x="47" y="40"/>
                  </a:lnTo>
                  <a:lnTo>
                    <a:pt x="45" y="40"/>
                  </a:lnTo>
                  <a:lnTo>
                    <a:pt x="45" y="37"/>
                  </a:lnTo>
                  <a:lnTo>
                    <a:pt x="43" y="37"/>
                  </a:lnTo>
                  <a:lnTo>
                    <a:pt x="40" y="37"/>
                  </a:lnTo>
                  <a:lnTo>
                    <a:pt x="38" y="35"/>
                  </a:lnTo>
                  <a:lnTo>
                    <a:pt x="36" y="35"/>
                  </a:lnTo>
                  <a:lnTo>
                    <a:pt x="36" y="35"/>
                  </a:lnTo>
                  <a:lnTo>
                    <a:pt x="36" y="33"/>
                  </a:lnTo>
                  <a:lnTo>
                    <a:pt x="33" y="33"/>
                  </a:lnTo>
                  <a:lnTo>
                    <a:pt x="33" y="30"/>
                  </a:lnTo>
                  <a:lnTo>
                    <a:pt x="31" y="30"/>
                  </a:lnTo>
                  <a:lnTo>
                    <a:pt x="31" y="30"/>
                  </a:lnTo>
                  <a:lnTo>
                    <a:pt x="29" y="30"/>
                  </a:lnTo>
                  <a:lnTo>
                    <a:pt x="29" y="28"/>
                  </a:lnTo>
                  <a:lnTo>
                    <a:pt x="26" y="28"/>
                  </a:lnTo>
                  <a:lnTo>
                    <a:pt x="24" y="26"/>
                  </a:lnTo>
                  <a:lnTo>
                    <a:pt x="21" y="26"/>
                  </a:lnTo>
                  <a:lnTo>
                    <a:pt x="19" y="26"/>
                  </a:lnTo>
                  <a:lnTo>
                    <a:pt x="19" y="23"/>
                  </a:lnTo>
                  <a:lnTo>
                    <a:pt x="19" y="2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5" name="Freeform 1083">
              <a:extLst>
                <a:ext uri="{FF2B5EF4-FFF2-40B4-BE49-F238E27FC236}">
                  <a16:creationId xmlns:a16="http://schemas.microsoft.com/office/drawing/2014/main" id="{4B6E4803-D04B-4CDE-9314-77800F50AD6B}"/>
                </a:ext>
              </a:extLst>
            </p:cNvPr>
            <p:cNvSpPr>
              <a:spLocks/>
            </p:cNvSpPr>
            <p:nvPr/>
          </p:nvSpPr>
          <p:spPr bwMode="auto">
            <a:xfrm>
              <a:off x="7963277" y="4355306"/>
              <a:ext cx="160235" cy="128188"/>
            </a:xfrm>
            <a:custGeom>
              <a:avLst/>
              <a:gdLst>
                <a:gd name="T0" fmla="*/ 19 w 50"/>
                <a:gd name="T1" fmla="*/ 21 h 40"/>
                <a:gd name="T2" fmla="*/ 12 w 50"/>
                <a:gd name="T3" fmla="*/ 18 h 40"/>
                <a:gd name="T4" fmla="*/ 7 w 50"/>
                <a:gd name="T5" fmla="*/ 11 h 40"/>
                <a:gd name="T6" fmla="*/ 5 w 50"/>
                <a:gd name="T7" fmla="*/ 11 h 40"/>
                <a:gd name="T8" fmla="*/ 5 w 50"/>
                <a:gd name="T9" fmla="*/ 7 h 40"/>
                <a:gd name="T10" fmla="*/ 0 w 50"/>
                <a:gd name="T11" fmla="*/ 4 h 40"/>
                <a:gd name="T12" fmla="*/ 0 w 50"/>
                <a:gd name="T13" fmla="*/ 2 h 40"/>
                <a:gd name="T14" fmla="*/ 0 w 50"/>
                <a:gd name="T15" fmla="*/ 0 h 40"/>
                <a:gd name="T16" fmla="*/ 0 w 50"/>
                <a:gd name="T17" fmla="*/ 0 h 40"/>
                <a:gd name="T18" fmla="*/ 3 w 50"/>
                <a:gd name="T19" fmla="*/ 0 h 40"/>
                <a:gd name="T20" fmla="*/ 5 w 50"/>
                <a:gd name="T21" fmla="*/ 0 h 40"/>
                <a:gd name="T22" fmla="*/ 10 w 50"/>
                <a:gd name="T23" fmla="*/ 2 h 40"/>
                <a:gd name="T24" fmla="*/ 12 w 50"/>
                <a:gd name="T25" fmla="*/ 4 h 40"/>
                <a:gd name="T26" fmla="*/ 12 w 50"/>
                <a:gd name="T27" fmla="*/ 7 h 40"/>
                <a:gd name="T28" fmla="*/ 14 w 50"/>
                <a:gd name="T29" fmla="*/ 7 h 40"/>
                <a:gd name="T30" fmla="*/ 14 w 50"/>
                <a:gd name="T31" fmla="*/ 7 h 40"/>
                <a:gd name="T32" fmla="*/ 17 w 50"/>
                <a:gd name="T33" fmla="*/ 9 h 40"/>
                <a:gd name="T34" fmla="*/ 21 w 50"/>
                <a:gd name="T35" fmla="*/ 11 h 40"/>
                <a:gd name="T36" fmla="*/ 21 w 50"/>
                <a:gd name="T37" fmla="*/ 14 h 40"/>
                <a:gd name="T38" fmla="*/ 24 w 50"/>
                <a:gd name="T39" fmla="*/ 16 h 40"/>
                <a:gd name="T40" fmla="*/ 24 w 50"/>
                <a:gd name="T41" fmla="*/ 16 h 40"/>
                <a:gd name="T42" fmla="*/ 26 w 50"/>
                <a:gd name="T43" fmla="*/ 18 h 40"/>
                <a:gd name="T44" fmla="*/ 29 w 50"/>
                <a:gd name="T45" fmla="*/ 21 h 40"/>
                <a:gd name="T46" fmla="*/ 29 w 50"/>
                <a:gd name="T47" fmla="*/ 23 h 40"/>
                <a:gd name="T48" fmla="*/ 31 w 50"/>
                <a:gd name="T49" fmla="*/ 23 h 40"/>
                <a:gd name="T50" fmla="*/ 31 w 50"/>
                <a:gd name="T51" fmla="*/ 26 h 40"/>
                <a:gd name="T52" fmla="*/ 33 w 50"/>
                <a:gd name="T53" fmla="*/ 26 h 40"/>
                <a:gd name="T54" fmla="*/ 38 w 50"/>
                <a:gd name="T55" fmla="*/ 26 h 40"/>
                <a:gd name="T56" fmla="*/ 45 w 50"/>
                <a:gd name="T57" fmla="*/ 30 h 40"/>
                <a:gd name="T58" fmla="*/ 45 w 50"/>
                <a:gd name="T59" fmla="*/ 33 h 40"/>
                <a:gd name="T60" fmla="*/ 47 w 50"/>
                <a:gd name="T61" fmla="*/ 33 h 40"/>
                <a:gd name="T62" fmla="*/ 50 w 50"/>
                <a:gd name="T63" fmla="*/ 35 h 40"/>
                <a:gd name="T64" fmla="*/ 50 w 50"/>
                <a:gd name="T65" fmla="*/ 37 h 40"/>
                <a:gd name="T66" fmla="*/ 50 w 50"/>
                <a:gd name="T67" fmla="*/ 37 h 40"/>
                <a:gd name="T68" fmla="*/ 47 w 50"/>
                <a:gd name="T69" fmla="*/ 37 h 40"/>
                <a:gd name="T70" fmla="*/ 47 w 50"/>
                <a:gd name="T71" fmla="*/ 40 h 40"/>
                <a:gd name="T72" fmla="*/ 47 w 50"/>
                <a:gd name="T73" fmla="*/ 40 h 40"/>
                <a:gd name="T74" fmla="*/ 45 w 50"/>
                <a:gd name="T75" fmla="*/ 40 h 40"/>
                <a:gd name="T76" fmla="*/ 45 w 50"/>
                <a:gd name="T77" fmla="*/ 37 h 40"/>
                <a:gd name="T78" fmla="*/ 43 w 50"/>
                <a:gd name="T79" fmla="*/ 37 h 40"/>
                <a:gd name="T80" fmla="*/ 40 w 50"/>
                <a:gd name="T81" fmla="*/ 37 h 40"/>
                <a:gd name="T82" fmla="*/ 38 w 50"/>
                <a:gd name="T83" fmla="*/ 35 h 40"/>
                <a:gd name="T84" fmla="*/ 36 w 50"/>
                <a:gd name="T85" fmla="*/ 35 h 40"/>
                <a:gd name="T86" fmla="*/ 36 w 50"/>
                <a:gd name="T87" fmla="*/ 35 h 40"/>
                <a:gd name="T88" fmla="*/ 36 w 50"/>
                <a:gd name="T89" fmla="*/ 33 h 40"/>
                <a:gd name="T90" fmla="*/ 33 w 50"/>
                <a:gd name="T91" fmla="*/ 33 h 40"/>
                <a:gd name="T92" fmla="*/ 33 w 50"/>
                <a:gd name="T93" fmla="*/ 30 h 40"/>
                <a:gd name="T94" fmla="*/ 31 w 50"/>
                <a:gd name="T95" fmla="*/ 30 h 40"/>
                <a:gd name="T96" fmla="*/ 31 w 50"/>
                <a:gd name="T97" fmla="*/ 30 h 40"/>
                <a:gd name="T98" fmla="*/ 29 w 50"/>
                <a:gd name="T99" fmla="*/ 30 h 40"/>
                <a:gd name="T100" fmla="*/ 29 w 50"/>
                <a:gd name="T101" fmla="*/ 28 h 40"/>
                <a:gd name="T102" fmla="*/ 26 w 50"/>
                <a:gd name="T103" fmla="*/ 28 h 40"/>
                <a:gd name="T104" fmla="*/ 24 w 50"/>
                <a:gd name="T105" fmla="*/ 26 h 40"/>
                <a:gd name="T106" fmla="*/ 21 w 50"/>
                <a:gd name="T107" fmla="*/ 26 h 40"/>
                <a:gd name="T108" fmla="*/ 19 w 50"/>
                <a:gd name="T109" fmla="*/ 26 h 40"/>
                <a:gd name="T110" fmla="*/ 19 w 50"/>
                <a:gd name="T111" fmla="*/ 23 h 40"/>
                <a:gd name="T112" fmla="*/ 19 w 50"/>
                <a:gd name="T113"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 h="40">
                  <a:moveTo>
                    <a:pt x="19" y="21"/>
                  </a:moveTo>
                  <a:lnTo>
                    <a:pt x="12" y="18"/>
                  </a:lnTo>
                  <a:lnTo>
                    <a:pt x="7" y="11"/>
                  </a:lnTo>
                  <a:lnTo>
                    <a:pt x="5" y="11"/>
                  </a:lnTo>
                  <a:lnTo>
                    <a:pt x="5" y="7"/>
                  </a:lnTo>
                  <a:lnTo>
                    <a:pt x="0" y="4"/>
                  </a:lnTo>
                  <a:lnTo>
                    <a:pt x="0" y="2"/>
                  </a:lnTo>
                  <a:lnTo>
                    <a:pt x="0" y="0"/>
                  </a:lnTo>
                  <a:lnTo>
                    <a:pt x="0" y="0"/>
                  </a:lnTo>
                  <a:lnTo>
                    <a:pt x="3" y="0"/>
                  </a:lnTo>
                  <a:lnTo>
                    <a:pt x="5" y="0"/>
                  </a:lnTo>
                  <a:lnTo>
                    <a:pt x="10" y="2"/>
                  </a:lnTo>
                  <a:lnTo>
                    <a:pt x="12" y="4"/>
                  </a:lnTo>
                  <a:lnTo>
                    <a:pt x="12" y="7"/>
                  </a:lnTo>
                  <a:lnTo>
                    <a:pt x="14" y="7"/>
                  </a:lnTo>
                  <a:lnTo>
                    <a:pt x="14" y="7"/>
                  </a:lnTo>
                  <a:lnTo>
                    <a:pt x="17" y="9"/>
                  </a:lnTo>
                  <a:lnTo>
                    <a:pt x="21" y="11"/>
                  </a:lnTo>
                  <a:lnTo>
                    <a:pt x="21" y="14"/>
                  </a:lnTo>
                  <a:lnTo>
                    <a:pt x="24" y="16"/>
                  </a:lnTo>
                  <a:lnTo>
                    <a:pt x="24" y="16"/>
                  </a:lnTo>
                  <a:lnTo>
                    <a:pt x="26" y="18"/>
                  </a:lnTo>
                  <a:lnTo>
                    <a:pt x="29" y="21"/>
                  </a:lnTo>
                  <a:lnTo>
                    <a:pt x="29" y="23"/>
                  </a:lnTo>
                  <a:lnTo>
                    <a:pt x="31" y="23"/>
                  </a:lnTo>
                  <a:lnTo>
                    <a:pt x="31" y="26"/>
                  </a:lnTo>
                  <a:lnTo>
                    <a:pt x="33" y="26"/>
                  </a:lnTo>
                  <a:lnTo>
                    <a:pt x="38" y="26"/>
                  </a:lnTo>
                  <a:lnTo>
                    <a:pt x="45" y="30"/>
                  </a:lnTo>
                  <a:lnTo>
                    <a:pt x="45" y="33"/>
                  </a:lnTo>
                  <a:lnTo>
                    <a:pt x="47" y="33"/>
                  </a:lnTo>
                  <a:lnTo>
                    <a:pt x="50" y="35"/>
                  </a:lnTo>
                  <a:lnTo>
                    <a:pt x="50" y="37"/>
                  </a:lnTo>
                  <a:lnTo>
                    <a:pt x="50" y="37"/>
                  </a:lnTo>
                  <a:lnTo>
                    <a:pt x="47" y="37"/>
                  </a:lnTo>
                  <a:lnTo>
                    <a:pt x="47" y="40"/>
                  </a:lnTo>
                  <a:lnTo>
                    <a:pt x="47" y="40"/>
                  </a:lnTo>
                  <a:lnTo>
                    <a:pt x="45" y="40"/>
                  </a:lnTo>
                  <a:lnTo>
                    <a:pt x="45" y="37"/>
                  </a:lnTo>
                  <a:lnTo>
                    <a:pt x="43" y="37"/>
                  </a:lnTo>
                  <a:lnTo>
                    <a:pt x="40" y="37"/>
                  </a:lnTo>
                  <a:lnTo>
                    <a:pt x="38" y="35"/>
                  </a:lnTo>
                  <a:lnTo>
                    <a:pt x="36" y="35"/>
                  </a:lnTo>
                  <a:lnTo>
                    <a:pt x="36" y="35"/>
                  </a:lnTo>
                  <a:lnTo>
                    <a:pt x="36" y="33"/>
                  </a:lnTo>
                  <a:lnTo>
                    <a:pt x="33" y="33"/>
                  </a:lnTo>
                  <a:lnTo>
                    <a:pt x="33" y="30"/>
                  </a:lnTo>
                  <a:lnTo>
                    <a:pt x="31" y="30"/>
                  </a:lnTo>
                  <a:lnTo>
                    <a:pt x="31" y="30"/>
                  </a:lnTo>
                  <a:lnTo>
                    <a:pt x="29" y="30"/>
                  </a:lnTo>
                  <a:lnTo>
                    <a:pt x="29" y="28"/>
                  </a:lnTo>
                  <a:lnTo>
                    <a:pt x="26" y="28"/>
                  </a:lnTo>
                  <a:lnTo>
                    <a:pt x="24" y="26"/>
                  </a:lnTo>
                  <a:lnTo>
                    <a:pt x="21" y="26"/>
                  </a:lnTo>
                  <a:lnTo>
                    <a:pt x="19" y="26"/>
                  </a:lnTo>
                  <a:lnTo>
                    <a:pt x="19" y="23"/>
                  </a:lnTo>
                  <a:lnTo>
                    <a:pt x="19" y="2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6" name="Freeform 1084">
              <a:extLst>
                <a:ext uri="{FF2B5EF4-FFF2-40B4-BE49-F238E27FC236}">
                  <a16:creationId xmlns:a16="http://schemas.microsoft.com/office/drawing/2014/main" id="{A8BCE66F-380D-478B-8BE0-85BB15E5F773}"/>
                </a:ext>
              </a:extLst>
            </p:cNvPr>
            <p:cNvSpPr>
              <a:spLocks/>
            </p:cNvSpPr>
            <p:nvPr/>
          </p:nvSpPr>
          <p:spPr bwMode="auto">
            <a:xfrm>
              <a:off x="8129923" y="4384148"/>
              <a:ext cx="16025" cy="22434"/>
            </a:xfrm>
            <a:custGeom>
              <a:avLst/>
              <a:gdLst>
                <a:gd name="T0" fmla="*/ 0 w 5"/>
                <a:gd name="T1" fmla="*/ 0 h 7"/>
                <a:gd name="T2" fmla="*/ 0 w 5"/>
                <a:gd name="T3" fmla="*/ 0 h 7"/>
                <a:gd name="T4" fmla="*/ 3 w 5"/>
                <a:gd name="T5" fmla="*/ 0 h 7"/>
                <a:gd name="T6" fmla="*/ 5 w 5"/>
                <a:gd name="T7" fmla="*/ 0 h 7"/>
                <a:gd name="T8" fmla="*/ 5 w 5"/>
                <a:gd name="T9" fmla="*/ 2 h 7"/>
                <a:gd name="T10" fmla="*/ 5 w 5"/>
                <a:gd name="T11" fmla="*/ 5 h 7"/>
                <a:gd name="T12" fmla="*/ 5 w 5"/>
                <a:gd name="T13" fmla="*/ 5 h 7"/>
                <a:gd name="T14" fmla="*/ 5 w 5"/>
                <a:gd name="T15" fmla="*/ 7 h 7"/>
                <a:gd name="T16" fmla="*/ 5 w 5"/>
                <a:gd name="T17" fmla="*/ 7 h 7"/>
                <a:gd name="T18" fmla="*/ 5 w 5"/>
                <a:gd name="T19" fmla="*/ 7 h 7"/>
                <a:gd name="T20" fmla="*/ 0 w 5"/>
                <a:gd name="T21" fmla="*/ 5 h 7"/>
                <a:gd name="T22" fmla="*/ 0 w 5"/>
                <a:gd name="T23" fmla="*/ 5 h 7"/>
                <a:gd name="T24" fmla="*/ 0 w 5"/>
                <a:gd name="T25" fmla="*/ 2 h 7"/>
                <a:gd name="T26" fmla="*/ 0 w 5"/>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7">
                  <a:moveTo>
                    <a:pt x="0" y="0"/>
                  </a:moveTo>
                  <a:lnTo>
                    <a:pt x="0" y="0"/>
                  </a:lnTo>
                  <a:lnTo>
                    <a:pt x="3" y="0"/>
                  </a:lnTo>
                  <a:lnTo>
                    <a:pt x="5" y="0"/>
                  </a:lnTo>
                  <a:lnTo>
                    <a:pt x="5" y="2"/>
                  </a:lnTo>
                  <a:lnTo>
                    <a:pt x="5" y="5"/>
                  </a:lnTo>
                  <a:lnTo>
                    <a:pt x="5" y="5"/>
                  </a:lnTo>
                  <a:lnTo>
                    <a:pt x="5" y="7"/>
                  </a:lnTo>
                  <a:lnTo>
                    <a:pt x="5" y="7"/>
                  </a:lnTo>
                  <a:lnTo>
                    <a:pt x="5" y="7"/>
                  </a:lnTo>
                  <a:lnTo>
                    <a:pt x="0" y="5"/>
                  </a:lnTo>
                  <a:lnTo>
                    <a:pt x="0" y="5"/>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7" name="Freeform 1085">
              <a:extLst>
                <a:ext uri="{FF2B5EF4-FFF2-40B4-BE49-F238E27FC236}">
                  <a16:creationId xmlns:a16="http://schemas.microsoft.com/office/drawing/2014/main" id="{8BA8E1EE-7B77-4220-88D5-6F38F1644E20}"/>
                </a:ext>
              </a:extLst>
            </p:cNvPr>
            <p:cNvSpPr>
              <a:spLocks/>
            </p:cNvSpPr>
            <p:nvPr/>
          </p:nvSpPr>
          <p:spPr bwMode="auto">
            <a:xfrm>
              <a:off x="8129923" y="4384148"/>
              <a:ext cx="16025" cy="22434"/>
            </a:xfrm>
            <a:custGeom>
              <a:avLst/>
              <a:gdLst>
                <a:gd name="T0" fmla="*/ 0 w 5"/>
                <a:gd name="T1" fmla="*/ 0 h 7"/>
                <a:gd name="T2" fmla="*/ 0 w 5"/>
                <a:gd name="T3" fmla="*/ 0 h 7"/>
                <a:gd name="T4" fmla="*/ 3 w 5"/>
                <a:gd name="T5" fmla="*/ 0 h 7"/>
                <a:gd name="T6" fmla="*/ 5 w 5"/>
                <a:gd name="T7" fmla="*/ 0 h 7"/>
                <a:gd name="T8" fmla="*/ 5 w 5"/>
                <a:gd name="T9" fmla="*/ 2 h 7"/>
                <a:gd name="T10" fmla="*/ 5 w 5"/>
                <a:gd name="T11" fmla="*/ 5 h 7"/>
                <a:gd name="T12" fmla="*/ 5 w 5"/>
                <a:gd name="T13" fmla="*/ 5 h 7"/>
                <a:gd name="T14" fmla="*/ 5 w 5"/>
                <a:gd name="T15" fmla="*/ 7 h 7"/>
                <a:gd name="T16" fmla="*/ 5 w 5"/>
                <a:gd name="T17" fmla="*/ 7 h 7"/>
                <a:gd name="T18" fmla="*/ 5 w 5"/>
                <a:gd name="T19" fmla="*/ 7 h 7"/>
                <a:gd name="T20" fmla="*/ 0 w 5"/>
                <a:gd name="T21" fmla="*/ 5 h 7"/>
                <a:gd name="T22" fmla="*/ 0 w 5"/>
                <a:gd name="T23" fmla="*/ 5 h 7"/>
                <a:gd name="T24" fmla="*/ 0 w 5"/>
                <a:gd name="T25" fmla="*/ 2 h 7"/>
                <a:gd name="T26" fmla="*/ 0 w 5"/>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7">
                  <a:moveTo>
                    <a:pt x="0" y="0"/>
                  </a:moveTo>
                  <a:lnTo>
                    <a:pt x="0" y="0"/>
                  </a:lnTo>
                  <a:lnTo>
                    <a:pt x="3" y="0"/>
                  </a:lnTo>
                  <a:lnTo>
                    <a:pt x="5" y="0"/>
                  </a:lnTo>
                  <a:lnTo>
                    <a:pt x="5" y="2"/>
                  </a:lnTo>
                  <a:lnTo>
                    <a:pt x="5" y="5"/>
                  </a:lnTo>
                  <a:lnTo>
                    <a:pt x="5" y="5"/>
                  </a:lnTo>
                  <a:lnTo>
                    <a:pt x="5" y="7"/>
                  </a:lnTo>
                  <a:lnTo>
                    <a:pt x="5" y="7"/>
                  </a:lnTo>
                  <a:lnTo>
                    <a:pt x="5" y="7"/>
                  </a:lnTo>
                  <a:lnTo>
                    <a:pt x="0" y="5"/>
                  </a:lnTo>
                  <a:lnTo>
                    <a:pt x="0" y="5"/>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8" name="Freeform 1086">
              <a:extLst>
                <a:ext uri="{FF2B5EF4-FFF2-40B4-BE49-F238E27FC236}">
                  <a16:creationId xmlns:a16="http://schemas.microsoft.com/office/drawing/2014/main" id="{28ACFE50-438F-46BF-8F07-15611F5E0894}"/>
                </a:ext>
              </a:extLst>
            </p:cNvPr>
            <p:cNvSpPr>
              <a:spLocks/>
            </p:cNvSpPr>
            <p:nvPr/>
          </p:nvSpPr>
          <p:spPr bwMode="auto">
            <a:xfrm>
              <a:off x="8168378" y="4422604"/>
              <a:ext cx="16025" cy="16025"/>
            </a:xfrm>
            <a:custGeom>
              <a:avLst/>
              <a:gdLst>
                <a:gd name="T0" fmla="*/ 0 w 5"/>
                <a:gd name="T1" fmla="*/ 0 h 5"/>
                <a:gd name="T2" fmla="*/ 0 w 5"/>
                <a:gd name="T3" fmla="*/ 0 h 5"/>
                <a:gd name="T4" fmla="*/ 2 w 5"/>
                <a:gd name="T5" fmla="*/ 0 h 5"/>
                <a:gd name="T6" fmla="*/ 5 w 5"/>
                <a:gd name="T7" fmla="*/ 0 h 5"/>
                <a:gd name="T8" fmla="*/ 5 w 5"/>
                <a:gd name="T9" fmla="*/ 0 h 5"/>
                <a:gd name="T10" fmla="*/ 5 w 5"/>
                <a:gd name="T11" fmla="*/ 2 h 5"/>
                <a:gd name="T12" fmla="*/ 5 w 5"/>
                <a:gd name="T13" fmla="*/ 5 h 5"/>
                <a:gd name="T14" fmla="*/ 2 w 5"/>
                <a:gd name="T15" fmla="*/ 5 h 5"/>
                <a:gd name="T16" fmla="*/ 2 w 5"/>
                <a:gd name="T17" fmla="*/ 2 h 5"/>
                <a:gd name="T18" fmla="*/ 0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0"/>
                  </a:moveTo>
                  <a:lnTo>
                    <a:pt x="0" y="0"/>
                  </a:lnTo>
                  <a:lnTo>
                    <a:pt x="2" y="0"/>
                  </a:lnTo>
                  <a:lnTo>
                    <a:pt x="5" y="0"/>
                  </a:lnTo>
                  <a:lnTo>
                    <a:pt x="5" y="0"/>
                  </a:lnTo>
                  <a:lnTo>
                    <a:pt x="5" y="2"/>
                  </a:lnTo>
                  <a:lnTo>
                    <a:pt x="5" y="5"/>
                  </a:lnTo>
                  <a:lnTo>
                    <a:pt x="2" y="5"/>
                  </a:lnTo>
                  <a:lnTo>
                    <a:pt x="2"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39" name="Freeform 1087">
              <a:extLst>
                <a:ext uri="{FF2B5EF4-FFF2-40B4-BE49-F238E27FC236}">
                  <a16:creationId xmlns:a16="http://schemas.microsoft.com/office/drawing/2014/main" id="{C15E3FC3-181F-4C5D-A8C2-DBCED8E3B0EA}"/>
                </a:ext>
              </a:extLst>
            </p:cNvPr>
            <p:cNvSpPr>
              <a:spLocks/>
            </p:cNvSpPr>
            <p:nvPr/>
          </p:nvSpPr>
          <p:spPr bwMode="auto">
            <a:xfrm>
              <a:off x="8168378" y="4422604"/>
              <a:ext cx="16025" cy="16025"/>
            </a:xfrm>
            <a:custGeom>
              <a:avLst/>
              <a:gdLst>
                <a:gd name="T0" fmla="*/ 0 w 5"/>
                <a:gd name="T1" fmla="*/ 0 h 5"/>
                <a:gd name="T2" fmla="*/ 0 w 5"/>
                <a:gd name="T3" fmla="*/ 0 h 5"/>
                <a:gd name="T4" fmla="*/ 2 w 5"/>
                <a:gd name="T5" fmla="*/ 0 h 5"/>
                <a:gd name="T6" fmla="*/ 5 w 5"/>
                <a:gd name="T7" fmla="*/ 0 h 5"/>
                <a:gd name="T8" fmla="*/ 5 w 5"/>
                <a:gd name="T9" fmla="*/ 0 h 5"/>
                <a:gd name="T10" fmla="*/ 5 w 5"/>
                <a:gd name="T11" fmla="*/ 2 h 5"/>
                <a:gd name="T12" fmla="*/ 5 w 5"/>
                <a:gd name="T13" fmla="*/ 5 h 5"/>
                <a:gd name="T14" fmla="*/ 2 w 5"/>
                <a:gd name="T15" fmla="*/ 5 h 5"/>
                <a:gd name="T16" fmla="*/ 2 w 5"/>
                <a:gd name="T17" fmla="*/ 2 h 5"/>
                <a:gd name="T18" fmla="*/ 0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0"/>
                  </a:moveTo>
                  <a:lnTo>
                    <a:pt x="0" y="0"/>
                  </a:lnTo>
                  <a:lnTo>
                    <a:pt x="2" y="0"/>
                  </a:lnTo>
                  <a:lnTo>
                    <a:pt x="5" y="0"/>
                  </a:lnTo>
                  <a:lnTo>
                    <a:pt x="5" y="0"/>
                  </a:lnTo>
                  <a:lnTo>
                    <a:pt x="5" y="2"/>
                  </a:lnTo>
                  <a:lnTo>
                    <a:pt x="5" y="5"/>
                  </a:lnTo>
                  <a:lnTo>
                    <a:pt x="2" y="5"/>
                  </a:lnTo>
                  <a:lnTo>
                    <a:pt x="2"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0" name="Freeform 1166">
              <a:extLst>
                <a:ext uri="{FF2B5EF4-FFF2-40B4-BE49-F238E27FC236}">
                  <a16:creationId xmlns:a16="http://schemas.microsoft.com/office/drawing/2014/main" id="{1FE8F3A2-7B6A-424C-9ECF-7D7F4E005D67}"/>
                </a:ext>
              </a:extLst>
            </p:cNvPr>
            <p:cNvSpPr>
              <a:spLocks/>
            </p:cNvSpPr>
            <p:nvPr/>
          </p:nvSpPr>
          <p:spPr bwMode="auto">
            <a:xfrm>
              <a:off x="6155826" y="3794481"/>
              <a:ext cx="32048" cy="22434"/>
            </a:xfrm>
            <a:custGeom>
              <a:avLst/>
              <a:gdLst>
                <a:gd name="T0" fmla="*/ 0 w 10"/>
                <a:gd name="T1" fmla="*/ 7 h 7"/>
                <a:gd name="T2" fmla="*/ 0 w 10"/>
                <a:gd name="T3" fmla="*/ 4 h 7"/>
                <a:gd name="T4" fmla="*/ 3 w 10"/>
                <a:gd name="T5" fmla="*/ 4 h 7"/>
                <a:gd name="T6" fmla="*/ 8 w 10"/>
                <a:gd name="T7" fmla="*/ 0 h 7"/>
                <a:gd name="T8" fmla="*/ 10 w 10"/>
                <a:gd name="T9" fmla="*/ 0 h 7"/>
                <a:gd name="T10" fmla="*/ 10 w 10"/>
                <a:gd name="T11" fmla="*/ 2 h 7"/>
                <a:gd name="T12" fmla="*/ 8 w 10"/>
                <a:gd name="T13" fmla="*/ 2 h 7"/>
                <a:gd name="T14" fmla="*/ 5 w 10"/>
                <a:gd name="T15" fmla="*/ 4 h 7"/>
                <a:gd name="T16" fmla="*/ 3 w 10"/>
                <a:gd name="T17" fmla="*/ 7 h 7"/>
                <a:gd name="T18" fmla="*/ 0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0" y="4"/>
                  </a:lnTo>
                  <a:lnTo>
                    <a:pt x="3" y="4"/>
                  </a:lnTo>
                  <a:lnTo>
                    <a:pt x="8" y="0"/>
                  </a:lnTo>
                  <a:lnTo>
                    <a:pt x="10" y="0"/>
                  </a:lnTo>
                  <a:lnTo>
                    <a:pt x="10" y="2"/>
                  </a:lnTo>
                  <a:lnTo>
                    <a:pt x="8" y="2"/>
                  </a:lnTo>
                  <a:lnTo>
                    <a:pt x="5" y="4"/>
                  </a:lnTo>
                  <a:lnTo>
                    <a:pt x="3" y="7"/>
                  </a:lnTo>
                  <a:lnTo>
                    <a:pt x="0" y="7"/>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1" name="Freeform 1167">
              <a:extLst>
                <a:ext uri="{FF2B5EF4-FFF2-40B4-BE49-F238E27FC236}">
                  <a16:creationId xmlns:a16="http://schemas.microsoft.com/office/drawing/2014/main" id="{844B163F-99B6-4093-BEA0-B06E5C2BA3E6}"/>
                </a:ext>
              </a:extLst>
            </p:cNvPr>
            <p:cNvSpPr>
              <a:spLocks/>
            </p:cNvSpPr>
            <p:nvPr/>
          </p:nvSpPr>
          <p:spPr bwMode="auto">
            <a:xfrm>
              <a:off x="6155826" y="3794481"/>
              <a:ext cx="32048" cy="22434"/>
            </a:xfrm>
            <a:custGeom>
              <a:avLst/>
              <a:gdLst>
                <a:gd name="T0" fmla="*/ 0 w 10"/>
                <a:gd name="T1" fmla="*/ 7 h 7"/>
                <a:gd name="T2" fmla="*/ 0 w 10"/>
                <a:gd name="T3" fmla="*/ 4 h 7"/>
                <a:gd name="T4" fmla="*/ 3 w 10"/>
                <a:gd name="T5" fmla="*/ 4 h 7"/>
                <a:gd name="T6" fmla="*/ 8 w 10"/>
                <a:gd name="T7" fmla="*/ 0 h 7"/>
                <a:gd name="T8" fmla="*/ 10 w 10"/>
                <a:gd name="T9" fmla="*/ 0 h 7"/>
                <a:gd name="T10" fmla="*/ 10 w 10"/>
                <a:gd name="T11" fmla="*/ 2 h 7"/>
                <a:gd name="T12" fmla="*/ 8 w 10"/>
                <a:gd name="T13" fmla="*/ 2 h 7"/>
                <a:gd name="T14" fmla="*/ 5 w 10"/>
                <a:gd name="T15" fmla="*/ 4 h 7"/>
                <a:gd name="T16" fmla="*/ 3 w 10"/>
                <a:gd name="T17" fmla="*/ 7 h 7"/>
                <a:gd name="T18" fmla="*/ 0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lnTo>
                    <a:pt x="0" y="4"/>
                  </a:lnTo>
                  <a:lnTo>
                    <a:pt x="3" y="4"/>
                  </a:lnTo>
                  <a:lnTo>
                    <a:pt x="8" y="0"/>
                  </a:lnTo>
                  <a:lnTo>
                    <a:pt x="10" y="0"/>
                  </a:lnTo>
                  <a:lnTo>
                    <a:pt x="10" y="2"/>
                  </a:lnTo>
                  <a:lnTo>
                    <a:pt x="8" y="2"/>
                  </a:lnTo>
                  <a:lnTo>
                    <a:pt x="5" y="4"/>
                  </a:lnTo>
                  <a:lnTo>
                    <a:pt x="3" y="7"/>
                  </a:lnTo>
                  <a:lnTo>
                    <a:pt x="0" y="7"/>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grpSp>
      <p:sp>
        <p:nvSpPr>
          <p:cNvPr id="6142" name="Freeform 951">
            <a:extLst>
              <a:ext uri="{FF2B5EF4-FFF2-40B4-BE49-F238E27FC236}">
                <a16:creationId xmlns:a16="http://schemas.microsoft.com/office/drawing/2014/main" id="{460953AD-C9F1-4186-9723-7056DB20285B}"/>
              </a:ext>
            </a:extLst>
          </p:cNvPr>
          <p:cNvSpPr>
            <a:spLocks/>
          </p:cNvSpPr>
          <p:nvPr/>
        </p:nvSpPr>
        <p:spPr bwMode="auto">
          <a:xfrm>
            <a:off x="7852211" y="2564726"/>
            <a:ext cx="1809370" cy="1232818"/>
          </a:xfrm>
          <a:custGeom>
            <a:avLst/>
            <a:gdLst>
              <a:gd name="T0" fmla="*/ 696 w 1067"/>
              <a:gd name="T1" fmla="*/ 697 h 742"/>
              <a:gd name="T2" fmla="*/ 678 w 1067"/>
              <a:gd name="T3" fmla="*/ 713 h 742"/>
              <a:gd name="T4" fmla="*/ 640 w 1067"/>
              <a:gd name="T5" fmla="*/ 739 h 742"/>
              <a:gd name="T6" fmla="*/ 604 w 1067"/>
              <a:gd name="T7" fmla="*/ 718 h 742"/>
              <a:gd name="T8" fmla="*/ 555 w 1067"/>
              <a:gd name="T9" fmla="*/ 690 h 742"/>
              <a:gd name="T10" fmla="*/ 505 w 1067"/>
              <a:gd name="T11" fmla="*/ 697 h 742"/>
              <a:gd name="T12" fmla="*/ 479 w 1067"/>
              <a:gd name="T13" fmla="*/ 713 h 742"/>
              <a:gd name="T14" fmla="*/ 425 w 1067"/>
              <a:gd name="T15" fmla="*/ 673 h 742"/>
              <a:gd name="T16" fmla="*/ 430 w 1067"/>
              <a:gd name="T17" fmla="*/ 605 h 742"/>
              <a:gd name="T18" fmla="*/ 394 w 1067"/>
              <a:gd name="T19" fmla="*/ 569 h 742"/>
              <a:gd name="T20" fmla="*/ 330 w 1067"/>
              <a:gd name="T21" fmla="*/ 595 h 742"/>
              <a:gd name="T22" fmla="*/ 281 w 1067"/>
              <a:gd name="T23" fmla="*/ 593 h 742"/>
              <a:gd name="T24" fmla="*/ 252 w 1067"/>
              <a:gd name="T25" fmla="*/ 597 h 742"/>
              <a:gd name="T26" fmla="*/ 219 w 1067"/>
              <a:gd name="T27" fmla="*/ 597 h 742"/>
              <a:gd name="T28" fmla="*/ 193 w 1067"/>
              <a:gd name="T29" fmla="*/ 583 h 742"/>
              <a:gd name="T30" fmla="*/ 177 w 1067"/>
              <a:gd name="T31" fmla="*/ 574 h 742"/>
              <a:gd name="T32" fmla="*/ 134 w 1067"/>
              <a:gd name="T33" fmla="*/ 550 h 742"/>
              <a:gd name="T34" fmla="*/ 111 w 1067"/>
              <a:gd name="T35" fmla="*/ 541 h 742"/>
              <a:gd name="T36" fmla="*/ 94 w 1067"/>
              <a:gd name="T37" fmla="*/ 531 h 742"/>
              <a:gd name="T38" fmla="*/ 89 w 1067"/>
              <a:gd name="T39" fmla="*/ 503 h 742"/>
              <a:gd name="T40" fmla="*/ 104 w 1067"/>
              <a:gd name="T41" fmla="*/ 498 h 742"/>
              <a:gd name="T42" fmla="*/ 96 w 1067"/>
              <a:gd name="T43" fmla="*/ 475 h 742"/>
              <a:gd name="T44" fmla="*/ 115 w 1067"/>
              <a:gd name="T45" fmla="*/ 449 h 742"/>
              <a:gd name="T46" fmla="*/ 104 w 1067"/>
              <a:gd name="T47" fmla="*/ 434 h 742"/>
              <a:gd name="T48" fmla="*/ 73 w 1067"/>
              <a:gd name="T49" fmla="*/ 442 h 742"/>
              <a:gd name="T50" fmla="*/ 40 w 1067"/>
              <a:gd name="T51" fmla="*/ 430 h 742"/>
              <a:gd name="T52" fmla="*/ 28 w 1067"/>
              <a:gd name="T53" fmla="*/ 411 h 742"/>
              <a:gd name="T54" fmla="*/ 21 w 1067"/>
              <a:gd name="T55" fmla="*/ 385 h 742"/>
              <a:gd name="T56" fmla="*/ 33 w 1067"/>
              <a:gd name="T57" fmla="*/ 331 h 742"/>
              <a:gd name="T58" fmla="*/ 115 w 1067"/>
              <a:gd name="T59" fmla="*/ 293 h 742"/>
              <a:gd name="T60" fmla="*/ 151 w 1067"/>
              <a:gd name="T61" fmla="*/ 220 h 742"/>
              <a:gd name="T62" fmla="*/ 210 w 1067"/>
              <a:gd name="T63" fmla="*/ 160 h 742"/>
              <a:gd name="T64" fmla="*/ 271 w 1067"/>
              <a:gd name="T65" fmla="*/ 151 h 742"/>
              <a:gd name="T66" fmla="*/ 328 w 1067"/>
              <a:gd name="T67" fmla="*/ 227 h 742"/>
              <a:gd name="T68" fmla="*/ 408 w 1067"/>
              <a:gd name="T69" fmla="*/ 281 h 742"/>
              <a:gd name="T70" fmla="*/ 548 w 1067"/>
              <a:gd name="T71" fmla="*/ 305 h 742"/>
              <a:gd name="T72" fmla="*/ 649 w 1067"/>
              <a:gd name="T73" fmla="*/ 271 h 742"/>
              <a:gd name="T74" fmla="*/ 727 w 1067"/>
              <a:gd name="T75" fmla="*/ 210 h 742"/>
              <a:gd name="T76" fmla="*/ 779 w 1067"/>
              <a:gd name="T77" fmla="*/ 151 h 742"/>
              <a:gd name="T78" fmla="*/ 746 w 1067"/>
              <a:gd name="T79" fmla="*/ 99 h 742"/>
              <a:gd name="T80" fmla="*/ 812 w 1067"/>
              <a:gd name="T81" fmla="*/ 49 h 742"/>
              <a:gd name="T82" fmla="*/ 871 w 1067"/>
              <a:gd name="T83" fmla="*/ 0 h 742"/>
              <a:gd name="T84" fmla="*/ 923 w 1067"/>
              <a:gd name="T85" fmla="*/ 49 h 742"/>
              <a:gd name="T86" fmla="*/ 989 w 1067"/>
              <a:gd name="T87" fmla="*/ 125 h 742"/>
              <a:gd name="T88" fmla="*/ 1058 w 1067"/>
              <a:gd name="T89" fmla="*/ 139 h 742"/>
              <a:gd name="T90" fmla="*/ 1015 w 1067"/>
              <a:gd name="T91" fmla="*/ 220 h 742"/>
              <a:gd name="T92" fmla="*/ 952 w 1067"/>
              <a:gd name="T93" fmla="*/ 300 h 742"/>
              <a:gd name="T94" fmla="*/ 867 w 1067"/>
              <a:gd name="T95" fmla="*/ 349 h 742"/>
              <a:gd name="T96" fmla="*/ 831 w 1067"/>
              <a:gd name="T97" fmla="*/ 354 h 742"/>
              <a:gd name="T98" fmla="*/ 808 w 1067"/>
              <a:gd name="T99" fmla="*/ 342 h 742"/>
              <a:gd name="T100" fmla="*/ 777 w 1067"/>
              <a:gd name="T101" fmla="*/ 387 h 742"/>
              <a:gd name="T102" fmla="*/ 831 w 1067"/>
              <a:gd name="T103" fmla="*/ 399 h 742"/>
              <a:gd name="T104" fmla="*/ 841 w 1067"/>
              <a:gd name="T105" fmla="*/ 413 h 742"/>
              <a:gd name="T106" fmla="*/ 803 w 1067"/>
              <a:gd name="T107" fmla="*/ 446 h 742"/>
              <a:gd name="T108" fmla="*/ 843 w 1067"/>
              <a:gd name="T109" fmla="*/ 522 h 742"/>
              <a:gd name="T110" fmla="*/ 841 w 1067"/>
              <a:gd name="T111" fmla="*/ 534 h 742"/>
              <a:gd name="T112" fmla="*/ 836 w 1067"/>
              <a:gd name="T113" fmla="*/ 555 h 742"/>
              <a:gd name="T114" fmla="*/ 836 w 1067"/>
              <a:gd name="T115" fmla="*/ 576 h 742"/>
              <a:gd name="T116" fmla="*/ 812 w 1067"/>
              <a:gd name="T117" fmla="*/ 614 h 742"/>
              <a:gd name="T118" fmla="*/ 798 w 1067"/>
              <a:gd name="T119" fmla="*/ 645 h 742"/>
              <a:gd name="T120" fmla="*/ 774 w 1067"/>
              <a:gd name="T121" fmla="*/ 666 h 742"/>
              <a:gd name="T122" fmla="*/ 746 w 1067"/>
              <a:gd name="T123" fmla="*/ 692 h 742"/>
              <a:gd name="T124" fmla="*/ 713 w 1067"/>
              <a:gd name="T125" fmla="*/ 69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7" h="742">
                <a:moveTo>
                  <a:pt x="713" y="699"/>
                </a:moveTo>
                <a:lnTo>
                  <a:pt x="713" y="701"/>
                </a:lnTo>
                <a:lnTo>
                  <a:pt x="713" y="701"/>
                </a:lnTo>
                <a:lnTo>
                  <a:pt x="713" y="699"/>
                </a:lnTo>
                <a:lnTo>
                  <a:pt x="711" y="699"/>
                </a:lnTo>
                <a:lnTo>
                  <a:pt x="708" y="699"/>
                </a:lnTo>
                <a:lnTo>
                  <a:pt x="708" y="699"/>
                </a:lnTo>
                <a:lnTo>
                  <a:pt x="708" y="699"/>
                </a:lnTo>
                <a:lnTo>
                  <a:pt x="708" y="701"/>
                </a:lnTo>
                <a:lnTo>
                  <a:pt x="708" y="701"/>
                </a:lnTo>
                <a:lnTo>
                  <a:pt x="708" y="704"/>
                </a:lnTo>
                <a:lnTo>
                  <a:pt x="704" y="704"/>
                </a:lnTo>
                <a:lnTo>
                  <a:pt x="704" y="701"/>
                </a:lnTo>
                <a:lnTo>
                  <a:pt x="704" y="701"/>
                </a:lnTo>
                <a:lnTo>
                  <a:pt x="704" y="699"/>
                </a:lnTo>
                <a:lnTo>
                  <a:pt x="699" y="697"/>
                </a:lnTo>
                <a:lnTo>
                  <a:pt x="696" y="697"/>
                </a:lnTo>
                <a:lnTo>
                  <a:pt x="696" y="694"/>
                </a:lnTo>
                <a:lnTo>
                  <a:pt x="694" y="699"/>
                </a:lnTo>
                <a:lnTo>
                  <a:pt x="694" y="701"/>
                </a:lnTo>
                <a:lnTo>
                  <a:pt x="696" y="704"/>
                </a:lnTo>
                <a:lnTo>
                  <a:pt x="696" y="706"/>
                </a:lnTo>
                <a:lnTo>
                  <a:pt x="694" y="706"/>
                </a:lnTo>
                <a:lnTo>
                  <a:pt x="694" y="706"/>
                </a:lnTo>
                <a:lnTo>
                  <a:pt x="692" y="701"/>
                </a:lnTo>
                <a:lnTo>
                  <a:pt x="689" y="701"/>
                </a:lnTo>
                <a:lnTo>
                  <a:pt x="687" y="699"/>
                </a:lnTo>
                <a:lnTo>
                  <a:pt x="685" y="704"/>
                </a:lnTo>
                <a:lnTo>
                  <a:pt x="685" y="706"/>
                </a:lnTo>
                <a:lnTo>
                  <a:pt x="685" y="708"/>
                </a:lnTo>
                <a:lnTo>
                  <a:pt x="685" y="711"/>
                </a:lnTo>
                <a:lnTo>
                  <a:pt x="685" y="711"/>
                </a:lnTo>
                <a:lnTo>
                  <a:pt x="682" y="711"/>
                </a:lnTo>
                <a:lnTo>
                  <a:pt x="678" y="713"/>
                </a:lnTo>
                <a:lnTo>
                  <a:pt x="675" y="713"/>
                </a:lnTo>
                <a:lnTo>
                  <a:pt x="673" y="716"/>
                </a:lnTo>
                <a:lnTo>
                  <a:pt x="670" y="716"/>
                </a:lnTo>
                <a:lnTo>
                  <a:pt x="668" y="713"/>
                </a:lnTo>
                <a:lnTo>
                  <a:pt x="666" y="716"/>
                </a:lnTo>
                <a:lnTo>
                  <a:pt x="663" y="718"/>
                </a:lnTo>
                <a:lnTo>
                  <a:pt x="659" y="718"/>
                </a:lnTo>
                <a:lnTo>
                  <a:pt x="654" y="720"/>
                </a:lnTo>
                <a:lnTo>
                  <a:pt x="652" y="718"/>
                </a:lnTo>
                <a:lnTo>
                  <a:pt x="652" y="720"/>
                </a:lnTo>
                <a:lnTo>
                  <a:pt x="649" y="720"/>
                </a:lnTo>
                <a:lnTo>
                  <a:pt x="645" y="723"/>
                </a:lnTo>
                <a:lnTo>
                  <a:pt x="640" y="723"/>
                </a:lnTo>
                <a:lnTo>
                  <a:pt x="637" y="730"/>
                </a:lnTo>
                <a:lnTo>
                  <a:pt x="640" y="734"/>
                </a:lnTo>
                <a:lnTo>
                  <a:pt x="640" y="737"/>
                </a:lnTo>
                <a:lnTo>
                  <a:pt x="640" y="739"/>
                </a:lnTo>
                <a:lnTo>
                  <a:pt x="635" y="742"/>
                </a:lnTo>
                <a:lnTo>
                  <a:pt x="633" y="739"/>
                </a:lnTo>
                <a:lnTo>
                  <a:pt x="628" y="730"/>
                </a:lnTo>
                <a:lnTo>
                  <a:pt x="628" y="727"/>
                </a:lnTo>
                <a:lnTo>
                  <a:pt x="628" y="727"/>
                </a:lnTo>
                <a:lnTo>
                  <a:pt x="630" y="720"/>
                </a:lnTo>
                <a:lnTo>
                  <a:pt x="628" y="718"/>
                </a:lnTo>
                <a:lnTo>
                  <a:pt x="626" y="718"/>
                </a:lnTo>
                <a:lnTo>
                  <a:pt x="623" y="720"/>
                </a:lnTo>
                <a:lnTo>
                  <a:pt x="619" y="720"/>
                </a:lnTo>
                <a:lnTo>
                  <a:pt x="619" y="720"/>
                </a:lnTo>
                <a:lnTo>
                  <a:pt x="619" y="718"/>
                </a:lnTo>
                <a:lnTo>
                  <a:pt x="611" y="716"/>
                </a:lnTo>
                <a:lnTo>
                  <a:pt x="609" y="716"/>
                </a:lnTo>
                <a:lnTo>
                  <a:pt x="607" y="716"/>
                </a:lnTo>
                <a:lnTo>
                  <a:pt x="607" y="718"/>
                </a:lnTo>
                <a:lnTo>
                  <a:pt x="604" y="718"/>
                </a:lnTo>
                <a:lnTo>
                  <a:pt x="604" y="720"/>
                </a:lnTo>
                <a:lnTo>
                  <a:pt x="602" y="718"/>
                </a:lnTo>
                <a:lnTo>
                  <a:pt x="602" y="718"/>
                </a:lnTo>
                <a:lnTo>
                  <a:pt x="597" y="720"/>
                </a:lnTo>
                <a:lnTo>
                  <a:pt x="595" y="718"/>
                </a:lnTo>
                <a:lnTo>
                  <a:pt x="590" y="718"/>
                </a:lnTo>
                <a:lnTo>
                  <a:pt x="588" y="718"/>
                </a:lnTo>
                <a:lnTo>
                  <a:pt x="585" y="716"/>
                </a:lnTo>
                <a:lnTo>
                  <a:pt x="578" y="713"/>
                </a:lnTo>
                <a:lnTo>
                  <a:pt x="576" y="708"/>
                </a:lnTo>
                <a:lnTo>
                  <a:pt x="574" y="704"/>
                </a:lnTo>
                <a:lnTo>
                  <a:pt x="576" y="699"/>
                </a:lnTo>
                <a:lnTo>
                  <a:pt x="574" y="697"/>
                </a:lnTo>
                <a:lnTo>
                  <a:pt x="569" y="694"/>
                </a:lnTo>
                <a:lnTo>
                  <a:pt x="564" y="694"/>
                </a:lnTo>
                <a:lnTo>
                  <a:pt x="559" y="692"/>
                </a:lnTo>
                <a:lnTo>
                  <a:pt x="555" y="690"/>
                </a:lnTo>
                <a:lnTo>
                  <a:pt x="550" y="687"/>
                </a:lnTo>
                <a:lnTo>
                  <a:pt x="548" y="687"/>
                </a:lnTo>
                <a:lnTo>
                  <a:pt x="545" y="692"/>
                </a:lnTo>
                <a:lnTo>
                  <a:pt x="543" y="694"/>
                </a:lnTo>
                <a:lnTo>
                  <a:pt x="538" y="697"/>
                </a:lnTo>
                <a:lnTo>
                  <a:pt x="536" y="697"/>
                </a:lnTo>
                <a:lnTo>
                  <a:pt x="533" y="697"/>
                </a:lnTo>
                <a:lnTo>
                  <a:pt x="529" y="699"/>
                </a:lnTo>
                <a:lnTo>
                  <a:pt x="526" y="699"/>
                </a:lnTo>
                <a:lnTo>
                  <a:pt x="526" y="697"/>
                </a:lnTo>
                <a:lnTo>
                  <a:pt x="522" y="699"/>
                </a:lnTo>
                <a:lnTo>
                  <a:pt x="519" y="697"/>
                </a:lnTo>
                <a:lnTo>
                  <a:pt x="517" y="697"/>
                </a:lnTo>
                <a:lnTo>
                  <a:pt x="512" y="701"/>
                </a:lnTo>
                <a:lnTo>
                  <a:pt x="510" y="699"/>
                </a:lnTo>
                <a:lnTo>
                  <a:pt x="507" y="699"/>
                </a:lnTo>
                <a:lnTo>
                  <a:pt x="505" y="697"/>
                </a:lnTo>
                <a:lnTo>
                  <a:pt x="503" y="697"/>
                </a:lnTo>
                <a:lnTo>
                  <a:pt x="503" y="697"/>
                </a:lnTo>
                <a:lnTo>
                  <a:pt x="500" y="699"/>
                </a:lnTo>
                <a:lnTo>
                  <a:pt x="498" y="701"/>
                </a:lnTo>
                <a:lnTo>
                  <a:pt x="498" y="704"/>
                </a:lnTo>
                <a:lnTo>
                  <a:pt x="498" y="701"/>
                </a:lnTo>
                <a:lnTo>
                  <a:pt x="498" y="701"/>
                </a:lnTo>
                <a:lnTo>
                  <a:pt x="491" y="699"/>
                </a:lnTo>
                <a:lnTo>
                  <a:pt x="489" y="704"/>
                </a:lnTo>
                <a:lnTo>
                  <a:pt x="489" y="706"/>
                </a:lnTo>
                <a:lnTo>
                  <a:pt x="489" y="713"/>
                </a:lnTo>
                <a:lnTo>
                  <a:pt x="491" y="718"/>
                </a:lnTo>
                <a:lnTo>
                  <a:pt x="491" y="723"/>
                </a:lnTo>
                <a:lnTo>
                  <a:pt x="489" y="723"/>
                </a:lnTo>
                <a:lnTo>
                  <a:pt x="482" y="725"/>
                </a:lnTo>
                <a:lnTo>
                  <a:pt x="479" y="716"/>
                </a:lnTo>
                <a:lnTo>
                  <a:pt x="479" y="713"/>
                </a:lnTo>
                <a:lnTo>
                  <a:pt x="477" y="713"/>
                </a:lnTo>
                <a:lnTo>
                  <a:pt x="472" y="718"/>
                </a:lnTo>
                <a:lnTo>
                  <a:pt x="465" y="718"/>
                </a:lnTo>
                <a:lnTo>
                  <a:pt x="460" y="713"/>
                </a:lnTo>
                <a:lnTo>
                  <a:pt x="458" y="708"/>
                </a:lnTo>
                <a:lnTo>
                  <a:pt x="453" y="706"/>
                </a:lnTo>
                <a:lnTo>
                  <a:pt x="448" y="706"/>
                </a:lnTo>
                <a:lnTo>
                  <a:pt x="448" y="699"/>
                </a:lnTo>
                <a:lnTo>
                  <a:pt x="451" y="692"/>
                </a:lnTo>
                <a:lnTo>
                  <a:pt x="446" y="690"/>
                </a:lnTo>
                <a:lnTo>
                  <a:pt x="441" y="685"/>
                </a:lnTo>
                <a:lnTo>
                  <a:pt x="441" y="680"/>
                </a:lnTo>
                <a:lnTo>
                  <a:pt x="439" y="675"/>
                </a:lnTo>
                <a:lnTo>
                  <a:pt x="439" y="671"/>
                </a:lnTo>
                <a:lnTo>
                  <a:pt x="434" y="671"/>
                </a:lnTo>
                <a:lnTo>
                  <a:pt x="427" y="671"/>
                </a:lnTo>
                <a:lnTo>
                  <a:pt x="425" y="673"/>
                </a:lnTo>
                <a:lnTo>
                  <a:pt x="420" y="678"/>
                </a:lnTo>
                <a:lnTo>
                  <a:pt x="418" y="675"/>
                </a:lnTo>
                <a:lnTo>
                  <a:pt x="422" y="671"/>
                </a:lnTo>
                <a:lnTo>
                  <a:pt x="422" y="668"/>
                </a:lnTo>
                <a:lnTo>
                  <a:pt x="420" y="664"/>
                </a:lnTo>
                <a:lnTo>
                  <a:pt x="422" y="659"/>
                </a:lnTo>
                <a:lnTo>
                  <a:pt x="425" y="652"/>
                </a:lnTo>
                <a:lnTo>
                  <a:pt x="427" y="649"/>
                </a:lnTo>
                <a:lnTo>
                  <a:pt x="430" y="647"/>
                </a:lnTo>
                <a:lnTo>
                  <a:pt x="430" y="645"/>
                </a:lnTo>
                <a:lnTo>
                  <a:pt x="434" y="642"/>
                </a:lnTo>
                <a:lnTo>
                  <a:pt x="437" y="633"/>
                </a:lnTo>
                <a:lnTo>
                  <a:pt x="437" y="630"/>
                </a:lnTo>
                <a:lnTo>
                  <a:pt x="437" y="621"/>
                </a:lnTo>
                <a:lnTo>
                  <a:pt x="437" y="614"/>
                </a:lnTo>
                <a:lnTo>
                  <a:pt x="434" y="605"/>
                </a:lnTo>
                <a:lnTo>
                  <a:pt x="430" y="605"/>
                </a:lnTo>
                <a:lnTo>
                  <a:pt x="427" y="602"/>
                </a:lnTo>
                <a:lnTo>
                  <a:pt x="427" y="595"/>
                </a:lnTo>
                <a:lnTo>
                  <a:pt x="422" y="593"/>
                </a:lnTo>
                <a:lnTo>
                  <a:pt x="420" y="590"/>
                </a:lnTo>
                <a:lnTo>
                  <a:pt x="418" y="590"/>
                </a:lnTo>
                <a:lnTo>
                  <a:pt x="418" y="590"/>
                </a:lnTo>
                <a:lnTo>
                  <a:pt x="415" y="593"/>
                </a:lnTo>
                <a:lnTo>
                  <a:pt x="413" y="588"/>
                </a:lnTo>
                <a:lnTo>
                  <a:pt x="411" y="588"/>
                </a:lnTo>
                <a:lnTo>
                  <a:pt x="406" y="588"/>
                </a:lnTo>
                <a:lnTo>
                  <a:pt x="401" y="586"/>
                </a:lnTo>
                <a:lnTo>
                  <a:pt x="396" y="586"/>
                </a:lnTo>
                <a:lnTo>
                  <a:pt x="396" y="581"/>
                </a:lnTo>
                <a:lnTo>
                  <a:pt x="396" y="576"/>
                </a:lnTo>
                <a:lnTo>
                  <a:pt x="394" y="576"/>
                </a:lnTo>
                <a:lnTo>
                  <a:pt x="392" y="571"/>
                </a:lnTo>
                <a:lnTo>
                  <a:pt x="394" y="569"/>
                </a:lnTo>
                <a:lnTo>
                  <a:pt x="389" y="567"/>
                </a:lnTo>
                <a:lnTo>
                  <a:pt x="387" y="567"/>
                </a:lnTo>
                <a:lnTo>
                  <a:pt x="382" y="569"/>
                </a:lnTo>
                <a:lnTo>
                  <a:pt x="378" y="571"/>
                </a:lnTo>
                <a:lnTo>
                  <a:pt x="370" y="571"/>
                </a:lnTo>
                <a:lnTo>
                  <a:pt x="368" y="571"/>
                </a:lnTo>
                <a:lnTo>
                  <a:pt x="366" y="569"/>
                </a:lnTo>
                <a:lnTo>
                  <a:pt x="366" y="569"/>
                </a:lnTo>
                <a:lnTo>
                  <a:pt x="361" y="571"/>
                </a:lnTo>
                <a:lnTo>
                  <a:pt x="359" y="574"/>
                </a:lnTo>
                <a:lnTo>
                  <a:pt x="356" y="576"/>
                </a:lnTo>
                <a:lnTo>
                  <a:pt x="352" y="581"/>
                </a:lnTo>
                <a:lnTo>
                  <a:pt x="347" y="583"/>
                </a:lnTo>
                <a:lnTo>
                  <a:pt x="342" y="588"/>
                </a:lnTo>
                <a:lnTo>
                  <a:pt x="337" y="590"/>
                </a:lnTo>
                <a:lnTo>
                  <a:pt x="333" y="593"/>
                </a:lnTo>
                <a:lnTo>
                  <a:pt x="330" y="595"/>
                </a:lnTo>
                <a:lnTo>
                  <a:pt x="321" y="597"/>
                </a:lnTo>
                <a:lnTo>
                  <a:pt x="316" y="600"/>
                </a:lnTo>
                <a:lnTo>
                  <a:pt x="316" y="600"/>
                </a:lnTo>
                <a:lnTo>
                  <a:pt x="316" y="600"/>
                </a:lnTo>
                <a:lnTo>
                  <a:pt x="311" y="597"/>
                </a:lnTo>
                <a:lnTo>
                  <a:pt x="311" y="595"/>
                </a:lnTo>
                <a:lnTo>
                  <a:pt x="309" y="595"/>
                </a:lnTo>
                <a:lnTo>
                  <a:pt x="304" y="597"/>
                </a:lnTo>
                <a:lnTo>
                  <a:pt x="304" y="595"/>
                </a:lnTo>
                <a:lnTo>
                  <a:pt x="300" y="595"/>
                </a:lnTo>
                <a:lnTo>
                  <a:pt x="295" y="595"/>
                </a:lnTo>
                <a:lnTo>
                  <a:pt x="293" y="593"/>
                </a:lnTo>
                <a:lnTo>
                  <a:pt x="293" y="593"/>
                </a:lnTo>
                <a:lnTo>
                  <a:pt x="290" y="590"/>
                </a:lnTo>
                <a:lnTo>
                  <a:pt x="288" y="590"/>
                </a:lnTo>
                <a:lnTo>
                  <a:pt x="283" y="590"/>
                </a:lnTo>
                <a:lnTo>
                  <a:pt x="281" y="593"/>
                </a:lnTo>
                <a:lnTo>
                  <a:pt x="276" y="595"/>
                </a:lnTo>
                <a:lnTo>
                  <a:pt x="274" y="600"/>
                </a:lnTo>
                <a:lnTo>
                  <a:pt x="267" y="607"/>
                </a:lnTo>
                <a:lnTo>
                  <a:pt x="267" y="609"/>
                </a:lnTo>
                <a:lnTo>
                  <a:pt x="264" y="609"/>
                </a:lnTo>
                <a:lnTo>
                  <a:pt x="264" y="607"/>
                </a:lnTo>
                <a:lnTo>
                  <a:pt x="264" y="607"/>
                </a:lnTo>
                <a:lnTo>
                  <a:pt x="264" y="605"/>
                </a:lnTo>
                <a:lnTo>
                  <a:pt x="264" y="600"/>
                </a:lnTo>
                <a:lnTo>
                  <a:pt x="264" y="600"/>
                </a:lnTo>
                <a:lnTo>
                  <a:pt x="264" y="595"/>
                </a:lnTo>
                <a:lnTo>
                  <a:pt x="262" y="595"/>
                </a:lnTo>
                <a:lnTo>
                  <a:pt x="262" y="593"/>
                </a:lnTo>
                <a:lnTo>
                  <a:pt x="259" y="595"/>
                </a:lnTo>
                <a:lnTo>
                  <a:pt x="257" y="595"/>
                </a:lnTo>
                <a:lnTo>
                  <a:pt x="255" y="595"/>
                </a:lnTo>
                <a:lnTo>
                  <a:pt x="252" y="597"/>
                </a:lnTo>
                <a:lnTo>
                  <a:pt x="252" y="597"/>
                </a:lnTo>
                <a:lnTo>
                  <a:pt x="250" y="597"/>
                </a:lnTo>
                <a:lnTo>
                  <a:pt x="248" y="597"/>
                </a:lnTo>
                <a:lnTo>
                  <a:pt x="245" y="600"/>
                </a:lnTo>
                <a:lnTo>
                  <a:pt x="245" y="600"/>
                </a:lnTo>
                <a:lnTo>
                  <a:pt x="241" y="600"/>
                </a:lnTo>
                <a:lnTo>
                  <a:pt x="238" y="600"/>
                </a:lnTo>
                <a:lnTo>
                  <a:pt x="238" y="600"/>
                </a:lnTo>
                <a:lnTo>
                  <a:pt x="236" y="597"/>
                </a:lnTo>
                <a:lnTo>
                  <a:pt x="231" y="597"/>
                </a:lnTo>
                <a:lnTo>
                  <a:pt x="229" y="595"/>
                </a:lnTo>
                <a:lnTo>
                  <a:pt x="226" y="595"/>
                </a:lnTo>
                <a:lnTo>
                  <a:pt x="226" y="595"/>
                </a:lnTo>
                <a:lnTo>
                  <a:pt x="224" y="597"/>
                </a:lnTo>
                <a:lnTo>
                  <a:pt x="224" y="597"/>
                </a:lnTo>
                <a:lnTo>
                  <a:pt x="222" y="597"/>
                </a:lnTo>
                <a:lnTo>
                  <a:pt x="219" y="597"/>
                </a:lnTo>
                <a:lnTo>
                  <a:pt x="217" y="595"/>
                </a:lnTo>
                <a:lnTo>
                  <a:pt x="217" y="597"/>
                </a:lnTo>
                <a:lnTo>
                  <a:pt x="215" y="597"/>
                </a:lnTo>
                <a:lnTo>
                  <a:pt x="215" y="597"/>
                </a:lnTo>
                <a:lnTo>
                  <a:pt x="212" y="595"/>
                </a:lnTo>
                <a:lnTo>
                  <a:pt x="212" y="593"/>
                </a:lnTo>
                <a:lnTo>
                  <a:pt x="210" y="593"/>
                </a:lnTo>
                <a:lnTo>
                  <a:pt x="207" y="590"/>
                </a:lnTo>
                <a:lnTo>
                  <a:pt x="205" y="593"/>
                </a:lnTo>
                <a:lnTo>
                  <a:pt x="200" y="588"/>
                </a:lnTo>
                <a:lnTo>
                  <a:pt x="200" y="588"/>
                </a:lnTo>
                <a:lnTo>
                  <a:pt x="200" y="583"/>
                </a:lnTo>
                <a:lnTo>
                  <a:pt x="200" y="583"/>
                </a:lnTo>
                <a:lnTo>
                  <a:pt x="198" y="583"/>
                </a:lnTo>
                <a:lnTo>
                  <a:pt x="198" y="583"/>
                </a:lnTo>
                <a:lnTo>
                  <a:pt x="193" y="583"/>
                </a:lnTo>
                <a:lnTo>
                  <a:pt x="193" y="583"/>
                </a:lnTo>
                <a:lnTo>
                  <a:pt x="191" y="583"/>
                </a:lnTo>
                <a:lnTo>
                  <a:pt x="189" y="581"/>
                </a:lnTo>
                <a:lnTo>
                  <a:pt x="186" y="581"/>
                </a:lnTo>
                <a:lnTo>
                  <a:pt x="186" y="581"/>
                </a:lnTo>
                <a:lnTo>
                  <a:pt x="186" y="579"/>
                </a:lnTo>
                <a:lnTo>
                  <a:pt x="184" y="581"/>
                </a:lnTo>
                <a:lnTo>
                  <a:pt x="184" y="579"/>
                </a:lnTo>
                <a:lnTo>
                  <a:pt x="184" y="574"/>
                </a:lnTo>
                <a:lnTo>
                  <a:pt x="184" y="574"/>
                </a:lnTo>
                <a:lnTo>
                  <a:pt x="186" y="571"/>
                </a:lnTo>
                <a:lnTo>
                  <a:pt x="184" y="571"/>
                </a:lnTo>
                <a:lnTo>
                  <a:pt x="182" y="569"/>
                </a:lnTo>
                <a:lnTo>
                  <a:pt x="182" y="569"/>
                </a:lnTo>
                <a:lnTo>
                  <a:pt x="179" y="569"/>
                </a:lnTo>
                <a:lnTo>
                  <a:pt x="179" y="571"/>
                </a:lnTo>
                <a:lnTo>
                  <a:pt x="179" y="571"/>
                </a:lnTo>
                <a:lnTo>
                  <a:pt x="177" y="574"/>
                </a:lnTo>
                <a:lnTo>
                  <a:pt x="177" y="574"/>
                </a:lnTo>
                <a:lnTo>
                  <a:pt x="174" y="574"/>
                </a:lnTo>
                <a:lnTo>
                  <a:pt x="174" y="574"/>
                </a:lnTo>
                <a:lnTo>
                  <a:pt x="172" y="574"/>
                </a:lnTo>
                <a:lnTo>
                  <a:pt x="170" y="574"/>
                </a:lnTo>
                <a:lnTo>
                  <a:pt x="170" y="567"/>
                </a:lnTo>
                <a:lnTo>
                  <a:pt x="167" y="564"/>
                </a:lnTo>
                <a:lnTo>
                  <a:pt x="165" y="562"/>
                </a:lnTo>
                <a:lnTo>
                  <a:pt x="160" y="560"/>
                </a:lnTo>
                <a:lnTo>
                  <a:pt x="158" y="557"/>
                </a:lnTo>
                <a:lnTo>
                  <a:pt x="156" y="555"/>
                </a:lnTo>
                <a:lnTo>
                  <a:pt x="153" y="555"/>
                </a:lnTo>
                <a:lnTo>
                  <a:pt x="146" y="553"/>
                </a:lnTo>
                <a:lnTo>
                  <a:pt x="141" y="550"/>
                </a:lnTo>
                <a:lnTo>
                  <a:pt x="141" y="550"/>
                </a:lnTo>
                <a:lnTo>
                  <a:pt x="137" y="550"/>
                </a:lnTo>
                <a:lnTo>
                  <a:pt x="134" y="550"/>
                </a:lnTo>
                <a:lnTo>
                  <a:pt x="134" y="550"/>
                </a:lnTo>
                <a:lnTo>
                  <a:pt x="134" y="553"/>
                </a:lnTo>
                <a:lnTo>
                  <a:pt x="134" y="553"/>
                </a:lnTo>
                <a:lnTo>
                  <a:pt x="134" y="555"/>
                </a:lnTo>
                <a:lnTo>
                  <a:pt x="134" y="555"/>
                </a:lnTo>
                <a:lnTo>
                  <a:pt x="132" y="553"/>
                </a:lnTo>
                <a:lnTo>
                  <a:pt x="130" y="553"/>
                </a:lnTo>
                <a:lnTo>
                  <a:pt x="130" y="550"/>
                </a:lnTo>
                <a:lnTo>
                  <a:pt x="127" y="550"/>
                </a:lnTo>
                <a:lnTo>
                  <a:pt x="122" y="548"/>
                </a:lnTo>
                <a:lnTo>
                  <a:pt x="122" y="548"/>
                </a:lnTo>
                <a:lnTo>
                  <a:pt x="120" y="545"/>
                </a:lnTo>
                <a:lnTo>
                  <a:pt x="120" y="545"/>
                </a:lnTo>
                <a:lnTo>
                  <a:pt x="115" y="543"/>
                </a:lnTo>
                <a:lnTo>
                  <a:pt x="113" y="543"/>
                </a:lnTo>
                <a:lnTo>
                  <a:pt x="111" y="541"/>
                </a:lnTo>
                <a:lnTo>
                  <a:pt x="111" y="541"/>
                </a:lnTo>
                <a:lnTo>
                  <a:pt x="111" y="538"/>
                </a:lnTo>
                <a:lnTo>
                  <a:pt x="111" y="538"/>
                </a:lnTo>
                <a:lnTo>
                  <a:pt x="108" y="538"/>
                </a:lnTo>
                <a:lnTo>
                  <a:pt x="108" y="538"/>
                </a:lnTo>
                <a:lnTo>
                  <a:pt x="106" y="536"/>
                </a:lnTo>
                <a:lnTo>
                  <a:pt x="104" y="538"/>
                </a:lnTo>
                <a:lnTo>
                  <a:pt x="104" y="538"/>
                </a:lnTo>
                <a:lnTo>
                  <a:pt x="104" y="536"/>
                </a:lnTo>
                <a:lnTo>
                  <a:pt x="104" y="536"/>
                </a:lnTo>
                <a:lnTo>
                  <a:pt x="101" y="534"/>
                </a:lnTo>
                <a:lnTo>
                  <a:pt x="101" y="536"/>
                </a:lnTo>
                <a:lnTo>
                  <a:pt x="96" y="534"/>
                </a:lnTo>
                <a:lnTo>
                  <a:pt x="96" y="536"/>
                </a:lnTo>
                <a:lnTo>
                  <a:pt x="94" y="536"/>
                </a:lnTo>
                <a:lnTo>
                  <a:pt x="94" y="536"/>
                </a:lnTo>
                <a:lnTo>
                  <a:pt x="92" y="536"/>
                </a:lnTo>
                <a:lnTo>
                  <a:pt x="94" y="531"/>
                </a:lnTo>
                <a:lnTo>
                  <a:pt x="92" y="531"/>
                </a:lnTo>
                <a:lnTo>
                  <a:pt x="89" y="529"/>
                </a:lnTo>
                <a:lnTo>
                  <a:pt x="89" y="529"/>
                </a:lnTo>
                <a:lnTo>
                  <a:pt x="89" y="527"/>
                </a:lnTo>
                <a:lnTo>
                  <a:pt x="89" y="527"/>
                </a:lnTo>
                <a:lnTo>
                  <a:pt x="89" y="522"/>
                </a:lnTo>
                <a:lnTo>
                  <a:pt x="89" y="522"/>
                </a:lnTo>
                <a:lnTo>
                  <a:pt x="89" y="519"/>
                </a:lnTo>
                <a:lnTo>
                  <a:pt x="89" y="517"/>
                </a:lnTo>
                <a:lnTo>
                  <a:pt x="89" y="515"/>
                </a:lnTo>
                <a:lnTo>
                  <a:pt x="87" y="512"/>
                </a:lnTo>
                <a:lnTo>
                  <a:pt x="85" y="510"/>
                </a:lnTo>
                <a:lnTo>
                  <a:pt x="85" y="508"/>
                </a:lnTo>
                <a:lnTo>
                  <a:pt x="85" y="505"/>
                </a:lnTo>
                <a:lnTo>
                  <a:pt x="85" y="503"/>
                </a:lnTo>
                <a:lnTo>
                  <a:pt x="87" y="503"/>
                </a:lnTo>
                <a:lnTo>
                  <a:pt x="89" y="503"/>
                </a:lnTo>
                <a:lnTo>
                  <a:pt x="89" y="503"/>
                </a:lnTo>
                <a:lnTo>
                  <a:pt x="89" y="505"/>
                </a:lnTo>
                <a:lnTo>
                  <a:pt x="89" y="505"/>
                </a:lnTo>
                <a:lnTo>
                  <a:pt x="92" y="508"/>
                </a:lnTo>
                <a:lnTo>
                  <a:pt x="94" y="508"/>
                </a:lnTo>
                <a:lnTo>
                  <a:pt x="94" y="508"/>
                </a:lnTo>
                <a:lnTo>
                  <a:pt x="94" y="508"/>
                </a:lnTo>
                <a:lnTo>
                  <a:pt x="96" y="508"/>
                </a:lnTo>
                <a:lnTo>
                  <a:pt x="96" y="505"/>
                </a:lnTo>
                <a:lnTo>
                  <a:pt x="96" y="505"/>
                </a:lnTo>
                <a:lnTo>
                  <a:pt x="99" y="503"/>
                </a:lnTo>
                <a:lnTo>
                  <a:pt x="99" y="503"/>
                </a:lnTo>
                <a:lnTo>
                  <a:pt x="101" y="505"/>
                </a:lnTo>
                <a:lnTo>
                  <a:pt x="101" y="505"/>
                </a:lnTo>
                <a:lnTo>
                  <a:pt x="104" y="501"/>
                </a:lnTo>
                <a:lnTo>
                  <a:pt x="104" y="501"/>
                </a:lnTo>
                <a:lnTo>
                  <a:pt x="104" y="498"/>
                </a:lnTo>
                <a:lnTo>
                  <a:pt x="101" y="496"/>
                </a:lnTo>
                <a:lnTo>
                  <a:pt x="101" y="493"/>
                </a:lnTo>
                <a:lnTo>
                  <a:pt x="101" y="493"/>
                </a:lnTo>
                <a:lnTo>
                  <a:pt x="101" y="491"/>
                </a:lnTo>
                <a:lnTo>
                  <a:pt x="96" y="491"/>
                </a:lnTo>
                <a:lnTo>
                  <a:pt x="96" y="491"/>
                </a:lnTo>
                <a:lnTo>
                  <a:pt x="96" y="489"/>
                </a:lnTo>
                <a:lnTo>
                  <a:pt x="92" y="486"/>
                </a:lnTo>
                <a:lnTo>
                  <a:pt x="92" y="482"/>
                </a:lnTo>
                <a:lnTo>
                  <a:pt x="94" y="482"/>
                </a:lnTo>
                <a:lnTo>
                  <a:pt x="94" y="479"/>
                </a:lnTo>
                <a:lnTo>
                  <a:pt x="94" y="479"/>
                </a:lnTo>
                <a:lnTo>
                  <a:pt x="94" y="479"/>
                </a:lnTo>
                <a:lnTo>
                  <a:pt x="92" y="477"/>
                </a:lnTo>
                <a:lnTo>
                  <a:pt x="92" y="475"/>
                </a:lnTo>
                <a:lnTo>
                  <a:pt x="92" y="475"/>
                </a:lnTo>
                <a:lnTo>
                  <a:pt x="96" y="475"/>
                </a:lnTo>
                <a:lnTo>
                  <a:pt x="96" y="472"/>
                </a:lnTo>
                <a:lnTo>
                  <a:pt x="101" y="475"/>
                </a:lnTo>
                <a:lnTo>
                  <a:pt x="101" y="472"/>
                </a:lnTo>
                <a:lnTo>
                  <a:pt x="104" y="472"/>
                </a:lnTo>
                <a:lnTo>
                  <a:pt x="104" y="468"/>
                </a:lnTo>
                <a:lnTo>
                  <a:pt x="104" y="465"/>
                </a:lnTo>
                <a:lnTo>
                  <a:pt x="108" y="465"/>
                </a:lnTo>
                <a:lnTo>
                  <a:pt x="108" y="465"/>
                </a:lnTo>
                <a:lnTo>
                  <a:pt x="108" y="463"/>
                </a:lnTo>
                <a:lnTo>
                  <a:pt x="108" y="463"/>
                </a:lnTo>
                <a:lnTo>
                  <a:pt x="108" y="463"/>
                </a:lnTo>
                <a:lnTo>
                  <a:pt x="108" y="460"/>
                </a:lnTo>
                <a:lnTo>
                  <a:pt x="111" y="460"/>
                </a:lnTo>
                <a:lnTo>
                  <a:pt x="113" y="458"/>
                </a:lnTo>
                <a:lnTo>
                  <a:pt x="113" y="456"/>
                </a:lnTo>
                <a:lnTo>
                  <a:pt x="113" y="453"/>
                </a:lnTo>
                <a:lnTo>
                  <a:pt x="115" y="449"/>
                </a:lnTo>
                <a:lnTo>
                  <a:pt x="115" y="449"/>
                </a:lnTo>
                <a:lnTo>
                  <a:pt x="115" y="444"/>
                </a:lnTo>
                <a:lnTo>
                  <a:pt x="118" y="444"/>
                </a:lnTo>
                <a:lnTo>
                  <a:pt x="118" y="442"/>
                </a:lnTo>
                <a:lnTo>
                  <a:pt x="115" y="442"/>
                </a:lnTo>
                <a:lnTo>
                  <a:pt x="115" y="442"/>
                </a:lnTo>
                <a:lnTo>
                  <a:pt x="113" y="444"/>
                </a:lnTo>
                <a:lnTo>
                  <a:pt x="113" y="444"/>
                </a:lnTo>
                <a:lnTo>
                  <a:pt x="111" y="442"/>
                </a:lnTo>
                <a:lnTo>
                  <a:pt x="111" y="439"/>
                </a:lnTo>
                <a:lnTo>
                  <a:pt x="108" y="439"/>
                </a:lnTo>
                <a:lnTo>
                  <a:pt x="108" y="439"/>
                </a:lnTo>
                <a:lnTo>
                  <a:pt x="106" y="439"/>
                </a:lnTo>
                <a:lnTo>
                  <a:pt x="106" y="439"/>
                </a:lnTo>
                <a:lnTo>
                  <a:pt x="106" y="439"/>
                </a:lnTo>
                <a:lnTo>
                  <a:pt x="106" y="434"/>
                </a:lnTo>
                <a:lnTo>
                  <a:pt x="104" y="434"/>
                </a:lnTo>
                <a:lnTo>
                  <a:pt x="104" y="434"/>
                </a:lnTo>
                <a:lnTo>
                  <a:pt x="104" y="434"/>
                </a:lnTo>
                <a:lnTo>
                  <a:pt x="101" y="434"/>
                </a:lnTo>
                <a:lnTo>
                  <a:pt x="101" y="432"/>
                </a:lnTo>
                <a:lnTo>
                  <a:pt x="99" y="432"/>
                </a:lnTo>
                <a:lnTo>
                  <a:pt x="99" y="432"/>
                </a:lnTo>
                <a:lnTo>
                  <a:pt x="96" y="432"/>
                </a:lnTo>
                <a:lnTo>
                  <a:pt x="94" y="432"/>
                </a:lnTo>
                <a:lnTo>
                  <a:pt x="94" y="434"/>
                </a:lnTo>
                <a:lnTo>
                  <a:pt x="89" y="434"/>
                </a:lnTo>
                <a:lnTo>
                  <a:pt x="87" y="437"/>
                </a:lnTo>
                <a:lnTo>
                  <a:pt x="82" y="437"/>
                </a:lnTo>
                <a:lnTo>
                  <a:pt x="80" y="439"/>
                </a:lnTo>
                <a:lnTo>
                  <a:pt x="78" y="442"/>
                </a:lnTo>
                <a:lnTo>
                  <a:pt x="78" y="442"/>
                </a:lnTo>
                <a:lnTo>
                  <a:pt x="75" y="444"/>
                </a:lnTo>
                <a:lnTo>
                  <a:pt x="73" y="442"/>
                </a:lnTo>
                <a:lnTo>
                  <a:pt x="70" y="444"/>
                </a:lnTo>
                <a:lnTo>
                  <a:pt x="70" y="444"/>
                </a:lnTo>
                <a:lnTo>
                  <a:pt x="66" y="442"/>
                </a:lnTo>
                <a:lnTo>
                  <a:pt x="63" y="442"/>
                </a:lnTo>
                <a:lnTo>
                  <a:pt x="63" y="442"/>
                </a:lnTo>
                <a:lnTo>
                  <a:pt x="61" y="439"/>
                </a:lnTo>
                <a:lnTo>
                  <a:pt x="54" y="437"/>
                </a:lnTo>
                <a:lnTo>
                  <a:pt x="52" y="437"/>
                </a:lnTo>
                <a:lnTo>
                  <a:pt x="52" y="434"/>
                </a:lnTo>
                <a:lnTo>
                  <a:pt x="52" y="432"/>
                </a:lnTo>
                <a:lnTo>
                  <a:pt x="49" y="432"/>
                </a:lnTo>
                <a:lnTo>
                  <a:pt x="49" y="434"/>
                </a:lnTo>
                <a:lnTo>
                  <a:pt x="47" y="434"/>
                </a:lnTo>
                <a:lnTo>
                  <a:pt x="44" y="434"/>
                </a:lnTo>
                <a:lnTo>
                  <a:pt x="44" y="434"/>
                </a:lnTo>
                <a:lnTo>
                  <a:pt x="42" y="432"/>
                </a:lnTo>
                <a:lnTo>
                  <a:pt x="40" y="430"/>
                </a:lnTo>
                <a:lnTo>
                  <a:pt x="40" y="430"/>
                </a:lnTo>
                <a:lnTo>
                  <a:pt x="40" y="427"/>
                </a:lnTo>
                <a:lnTo>
                  <a:pt x="42" y="427"/>
                </a:lnTo>
                <a:lnTo>
                  <a:pt x="42" y="427"/>
                </a:lnTo>
                <a:lnTo>
                  <a:pt x="42" y="425"/>
                </a:lnTo>
                <a:lnTo>
                  <a:pt x="40" y="425"/>
                </a:lnTo>
                <a:lnTo>
                  <a:pt x="42" y="423"/>
                </a:lnTo>
                <a:lnTo>
                  <a:pt x="42" y="420"/>
                </a:lnTo>
                <a:lnTo>
                  <a:pt x="40" y="418"/>
                </a:lnTo>
                <a:lnTo>
                  <a:pt x="37" y="416"/>
                </a:lnTo>
                <a:lnTo>
                  <a:pt x="35" y="413"/>
                </a:lnTo>
                <a:lnTo>
                  <a:pt x="33" y="416"/>
                </a:lnTo>
                <a:lnTo>
                  <a:pt x="30" y="416"/>
                </a:lnTo>
                <a:lnTo>
                  <a:pt x="30" y="416"/>
                </a:lnTo>
                <a:lnTo>
                  <a:pt x="30" y="411"/>
                </a:lnTo>
                <a:lnTo>
                  <a:pt x="30" y="411"/>
                </a:lnTo>
                <a:lnTo>
                  <a:pt x="28" y="411"/>
                </a:lnTo>
                <a:lnTo>
                  <a:pt x="26" y="411"/>
                </a:lnTo>
                <a:lnTo>
                  <a:pt x="26" y="411"/>
                </a:lnTo>
                <a:lnTo>
                  <a:pt x="21" y="411"/>
                </a:lnTo>
                <a:lnTo>
                  <a:pt x="19" y="411"/>
                </a:lnTo>
                <a:lnTo>
                  <a:pt x="19" y="408"/>
                </a:lnTo>
                <a:lnTo>
                  <a:pt x="16" y="408"/>
                </a:lnTo>
                <a:lnTo>
                  <a:pt x="16" y="406"/>
                </a:lnTo>
                <a:lnTo>
                  <a:pt x="14" y="406"/>
                </a:lnTo>
                <a:lnTo>
                  <a:pt x="16" y="404"/>
                </a:lnTo>
                <a:lnTo>
                  <a:pt x="19" y="404"/>
                </a:lnTo>
                <a:lnTo>
                  <a:pt x="21" y="404"/>
                </a:lnTo>
                <a:lnTo>
                  <a:pt x="21" y="404"/>
                </a:lnTo>
                <a:lnTo>
                  <a:pt x="21" y="404"/>
                </a:lnTo>
                <a:lnTo>
                  <a:pt x="23" y="404"/>
                </a:lnTo>
                <a:lnTo>
                  <a:pt x="23" y="404"/>
                </a:lnTo>
                <a:lnTo>
                  <a:pt x="23" y="392"/>
                </a:lnTo>
                <a:lnTo>
                  <a:pt x="21" y="385"/>
                </a:lnTo>
                <a:lnTo>
                  <a:pt x="21" y="378"/>
                </a:lnTo>
                <a:lnTo>
                  <a:pt x="19" y="375"/>
                </a:lnTo>
                <a:lnTo>
                  <a:pt x="11" y="375"/>
                </a:lnTo>
                <a:lnTo>
                  <a:pt x="7" y="378"/>
                </a:lnTo>
                <a:lnTo>
                  <a:pt x="2" y="375"/>
                </a:lnTo>
                <a:lnTo>
                  <a:pt x="0" y="368"/>
                </a:lnTo>
                <a:lnTo>
                  <a:pt x="0" y="364"/>
                </a:lnTo>
                <a:lnTo>
                  <a:pt x="4" y="352"/>
                </a:lnTo>
                <a:lnTo>
                  <a:pt x="4" y="349"/>
                </a:lnTo>
                <a:lnTo>
                  <a:pt x="7" y="342"/>
                </a:lnTo>
                <a:lnTo>
                  <a:pt x="16" y="338"/>
                </a:lnTo>
                <a:lnTo>
                  <a:pt x="19" y="335"/>
                </a:lnTo>
                <a:lnTo>
                  <a:pt x="21" y="335"/>
                </a:lnTo>
                <a:lnTo>
                  <a:pt x="23" y="331"/>
                </a:lnTo>
                <a:lnTo>
                  <a:pt x="26" y="333"/>
                </a:lnTo>
                <a:lnTo>
                  <a:pt x="30" y="331"/>
                </a:lnTo>
                <a:lnTo>
                  <a:pt x="33" y="331"/>
                </a:lnTo>
                <a:lnTo>
                  <a:pt x="35" y="335"/>
                </a:lnTo>
                <a:lnTo>
                  <a:pt x="40" y="335"/>
                </a:lnTo>
                <a:lnTo>
                  <a:pt x="44" y="335"/>
                </a:lnTo>
                <a:lnTo>
                  <a:pt x="47" y="335"/>
                </a:lnTo>
                <a:lnTo>
                  <a:pt x="52" y="333"/>
                </a:lnTo>
                <a:lnTo>
                  <a:pt x="54" y="326"/>
                </a:lnTo>
                <a:lnTo>
                  <a:pt x="56" y="323"/>
                </a:lnTo>
                <a:lnTo>
                  <a:pt x="61" y="321"/>
                </a:lnTo>
                <a:lnTo>
                  <a:pt x="68" y="321"/>
                </a:lnTo>
                <a:lnTo>
                  <a:pt x="75" y="319"/>
                </a:lnTo>
                <a:lnTo>
                  <a:pt x="80" y="319"/>
                </a:lnTo>
                <a:lnTo>
                  <a:pt x="82" y="314"/>
                </a:lnTo>
                <a:lnTo>
                  <a:pt x="87" y="309"/>
                </a:lnTo>
                <a:lnTo>
                  <a:pt x="99" y="302"/>
                </a:lnTo>
                <a:lnTo>
                  <a:pt x="111" y="300"/>
                </a:lnTo>
                <a:lnTo>
                  <a:pt x="113" y="297"/>
                </a:lnTo>
                <a:lnTo>
                  <a:pt x="115" y="293"/>
                </a:lnTo>
                <a:lnTo>
                  <a:pt x="115" y="283"/>
                </a:lnTo>
                <a:lnTo>
                  <a:pt x="118" y="279"/>
                </a:lnTo>
                <a:lnTo>
                  <a:pt x="120" y="276"/>
                </a:lnTo>
                <a:lnTo>
                  <a:pt x="118" y="271"/>
                </a:lnTo>
                <a:lnTo>
                  <a:pt x="122" y="269"/>
                </a:lnTo>
                <a:lnTo>
                  <a:pt x="122" y="264"/>
                </a:lnTo>
                <a:lnTo>
                  <a:pt x="120" y="257"/>
                </a:lnTo>
                <a:lnTo>
                  <a:pt x="118" y="253"/>
                </a:lnTo>
                <a:lnTo>
                  <a:pt x="118" y="248"/>
                </a:lnTo>
                <a:lnTo>
                  <a:pt x="115" y="236"/>
                </a:lnTo>
                <a:lnTo>
                  <a:pt x="113" y="231"/>
                </a:lnTo>
                <a:lnTo>
                  <a:pt x="111" y="229"/>
                </a:lnTo>
                <a:lnTo>
                  <a:pt x="113" y="227"/>
                </a:lnTo>
                <a:lnTo>
                  <a:pt x="120" y="224"/>
                </a:lnTo>
                <a:lnTo>
                  <a:pt x="125" y="222"/>
                </a:lnTo>
                <a:lnTo>
                  <a:pt x="132" y="220"/>
                </a:lnTo>
                <a:lnTo>
                  <a:pt x="151" y="220"/>
                </a:lnTo>
                <a:lnTo>
                  <a:pt x="153" y="217"/>
                </a:lnTo>
                <a:lnTo>
                  <a:pt x="151" y="212"/>
                </a:lnTo>
                <a:lnTo>
                  <a:pt x="148" y="208"/>
                </a:lnTo>
                <a:lnTo>
                  <a:pt x="151" y="201"/>
                </a:lnTo>
                <a:lnTo>
                  <a:pt x="153" y="194"/>
                </a:lnTo>
                <a:lnTo>
                  <a:pt x="156" y="184"/>
                </a:lnTo>
                <a:lnTo>
                  <a:pt x="160" y="177"/>
                </a:lnTo>
                <a:lnTo>
                  <a:pt x="163" y="170"/>
                </a:lnTo>
                <a:lnTo>
                  <a:pt x="170" y="170"/>
                </a:lnTo>
                <a:lnTo>
                  <a:pt x="172" y="172"/>
                </a:lnTo>
                <a:lnTo>
                  <a:pt x="179" y="175"/>
                </a:lnTo>
                <a:lnTo>
                  <a:pt x="191" y="172"/>
                </a:lnTo>
                <a:lnTo>
                  <a:pt x="193" y="177"/>
                </a:lnTo>
                <a:lnTo>
                  <a:pt x="196" y="179"/>
                </a:lnTo>
                <a:lnTo>
                  <a:pt x="200" y="175"/>
                </a:lnTo>
                <a:lnTo>
                  <a:pt x="207" y="172"/>
                </a:lnTo>
                <a:lnTo>
                  <a:pt x="210" y="160"/>
                </a:lnTo>
                <a:lnTo>
                  <a:pt x="207" y="153"/>
                </a:lnTo>
                <a:lnTo>
                  <a:pt x="210" y="146"/>
                </a:lnTo>
                <a:lnTo>
                  <a:pt x="212" y="139"/>
                </a:lnTo>
                <a:lnTo>
                  <a:pt x="217" y="139"/>
                </a:lnTo>
                <a:lnTo>
                  <a:pt x="224" y="137"/>
                </a:lnTo>
                <a:lnTo>
                  <a:pt x="229" y="132"/>
                </a:lnTo>
                <a:lnTo>
                  <a:pt x="233" y="125"/>
                </a:lnTo>
                <a:lnTo>
                  <a:pt x="241" y="127"/>
                </a:lnTo>
                <a:lnTo>
                  <a:pt x="245" y="123"/>
                </a:lnTo>
                <a:lnTo>
                  <a:pt x="248" y="123"/>
                </a:lnTo>
                <a:lnTo>
                  <a:pt x="248" y="125"/>
                </a:lnTo>
                <a:lnTo>
                  <a:pt x="248" y="127"/>
                </a:lnTo>
                <a:lnTo>
                  <a:pt x="252" y="137"/>
                </a:lnTo>
                <a:lnTo>
                  <a:pt x="262" y="144"/>
                </a:lnTo>
                <a:lnTo>
                  <a:pt x="264" y="151"/>
                </a:lnTo>
                <a:lnTo>
                  <a:pt x="269" y="153"/>
                </a:lnTo>
                <a:lnTo>
                  <a:pt x="271" y="151"/>
                </a:lnTo>
                <a:lnTo>
                  <a:pt x="276" y="151"/>
                </a:lnTo>
                <a:lnTo>
                  <a:pt x="281" y="153"/>
                </a:lnTo>
                <a:lnTo>
                  <a:pt x="288" y="156"/>
                </a:lnTo>
                <a:lnTo>
                  <a:pt x="290" y="160"/>
                </a:lnTo>
                <a:lnTo>
                  <a:pt x="293" y="168"/>
                </a:lnTo>
                <a:lnTo>
                  <a:pt x="295" y="172"/>
                </a:lnTo>
                <a:lnTo>
                  <a:pt x="300" y="186"/>
                </a:lnTo>
                <a:lnTo>
                  <a:pt x="300" y="196"/>
                </a:lnTo>
                <a:lnTo>
                  <a:pt x="300" y="201"/>
                </a:lnTo>
                <a:lnTo>
                  <a:pt x="300" y="208"/>
                </a:lnTo>
                <a:lnTo>
                  <a:pt x="297" y="212"/>
                </a:lnTo>
                <a:lnTo>
                  <a:pt x="297" y="217"/>
                </a:lnTo>
                <a:lnTo>
                  <a:pt x="300" y="220"/>
                </a:lnTo>
                <a:lnTo>
                  <a:pt x="304" y="222"/>
                </a:lnTo>
                <a:lnTo>
                  <a:pt x="314" y="222"/>
                </a:lnTo>
                <a:lnTo>
                  <a:pt x="326" y="227"/>
                </a:lnTo>
                <a:lnTo>
                  <a:pt x="328" y="227"/>
                </a:lnTo>
                <a:lnTo>
                  <a:pt x="333" y="224"/>
                </a:lnTo>
                <a:lnTo>
                  <a:pt x="337" y="224"/>
                </a:lnTo>
                <a:lnTo>
                  <a:pt x="340" y="227"/>
                </a:lnTo>
                <a:lnTo>
                  <a:pt x="349" y="229"/>
                </a:lnTo>
                <a:lnTo>
                  <a:pt x="354" y="231"/>
                </a:lnTo>
                <a:lnTo>
                  <a:pt x="359" y="236"/>
                </a:lnTo>
                <a:lnTo>
                  <a:pt x="370" y="238"/>
                </a:lnTo>
                <a:lnTo>
                  <a:pt x="373" y="241"/>
                </a:lnTo>
                <a:lnTo>
                  <a:pt x="378" y="241"/>
                </a:lnTo>
                <a:lnTo>
                  <a:pt x="380" y="245"/>
                </a:lnTo>
                <a:lnTo>
                  <a:pt x="385" y="250"/>
                </a:lnTo>
                <a:lnTo>
                  <a:pt x="387" y="257"/>
                </a:lnTo>
                <a:lnTo>
                  <a:pt x="389" y="264"/>
                </a:lnTo>
                <a:lnTo>
                  <a:pt x="394" y="269"/>
                </a:lnTo>
                <a:lnTo>
                  <a:pt x="399" y="274"/>
                </a:lnTo>
                <a:lnTo>
                  <a:pt x="404" y="279"/>
                </a:lnTo>
                <a:lnTo>
                  <a:pt x="408" y="281"/>
                </a:lnTo>
                <a:lnTo>
                  <a:pt x="415" y="281"/>
                </a:lnTo>
                <a:lnTo>
                  <a:pt x="463" y="276"/>
                </a:lnTo>
                <a:lnTo>
                  <a:pt x="467" y="276"/>
                </a:lnTo>
                <a:lnTo>
                  <a:pt x="472" y="276"/>
                </a:lnTo>
                <a:lnTo>
                  <a:pt x="484" y="281"/>
                </a:lnTo>
                <a:lnTo>
                  <a:pt x="486" y="281"/>
                </a:lnTo>
                <a:lnTo>
                  <a:pt x="491" y="286"/>
                </a:lnTo>
                <a:lnTo>
                  <a:pt x="496" y="290"/>
                </a:lnTo>
                <a:lnTo>
                  <a:pt x="503" y="293"/>
                </a:lnTo>
                <a:lnTo>
                  <a:pt x="512" y="295"/>
                </a:lnTo>
                <a:lnTo>
                  <a:pt x="519" y="300"/>
                </a:lnTo>
                <a:lnTo>
                  <a:pt x="526" y="300"/>
                </a:lnTo>
                <a:lnTo>
                  <a:pt x="533" y="302"/>
                </a:lnTo>
                <a:lnTo>
                  <a:pt x="536" y="302"/>
                </a:lnTo>
                <a:lnTo>
                  <a:pt x="541" y="305"/>
                </a:lnTo>
                <a:lnTo>
                  <a:pt x="543" y="307"/>
                </a:lnTo>
                <a:lnTo>
                  <a:pt x="548" y="305"/>
                </a:lnTo>
                <a:lnTo>
                  <a:pt x="552" y="302"/>
                </a:lnTo>
                <a:lnTo>
                  <a:pt x="562" y="297"/>
                </a:lnTo>
                <a:lnTo>
                  <a:pt x="567" y="297"/>
                </a:lnTo>
                <a:lnTo>
                  <a:pt x="569" y="295"/>
                </a:lnTo>
                <a:lnTo>
                  <a:pt x="571" y="293"/>
                </a:lnTo>
                <a:lnTo>
                  <a:pt x="576" y="290"/>
                </a:lnTo>
                <a:lnTo>
                  <a:pt x="588" y="290"/>
                </a:lnTo>
                <a:lnTo>
                  <a:pt x="593" y="288"/>
                </a:lnTo>
                <a:lnTo>
                  <a:pt x="602" y="288"/>
                </a:lnTo>
                <a:lnTo>
                  <a:pt x="607" y="286"/>
                </a:lnTo>
                <a:lnTo>
                  <a:pt x="616" y="288"/>
                </a:lnTo>
                <a:lnTo>
                  <a:pt x="616" y="288"/>
                </a:lnTo>
                <a:lnTo>
                  <a:pt x="626" y="286"/>
                </a:lnTo>
                <a:lnTo>
                  <a:pt x="635" y="283"/>
                </a:lnTo>
                <a:lnTo>
                  <a:pt x="640" y="281"/>
                </a:lnTo>
                <a:lnTo>
                  <a:pt x="647" y="276"/>
                </a:lnTo>
                <a:lnTo>
                  <a:pt x="649" y="271"/>
                </a:lnTo>
                <a:lnTo>
                  <a:pt x="668" y="255"/>
                </a:lnTo>
                <a:lnTo>
                  <a:pt x="666" y="250"/>
                </a:lnTo>
                <a:lnTo>
                  <a:pt x="661" y="241"/>
                </a:lnTo>
                <a:lnTo>
                  <a:pt x="661" y="236"/>
                </a:lnTo>
                <a:lnTo>
                  <a:pt x="666" y="231"/>
                </a:lnTo>
                <a:lnTo>
                  <a:pt x="668" y="227"/>
                </a:lnTo>
                <a:lnTo>
                  <a:pt x="675" y="224"/>
                </a:lnTo>
                <a:lnTo>
                  <a:pt x="680" y="224"/>
                </a:lnTo>
                <a:lnTo>
                  <a:pt x="685" y="229"/>
                </a:lnTo>
                <a:lnTo>
                  <a:pt x="689" y="231"/>
                </a:lnTo>
                <a:lnTo>
                  <a:pt x="696" y="231"/>
                </a:lnTo>
                <a:lnTo>
                  <a:pt x="704" y="224"/>
                </a:lnTo>
                <a:lnTo>
                  <a:pt x="711" y="220"/>
                </a:lnTo>
                <a:lnTo>
                  <a:pt x="718" y="212"/>
                </a:lnTo>
                <a:lnTo>
                  <a:pt x="720" y="212"/>
                </a:lnTo>
                <a:lnTo>
                  <a:pt x="725" y="212"/>
                </a:lnTo>
                <a:lnTo>
                  <a:pt x="727" y="210"/>
                </a:lnTo>
                <a:lnTo>
                  <a:pt x="732" y="208"/>
                </a:lnTo>
                <a:lnTo>
                  <a:pt x="748" y="189"/>
                </a:lnTo>
                <a:lnTo>
                  <a:pt x="753" y="184"/>
                </a:lnTo>
                <a:lnTo>
                  <a:pt x="760" y="184"/>
                </a:lnTo>
                <a:lnTo>
                  <a:pt x="767" y="184"/>
                </a:lnTo>
                <a:lnTo>
                  <a:pt x="777" y="184"/>
                </a:lnTo>
                <a:lnTo>
                  <a:pt x="784" y="182"/>
                </a:lnTo>
                <a:lnTo>
                  <a:pt x="791" y="184"/>
                </a:lnTo>
                <a:lnTo>
                  <a:pt x="796" y="184"/>
                </a:lnTo>
                <a:lnTo>
                  <a:pt x="798" y="182"/>
                </a:lnTo>
                <a:lnTo>
                  <a:pt x="798" y="177"/>
                </a:lnTo>
                <a:lnTo>
                  <a:pt x="793" y="175"/>
                </a:lnTo>
                <a:lnTo>
                  <a:pt x="793" y="172"/>
                </a:lnTo>
                <a:lnTo>
                  <a:pt x="796" y="168"/>
                </a:lnTo>
                <a:lnTo>
                  <a:pt x="793" y="163"/>
                </a:lnTo>
                <a:lnTo>
                  <a:pt x="784" y="156"/>
                </a:lnTo>
                <a:lnTo>
                  <a:pt x="779" y="151"/>
                </a:lnTo>
                <a:lnTo>
                  <a:pt x="777" y="146"/>
                </a:lnTo>
                <a:lnTo>
                  <a:pt x="767" y="153"/>
                </a:lnTo>
                <a:lnTo>
                  <a:pt x="763" y="158"/>
                </a:lnTo>
                <a:lnTo>
                  <a:pt x="756" y="160"/>
                </a:lnTo>
                <a:lnTo>
                  <a:pt x="746" y="160"/>
                </a:lnTo>
                <a:lnTo>
                  <a:pt x="734" y="158"/>
                </a:lnTo>
                <a:lnTo>
                  <a:pt x="732" y="153"/>
                </a:lnTo>
                <a:lnTo>
                  <a:pt x="730" y="146"/>
                </a:lnTo>
                <a:lnTo>
                  <a:pt x="730" y="139"/>
                </a:lnTo>
                <a:lnTo>
                  <a:pt x="732" y="134"/>
                </a:lnTo>
                <a:lnTo>
                  <a:pt x="734" y="127"/>
                </a:lnTo>
                <a:lnTo>
                  <a:pt x="732" y="123"/>
                </a:lnTo>
                <a:lnTo>
                  <a:pt x="732" y="118"/>
                </a:lnTo>
                <a:lnTo>
                  <a:pt x="734" y="116"/>
                </a:lnTo>
                <a:lnTo>
                  <a:pt x="737" y="111"/>
                </a:lnTo>
                <a:lnTo>
                  <a:pt x="741" y="101"/>
                </a:lnTo>
                <a:lnTo>
                  <a:pt x="746" y="99"/>
                </a:lnTo>
                <a:lnTo>
                  <a:pt x="746" y="97"/>
                </a:lnTo>
                <a:lnTo>
                  <a:pt x="748" y="97"/>
                </a:lnTo>
                <a:lnTo>
                  <a:pt x="753" y="101"/>
                </a:lnTo>
                <a:lnTo>
                  <a:pt x="763" y="104"/>
                </a:lnTo>
                <a:lnTo>
                  <a:pt x="770" y="108"/>
                </a:lnTo>
                <a:lnTo>
                  <a:pt x="774" y="106"/>
                </a:lnTo>
                <a:lnTo>
                  <a:pt x="779" y="104"/>
                </a:lnTo>
                <a:lnTo>
                  <a:pt x="796" y="94"/>
                </a:lnTo>
                <a:lnTo>
                  <a:pt x="796" y="92"/>
                </a:lnTo>
                <a:lnTo>
                  <a:pt x="796" y="87"/>
                </a:lnTo>
                <a:lnTo>
                  <a:pt x="796" y="83"/>
                </a:lnTo>
                <a:lnTo>
                  <a:pt x="798" y="80"/>
                </a:lnTo>
                <a:lnTo>
                  <a:pt x="800" y="75"/>
                </a:lnTo>
                <a:lnTo>
                  <a:pt x="803" y="66"/>
                </a:lnTo>
                <a:lnTo>
                  <a:pt x="805" y="59"/>
                </a:lnTo>
                <a:lnTo>
                  <a:pt x="808" y="54"/>
                </a:lnTo>
                <a:lnTo>
                  <a:pt x="812" y="49"/>
                </a:lnTo>
                <a:lnTo>
                  <a:pt x="822" y="42"/>
                </a:lnTo>
                <a:lnTo>
                  <a:pt x="822" y="40"/>
                </a:lnTo>
                <a:lnTo>
                  <a:pt x="819" y="38"/>
                </a:lnTo>
                <a:lnTo>
                  <a:pt x="819" y="28"/>
                </a:lnTo>
                <a:lnTo>
                  <a:pt x="817" y="28"/>
                </a:lnTo>
                <a:lnTo>
                  <a:pt x="815" y="28"/>
                </a:lnTo>
                <a:lnTo>
                  <a:pt x="808" y="28"/>
                </a:lnTo>
                <a:lnTo>
                  <a:pt x="808" y="28"/>
                </a:lnTo>
                <a:lnTo>
                  <a:pt x="810" y="23"/>
                </a:lnTo>
                <a:lnTo>
                  <a:pt x="817" y="16"/>
                </a:lnTo>
                <a:lnTo>
                  <a:pt x="819" y="12"/>
                </a:lnTo>
                <a:lnTo>
                  <a:pt x="824" y="7"/>
                </a:lnTo>
                <a:lnTo>
                  <a:pt x="836" y="5"/>
                </a:lnTo>
                <a:lnTo>
                  <a:pt x="848" y="2"/>
                </a:lnTo>
                <a:lnTo>
                  <a:pt x="855" y="2"/>
                </a:lnTo>
                <a:lnTo>
                  <a:pt x="867" y="0"/>
                </a:lnTo>
                <a:lnTo>
                  <a:pt x="871" y="0"/>
                </a:lnTo>
                <a:lnTo>
                  <a:pt x="876" y="2"/>
                </a:lnTo>
                <a:lnTo>
                  <a:pt x="883" y="7"/>
                </a:lnTo>
                <a:lnTo>
                  <a:pt x="885" y="9"/>
                </a:lnTo>
                <a:lnTo>
                  <a:pt x="890" y="12"/>
                </a:lnTo>
                <a:lnTo>
                  <a:pt x="897" y="9"/>
                </a:lnTo>
                <a:lnTo>
                  <a:pt x="902" y="12"/>
                </a:lnTo>
                <a:lnTo>
                  <a:pt x="907" y="14"/>
                </a:lnTo>
                <a:lnTo>
                  <a:pt x="909" y="19"/>
                </a:lnTo>
                <a:lnTo>
                  <a:pt x="914" y="23"/>
                </a:lnTo>
                <a:lnTo>
                  <a:pt x="914" y="28"/>
                </a:lnTo>
                <a:lnTo>
                  <a:pt x="916" y="31"/>
                </a:lnTo>
                <a:lnTo>
                  <a:pt x="919" y="33"/>
                </a:lnTo>
                <a:lnTo>
                  <a:pt x="919" y="35"/>
                </a:lnTo>
                <a:lnTo>
                  <a:pt x="919" y="33"/>
                </a:lnTo>
                <a:lnTo>
                  <a:pt x="921" y="38"/>
                </a:lnTo>
                <a:lnTo>
                  <a:pt x="921" y="42"/>
                </a:lnTo>
                <a:lnTo>
                  <a:pt x="923" y="49"/>
                </a:lnTo>
                <a:lnTo>
                  <a:pt x="926" y="54"/>
                </a:lnTo>
                <a:lnTo>
                  <a:pt x="928" y="59"/>
                </a:lnTo>
                <a:lnTo>
                  <a:pt x="933" y="73"/>
                </a:lnTo>
                <a:lnTo>
                  <a:pt x="935" y="85"/>
                </a:lnTo>
                <a:lnTo>
                  <a:pt x="937" y="92"/>
                </a:lnTo>
                <a:lnTo>
                  <a:pt x="937" y="92"/>
                </a:lnTo>
                <a:lnTo>
                  <a:pt x="937" y="94"/>
                </a:lnTo>
                <a:lnTo>
                  <a:pt x="940" y="99"/>
                </a:lnTo>
                <a:lnTo>
                  <a:pt x="940" y="106"/>
                </a:lnTo>
                <a:lnTo>
                  <a:pt x="942" y="108"/>
                </a:lnTo>
                <a:lnTo>
                  <a:pt x="949" y="111"/>
                </a:lnTo>
                <a:lnTo>
                  <a:pt x="956" y="108"/>
                </a:lnTo>
                <a:lnTo>
                  <a:pt x="961" y="111"/>
                </a:lnTo>
                <a:lnTo>
                  <a:pt x="968" y="111"/>
                </a:lnTo>
                <a:lnTo>
                  <a:pt x="973" y="113"/>
                </a:lnTo>
                <a:lnTo>
                  <a:pt x="985" y="123"/>
                </a:lnTo>
                <a:lnTo>
                  <a:pt x="989" y="125"/>
                </a:lnTo>
                <a:lnTo>
                  <a:pt x="992" y="125"/>
                </a:lnTo>
                <a:lnTo>
                  <a:pt x="994" y="127"/>
                </a:lnTo>
                <a:lnTo>
                  <a:pt x="994" y="130"/>
                </a:lnTo>
                <a:lnTo>
                  <a:pt x="994" y="130"/>
                </a:lnTo>
                <a:lnTo>
                  <a:pt x="994" y="134"/>
                </a:lnTo>
                <a:lnTo>
                  <a:pt x="996" y="137"/>
                </a:lnTo>
                <a:lnTo>
                  <a:pt x="996" y="142"/>
                </a:lnTo>
                <a:lnTo>
                  <a:pt x="996" y="149"/>
                </a:lnTo>
                <a:lnTo>
                  <a:pt x="1001" y="153"/>
                </a:lnTo>
                <a:lnTo>
                  <a:pt x="1004" y="156"/>
                </a:lnTo>
                <a:lnTo>
                  <a:pt x="1008" y="156"/>
                </a:lnTo>
                <a:lnTo>
                  <a:pt x="1015" y="158"/>
                </a:lnTo>
                <a:lnTo>
                  <a:pt x="1020" y="158"/>
                </a:lnTo>
                <a:lnTo>
                  <a:pt x="1030" y="153"/>
                </a:lnTo>
                <a:lnTo>
                  <a:pt x="1041" y="146"/>
                </a:lnTo>
                <a:lnTo>
                  <a:pt x="1046" y="146"/>
                </a:lnTo>
                <a:lnTo>
                  <a:pt x="1058" y="139"/>
                </a:lnTo>
                <a:lnTo>
                  <a:pt x="1067" y="137"/>
                </a:lnTo>
                <a:lnTo>
                  <a:pt x="1067" y="137"/>
                </a:lnTo>
                <a:lnTo>
                  <a:pt x="1065" y="142"/>
                </a:lnTo>
                <a:lnTo>
                  <a:pt x="1065" y="149"/>
                </a:lnTo>
                <a:lnTo>
                  <a:pt x="1067" y="153"/>
                </a:lnTo>
                <a:lnTo>
                  <a:pt x="1065" y="160"/>
                </a:lnTo>
                <a:lnTo>
                  <a:pt x="1063" y="163"/>
                </a:lnTo>
                <a:lnTo>
                  <a:pt x="1058" y="168"/>
                </a:lnTo>
                <a:lnTo>
                  <a:pt x="1056" y="175"/>
                </a:lnTo>
                <a:lnTo>
                  <a:pt x="1053" y="184"/>
                </a:lnTo>
                <a:lnTo>
                  <a:pt x="1048" y="198"/>
                </a:lnTo>
                <a:lnTo>
                  <a:pt x="1044" y="210"/>
                </a:lnTo>
                <a:lnTo>
                  <a:pt x="1039" y="215"/>
                </a:lnTo>
                <a:lnTo>
                  <a:pt x="1037" y="222"/>
                </a:lnTo>
                <a:lnTo>
                  <a:pt x="1034" y="224"/>
                </a:lnTo>
                <a:lnTo>
                  <a:pt x="1032" y="224"/>
                </a:lnTo>
                <a:lnTo>
                  <a:pt x="1015" y="220"/>
                </a:lnTo>
                <a:lnTo>
                  <a:pt x="1013" y="222"/>
                </a:lnTo>
                <a:lnTo>
                  <a:pt x="1001" y="234"/>
                </a:lnTo>
                <a:lnTo>
                  <a:pt x="1004" y="238"/>
                </a:lnTo>
                <a:lnTo>
                  <a:pt x="1006" y="245"/>
                </a:lnTo>
                <a:lnTo>
                  <a:pt x="1006" y="264"/>
                </a:lnTo>
                <a:lnTo>
                  <a:pt x="999" y="274"/>
                </a:lnTo>
                <a:lnTo>
                  <a:pt x="994" y="279"/>
                </a:lnTo>
                <a:lnTo>
                  <a:pt x="994" y="283"/>
                </a:lnTo>
                <a:lnTo>
                  <a:pt x="992" y="283"/>
                </a:lnTo>
                <a:lnTo>
                  <a:pt x="989" y="279"/>
                </a:lnTo>
                <a:lnTo>
                  <a:pt x="985" y="276"/>
                </a:lnTo>
                <a:lnTo>
                  <a:pt x="982" y="279"/>
                </a:lnTo>
                <a:lnTo>
                  <a:pt x="980" y="283"/>
                </a:lnTo>
                <a:lnTo>
                  <a:pt x="975" y="290"/>
                </a:lnTo>
                <a:lnTo>
                  <a:pt x="966" y="297"/>
                </a:lnTo>
                <a:lnTo>
                  <a:pt x="959" y="300"/>
                </a:lnTo>
                <a:lnTo>
                  <a:pt x="952" y="300"/>
                </a:lnTo>
                <a:lnTo>
                  <a:pt x="952" y="302"/>
                </a:lnTo>
                <a:lnTo>
                  <a:pt x="952" y="312"/>
                </a:lnTo>
                <a:lnTo>
                  <a:pt x="940" y="312"/>
                </a:lnTo>
                <a:lnTo>
                  <a:pt x="935" y="309"/>
                </a:lnTo>
                <a:lnTo>
                  <a:pt x="928" y="309"/>
                </a:lnTo>
                <a:lnTo>
                  <a:pt x="926" y="312"/>
                </a:lnTo>
                <a:lnTo>
                  <a:pt x="916" y="321"/>
                </a:lnTo>
                <a:lnTo>
                  <a:pt x="911" y="326"/>
                </a:lnTo>
                <a:lnTo>
                  <a:pt x="900" y="333"/>
                </a:lnTo>
                <a:lnTo>
                  <a:pt x="895" y="333"/>
                </a:lnTo>
                <a:lnTo>
                  <a:pt x="885" y="345"/>
                </a:lnTo>
                <a:lnTo>
                  <a:pt x="885" y="347"/>
                </a:lnTo>
                <a:lnTo>
                  <a:pt x="883" y="347"/>
                </a:lnTo>
                <a:lnTo>
                  <a:pt x="881" y="349"/>
                </a:lnTo>
                <a:lnTo>
                  <a:pt x="876" y="349"/>
                </a:lnTo>
                <a:lnTo>
                  <a:pt x="869" y="352"/>
                </a:lnTo>
                <a:lnTo>
                  <a:pt x="867" y="349"/>
                </a:lnTo>
                <a:lnTo>
                  <a:pt x="867" y="349"/>
                </a:lnTo>
                <a:lnTo>
                  <a:pt x="862" y="354"/>
                </a:lnTo>
                <a:lnTo>
                  <a:pt x="850" y="359"/>
                </a:lnTo>
                <a:lnTo>
                  <a:pt x="848" y="361"/>
                </a:lnTo>
                <a:lnTo>
                  <a:pt x="845" y="364"/>
                </a:lnTo>
                <a:lnTo>
                  <a:pt x="843" y="368"/>
                </a:lnTo>
                <a:lnTo>
                  <a:pt x="838" y="368"/>
                </a:lnTo>
                <a:lnTo>
                  <a:pt x="836" y="368"/>
                </a:lnTo>
                <a:lnTo>
                  <a:pt x="831" y="373"/>
                </a:lnTo>
                <a:lnTo>
                  <a:pt x="829" y="371"/>
                </a:lnTo>
                <a:lnTo>
                  <a:pt x="831" y="366"/>
                </a:lnTo>
                <a:lnTo>
                  <a:pt x="836" y="366"/>
                </a:lnTo>
                <a:lnTo>
                  <a:pt x="838" y="361"/>
                </a:lnTo>
                <a:lnTo>
                  <a:pt x="838" y="359"/>
                </a:lnTo>
                <a:lnTo>
                  <a:pt x="836" y="357"/>
                </a:lnTo>
                <a:lnTo>
                  <a:pt x="833" y="357"/>
                </a:lnTo>
                <a:lnTo>
                  <a:pt x="831" y="354"/>
                </a:lnTo>
                <a:lnTo>
                  <a:pt x="836" y="354"/>
                </a:lnTo>
                <a:lnTo>
                  <a:pt x="836" y="349"/>
                </a:lnTo>
                <a:lnTo>
                  <a:pt x="838" y="347"/>
                </a:lnTo>
                <a:lnTo>
                  <a:pt x="845" y="338"/>
                </a:lnTo>
                <a:lnTo>
                  <a:pt x="848" y="333"/>
                </a:lnTo>
                <a:lnTo>
                  <a:pt x="848" y="331"/>
                </a:lnTo>
                <a:lnTo>
                  <a:pt x="843" y="326"/>
                </a:lnTo>
                <a:lnTo>
                  <a:pt x="843" y="323"/>
                </a:lnTo>
                <a:lnTo>
                  <a:pt x="841" y="321"/>
                </a:lnTo>
                <a:lnTo>
                  <a:pt x="838" y="323"/>
                </a:lnTo>
                <a:lnTo>
                  <a:pt x="831" y="323"/>
                </a:lnTo>
                <a:lnTo>
                  <a:pt x="829" y="323"/>
                </a:lnTo>
                <a:lnTo>
                  <a:pt x="824" y="331"/>
                </a:lnTo>
                <a:lnTo>
                  <a:pt x="819" y="335"/>
                </a:lnTo>
                <a:lnTo>
                  <a:pt x="817" y="338"/>
                </a:lnTo>
                <a:lnTo>
                  <a:pt x="817" y="340"/>
                </a:lnTo>
                <a:lnTo>
                  <a:pt x="808" y="342"/>
                </a:lnTo>
                <a:lnTo>
                  <a:pt x="803" y="347"/>
                </a:lnTo>
                <a:lnTo>
                  <a:pt x="800" y="349"/>
                </a:lnTo>
                <a:lnTo>
                  <a:pt x="798" y="354"/>
                </a:lnTo>
                <a:lnTo>
                  <a:pt x="798" y="357"/>
                </a:lnTo>
                <a:lnTo>
                  <a:pt x="793" y="361"/>
                </a:lnTo>
                <a:lnTo>
                  <a:pt x="791" y="364"/>
                </a:lnTo>
                <a:lnTo>
                  <a:pt x="786" y="364"/>
                </a:lnTo>
                <a:lnTo>
                  <a:pt x="784" y="364"/>
                </a:lnTo>
                <a:lnTo>
                  <a:pt x="779" y="364"/>
                </a:lnTo>
                <a:lnTo>
                  <a:pt x="777" y="364"/>
                </a:lnTo>
                <a:lnTo>
                  <a:pt x="774" y="364"/>
                </a:lnTo>
                <a:lnTo>
                  <a:pt x="770" y="366"/>
                </a:lnTo>
                <a:lnTo>
                  <a:pt x="770" y="373"/>
                </a:lnTo>
                <a:lnTo>
                  <a:pt x="767" y="378"/>
                </a:lnTo>
                <a:lnTo>
                  <a:pt x="774" y="385"/>
                </a:lnTo>
                <a:lnTo>
                  <a:pt x="774" y="387"/>
                </a:lnTo>
                <a:lnTo>
                  <a:pt x="777" y="387"/>
                </a:lnTo>
                <a:lnTo>
                  <a:pt x="779" y="387"/>
                </a:lnTo>
                <a:lnTo>
                  <a:pt x="782" y="390"/>
                </a:lnTo>
                <a:lnTo>
                  <a:pt x="784" y="390"/>
                </a:lnTo>
                <a:lnTo>
                  <a:pt x="786" y="394"/>
                </a:lnTo>
                <a:lnTo>
                  <a:pt x="789" y="397"/>
                </a:lnTo>
                <a:lnTo>
                  <a:pt x="789" y="399"/>
                </a:lnTo>
                <a:lnTo>
                  <a:pt x="789" y="401"/>
                </a:lnTo>
                <a:lnTo>
                  <a:pt x="791" y="406"/>
                </a:lnTo>
                <a:lnTo>
                  <a:pt x="800" y="408"/>
                </a:lnTo>
                <a:lnTo>
                  <a:pt x="805" y="408"/>
                </a:lnTo>
                <a:lnTo>
                  <a:pt x="810" y="404"/>
                </a:lnTo>
                <a:lnTo>
                  <a:pt x="812" y="399"/>
                </a:lnTo>
                <a:lnTo>
                  <a:pt x="815" y="397"/>
                </a:lnTo>
                <a:lnTo>
                  <a:pt x="822" y="394"/>
                </a:lnTo>
                <a:lnTo>
                  <a:pt x="824" y="392"/>
                </a:lnTo>
                <a:lnTo>
                  <a:pt x="829" y="397"/>
                </a:lnTo>
                <a:lnTo>
                  <a:pt x="831" y="399"/>
                </a:lnTo>
                <a:lnTo>
                  <a:pt x="833" y="399"/>
                </a:lnTo>
                <a:lnTo>
                  <a:pt x="836" y="401"/>
                </a:lnTo>
                <a:lnTo>
                  <a:pt x="838" y="401"/>
                </a:lnTo>
                <a:lnTo>
                  <a:pt x="843" y="401"/>
                </a:lnTo>
                <a:lnTo>
                  <a:pt x="845" y="399"/>
                </a:lnTo>
                <a:lnTo>
                  <a:pt x="850" y="401"/>
                </a:lnTo>
                <a:lnTo>
                  <a:pt x="852" y="401"/>
                </a:lnTo>
                <a:lnTo>
                  <a:pt x="855" y="404"/>
                </a:lnTo>
                <a:lnTo>
                  <a:pt x="855" y="406"/>
                </a:lnTo>
                <a:lnTo>
                  <a:pt x="852" y="411"/>
                </a:lnTo>
                <a:lnTo>
                  <a:pt x="852" y="411"/>
                </a:lnTo>
                <a:lnTo>
                  <a:pt x="850" y="416"/>
                </a:lnTo>
                <a:lnTo>
                  <a:pt x="848" y="413"/>
                </a:lnTo>
                <a:lnTo>
                  <a:pt x="848" y="411"/>
                </a:lnTo>
                <a:lnTo>
                  <a:pt x="845" y="413"/>
                </a:lnTo>
                <a:lnTo>
                  <a:pt x="843" y="411"/>
                </a:lnTo>
                <a:lnTo>
                  <a:pt x="841" y="413"/>
                </a:lnTo>
                <a:lnTo>
                  <a:pt x="838" y="416"/>
                </a:lnTo>
                <a:lnTo>
                  <a:pt x="831" y="418"/>
                </a:lnTo>
                <a:lnTo>
                  <a:pt x="829" y="420"/>
                </a:lnTo>
                <a:lnTo>
                  <a:pt x="824" y="420"/>
                </a:lnTo>
                <a:lnTo>
                  <a:pt x="824" y="423"/>
                </a:lnTo>
                <a:lnTo>
                  <a:pt x="824" y="423"/>
                </a:lnTo>
                <a:lnTo>
                  <a:pt x="822" y="425"/>
                </a:lnTo>
                <a:lnTo>
                  <a:pt x="819" y="430"/>
                </a:lnTo>
                <a:lnTo>
                  <a:pt x="817" y="430"/>
                </a:lnTo>
                <a:lnTo>
                  <a:pt x="815" y="427"/>
                </a:lnTo>
                <a:lnTo>
                  <a:pt x="812" y="427"/>
                </a:lnTo>
                <a:lnTo>
                  <a:pt x="810" y="430"/>
                </a:lnTo>
                <a:lnTo>
                  <a:pt x="812" y="432"/>
                </a:lnTo>
                <a:lnTo>
                  <a:pt x="812" y="434"/>
                </a:lnTo>
                <a:lnTo>
                  <a:pt x="810" y="439"/>
                </a:lnTo>
                <a:lnTo>
                  <a:pt x="803" y="442"/>
                </a:lnTo>
                <a:lnTo>
                  <a:pt x="803" y="446"/>
                </a:lnTo>
                <a:lnTo>
                  <a:pt x="798" y="451"/>
                </a:lnTo>
                <a:lnTo>
                  <a:pt x="796" y="456"/>
                </a:lnTo>
                <a:lnTo>
                  <a:pt x="796" y="458"/>
                </a:lnTo>
                <a:lnTo>
                  <a:pt x="800" y="460"/>
                </a:lnTo>
                <a:lnTo>
                  <a:pt x="803" y="463"/>
                </a:lnTo>
                <a:lnTo>
                  <a:pt x="812" y="468"/>
                </a:lnTo>
                <a:lnTo>
                  <a:pt x="815" y="470"/>
                </a:lnTo>
                <a:lnTo>
                  <a:pt x="817" y="477"/>
                </a:lnTo>
                <a:lnTo>
                  <a:pt x="819" y="479"/>
                </a:lnTo>
                <a:lnTo>
                  <a:pt x="822" y="491"/>
                </a:lnTo>
                <a:lnTo>
                  <a:pt x="824" y="496"/>
                </a:lnTo>
                <a:lnTo>
                  <a:pt x="824" y="501"/>
                </a:lnTo>
                <a:lnTo>
                  <a:pt x="829" y="505"/>
                </a:lnTo>
                <a:lnTo>
                  <a:pt x="831" y="508"/>
                </a:lnTo>
                <a:lnTo>
                  <a:pt x="833" y="510"/>
                </a:lnTo>
                <a:lnTo>
                  <a:pt x="838" y="517"/>
                </a:lnTo>
                <a:lnTo>
                  <a:pt x="843" y="522"/>
                </a:lnTo>
                <a:lnTo>
                  <a:pt x="841" y="522"/>
                </a:lnTo>
                <a:lnTo>
                  <a:pt x="836" y="519"/>
                </a:lnTo>
                <a:lnTo>
                  <a:pt x="831" y="519"/>
                </a:lnTo>
                <a:lnTo>
                  <a:pt x="829" y="519"/>
                </a:lnTo>
                <a:lnTo>
                  <a:pt x="824" y="517"/>
                </a:lnTo>
                <a:lnTo>
                  <a:pt x="819" y="515"/>
                </a:lnTo>
                <a:lnTo>
                  <a:pt x="812" y="517"/>
                </a:lnTo>
                <a:lnTo>
                  <a:pt x="812" y="517"/>
                </a:lnTo>
                <a:lnTo>
                  <a:pt x="819" y="517"/>
                </a:lnTo>
                <a:lnTo>
                  <a:pt x="822" y="517"/>
                </a:lnTo>
                <a:lnTo>
                  <a:pt x="822" y="519"/>
                </a:lnTo>
                <a:lnTo>
                  <a:pt x="826" y="519"/>
                </a:lnTo>
                <a:lnTo>
                  <a:pt x="829" y="524"/>
                </a:lnTo>
                <a:lnTo>
                  <a:pt x="833" y="527"/>
                </a:lnTo>
                <a:lnTo>
                  <a:pt x="836" y="529"/>
                </a:lnTo>
                <a:lnTo>
                  <a:pt x="836" y="529"/>
                </a:lnTo>
                <a:lnTo>
                  <a:pt x="841" y="534"/>
                </a:lnTo>
                <a:lnTo>
                  <a:pt x="843" y="536"/>
                </a:lnTo>
                <a:lnTo>
                  <a:pt x="843" y="538"/>
                </a:lnTo>
                <a:lnTo>
                  <a:pt x="838" y="538"/>
                </a:lnTo>
                <a:lnTo>
                  <a:pt x="833" y="543"/>
                </a:lnTo>
                <a:lnTo>
                  <a:pt x="831" y="543"/>
                </a:lnTo>
                <a:lnTo>
                  <a:pt x="829" y="545"/>
                </a:lnTo>
                <a:lnTo>
                  <a:pt x="826" y="545"/>
                </a:lnTo>
                <a:lnTo>
                  <a:pt x="824" y="548"/>
                </a:lnTo>
                <a:lnTo>
                  <a:pt x="819" y="548"/>
                </a:lnTo>
                <a:lnTo>
                  <a:pt x="815" y="550"/>
                </a:lnTo>
                <a:lnTo>
                  <a:pt x="812" y="550"/>
                </a:lnTo>
                <a:lnTo>
                  <a:pt x="815" y="550"/>
                </a:lnTo>
                <a:lnTo>
                  <a:pt x="819" y="553"/>
                </a:lnTo>
                <a:lnTo>
                  <a:pt x="822" y="553"/>
                </a:lnTo>
                <a:lnTo>
                  <a:pt x="829" y="550"/>
                </a:lnTo>
                <a:lnTo>
                  <a:pt x="831" y="553"/>
                </a:lnTo>
                <a:lnTo>
                  <a:pt x="836" y="555"/>
                </a:lnTo>
                <a:lnTo>
                  <a:pt x="836" y="555"/>
                </a:lnTo>
                <a:lnTo>
                  <a:pt x="838" y="557"/>
                </a:lnTo>
                <a:lnTo>
                  <a:pt x="841" y="557"/>
                </a:lnTo>
                <a:lnTo>
                  <a:pt x="843" y="557"/>
                </a:lnTo>
                <a:lnTo>
                  <a:pt x="843" y="557"/>
                </a:lnTo>
                <a:lnTo>
                  <a:pt x="843" y="560"/>
                </a:lnTo>
                <a:lnTo>
                  <a:pt x="838" y="564"/>
                </a:lnTo>
                <a:lnTo>
                  <a:pt x="833" y="567"/>
                </a:lnTo>
                <a:lnTo>
                  <a:pt x="836" y="567"/>
                </a:lnTo>
                <a:lnTo>
                  <a:pt x="841" y="564"/>
                </a:lnTo>
                <a:lnTo>
                  <a:pt x="841" y="569"/>
                </a:lnTo>
                <a:lnTo>
                  <a:pt x="841" y="571"/>
                </a:lnTo>
                <a:lnTo>
                  <a:pt x="841" y="571"/>
                </a:lnTo>
                <a:lnTo>
                  <a:pt x="838" y="571"/>
                </a:lnTo>
                <a:lnTo>
                  <a:pt x="833" y="571"/>
                </a:lnTo>
                <a:lnTo>
                  <a:pt x="833" y="574"/>
                </a:lnTo>
                <a:lnTo>
                  <a:pt x="836" y="576"/>
                </a:lnTo>
                <a:lnTo>
                  <a:pt x="836" y="581"/>
                </a:lnTo>
                <a:lnTo>
                  <a:pt x="833" y="583"/>
                </a:lnTo>
                <a:lnTo>
                  <a:pt x="833" y="588"/>
                </a:lnTo>
                <a:lnTo>
                  <a:pt x="831" y="593"/>
                </a:lnTo>
                <a:lnTo>
                  <a:pt x="831" y="593"/>
                </a:lnTo>
                <a:lnTo>
                  <a:pt x="829" y="590"/>
                </a:lnTo>
                <a:lnTo>
                  <a:pt x="826" y="590"/>
                </a:lnTo>
                <a:lnTo>
                  <a:pt x="824" y="595"/>
                </a:lnTo>
                <a:lnTo>
                  <a:pt x="822" y="597"/>
                </a:lnTo>
                <a:lnTo>
                  <a:pt x="822" y="600"/>
                </a:lnTo>
                <a:lnTo>
                  <a:pt x="819" y="600"/>
                </a:lnTo>
                <a:lnTo>
                  <a:pt x="819" y="602"/>
                </a:lnTo>
                <a:lnTo>
                  <a:pt x="817" y="605"/>
                </a:lnTo>
                <a:lnTo>
                  <a:pt x="817" y="607"/>
                </a:lnTo>
                <a:lnTo>
                  <a:pt x="817" y="609"/>
                </a:lnTo>
                <a:lnTo>
                  <a:pt x="815" y="614"/>
                </a:lnTo>
                <a:lnTo>
                  <a:pt x="812" y="614"/>
                </a:lnTo>
                <a:lnTo>
                  <a:pt x="810" y="619"/>
                </a:lnTo>
                <a:lnTo>
                  <a:pt x="810" y="621"/>
                </a:lnTo>
                <a:lnTo>
                  <a:pt x="808" y="623"/>
                </a:lnTo>
                <a:lnTo>
                  <a:pt x="805" y="623"/>
                </a:lnTo>
                <a:lnTo>
                  <a:pt x="805" y="619"/>
                </a:lnTo>
                <a:lnTo>
                  <a:pt x="803" y="619"/>
                </a:lnTo>
                <a:lnTo>
                  <a:pt x="800" y="621"/>
                </a:lnTo>
                <a:lnTo>
                  <a:pt x="803" y="626"/>
                </a:lnTo>
                <a:lnTo>
                  <a:pt x="803" y="628"/>
                </a:lnTo>
                <a:lnTo>
                  <a:pt x="803" y="633"/>
                </a:lnTo>
                <a:lnTo>
                  <a:pt x="803" y="635"/>
                </a:lnTo>
                <a:lnTo>
                  <a:pt x="800" y="638"/>
                </a:lnTo>
                <a:lnTo>
                  <a:pt x="800" y="638"/>
                </a:lnTo>
                <a:lnTo>
                  <a:pt x="800" y="640"/>
                </a:lnTo>
                <a:lnTo>
                  <a:pt x="798" y="640"/>
                </a:lnTo>
                <a:lnTo>
                  <a:pt x="798" y="642"/>
                </a:lnTo>
                <a:lnTo>
                  <a:pt x="798" y="645"/>
                </a:lnTo>
                <a:lnTo>
                  <a:pt x="798" y="645"/>
                </a:lnTo>
                <a:lnTo>
                  <a:pt x="798" y="645"/>
                </a:lnTo>
                <a:lnTo>
                  <a:pt x="796" y="645"/>
                </a:lnTo>
                <a:lnTo>
                  <a:pt x="793" y="647"/>
                </a:lnTo>
                <a:lnTo>
                  <a:pt x="796" y="649"/>
                </a:lnTo>
                <a:lnTo>
                  <a:pt x="793" y="649"/>
                </a:lnTo>
                <a:lnTo>
                  <a:pt x="791" y="649"/>
                </a:lnTo>
                <a:lnTo>
                  <a:pt x="791" y="649"/>
                </a:lnTo>
                <a:lnTo>
                  <a:pt x="789" y="654"/>
                </a:lnTo>
                <a:lnTo>
                  <a:pt x="786" y="656"/>
                </a:lnTo>
                <a:lnTo>
                  <a:pt x="786" y="659"/>
                </a:lnTo>
                <a:lnTo>
                  <a:pt x="784" y="661"/>
                </a:lnTo>
                <a:lnTo>
                  <a:pt x="779" y="661"/>
                </a:lnTo>
                <a:lnTo>
                  <a:pt x="777" y="661"/>
                </a:lnTo>
                <a:lnTo>
                  <a:pt x="774" y="664"/>
                </a:lnTo>
                <a:lnTo>
                  <a:pt x="774" y="664"/>
                </a:lnTo>
                <a:lnTo>
                  <a:pt x="774" y="666"/>
                </a:lnTo>
                <a:lnTo>
                  <a:pt x="774" y="668"/>
                </a:lnTo>
                <a:lnTo>
                  <a:pt x="770" y="673"/>
                </a:lnTo>
                <a:lnTo>
                  <a:pt x="767" y="673"/>
                </a:lnTo>
                <a:lnTo>
                  <a:pt x="767" y="678"/>
                </a:lnTo>
                <a:lnTo>
                  <a:pt x="765" y="675"/>
                </a:lnTo>
                <a:lnTo>
                  <a:pt x="765" y="675"/>
                </a:lnTo>
                <a:lnTo>
                  <a:pt x="763" y="678"/>
                </a:lnTo>
                <a:lnTo>
                  <a:pt x="763" y="678"/>
                </a:lnTo>
                <a:lnTo>
                  <a:pt x="763" y="678"/>
                </a:lnTo>
                <a:lnTo>
                  <a:pt x="758" y="680"/>
                </a:lnTo>
                <a:lnTo>
                  <a:pt x="758" y="680"/>
                </a:lnTo>
                <a:lnTo>
                  <a:pt x="756" y="680"/>
                </a:lnTo>
                <a:lnTo>
                  <a:pt x="753" y="685"/>
                </a:lnTo>
                <a:lnTo>
                  <a:pt x="751" y="687"/>
                </a:lnTo>
                <a:lnTo>
                  <a:pt x="748" y="687"/>
                </a:lnTo>
                <a:lnTo>
                  <a:pt x="748" y="690"/>
                </a:lnTo>
                <a:lnTo>
                  <a:pt x="746" y="692"/>
                </a:lnTo>
                <a:lnTo>
                  <a:pt x="741" y="694"/>
                </a:lnTo>
                <a:lnTo>
                  <a:pt x="737" y="697"/>
                </a:lnTo>
                <a:lnTo>
                  <a:pt x="734" y="694"/>
                </a:lnTo>
                <a:lnTo>
                  <a:pt x="732" y="694"/>
                </a:lnTo>
                <a:lnTo>
                  <a:pt x="732" y="697"/>
                </a:lnTo>
                <a:lnTo>
                  <a:pt x="732" y="697"/>
                </a:lnTo>
                <a:lnTo>
                  <a:pt x="730" y="697"/>
                </a:lnTo>
                <a:lnTo>
                  <a:pt x="727" y="697"/>
                </a:lnTo>
                <a:lnTo>
                  <a:pt x="727" y="694"/>
                </a:lnTo>
                <a:lnTo>
                  <a:pt x="725" y="694"/>
                </a:lnTo>
                <a:lnTo>
                  <a:pt x="722" y="697"/>
                </a:lnTo>
                <a:lnTo>
                  <a:pt x="720" y="699"/>
                </a:lnTo>
                <a:lnTo>
                  <a:pt x="718" y="699"/>
                </a:lnTo>
                <a:lnTo>
                  <a:pt x="718" y="697"/>
                </a:lnTo>
                <a:lnTo>
                  <a:pt x="718" y="697"/>
                </a:lnTo>
                <a:lnTo>
                  <a:pt x="713" y="697"/>
                </a:lnTo>
                <a:lnTo>
                  <a:pt x="713" y="699"/>
                </a:lnTo>
                <a:lnTo>
                  <a:pt x="713" y="699"/>
                </a:lnTo>
                <a:close/>
              </a:path>
            </a:pathLst>
          </a:custGeom>
          <a:solidFill>
            <a:srgbClr val="FFE6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Arial"/>
            </a:endParaRPr>
          </a:p>
        </p:txBody>
      </p:sp>
      <p:grpSp>
        <p:nvGrpSpPr>
          <p:cNvPr id="6143" name="Group 6142">
            <a:extLst>
              <a:ext uri="{FF2B5EF4-FFF2-40B4-BE49-F238E27FC236}">
                <a16:creationId xmlns:a16="http://schemas.microsoft.com/office/drawing/2014/main" id="{E37FBC19-F772-40FB-B9AA-7AE3B719E000}"/>
              </a:ext>
            </a:extLst>
          </p:cNvPr>
          <p:cNvGrpSpPr/>
          <p:nvPr/>
        </p:nvGrpSpPr>
        <p:grpSpPr>
          <a:xfrm>
            <a:off x="8004175" y="2426422"/>
            <a:ext cx="2488259" cy="2284419"/>
            <a:chOff x="6179583" y="2744695"/>
            <a:chExt cx="2364183" cy="2215284"/>
          </a:xfrm>
          <a:solidFill>
            <a:srgbClr val="FFE600"/>
          </a:solidFill>
        </p:grpSpPr>
        <p:sp>
          <p:nvSpPr>
            <p:cNvPr id="6144" name="Freeform 130">
              <a:extLst>
                <a:ext uri="{FF2B5EF4-FFF2-40B4-BE49-F238E27FC236}">
                  <a16:creationId xmlns:a16="http://schemas.microsoft.com/office/drawing/2014/main" id="{20F35053-39BA-4FAB-895A-0E1815D0AA2A}"/>
                </a:ext>
              </a:extLst>
            </p:cNvPr>
            <p:cNvSpPr>
              <a:spLocks/>
            </p:cNvSpPr>
            <p:nvPr/>
          </p:nvSpPr>
          <p:spPr bwMode="auto">
            <a:xfrm>
              <a:off x="6550176" y="4260154"/>
              <a:ext cx="11582" cy="59560"/>
            </a:xfrm>
            <a:custGeom>
              <a:avLst/>
              <a:gdLst>
                <a:gd name="T0" fmla="*/ 7 w 7"/>
                <a:gd name="T1" fmla="*/ 0 h 36"/>
                <a:gd name="T2" fmla="*/ 5 w 7"/>
                <a:gd name="T3" fmla="*/ 0 h 36"/>
                <a:gd name="T4" fmla="*/ 5 w 7"/>
                <a:gd name="T5" fmla="*/ 7 h 36"/>
                <a:gd name="T6" fmla="*/ 3 w 7"/>
                <a:gd name="T7" fmla="*/ 19 h 36"/>
                <a:gd name="T8" fmla="*/ 3 w 7"/>
                <a:gd name="T9" fmla="*/ 24 h 36"/>
                <a:gd name="T10" fmla="*/ 3 w 7"/>
                <a:gd name="T11" fmla="*/ 26 h 36"/>
                <a:gd name="T12" fmla="*/ 0 w 7"/>
                <a:gd name="T13" fmla="*/ 29 h 36"/>
                <a:gd name="T14" fmla="*/ 0 w 7"/>
                <a:gd name="T15" fmla="*/ 33 h 36"/>
                <a:gd name="T16" fmla="*/ 3 w 7"/>
                <a:gd name="T17" fmla="*/ 36 h 36"/>
                <a:gd name="T18" fmla="*/ 3 w 7"/>
                <a:gd name="T19" fmla="*/ 36 h 36"/>
                <a:gd name="T20" fmla="*/ 3 w 7"/>
                <a:gd name="T21" fmla="*/ 33 h 36"/>
                <a:gd name="T22" fmla="*/ 3 w 7"/>
                <a:gd name="T23" fmla="*/ 26 h 36"/>
                <a:gd name="T24" fmla="*/ 5 w 7"/>
                <a:gd name="T25" fmla="*/ 24 h 36"/>
                <a:gd name="T26" fmla="*/ 5 w 7"/>
                <a:gd name="T27" fmla="*/ 22 h 36"/>
                <a:gd name="T28" fmla="*/ 5 w 7"/>
                <a:gd name="T29" fmla="*/ 17 h 36"/>
                <a:gd name="T30" fmla="*/ 7 w 7"/>
                <a:gd name="T31" fmla="*/ 15 h 36"/>
                <a:gd name="T32" fmla="*/ 5 w 7"/>
                <a:gd name="T33" fmla="*/ 12 h 36"/>
                <a:gd name="T34" fmla="*/ 5 w 7"/>
                <a:gd name="T35" fmla="*/ 10 h 36"/>
                <a:gd name="T36" fmla="*/ 7 w 7"/>
                <a:gd name="T37" fmla="*/ 7 h 36"/>
                <a:gd name="T38" fmla="*/ 7 w 7"/>
                <a:gd name="T39" fmla="*/ 0 h 36"/>
                <a:gd name="T40" fmla="*/ 7 w 7"/>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36">
                  <a:moveTo>
                    <a:pt x="7" y="0"/>
                  </a:moveTo>
                  <a:lnTo>
                    <a:pt x="5" y="0"/>
                  </a:lnTo>
                  <a:lnTo>
                    <a:pt x="5" y="7"/>
                  </a:lnTo>
                  <a:lnTo>
                    <a:pt x="3" y="19"/>
                  </a:lnTo>
                  <a:lnTo>
                    <a:pt x="3" y="24"/>
                  </a:lnTo>
                  <a:lnTo>
                    <a:pt x="3" y="26"/>
                  </a:lnTo>
                  <a:lnTo>
                    <a:pt x="0" y="29"/>
                  </a:lnTo>
                  <a:lnTo>
                    <a:pt x="0" y="33"/>
                  </a:lnTo>
                  <a:lnTo>
                    <a:pt x="3" y="36"/>
                  </a:lnTo>
                  <a:lnTo>
                    <a:pt x="3" y="36"/>
                  </a:lnTo>
                  <a:lnTo>
                    <a:pt x="3" y="33"/>
                  </a:lnTo>
                  <a:lnTo>
                    <a:pt x="3" y="26"/>
                  </a:lnTo>
                  <a:lnTo>
                    <a:pt x="5" y="24"/>
                  </a:lnTo>
                  <a:lnTo>
                    <a:pt x="5" y="22"/>
                  </a:lnTo>
                  <a:lnTo>
                    <a:pt x="5" y="17"/>
                  </a:lnTo>
                  <a:lnTo>
                    <a:pt x="7" y="15"/>
                  </a:lnTo>
                  <a:lnTo>
                    <a:pt x="5" y="12"/>
                  </a:lnTo>
                  <a:lnTo>
                    <a:pt x="5" y="10"/>
                  </a:lnTo>
                  <a:lnTo>
                    <a:pt x="7" y="7"/>
                  </a:lnTo>
                  <a:lnTo>
                    <a:pt x="7" y="0"/>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5" name="Freeform 131">
              <a:extLst>
                <a:ext uri="{FF2B5EF4-FFF2-40B4-BE49-F238E27FC236}">
                  <a16:creationId xmlns:a16="http://schemas.microsoft.com/office/drawing/2014/main" id="{BCB08CF0-3DE0-4CF1-BDCD-1B0D075CF20A}"/>
                </a:ext>
              </a:extLst>
            </p:cNvPr>
            <p:cNvSpPr>
              <a:spLocks/>
            </p:cNvSpPr>
            <p:nvPr/>
          </p:nvSpPr>
          <p:spPr bwMode="auto">
            <a:xfrm>
              <a:off x="6550176" y="4260154"/>
              <a:ext cx="11582" cy="59560"/>
            </a:xfrm>
            <a:custGeom>
              <a:avLst/>
              <a:gdLst>
                <a:gd name="T0" fmla="*/ 7 w 7"/>
                <a:gd name="T1" fmla="*/ 0 h 36"/>
                <a:gd name="T2" fmla="*/ 5 w 7"/>
                <a:gd name="T3" fmla="*/ 0 h 36"/>
                <a:gd name="T4" fmla="*/ 5 w 7"/>
                <a:gd name="T5" fmla="*/ 7 h 36"/>
                <a:gd name="T6" fmla="*/ 3 w 7"/>
                <a:gd name="T7" fmla="*/ 19 h 36"/>
                <a:gd name="T8" fmla="*/ 3 w 7"/>
                <a:gd name="T9" fmla="*/ 24 h 36"/>
                <a:gd name="T10" fmla="*/ 3 w 7"/>
                <a:gd name="T11" fmla="*/ 26 h 36"/>
                <a:gd name="T12" fmla="*/ 0 w 7"/>
                <a:gd name="T13" fmla="*/ 29 h 36"/>
                <a:gd name="T14" fmla="*/ 0 w 7"/>
                <a:gd name="T15" fmla="*/ 33 h 36"/>
                <a:gd name="T16" fmla="*/ 3 w 7"/>
                <a:gd name="T17" fmla="*/ 36 h 36"/>
                <a:gd name="T18" fmla="*/ 3 w 7"/>
                <a:gd name="T19" fmla="*/ 36 h 36"/>
                <a:gd name="T20" fmla="*/ 3 w 7"/>
                <a:gd name="T21" fmla="*/ 33 h 36"/>
                <a:gd name="T22" fmla="*/ 3 w 7"/>
                <a:gd name="T23" fmla="*/ 26 h 36"/>
                <a:gd name="T24" fmla="*/ 5 w 7"/>
                <a:gd name="T25" fmla="*/ 24 h 36"/>
                <a:gd name="T26" fmla="*/ 5 w 7"/>
                <a:gd name="T27" fmla="*/ 22 h 36"/>
                <a:gd name="T28" fmla="*/ 5 w 7"/>
                <a:gd name="T29" fmla="*/ 17 h 36"/>
                <a:gd name="T30" fmla="*/ 7 w 7"/>
                <a:gd name="T31" fmla="*/ 15 h 36"/>
                <a:gd name="T32" fmla="*/ 5 w 7"/>
                <a:gd name="T33" fmla="*/ 12 h 36"/>
                <a:gd name="T34" fmla="*/ 5 w 7"/>
                <a:gd name="T35" fmla="*/ 10 h 36"/>
                <a:gd name="T36" fmla="*/ 7 w 7"/>
                <a:gd name="T37" fmla="*/ 7 h 36"/>
                <a:gd name="T38" fmla="*/ 7 w 7"/>
                <a:gd name="T39" fmla="*/ 0 h 36"/>
                <a:gd name="T40" fmla="*/ 7 w 7"/>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36">
                  <a:moveTo>
                    <a:pt x="7" y="0"/>
                  </a:moveTo>
                  <a:lnTo>
                    <a:pt x="5" y="0"/>
                  </a:lnTo>
                  <a:lnTo>
                    <a:pt x="5" y="7"/>
                  </a:lnTo>
                  <a:lnTo>
                    <a:pt x="3" y="19"/>
                  </a:lnTo>
                  <a:lnTo>
                    <a:pt x="3" y="24"/>
                  </a:lnTo>
                  <a:lnTo>
                    <a:pt x="3" y="26"/>
                  </a:lnTo>
                  <a:lnTo>
                    <a:pt x="0" y="29"/>
                  </a:lnTo>
                  <a:lnTo>
                    <a:pt x="0" y="33"/>
                  </a:lnTo>
                  <a:lnTo>
                    <a:pt x="3" y="36"/>
                  </a:lnTo>
                  <a:lnTo>
                    <a:pt x="3" y="36"/>
                  </a:lnTo>
                  <a:lnTo>
                    <a:pt x="3" y="33"/>
                  </a:lnTo>
                  <a:lnTo>
                    <a:pt x="3" y="26"/>
                  </a:lnTo>
                  <a:lnTo>
                    <a:pt x="5" y="24"/>
                  </a:lnTo>
                  <a:lnTo>
                    <a:pt x="5" y="22"/>
                  </a:lnTo>
                  <a:lnTo>
                    <a:pt x="5" y="17"/>
                  </a:lnTo>
                  <a:lnTo>
                    <a:pt x="7" y="15"/>
                  </a:lnTo>
                  <a:lnTo>
                    <a:pt x="5" y="12"/>
                  </a:lnTo>
                  <a:lnTo>
                    <a:pt x="5" y="10"/>
                  </a:lnTo>
                  <a:lnTo>
                    <a:pt x="7" y="7"/>
                  </a:lnTo>
                  <a:lnTo>
                    <a:pt x="7" y="0"/>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6" name="Freeform 132">
              <a:extLst>
                <a:ext uri="{FF2B5EF4-FFF2-40B4-BE49-F238E27FC236}">
                  <a16:creationId xmlns:a16="http://schemas.microsoft.com/office/drawing/2014/main" id="{AF72BAF0-102A-406F-B4FB-73049AC1308D}"/>
                </a:ext>
              </a:extLst>
            </p:cNvPr>
            <p:cNvSpPr>
              <a:spLocks/>
            </p:cNvSpPr>
            <p:nvPr/>
          </p:nvSpPr>
          <p:spPr bwMode="auto">
            <a:xfrm>
              <a:off x="6581610" y="4440487"/>
              <a:ext cx="8273" cy="14889"/>
            </a:xfrm>
            <a:custGeom>
              <a:avLst/>
              <a:gdLst>
                <a:gd name="T0" fmla="*/ 3 w 5"/>
                <a:gd name="T1" fmla="*/ 2 h 9"/>
                <a:gd name="T2" fmla="*/ 3 w 5"/>
                <a:gd name="T3" fmla="*/ 0 h 9"/>
                <a:gd name="T4" fmla="*/ 0 w 5"/>
                <a:gd name="T5" fmla="*/ 2 h 9"/>
                <a:gd name="T6" fmla="*/ 0 w 5"/>
                <a:gd name="T7" fmla="*/ 5 h 9"/>
                <a:gd name="T8" fmla="*/ 3 w 5"/>
                <a:gd name="T9" fmla="*/ 9 h 9"/>
                <a:gd name="T10" fmla="*/ 3 w 5"/>
                <a:gd name="T11" fmla="*/ 7 h 9"/>
                <a:gd name="T12" fmla="*/ 5 w 5"/>
                <a:gd name="T13" fmla="*/ 2 h 9"/>
                <a:gd name="T14" fmla="*/ 3 w 5"/>
                <a:gd name="T15" fmla="*/ 0 h 9"/>
                <a:gd name="T16" fmla="*/ 3 w 5"/>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2"/>
                  </a:moveTo>
                  <a:lnTo>
                    <a:pt x="3" y="0"/>
                  </a:lnTo>
                  <a:lnTo>
                    <a:pt x="0" y="2"/>
                  </a:lnTo>
                  <a:lnTo>
                    <a:pt x="0" y="5"/>
                  </a:lnTo>
                  <a:lnTo>
                    <a:pt x="3" y="9"/>
                  </a:lnTo>
                  <a:lnTo>
                    <a:pt x="3" y="7"/>
                  </a:lnTo>
                  <a:lnTo>
                    <a:pt x="5" y="2"/>
                  </a:lnTo>
                  <a:lnTo>
                    <a:pt x="3" y="0"/>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7" name="Freeform 133">
              <a:extLst>
                <a:ext uri="{FF2B5EF4-FFF2-40B4-BE49-F238E27FC236}">
                  <a16:creationId xmlns:a16="http://schemas.microsoft.com/office/drawing/2014/main" id="{B7832D9D-57A0-4A7C-9D79-92B389763201}"/>
                </a:ext>
              </a:extLst>
            </p:cNvPr>
            <p:cNvSpPr>
              <a:spLocks/>
            </p:cNvSpPr>
            <p:nvPr/>
          </p:nvSpPr>
          <p:spPr bwMode="auto">
            <a:xfrm>
              <a:off x="6581610" y="4440487"/>
              <a:ext cx="8273" cy="14889"/>
            </a:xfrm>
            <a:custGeom>
              <a:avLst/>
              <a:gdLst>
                <a:gd name="T0" fmla="*/ 3 w 5"/>
                <a:gd name="T1" fmla="*/ 2 h 9"/>
                <a:gd name="T2" fmla="*/ 3 w 5"/>
                <a:gd name="T3" fmla="*/ 0 h 9"/>
                <a:gd name="T4" fmla="*/ 0 w 5"/>
                <a:gd name="T5" fmla="*/ 2 h 9"/>
                <a:gd name="T6" fmla="*/ 0 w 5"/>
                <a:gd name="T7" fmla="*/ 5 h 9"/>
                <a:gd name="T8" fmla="*/ 3 w 5"/>
                <a:gd name="T9" fmla="*/ 9 h 9"/>
                <a:gd name="T10" fmla="*/ 3 w 5"/>
                <a:gd name="T11" fmla="*/ 7 h 9"/>
                <a:gd name="T12" fmla="*/ 5 w 5"/>
                <a:gd name="T13" fmla="*/ 2 h 9"/>
                <a:gd name="T14" fmla="*/ 3 w 5"/>
                <a:gd name="T15" fmla="*/ 0 h 9"/>
                <a:gd name="T16" fmla="*/ 3 w 5"/>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2"/>
                  </a:moveTo>
                  <a:lnTo>
                    <a:pt x="3" y="0"/>
                  </a:lnTo>
                  <a:lnTo>
                    <a:pt x="0" y="2"/>
                  </a:lnTo>
                  <a:lnTo>
                    <a:pt x="0" y="5"/>
                  </a:lnTo>
                  <a:lnTo>
                    <a:pt x="3" y="9"/>
                  </a:lnTo>
                  <a:lnTo>
                    <a:pt x="3" y="7"/>
                  </a:lnTo>
                  <a:lnTo>
                    <a:pt x="5" y="2"/>
                  </a:lnTo>
                  <a:lnTo>
                    <a:pt x="3" y="0"/>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8" name="Freeform 134">
              <a:extLst>
                <a:ext uri="{FF2B5EF4-FFF2-40B4-BE49-F238E27FC236}">
                  <a16:creationId xmlns:a16="http://schemas.microsoft.com/office/drawing/2014/main" id="{178275A6-E59D-4753-85B6-3EB0208AB4A8}"/>
                </a:ext>
              </a:extLst>
            </p:cNvPr>
            <p:cNvSpPr>
              <a:spLocks/>
            </p:cNvSpPr>
            <p:nvPr/>
          </p:nvSpPr>
          <p:spPr bwMode="auto">
            <a:xfrm>
              <a:off x="6879407" y="4351148"/>
              <a:ext cx="3309" cy="11581"/>
            </a:xfrm>
            <a:custGeom>
              <a:avLst/>
              <a:gdLst>
                <a:gd name="T0" fmla="*/ 0 w 2"/>
                <a:gd name="T1" fmla="*/ 0 h 7"/>
                <a:gd name="T2" fmla="*/ 2 w 2"/>
                <a:gd name="T3" fmla="*/ 2 h 7"/>
                <a:gd name="T4" fmla="*/ 2 w 2"/>
                <a:gd name="T5" fmla="*/ 4 h 7"/>
                <a:gd name="T6" fmla="*/ 2 w 2"/>
                <a:gd name="T7" fmla="*/ 7 h 7"/>
                <a:gd name="T8" fmla="*/ 0 w 2"/>
                <a:gd name="T9" fmla="*/ 4 h 7"/>
                <a:gd name="T10" fmla="*/ 0 w 2"/>
                <a:gd name="T11" fmla="*/ 2 h 7"/>
                <a:gd name="T12" fmla="*/ 0 w 2"/>
                <a:gd name="T13" fmla="*/ 2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2" y="2"/>
                  </a:lnTo>
                  <a:lnTo>
                    <a:pt x="2" y="4"/>
                  </a:lnTo>
                  <a:lnTo>
                    <a:pt x="2" y="7"/>
                  </a:lnTo>
                  <a:lnTo>
                    <a:pt x="0" y="4"/>
                  </a:lnTo>
                  <a:lnTo>
                    <a:pt x="0" y="2"/>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49" name="Freeform 135">
              <a:extLst>
                <a:ext uri="{FF2B5EF4-FFF2-40B4-BE49-F238E27FC236}">
                  <a16:creationId xmlns:a16="http://schemas.microsoft.com/office/drawing/2014/main" id="{7F63F4B5-CF12-411F-8F03-7F2CC098E5E0}"/>
                </a:ext>
              </a:extLst>
            </p:cNvPr>
            <p:cNvSpPr>
              <a:spLocks/>
            </p:cNvSpPr>
            <p:nvPr/>
          </p:nvSpPr>
          <p:spPr bwMode="auto">
            <a:xfrm>
              <a:off x="6879407" y="4351148"/>
              <a:ext cx="3309" cy="11581"/>
            </a:xfrm>
            <a:custGeom>
              <a:avLst/>
              <a:gdLst>
                <a:gd name="T0" fmla="*/ 0 w 2"/>
                <a:gd name="T1" fmla="*/ 0 h 7"/>
                <a:gd name="T2" fmla="*/ 2 w 2"/>
                <a:gd name="T3" fmla="*/ 2 h 7"/>
                <a:gd name="T4" fmla="*/ 2 w 2"/>
                <a:gd name="T5" fmla="*/ 4 h 7"/>
                <a:gd name="T6" fmla="*/ 2 w 2"/>
                <a:gd name="T7" fmla="*/ 7 h 7"/>
                <a:gd name="T8" fmla="*/ 0 w 2"/>
                <a:gd name="T9" fmla="*/ 4 h 7"/>
                <a:gd name="T10" fmla="*/ 0 w 2"/>
                <a:gd name="T11" fmla="*/ 2 h 7"/>
                <a:gd name="T12" fmla="*/ 0 w 2"/>
                <a:gd name="T13" fmla="*/ 2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2" y="2"/>
                  </a:lnTo>
                  <a:lnTo>
                    <a:pt x="2" y="4"/>
                  </a:lnTo>
                  <a:lnTo>
                    <a:pt x="2" y="7"/>
                  </a:lnTo>
                  <a:lnTo>
                    <a:pt x="0" y="4"/>
                  </a:lnTo>
                  <a:lnTo>
                    <a:pt x="0" y="2"/>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0" name="Freeform 136">
              <a:extLst>
                <a:ext uri="{FF2B5EF4-FFF2-40B4-BE49-F238E27FC236}">
                  <a16:creationId xmlns:a16="http://schemas.microsoft.com/office/drawing/2014/main" id="{B62BCFFC-C734-4D95-99B3-5A9994F811C2}"/>
                </a:ext>
              </a:extLst>
            </p:cNvPr>
            <p:cNvSpPr>
              <a:spLocks/>
            </p:cNvSpPr>
            <p:nvPr/>
          </p:nvSpPr>
          <p:spPr bwMode="auto">
            <a:xfrm>
              <a:off x="7605703" y="3604999"/>
              <a:ext cx="4964" cy="6618"/>
            </a:xfrm>
            <a:custGeom>
              <a:avLst/>
              <a:gdLst>
                <a:gd name="T0" fmla="*/ 3 w 3"/>
                <a:gd name="T1" fmla="*/ 0 h 4"/>
                <a:gd name="T2" fmla="*/ 0 w 3"/>
                <a:gd name="T3" fmla="*/ 2 h 4"/>
                <a:gd name="T4" fmla="*/ 0 w 3"/>
                <a:gd name="T5" fmla="*/ 4 h 4"/>
                <a:gd name="T6" fmla="*/ 3 w 3"/>
                <a:gd name="T7" fmla="*/ 2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2"/>
                  </a:lnTo>
                  <a:lnTo>
                    <a:pt x="0" y="4"/>
                  </a:lnTo>
                  <a:lnTo>
                    <a:pt x="3" y="2"/>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1" name="Freeform 137">
              <a:extLst>
                <a:ext uri="{FF2B5EF4-FFF2-40B4-BE49-F238E27FC236}">
                  <a16:creationId xmlns:a16="http://schemas.microsoft.com/office/drawing/2014/main" id="{11363FB0-624B-4E95-AF14-2691579F9838}"/>
                </a:ext>
              </a:extLst>
            </p:cNvPr>
            <p:cNvSpPr>
              <a:spLocks/>
            </p:cNvSpPr>
            <p:nvPr/>
          </p:nvSpPr>
          <p:spPr bwMode="auto">
            <a:xfrm>
              <a:off x="7605703" y="3604999"/>
              <a:ext cx="4964" cy="6618"/>
            </a:xfrm>
            <a:custGeom>
              <a:avLst/>
              <a:gdLst>
                <a:gd name="T0" fmla="*/ 3 w 3"/>
                <a:gd name="T1" fmla="*/ 0 h 4"/>
                <a:gd name="T2" fmla="*/ 0 w 3"/>
                <a:gd name="T3" fmla="*/ 2 h 4"/>
                <a:gd name="T4" fmla="*/ 0 w 3"/>
                <a:gd name="T5" fmla="*/ 4 h 4"/>
                <a:gd name="T6" fmla="*/ 3 w 3"/>
                <a:gd name="T7" fmla="*/ 2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2"/>
                  </a:lnTo>
                  <a:lnTo>
                    <a:pt x="0" y="4"/>
                  </a:lnTo>
                  <a:lnTo>
                    <a:pt x="3" y="2"/>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2" name="Freeform 138">
              <a:extLst>
                <a:ext uri="{FF2B5EF4-FFF2-40B4-BE49-F238E27FC236}">
                  <a16:creationId xmlns:a16="http://schemas.microsoft.com/office/drawing/2014/main" id="{C6B2FBAE-3C3F-4AA3-9B6D-717AA354B54D}"/>
                </a:ext>
              </a:extLst>
            </p:cNvPr>
            <p:cNvSpPr>
              <a:spLocks/>
            </p:cNvSpPr>
            <p:nvPr/>
          </p:nvSpPr>
          <p:spPr bwMode="auto">
            <a:xfrm>
              <a:off x="7613975" y="3591763"/>
              <a:ext cx="0" cy="13236"/>
            </a:xfrm>
            <a:custGeom>
              <a:avLst/>
              <a:gdLst>
                <a:gd name="T0" fmla="*/ 0 h 8"/>
                <a:gd name="T1" fmla="*/ 3 h 8"/>
                <a:gd name="T2" fmla="*/ 5 h 8"/>
                <a:gd name="T3" fmla="*/ 8 h 8"/>
                <a:gd name="T4" fmla="*/ 5 h 8"/>
                <a:gd name="T5" fmla="*/ 3 h 8"/>
                <a:gd name="T6" fmla="*/ 0 h 8"/>
              </a:gdLst>
              <a:ahLst/>
              <a:cxnLst>
                <a:cxn ang="0">
                  <a:pos x="0" y="T0"/>
                </a:cxn>
                <a:cxn ang="0">
                  <a:pos x="0" y="T1"/>
                </a:cxn>
                <a:cxn ang="0">
                  <a:pos x="0" y="T2"/>
                </a:cxn>
                <a:cxn ang="0">
                  <a:pos x="0" y="T3"/>
                </a:cxn>
                <a:cxn ang="0">
                  <a:pos x="0" y="T4"/>
                </a:cxn>
                <a:cxn ang="0">
                  <a:pos x="0" y="T5"/>
                </a:cxn>
                <a:cxn ang="0">
                  <a:pos x="0" y="T6"/>
                </a:cxn>
              </a:cxnLst>
              <a:rect l="0" t="0" r="r" b="b"/>
              <a:pathLst>
                <a:path h="8">
                  <a:moveTo>
                    <a:pt x="0" y="0"/>
                  </a:moveTo>
                  <a:lnTo>
                    <a:pt x="0" y="3"/>
                  </a:lnTo>
                  <a:lnTo>
                    <a:pt x="0" y="5"/>
                  </a:lnTo>
                  <a:lnTo>
                    <a:pt x="0" y="8"/>
                  </a:lnTo>
                  <a:lnTo>
                    <a:pt x="0" y="5"/>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3" name="Freeform 139">
              <a:extLst>
                <a:ext uri="{FF2B5EF4-FFF2-40B4-BE49-F238E27FC236}">
                  <a16:creationId xmlns:a16="http://schemas.microsoft.com/office/drawing/2014/main" id="{A87AA441-E10E-42CA-90D0-7B50F01590D5}"/>
                </a:ext>
              </a:extLst>
            </p:cNvPr>
            <p:cNvSpPr>
              <a:spLocks/>
            </p:cNvSpPr>
            <p:nvPr/>
          </p:nvSpPr>
          <p:spPr bwMode="auto">
            <a:xfrm>
              <a:off x="7613975" y="3591763"/>
              <a:ext cx="0" cy="13236"/>
            </a:xfrm>
            <a:custGeom>
              <a:avLst/>
              <a:gdLst>
                <a:gd name="T0" fmla="*/ 0 h 8"/>
                <a:gd name="T1" fmla="*/ 3 h 8"/>
                <a:gd name="T2" fmla="*/ 5 h 8"/>
                <a:gd name="T3" fmla="*/ 8 h 8"/>
                <a:gd name="T4" fmla="*/ 5 h 8"/>
                <a:gd name="T5" fmla="*/ 3 h 8"/>
                <a:gd name="T6" fmla="*/ 0 h 8"/>
              </a:gdLst>
              <a:ahLst/>
              <a:cxnLst>
                <a:cxn ang="0">
                  <a:pos x="0" y="T0"/>
                </a:cxn>
                <a:cxn ang="0">
                  <a:pos x="0" y="T1"/>
                </a:cxn>
                <a:cxn ang="0">
                  <a:pos x="0" y="T2"/>
                </a:cxn>
                <a:cxn ang="0">
                  <a:pos x="0" y="T3"/>
                </a:cxn>
                <a:cxn ang="0">
                  <a:pos x="0" y="T4"/>
                </a:cxn>
                <a:cxn ang="0">
                  <a:pos x="0" y="T5"/>
                </a:cxn>
                <a:cxn ang="0">
                  <a:pos x="0" y="T6"/>
                </a:cxn>
              </a:cxnLst>
              <a:rect l="0" t="0" r="r" b="b"/>
              <a:pathLst>
                <a:path h="8">
                  <a:moveTo>
                    <a:pt x="0" y="0"/>
                  </a:moveTo>
                  <a:lnTo>
                    <a:pt x="0" y="3"/>
                  </a:lnTo>
                  <a:lnTo>
                    <a:pt x="0" y="5"/>
                  </a:lnTo>
                  <a:lnTo>
                    <a:pt x="0" y="8"/>
                  </a:lnTo>
                  <a:lnTo>
                    <a:pt x="0" y="5"/>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4" name="Freeform 140">
              <a:extLst>
                <a:ext uri="{FF2B5EF4-FFF2-40B4-BE49-F238E27FC236}">
                  <a16:creationId xmlns:a16="http://schemas.microsoft.com/office/drawing/2014/main" id="{0656AC5F-9F85-4D90-82EA-E34DCD6D107E}"/>
                </a:ext>
              </a:extLst>
            </p:cNvPr>
            <p:cNvSpPr>
              <a:spLocks/>
            </p:cNvSpPr>
            <p:nvPr/>
          </p:nvSpPr>
          <p:spPr bwMode="auto">
            <a:xfrm>
              <a:off x="7652027" y="3490843"/>
              <a:ext cx="4964" cy="0"/>
            </a:xfrm>
            <a:custGeom>
              <a:avLst/>
              <a:gdLst>
                <a:gd name="T0" fmla="*/ 3 w 3"/>
                <a:gd name="T1" fmla="*/ 0 w 3"/>
                <a:gd name="T2" fmla="*/ 0 w 3"/>
                <a:gd name="T3" fmla="*/ 3 w 3"/>
                <a:gd name="T4" fmla="*/ 3 w 3"/>
                <a:gd name="T5" fmla="*/ 3 w 3"/>
              </a:gdLst>
              <a:ahLst/>
              <a:cxnLst>
                <a:cxn ang="0">
                  <a:pos x="T0" y="0"/>
                </a:cxn>
                <a:cxn ang="0">
                  <a:pos x="T1" y="0"/>
                </a:cxn>
                <a:cxn ang="0">
                  <a:pos x="T2" y="0"/>
                </a:cxn>
                <a:cxn ang="0">
                  <a:pos x="T3" y="0"/>
                </a:cxn>
                <a:cxn ang="0">
                  <a:pos x="T4" y="0"/>
                </a:cxn>
                <a:cxn ang="0">
                  <a:pos x="T5" y="0"/>
                </a:cxn>
              </a:cxnLst>
              <a:rect l="0" t="0" r="r" b="b"/>
              <a:pathLst>
                <a:path w="3">
                  <a:moveTo>
                    <a:pt x="3" y="0"/>
                  </a:moveTo>
                  <a:lnTo>
                    <a:pt x="0" y="0"/>
                  </a:lnTo>
                  <a:lnTo>
                    <a:pt x="0" y="0"/>
                  </a:lnTo>
                  <a:lnTo>
                    <a:pt x="3" y="0"/>
                  </a:lnTo>
                  <a:lnTo>
                    <a:pt x="3"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5" name="Freeform 141">
              <a:extLst>
                <a:ext uri="{FF2B5EF4-FFF2-40B4-BE49-F238E27FC236}">
                  <a16:creationId xmlns:a16="http://schemas.microsoft.com/office/drawing/2014/main" id="{C036F38D-B33F-4F25-9007-4A74BE05A966}"/>
                </a:ext>
              </a:extLst>
            </p:cNvPr>
            <p:cNvSpPr>
              <a:spLocks/>
            </p:cNvSpPr>
            <p:nvPr/>
          </p:nvSpPr>
          <p:spPr bwMode="auto">
            <a:xfrm>
              <a:off x="7652027" y="3490843"/>
              <a:ext cx="4964" cy="0"/>
            </a:xfrm>
            <a:custGeom>
              <a:avLst/>
              <a:gdLst>
                <a:gd name="T0" fmla="*/ 3 w 3"/>
                <a:gd name="T1" fmla="*/ 0 w 3"/>
                <a:gd name="T2" fmla="*/ 0 w 3"/>
                <a:gd name="T3" fmla="*/ 3 w 3"/>
                <a:gd name="T4" fmla="*/ 3 w 3"/>
                <a:gd name="T5" fmla="*/ 3 w 3"/>
              </a:gdLst>
              <a:ahLst/>
              <a:cxnLst>
                <a:cxn ang="0">
                  <a:pos x="T0" y="0"/>
                </a:cxn>
                <a:cxn ang="0">
                  <a:pos x="T1" y="0"/>
                </a:cxn>
                <a:cxn ang="0">
                  <a:pos x="T2" y="0"/>
                </a:cxn>
                <a:cxn ang="0">
                  <a:pos x="T3" y="0"/>
                </a:cxn>
                <a:cxn ang="0">
                  <a:pos x="T4" y="0"/>
                </a:cxn>
                <a:cxn ang="0">
                  <a:pos x="T5" y="0"/>
                </a:cxn>
              </a:cxnLst>
              <a:rect l="0" t="0" r="r" b="b"/>
              <a:pathLst>
                <a:path w="3">
                  <a:moveTo>
                    <a:pt x="3" y="0"/>
                  </a:moveTo>
                  <a:lnTo>
                    <a:pt x="0" y="0"/>
                  </a:lnTo>
                  <a:lnTo>
                    <a:pt x="0" y="0"/>
                  </a:lnTo>
                  <a:lnTo>
                    <a:pt x="3" y="0"/>
                  </a:lnTo>
                  <a:lnTo>
                    <a:pt x="3"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6" name="Freeform 142">
              <a:extLst>
                <a:ext uri="{FF2B5EF4-FFF2-40B4-BE49-F238E27FC236}">
                  <a16:creationId xmlns:a16="http://schemas.microsoft.com/office/drawing/2014/main" id="{228F72B8-F753-423D-9F45-7F9E6144BBC1}"/>
                </a:ext>
              </a:extLst>
            </p:cNvPr>
            <p:cNvSpPr>
              <a:spLocks/>
            </p:cNvSpPr>
            <p:nvPr/>
          </p:nvSpPr>
          <p:spPr bwMode="auto">
            <a:xfrm>
              <a:off x="7519672" y="3631469"/>
              <a:ext cx="23161" cy="11581"/>
            </a:xfrm>
            <a:custGeom>
              <a:avLst/>
              <a:gdLst>
                <a:gd name="T0" fmla="*/ 3 w 14"/>
                <a:gd name="T1" fmla="*/ 2 h 7"/>
                <a:gd name="T2" fmla="*/ 0 w 14"/>
                <a:gd name="T3" fmla="*/ 5 h 7"/>
                <a:gd name="T4" fmla="*/ 0 w 14"/>
                <a:gd name="T5" fmla="*/ 7 h 7"/>
                <a:gd name="T6" fmla="*/ 5 w 14"/>
                <a:gd name="T7" fmla="*/ 7 h 7"/>
                <a:gd name="T8" fmla="*/ 10 w 14"/>
                <a:gd name="T9" fmla="*/ 7 h 7"/>
                <a:gd name="T10" fmla="*/ 14 w 14"/>
                <a:gd name="T11" fmla="*/ 2 h 7"/>
                <a:gd name="T12" fmla="*/ 12 w 14"/>
                <a:gd name="T13" fmla="*/ 0 h 7"/>
                <a:gd name="T14" fmla="*/ 7 w 14"/>
                <a:gd name="T15" fmla="*/ 0 h 7"/>
                <a:gd name="T16" fmla="*/ 3 w 14"/>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3" y="2"/>
                  </a:moveTo>
                  <a:lnTo>
                    <a:pt x="0" y="5"/>
                  </a:lnTo>
                  <a:lnTo>
                    <a:pt x="0" y="7"/>
                  </a:lnTo>
                  <a:lnTo>
                    <a:pt x="5" y="7"/>
                  </a:lnTo>
                  <a:lnTo>
                    <a:pt x="10" y="7"/>
                  </a:lnTo>
                  <a:lnTo>
                    <a:pt x="14" y="2"/>
                  </a:lnTo>
                  <a:lnTo>
                    <a:pt x="12" y="0"/>
                  </a:lnTo>
                  <a:lnTo>
                    <a:pt x="7" y="0"/>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7" name="Freeform 143">
              <a:extLst>
                <a:ext uri="{FF2B5EF4-FFF2-40B4-BE49-F238E27FC236}">
                  <a16:creationId xmlns:a16="http://schemas.microsoft.com/office/drawing/2014/main" id="{684AF82D-8BF2-4DA2-8289-FD9B46635AA4}"/>
                </a:ext>
              </a:extLst>
            </p:cNvPr>
            <p:cNvSpPr>
              <a:spLocks/>
            </p:cNvSpPr>
            <p:nvPr/>
          </p:nvSpPr>
          <p:spPr bwMode="auto">
            <a:xfrm>
              <a:off x="7519672" y="3631469"/>
              <a:ext cx="23161" cy="11581"/>
            </a:xfrm>
            <a:custGeom>
              <a:avLst/>
              <a:gdLst>
                <a:gd name="T0" fmla="*/ 3 w 14"/>
                <a:gd name="T1" fmla="*/ 2 h 7"/>
                <a:gd name="T2" fmla="*/ 0 w 14"/>
                <a:gd name="T3" fmla="*/ 5 h 7"/>
                <a:gd name="T4" fmla="*/ 0 w 14"/>
                <a:gd name="T5" fmla="*/ 7 h 7"/>
                <a:gd name="T6" fmla="*/ 5 w 14"/>
                <a:gd name="T7" fmla="*/ 7 h 7"/>
                <a:gd name="T8" fmla="*/ 10 w 14"/>
                <a:gd name="T9" fmla="*/ 7 h 7"/>
                <a:gd name="T10" fmla="*/ 14 w 14"/>
                <a:gd name="T11" fmla="*/ 2 h 7"/>
                <a:gd name="T12" fmla="*/ 12 w 14"/>
                <a:gd name="T13" fmla="*/ 0 h 7"/>
                <a:gd name="T14" fmla="*/ 7 w 14"/>
                <a:gd name="T15" fmla="*/ 0 h 7"/>
                <a:gd name="T16" fmla="*/ 3 w 14"/>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3" y="2"/>
                  </a:moveTo>
                  <a:lnTo>
                    <a:pt x="0" y="5"/>
                  </a:lnTo>
                  <a:lnTo>
                    <a:pt x="0" y="7"/>
                  </a:lnTo>
                  <a:lnTo>
                    <a:pt x="5" y="7"/>
                  </a:lnTo>
                  <a:lnTo>
                    <a:pt x="10" y="7"/>
                  </a:lnTo>
                  <a:lnTo>
                    <a:pt x="14" y="2"/>
                  </a:lnTo>
                  <a:lnTo>
                    <a:pt x="12" y="0"/>
                  </a:lnTo>
                  <a:lnTo>
                    <a:pt x="7" y="0"/>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8" name="Freeform 227">
              <a:extLst>
                <a:ext uri="{FF2B5EF4-FFF2-40B4-BE49-F238E27FC236}">
                  <a16:creationId xmlns:a16="http://schemas.microsoft.com/office/drawing/2014/main" id="{C4017687-706C-4888-A441-F1560BAFBC7B}"/>
                </a:ext>
              </a:extLst>
            </p:cNvPr>
            <p:cNvSpPr>
              <a:spLocks/>
            </p:cNvSpPr>
            <p:nvPr/>
          </p:nvSpPr>
          <p:spPr bwMode="auto">
            <a:xfrm>
              <a:off x="6828120" y="3967320"/>
              <a:ext cx="206805" cy="438425"/>
            </a:xfrm>
            <a:custGeom>
              <a:avLst/>
              <a:gdLst>
                <a:gd name="T0" fmla="*/ 73 w 125"/>
                <a:gd name="T1" fmla="*/ 241 h 265"/>
                <a:gd name="T2" fmla="*/ 78 w 125"/>
                <a:gd name="T3" fmla="*/ 239 h 265"/>
                <a:gd name="T4" fmla="*/ 85 w 125"/>
                <a:gd name="T5" fmla="*/ 232 h 265"/>
                <a:gd name="T6" fmla="*/ 102 w 125"/>
                <a:gd name="T7" fmla="*/ 227 h 265"/>
                <a:gd name="T8" fmla="*/ 118 w 125"/>
                <a:gd name="T9" fmla="*/ 217 h 265"/>
                <a:gd name="T10" fmla="*/ 123 w 125"/>
                <a:gd name="T11" fmla="*/ 208 h 265"/>
                <a:gd name="T12" fmla="*/ 123 w 125"/>
                <a:gd name="T13" fmla="*/ 206 h 265"/>
                <a:gd name="T14" fmla="*/ 123 w 125"/>
                <a:gd name="T15" fmla="*/ 194 h 265"/>
                <a:gd name="T16" fmla="*/ 125 w 125"/>
                <a:gd name="T17" fmla="*/ 189 h 265"/>
                <a:gd name="T18" fmla="*/ 123 w 125"/>
                <a:gd name="T19" fmla="*/ 177 h 265"/>
                <a:gd name="T20" fmla="*/ 121 w 125"/>
                <a:gd name="T21" fmla="*/ 161 h 265"/>
                <a:gd name="T22" fmla="*/ 106 w 125"/>
                <a:gd name="T23" fmla="*/ 130 h 265"/>
                <a:gd name="T24" fmla="*/ 102 w 125"/>
                <a:gd name="T25" fmla="*/ 128 h 265"/>
                <a:gd name="T26" fmla="*/ 87 w 125"/>
                <a:gd name="T27" fmla="*/ 118 h 265"/>
                <a:gd name="T28" fmla="*/ 80 w 125"/>
                <a:gd name="T29" fmla="*/ 109 h 265"/>
                <a:gd name="T30" fmla="*/ 71 w 125"/>
                <a:gd name="T31" fmla="*/ 95 h 265"/>
                <a:gd name="T32" fmla="*/ 61 w 125"/>
                <a:gd name="T33" fmla="*/ 78 h 265"/>
                <a:gd name="T34" fmla="*/ 76 w 125"/>
                <a:gd name="T35" fmla="*/ 55 h 265"/>
                <a:gd name="T36" fmla="*/ 80 w 125"/>
                <a:gd name="T37" fmla="*/ 45 h 265"/>
                <a:gd name="T38" fmla="*/ 97 w 125"/>
                <a:gd name="T39" fmla="*/ 33 h 265"/>
                <a:gd name="T40" fmla="*/ 97 w 125"/>
                <a:gd name="T41" fmla="*/ 31 h 265"/>
                <a:gd name="T42" fmla="*/ 80 w 125"/>
                <a:gd name="T43" fmla="*/ 26 h 265"/>
                <a:gd name="T44" fmla="*/ 76 w 125"/>
                <a:gd name="T45" fmla="*/ 10 h 265"/>
                <a:gd name="T46" fmla="*/ 57 w 125"/>
                <a:gd name="T47" fmla="*/ 3 h 265"/>
                <a:gd name="T48" fmla="*/ 45 w 125"/>
                <a:gd name="T49" fmla="*/ 7 h 265"/>
                <a:gd name="T50" fmla="*/ 31 w 125"/>
                <a:gd name="T51" fmla="*/ 12 h 265"/>
                <a:gd name="T52" fmla="*/ 21 w 125"/>
                <a:gd name="T53" fmla="*/ 10 h 265"/>
                <a:gd name="T54" fmla="*/ 9 w 125"/>
                <a:gd name="T55" fmla="*/ 12 h 265"/>
                <a:gd name="T56" fmla="*/ 2 w 125"/>
                <a:gd name="T57" fmla="*/ 12 h 265"/>
                <a:gd name="T58" fmla="*/ 2 w 125"/>
                <a:gd name="T59" fmla="*/ 19 h 265"/>
                <a:gd name="T60" fmla="*/ 12 w 125"/>
                <a:gd name="T61" fmla="*/ 36 h 265"/>
                <a:gd name="T62" fmla="*/ 31 w 125"/>
                <a:gd name="T63" fmla="*/ 43 h 265"/>
                <a:gd name="T64" fmla="*/ 40 w 125"/>
                <a:gd name="T65" fmla="*/ 52 h 265"/>
                <a:gd name="T66" fmla="*/ 45 w 125"/>
                <a:gd name="T67" fmla="*/ 62 h 265"/>
                <a:gd name="T68" fmla="*/ 33 w 125"/>
                <a:gd name="T69" fmla="*/ 66 h 265"/>
                <a:gd name="T70" fmla="*/ 33 w 125"/>
                <a:gd name="T71" fmla="*/ 73 h 265"/>
                <a:gd name="T72" fmla="*/ 52 w 125"/>
                <a:gd name="T73" fmla="*/ 90 h 265"/>
                <a:gd name="T74" fmla="*/ 66 w 125"/>
                <a:gd name="T75" fmla="*/ 106 h 265"/>
                <a:gd name="T76" fmla="*/ 76 w 125"/>
                <a:gd name="T77" fmla="*/ 118 h 265"/>
                <a:gd name="T78" fmla="*/ 83 w 125"/>
                <a:gd name="T79" fmla="*/ 125 h 265"/>
                <a:gd name="T80" fmla="*/ 92 w 125"/>
                <a:gd name="T81" fmla="*/ 147 h 265"/>
                <a:gd name="T82" fmla="*/ 95 w 125"/>
                <a:gd name="T83" fmla="*/ 177 h 265"/>
                <a:gd name="T84" fmla="*/ 87 w 125"/>
                <a:gd name="T85" fmla="*/ 199 h 265"/>
                <a:gd name="T86" fmla="*/ 73 w 125"/>
                <a:gd name="T87" fmla="*/ 206 h 265"/>
                <a:gd name="T88" fmla="*/ 64 w 125"/>
                <a:gd name="T89" fmla="*/ 215 h 265"/>
                <a:gd name="T90" fmla="*/ 61 w 125"/>
                <a:gd name="T91" fmla="*/ 222 h 265"/>
                <a:gd name="T92" fmla="*/ 50 w 125"/>
                <a:gd name="T93" fmla="*/ 225 h 265"/>
                <a:gd name="T94" fmla="*/ 40 w 125"/>
                <a:gd name="T95" fmla="*/ 232 h 265"/>
                <a:gd name="T96" fmla="*/ 50 w 125"/>
                <a:gd name="T97" fmla="*/ 239 h 265"/>
                <a:gd name="T98" fmla="*/ 45 w 125"/>
                <a:gd name="T99" fmla="*/ 253 h 265"/>
                <a:gd name="T100" fmla="*/ 47 w 125"/>
                <a:gd name="T101" fmla="*/ 265 h 265"/>
                <a:gd name="T102" fmla="*/ 61 w 125"/>
                <a:gd name="T103" fmla="*/ 253 h 265"/>
                <a:gd name="T104" fmla="*/ 71 w 125"/>
                <a:gd name="T105" fmla="*/ 24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 h="265">
                  <a:moveTo>
                    <a:pt x="71" y="246"/>
                  </a:moveTo>
                  <a:lnTo>
                    <a:pt x="76" y="248"/>
                  </a:lnTo>
                  <a:lnTo>
                    <a:pt x="76" y="243"/>
                  </a:lnTo>
                  <a:lnTo>
                    <a:pt x="73" y="241"/>
                  </a:lnTo>
                  <a:lnTo>
                    <a:pt x="76" y="239"/>
                  </a:lnTo>
                  <a:lnTo>
                    <a:pt x="78" y="241"/>
                  </a:lnTo>
                  <a:lnTo>
                    <a:pt x="78" y="239"/>
                  </a:lnTo>
                  <a:lnTo>
                    <a:pt x="78" y="239"/>
                  </a:lnTo>
                  <a:lnTo>
                    <a:pt x="78" y="236"/>
                  </a:lnTo>
                  <a:lnTo>
                    <a:pt x="80" y="234"/>
                  </a:lnTo>
                  <a:lnTo>
                    <a:pt x="80" y="232"/>
                  </a:lnTo>
                  <a:lnTo>
                    <a:pt x="85" y="232"/>
                  </a:lnTo>
                  <a:lnTo>
                    <a:pt x="87" y="232"/>
                  </a:lnTo>
                  <a:lnTo>
                    <a:pt x="90" y="232"/>
                  </a:lnTo>
                  <a:lnTo>
                    <a:pt x="97" y="229"/>
                  </a:lnTo>
                  <a:lnTo>
                    <a:pt x="102" y="227"/>
                  </a:lnTo>
                  <a:lnTo>
                    <a:pt x="104" y="222"/>
                  </a:lnTo>
                  <a:lnTo>
                    <a:pt x="113" y="220"/>
                  </a:lnTo>
                  <a:lnTo>
                    <a:pt x="116" y="217"/>
                  </a:lnTo>
                  <a:lnTo>
                    <a:pt x="118" y="217"/>
                  </a:lnTo>
                  <a:lnTo>
                    <a:pt x="118" y="215"/>
                  </a:lnTo>
                  <a:lnTo>
                    <a:pt x="121" y="213"/>
                  </a:lnTo>
                  <a:lnTo>
                    <a:pt x="121" y="210"/>
                  </a:lnTo>
                  <a:lnTo>
                    <a:pt x="123" y="208"/>
                  </a:lnTo>
                  <a:lnTo>
                    <a:pt x="121" y="208"/>
                  </a:lnTo>
                  <a:lnTo>
                    <a:pt x="121" y="206"/>
                  </a:lnTo>
                  <a:lnTo>
                    <a:pt x="123" y="206"/>
                  </a:lnTo>
                  <a:lnTo>
                    <a:pt x="123" y="206"/>
                  </a:lnTo>
                  <a:lnTo>
                    <a:pt x="121" y="196"/>
                  </a:lnTo>
                  <a:lnTo>
                    <a:pt x="121" y="196"/>
                  </a:lnTo>
                  <a:lnTo>
                    <a:pt x="123" y="196"/>
                  </a:lnTo>
                  <a:lnTo>
                    <a:pt x="123" y="194"/>
                  </a:lnTo>
                  <a:lnTo>
                    <a:pt x="123" y="192"/>
                  </a:lnTo>
                  <a:lnTo>
                    <a:pt x="125" y="192"/>
                  </a:lnTo>
                  <a:lnTo>
                    <a:pt x="125" y="194"/>
                  </a:lnTo>
                  <a:lnTo>
                    <a:pt x="125" y="189"/>
                  </a:lnTo>
                  <a:lnTo>
                    <a:pt x="125" y="187"/>
                  </a:lnTo>
                  <a:lnTo>
                    <a:pt x="123" y="187"/>
                  </a:lnTo>
                  <a:lnTo>
                    <a:pt x="123" y="182"/>
                  </a:lnTo>
                  <a:lnTo>
                    <a:pt x="123" y="177"/>
                  </a:lnTo>
                  <a:lnTo>
                    <a:pt x="123" y="175"/>
                  </a:lnTo>
                  <a:lnTo>
                    <a:pt x="123" y="173"/>
                  </a:lnTo>
                  <a:lnTo>
                    <a:pt x="121" y="170"/>
                  </a:lnTo>
                  <a:lnTo>
                    <a:pt x="121" y="161"/>
                  </a:lnTo>
                  <a:lnTo>
                    <a:pt x="116" y="144"/>
                  </a:lnTo>
                  <a:lnTo>
                    <a:pt x="109" y="137"/>
                  </a:lnTo>
                  <a:lnTo>
                    <a:pt x="106" y="135"/>
                  </a:lnTo>
                  <a:lnTo>
                    <a:pt x="106" y="130"/>
                  </a:lnTo>
                  <a:lnTo>
                    <a:pt x="106" y="132"/>
                  </a:lnTo>
                  <a:lnTo>
                    <a:pt x="104" y="132"/>
                  </a:lnTo>
                  <a:lnTo>
                    <a:pt x="104" y="130"/>
                  </a:lnTo>
                  <a:lnTo>
                    <a:pt x="102" y="128"/>
                  </a:lnTo>
                  <a:lnTo>
                    <a:pt x="97" y="128"/>
                  </a:lnTo>
                  <a:lnTo>
                    <a:pt x="95" y="123"/>
                  </a:lnTo>
                  <a:lnTo>
                    <a:pt x="92" y="121"/>
                  </a:lnTo>
                  <a:lnTo>
                    <a:pt x="87" y="118"/>
                  </a:lnTo>
                  <a:lnTo>
                    <a:pt x="85" y="116"/>
                  </a:lnTo>
                  <a:lnTo>
                    <a:pt x="85" y="114"/>
                  </a:lnTo>
                  <a:lnTo>
                    <a:pt x="83" y="111"/>
                  </a:lnTo>
                  <a:lnTo>
                    <a:pt x="80" y="109"/>
                  </a:lnTo>
                  <a:lnTo>
                    <a:pt x="78" y="106"/>
                  </a:lnTo>
                  <a:lnTo>
                    <a:pt x="73" y="104"/>
                  </a:lnTo>
                  <a:lnTo>
                    <a:pt x="73" y="99"/>
                  </a:lnTo>
                  <a:lnTo>
                    <a:pt x="71" y="95"/>
                  </a:lnTo>
                  <a:lnTo>
                    <a:pt x="69" y="92"/>
                  </a:lnTo>
                  <a:lnTo>
                    <a:pt x="61" y="85"/>
                  </a:lnTo>
                  <a:lnTo>
                    <a:pt x="59" y="83"/>
                  </a:lnTo>
                  <a:lnTo>
                    <a:pt x="61" y="78"/>
                  </a:lnTo>
                  <a:lnTo>
                    <a:pt x="61" y="76"/>
                  </a:lnTo>
                  <a:lnTo>
                    <a:pt x="61" y="71"/>
                  </a:lnTo>
                  <a:lnTo>
                    <a:pt x="66" y="62"/>
                  </a:lnTo>
                  <a:lnTo>
                    <a:pt x="76" y="55"/>
                  </a:lnTo>
                  <a:lnTo>
                    <a:pt x="76" y="52"/>
                  </a:lnTo>
                  <a:lnTo>
                    <a:pt x="78" y="50"/>
                  </a:lnTo>
                  <a:lnTo>
                    <a:pt x="80" y="47"/>
                  </a:lnTo>
                  <a:lnTo>
                    <a:pt x="80" y="45"/>
                  </a:lnTo>
                  <a:lnTo>
                    <a:pt x="87" y="43"/>
                  </a:lnTo>
                  <a:lnTo>
                    <a:pt x="90" y="40"/>
                  </a:lnTo>
                  <a:lnTo>
                    <a:pt x="90" y="38"/>
                  </a:lnTo>
                  <a:lnTo>
                    <a:pt x="97" y="33"/>
                  </a:lnTo>
                  <a:lnTo>
                    <a:pt x="99" y="36"/>
                  </a:lnTo>
                  <a:lnTo>
                    <a:pt x="99" y="33"/>
                  </a:lnTo>
                  <a:lnTo>
                    <a:pt x="99" y="33"/>
                  </a:lnTo>
                  <a:lnTo>
                    <a:pt x="97" y="31"/>
                  </a:lnTo>
                  <a:lnTo>
                    <a:pt x="92" y="31"/>
                  </a:lnTo>
                  <a:lnTo>
                    <a:pt x="90" y="31"/>
                  </a:lnTo>
                  <a:lnTo>
                    <a:pt x="87" y="29"/>
                  </a:lnTo>
                  <a:lnTo>
                    <a:pt x="80" y="26"/>
                  </a:lnTo>
                  <a:lnTo>
                    <a:pt x="78" y="21"/>
                  </a:lnTo>
                  <a:lnTo>
                    <a:pt x="76" y="17"/>
                  </a:lnTo>
                  <a:lnTo>
                    <a:pt x="78" y="12"/>
                  </a:lnTo>
                  <a:lnTo>
                    <a:pt x="76" y="10"/>
                  </a:lnTo>
                  <a:lnTo>
                    <a:pt x="71" y="7"/>
                  </a:lnTo>
                  <a:lnTo>
                    <a:pt x="66" y="7"/>
                  </a:lnTo>
                  <a:lnTo>
                    <a:pt x="61" y="5"/>
                  </a:lnTo>
                  <a:lnTo>
                    <a:pt x="57" y="3"/>
                  </a:lnTo>
                  <a:lnTo>
                    <a:pt x="52" y="0"/>
                  </a:lnTo>
                  <a:lnTo>
                    <a:pt x="50" y="0"/>
                  </a:lnTo>
                  <a:lnTo>
                    <a:pt x="47" y="5"/>
                  </a:lnTo>
                  <a:lnTo>
                    <a:pt x="45" y="7"/>
                  </a:lnTo>
                  <a:lnTo>
                    <a:pt x="40" y="10"/>
                  </a:lnTo>
                  <a:lnTo>
                    <a:pt x="38" y="10"/>
                  </a:lnTo>
                  <a:lnTo>
                    <a:pt x="35" y="10"/>
                  </a:lnTo>
                  <a:lnTo>
                    <a:pt x="31" y="12"/>
                  </a:lnTo>
                  <a:lnTo>
                    <a:pt x="28" y="12"/>
                  </a:lnTo>
                  <a:lnTo>
                    <a:pt x="28" y="10"/>
                  </a:lnTo>
                  <a:lnTo>
                    <a:pt x="24" y="12"/>
                  </a:lnTo>
                  <a:lnTo>
                    <a:pt x="21" y="10"/>
                  </a:lnTo>
                  <a:lnTo>
                    <a:pt x="19" y="10"/>
                  </a:lnTo>
                  <a:lnTo>
                    <a:pt x="14" y="14"/>
                  </a:lnTo>
                  <a:lnTo>
                    <a:pt x="12" y="12"/>
                  </a:lnTo>
                  <a:lnTo>
                    <a:pt x="9" y="12"/>
                  </a:lnTo>
                  <a:lnTo>
                    <a:pt x="7" y="10"/>
                  </a:lnTo>
                  <a:lnTo>
                    <a:pt x="5" y="10"/>
                  </a:lnTo>
                  <a:lnTo>
                    <a:pt x="5" y="10"/>
                  </a:lnTo>
                  <a:lnTo>
                    <a:pt x="2" y="12"/>
                  </a:lnTo>
                  <a:lnTo>
                    <a:pt x="0" y="14"/>
                  </a:lnTo>
                  <a:lnTo>
                    <a:pt x="0" y="17"/>
                  </a:lnTo>
                  <a:lnTo>
                    <a:pt x="0" y="14"/>
                  </a:lnTo>
                  <a:lnTo>
                    <a:pt x="2" y="19"/>
                  </a:lnTo>
                  <a:lnTo>
                    <a:pt x="7" y="26"/>
                  </a:lnTo>
                  <a:lnTo>
                    <a:pt x="12" y="29"/>
                  </a:lnTo>
                  <a:lnTo>
                    <a:pt x="12" y="31"/>
                  </a:lnTo>
                  <a:lnTo>
                    <a:pt x="12" y="36"/>
                  </a:lnTo>
                  <a:lnTo>
                    <a:pt x="12" y="38"/>
                  </a:lnTo>
                  <a:lnTo>
                    <a:pt x="17" y="43"/>
                  </a:lnTo>
                  <a:lnTo>
                    <a:pt x="24" y="45"/>
                  </a:lnTo>
                  <a:lnTo>
                    <a:pt x="31" y="43"/>
                  </a:lnTo>
                  <a:lnTo>
                    <a:pt x="35" y="43"/>
                  </a:lnTo>
                  <a:lnTo>
                    <a:pt x="38" y="47"/>
                  </a:lnTo>
                  <a:lnTo>
                    <a:pt x="40" y="50"/>
                  </a:lnTo>
                  <a:lnTo>
                    <a:pt x="40" y="52"/>
                  </a:lnTo>
                  <a:lnTo>
                    <a:pt x="43" y="55"/>
                  </a:lnTo>
                  <a:lnTo>
                    <a:pt x="45" y="57"/>
                  </a:lnTo>
                  <a:lnTo>
                    <a:pt x="45" y="59"/>
                  </a:lnTo>
                  <a:lnTo>
                    <a:pt x="45" y="62"/>
                  </a:lnTo>
                  <a:lnTo>
                    <a:pt x="40" y="66"/>
                  </a:lnTo>
                  <a:lnTo>
                    <a:pt x="38" y="66"/>
                  </a:lnTo>
                  <a:lnTo>
                    <a:pt x="35" y="66"/>
                  </a:lnTo>
                  <a:lnTo>
                    <a:pt x="33" y="66"/>
                  </a:lnTo>
                  <a:lnTo>
                    <a:pt x="31" y="69"/>
                  </a:lnTo>
                  <a:lnTo>
                    <a:pt x="31" y="71"/>
                  </a:lnTo>
                  <a:lnTo>
                    <a:pt x="31" y="73"/>
                  </a:lnTo>
                  <a:lnTo>
                    <a:pt x="33" y="73"/>
                  </a:lnTo>
                  <a:lnTo>
                    <a:pt x="35" y="76"/>
                  </a:lnTo>
                  <a:lnTo>
                    <a:pt x="43" y="78"/>
                  </a:lnTo>
                  <a:lnTo>
                    <a:pt x="50" y="85"/>
                  </a:lnTo>
                  <a:lnTo>
                    <a:pt x="52" y="90"/>
                  </a:lnTo>
                  <a:lnTo>
                    <a:pt x="59" y="97"/>
                  </a:lnTo>
                  <a:lnTo>
                    <a:pt x="59" y="99"/>
                  </a:lnTo>
                  <a:lnTo>
                    <a:pt x="64" y="104"/>
                  </a:lnTo>
                  <a:lnTo>
                    <a:pt x="66" y="106"/>
                  </a:lnTo>
                  <a:lnTo>
                    <a:pt x="73" y="109"/>
                  </a:lnTo>
                  <a:lnTo>
                    <a:pt x="73" y="114"/>
                  </a:lnTo>
                  <a:lnTo>
                    <a:pt x="76" y="118"/>
                  </a:lnTo>
                  <a:lnTo>
                    <a:pt x="76" y="118"/>
                  </a:lnTo>
                  <a:lnTo>
                    <a:pt x="76" y="118"/>
                  </a:lnTo>
                  <a:lnTo>
                    <a:pt x="76" y="123"/>
                  </a:lnTo>
                  <a:lnTo>
                    <a:pt x="78" y="123"/>
                  </a:lnTo>
                  <a:lnTo>
                    <a:pt x="83" y="125"/>
                  </a:lnTo>
                  <a:lnTo>
                    <a:pt x="85" y="128"/>
                  </a:lnTo>
                  <a:lnTo>
                    <a:pt x="87" y="135"/>
                  </a:lnTo>
                  <a:lnTo>
                    <a:pt x="92" y="144"/>
                  </a:lnTo>
                  <a:lnTo>
                    <a:pt x="92" y="147"/>
                  </a:lnTo>
                  <a:lnTo>
                    <a:pt x="92" y="156"/>
                  </a:lnTo>
                  <a:lnTo>
                    <a:pt x="92" y="168"/>
                  </a:lnTo>
                  <a:lnTo>
                    <a:pt x="92" y="173"/>
                  </a:lnTo>
                  <a:lnTo>
                    <a:pt x="95" y="177"/>
                  </a:lnTo>
                  <a:lnTo>
                    <a:pt x="95" y="194"/>
                  </a:lnTo>
                  <a:lnTo>
                    <a:pt x="92" y="196"/>
                  </a:lnTo>
                  <a:lnTo>
                    <a:pt x="90" y="201"/>
                  </a:lnTo>
                  <a:lnTo>
                    <a:pt x="87" y="199"/>
                  </a:lnTo>
                  <a:lnTo>
                    <a:pt x="85" y="201"/>
                  </a:lnTo>
                  <a:lnTo>
                    <a:pt x="83" y="203"/>
                  </a:lnTo>
                  <a:lnTo>
                    <a:pt x="80" y="203"/>
                  </a:lnTo>
                  <a:lnTo>
                    <a:pt x="73" y="206"/>
                  </a:lnTo>
                  <a:lnTo>
                    <a:pt x="73" y="208"/>
                  </a:lnTo>
                  <a:lnTo>
                    <a:pt x="69" y="210"/>
                  </a:lnTo>
                  <a:lnTo>
                    <a:pt x="66" y="210"/>
                  </a:lnTo>
                  <a:lnTo>
                    <a:pt x="64" y="215"/>
                  </a:lnTo>
                  <a:lnTo>
                    <a:pt x="64" y="217"/>
                  </a:lnTo>
                  <a:lnTo>
                    <a:pt x="64" y="220"/>
                  </a:lnTo>
                  <a:lnTo>
                    <a:pt x="64" y="222"/>
                  </a:lnTo>
                  <a:lnTo>
                    <a:pt x="61" y="222"/>
                  </a:lnTo>
                  <a:lnTo>
                    <a:pt x="57" y="225"/>
                  </a:lnTo>
                  <a:lnTo>
                    <a:pt x="54" y="225"/>
                  </a:lnTo>
                  <a:lnTo>
                    <a:pt x="52" y="225"/>
                  </a:lnTo>
                  <a:lnTo>
                    <a:pt x="50" y="225"/>
                  </a:lnTo>
                  <a:lnTo>
                    <a:pt x="50" y="227"/>
                  </a:lnTo>
                  <a:lnTo>
                    <a:pt x="47" y="229"/>
                  </a:lnTo>
                  <a:lnTo>
                    <a:pt x="45" y="229"/>
                  </a:lnTo>
                  <a:lnTo>
                    <a:pt x="40" y="232"/>
                  </a:lnTo>
                  <a:lnTo>
                    <a:pt x="40" y="232"/>
                  </a:lnTo>
                  <a:lnTo>
                    <a:pt x="43" y="236"/>
                  </a:lnTo>
                  <a:lnTo>
                    <a:pt x="47" y="236"/>
                  </a:lnTo>
                  <a:lnTo>
                    <a:pt x="50" y="239"/>
                  </a:lnTo>
                  <a:lnTo>
                    <a:pt x="50" y="241"/>
                  </a:lnTo>
                  <a:lnTo>
                    <a:pt x="47" y="246"/>
                  </a:lnTo>
                  <a:lnTo>
                    <a:pt x="45" y="251"/>
                  </a:lnTo>
                  <a:lnTo>
                    <a:pt x="45" y="253"/>
                  </a:lnTo>
                  <a:lnTo>
                    <a:pt x="47" y="258"/>
                  </a:lnTo>
                  <a:lnTo>
                    <a:pt x="47" y="262"/>
                  </a:lnTo>
                  <a:lnTo>
                    <a:pt x="47" y="262"/>
                  </a:lnTo>
                  <a:lnTo>
                    <a:pt x="47" y="265"/>
                  </a:lnTo>
                  <a:lnTo>
                    <a:pt x="50" y="265"/>
                  </a:lnTo>
                  <a:lnTo>
                    <a:pt x="54" y="260"/>
                  </a:lnTo>
                  <a:lnTo>
                    <a:pt x="59" y="258"/>
                  </a:lnTo>
                  <a:lnTo>
                    <a:pt x="61" y="253"/>
                  </a:lnTo>
                  <a:lnTo>
                    <a:pt x="69" y="251"/>
                  </a:lnTo>
                  <a:lnTo>
                    <a:pt x="69" y="251"/>
                  </a:lnTo>
                  <a:lnTo>
                    <a:pt x="69" y="248"/>
                  </a:lnTo>
                  <a:lnTo>
                    <a:pt x="71" y="24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59" name="Freeform 228">
              <a:extLst>
                <a:ext uri="{FF2B5EF4-FFF2-40B4-BE49-F238E27FC236}">
                  <a16:creationId xmlns:a16="http://schemas.microsoft.com/office/drawing/2014/main" id="{A550A5D9-97ED-41C0-A255-366897491AE6}"/>
                </a:ext>
              </a:extLst>
            </p:cNvPr>
            <p:cNvSpPr>
              <a:spLocks/>
            </p:cNvSpPr>
            <p:nvPr/>
          </p:nvSpPr>
          <p:spPr bwMode="auto">
            <a:xfrm>
              <a:off x="6828120" y="3967320"/>
              <a:ext cx="206805" cy="438425"/>
            </a:xfrm>
            <a:custGeom>
              <a:avLst/>
              <a:gdLst>
                <a:gd name="T0" fmla="*/ 73 w 125"/>
                <a:gd name="T1" fmla="*/ 241 h 265"/>
                <a:gd name="T2" fmla="*/ 78 w 125"/>
                <a:gd name="T3" fmla="*/ 239 h 265"/>
                <a:gd name="T4" fmla="*/ 85 w 125"/>
                <a:gd name="T5" fmla="*/ 232 h 265"/>
                <a:gd name="T6" fmla="*/ 102 w 125"/>
                <a:gd name="T7" fmla="*/ 227 h 265"/>
                <a:gd name="T8" fmla="*/ 118 w 125"/>
                <a:gd name="T9" fmla="*/ 217 h 265"/>
                <a:gd name="T10" fmla="*/ 123 w 125"/>
                <a:gd name="T11" fmla="*/ 208 h 265"/>
                <a:gd name="T12" fmla="*/ 123 w 125"/>
                <a:gd name="T13" fmla="*/ 206 h 265"/>
                <a:gd name="T14" fmla="*/ 123 w 125"/>
                <a:gd name="T15" fmla="*/ 194 h 265"/>
                <a:gd name="T16" fmla="*/ 125 w 125"/>
                <a:gd name="T17" fmla="*/ 189 h 265"/>
                <a:gd name="T18" fmla="*/ 123 w 125"/>
                <a:gd name="T19" fmla="*/ 177 h 265"/>
                <a:gd name="T20" fmla="*/ 121 w 125"/>
                <a:gd name="T21" fmla="*/ 161 h 265"/>
                <a:gd name="T22" fmla="*/ 106 w 125"/>
                <a:gd name="T23" fmla="*/ 130 h 265"/>
                <a:gd name="T24" fmla="*/ 102 w 125"/>
                <a:gd name="T25" fmla="*/ 128 h 265"/>
                <a:gd name="T26" fmla="*/ 87 w 125"/>
                <a:gd name="T27" fmla="*/ 118 h 265"/>
                <a:gd name="T28" fmla="*/ 80 w 125"/>
                <a:gd name="T29" fmla="*/ 109 h 265"/>
                <a:gd name="T30" fmla="*/ 71 w 125"/>
                <a:gd name="T31" fmla="*/ 95 h 265"/>
                <a:gd name="T32" fmla="*/ 61 w 125"/>
                <a:gd name="T33" fmla="*/ 78 h 265"/>
                <a:gd name="T34" fmla="*/ 76 w 125"/>
                <a:gd name="T35" fmla="*/ 55 h 265"/>
                <a:gd name="T36" fmla="*/ 80 w 125"/>
                <a:gd name="T37" fmla="*/ 45 h 265"/>
                <a:gd name="T38" fmla="*/ 97 w 125"/>
                <a:gd name="T39" fmla="*/ 33 h 265"/>
                <a:gd name="T40" fmla="*/ 97 w 125"/>
                <a:gd name="T41" fmla="*/ 31 h 265"/>
                <a:gd name="T42" fmla="*/ 80 w 125"/>
                <a:gd name="T43" fmla="*/ 26 h 265"/>
                <a:gd name="T44" fmla="*/ 76 w 125"/>
                <a:gd name="T45" fmla="*/ 10 h 265"/>
                <a:gd name="T46" fmla="*/ 57 w 125"/>
                <a:gd name="T47" fmla="*/ 3 h 265"/>
                <a:gd name="T48" fmla="*/ 45 w 125"/>
                <a:gd name="T49" fmla="*/ 7 h 265"/>
                <a:gd name="T50" fmla="*/ 31 w 125"/>
                <a:gd name="T51" fmla="*/ 12 h 265"/>
                <a:gd name="T52" fmla="*/ 21 w 125"/>
                <a:gd name="T53" fmla="*/ 10 h 265"/>
                <a:gd name="T54" fmla="*/ 9 w 125"/>
                <a:gd name="T55" fmla="*/ 12 h 265"/>
                <a:gd name="T56" fmla="*/ 2 w 125"/>
                <a:gd name="T57" fmla="*/ 12 h 265"/>
                <a:gd name="T58" fmla="*/ 2 w 125"/>
                <a:gd name="T59" fmla="*/ 19 h 265"/>
                <a:gd name="T60" fmla="*/ 12 w 125"/>
                <a:gd name="T61" fmla="*/ 36 h 265"/>
                <a:gd name="T62" fmla="*/ 31 w 125"/>
                <a:gd name="T63" fmla="*/ 43 h 265"/>
                <a:gd name="T64" fmla="*/ 40 w 125"/>
                <a:gd name="T65" fmla="*/ 52 h 265"/>
                <a:gd name="T66" fmla="*/ 45 w 125"/>
                <a:gd name="T67" fmla="*/ 62 h 265"/>
                <a:gd name="T68" fmla="*/ 33 w 125"/>
                <a:gd name="T69" fmla="*/ 66 h 265"/>
                <a:gd name="T70" fmla="*/ 33 w 125"/>
                <a:gd name="T71" fmla="*/ 73 h 265"/>
                <a:gd name="T72" fmla="*/ 52 w 125"/>
                <a:gd name="T73" fmla="*/ 90 h 265"/>
                <a:gd name="T74" fmla="*/ 66 w 125"/>
                <a:gd name="T75" fmla="*/ 106 h 265"/>
                <a:gd name="T76" fmla="*/ 76 w 125"/>
                <a:gd name="T77" fmla="*/ 118 h 265"/>
                <a:gd name="T78" fmla="*/ 83 w 125"/>
                <a:gd name="T79" fmla="*/ 125 h 265"/>
                <a:gd name="T80" fmla="*/ 92 w 125"/>
                <a:gd name="T81" fmla="*/ 147 h 265"/>
                <a:gd name="T82" fmla="*/ 95 w 125"/>
                <a:gd name="T83" fmla="*/ 177 h 265"/>
                <a:gd name="T84" fmla="*/ 87 w 125"/>
                <a:gd name="T85" fmla="*/ 199 h 265"/>
                <a:gd name="T86" fmla="*/ 73 w 125"/>
                <a:gd name="T87" fmla="*/ 206 h 265"/>
                <a:gd name="T88" fmla="*/ 64 w 125"/>
                <a:gd name="T89" fmla="*/ 215 h 265"/>
                <a:gd name="T90" fmla="*/ 61 w 125"/>
                <a:gd name="T91" fmla="*/ 222 h 265"/>
                <a:gd name="T92" fmla="*/ 50 w 125"/>
                <a:gd name="T93" fmla="*/ 225 h 265"/>
                <a:gd name="T94" fmla="*/ 40 w 125"/>
                <a:gd name="T95" fmla="*/ 232 h 265"/>
                <a:gd name="T96" fmla="*/ 50 w 125"/>
                <a:gd name="T97" fmla="*/ 239 h 265"/>
                <a:gd name="T98" fmla="*/ 45 w 125"/>
                <a:gd name="T99" fmla="*/ 253 h 265"/>
                <a:gd name="T100" fmla="*/ 47 w 125"/>
                <a:gd name="T101" fmla="*/ 265 h 265"/>
                <a:gd name="T102" fmla="*/ 61 w 125"/>
                <a:gd name="T103" fmla="*/ 253 h 265"/>
                <a:gd name="T104" fmla="*/ 71 w 125"/>
                <a:gd name="T105" fmla="*/ 24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 h="265">
                  <a:moveTo>
                    <a:pt x="71" y="246"/>
                  </a:moveTo>
                  <a:lnTo>
                    <a:pt x="76" y="248"/>
                  </a:lnTo>
                  <a:lnTo>
                    <a:pt x="76" y="243"/>
                  </a:lnTo>
                  <a:lnTo>
                    <a:pt x="73" y="241"/>
                  </a:lnTo>
                  <a:lnTo>
                    <a:pt x="76" y="239"/>
                  </a:lnTo>
                  <a:lnTo>
                    <a:pt x="78" y="241"/>
                  </a:lnTo>
                  <a:lnTo>
                    <a:pt x="78" y="239"/>
                  </a:lnTo>
                  <a:lnTo>
                    <a:pt x="78" y="239"/>
                  </a:lnTo>
                  <a:lnTo>
                    <a:pt x="78" y="236"/>
                  </a:lnTo>
                  <a:lnTo>
                    <a:pt x="80" y="234"/>
                  </a:lnTo>
                  <a:lnTo>
                    <a:pt x="80" y="232"/>
                  </a:lnTo>
                  <a:lnTo>
                    <a:pt x="85" y="232"/>
                  </a:lnTo>
                  <a:lnTo>
                    <a:pt x="87" y="232"/>
                  </a:lnTo>
                  <a:lnTo>
                    <a:pt x="90" y="232"/>
                  </a:lnTo>
                  <a:lnTo>
                    <a:pt x="97" y="229"/>
                  </a:lnTo>
                  <a:lnTo>
                    <a:pt x="102" y="227"/>
                  </a:lnTo>
                  <a:lnTo>
                    <a:pt x="104" y="222"/>
                  </a:lnTo>
                  <a:lnTo>
                    <a:pt x="113" y="220"/>
                  </a:lnTo>
                  <a:lnTo>
                    <a:pt x="116" y="217"/>
                  </a:lnTo>
                  <a:lnTo>
                    <a:pt x="118" y="217"/>
                  </a:lnTo>
                  <a:lnTo>
                    <a:pt x="118" y="215"/>
                  </a:lnTo>
                  <a:lnTo>
                    <a:pt x="121" y="213"/>
                  </a:lnTo>
                  <a:lnTo>
                    <a:pt x="121" y="210"/>
                  </a:lnTo>
                  <a:lnTo>
                    <a:pt x="123" y="208"/>
                  </a:lnTo>
                  <a:lnTo>
                    <a:pt x="121" y="208"/>
                  </a:lnTo>
                  <a:lnTo>
                    <a:pt x="121" y="206"/>
                  </a:lnTo>
                  <a:lnTo>
                    <a:pt x="123" y="206"/>
                  </a:lnTo>
                  <a:lnTo>
                    <a:pt x="123" y="206"/>
                  </a:lnTo>
                  <a:lnTo>
                    <a:pt x="121" y="196"/>
                  </a:lnTo>
                  <a:lnTo>
                    <a:pt x="121" y="196"/>
                  </a:lnTo>
                  <a:lnTo>
                    <a:pt x="123" y="196"/>
                  </a:lnTo>
                  <a:lnTo>
                    <a:pt x="123" y="194"/>
                  </a:lnTo>
                  <a:lnTo>
                    <a:pt x="123" y="192"/>
                  </a:lnTo>
                  <a:lnTo>
                    <a:pt x="125" y="192"/>
                  </a:lnTo>
                  <a:lnTo>
                    <a:pt x="125" y="194"/>
                  </a:lnTo>
                  <a:lnTo>
                    <a:pt x="125" y="189"/>
                  </a:lnTo>
                  <a:lnTo>
                    <a:pt x="125" y="187"/>
                  </a:lnTo>
                  <a:lnTo>
                    <a:pt x="123" y="187"/>
                  </a:lnTo>
                  <a:lnTo>
                    <a:pt x="123" y="182"/>
                  </a:lnTo>
                  <a:lnTo>
                    <a:pt x="123" y="177"/>
                  </a:lnTo>
                  <a:lnTo>
                    <a:pt x="123" y="175"/>
                  </a:lnTo>
                  <a:lnTo>
                    <a:pt x="123" y="173"/>
                  </a:lnTo>
                  <a:lnTo>
                    <a:pt x="121" y="170"/>
                  </a:lnTo>
                  <a:lnTo>
                    <a:pt x="121" y="161"/>
                  </a:lnTo>
                  <a:lnTo>
                    <a:pt x="116" y="144"/>
                  </a:lnTo>
                  <a:lnTo>
                    <a:pt x="109" y="137"/>
                  </a:lnTo>
                  <a:lnTo>
                    <a:pt x="106" y="135"/>
                  </a:lnTo>
                  <a:lnTo>
                    <a:pt x="106" y="130"/>
                  </a:lnTo>
                  <a:lnTo>
                    <a:pt x="106" y="132"/>
                  </a:lnTo>
                  <a:lnTo>
                    <a:pt x="104" y="132"/>
                  </a:lnTo>
                  <a:lnTo>
                    <a:pt x="104" y="130"/>
                  </a:lnTo>
                  <a:lnTo>
                    <a:pt x="102" y="128"/>
                  </a:lnTo>
                  <a:lnTo>
                    <a:pt x="97" y="128"/>
                  </a:lnTo>
                  <a:lnTo>
                    <a:pt x="95" y="123"/>
                  </a:lnTo>
                  <a:lnTo>
                    <a:pt x="92" y="121"/>
                  </a:lnTo>
                  <a:lnTo>
                    <a:pt x="87" y="118"/>
                  </a:lnTo>
                  <a:lnTo>
                    <a:pt x="85" y="116"/>
                  </a:lnTo>
                  <a:lnTo>
                    <a:pt x="85" y="114"/>
                  </a:lnTo>
                  <a:lnTo>
                    <a:pt x="83" y="111"/>
                  </a:lnTo>
                  <a:lnTo>
                    <a:pt x="80" y="109"/>
                  </a:lnTo>
                  <a:lnTo>
                    <a:pt x="78" y="106"/>
                  </a:lnTo>
                  <a:lnTo>
                    <a:pt x="73" y="104"/>
                  </a:lnTo>
                  <a:lnTo>
                    <a:pt x="73" y="99"/>
                  </a:lnTo>
                  <a:lnTo>
                    <a:pt x="71" y="95"/>
                  </a:lnTo>
                  <a:lnTo>
                    <a:pt x="69" y="92"/>
                  </a:lnTo>
                  <a:lnTo>
                    <a:pt x="61" y="85"/>
                  </a:lnTo>
                  <a:lnTo>
                    <a:pt x="59" y="83"/>
                  </a:lnTo>
                  <a:lnTo>
                    <a:pt x="61" y="78"/>
                  </a:lnTo>
                  <a:lnTo>
                    <a:pt x="61" y="76"/>
                  </a:lnTo>
                  <a:lnTo>
                    <a:pt x="61" y="71"/>
                  </a:lnTo>
                  <a:lnTo>
                    <a:pt x="66" y="62"/>
                  </a:lnTo>
                  <a:lnTo>
                    <a:pt x="76" y="55"/>
                  </a:lnTo>
                  <a:lnTo>
                    <a:pt x="76" y="52"/>
                  </a:lnTo>
                  <a:lnTo>
                    <a:pt x="78" y="50"/>
                  </a:lnTo>
                  <a:lnTo>
                    <a:pt x="80" y="47"/>
                  </a:lnTo>
                  <a:lnTo>
                    <a:pt x="80" y="45"/>
                  </a:lnTo>
                  <a:lnTo>
                    <a:pt x="87" y="43"/>
                  </a:lnTo>
                  <a:lnTo>
                    <a:pt x="90" y="40"/>
                  </a:lnTo>
                  <a:lnTo>
                    <a:pt x="90" y="38"/>
                  </a:lnTo>
                  <a:lnTo>
                    <a:pt x="97" y="33"/>
                  </a:lnTo>
                  <a:lnTo>
                    <a:pt x="99" y="36"/>
                  </a:lnTo>
                  <a:lnTo>
                    <a:pt x="99" y="33"/>
                  </a:lnTo>
                  <a:lnTo>
                    <a:pt x="99" y="33"/>
                  </a:lnTo>
                  <a:lnTo>
                    <a:pt x="97" y="31"/>
                  </a:lnTo>
                  <a:lnTo>
                    <a:pt x="92" y="31"/>
                  </a:lnTo>
                  <a:lnTo>
                    <a:pt x="90" y="31"/>
                  </a:lnTo>
                  <a:lnTo>
                    <a:pt x="87" y="29"/>
                  </a:lnTo>
                  <a:lnTo>
                    <a:pt x="80" y="26"/>
                  </a:lnTo>
                  <a:lnTo>
                    <a:pt x="78" y="21"/>
                  </a:lnTo>
                  <a:lnTo>
                    <a:pt x="76" y="17"/>
                  </a:lnTo>
                  <a:lnTo>
                    <a:pt x="78" y="12"/>
                  </a:lnTo>
                  <a:lnTo>
                    <a:pt x="76" y="10"/>
                  </a:lnTo>
                  <a:lnTo>
                    <a:pt x="71" y="7"/>
                  </a:lnTo>
                  <a:lnTo>
                    <a:pt x="66" y="7"/>
                  </a:lnTo>
                  <a:lnTo>
                    <a:pt x="61" y="5"/>
                  </a:lnTo>
                  <a:lnTo>
                    <a:pt x="57" y="3"/>
                  </a:lnTo>
                  <a:lnTo>
                    <a:pt x="52" y="0"/>
                  </a:lnTo>
                  <a:lnTo>
                    <a:pt x="50" y="0"/>
                  </a:lnTo>
                  <a:lnTo>
                    <a:pt x="47" y="5"/>
                  </a:lnTo>
                  <a:lnTo>
                    <a:pt x="45" y="7"/>
                  </a:lnTo>
                  <a:lnTo>
                    <a:pt x="40" y="10"/>
                  </a:lnTo>
                  <a:lnTo>
                    <a:pt x="38" y="10"/>
                  </a:lnTo>
                  <a:lnTo>
                    <a:pt x="35" y="10"/>
                  </a:lnTo>
                  <a:lnTo>
                    <a:pt x="31" y="12"/>
                  </a:lnTo>
                  <a:lnTo>
                    <a:pt x="28" y="12"/>
                  </a:lnTo>
                  <a:lnTo>
                    <a:pt x="28" y="10"/>
                  </a:lnTo>
                  <a:lnTo>
                    <a:pt x="24" y="12"/>
                  </a:lnTo>
                  <a:lnTo>
                    <a:pt x="21" y="10"/>
                  </a:lnTo>
                  <a:lnTo>
                    <a:pt x="19" y="10"/>
                  </a:lnTo>
                  <a:lnTo>
                    <a:pt x="14" y="14"/>
                  </a:lnTo>
                  <a:lnTo>
                    <a:pt x="12" y="12"/>
                  </a:lnTo>
                  <a:lnTo>
                    <a:pt x="9" y="12"/>
                  </a:lnTo>
                  <a:lnTo>
                    <a:pt x="7" y="10"/>
                  </a:lnTo>
                  <a:lnTo>
                    <a:pt x="5" y="10"/>
                  </a:lnTo>
                  <a:lnTo>
                    <a:pt x="5" y="10"/>
                  </a:lnTo>
                  <a:lnTo>
                    <a:pt x="2" y="12"/>
                  </a:lnTo>
                  <a:lnTo>
                    <a:pt x="0" y="14"/>
                  </a:lnTo>
                  <a:lnTo>
                    <a:pt x="0" y="17"/>
                  </a:lnTo>
                  <a:lnTo>
                    <a:pt x="0" y="14"/>
                  </a:lnTo>
                  <a:lnTo>
                    <a:pt x="2" y="19"/>
                  </a:lnTo>
                  <a:lnTo>
                    <a:pt x="7" y="26"/>
                  </a:lnTo>
                  <a:lnTo>
                    <a:pt x="12" y="29"/>
                  </a:lnTo>
                  <a:lnTo>
                    <a:pt x="12" y="31"/>
                  </a:lnTo>
                  <a:lnTo>
                    <a:pt x="12" y="36"/>
                  </a:lnTo>
                  <a:lnTo>
                    <a:pt x="12" y="38"/>
                  </a:lnTo>
                  <a:lnTo>
                    <a:pt x="17" y="43"/>
                  </a:lnTo>
                  <a:lnTo>
                    <a:pt x="24" y="45"/>
                  </a:lnTo>
                  <a:lnTo>
                    <a:pt x="31" y="43"/>
                  </a:lnTo>
                  <a:lnTo>
                    <a:pt x="35" y="43"/>
                  </a:lnTo>
                  <a:lnTo>
                    <a:pt x="38" y="47"/>
                  </a:lnTo>
                  <a:lnTo>
                    <a:pt x="40" y="50"/>
                  </a:lnTo>
                  <a:lnTo>
                    <a:pt x="40" y="52"/>
                  </a:lnTo>
                  <a:lnTo>
                    <a:pt x="43" y="55"/>
                  </a:lnTo>
                  <a:lnTo>
                    <a:pt x="45" y="57"/>
                  </a:lnTo>
                  <a:lnTo>
                    <a:pt x="45" y="59"/>
                  </a:lnTo>
                  <a:lnTo>
                    <a:pt x="45" y="62"/>
                  </a:lnTo>
                  <a:lnTo>
                    <a:pt x="40" y="66"/>
                  </a:lnTo>
                  <a:lnTo>
                    <a:pt x="38" y="66"/>
                  </a:lnTo>
                  <a:lnTo>
                    <a:pt x="35" y="66"/>
                  </a:lnTo>
                  <a:lnTo>
                    <a:pt x="33" y="66"/>
                  </a:lnTo>
                  <a:lnTo>
                    <a:pt x="31" y="69"/>
                  </a:lnTo>
                  <a:lnTo>
                    <a:pt x="31" y="71"/>
                  </a:lnTo>
                  <a:lnTo>
                    <a:pt x="31" y="73"/>
                  </a:lnTo>
                  <a:lnTo>
                    <a:pt x="33" y="73"/>
                  </a:lnTo>
                  <a:lnTo>
                    <a:pt x="35" y="76"/>
                  </a:lnTo>
                  <a:lnTo>
                    <a:pt x="43" y="78"/>
                  </a:lnTo>
                  <a:lnTo>
                    <a:pt x="50" y="85"/>
                  </a:lnTo>
                  <a:lnTo>
                    <a:pt x="52" y="90"/>
                  </a:lnTo>
                  <a:lnTo>
                    <a:pt x="59" y="97"/>
                  </a:lnTo>
                  <a:lnTo>
                    <a:pt x="59" y="99"/>
                  </a:lnTo>
                  <a:lnTo>
                    <a:pt x="64" y="104"/>
                  </a:lnTo>
                  <a:lnTo>
                    <a:pt x="66" y="106"/>
                  </a:lnTo>
                  <a:lnTo>
                    <a:pt x="73" y="109"/>
                  </a:lnTo>
                  <a:lnTo>
                    <a:pt x="73" y="114"/>
                  </a:lnTo>
                  <a:lnTo>
                    <a:pt x="76" y="118"/>
                  </a:lnTo>
                  <a:lnTo>
                    <a:pt x="76" y="118"/>
                  </a:lnTo>
                  <a:lnTo>
                    <a:pt x="76" y="118"/>
                  </a:lnTo>
                  <a:lnTo>
                    <a:pt x="76" y="123"/>
                  </a:lnTo>
                  <a:lnTo>
                    <a:pt x="78" y="123"/>
                  </a:lnTo>
                  <a:lnTo>
                    <a:pt x="83" y="125"/>
                  </a:lnTo>
                  <a:lnTo>
                    <a:pt x="85" y="128"/>
                  </a:lnTo>
                  <a:lnTo>
                    <a:pt x="87" y="135"/>
                  </a:lnTo>
                  <a:lnTo>
                    <a:pt x="92" y="144"/>
                  </a:lnTo>
                  <a:lnTo>
                    <a:pt x="92" y="147"/>
                  </a:lnTo>
                  <a:lnTo>
                    <a:pt x="92" y="156"/>
                  </a:lnTo>
                  <a:lnTo>
                    <a:pt x="92" y="168"/>
                  </a:lnTo>
                  <a:lnTo>
                    <a:pt x="92" y="173"/>
                  </a:lnTo>
                  <a:lnTo>
                    <a:pt x="95" y="177"/>
                  </a:lnTo>
                  <a:lnTo>
                    <a:pt x="95" y="194"/>
                  </a:lnTo>
                  <a:lnTo>
                    <a:pt x="92" y="196"/>
                  </a:lnTo>
                  <a:lnTo>
                    <a:pt x="90" y="201"/>
                  </a:lnTo>
                  <a:lnTo>
                    <a:pt x="87" y="199"/>
                  </a:lnTo>
                  <a:lnTo>
                    <a:pt x="85" y="201"/>
                  </a:lnTo>
                  <a:lnTo>
                    <a:pt x="83" y="203"/>
                  </a:lnTo>
                  <a:lnTo>
                    <a:pt x="80" y="203"/>
                  </a:lnTo>
                  <a:lnTo>
                    <a:pt x="73" y="206"/>
                  </a:lnTo>
                  <a:lnTo>
                    <a:pt x="73" y="208"/>
                  </a:lnTo>
                  <a:lnTo>
                    <a:pt x="69" y="210"/>
                  </a:lnTo>
                  <a:lnTo>
                    <a:pt x="66" y="210"/>
                  </a:lnTo>
                  <a:lnTo>
                    <a:pt x="64" y="215"/>
                  </a:lnTo>
                  <a:lnTo>
                    <a:pt x="64" y="217"/>
                  </a:lnTo>
                  <a:lnTo>
                    <a:pt x="64" y="220"/>
                  </a:lnTo>
                  <a:lnTo>
                    <a:pt x="64" y="222"/>
                  </a:lnTo>
                  <a:lnTo>
                    <a:pt x="61" y="222"/>
                  </a:lnTo>
                  <a:lnTo>
                    <a:pt x="57" y="225"/>
                  </a:lnTo>
                  <a:lnTo>
                    <a:pt x="54" y="225"/>
                  </a:lnTo>
                  <a:lnTo>
                    <a:pt x="52" y="225"/>
                  </a:lnTo>
                  <a:lnTo>
                    <a:pt x="50" y="225"/>
                  </a:lnTo>
                  <a:lnTo>
                    <a:pt x="50" y="227"/>
                  </a:lnTo>
                  <a:lnTo>
                    <a:pt x="47" y="229"/>
                  </a:lnTo>
                  <a:lnTo>
                    <a:pt x="45" y="229"/>
                  </a:lnTo>
                  <a:lnTo>
                    <a:pt x="40" y="232"/>
                  </a:lnTo>
                  <a:lnTo>
                    <a:pt x="40" y="232"/>
                  </a:lnTo>
                  <a:lnTo>
                    <a:pt x="43" y="236"/>
                  </a:lnTo>
                  <a:lnTo>
                    <a:pt x="47" y="236"/>
                  </a:lnTo>
                  <a:lnTo>
                    <a:pt x="50" y="239"/>
                  </a:lnTo>
                  <a:lnTo>
                    <a:pt x="50" y="241"/>
                  </a:lnTo>
                  <a:lnTo>
                    <a:pt x="47" y="246"/>
                  </a:lnTo>
                  <a:lnTo>
                    <a:pt x="45" y="251"/>
                  </a:lnTo>
                  <a:lnTo>
                    <a:pt x="45" y="253"/>
                  </a:lnTo>
                  <a:lnTo>
                    <a:pt x="47" y="258"/>
                  </a:lnTo>
                  <a:lnTo>
                    <a:pt x="47" y="262"/>
                  </a:lnTo>
                  <a:lnTo>
                    <a:pt x="47" y="262"/>
                  </a:lnTo>
                  <a:lnTo>
                    <a:pt x="47" y="265"/>
                  </a:lnTo>
                  <a:lnTo>
                    <a:pt x="50" y="265"/>
                  </a:lnTo>
                  <a:lnTo>
                    <a:pt x="54" y="260"/>
                  </a:lnTo>
                  <a:lnTo>
                    <a:pt x="59" y="258"/>
                  </a:lnTo>
                  <a:lnTo>
                    <a:pt x="61" y="253"/>
                  </a:lnTo>
                  <a:lnTo>
                    <a:pt x="69" y="251"/>
                  </a:lnTo>
                  <a:lnTo>
                    <a:pt x="69" y="251"/>
                  </a:lnTo>
                  <a:lnTo>
                    <a:pt x="69" y="248"/>
                  </a:lnTo>
                  <a:lnTo>
                    <a:pt x="71" y="24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0" name="Freeform 229">
              <a:extLst>
                <a:ext uri="{FF2B5EF4-FFF2-40B4-BE49-F238E27FC236}">
                  <a16:creationId xmlns:a16="http://schemas.microsoft.com/office/drawing/2014/main" id="{3DDC076F-D941-40EA-B83F-4FA700F94EDF}"/>
                </a:ext>
              </a:extLst>
            </p:cNvPr>
            <p:cNvSpPr>
              <a:spLocks/>
            </p:cNvSpPr>
            <p:nvPr/>
          </p:nvSpPr>
          <p:spPr bwMode="auto">
            <a:xfrm>
              <a:off x="7519672" y="3456100"/>
              <a:ext cx="97612" cy="148899"/>
            </a:xfrm>
            <a:custGeom>
              <a:avLst/>
              <a:gdLst>
                <a:gd name="T0" fmla="*/ 40 w 59"/>
                <a:gd name="T1" fmla="*/ 0 h 90"/>
                <a:gd name="T2" fmla="*/ 50 w 59"/>
                <a:gd name="T3" fmla="*/ 12 h 90"/>
                <a:gd name="T4" fmla="*/ 55 w 59"/>
                <a:gd name="T5" fmla="*/ 21 h 90"/>
                <a:gd name="T6" fmla="*/ 57 w 59"/>
                <a:gd name="T7" fmla="*/ 35 h 90"/>
                <a:gd name="T8" fmla="*/ 59 w 59"/>
                <a:gd name="T9" fmla="*/ 52 h 90"/>
                <a:gd name="T10" fmla="*/ 57 w 59"/>
                <a:gd name="T11" fmla="*/ 61 h 90"/>
                <a:gd name="T12" fmla="*/ 52 w 59"/>
                <a:gd name="T13" fmla="*/ 71 h 90"/>
                <a:gd name="T14" fmla="*/ 45 w 59"/>
                <a:gd name="T15" fmla="*/ 73 h 90"/>
                <a:gd name="T16" fmla="*/ 40 w 59"/>
                <a:gd name="T17" fmla="*/ 73 h 90"/>
                <a:gd name="T18" fmla="*/ 38 w 59"/>
                <a:gd name="T19" fmla="*/ 78 h 90"/>
                <a:gd name="T20" fmla="*/ 36 w 59"/>
                <a:gd name="T21" fmla="*/ 75 h 90"/>
                <a:gd name="T22" fmla="*/ 31 w 59"/>
                <a:gd name="T23" fmla="*/ 75 h 90"/>
                <a:gd name="T24" fmla="*/ 29 w 59"/>
                <a:gd name="T25" fmla="*/ 78 h 90"/>
                <a:gd name="T26" fmla="*/ 26 w 59"/>
                <a:gd name="T27" fmla="*/ 82 h 90"/>
                <a:gd name="T28" fmla="*/ 21 w 59"/>
                <a:gd name="T29" fmla="*/ 78 h 90"/>
                <a:gd name="T30" fmla="*/ 21 w 59"/>
                <a:gd name="T31" fmla="*/ 85 h 90"/>
                <a:gd name="T32" fmla="*/ 19 w 59"/>
                <a:gd name="T33" fmla="*/ 85 h 90"/>
                <a:gd name="T34" fmla="*/ 21 w 59"/>
                <a:gd name="T35" fmla="*/ 80 h 90"/>
                <a:gd name="T36" fmla="*/ 17 w 59"/>
                <a:gd name="T37" fmla="*/ 82 h 90"/>
                <a:gd name="T38" fmla="*/ 12 w 59"/>
                <a:gd name="T39" fmla="*/ 87 h 90"/>
                <a:gd name="T40" fmla="*/ 10 w 59"/>
                <a:gd name="T41" fmla="*/ 85 h 90"/>
                <a:gd name="T42" fmla="*/ 7 w 59"/>
                <a:gd name="T43" fmla="*/ 85 h 90"/>
                <a:gd name="T44" fmla="*/ 3 w 59"/>
                <a:gd name="T45" fmla="*/ 90 h 90"/>
                <a:gd name="T46" fmla="*/ 3 w 59"/>
                <a:gd name="T47" fmla="*/ 85 h 90"/>
                <a:gd name="T48" fmla="*/ 7 w 59"/>
                <a:gd name="T49" fmla="*/ 82 h 90"/>
                <a:gd name="T50" fmla="*/ 7 w 59"/>
                <a:gd name="T51" fmla="*/ 78 h 90"/>
                <a:gd name="T52" fmla="*/ 5 w 59"/>
                <a:gd name="T53" fmla="*/ 80 h 90"/>
                <a:gd name="T54" fmla="*/ 5 w 59"/>
                <a:gd name="T55" fmla="*/ 73 h 90"/>
                <a:gd name="T56" fmla="*/ 7 w 59"/>
                <a:gd name="T57" fmla="*/ 66 h 90"/>
                <a:gd name="T58" fmla="*/ 7 w 59"/>
                <a:gd name="T59" fmla="*/ 61 h 90"/>
                <a:gd name="T60" fmla="*/ 10 w 59"/>
                <a:gd name="T61" fmla="*/ 56 h 90"/>
                <a:gd name="T62" fmla="*/ 10 w 59"/>
                <a:gd name="T63" fmla="*/ 54 h 90"/>
                <a:gd name="T64" fmla="*/ 7 w 59"/>
                <a:gd name="T65" fmla="*/ 47 h 90"/>
                <a:gd name="T66" fmla="*/ 5 w 59"/>
                <a:gd name="T67" fmla="*/ 40 h 90"/>
                <a:gd name="T68" fmla="*/ 5 w 59"/>
                <a:gd name="T69" fmla="*/ 42 h 90"/>
                <a:gd name="T70" fmla="*/ 0 w 59"/>
                <a:gd name="T71" fmla="*/ 40 h 90"/>
                <a:gd name="T72" fmla="*/ 0 w 59"/>
                <a:gd name="T73" fmla="*/ 38 h 90"/>
                <a:gd name="T74" fmla="*/ 5 w 59"/>
                <a:gd name="T75" fmla="*/ 35 h 90"/>
                <a:gd name="T76" fmla="*/ 12 w 59"/>
                <a:gd name="T77" fmla="*/ 35 h 90"/>
                <a:gd name="T78" fmla="*/ 12 w 59"/>
                <a:gd name="T79" fmla="*/ 33 h 90"/>
                <a:gd name="T80" fmla="*/ 10 w 59"/>
                <a:gd name="T81" fmla="*/ 28 h 90"/>
                <a:gd name="T82" fmla="*/ 12 w 59"/>
                <a:gd name="T83" fmla="*/ 26 h 90"/>
                <a:gd name="T84" fmla="*/ 10 w 59"/>
                <a:gd name="T85" fmla="*/ 23 h 90"/>
                <a:gd name="T86" fmla="*/ 7 w 59"/>
                <a:gd name="T87" fmla="*/ 21 h 90"/>
                <a:gd name="T88" fmla="*/ 7 w 59"/>
                <a:gd name="T89" fmla="*/ 19 h 90"/>
                <a:gd name="T90" fmla="*/ 5 w 59"/>
                <a:gd name="T91" fmla="*/ 16 h 90"/>
                <a:gd name="T92" fmla="*/ 12 w 59"/>
                <a:gd name="T93" fmla="*/ 12 h 90"/>
                <a:gd name="T94" fmla="*/ 24 w 59"/>
                <a:gd name="T95" fmla="*/ 4 h 90"/>
                <a:gd name="T96" fmla="*/ 33 w 59"/>
                <a:gd name="T97"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90">
                  <a:moveTo>
                    <a:pt x="40" y="0"/>
                  </a:moveTo>
                  <a:lnTo>
                    <a:pt x="40" y="0"/>
                  </a:lnTo>
                  <a:lnTo>
                    <a:pt x="45" y="9"/>
                  </a:lnTo>
                  <a:lnTo>
                    <a:pt x="50" y="12"/>
                  </a:lnTo>
                  <a:lnTo>
                    <a:pt x="52" y="16"/>
                  </a:lnTo>
                  <a:lnTo>
                    <a:pt x="55" y="21"/>
                  </a:lnTo>
                  <a:lnTo>
                    <a:pt x="57" y="28"/>
                  </a:lnTo>
                  <a:lnTo>
                    <a:pt x="57" y="35"/>
                  </a:lnTo>
                  <a:lnTo>
                    <a:pt x="57" y="47"/>
                  </a:lnTo>
                  <a:lnTo>
                    <a:pt x="59" y="52"/>
                  </a:lnTo>
                  <a:lnTo>
                    <a:pt x="59" y="52"/>
                  </a:lnTo>
                  <a:lnTo>
                    <a:pt x="57" y="61"/>
                  </a:lnTo>
                  <a:lnTo>
                    <a:pt x="55" y="68"/>
                  </a:lnTo>
                  <a:lnTo>
                    <a:pt x="52" y="71"/>
                  </a:lnTo>
                  <a:lnTo>
                    <a:pt x="50" y="71"/>
                  </a:lnTo>
                  <a:lnTo>
                    <a:pt x="45" y="73"/>
                  </a:lnTo>
                  <a:lnTo>
                    <a:pt x="43" y="71"/>
                  </a:lnTo>
                  <a:lnTo>
                    <a:pt x="40" y="73"/>
                  </a:lnTo>
                  <a:lnTo>
                    <a:pt x="40" y="75"/>
                  </a:lnTo>
                  <a:lnTo>
                    <a:pt x="38" y="78"/>
                  </a:lnTo>
                  <a:lnTo>
                    <a:pt x="38" y="75"/>
                  </a:lnTo>
                  <a:lnTo>
                    <a:pt x="36" y="75"/>
                  </a:lnTo>
                  <a:lnTo>
                    <a:pt x="31" y="75"/>
                  </a:lnTo>
                  <a:lnTo>
                    <a:pt x="31" y="75"/>
                  </a:lnTo>
                  <a:lnTo>
                    <a:pt x="26" y="78"/>
                  </a:lnTo>
                  <a:lnTo>
                    <a:pt x="29" y="78"/>
                  </a:lnTo>
                  <a:lnTo>
                    <a:pt x="26" y="80"/>
                  </a:lnTo>
                  <a:lnTo>
                    <a:pt x="26" y="82"/>
                  </a:lnTo>
                  <a:lnTo>
                    <a:pt x="24" y="80"/>
                  </a:lnTo>
                  <a:lnTo>
                    <a:pt x="21" y="78"/>
                  </a:lnTo>
                  <a:lnTo>
                    <a:pt x="21" y="85"/>
                  </a:lnTo>
                  <a:lnTo>
                    <a:pt x="21" y="85"/>
                  </a:lnTo>
                  <a:lnTo>
                    <a:pt x="19" y="85"/>
                  </a:lnTo>
                  <a:lnTo>
                    <a:pt x="19" y="85"/>
                  </a:lnTo>
                  <a:lnTo>
                    <a:pt x="19" y="82"/>
                  </a:lnTo>
                  <a:lnTo>
                    <a:pt x="21" y="80"/>
                  </a:lnTo>
                  <a:lnTo>
                    <a:pt x="19" y="80"/>
                  </a:lnTo>
                  <a:lnTo>
                    <a:pt x="17" y="82"/>
                  </a:lnTo>
                  <a:lnTo>
                    <a:pt x="12" y="87"/>
                  </a:lnTo>
                  <a:lnTo>
                    <a:pt x="12" y="87"/>
                  </a:lnTo>
                  <a:lnTo>
                    <a:pt x="12" y="85"/>
                  </a:lnTo>
                  <a:lnTo>
                    <a:pt x="10" y="85"/>
                  </a:lnTo>
                  <a:lnTo>
                    <a:pt x="7" y="90"/>
                  </a:lnTo>
                  <a:lnTo>
                    <a:pt x="7" y="85"/>
                  </a:lnTo>
                  <a:lnTo>
                    <a:pt x="3" y="87"/>
                  </a:lnTo>
                  <a:lnTo>
                    <a:pt x="3" y="90"/>
                  </a:lnTo>
                  <a:lnTo>
                    <a:pt x="0" y="87"/>
                  </a:lnTo>
                  <a:lnTo>
                    <a:pt x="3" y="85"/>
                  </a:lnTo>
                  <a:lnTo>
                    <a:pt x="3" y="82"/>
                  </a:lnTo>
                  <a:lnTo>
                    <a:pt x="7" y="82"/>
                  </a:lnTo>
                  <a:lnTo>
                    <a:pt x="7" y="80"/>
                  </a:lnTo>
                  <a:lnTo>
                    <a:pt x="7" y="78"/>
                  </a:lnTo>
                  <a:lnTo>
                    <a:pt x="5" y="78"/>
                  </a:lnTo>
                  <a:lnTo>
                    <a:pt x="5" y="80"/>
                  </a:lnTo>
                  <a:lnTo>
                    <a:pt x="3" y="78"/>
                  </a:lnTo>
                  <a:lnTo>
                    <a:pt x="5" y="73"/>
                  </a:lnTo>
                  <a:lnTo>
                    <a:pt x="5" y="71"/>
                  </a:lnTo>
                  <a:lnTo>
                    <a:pt x="7" y="66"/>
                  </a:lnTo>
                  <a:lnTo>
                    <a:pt x="7" y="64"/>
                  </a:lnTo>
                  <a:lnTo>
                    <a:pt x="7" y="61"/>
                  </a:lnTo>
                  <a:lnTo>
                    <a:pt x="10" y="59"/>
                  </a:lnTo>
                  <a:lnTo>
                    <a:pt x="10" y="56"/>
                  </a:lnTo>
                  <a:lnTo>
                    <a:pt x="10" y="56"/>
                  </a:lnTo>
                  <a:lnTo>
                    <a:pt x="10" y="54"/>
                  </a:lnTo>
                  <a:lnTo>
                    <a:pt x="7" y="52"/>
                  </a:lnTo>
                  <a:lnTo>
                    <a:pt x="7" y="47"/>
                  </a:lnTo>
                  <a:lnTo>
                    <a:pt x="5" y="45"/>
                  </a:lnTo>
                  <a:lnTo>
                    <a:pt x="5" y="40"/>
                  </a:lnTo>
                  <a:lnTo>
                    <a:pt x="3" y="38"/>
                  </a:lnTo>
                  <a:lnTo>
                    <a:pt x="5" y="42"/>
                  </a:lnTo>
                  <a:lnTo>
                    <a:pt x="3" y="45"/>
                  </a:lnTo>
                  <a:lnTo>
                    <a:pt x="0" y="40"/>
                  </a:lnTo>
                  <a:lnTo>
                    <a:pt x="0" y="40"/>
                  </a:lnTo>
                  <a:lnTo>
                    <a:pt x="0" y="38"/>
                  </a:lnTo>
                  <a:lnTo>
                    <a:pt x="3" y="35"/>
                  </a:lnTo>
                  <a:lnTo>
                    <a:pt x="5" y="35"/>
                  </a:lnTo>
                  <a:lnTo>
                    <a:pt x="10" y="33"/>
                  </a:lnTo>
                  <a:lnTo>
                    <a:pt x="12" y="35"/>
                  </a:lnTo>
                  <a:lnTo>
                    <a:pt x="12" y="35"/>
                  </a:lnTo>
                  <a:lnTo>
                    <a:pt x="12" y="33"/>
                  </a:lnTo>
                  <a:lnTo>
                    <a:pt x="12" y="30"/>
                  </a:lnTo>
                  <a:lnTo>
                    <a:pt x="10" y="28"/>
                  </a:lnTo>
                  <a:lnTo>
                    <a:pt x="12" y="26"/>
                  </a:lnTo>
                  <a:lnTo>
                    <a:pt x="12" y="26"/>
                  </a:lnTo>
                  <a:lnTo>
                    <a:pt x="10" y="23"/>
                  </a:lnTo>
                  <a:lnTo>
                    <a:pt x="10" y="23"/>
                  </a:lnTo>
                  <a:lnTo>
                    <a:pt x="7" y="23"/>
                  </a:lnTo>
                  <a:lnTo>
                    <a:pt x="7" y="21"/>
                  </a:lnTo>
                  <a:lnTo>
                    <a:pt x="7" y="21"/>
                  </a:lnTo>
                  <a:lnTo>
                    <a:pt x="7" y="19"/>
                  </a:lnTo>
                  <a:lnTo>
                    <a:pt x="5" y="16"/>
                  </a:lnTo>
                  <a:lnTo>
                    <a:pt x="5" y="16"/>
                  </a:lnTo>
                  <a:lnTo>
                    <a:pt x="7" y="16"/>
                  </a:lnTo>
                  <a:lnTo>
                    <a:pt x="12" y="12"/>
                  </a:lnTo>
                  <a:lnTo>
                    <a:pt x="19" y="7"/>
                  </a:lnTo>
                  <a:lnTo>
                    <a:pt x="24" y="4"/>
                  </a:lnTo>
                  <a:lnTo>
                    <a:pt x="29" y="4"/>
                  </a:lnTo>
                  <a:lnTo>
                    <a:pt x="33" y="4"/>
                  </a:lnTo>
                  <a:lnTo>
                    <a:pt x="4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1" name="Freeform 230">
              <a:extLst>
                <a:ext uri="{FF2B5EF4-FFF2-40B4-BE49-F238E27FC236}">
                  <a16:creationId xmlns:a16="http://schemas.microsoft.com/office/drawing/2014/main" id="{8A426CDD-4EAF-4E41-8BC6-96A84C0271C8}"/>
                </a:ext>
              </a:extLst>
            </p:cNvPr>
            <p:cNvSpPr>
              <a:spLocks/>
            </p:cNvSpPr>
            <p:nvPr/>
          </p:nvSpPr>
          <p:spPr bwMode="auto">
            <a:xfrm>
              <a:off x="7519672" y="3456100"/>
              <a:ext cx="97612" cy="148899"/>
            </a:xfrm>
            <a:custGeom>
              <a:avLst/>
              <a:gdLst>
                <a:gd name="T0" fmla="*/ 40 w 59"/>
                <a:gd name="T1" fmla="*/ 0 h 90"/>
                <a:gd name="T2" fmla="*/ 50 w 59"/>
                <a:gd name="T3" fmla="*/ 12 h 90"/>
                <a:gd name="T4" fmla="*/ 55 w 59"/>
                <a:gd name="T5" fmla="*/ 21 h 90"/>
                <a:gd name="T6" fmla="*/ 57 w 59"/>
                <a:gd name="T7" fmla="*/ 35 h 90"/>
                <a:gd name="T8" fmla="*/ 59 w 59"/>
                <a:gd name="T9" fmla="*/ 52 h 90"/>
                <a:gd name="T10" fmla="*/ 57 w 59"/>
                <a:gd name="T11" fmla="*/ 61 h 90"/>
                <a:gd name="T12" fmla="*/ 52 w 59"/>
                <a:gd name="T13" fmla="*/ 71 h 90"/>
                <a:gd name="T14" fmla="*/ 45 w 59"/>
                <a:gd name="T15" fmla="*/ 73 h 90"/>
                <a:gd name="T16" fmla="*/ 40 w 59"/>
                <a:gd name="T17" fmla="*/ 73 h 90"/>
                <a:gd name="T18" fmla="*/ 38 w 59"/>
                <a:gd name="T19" fmla="*/ 78 h 90"/>
                <a:gd name="T20" fmla="*/ 36 w 59"/>
                <a:gd name="T21" fmla="*/ 75 h 90"/>
                <a:gd name="T22" fmla="*/ 31 w 59"/>
                <a:gd name="T23" fmla="*/ 75 h 90"/>
                <a:gd name="T24" fmla="*/ 29 w 59"/>
                <a:gd name="T25" fmla="*/ 78 h 90"/>
                <a:gd name="T26" fmla="*/ 26 w 59"/>
                <a:gd name="T27" fmla="*/ 82 h 90"/>
                <a:gd name="T28" fmla="*/ 21 w 59"/>
                <a:gd name="T29" fmla="*/ 78 h 90"/>
                <a:gd name="T30" fmla="*/ 21 w 59"/>
                <a:gd name="T31" fmla="*/ 85 h 90"/>
                <a:gd name="T32" fmla="*/ 19 w 59"/>
                <a:gd name="T33" fmla="*/ 85 h 90"/>
                <a:gd name="T34" fmla="*/ 21 w 59"/>
                <a:gd name="T35" fmla="*/ 80 h 90"/>
                <a:gd name="T36" fmla="*/ 17 w 59"/>
                <a:gd name="T37" fmla="*/ 82 h 90"/>
                <a:gd name="T38" fmla="*/ 12 w 59"/>
                <a:gd name="T39" fmla="*/ 87 h 90"/>
                <a:gd name="T40" fmla="*/ 10 w 59"/>
                <a:gd name="T41" fmla="*/ 85 h 90"/>
                <a:gd name="T42" fmla="*/ 7 w 59"/>
                <a:gd name="T43" fmla="*/ 85 h 90"/>
                <a:gd name="T44" fmla="*/ 3 w 59"/>
                <a:gd name="T45" fmla="*/ 90 h 90"/>
                <a:gd name="T46" fmla="*/ 3 w 59"/>
                <a:gd name="T47" fmla="*/ 85 h 90"/>
                <a:gd name="T48" fmla="*/ 7 w 59"/>
                <a:gd name="T49" fmla="*/ 82 h 90"/>
                <a:gd name="T50" fmla="*/ 7 w 59"/>
                <a:gd name="T51" fmla="*/ 78 h 90"/>
                <a:gd name="T52" fmla="*/ 5 w 59"/>
                <a:gd name="T53" fmla="*/ 80 h 90"/>
                <a:gd name="T54" fmla="*/ 5 w 59"/>
                <a:gd name="T55" fmla="*/ 73 h 90"/>
                <a:gd name="T56" fmla="*/ 7 w 59"/>
                <a:gd name="T57" fmla="*/ 66 h 90"/>
                <a:gd name="T58" fmla="*/ 7 w 59"/>
                <a:gd name="T59" fmla="*/ 61 h 90"/>
                <a:gd name="T60" fmla="*/ 10 w 59"/>
                <a:gd name="T61" fmla="*/ 56 h 90"/>
                <a:gd name="T62" fmla="*/ 10 w 59"/>
                <a:gd name="T63" fmla="*/ 54 h 90"/>
                <a:gd name="T64" fmla="*/ 7 w 59"/>
                <a:gd name="T65" fmla="*/ 47 h 90"/>
                <a:gd name="T66" fmla="*/ 5 w 59"/>
                <a:gd name="T67" fmla="*/ 40 h 90"/>
                <a:gd name="T68" fmla="*/ 5 w 59"/>
                <a:gd name="T69" fmla="*/ 42 h 90"/>
                <a:gd name="T70" fmla="*/ 0 w 59"/>
                <a:gd name="T71" fmla="*/ 40 h 90"/>
                <a:gd name="T72" fmla="*/ 0 w 59"/>
                <a:gd name="T73" fmla="*/ 38 h 90"/>
                <a:gd name="T74" fmla="*/ 5 w 59"/>
                <a:gd name="T75" fmla="*/ 35 h 90"/>
                <a:gd name="T76" fmla="*/ 12 w 59"/>
                <a:gd name="T77" fmla="*/ 35 h 90"/>
                <a:gd name="T78" fmla="*/ 12 w 59"/>
                <a:gd name="T79" fmla="*/ 33 h 90"/>
                <a:gd name="T80" fmla="*/ 10 w 59"/>
                <a:gd name="T81" fmla="*/ 28 h 90"/>
                <a:gd name="T82" fmla="*/ 12 w 59"/>
                <a:gd name="T83" fmla="*/ 26 h 90"/>
                <a:gd name="T84" fmla="*/ 10 w 59"/>
                <a:gd name="T85" fmla="*/ 23 h 90"/>
                <a:gd name="T86" fmla="*/ 7 w 59"/>
                <a:gd name="T87" fmla="*/ 21 h 90"/>
                <a:gd name="T88" fmla="*/ 7 w 59"/>
                <a:gd name="T89" fmla="*/ 19 h 90"/>
                <a:gd name="T90" fmla="*/ 5 w 59"/>
                <a:gd name="T91" fmla="*/ 16 h 90"/>
                <a:gd name="T92" fmla="*/ 12 w 59"/>
                <a:gd name="T93" fmla="*/ 12 h 90"/>
                <a:gd name="T94" fmla="*/ 24 w 59"/>
                <a:gd name="T95" fmla="*/ 4 h 90"/>
                <a:gd name="T96" fmla="*/ 33 w 59"/>
                <a:gd name="T97"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90">
                  <a:moveTo>
                    <a:pt x="40" y="0"/>
                  </a:moveTo>
                  <a:lnTo>
                    <a:pt x="40" y="0"/>
                  </a:lnTo>
                  <a:lnTo>
                    <a:pt x="45" y="9"/>
                  </a:lnTo>
                  <a:lnTo>
                    <a:pt x="50" y="12"/>
                  </a:lnTo>
                  <a:lnTo>
                    <a:pt x="52" y="16"/>
                  </a:lnTo>
                  <a:lnTo>
                    <a:pt x="55" y="21"/>
                  </a:lnTo>
                  <a:lnTo>
                    <a:pt x="57" y="28"/>
                  </a:lnTo>
                  <a:lnTo>
                    <a:pt x="57" y="35"/>
                  </a:lnTo>
                  <a:lnTo>
                    <a:pt x="57" y="47"/>
                  </a:lnTo>
                  <a:lnTo>
                    <a:pt x="59" y="52"/>
                  </a:lnTo>
                  <a:lnTo>
                    <a:pt x="59" y="52"/>
                  </a:lnTo>
                  <a:lnTo>
                    <a:pt x="57" y="61"/>
                  </a:lnTo>
                  <a:lnTo>
                    <a:pt x="55" y="68"/>
                  </a:lnTo>
                  <a:lnTo>
                    <a:pt x="52" y="71"/>
                  </a:lnTo>
                  <a:lnTo>
                    <a:pt x="50" y="71"/>
                  </a:lnTo>
                  <a:lnTo>
                    <a:pt x="45" y="73"/>
                  </a:lnTo>
                  <a:lnTo>
                    <a:pt x="43" y="71"/>
                  </a:lnTo>
                  <a:lnTo>
                    <a:pt x="40" y="73"/>
                  </a:lnTo>
                  <a:lnTo>
                    <a:pt x="40" y="75"/>
                  </a:lnTo>
                  <a:lnTo>
                    <a:pt x="38" y="78"/>
                  </a:lnTo>
                  <a:lnTo>
                    <a:pt x="38" y="75"/>
                  </a:lnTo>
                  <a:lnTo>
                    <a:pt x="36" y="75"/>
                  </a:lnTo>
                  <a:lnTo>
                    <a:pt x="31" y="75"/>
                  </a:lnTo>
                  <a:lnTo>
                    <a:pt x="31" y="75"/>
                  </a:lnTo>
                  <a:lnTo>
                    <a:pt x="26" y="78"/>
                  </a:lnTo>
                  <a:lnTo>
                    <a:pt x="29" y="78"/>
                  </a:lnTo>
                  <a:lnTo>
                    <a:pt x="26" y="80"/>
                  </a:lnTo>
                  <a:lnTo>
                    <a:pt x="26" y="82"/>
                  </a:lnTo>
                  <a:lnTo>
                    <a:pt x="24" y="80"/>
                  </a:lnTo>
                  <a:lnTo>
                    <a:pt x="21" y="78"/>
                  </a:lnTo>
                  <a:lnTo>
                    <a:pt x="21" y="85"/>
                  </a:lnTo>
                  <a:lnTo>
                    <a:pt x="21" y="85"/>
                  </a:lnTo>
                  <a:lnTo>
                    <a:pt x="19" y="85"/>
                  </a:lnTo>
                  <a:lnTo>
                    <a:pt x="19" y="85"/>
                  </a:lnTo>
                  <a:lnTo>
                    <a:pt x="19" y="82"/>
                  </a:lnTo>
                  <a:lnTo>
                    <a:pt x="21" y="80"/>
                  </a:lnTo>
                  <a:lnTo>
                    <a:pt x="19" y="80"/>
                  </a:lnTo>
                  <a:lnTo>
                    <a:pt x="17" y="82"/>
                  </a:lnTo>
                  <a:lnTo>
                    <a:pt x="12" y="87"/>
                  </a:lnTo>
                  <a:lnTo>
                    <a:pt x="12" y="87"/>
                  </a:lnTo>
                  <a:lnTo>
                    <a:pt x="12" y="85"/>
                  </a:lnTo>
                  <a:lnTo>
                    <a:pt x="10" y="85"/>
                  </a:lnTo>
                  <a:lnTo>
                    <a:pt x="7" y="90"/>
                  </a:lnTo>
                  <a:lnTo>
                    <a:pt x="7" y="85"/>
                  </a:lnTo>
                  <a:lnTo>
                    <a:pt x="3" y="87"/>
                  </a:lnTo>
                  <a:lnTo>
                    <a:pt x="3" y="90"/>
                  </a:lnTo>
                  <a:lnTo>
                    <a:pt x="0" y="87"/>
                  </a:lnTo>
                  <a:lnTo>
                    <a:pt x="3" y="85"/>
                  </a:lnTo>
                  <a:lnTo>
                    <a:pt x="3" y="82"/>
                  </a:lnTo>
                  <a:lnTo>
                    <a:pt x="7" y="82"/>
                  </a:lnTo>
                  <a:lnTo>
                    <a:pt x="7" y="80"/>
                  </a:lnTo>
                  <a:lnTo>
                    <a:pt x="7" y="78"/>
                  </a:lnTo>
                  <a:lnTo>
                    <a:pt x="5" y="78"/>
                  </a:lnTo>
                  <a:lnTo>
                    <a:pt x="5" y="80"/>
                  </a:lnTo>
                  <a:lnTo>
                    <a:pt x="3" y="78"/>
                  </a:lnTo>
                  <a:lnTo>
                    <a:pt x="5" y="73"/>
                  </a:lnTo>
                  <a:lnTo>
                    <a:pt x="5" y="71"/>
                  </a:lnTo>
                  <a:lnTo>
                    <a:pt x="7" y="66"/>
                  </a:lnTo>
                  <a:lnTo>
                    <a:pt x="7" y="64"/>
                  </a:lnTo>
                  <a:lnTo>
                    <a:pt x="7" y="61"/>
                  </a:lnTo>
                  <a:lnTo>
                    <a:pt x="10" y="59"/>
                  </a:lnTo>
                  <a:lnTo>
                    <a:pt x="10" y="56"/>
                  </a:lnTo>
                  <a:lnTo>
                    <a:pt x="10" y="56"/>
                  </a:lnTo>
                  <a:lnTo>
                    <a:pt x="10" y="54"/>
                  </a:lnTo>
                  <a:lnTo>
                    <a:pt x="7" y="52"/>
                  </a:lnTo>
                  <a:lnTo>
                    <a:pt x="7" y="47"/>
                  </a:lnTo>
                  <a:lnTo>
                    <a:pt x="5" y="45"/>
                  </a:lnTo>
                  <a:lnTo>
                    <a:pt x="5" y="40"/>
                  </a:lnTo>
                  <a:lnTo>
                    <a:pt x="3" y="38"/>
                  </a:lnTo>
                  <a:lnTo>
                    <a:pt x="5" y="42"/>
                  </a:lnTo>
                  <a:lnTo>
                    <a:pt x="3" y="45"/>
                  </a:lnTo>
                  <a:lnTo>
                    <a:pt x="0" y="40"/>
                  </a:lnTo>
                  <a:lnTo>
                    <a:pt x="0" y="40"/>
                  </a:lnTo>
                  <a:lnTo>
                    <a:pt x="0" y="38"/>
                  </a:lnTo>
                  <a:lnTo>
                    <a:pt x="3" y="35"/>
                  </a:lnTo>
                  <a:lnTo>
                    <a:pt x="5" y="35"/>
                  </a:lnTo>
                  <a:lnTo>
                    <a:pt x="10" y="33"/>
                  </a:lnTo>
                  <a:lnTo>
                    <a:pt x="12" y="35"/>
                  </a:lnTo>
                  <a:lnTo>
                    <a:pt x="12" y="35"/>
                  </a:lnTo>
                  <a:lnTo>
                    <a:pt x="12" y="33"/>
                  </a:lnTo>
                  <a:lnTo>
                    <a:pt x="12" y="30"/>
                  </a:lnTo>
                  <a:lnTo>
                    <a:pt x="10" y="28"/>
                  </a:lnTo>
                  <a:lnTo>
                    <a:pt x="12" y="26"/>
                  </a:lnTo>
                  <a:lnTo>
                    <a:pt x="12" y="26"/>
                  </a:lnTo>
                  <a:lnTo>
                    <a:pt x="10" y="23"/>
                  </a:lnTo>
                  <a:lnTo>
                    <a:pt x="10" y="23"/>
                  </a:lnTo>
                  <a:lnTo>
                    <a:pt x="7" y="23"/>
                  </a:lnTo>
                  <a:lnTo>
                    <a:pt x="7" y="21"/>
                  </a:lnTo>
                  <a:lnTo>
                    <a:pt x="7" y="21"/>
                  </a:lnTo>
                  <a:lnTo>
                    <a:pt x="7" y="19"/>
                  </a:lnTo>
                  <a:lnTo>
                    <a:pt x="5" y="16"/>
                  </a:lnTo>
                  <a:lnTo>
                    <a:pt x="5" y="16"/>
                  </a:lnTo>
                  <a:lnTo>
                    <a:pt x="7" y="16"/>
                  </a:lnTo>
                  <a:lnTo>
                    <a:pt x="12" y="12"/>
                  </a:lnTo>
                  <a:lnTo>
                    <a:pt x="19" y="7"/>
                  </a:lnTo>
                  <a:lnTo>
                    <a:pt x="24" y="4"/>
                  </a:lnTo>
                  <a:lnTo>
                    <a:pt x="29" y="4"/>
                  </a:lnTo>
                  <a:lnTo>
                    <a:pt x="33" y="4"/>
                  </a:lnTo>
                  <a:lnTo>
                    <a:pt x="4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2" name="Freeform 231">
              <a:extLst>
                <a:ext uri="{FF2B5EF4-FFF2-40B4-BE49-F238E27FC236}">
                  <a16:creationId xmlns:a16="http://schemas.microsoft.com/office/drawing/2014/main" id="{5947C770-6C69-44CC-B70A-038338A31460}"/>
                </a:ext>
              </a:extLst>
            </p:cNvPr>
            <p:cNvSpPr>
              <a:spLocks/>
            </p:cNvSpPr>
            <p:nvPr/>
          </p:nvSpPr>
          <p:spPr bwMode="auto">
            <a:xfrm>
              <a:off x="7043196" y="4452070"/>
              <a:ext cx="277945" cy="172061"/>
            </a:xfrm>
            <a:custGeom>
              <a:avLst/>
              <a:gdLst>
                <a:gd name="T0" fmla="*/ 78 w 168"/>
                <a:gd name="T1" fmla="*/ 43 h 104"/>
                <a:gd name="T2" fmla="*/ 85 w 168"/>
                <a:gd name="T3" fmla="*/ 50 h 104"/>
                <a:gd name="T4" fmla="*/ 87 w 168"/>
                <a:gd name="T5" fmla="*/ 50 h 104"/>
                <a:gd name="T6" fmla="*/ 90 w 168"/>
                <a:gd name="T7" fmla="*/ 38 h 104"/>
                <a:gd name="T8" fmla="*/ 94 w 168"/>
                <a:gd name="T9" fmla="*/ 38 h 104"/>
                <a:gd name="T10" fmla="*/ 99 w 168"/>
                <a:gd name="T11" fmla="*/ 45 h 104"/>
                <a:gd name="T12" fmla="*/ 102 w 168"/>
                <a:gd name="T13" fmla="*/ 40 h 104"/>
                <a:gd name="T14" fmla="*/ 97 w 168"/>
                <a:gd name="T15" fmla="*/ 36 h 104"/>
                <a:gd name="T16" fmla="*/ 104 w 168"/>
                <a:gd name="T17" fmla="*/ 31 h 104"/>
                <a:gd name="T18" fmla="*/ 102 w 168"/>
                <a:gd name="T19" fmla="*/ 26 h 104"/>
                <a:gd name="T20" fmla="*/ 111 w 168"/>
                <a:gd name="T21" fmla="*/ 21 h 104"/>
                <a:gd name="T22" fmla="*/ 120 w 168"/>
                <a:gd name="T23" fmla="*/ 7 h 104"/>
                <a:gd name="T24" fmla="*/ 123 w 168"/>
                <a:gd name="T25" fmla="*/ 0 h 104"/>
                <a:gd name="T26" fmla="*/ 125 w 168"/>
                <a:gd name="T27" fmla="*/ 5 h 104"/>
                <a:gd name="T28" fmla="*/ 128 w 168"/>
                <a:gd name="T29" fmla="*/ 2 h 104"/>
                <a:gd name="T30" fmla="*/ 132 w 168"/>
                <a:gd name="T31" fmla="*/ 2 h 104"/>
                <a:gd name="T32" fmla="*/ 137 w 168"/>
                <a:gd name="T33" fmla="*/ 7 h 104"/>
                <a:gd name="T34" fmla="*/ 139 w 168"/>
                <a:gd name="T35" fmla="*/ 14 h 104"/>
                <a:gd name="T36" fmla="*/ 142 w 168"/>
                <a:gd name="T37" fmla="*/ 19 h 104"/>
                <a:gd name="T38" fmla="*/ 146 w 168"/>
                <a:gd name="T39" fmla="*/ 17 h 104"/>
                <a:gd name="T40" fmla="*/ 146 w 168"/>
                <a:gd name="T41" fmla="*/ 21 h 104"/>
                <a:gd name="T42" fmla="*/ 149 w 168"/>
                <a:gd name="T43" fmla="*/ 21 h 104"/>
                <a:gd name="T44" fmla="*/ 158 w 168"/>
                <a:gd name="T45" fmla="*/ 26 h 104"/>
                <a:gd name="T46" fmla="*/ 168 w 168"/>
                <a:gd name="T47" fmla="*/ 31 h 104"/>
                <a:gd name="T48" fmla="*/ 161 w 168"/>
                <a:gd name="T49" fmla="*/ 36 h 104"/>
                <a:gd name="T50" fmla="*/ 154 w 168"/>
                <a:gd name="T51" fmla="*/ 36 h 104"/>
                <a:gd name="T52" fmla="*/ 151 w 168"/>
                <a:gd name="T53" fmla="*/ 40 h 104"/>
                <a:gd name="T54" fmla="*/ 156 w 168"/>
                <a:gd name="T55" fmla="*/ 43 h 104"/>
                <a:gd name="T56" fmla="*/ 146 w 168"/>
                <a:gd name="T57" fmla="*/ 47 h 104"/>
                <a:gd name="T58" fmla="*/ 142 w 168"/>
                <a:gd name="T59" fmla="*/ 45 h 104"/>
                <a:gd name="T60" fmla="*/ 139 w 168"/>
                <a:gd name="T61" fmla="*/ 47 h 104"/>
                <a:gd name="T62" fmla="*/ 130 w 168"/>
                <a:gd name="T63" fmla="*/ 45 h 104"/>
                <a:gd name="T64" fmla="*/ 106 w 168"/>
                <a:gd name="T65" fmla="*/ 47 h 104"/>
                <a:gd name="T66" fmla="*/ 102 w 168"/>
                <a:gd name="T67" fmla="*/ 64 h 104"/>
                <a:gd name="T68" fmla="*/ 90 w 168"/>
                <a:gd name="T69" fmla="*/ 87 h 104"/>
                <a:gd name="T70" fmla="*/ 83 w 168"/>
                <a:gd name="T71" fmla="*/ 95 h 104"/>
                <a:gd name="T72" fmla="*/ 73 w 168"/>
                <a:gd name="T73" fmla="*/ 97 h 104"/>
                <a:gd name="T74" fmla="*/ 59 w 168"/>
                <a:gd name="T75" fmla="*/ 97 h 104"/>
                <a:gd name="T76" fmla="*/ 54 w 168"/>
                <a:gd name="T77" fmla="*/ 95 h 104"/>
                <a:gd name="T78" fmla="*/ 42 w 168"/>
                <a:gd name="T79" fmla="*/ 97 h 104"/>
                <a:gd name="T80" fmla="*/ 33 w 168"/>
                <a:gd name="T81" fmla="*/ 104 h 104"/>
                <a:gd name="T82" fmla="*/ 24 w 168"/>
                <a:gd name="T83" fmla="*/ 104 h 104"/>
                <a:gd name="T84" fmla="*/ 12 w 168"/>
                <a:gd name="T85" fmla="*/ 104 h 104"/>
                <a:gd name="T86" fmla="*/ 0 w 168"/>
                <a:gd name="T87" fmla="*/ 85 h 104"/>
                <a:gd name="T88" fmla="*/ 2 w 168"/>
                <a:gd name="T89" fmla="*/ 85 h 104"/>
                <a:gd name="T90" fmla="*/ 7 w 168"/>
                <a:gd name="T91" fmla="*/ 90 h 104"/>
                <a:gd name="T92" fmla="*/ 17 w 168"/>
                <a:gd name="T93" fmla="*/ 90 h 104"/>
                <a:gd name="T94" fmla="*/ 26 w 168"/>
                <a:gd name="T95" fmla="*/ 92 h 104"/>
                <a:gd name="T96" fmla="*/ 28 w 168"/>
                <a:gd name="T97" fmla="*/ 85 h 104"/>
                <a:gd name="T98" fmla="*/ 28 w 168"/>
                <a:gd name="T99" fmla="*/ 80 h 104"/>
                <a:gd name="T100" fmla="*/ 31 w 168"/>
                <a:gd name="T101" fmla="*/ 76 h 104"/>
                <a:gd name="T102" fmla="*/ 35 w 168"/>
                <a:gd name="T103" fmla="*/ 71 h 104"/>
                <a:gd name="T104" fmla="*/ 42 w 168"/>
                <a:gd name="T105" fmla="*/ 69 h 104"/>
                <a:gd name="T106" fmla="*/ 50 w 168"/>
                <a:gd name="T107" fmla="*/ 69 h 104"/>
                <a:gd name="T108" fmla="*/ 59 w 168"/>
                <a:gd name="T109" fmla="*/ 64 h 104"/>
                <a:gd name="T110" fmla="*/ 66 w 168"/>
                <a:gd name="T111" fmla="*/ 54 h 104"/>
                <a:gd name="T112" fmla="*/ 76 w 168"/>
                <a:gd name="T113" fmla="*/ 4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4">
                  <a:moveTo>
                    <a:pt x="76" y="40"/>
                  </a:moveTo>
                  <a:lnTo>
                    <a:pt x="78" y="43"/>
                  </a:lnTo>
                  <a:lnTo>
                    <a:pt x="78" y="43"/>
                  </a:lnTo>
                  <a:lnTo>
                    <a:pt x="80" y="45"/>
                  </a:lnTo>
                  <a:lnTo>
                    <a:pt x="83" y="47"/>
                  </a:lnTo>
                  <a:lnTo>
                    <a:pt x="85" y="50"/>
                  </a:lnTo>
                  <a:lnTo>
                    <a:pt x="85" y="50"/>
                  </a:lnTo>
                  <a:lnTo>
                    <a:pt x="87" y="52"/>
                  </a:lnTo>
                  <a:lnTo>
                    <a:pt x="87" y="50"/>
                  </a:lnTo>
                  <a:lnTo>
                    <a:pt x="90" y="47"/>
                  </a:lnTo>
                  <a:lnTo>
                    <a:pt x="90" y="40"/>
                  </a:lnTo>
                  <a:lnTo>
                    <a:pt x="90" y="38"/>
                  </a:lnTo>
                  <a:lnTo>
                    <a:pt x="92" y="38"/>
                  </a:lnTo>
                  <a:lnTo>
                    <a:pt x="94" y="38"/>
                  </a:lnTo>
                  <a:lnTo>
                    <a:pt x="94" y="38"/>
                  </a:lnTo>
                  <a:lnTo>
                    <a:pt x="94" y="43"/>
                  </a:lnTo>
                  <a:lnTo>
                    <a:pt x="97" y="43"/>
                  </a:lnTo>
                  <a:lnTo>
                    <a:pt x="99" y="45"/>
                  </a:lnTo>
                  <a:lnTo>
                    <a:pt x="99" y="45"/>
                  </a:lnTo>
                  <a:lnTo>
                    <a:pt x="102" y="43"/>
                  </a:lnTo>
                  <a:lnTo>
                    <a:pt x="102" y="40"/>
                  </a:lnTo>
                  <a:lnTo>
                    <a:pt x="99" y="40"/>
                  </a:lnTo>
                  <a:lnTo>
                    <a:pt x="99" y="38"/>
                  </a:lnTo>
                  <a:lnTo>
                    <a:pt x="97" y="36"/>
                  </a:lnTo>
                  <a:lnTo>
                    <a:pt x="99" y="36"/>
                  </a:lnTo>
                  <a:lnTo>
                    <a:pt x="102" y="33"/>
                  </a:lnTo>
                  <a:lnTo>
                    <a:pt x="104" y="31"/>
                  </a:lnTo>
                  <a:lnTo>
                    <a:pt x="102" y="31"/>
                  </a:lnTo>
                  <a:lnTo>
                    <a:pt x="102" y="28"/>
                  </a:lnTo>
                  <a:lnTo>
                    <a:pt x="102" y="26"/>
                  </a:lnTo>
                  <a:lnTo>
                    <a:pt x="104" y="26"/>
                  </a:lnTo>
                  <a:lnTo>
                    <a:pt x="106" y="26"/>
                  </a:lnTo>
                  <a:lnTo>
                    <a:pt x="111" y="21"/>
                  </a:lnTo>
                  <a:lnTo>
                    <a:pt x="113" y="17"/>
                  </a:lnTo>
                  <a:lnTo>
                    <a:pt x="113" y="14"/>
                  </a:lnTo>
                  <a:lnTo>
                    <a:pt x="120" y="7"/>
                  </a:lnTo>
                  <a:lnTo>
                    <a:pt x="123" y="5"/>
                  </a:lnTo>
                  <a:lnTo>
                    <a:pt x="123" y="2"/>
                  </a:lnTo>
                  <a:lnTo>
                    <a:pt x="123" y="0"/>
                  </a:lnTo>
                  <a:lnTo>
                    <a:pt x="125" y="0"/>
                  </a:lnTo>
                  <a:lnTo>
                    <a:pt x="125" y="0"/>
                  </a:lnTo>
                  <a:lnTo>
                    <a:pt x="125" y="5"/>
                  </a:lnTo>
                  <a:lnTo>
                    <a:pt x="125" y="7"/>
                  </a:lnTo>
                  <a:lnTo>
                    <a:pt x="125" y="7"/>
                  </a:lnTo>
                  <a:lnTo>
                    <a:pt x="128" y="2"/>
                  </a:lnTo>
                  <a:lnTo>
                    <a:pt x="128" y="0"/>
                  </a:lnTo>
                  <a:lnTo>
                    <a:pt x="130" y="0"/>
                  </a:lnTo>
                  <a:lnTo>
                    <a:pt x="132" y="2"/>
                  </a:lnTo>
                  <a:lnTo>
                    <a:pt x="132" y="7"/>
                  </a:lnTo>
                  <a:lnTo>
                    <a:pt x="135" y="7"/>
                  </a:lnTo>
                  <a:lnTo>
                    <a:pt x="137" y="7"/>
                  </a:lnTo>
                  <a:lnTo>
                    <a:pt x="139" y="10"/>
                  </a:lnTo>
                  <a:lnTo>
                    <a:pt x="142" y="12"/>
                  </a:lnTo>
                  <a:lnTo>
                    <a:pt x="139" y="14"/>
                  </a:lnTo>
                  <a:lnTo>
                    <a:pt x="139" y="19"/>
                  </a:lnTo>
                  <a:lnTo>
                    <a:pt x="139" y="19"/>
                  </a:lnTo>
                  <a:lnTo>
                    <a:pt x="142" y="19"/>
                  </a:lnTo>
                  <a:lnTo>
                    <a:pt x="142" y="19"/>
                  </a:lnTo>
                  <a:lnTo>
                    <a:pt x="144" y="17"/>
                  </a:lnTo>
                  <a:lnTo>
                    <a:pt x="146" y="17"/>
                  </a:lnTo>
                  <a:lnTo>
                    <a:pt x="146" y="19"/>
                  </a:lnTo>
                  <a:lnTo>
                    <a:pt x="146" y="21"/>
                  </a:lnTo>
                  <a:lnTo>
                    <a:pt x="146" y="21"/>
                  </a:lnTo>
                  <a:lnTo>
                    <a:pt x="146" y="24"/>
                  </a:lnTo>
                  <a:lnTo>
                    <a:pt x="149" y="24"/>
                  </a:lnTo>
                  <a:lnTo>
                    <a:pt x="149" y="21"/>
                  </a:lnTo>
                  <a:lnTo>
                    <a:pt x="151" y="21"/>
                  </a:lnTo>
                  <a:lnTo>
                    <a:pt x="154" y="21"/>
                  </a:lnTo>
                  <a:lnTo>
                    <a:pt x="158" y="26"/>
                  </a:lnTo>
                  <a:lnTo>
                    <a:pt x="165" y="28"/>
                  </a:lnTo>
                  <a:lnTo>
                    <a:pt x="168" y="28"/>
                  </a:lnTo>
                  <a:lnTo>
                    <a:pt x="168" y="31"/>
                  </a:lnTo>
                  <a:lnTo>
                    <a:pt x="168" y="33"/>
                  </a:lnTo>
                  <a:lnTo>
                    <a:pt x="163" y="33"/>
                  </a:lnTo>
                  <a:lnTo>
                    <a:pt x="161" y="36"/>
                  </a:lnTo>
                  <a:lnTo>
                    <a:pt x="158" y="36"/>
                  </a:lnTo>
                  <a:lnTo>
                    <a:pt x="156" y="36"/>
                  </a:lnTo>
                  <a:lnTo>
                    <a:pt x="154" y="36"/>
                  </a:lnTo>
                  <a:lnTo>
                    <a:pt x="151" y="36"/>
                  </a:lnTo>
                  <a:lnTo>
                    <a:pt x="149" y="38"/>
                  </a:lnTo>
                  <a:lnTo>
                    <a:pt x="151" y="40"/>
                  </a:lnTo>
                  <a:lnTo>
                    <a:pt x="154" y="43"/>
                  </a:lnTo>
                  <a:lnTo>
                    <a:pt x="154" y="43"/>
                  </a:lnTo>
                  <a:lnTo>
                    <a:pt x="156" y="43"/>
                  </a:lnTo>
                  <a:lnTo>
                    <a:pt x="156" y="45"/>
                  </a:lnTo>
                  <a:lnTo>
                    <a:pt x="151" y="45"/>
                  </a:lnTo>
                  <a:lnTo>
                    <a:pt x="146" y="47"/>
                  </a:lnTo>
                  <a:lnTo>
                    <a:pt x="144" y="47"/>
                  </a:lnTo>
                  <a:lnTo>
                    <a:pt x="142" y="47"/>
                  </a:lnTo>
                  <a:lnTo>
                    <a:pt x="142" y="45"/>
                  </a:lnTo>
                  <a:lnTo>
                    <a:pt x="139" y="45"/>
                  </a:lnTo>
                  <a:lnTo>
                    <a:pt x="139" y="47"/>
                  </a:lnTo>
                  <a:lnTo>
                    <a:pt x="139" y="47"/>
                  </a:lnTo>
                  <a:lnTo>
                    <a:pt x="137" y="47"/>
                  </a:lnTo>
                  <a:lnTo>
                    <a:pt x="132" y="47"/>
                  </a:lnTo>
                  <a:lnTo>
                    <a:pt x="130" y="45"/>
                  </a:lnTo>
                  <a:lnTo>
                    <a:pt x="113" y="45"/>
                  </a:lnTo>
                  <a:lnTo>
                    <a:pt x="109" y="45"/>
                  </a:lnTo>
                  <a:lnTo>
                    <a:pt x="106" y="47"/>
                  </a:lnTo>
                  <a:lnTo>
                    <a:pt x="104" y="54"/>
                  </a:lnTo>
                  <a:lnTo>
                    <a:pt x="104" y="61"/>
                  </a:lnTo>
                  <a:lnTo>
                    <a:pt x="102" y="64"/>
                  </a:lnTo>
                  <a:lnTo>
                    <a:pt x="92" y="73"/>
                  </a:lnTo>
                  <a:lnTo>
                    <a:pt x="92" y="83"/>
                  </a:lnTo>
                  <a:lnTo>
                    <a:pt x="90" y="87"/>
                  </a:lnTo>
                  <a:lnTo>
                    <a:pt x="87" y="92"/>
                  </a:lnTo>
                  <a:lnTo>
                    <a:pt x="85" y="95"/>
                  </a:lnTo>
                  <a:lnTo>
                    <a:pt x="83" y="95"/>
                  </a:lnTo>
                  <a:lnTo>
                    <a:pt x="78" y="97"/>
                  </a:lnTo>
                  <a:lnTo>
                    <a:pt x="76" y="97"/>
                  </a:lnTo>
                  <a:lnTo>
                    <a:pt x="73" y="97"/>
                  </a:lnTo>
                  <a:lnTo>
                    <a:pt x="68" y="99"/>
                  </a:lnTo>
                  <a:lnTo>
                    <a:pt x="66" y="99"/>
                  </a:lnTo>
                  <a:lnTo>
                    <a:pt x="59" y="97"/>
                  </a:lnTo>
                  <a:lnTo>
                    <a:pt x="57" y="97"/>
                  </a:lnTo>
                  <a:lnTo>
                    <a:pt x="57" y="95"/>
                  </a:lnTo>
                  <a:lnTo>
                    <a:pt x="54" y="95"/>
                  </a:lnTo>
                  <a:lnTo>
                    <a:pt x="47" y="95"/>
                  </a:lnTo>
                  <a:lnTo>
                    <a:pt x="45" y="95"/>
                  </a:lnTo>
                  <a:lnTo>
                    <a:pt x="42" y="97"/>
                  </a:lnTo>
                  <a:lnTo>
                    <a:pt x="38" y="104"/>
                  </a:lnTo>
                  <a:lnTo>
                    <a:pt x="35" y="104"/>
                  </a:lnTo>
                  <a:lnTo>
                    <a:pt x="33" y="104"/>
                  </a:lnTo>
                  <a:lnTo>
                    <a:pt x="28" y="104"/>
                  </a:lnTo>
                  <a:lnTo>
                    <a:pt x="26" y="104"/>
                  </a:lnTo>
                  <a:lnTo>
                    <a:pt x="24" y="104"/>
                  </a:lnTo>
                  <a:lnTo>
                    <a:pt x="19" y="104"/>
                  </a:lnTo>
                  <a:lnTo>
                    <a:pt x="17" y="104"/>
                  </a:lnTo>
                  <a:lnTo>
                    <a:pt x="12" y="104"/>
                  </a:lnTo>
                  <a:lnTo>
                    <a:pt x="7" y="99"/>
                  </a:lnTo>
                  <a:lnTo>
                    <a:pt x="0" y="87"/>
                  </a:lnTo>
                  <a:lnTo>
                    <a:pt x="0" y="85"/>
                  </a:lnTo>
                  <a:lnTo>
                    <a:pt x="0" y="85"/>
                  </a:lnTo>
                  <a:lnTo>
                    <a:pt x="0" y="85"/>
                  </a:lnTo>
                  <a:lnTo>
                    <a:pt x="2" y="85"/>
                  </a:lnTo>
                  <a:lnTo>
                    <a:pt x="2" y="87"/>
                  </a:lnTo>
                  <a:lnTo>
                    <a:pt x="2" y="87"/>
                  </a:lnTo>
                  <a:lnTo>
                    <a:pt x="7" y="90"/>
                  </a:lnTo>
                  <a:lnTo>
                    <a:pt x="9" y="90"/>
                  </a:lnTo>
                  <a:lnTo>
                    <a:pt x="14" y="90"/>
                  </a:lnTo>
                  <a:lnTo>
                    <a:pt x="17" y="90"/>
                  </a:lnTo>
                  <a:lnTo>
                    <a:pt x="17" y="92"/>
                  </a:lnTo>
                  <a:lnTo>
                    <a:pt x="21" y="92"/>
                  </a:lnTo>
                  <a:lnTo>
                    <a:pt x="26" y="92"/>
                  </a:lnTo>
                  <a:lnTo>
                    <a:pt x="26" y="90"/>
                  </a:lnTo>
                  <a:lnTo>
                    <a:pt x="28" y="90"/>
                  </a:lnTo>
                  <a:lnTo>
                    <a:pt x="28" y="85"/>
                  </a:lnTo>
                  <a:lnTo>
                    <a:pt x="28" y="85"/>
                  </a:lnTo>
                  <a:lnTo>
                    <a:pt x="28" y="80"/>
                  </a:lnTo>
                  <a:lnTo>
                    <a:pt x="28" y="80"/>
                  </a:lnTo>
                  <a:lnTo>
                    <a:pt x="31" y="80"/>
                  </a:lnTo>
                  <a:lnTo>
                    <a:pt x="31" y="80"/>
                  </a:lnTo>
                  <a:lnTo>
                    <a:pt x="31" y="76"/>
                  </a:lnTo>
                  <a:lnTo>
                    <a:pt x="33" y="76"/>
                  </a:lnTo>
                  <a:lnTo>
                    <a:pt x="35" y="71"/>
                  </a:lnTo>
                  <a:lnTo>
                    <a:pt x="35" y="71"/>
                  </a:lnTo>
                  <a:lnTo>
                    <a:pt x="40" y="71"/>
                  </a:lnTo>
                  <a:lnTo>
                    <a:pt x="42" y="71"/>
                  </a:lnTo>
                  <a:lnTo>
                    <a:pt x="42" y="69"/>
                  </a:lnTo>
                  <a:lnTo>
                    <a:pt x="45" y="69"/>
                  </a:lnTo>
                  <a:lnTo>
                    <a:pt x="47" y="69"/>
                  </a:lnTo>
                  <a:lnTo>
                    <a:pt x="50" y="69"/>
                  </a:lnTo>
                  <a:lnTo>
                    <a:pt x="54" y="69"/>
                  </a:lnTo>
                  <a:lnTo>
                    <a:pt x="57" y="66"/>
                  </a:lnTo>
                  <a:lnTo>
                    <a:pt x="59" y="64"/>
                  </a:lnTo>
                  <a:lnTo>
                    <a:pt x="64" y="59"/>
                  </a:lnTo>
                  <a:lnTo>
                    <a:pt x="64" y="57"/>
                  </a:lnTo>
                  <a:lnTo>
                    <a:pt x="66" y="54"/>
                  </a:lnTo>
                  <a:lnTo>
                    <a:pt x="73" y="50"/>
                  </a:lnTo>
                  <a:lnTo>
                    <a:pt x="76" y="45"/>
                  </a:lnTo>
                  <a:lnTo>
                    <a:pt x="76" y="43"/>
                  </a:lnTo>
                  <a:lnTo>
                    <a:pt x="76" y="4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3" name="Freeform 232">
              <a:extLst>
                <a:ext uri="{FF2B5EF4-FFF2-40B4-BE49-F238E27FC236}">
                  <a16:creationId xmlns:a16="http://schemas.microsoft.com/office/drawing/2014/main" id="{35F4AB80-9E7C-439A-929C-19CCDE4B4BBF}"/>
                </a:ext>
              </a:extLst>
            </p:cNvPr>
            <p:cNvSpPr>
              <a:spLocks/>
            </p:cNvSpPr>
            <p:nvPr/>
          </p:nvSpPr>
          <p:spPr bwMode="auto">
            <a:xfrm>
              <a:off x="7043196" y="4452070"/>
              <a:ext cx="277945" cy="172061"/>
            </a:xfrm>
            <a:custGeom>
              <a:avLst/>
              <a:gdLst>
                <a:gd name="T0" fmla="*/ 78 w 168"/>
                <a:gd name="T1" fmla="*/ 43 h 104"/>
                <a:gd name="T2" fmla="*/ 85 w 168"/>
                <a:gd name="T3" fmla="*/ 50 h 104"/>
                <a:gd name="T4" fmla="*/ 87 w 168"/>
                <a:gd name="T5" fmla="*/ 50 h 104"/>
                <a:gd name="T6" fmla="*/ 90 w 168"/>
                <a:gd name="T7" fmla="*/ 38 h 104"/>
                <a:gd name="T8" fmla="*/ 94 w 168"/>
                <a:gd name="T9" fmla="*/ 38 h 104"/>
                <a:gd name="T10" fmla="*/ 99 w 168"/>
                <a:gd name="T11" fmla="*/ 45 h 104"/>
                <a:gd name="T12" fmla="*/ 102 w 168"/>
                <a:gd name="T13" fmla="*/ 40 h 104"/>
                <a:gd name="T14" fmla="*/ 97 w 168"/>
                <a:gd name="T15" fmla="*/ 36 h 104"/>
                <a:gd name="T16" fmla="*/ 104 w 168"/>
                <a:gd name="T17" fmla="*/ 31 h 104"/>
                <a:gd name="T18" fmla="*/ 102 w 168"/>
                <a:gd name="T19" fmla="*/ 26 h 104"/>
                <a:gd name="T20" fmla="*/ 111 w 168"/>
                <a:gd name="T21" fmla="*/ 21 h 104"/>
                <a:gd name="T22" fmla="*/ 120 w 168"/>
                <a:gd name="T23" fmla="*/ 7 h 104"/>
                <a:gd name="T24" fmla="*/ 123 w 168"/>
                <a:gd name="T25" fmla="*/ 0 h 104"/>
                <a:gd name="T26" fmla="*/ 125 w 168"/>
                <a:gd name="T27" fmla="*/ 5 h 104"/>
                <a:gd name="T28" fmla="*/ 128 w 168"/>
                <a:gd name="T29" fmla="*/ 2 h 104"/>
                <a:gd name="T30" fmla="*/ 132 w 168"/>
                <a:gd name="T31" fmla="*/ 2 h 104"/>
                <a:gd name="T32" fmla="*/ 137 w 168"/>
                <a:gd name="T33" fmla="*/ 7 h 104"/>
                <a:gd name="T34" fmla="*/ 139 w 168"/>
                <a:gd name="T35" fmla="*/ 14 h 104"/>
                <a:gd name="T36" fmla="*/ 142 w 168"/>
                <a:gd name="T37" fmla="*/ 19 h 104"/>
                <a:gd name="T38" fmla="*/ 146 w 168"/>
                <a:gd name="T39" fmla="*/ 17 h 104"/>
                <a:gd name="T40" fmla="*/ 146 w 168"/>
                <a:gd name="T41" fmla="*/ 21 h 104"/>
                <a:gd name="T42" fmla="*/ 149 w 168"/>
                <a:gd name="T43" fmla="*/ 21 h 104"/>
                <a:gd name="T44" fmla="*/ 158 w 168"/>
                <a:gd name="T45" fmla="*/ 26 h 104"/>
                <a:gd name="T46" fmla="*/ 168 w 168"/>
                <a:gd name="T47" fmla="*/ 31 h 104"/>
                <a:gd name="T48" fmla="*/ 161 w 168"/>
                <a:gd name="T49" fmla="*/ 36 h 104"/>
                <a:gd name="T50" fmla="*/ 154 w 168"/>
                <a:gd name="T51" fmla="*/ 36 h 104"/>
                <a:gd name="T52" fmla="*/ 151 w 168"/>
                <a:gd name="T53" fmla="*/ 40 h 104"/>
                <a:gd name="T54" fmla="*/ 156 w 168"/>
                <a:gd name="T55" fmla="*/ 43 h 104"/>
                <a:gd name="T56" fmla="*/ 146 w 168"/>
                <a:gd name="T57" fmla="*/ 47 h 104"/>
                <a:gd name="T58" fmla="*/ 142 w 168"/>
                <a:gd name="T59" fmla="*/ 45 h 104"/>
                <a:gd name="T60" fmla="*/ 139 w 168"/>
                <a:gd name="T61" fmla="*/ 47 h 104"/>
                <a:gd name="T62" fmla="*/ 130 w 168"/>
                <a:gd name="T63" fmla="*/ 45 h 104"/>
                <a:gd name="T64" fmla="*/ 106 w 168"/>
                <a:gd name="T65" fmla="*/ 47 h 104"/>
                <a:gd name="T66" fmla="*/ 102 w 168"/>
                <a:gd name="T67" fmla="*/ 64 h 104"/>
                <a:gd name="T68" fmla="*/ 90 w 168"/>
                <a:gd name="T69" fmla="*/ 87 h 104"/>
                <a:gd name="T70" fmla="*/ 83 w 168"/>
                <a:gd name="T71" fmla="*/ 95 h 104"/>
                <a:gd name="T72" fmla="*/ 73 w 168"/>
                <a:gd name="T73" fmla="*/ 97 h 104"/>
                <a:gd name="T74" fmla="*/ 59 w 168"/>
                <a:gd name="T75" fmla="*/ 97 h 104"/>
                <a:gd name="T76" fmla="*/ 54 w 168"/>
                <a:gd name="T77" fmla="*/ 95 h 104"/>
                <a:gd name="T78" fmla="*/ 42 w 168"/>
                <a:gd name="T79" fmla="*/ 97 h 104"/>
                <a:gd name="T80" fmla="*/ 33 w 168"/>
                <a:gd name="T81" fmla="*/ 104 h 104"/>
                <a:gd name="T82" fmla="*/ 24 w 168"/>
                <a:gd name="T83" fmla="*/ 104 h 104"/>
                <a:gd name="T84" fmla="*/ 12 w 168"/>
                <a:gd name="T85" fmla="*/ 104 h 104"/>
                <a:gd name="T86" fmla="*/ 0 w 168"/>
                <a:gd name="T87" fmla="*/ 85 h 104"/>
                <a:gd name="T88" fmla="*/ 2 w 168"/>
                <a:gd name="T89" fmla="*/ 85 h 104"/>
                <a:gd name="T90" fmla="*/ 7 w 168"/>
                <a:gd name="T91" fmla="*/ 90 h 104"/>
                <a:gd name="T92" fmla="*/ 17 w 168"/>
                <a:gd name="T93" fmla="*/ 90 h 104"/>
                <a:gd name="T94" fmla="*/ 26 w 168"/>
                <a:gd name="T95" fmla="*/ 92 h 104"/>
                <a:gd name="T96" fmla="*/ 28 w 168"/>
                <a:gd name="T97" fmla="*/ 85 h 104"/>
                <a:gd name="T98" fmla="*/ 28 w 168"/>
                <a:gd name="T99" fmla="*/ 80 h 104"/>
                <a:gd name="T100" fmla="*/ 31 w 168"/>
                <a:gd name="T101" fmla="*/ 76 h 104"/>
                <a:gd name="T102" fmla="*/ 35 w 168"/>
                <a:gd name="T103" fmla="*/ 71 h 104"/>
                <a:gd name="T104" fmla="*/ 42 w 168"/>
                <a:gd name="T105" fmla="*/ 69 h 104"/>
                <a:gd name="T106" fmla="*/ 50 w 168"/>
                <a:gd name="T107" fmla="*/ 69 h 104"/>
                <a:gd name="T108" fmla="*/ 59 w 168"/>
                <a:gd name="T109" fmla="*/ 64 h 104"/>
                <a:gd name="T110" fmla="*/ 66 w 168"/>
                <a:gd name="T111" fmla="*/ 54 h 104"/>
                <a:gd name="T112" fmla="*/ 76 w 168"/>
                <a:gd name="T113" fmla="*/ 4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4">
                  <a:moveTo>
                    <a:pt x="76" y="40"/>
                  </a:moveTo>
                  <a:lnTo>
                    <a:pt x="78" y="43"/>
                  </a:lnTo>
                  <a:lnTo>
                    <a:pt x="78" y="43"/>
                  </a:lnTo>
                  <a:lnTo>
                    <a:pt x="80" y="45"/>
                  </a:lnTo>
                  <a:lnTo>
                    <a:pt x="83" y="47"/>
                  </a:lnTo>
                  <a:lnTo>
                    <a:pt x="85" y="50"/>
                  </a:lnTo>
                  <a:lnTo>
                    <a:pt x="85" y="50"/>
                  </a:lnTo>
                  <a:lnTo>
                    <a:pt x="87" y="52"/>
                  </a:lnTo>
                  <a:lnTo>
                    <a:pt x="87" y="50"/>
                  </a:lnTo>
                  <a:lnTo>
                    <a:pt x="90" y="47"/>
                  </a:lnTo>
                  <a:lnTo>
                    <a:pt x="90" y="40"/>
                  </a:lnTo>
                  <a:lnTo>
                    <a:pt x="90" y="38"/>
                  </a:lnTo>
                  <a:lnTo>
                    <a:pt x="92" y="38"/>
                  </a:lnTo>
                  <a:lnTo>
                    <a:pt x="94" y="38"/>
                  </a:lnTo>
                  <a:lnTo>
                    <a:pt x="94" y="38"/>
                  </a:lnTo>
                  <a:lnTo>
                    <a:pt x="94" y="43"/>
                  </a:lnTo>
                  <a:lnTo>
                    <a:pt x="97" y="43"/>
                  </a:lnTo>
                  <a:lnTo>
                    <a:pt x="99" y="45"/>
                  </a:lnTo>
                  <a:lnTo>
                    <a:pt x="99" y="45"/>
                  </a:lnTo>
                  <a:lnTo>
                    <a:pt x="102" y="43"/>
                  </a:lnTo>
                  <a:lnTo>
                    <a:pt x="102" y="40"/>
                  </a:lnTo>
                  <a:lnTo>
                    <a:pt x="99" y="40"/>
                  </a:lnTo>
                  <a:lnTo>
                    <a:pt x="99" y="38"/>
                  </a:lnTo>
                  <a:lnTo>
                    <a:pt x="97" y="36"/>
                  </a:lnTo>
                  <a:lnTo>
                    <a:pt x="99" y="36"/>
                  </a:lnTo>
                  <a:lnTo>
                    <a:pt x="102" y="33"/>
                  </a:lnTo>
                  <a:lnTo>
                    <a:pt x="104" y="31"/>
                  </a:lnTo>
                  <a:lnTo>
                    <a:pt x="102" y="31"/>
                  </a:lnTo>
                  <a:lnTo>
                    <a:pt x="102" y="28"/>
                  </a:lnTo>
                  <a:lnTo>
                    <a:pt x="102" y="26"/>
                  </a:lnTo>
                  <a:lnTo>
                    <a:pt x="104" y="26"/>
                  </a:lnTo>
                  <a:lnTo>
                    <a:pt x="106" y="26"/>
                  </a:lnTo>
                  <a:lnTo>
                    <a:pt x="111" y="21"/>
                  </a:lnTo>
                  <a:lnTo>
                    <a:pt x="113" y="17"/>
                  </a:lnTo>
                  <a:lnTo>
                    <a:pt x="113" y="14"/>
                  </a:lnTo>
                  <a:lnTo>
                    <a:pt x="120" y="7"/>
                  </a:lnTo>
                  <a:lnTo>
                    <a:pt x="123" y="5"/>
                  </a:lnTo>
                  <a:lnTo>
                    <a:pt x="123" y="2"/>
                  </a:lnTo>
                  <a:lnTo>
                    <a:pt x="123" y="0"/>
                  </a:lnTo>
                  <a:lnTo>
                    <a:pt x="125" y="0"/>
                  </a:lnTo>
                  <a:lnTo>
                    <a:pt x="125" y="0"/>
                  </a:lnTo>
                  <a:lnTo>
                    <a:pt x="125" y="5"/>
                  </a:lnTo>
                  <a:lnTo>
                    <a:pt x="125" y="7"/>
                  </a:lnTo>
                  <a:lnTo>
                    <a:pt x="125" y="7"/>
                  </a:lnTo>
                  <a:lnTo>
                    <a:pt x="128" y="2"/>
                  </a:lnTo>
                  <a:lnTo>
                    <a:pt x="128" y="0"/>
                  </a:lnTo>
                  <a:lnTo>
                    <a:pt x="130" y="0"/>
                  </a:lnTo>
                  <a:lnTo>
                    <a:pt x="132" y="2"/>
                  </a:lnTo>
                  <a:lnTo>
                    <a:pt x="132" y="7"/>
                  </a:lnTo>
                  <a:lnTo>
                    <a:pt x="135" y="7"/>
                  </a:lnTo>
                  <a:lnTo>
                    <a:pt x="137" y="7"/>
                  </a:lnTo>
                  <a:lnTo>
                    <a:pt x="139" y="10"/>
                  </a:lnTo>
                  <a:lnTo>
                    <a:pt x="142" y="12"/>
                  </a:lnTo>
                  <a:lnTo>
                    <a:pt x="139" y="14"/>
                  </a:lnTo>
                  <a:lnTo>
                    <a:pt x="139" y="19"/>
                  </a:lnTo>
                  <a:lnTo>
                    <a:pt x="139" y="19"/>
                  </a:lnTo>
                  <a:lnTo>
                    <a:pt x="142" y="19"/>
                  </a:lnTo>
                  <a:lnTo>
                    <a:pt x="142" y="19"/>
                  </a:lnTo>
                  <a:lnTo>
                    <a:pt x="144" y="17"/>
                  </a:lnTo>
                  <a:lnTo>
                    <a:pt x="146" y="17"/>
                  </a:lnTo>
                  <a:lnTo>
                    <a:pt x="146" y="19"/>
                  </a:lnTo>
                  <a:lnTo>
                    <a:pt x="146" y="21"/>
                  </a:lnTo>
                  <a:lnTo>
                    <a:pt x="146" y="21"/>
                  </a:lnTo>
                  <a:lnTo>
                    <a:pt x="146" y="24"/>
                  </a:lnTo>
                  <a:lnTo>
                    <a:pt x="149" y="24"/>
                  </a:lnTo>
                  <a:lnTo>
                    <a:pt x="149" y="21"/>
                  </a:lnTo>
                  <a:lnTo>
                    <a:pt x="151" y="21"/>
                  </a:lnTo>
                  <a:lnTo>
                    <a:pt x="154" y="21"/>
                  </a:lnTo>
                  <a:lnTo>
                    <a:pt x="158" y="26"/>
                  </a:lnTo>
                  <a:lnTo>
                    <a:pt x="165" y="28"/>
                  </a:lnTo>
                  <a:lnTo>
                    <a:pt x="168" y="28"/>
                  </a:lnTo>
                  <a:lnTo>
                    <a:pt x="168" y="31"/>
                  </a:lnTo>
                  <a:lnTo>
                    <a:pt x="168" y="33"/>
                  </a:lnTo>
                  <a:lnTo>
                    <a:pt x="163" y="33"/>
                  </a:lnTo>
                  <a:lnTo>
                    <a:pt x="161" y="36"/>
                  </a:lnTo>
                  <a:lnTo>
                    <a:pt x="158" y="36"/>
                  </a:lnTo>
                  <a:lnTo>
                    <a:pt x="156" y="36"/>
                  </a:lnTo>
                  <a:lnTo>
                    <a:pt x="154" y="36"/>
                  </a:lnTo>
                  <a:lnTo>
                    <a:pt x="151" y="36"/>
                  </a:lnTo>
                  <a:lnTo>
                    <a:pt x="149" y="38"/>
                  </a:lnTo>
                  <a:lnTo>
                    <a:pt x="151" y="40"/>
                  </a:lnTo>
                  <a:lnTo>
                    <a:pt x="154" y="43"/>
                  </a:lnTo>
                  <a:lnTo>
                    <a:pt x="154" y="43"/>
                  </a:lnTo>
                  <a:lnTo>
                    <a:pt x="156" y="43"/>
                  </a:lnTo>
                  <a:lnTo>
                    <a:pt x="156" y="45"/>
                  </a:lnTo>
                  <a:lnTo>
                    <a:pt x="151" y="45"/>
                  </a:lnTo>
                  <a:lnTo>
                    <a:pt x="146" y="47"/>
                  </a:lnTo>
                  <a:lnTo>
                    <a:pt x="144" y="47"/>
                  </a:lnTo>
                  <a:lnTo>
                    <a:pt x="142" y="47"/>
                  </a:lnTo>
                  <a:lnTo>
                    <a:pt x="142" y="45"/>
                  </a:lnTo>
                  <a:lnTo>
                    <a:pt x="139" y="45"/>
                  </a:lnTo>
                  <a:lnTo>
                    <a:pt x="139" y="47"/>
                  </a:lnTo>
                  <a:lnTo>
                    <a:pt x="139" y="47"/>
                  </a:lnTo>
                  <a:lnTo>
                    <a:pt x="137" y="47"/>
                  </a:lnTo>
                  <a:lnTo>
                    <a:pt x="132" y="47"/>
                  </a:lnTo>
                  <a:lnTo>
                    <a:pt x="130" y="45"/>
                  </a:lnTo>
                  <a:lnTo>
                    <a:pt x="113" y="45"/>
                  </a:lnTo>
                  <a:lnTo>
                    <a:pt x="109" y="45"/>
                  </a:lnTo>
                  <a:lnTo>
                    <a:pt x="106" y="47"/>
                  </a:lnTo>
                  <a:lnTo>
                    <a:pt x="104" y="54"/>
                  </a:lnTo>
                  <a:lnTo>
                    <a:pt x="104" y="61"/>
                  </a:lnTo>
                  <a:lnTo>
                    <a:pt x="102" y="64"/>
                  </a:lnTo>
                  <a:lnTo>
                    <a:pt x="92" y="73"/>
                  </a:lnTo>
                  <a:lnTo>
                    <a:pt x="92" y="83"/>
                  </a:lnTo>
                  <a:lnTo>
                    <a:pt x="90" y="87"/>
                  </a:lnTo>
                  <a:lnTo>
                    <a:pt x="87" y="92"/>
                  </a:lnTo>
                  <a:lnTo>
                    <a:pt x="85" y="95"/>
                  </a:lnTo>
                  <a:lnTo>
                    <a:pt x="83" y="95"/>
                  </a:lnTo>
                  <a:lnTo>
                    <a:pt x="78" y="97"/>
                  </a:lnTo>
                  <a:lnTo>
                    <a:pt x="76" y="97"/>
                  </a:lnTo>
                  <a:lnTo>
                    <a:pt x="73" y="97"/>
                  </a:lnTo>
                  <a:lnTo>
                    <a:pt x="68" y="99"/>
                  </a:lnTo>
                  <a:lnTo>
                    <a:pt x="66" y="99"/>
                  </a:lnTo>
                  <a:lnTo>
                    <a:pt x="59" y="97"/>
                  </a:lnTo>
                  <a:lnTo>
                    <a:pt x="57" y="97"/>
                  </a:lnTo>
                  <a:lnTo>
                    <a:pt x="57" y="95"/>
                  </a:lnTo>
                  <a:lnTo>
                    <a:pt x="54" y="95"/>
                  </a:lnTo>
                  <a:lnTo>
                    <a:pt x="47" y="95"/>
                  </a:lnTo>
                  <a:lnTo>
                    <a:pt x="45" y="95"/>
                  </a:lnTo>
                  <a:lnTo>
                    <a:pt x="42" y="97"/>
                  </a:lnTo>
                  <a:lnTo>
                    <a:pt x="38" y="104"/>
                  </a:lnTo>
                  <a:lnTo>
                    <a:pt x="35" y="104"/>
                  </a:lnTo>
                  <a:lnTo>
                    <a:pt x="33" y="104"/>
                  </a:lnTo>
                  <a:lnTo>
                    <a:pt x="28" y="104"/>
                  </a:lnTo>
                  <a:lnTo>
                    <a:pt x="26" y="104"/>
                  </a:lnTo>
                  <a:lnTo>
                    <a:pt x="24" y="104"/>
                  </a:lnTo>
                  <a:lnTo>
                    <a:pt x="19" y="104"/>
                  </a:lnTo>
                  <a:lnTo>
                    <a:pt x="17" y="104"/>
                  </a:lnTo>
                  <a:lnTo>
                    <a:pt x="12" y="104"/>
                  </a:lnTo>
                  <a:lnTo>
                    <a:pt x="7" y="99"/>
                  </a:lnTo>
                  <a:lnTo>
                    <a:pt x="0" y="87"/>
                  </a:lnTo>
                  <a:lnTo>
                    <a:pt x="0" y="85"/>
                  </a:lnTo>
                  <a:lnTo>
                    <a:pt x="0" y="85"/>
                  </a:lnTo>
                  <a:lnTo>
                    <a:pt x="0" y="85"/>
                  </a:lnTo>
                  <a:lnTo>
                    <a:pt x="2" y="85"/>
                  </a:lnTo>
                  <a:lnTo>
                    <a:pt x="2" y="87"/>
                  </a:lnTo>
                  <a:lnTo>
                    <a:pt x="2" y="87"/>
                  </a:lnTo>
                  <a:lnTo>
                    <a:pt x="7" y="90"/>
                  </a:lnTo>
                  <a:lnTo>
                    <a:pt x="9" y="90"/>
                  </a:lnTo>
                  <a:lnTo>
                    <a:pt x="14" y="90"/>
                  </a:lnTo>
                  <a:lnTo>
                    <a:pt x="17" y="90"/>
                  </a:lnTo>
                  <a:lnTo>
                    <a:pt x="17" y="92"/>
                  </a:lnTo>
                  <a:lnTo>
                    <a:pt x="21" y="92"/>
                  </a:lnTo>
                  <a:lnTo>
                    <a:pt x="26" y="92"/>
                  </a:lnTo>
                  <a:lnTo>
                    <a:pt x="26" y="90"/>
                  </a:lnTo>
                  <a:lnTo>
                    <a:pt x="28" y="90"/>
                  </a:lnTo>
                  <a:lnTo>
                    <a:pt x="28" y="85"/>
                  </a:lnTo>
                  <a:lnTo>
                    <a:pt x="28" y="85"/>
                  </a:lnTo>
                  <a:lnTo>
                    <a:pt x="28" y="80"/>
                  </a:lnTo>
                  <a:lnTo>
                    <a:pt x="28" y="80"/>
                  </a:lnTo>
                  <a:lnTo>
                    <a:pt x="31" y="80"/>
                  </a:lnTo>
                  <a:lnTo>
                    <a:pt x="31" y="80"/>
                  </a:lnTo>
                  <a:lnTo>
                    <a:pt x="31" y="76"/>
                  </a:lnTo>
                  <a:lnTo>
                    <a:pt x="33" y="76"/>
                  </a:lnTo>
                  <a:lnTo>
                    <a:pt x="35" y="71"/>
                  </a:lnTo>
                  <a:lnTo>
                    <a:pt x="35" y="71"/>
                  </a:lnTo>
                  <a:lnTo>
                    <a:pt x="40" y="71"/>
                  </a:lnTo>
                  <a:lnTo>
                    <a:pt x="42" y="71"/>
                  </a:lnTo>
                  <a:lnTo>
                    <a:pt x="42" y="69"/>
                  </a:lnTo>
                  <a:lnTo>
                    <a:pt x="45" y="69"/>
                  </a:lnTo>
                  <a:lnTo>
                    <a:pt x="47" y="69"/>
                  </a:lnTo>
                  <a:lnTo>
                    <a:pt x="50" y="69"/>
                  </a:lnTo>
                  <a:lnTo>
                    <a:pt x="54" y="69"/>
                  </a:lnTo>
                  <a:lnTo>
                    <a:pt x="57" y="66"/>
                  </a:lnTo>
                  <a:lnTo>
                    <a:pt x="59" y="64"/>
                  </a:lnTo>
                  <a:lnTo>
                    <a:pt x="64" y="59"/>
                  </a:lnTo>
                  <a:lnTo>
                    <a:pt x="64" y="57"/>
                  </a:lnTo>
                  <a:lnTo>
                    <a:pt x="66" y="54"/>
                  </a:lnTo>
                  <a:lnTo>
                    <a:pt x="73" y="50"/>
                  </a:lnTo>
                  <a:lnTo>
                    <a:pt x="76" y="45"/>
                  </a:lnTo>
                  <a:lnTo>
                    <a:pt x="76" y="43"/>
                  </a:lnTo>
                  <a:lnTo>
                    <a:pt x="76" y="4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4" name="Freeform 275">
              <a:extLst>
                <a:ext uri="{FF2B5EF4-FFF2-40B4-BE49-F238E27FC236}">
                  <a16:creationId xmlns:a16="http://schemas.microsoft.com/office/drawing/2014/main" id="{8C6BA58A-054C-4E42-AA71-80698C888386}"/>
                </a:ext>
              </a:extLst>
            </p:cNvPr>
            <p:cNvSpPr>
              <a:spLocks/>
            </p:cNvSpPr>
            <p:nvPr/>
          </p:nvSpPr>
          <p:spPr bwMode="auto">
            <a:xfrm>
              <a:off x="6770214" y="4460340"/>
              <a:ext cx="120774" cy="152208"/>
            </a:xfrm>
            <a:custGeom>
              <a:avLst/>
              <a:gdLst>
                <a:gd name="T0" fmla="*/ 2 w 73"/>
                <a:gd name="T1" fmla="*/ 5 h 92"/>
                <a:gd name="T2" fmla="*/ 2 w 73"/>
                <a:gd name="T3" fmla="*/ 5 h 92"/>
                <a:gd name="T4" fmla="*/ 2 w 73"/>
                <a:gd name="T5" fmla="*/ 7 h 92"/>
                <a:gd name="T6" fmla="*/ 4 w 73"/>
                <a:gd name="T7" fmla="*/ 12 h 92"/>
                <a:gd name="T8" fmla="*/ 4 w 73"/>
                <a:gd name="T9" fmla="*/ 16 h 92"/>
                <a:gd name="T10" fmla="*/ 4 w 73"/>
                <a:gd name="T11" fmla="*/ 28 h 92"/>
                <a:gd name="T12" fmla="*/ 7 w 73"/>
                <a:gd name="T13" fmla="*/ 31 h 92"/>
                <a:gd name="T14" fmla="*/ 9 w 73"/>
                <a:gd name="T15" fmla="*/ 33 h 92"/>
                <a:gd name="T16" fmla="*/ 9 w 73"/>
                <a:gd name="T17" fmla="*/ 35 h 92"/>
                <a:gd name="T18" fmla="*/ 9 w 73"/>
                <a:gd name="T19" fmla="*/ 40 h 92"/>
                <a:gd name="T20" fmla="*/ 11 w 73"/>
                <a:gd name="T21" fmla="*/ 45 h 92"/>
                <a:gd name="T22" fmla="*/ 11 w 73"/>
                <a:gd name="T23" fmla="*/ 47 h 92"/>
                <a:gd name="T24" fmla="*/ 16 w 73"/>
                <a:gd name="T25" fmla="*/ 54 h 92"/>
                <a:gd name="T26" fmla="*/ 19 w 73"/>
                <a:gd name="T27" fmla="*/ 56 h 92"/>
                <a:gd name="T28" fmla="*/ 21 w 73"/>
                <a:gd name="T29" fmla="*/ 61 h 92"/>
                <a:gd name="T30" fmla="*/ 21 w 73"/>
                <a:gd name="T31" fmla="*/ 66 h 92"/>
                <a:gd name="T32" fmla="*/ 26 w 73"/>
                <a:gd name="T33" fmla="*/ 68 h 92"/>
                <a:gd name="T34" fmla="*/ 30 w 73"/>
                <a:gd name="T35" fmla="*/ 73 h 92"/>
                <a:gd name="T36" fmla="*/ 37 w 73"/>
                <a:gd name="T37" fmla="*/ 78 h 92"/>
                <a:gd name="T38" fmla="*/ 42 w 73"/>
                <a:gd name="T39" fmla="*/ 80 h 92"/>
                <a:gd name="T40" fmla="*/ 47 w 73"/>
                <a:gd name="T41" fmla="*/ 82 h 92"/>
                <a:gd name="T42" fmla="*/ 49 w 73"/>
                <a:gd name="T43" fmla="*/ 85 h 92"/>
                <a:gd name="T44" fmla="*/ 54 w 73"/>
                <a:gd name="T45" fmla="*/ 87 h 92"/>
                <a:gd name="T46" fmla="*/ 56 w 73"/>
                <a:gd name="T47" fmla="*/ 90 h 92"/>
                <a:gd name="T48" fmla="*/ 59 w 73"/>
                <a:gd name="T49" fmla="*/ 90 h 92"/>
                <a:gd name="T50" fmla="*/ 59 w 73"/>
                <a:gd name="T51" fmla="*/ 92 h 92"/>
                <a:gd name="T52" fmla="*/ 61 w 73"/>
                <a:gd name="T53" fmla="*/ 90 h 92"/>
                <a:gd name="T54" fmla="*/ 61 w 73"/>
                <a:gd name="T55" fmla="*/ 90 h 92"/>
                <a:gd name="T56" fmla="*/ 63 w 73"/>
                <a:gd name="T57" fmla="*/ 87 h 92"/>
                <a:gd name="T58" fmla="*/ 68 w 73"/>
                <a:gd name="T59" fmla="*/ 87 h 92"/>
                <a:gd name="T60" fmla="*/ 70 w 73"/>
                <a:gd name="T61" fmla="*/ 92 h 92"/>
                <a:gd name="T62" fmla="*/ 70 w 73"/>
                <a:gd name="T63" fmla="*/ 90 h 92"/>
                <a:gd name="T64" fmla="*/ 73 w 73"/>
                <a:gd name="T65" fmla="*/ 82 h 92"/>
                <a:gd name="T66" fmla="*/ 68 w 73"/>
                <a:gd name="T67" fmla="*/ 75 h 92"/>
                <a:gd name="T68" fmla="*/ 66 w 73"/>
                <a:gd name="T69" fmla="*/ 71 h 92"/>
                <a:gd name="T70" fmla="*/ 61 w 73"/>
                <a:gd name="T71" fmla="*/ 66 h 92"/>
                <a:gd name="T72" fmla="*/ 59 w 73"/>
                <a:gd name="T73" fmla="*/ 59 h 92"/>
                <a:gd name="T74" fmla="*/ 56 w 73"/>
                <a:gd name="T75" fmla="*/ 47 h 92"/>
                <a:gd name="T76" fmla="*/ 59 w 73"/>
                <a:gd name="T77" fmla="*/ 40 h 92"/>
                <a:gd name="T78" fmla="*/ 59 w 73"/>
                <a:gd name="T79" fmla="*/ 33 h 92"/>
                <a:gd name="T80" fmla="*/ 59 w 73"/>
                <a:gd name="T81" fmla="*/ 31 h 92"/>
                <a:gd name="T82" fmla="*/ 56 w 73"/>
                <a:gd name="T83" fmla="*/ 26 h 92"/>
                <a:gd name="T84" fmla="*/ 52 w 73"/>
                <a:gd name="T85" fmla="*/ 19 h 92"/>
                <a:gd name="T86" fmla="*/ 44 w 73"/>
                <a:gd name="T87" fmla="*/ 14 h 92"/>
                <a:gd name="T88" fmla="*/ 40 w 73"/>
                <a:gd name="T89" fmla="*/ 9 h 92"/>
                <a:gd name="T90" fmla="*/ 35 w 73"/>
                <a:gd name="T91" fmla="*/ 9 h 92"/>
                <a:gd name="T92" fmla="*/ 33 w 73"/>
                <a:gd name="T93" fmla="*/ 12 h 92"/>
                <a:gd name="T94" fmla="*/ 30 w 73"/>
                <a:gd name="T95" fmla="*/ 14 h 92"/>
                <a:gd name="T96" fmla="*/ 26 w 73"/>
                <a:gd name="T97" fmla="*/ 12 h 92"/>
                <a:gd name="T98" fmla="*/ 19 w 73"/>
                <a:gd name="T99" fmla="*/ 16 h 92"/>
                <a:gd name="T100" fmla="*/ 19 w 73"/>
                <a:gd name="T101" fmla="*/ 14 h 92"/>
                <a:gd name="T102" fmla="*/ 19 w 73"/>
                <a:gd name="T103" fmla="*/ 9 h 92"/>
                <a:gd name="T104" fmla="*/ 14 w 73"/>
                <a:gd name="T105" fmla="*/ 5 h 92"/>
                <a:gd name="T106" fmla="*/ 11 w 73"/>
                <a:gd name="T107" fmla="*/ 2 h 92"/>
                <a:gd name="T108" fmla="*/ 7 w 73"/>
                <a:gd name="T109" fmla="*/ 2 h 92"/>
                <a:gd name="T110" fmla="*/ 4 w 73"/>
                <a:gd name="T111" fmla="*/ 0 h 92"/>
                <a:gd name="T112" fmla="*/ 0 w 73"/>
                <a:gd name="T113" fmla="*/ 0 h 92"/>
                <a:gd name="T114" fmla="*/ 2 w 73"/>
                <a:gd name="T11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92">
                  <a:moveTo>
                    <a:pt x="2" y="5"/>
                  </a:moveTo>
                  <a:lnTo>
                    <a:pt x="2" y="5"/>
                  </a:lnTo>
                  <a:lnTo>
                    <a:pt x="2" y="7"/>
                  </a:lnTo>
                  <a:lnTo>
                    <a:pt x="4" y="12"/>
                  </a:lnTo>
                  <a:lnTo>
                    <a:pt x="4" y="16"/>
                  </a:lnTo>
                  <a:lnTo>
                    <a:pt x="4" y="28"/>
                  </a:lnTo>
                  <a:lnTo>
                    <a:pt x="7" y="31"/>
                  </a:lnTo>
                  <a:lnTo>
                    <a:pt x="9" y="33"/>
                  </a:lnTo>
                  <a:lnTo>
                    <a:pt x="9" y="35"/>
                  </a:lnTo>
                  <a:lnTo>
                    <a:pt x="9" y="40"/>
                  </a:lnTo>
                  <a:lnTo>
                    <a:pt x="11" y="45"/>
                  </a:lnTo>
                  <a:lnTo>
                    <a:pt x="11" y="47"/>
                  </a:lnTo>
                  <a:lnTo>
                    <a:pt x="16" y="54"/>
                  </a:lnTo>
                  <a:lnTo>
                    <a:pt x="19" y="56"/>
                  </a:lnTo>
                  <a:lnTo>
                    <a:pt x="21" y="61"/>
                  </a:lnTo>
                  <a:lnTo>
                    <a:pt x="21" y="66"/>
                  </a:lnTo>
                  <a:lnTo>
                    <a:pt x="26" y="68"/>
                  </a:lnTo>
                  <a:lnTo>
                    <a:pt x="30" y="73"/>
                  </a:lnTo>
                  <a:lnTo>
                    <a:pt x="37" y="78"/>
                  </a:lnTo>
                  <a:lnTo>
                    <a:pt x="42" y="80"/>
                  </a:lnTo>
                  <a:lnTo>
                    <a:pt x="47" y="82"/>
                  </a:lnTo>
                  <a:lnTo>
                    <a:pt x="49" y="85"/>
                  </a:lnTo>
                  <a:lnTo>
                    <a:pt x="54" y="87"/>
                  </a:lnTo>
                  <a:lnTo>
                    <a:pt x="56" y="90"/>
                  </a:lnTo>
                  <a:lnTo>
                    <a:pt x="59" y="90"/>
                  </a:lnTo>
                  <a:lnTo>
                    <a:pt x="59" y="92"/>
                  </a:lnTo>
                  <a:lnTo>
                    <a:pt x="61" y="90"/>
                  </a:lnTo>
                  <a:lnTo>
                    <a:pt x="61" y="90"/>
                  </a:lnTo>
                  <a:lnTo>
                    <a:pt x="63" y="87"/>
                  </a:lnTo>
                  <a:lnTo>
                    <a:pt x="68" y="87"/>
                  </a:lnTo>
                  <a:lnTo>
                    <a:pt x="70" y="92"/>
                  </a:lnTo>
                  <a:lnTo>
                    <a:pt x="70" y="90"/>
                  </a:lnTo>
                  <a:lnTo>
                    <a:pt x="73" y="82"/>
                  </a:lnTo>
                  <a:lnTo>
                    <a:pt x="68" y="75"/>
                  </a:lnTo>
                  <a:lnTo>
                    <a:pt x="66" y="71"/>
                  </a:lnTo>
                  <a:lnTo>
                    <a:pt x="61" y="66"/>
                  </a:lnTo>
                  <a:lnTo>
                    <a:pt x="59" y="59"/>
                  </a:lnTo>
                  <a:lnTo>
                    <a:pt x="56" y="47"/>
                  </a:lnTo>
                  <a:lnTo>
                    <a:pt x="59" y="40"/>
                  </a:lnTo>
                  <a:lnTo>
                    <a:pt x="59" y="33"/>
                  </a:lnTo>
                  <a:lnTo>
                    <a:pt x="59" y="31"/>
                  </a:lnTo>
                  <a:lnTo>
                    <a:pt x="56" y="26"/>
                  </a:lnTo>
                  <a:lnTo>
                    <a:pt x="52" y="19"/>
                  </a:lnTo>
                  <a:lnTo>
                    <a:pt x="44" y="14"/>
                  </a:lnTo>
                  <a:lnTo>
                    <a:pt x="40" y="9"/>
                  </a:lnTo>
                  <a:lnTo>
                    <a:pt x="35" y="9"/>
                  </a:lnTo>
                  <a:lnTo>
                    <a:pt x="33" y="12"/>
                  </a:lnTo>
                  <a:lnTo>
                    <a:pt x="30" y="14"/>
                  </a:lnTo>
                  <a:lnTo>
                    <a:pt x="26" y="12"/>
                  </a:lnTo>
                  <a:lnTo>
                    <a:pt x="19" y="16"/>
                  </a:lnTo>
                  <a:lnTo>
                    <a:pt x="19" y="14"/>
                  </a:lnTo>
                  <a:lnTo>
                    <a:pt x="19" y="9"/>
                  </a:lnTo>
                  <a:lnTo>
                    <a:pt x="14" y="5"/>
                  </a:lnTo>
                  <a:lnTo>
                    <a:pt x="11" y="2"/>
                  </a:lnTo>
                  <a:lnTo>
                    <a:pt x="7" y="2"/>
                  </a:lnTo>
                  <a:lnTo>
                    <a:pt x="4" y="0"/>
                  </a:lnTo>
                  <a:lnTo>
                    <a:pt x="0" y="0"/>
                  </a:lnTo>
                  <a:lnTo>
                    <a:pt x="2"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5" name="Freeform 276">
              <a:extLst>
                <a:ext uri="{FF2B5EF4-FFF2-40B4-BE49-F238E27FC236}">
                  <a16:creationId xmlns:a16="http://schemas.microsoft.com/office/drawing/2014/main" id="{45C75224-A8FE-4E29-988E-6F8C62D9E9ED}"/>
                </a:ext>
              </a:extLst>
            </p:cNvPr>
            <p:cNvSpPr>
              <a:spLocks/>
            </p:cNvSpPr>
            <p:nvPr/>
          </p:nvSpPr>
          <p:spPr bwMode="auto">
            <a:xfrm>
              <a:off x="6770214" y="4460340"/>
              <a:ext cx="120774" cy="152208"/>
            </a:xfrm>
            <a:custGeom>
              <a:avLst/>
              <a:gdLst>
                <a:gd name="T0" fmla="*/ 2 w 73"/>
                <a:gd name="T1" fmla="*/ 5 h 92"/>
                <a:gd name="T2" fmla="*/ 2 w 73"/>
                <a:gd name="T3" fmla="*/ 5 h 92"/>
                <a:gd name="T4" fmla="*/ 2 w 73"/>
                <a:gd name="T5" fmla="*/ 7 h 92"/>
                <a:gd name="T6" fmla="*/ 4 w 73"/>
                <a:gd name="T7" fmla="*/ 12 h 92"/>
                <a:gd name="T8" fmla="*/ 4 w 73"/>
                <a:gd name="T9" fmla="*/ 16 h 92"/>
                <a:gd name="T10" fmla="*/ 4 w 73"/>
                <a:gd name="T11" fmla="*/ 28 h 92"/>
                <a:gd name="T12" fmla="*/ 7 w 73"/>
                <a:gd name="T13" fmla="*/ 31 h 92"/>
                <a:gd name="T14" fmla="*/ 9 w 73"/>
                <a:gd name="T15" fmla="*/ 33 h 92"/>
                <a:gd name="T16" fmla="*/ 9 w 73"/>
                <a:gd name="T17" fmla="*/ 35 h 92"/>
                <a:gd name="T18" fmla="*/ 9 w 73"/>
                <a:gd name="T19" fmla="*/ 40 h 92"/>
                <a:gd name="T20" fmla="*/ 11 w 73"/>
                <a:gd name="T21" fmla="*/ 45 h 92"/>
                <a:gd name="T22" fmla="*/ 11 w 73"/>
                <a:gd name="T23" fmla="*/ 47 h 92"/>
                <a:gd name="T24" fmla="*/ 16 w 73"/>
                <a:gd name="T25" fmla="*/ 54 h 92"/>
                <a:gd name="T26" fmla="*/ 19 w 73"/>
                <a:gd name="T27" fmla="*/ 56 h 92"/>
                <a:gd name="T28" fmla="*/ 21 w 73"/>
                <a:gd name="T29" fmla="*/ 61 h 92"/>
                <a:gd name="T30" fmla="*/ 21 w 73"/>
                <a:gd name="T31" fmla="*/ 66 h 92"/>
                <a:gd name="T32" fmla="*/ 26 w 73"/>
                <a:gd name="T33" fmla="*/ 68 h 92"/>
                <a:gd name="T34" fmla="*/ 30 w 73"/>
                <a:gd name="T35" fmla="*/ 73 h 92"/>
                <a:gd name="T36" fmla="*/ 37 w 73"/>
                <a:gd name="T37" fmla="*/ 78 h 92"/>
                <a:gd name="T38" fmla="*/ 42 w 73"/>
                <a:gd name="T39" fmla="*/ 80 h 92"/>
                <a:gd name="T40" fmla="*/ 47 w 73"/>
                <a:gd name="T41" fmla="*/ 82 h 92"/>
                <a:gd name="T42" fmla="*/ 49 w 73"/>
                <a:gd name="T43" fmla="*/ 85 h 92"/>
                <a:gd name="T44" fmla="*/ 54 w 73"/>
                <a:gd name="T45" fmla="*/ 87 h 92"/>
                <a:gd name="T46" fmla="*/ 56 w 73"/>
                <a:gd name="T47" fmla="*/ 90 h 92"/>
                <a:gd name="T48" fmla="*/ 59 w 73"/>
                <a:gd name="T49" fmla="*/ 90 h 92"/>
                <a:gd name="T50" fmla="*/ 59 w 73"/>
                <a:gd name="T51" fmla="*/ 92 h 92"/>
                <a:gd name="T52" fmla="*/ 61 w 73"/>
                <a:gd name="T53" fmla="*/ 90 h 92"/>
                <a:gd name="T54" fmla="*/ 61 w 73"/>
                <a:gd name="T55" fmla="*/ 90 h 92"/>
                <a:gd name="T56" fmla="*/ 63 w 73"/>
                <a:gd name="T57" fmla="*/ 87 h 92"/>
                <a:gd name="T58" fmla="*/ 68 w 73"/>
                <a:gd name="T59" fmla="*/ 87 h 92"/>
                <a:gd name="T60" fmla="*/ 70 w 73"/>
                <a:gd name="T61" fmla="*/ 92 h 92"/>
                <a:gd name="T62" fmla="*/ 70 w 73"/>
                <a:gd name="T63" fmla="*/ 90 h 92"/>
                <a:gd name="T64" fmla="*/ 73 w 73"/>
                <a:gd name="T65" fmla="*/ 82 h 92"/>
                <a:gd name="T66" fmla="*/ 68 w 73"/>
                <a:gd name="T67" fmla="*/ 75 h 92"/>
                <a:gd name="T68" fmla="*/ 66 w 73"/>
                <a:gd name="T69" fmla="*/ 71 h 92"/>
                <a:gd name="T70" fmla="*/ 61 w 73"/>
                <a:gd name="T71" fmla="*/ 66 h 92"/>
                <a:gd name="T72" fmla="*/ 59 w 73"/>
                <a:gd name="T73" fmla="*/ 59 h 92"/>
                <a:gd name="T74" fmla="*/ 56 w 73"/>
                <a:gd name="T75" fmla="*/ 47 h 92"/>
                <a:gd name="T76" fmla="*/ 59 w 73"/>
                <a:gd name="T77" fmla="*/ 40 h 92"/>
                <a:gd name="T78" fmla="*/ 59 w 73"/>
                <a:gd name="T79" fmla="*/ 33 h 92"/>
                <a:gd name="T80" fmla="*/ 59 w 73"/>
                <a:gd name="T81" fmla="*/ 31 h 92"/>
                <a:gd name="T82" fmla="*/ 56 w 73"/>
                <a:gd name="T83" fmla="*/ 26 h 92"/>
                <a:gd name="T84" fmla="*/ 52 w 73"/>
                <a:gd name="T85" fmla="*/ 19 h 92"/>
                <a:gd name="T86" fmla="*/ 44 w 73"/>
                <a:gd name="T87" fmla="*/ 14 h 92"/>
                <a:gd name="T88" fmla="*/ 40 w 73"/>
                <a:gd name="T89" fmla="*/ 9 h 92"/>
                <a:gd name="T90" fmla="*/ 35 w 73"/>
                <a:gd name="T91" fmla="*/ 9 h 92"/>
                <a:gd name="T92" fmla="*/ 33 w 73"/>
                <a:gd name="T93" fmla="*/ 12 h 92"/>
                <a:gd name="T94" fmla="*/ 30 w 73"/>
                <a:gd name="T95" fmla="*/ 14 h 92"/>
                <a:gd name="T96" fmla="*/ 26 w 73"/>
                <a:gd name="T97" fmla="*/ 12 h 92"/>
                <a:gd name="T98" fmla="*/ 19 w 73"/>
                <a:gd name="T99" fmla="*/ 16 h 92"/>
                <a:gd name="T100" fmla="*/ 19 w 73"/>
                <a:gd name="T101" fmla="*/ 14 h 92"/>
                <a:gd name="T102" fmla="*/ 19 w 73"/>
                <a:gd name="T103" fmla="*/ 9 h 92"/>
                <a:gd name="T104" fmla="*/ 14 w 73"/>
                <a:gd name="T105" fmla="*/ 5 h 92"/>
                <a:gd name="T106" fmla="*/ 11 w 73"/>
                <a:gd name="T107" fmla="*/ 2 h 92"/>
                <a:gd name="T108" fmla="*/ 7 w 73"/>
                <a:gd name="T109" fmla="*/ 2 h 92"/>
                <a:gd name="T110" fmla="*/ 4 w 73"/>
                <a:gd name="T111" fmla="*/ 0 h 92"/>
                <a:gd name="T112" fmla="*/ 0 w 73"/>
                <a:gd name="T113" fmla="*/ 0 h 92"/>
                <a:gd name="T114" fmla="*/ 2 w 73"/>
                <a:gd name="T11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92">
                  <a:moveTo>
                    <a:pt x="2" y="5"/>
                  </a:moveTo>
                  <a:lnTo>
                    <a:pt x="2" y="5"/>
                  </a:lnTo>
                  <a:lnTo>
                    <a:pt x="2" y="7"/>
                  </a:lnTo>
                  <a:lnTo>
                    <a:pt x="4" y="12"/>
                  </a:lnTo>
                  <a:lnTo>
                    <a:pt x="4" y="16"/>
                  </a:lnTo>
                  <a:lnTo>
                    <a:pt x="4" y="28"/>
                  </a:lnTo>
                  <a:lnTo>
                    <a:pt x="7" y="31"/>
                  </a:lnTo>
                  <a:lnTo>
                    <a:pt x="9" y="33"/>
                  </a:lnTo>
                  <a:lnTo>
                    <a:pt x="9" y="35"/>
                  </a:lnTo>
                  <a:lnTo>
                    <a:pt x="9" y="40"/>
                  </a:lnTo>
                  <a:lnTo>
                    <a:pt x="11" y="45"/>
                  </a:lnTo>
                  <a:lnTo>
                    <a:pt x="11" y="47"/>
                  </a:lnTo>
                  <a:lnTo>
                    <a:pt x="16" y="54"/>
                  </a:lnTo>
                  <a:lnTo>
                    <a:pt x="19" y="56"/>
                  </a:lnTo>
                  <a:lnTo>
                    <a:pt x="21" y="61"/>
                  </a:lnTo>
                  <a:lnTo>
                    <a:pt x="21" y="66"/>
                  </a:lnTo>
                  <a:lnTo>
                    <a:pt x="26" y="68"/>
                  </a:lnTo>
                  <a:lnTo>
                    <a:pt x="30" y="73"/>
                  </a:lnTo>
                  <a:lnTo>
                    <a:pt x="37" y="78"/>
                  </a:lnTo>
                  <a:lnTo>
                    <a:pt x="42" y="80"/>
                  </a:lnTo>
                  <a:lnTo>
                    <a:pt x="47" y="82"/>
                  </a:lnTo>
                  <a:lnTo>
                    <a:pt x="49" y="85"/>
                  </a:lnTo>
                  <a:lnTo>
                    <a:pt x="54" y="87"/>
                  </a:lnTo>
                  <a:lnTo>
                    <a:pt x="56" y="90"/>
                  </a:lnTo>
                  <a:lnTo>
                    <a:pt x="59" y="90"/>
                  </a:lnTo>
                  <a:lnTo>
                    <a:pt x="59" y="92"/>
                  </a:lnTo>
                  <a:lnTo>
                    <a:pt x="61" y="90"/>
                  </a:lnTo>
                  <a:lnTo>
                    <a:pt x="61" y="90"/>
                  </a:lnTo>
                  <a:lnTo>
                    <a:pt x="63" y="87"/>
                  </a:lnTo>
                  <a:lnTo>
                    <a:pt x="68" y="87"/>
                  </a:lnTo>
                  <a:lnTo>
                    <a:pt x="70" y="92"/>
                  </a:lnTo>
                  <a:lnTo>
                    <a:pt x="70" y="90"/>
                  </a:lnTo>
                  <a:lnTo>
                    <a:pt x="73" y="82"/>
                  </a:lnTo>
                  <a:lnTo>
                    <a:pt x="68" y="75"/>
                  </a:lnTo>
                  <a:lnTo>
                    <a:pt x="66" y="71"/>
                  </a:lnTo>
                  <a:lnTo>
                    <a:pt x="61" y="66"/>
                  </a:lnTo>
                  <a:lnTo>
                    <a:pt x="59" y="59"/>
                  </a:lnTo>
                  <a:lnTo>
                    <a:pt x="56" y="47"/>
                  </a:lnTo>
                  <a:lnTo>
                    <a:pt x="59" y="40"/>
                  </a:lnTo>
                  <a:lnTo>
                    <a:pt x="59" y="33"/>
                  </a:lnTo>
                  <a:lnTo>
                    <a:pt x="59" y="31"/>
                  </a:lnTo>
                  <a:lnTo>
                    <a:pt x="56" y="26"/>
                  </a:lnTo>
                  <a:lnTo>
                    <a:pt x="52" y="19"/>
                  </a:lnTo>
                  <a:lnTo>
                    <a:pt x="44" y="14"/>
                  </a:lnTo>
                  <a:lnTo>
                    <a:pt x="40" y="9"/>
                  </a:lnTo>
                  <a:lnTo>
                    <a:pt x="35" y="9"/>
                  </a:lnTo>
                  <a:lnTo>
                    <a:pt x="33" y="12"/>
                  </a:lnTo>
                  <a:lnTo>
                    <a:pt x="30" y="14"/>
                  </a:lnTo>
                  <a:lnTo>
                    <a:pt x="26" y="12"/>
                  </a:lnTo>
                  <a:lnTo>
                    <a:pt x="19" y="16"/>
                  </a:lnTo>
                  <a:lnTo>
                    <a:pt x="19" y="14"/>
                  </a:lnTo>
                  <a:lnTo>
                    <a:pt x="19" y="9"/>
                  </a:lnTo>
                  <a:lnTo>
                    <a:pt x="14" y="5"/>
                  </a:lnTo>
                  <a:lnTo>
                    <a:pt x="11" y="2"/>
                  </a:lnTo>
                  <a:lnTo>
                    <a:pt x="7" y="2"/>
                  </a:lnTo>
                  <a:lnTo>
                    <a:pt x="4" y="0"/>
                  </a:lnTo>
                  <a:lnTo>
                    <a:pt x="0" y="0"/>
                  </a:lnTo>
                  <a:lnTo>
                    <a:pt x="2"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6" name="Freeform 390">
              <a:extLst>
                <a:ext uri="{FF2B5EF4-FFF2-40B4-BE49-F238E27FC236}">
                  <a16:creationId xmlns:a16="http://schemas.microsoft.com/office/drawing/2014/main" id="{EC82E501-E41D-4876-9920-3A2276E66917}"/>
                </a:ext>
              </a:extLst>
            </p:cNvPr>
            <p:cNvSpPr>
              <a:spLocks/>
            </p:cNvSpPr>
            <p:nvPr/>
          </p:nvSpPr>
          <p:spPr bwMode="auto">
            <a:xfrm>
              <a:off x="6715619" y="4311442"/>
              <a:ext cx="6618" cy="8273"/>
            </a:xfrm>
            <a:custGeom>
              <a:avLst/>
              <a:gdLst>
                <a:gd name="T0" fmla="*/ 4 w 4"/>
                <a:gd name="T1" fmla="*/ 0 h 5"/>
                <a:gd name="T2" fmla="*/ 4 w 4"/>
                <a:gd name="T3" fmla="*/ 0 h 5"/>
                <a:gd name="T4" fmla="*/ 4 w 4"/>
                <a:gd name="T5" fmla="*/ 0 h 5"/>
                <a:gd name="T6" fmla="*/ 0 w 4"/>
                <a:gd name="T7" fmla="*/ 5 h 5"/>
                <a:gd name="T8" fmla="*/ 4 w 4"/>
                <a:gd name="T9" fmla="*/ 5 h 5"/>
                <a:gd name="T10" fmla="*/ 4 w 4"/>
                <a:gd name="T11" fmla="*/ 5 h 5"/>
                <a:gd name="T12" fmla="*/ 4 w 4"/>
                <a:gd name="T13" fmla="*/ 2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4" y="0"/>
                  </a:lnTo>
                  <a:lnTo>
                    <a:pt x="0" y="5"/>
                  </a:lnTo>
                  <a:lnTo>
                    <a:pt x="4" y="5"/>
                  </a:lnTo>
                  <a:lnTo>
                    <a:pt x="4" y="5"/>
                  </a:lnTo>
                  <a:lnTo>
                    <a:pt x="4" y="2"/>
                  </a:lnTo>
                  <a:lnTo>
                    <a:pt x="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7" name="Freeform 391">
              <a:extLst>
                <a:ext uri="{FF2B5EF4-FFF2-40B4-BE49-F238E27FC236}">
                  <a16:creationId xmlns:a16="http://schemas.microsoft.com/office/drawing/2014/main" id="{CD830344-4C35-4873-98A1-FCE2854D1321}"/>
                </a:ext>
              </a:extLst>
            </p:cNvPr>
            <p:cNvSpPr>
              <a:spLocks/>
            </p:cNvSpPr>
            <p:nvPr/>
          </p:nvSpPr>
          <p:spPr bwMode="auto">
            <a:xfrm>
              <a:off x="6715619" y="4311442"/>
              <a:ext cx="6618" cy="8273"/>
            </a:xfrm>
            <a:custGeom>
              <a:avLst/>
              <a:gdLst>
                <a:gd name="T0" fmla="*/ 4 w 4"/>
                <a:gd name="T1" fmla="*/ 0 h 5"/>
                <a:gd name="T2" fmla="*/ 4 w 4"/>
                <a:gd name="T3" fmla="*/ 0 h 5"/>
                <a:gd name="T4" fmla="*/ 4 w 4"/>
                <a:gd name="T5" fmla="*/ 0 h 5"/>
                <a:gd name="T6" fmla="*/ 0 w 4"/>
                <a:gd name="T7" fmla="*/ 5 h 5"/>
                <a:gd name="T8" fmla="*/ 4 w 4"/>
                <a:gd name="T9" fmla="*/ 5 h 5"/>
                <a:gd name="T10" fmla="*/ 4 w 4"/>
                <a:gd name="T11" fmla="*/ 5 h 5"/>
                <a:gd name="T12" fmla="*/ 4 w 4"/>
                <a:gd name="T13" fmla="*/ 2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4" y="0"/>
                  </a:lnTo>
                  <a:lnTo>
                    <a:pt x="0" y="5"/>
                  </a:lnTo>
                  <a:lnTo>
                    <a:pt x="4" y="5"/>
                  </a:lnTo>
                  <a:lnTo>
                    <a:pt x="4" y="5"/>
                  </a:lnTo>
                  <a:lnTo>
                    <a:pt x="4" y="2"/>
                  </a:lnTo>
                  <a:lnTo>
                    <a:pt x="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8" name="Freeform 392">
              <a:extLst>
                <a:ext uri="{FF2B5EF4-FFF2-40B4-BE49-F238E27FC236}">
                  <a16:creationId xmlns:a16="http://schemas.microsoft.com/office/drawing/2014/main" id="{A32CB2F7-B434-4C83-BDC7-272854757936}"/>
                </a:ext>
              </a:extLst>
            </p:cNvPr>
            <p:cNvSpPr>
              <a:spLocks/>
            </p:cNvSpPr>
            <p:nvPr/>
          </p:nvSpPr>
          <p:spPr bwMode="auto">
            <a:xfrm>
              <a:off x="6715619" y="4311442"/>
              <a:ext cx="3309" cy="8273"/>
            </a:xfrm>
            <a:custGeom>
              <a:avLst/>
              <a:gdLst>
                <a:gd name="T0" fmla="*/ 0 w 2"/>
                <a:gd name="T1" fmla="*/ 0 h 5"/>
                <a:gd name="T2" fmla="*/ 0 w 2"/>
                <a:gd name="T3" fmla="*/ 0 h 5"/>
                <a:gd name="T4" fmla="*/ 0 w 2"/>
                <a:gd name="T5" fmla="*/ 5 h 5"/>
                <a:gd name="T6" fmla="*/ 0 w 2"/>
                <a:gd name="T7" fmla="*/ 5 h 5"/>
                <a:gd name="T8" fmla="*/ 2 w 2"/>
                <a:gd name="T9" fmla="*/ 0 h 5"/>
                <a:gd name="T10" fmla="*/ 0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0" y="0"/>
                  </a:moveTo>
                  <a:lnTo>
                    <a:pt x="0" y="0"/>
                  </a:lnTo>
                  <a:lnTo>
                    <a:pt x="0" y="5"/>
                  </a:lnTo>
                  <a:lnTo>
                    <a:pt x="0" y="5"/>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69" name="Freeform 393">
              <a:extLst>
                <a:ext uri="{FF2B5EF4-FFF2-40B4-BE49-F238E27FC236}">
                  <a16:creationId xmlns:a16="http://schemas.microsoft.com/office/drawing/2014/main" id="{57576A66-0538-46BC-8ECC-2FCE1675E4C5}"/>
                </a:ext>
              </a:extLst>
            </p:cNvPr>
            <p:cNvSpPr>
              <a:spLocks/>
            </p:cNvSpPr>
            <p:nvPr/>
          </p:nvSpPr>
          <p:spPr bwMode="auto">
            <a:xfrm>
              <a:off x="6715619" y="4311442"/>
              <a:ext cx="3309" cy="8273"/>
            </a:xfrm>
            <a:custGeom>
              <a:avLst/>
              <a:gdLst>
                <a:gd name="T0" fmla="*/ 0 w 2"/>
                <a:gd name="T1" fmla="*/ 0 h 5"/>
                <a:gd name="T2" fmla="*/ 0 w 2"/>
                <a:gd name="T3" fmla="*/ 0 h 5"/>
                <a:gd name="T4" fmla="*/ 0 w 2"/>
                <a:gd name="T5" fmla="*/ 5 h 5"/>
                <a:gd name="T6" fmla="*/ 0 w 2"/>
                <a:gd name="T7" fmla="*/ 5 h 5"/>
                <a:gd name="T8" fmla="*/ 2 w 2"/>
                <a:gd name="T9" fmla="*/ 0 h 5"/>
                <a:gd name="T10" fmla="*/ 0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0" y="0"/>
                  </a:moveTo>
                  <a:lnTo>
                    <a:pt x="0" y="0"/>
                  </a:lnTo>
                  <a:lnTo>
                    <a:pt x="0" y="5"/>
                  </a:lnTo>
                  <a:lnTo>
                    <a:pt x="0" y="5"/>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0" name="Freeform 394">
              <a:extLst>
                <a:ext uri="{FF2B5EF4-FFF2-40B4-BE49-F238E27FC236}">
                  <a16:creationId xmlns:a16="http://schemas.microsoft.com/office/drawing/2014/main" id="{6B254A3D-4AA8-4CE0-9482-D3CA39304482}"/>
                </a:ext>
              </a:extLst>
            </p:cNvPr>
            <p:cNvSpPr>
              <a:spLocks/>
            </p:cNvSpPr>
            <p:nvPr/>
          </p:nvSpPr>
          <p:spPr bwMode="auto">
            <a:xfrm>
              <a:off x="6718928" y="4284970"/>
              <a:ext cx="0" cy="11582"/>
            </a:xfrm>
            <a:custGeom>
              <a:avLst/>
              <a:gdLst>
                <a:gd name="T0" fmla="*/ 0 h 7"/>
                <a:gd name="T1" fmla="*/ 4 h 7"/>
                <a:gd name="T2" fmla="*/ 7 h 7"/>
                <a:gd name="T3" fmla="*/ 4 h 7"/>
                <a:gd name="T4" fmla="*/ 0 h 7"/>
              </a:gdLst>
              <a:ahLst/>
              <a:cxnLst>
                <a:cxn ang="0">
                  <a:pos x="0" y="T0"/>
                </a:cxn>
                <a:cxn ang="0">
                  <a:pos x="0" y="T1"/>
                </a:cxn>
                <a:cxn ang="0">
                  <a:pos x="0" y="T2"/>
                </a:cxn>
                <a:cxn ang="0">
                  <a:pos x="0" y="T3"/>
                </a:cxn>
                <a:cxn ang="0">
                  <a:pos x="0" y="T4"/>
                </a:cxn>
              </a:cxnLst>
              <a:rect l="0" t="0" r="r" b="b"/>
              <a:pathLst>
                <a:path h="7">
                  <a:moveTo>
                    <a:pt x="0" y="0"/>
                  </a:moveTo>
                  <a:lnTo>
                    <a:pt x="0" y="4"/>
                  </a:lnTo>
                  <a:lnTo>
                    <a:pt x="0" y="7"/>
                  </a:lnTo>
                  <a:lnTo>
                    <a:pt x="0" y="4"/>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1" name="Freeform 395">
              <a:extLst>
                <a:ext uri="{FF2B5EF4-FFF2-40B4-BE49-F238E27FC236}">
                  <a16:creationId xmlns:a16="http://schemas.microsoft.com/office/drawing/2014/main" id="{4B71034C-EB09-47AE-874B-CFD4F2766330}"/>
                </a:ext>
              </a:extLst>
            </p:cNvPr>
            <p:cNvSpPr>
              <a:spLocks/>
            </p:cNvSpPr>
            <p:nvPr/>
          </p:nvSpPr>
          <p:spPr bwMode="auto">
            <a:xfrm>
              <a:off x="6718928" y="4284970"/>
              <a:ext cx="0" cy="11582"/>
            </a:xfrm>
            <a:custGeom>
              <a:avLst/>
              <a:gdLst>
                <a:gd name="T0" fmla="*/ 0 h 7"/>
                <a:gd name="T1" fmla="*/ 4 h 7"/>
                <a:gd name="T2" fmla="*/ 7 h 7"/>
                <a:gd name="T3" fmla="*/ 4 h 7"/>
                <a:gd name="T4" fmla="*/ 0 h 7"/>
              </a:gdLst>
              <a:ahLst/>
              <a:cxnLst>
                <a:cxn ang="0">
                  <a:pos x="0" y="T0"/>
                </a:cxn>
                <a:cxn ang="0">
                  <a:pos x="0" y="T1"/>
                </a:cxn>
                <a:cxn ang="0">
                  <a:pos x="0" y="T2"/>
                </a:cxn>
                <a:cxn ang="0">
                  <a:pos x="0" y="T3"/>
                </a:cxn>
                <a:cxn ang="0">
                  <a:pos x="0" y="T4"/>
                </a:cxn>
              </a:cxnLst>
              <a:rect l="0" t="0" r="r" b="b"/>
              <a:pathLst>
                <a:path h="7">
                  <a:moveTo>
                    <a:pt x="0" y="0"/>
                  </a:moveTo>
                  <a:lnTo>
                    <a:pt x="0" y="4"/>
                  </a:lnTo>
                  <a:lnTo>
                    <a:pt x="0" y="7"/>
                  </a:lnTo>
                  <a:lnTo>
                    <a:pt x="0" y="4"/>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2" name="Freeform 396">
              <a:extLst>
                <a:ext uri="{FF2B5EF4-FFF2-40B4-BE49-F238E27FC236}">
                  <a16:creationId xmlns:a16="http://schemas.microsoft.com/office/drawing/2014/main" id="{70004C73-2F9C-4E85-A248-09E5513338E3}"/>
                </a:ext>
              </a:extLst>
            </p:cNvPr>
            <p:cNvSpPr>
              <a:spLocks/>
            </p:cNvSpPr>
            <p:nvPr/>
          </p:nvSpPr>
          <p:spPr bwMode="auto">
            <a:xfrm>
              <a:off x="7261581" y="4323024"/>
              <a:ext cx="66176" cy="86031"/>
            </a:xfrm>
            <a:custGeom>
              <a:avLst/>
              <a:gdLst>
                <a:gd name="T0" fmla="*/ 38 w 40"/>
                <a:gd name="T1" fmla="*/ 0 h 52"/>
                <a:gd name="T2" fmla="*/ 40 w 40"/>
                <a:gd name="T3" fmla="*/ 0 h 52"/>
                <a:gd name="T4" fmla="*/ 40 w 40"/>
                <a:gd name="T5" fmla="*/ 0 h 52"/>
                <a:gd name="T6" fmla="*/ 40 w 40"/>
                <a:gd name="T7" fmla="*/ 5 h 52"/>
                <a:gd name="T8" fmla="*/ 40 w 40"/>
                <a:gd name="T9" fmla="*/ 7 h 52"/>
                <a:gd name="T10" fmla="*/ 40 w 40"/>
                <a:gd name="T11" fmla="*/ 7 h 52"/>
                <a:gd name="T12" fmla="*/ 40 w 40"/>
                <a:gd name="T13" fmla="*/ 10 h 52"/>
                <a:gd name="T14" fmla="*/ 40 w 40"/>
                <a:gd name="T15" fmla="*/ 14 h 52"/>
                <a:gd name="T16" fmla="*/ 40 w 40"/>
                <a:gd name="T17" fmla="*/ 17 h 52"/>
                <a:gd name="T18" fmla="*/ 38 w 40"/>
                <a:gd name="T19" fmla="*/ 19 h 52"/>
                <a:gd name="T20" fmla="*/ 36 w 40"/>
                <a:gd name="T21" fmla="*/ 21 h 52"/>
                <a:gd name="T22" fmla="*/ 33 w 40"/>
                <a:gd name="T23" fmla="*/ 24 h 52"/>
                <a:gd name="T24" fmla="*/ 31 w 40"/>
                <a:gd name="T25" fmla="*/ 26 h 52"/>
                <a:gd name="T26" fmla="*/ 29 w 40"/>
                <a:gd name="T27" fmla="*/ 28 h 52"/>
                <a:gd name="T28" fmla="*/ 26 w 40"/>
                <a:gd name="T29" fmla="*/ 31 h 52"/>
                <a:gd name="T30" fmla="*/ 24 w 40"/>
                <a:gd name="T31" fmla="*/ 36 h 52"/>
                <a:gd name="T32" fmla="*/ 17 w 40"/>
                <a:gd name="T33" fmla="*/ 43 h 52"/>
                <a:gd name="T34" fmla="*/ 12 w 40"/>
                <a:gd name="T35" fmla="*/ 45 h 52"/>
                <a:gd name="T36" fmla="*/ 10 w 40"/>
                <a:gd name="T37" fmla="*/ 47 h 52"/>
                <a:gd name="T38" fmla="*/ 7 w 40"/>
                <a:gd name="T39" fmla="*/ 50 h 52"/>
                <a:gd name="T40" fmla="*/ 5 w 40"/>
                <a:gd name="T41" fmla="*/ 52 h 52"/>
                <a:gd name="T42" fmla="*/ 3 w 40"/>
                <a:gd name="T43" fmla="*/ 52 h 52"/>
                <a:gd name="T44" fmla="*/ 0 w 40"/>
                <a:gd name="T45" fmla="*/ 52 h 52"/>
                <a:gd name="T46" fmla="*/ 0 w 40"/>
                <a:gd name="T47" fmla="*/ 47 h 52"/>
                <a:gd name="T48" fmla="*/ 3 w 40"/>
                <a:gd name="T49" fmla="*/ 45 h 52"/>
                <a:gd name="T50" fmla="*/ 5 w 40"/>
                <a:gd name="T51" fmla="*/ 43 h 52"/>
                <a:gd name="T52" fmla="*/ 10 w 40"/>
                <a:gd name="T53" fmla="*/ 38 h 52"/>
                <a:gd name="T54" fmla="*/ 12 w 40"/>
                <a:gd name="T55" fmla="*/ 38 h 52"/>
                <a:gd name="T56" fmla="*/ 22 w 40"/>
                <a:gd name="T57" fmla="*/ 28 h 52"/>
                <a:gd name="T58" fmla="*/ 24 w 40"/>
                <a:gd name="T59" fmla="*/ 24 h 52"/>
                <a:gd name="T60" fmla="*/ 26 w 40"/>
                <a:gd name="T61" fmla="*/ 24 h 52"/>
                <a:gd name="T62" fmla="*/ 29 w 40"/>
                <a:gd name="T63" fmla="*/ 21 h 52"/>
                <a:gd name="T64" fmla="*/ 31 w 40"/>
                <a:gd name="T65" fmla="*/ 19 h 52"/>
                <a:gd name="T66" fmla="*/ 33 w 40"/>
                <a:gd name="T67" fmla="*/ 17 h 52"/>
                <a:gd name="T68" fmla="*/ 36 w 40"/>
                <a:gd name="T69" fmla="*/ 14 h 52"/>
                <a:gd name="T70" fmla="*/ 36 w 40"/>
                <a:gd name="T71" fmla="*/ 10 h 52"/>
                <a:gd name="T72" fmla="*/ 36 w 40"/>
                <a:gd name="T73" fmla="*/ 12 h 52"/>
                <a:gd name="T74" fmla="*/ 38 w 40"/>
                <a:gd name="T75" fmla="*/ 10 h 52"/>
                <a:gd name="T76" fmla="*/ 38 w 40"/>
                <a:gd name="T77" fmla="*/ 10 h 52"/>
                <a:gd name="T78" fmla="*/ 36 w 40"/>
                <a:gd name="T79" fmla="*/ 7 h 52"/>
                <a:gd name="T80" fmla="*/ 36 w 40"/>
                <a:gd name="T81" fmla="*/ 7 h 52"/>
                <a:gd name="T82" fmla="*/ 38 w 40"/>
                <a:gd name="T83" fmla="*/ 5 h 52"/>
                <a:gd name="T84" fmla="*/ 38 w 40"/>
                <a:gd name="T85" fmla="*/ 2 h 52"/>
                <a:gd name="T86" fmla="*/ 38 w 40"/>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52">
                  <a:moveTo>
                    <a:pt x="38" y="0"/>
                  </a:moveTo>
                  <a:lnTo>
                    <a:pt x="40" y="0"/>
                  </a:lnTo>
                  <a:lnTo>
                    <a:pt x="40" y="0"/>
                  </a:lnTo>
                  <a:lnTo>
                    <a:pt x="40" y="5"/>
                  </a:lnTo>
                  <a:lnTo>
                    <a:pt x="40" y="7"/>
                  </a:lnTo>
                  <a:lnTo>
                    <a:pt x="40" y="7"/>
                  </a:lnTo>
                  <a:lnTo>
                    <a:pt x="40" y="10"/>
                  </a:lnTo>
                  <a:lnTo>
                    <a:pt x="40" y="14"/>
                  </a:lnTo>
                  <a:lnTo>
                    <a:pt x="40" y="17"/>
                  </a:lnTo>
                  <a:lnTo>
                    <a:pt x="38" y="19"/>
                  </a:lnTo>
                  <a:lnTo>
                    <a:pt x="36" y="21"/>
                  </a:lnTo>
                  <a:lnTo>
                    <a:pt x="33" y="24"/>
                  </a:lnTo>
                  <a:lnTo>
                    <a:pt x="31" y="26"/>
                  </a:lnTo>
                  <a:lnTo>
                    <a:pt x="29" y="28"/>
                  </a:lnTo>
                  <a:lnTo>
                    <a:pt x="26" y="31"/>
                  </a:lnTo>
                  <a:lnTo>
                    <a:pt x="24" y="36"/>
                  </a:lnTo>
                  <a:lnTo>
                    <a:pt x="17" y="43"/>
                  </a:lnTo>
                  <a:lnTo>
                    <a:pt x="12" y="45"/>
                  </a:lnTo>
                  <a:lnTo>
                    <a:pt x="10" y="47"/>
                  </a:lnTo>
                  <a:lnTo>
                    <a:pt x="7" y="50"/>
                  </a:lnTo>
                  <a:lnTo>
                    <a:pt x="5" y="52"/>
                  </a:lnTo>
                  <a:lnTo>
                    <a:pt x="3" y="52"/>
                  </a:lnTo>
                  <a:lnTo>
                    <a:pt x="0" y="52"/>
                  </a:lnTo>
                  <a:lnTo>
                    <a:pt x="0" y="47"/>
                  </a:lnTo>
                  <a:lnTo>
                    <a:pt x="3" y="45"/>
                  </a:lnTo>
                  <a:lnTo>
                    <a:pt x="5" y="43"/>
                  </a:lnTo>
                  <a:lnTo>
                    <a:pt x="10" y="38"/>
                  </a:lnTo>
                  <a:lnTo>
                    <a:pt x="12" y="38"/>
                  </a:lnTo>
                  <a:lnTo>
                    <a:pt x="22" y="28"/>
                  </a:lnTo>
                  <a:lnTo>
                    <a:pt x="24" y="24"/>
                  </a:lnTo>
                  <a:lnTo>
                    <a:pt x="26" y="24"/>
                  </a:lnTo>
                  <a:lnTo>
                    <a:pt x="29" y="21"/>
                  </a:lnTo>
                  <a:lnTo>
                    <a:pt x="31" y="19"/>
                  </a:lnTo>
                  <a:lnTo>
                    <a:pt x="33" y="17"/>
                  </a:lnTo>
                  <a:lnTo>
                    <a:pt x="36" y="14"/>
                  </a:lnTo>
                  <a:lnTo>
                    <a:pt x="36" y="10"/>
                  </a:lnTo>
                  <a:lnTo>
                    <a:pt x="36" y="12"/>
                  </a:lnTo>
                  <a:lnTo>
                    <a:pt x="38" y="10"/>
                  </a:lnTo>
                  <a:lnTo>
                    <a:pt x="38" y="10"/>
                  </a:lnTo>
                  <a:lnTo>
                    <a:pt x="36" y="7"/>
                  </a:lnTo>
                  <a:lnTo>
                    <a:pt x="36" y="7"/>
                  </a:lnTo>
                  <a:lnTo>
                    <a:pt x="38" y="5"/>
                  </a:lnTo>
                  <a:lnTo>
                    <a:pt x="38" y="2"/>
                  </a:lnTo>
                  <a:lnTo>
                    <a:pt x="38"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3" name="Freeform 397">
              <a:extLst>
                <a:ext uri="{FF2B5EF4-FFF2-40B4-BE49-F238E27FC236}">
                  <a16:creationId xmlns:a16="http://schemas.microsoft.com/office/drawing/2014/main" id="{709B7808-0736-4048-B277-74D255E960C9}"/>
                </a:ext>
              </a:extLst>
            </p:cNvPr>
            <p:cNvSpPr>
              <a:spLocks/>
            </p:cNvSpPr>
            <p:nvPr/>
          </p:nvSpPr>
          <p:spPr bwMode="auto">
            <a:xfrm>
              <a:off x="7261581" y="4323024"/>
              <a:ext cx="66176" cy="86031"/>
            </a:xfrm>
            <a:custGeom>
              <a:avLst/>
              <a:gdLst>
                <a:gd name="T0" fmla="*/ 38 w 40"/>
                <a:gd name="T1" fmla="*/ 0 h 52"/>
                <a:gd name="T2" fmla="*/ 40 w 40"/>
                <a:gd name="T3" fmla="*/ 0 h 52"/>
                <a:gd name="T4" fmla="*/ 40 w 40"/>
                <a:gd name="T5" fmla="*/ 0 h 52"/>
                <a:gd name="T6" fmla="*/ 40 w 40"/>
                <a:gd name="T7" fmla="*/ 5 h 52"/>
                <a:gd name="T8" fmla="*/ 40 w 40"/>
                <a:gd name="T9" fmla="*/ 7 h 52"/>
                <a:gd name="T10" fmla="*/ 40 w 40"/>
                <a:gd name="T11" fmla="*/ 7 h 52"/>
                <a:gd name="T12" fmla="*/ 40 w 40"/>
                <a:gd name="T13" fmla="*/ 10 h 52"/>
                <a:gd name="T14" fmla="*/ 40 w 40"/>
                <a:gd name="T15" fmla="*/ 14 h 52"/>
                <a:gd name="T16" fmla="*/ 40 w 40"/>
                <a:gd name="T17" fmla="*/ 17 h 52"/>
                <a:gd name="T18" fmla="*/ 38 w 40"/>
                <a:gd name="T19" fmla="*/ 19 h 52"/>
                <a:gd name="T20" fmla="*/ 36 w 40"/>
                <a:gd name="T21" fmla="*/ 21 h 52"/>
                <a:gd name="T22" fmla="*/ 33 w 40"/>
                <a:gd name="T23" fmla="*/ 24 h 52"/>
                <a:gd name="T24" fmla="*/ 31 w 40"/>
                <a:gd name="T25" fmla="*/ 26 h 52"/>
                <a:gd name="T26" fmla="*/ 29 w 40"/>
                <a:gd name="T27" fmla="*/ 28 h 52"/>
                <a:gd name="T28" fmla="*/ 26 w 40"/>
                <a:gd name="T29" fmla="*/ 31 h 52"/>
                <a:gd name="T30" fmla="*/ 24 w 40"/>
                <a:gd name="T31" fmla="*/ 36 h 52"/>
                <a:gd name="T32" fmla="*/ 17 w 40"/>
                <a:gd name="T33" fmla="*/ 43 h 52"/>
                <a:gd name="T34" fmla="*/ 12 w 40"/>
                <a:gd name="T35" fmla="*/ 45 h 52"/>
                <a:gd name="T36" fmla="*/ 10 w 40"/>
                <a:gd name="T37" fmla="*/ 47 h 52"/>
                <a:gd name="T38" fmla="*/ 7 w 40"/>
                <a:gd name="T39" fmla="*/ 50 h 52"/>
                <a:gd name="T40" fmla="*/ 5 w 40"/>
                <a:gd name="T41" fmla="*/ 52 h 52"/>
                <a:gd name="T42" fmla="*/ 3 w 40"/>
                <a:gd name="T43" fmla="*/ 52 h 52"/>
                <a:gd name="T44" fmla="*/ 0 w 40"/>
                <a:gd name="T45" fmla="*/ 52 h 52"/>
                <a:gd name="T46" fmla="*/ 0 w 40"/>
                <a:gd name="T47" fmla="*/ 47 h 52"/>
                <a:gd name="T48" fmla="*/ 3 w 40"/>
                <a:gd name="T49" fmla="*/ 45 h 52"/>
                <a:gd name="T50" fmla="*/ 5 w 40"/>
                <a:gd name="T51" fmla="*/ 43 h 52"/>
                <a:gd name="T52" fmla="*/ 10 w 40"/>
                <a:gd name="T53" fmla="*/ 38 h 52"/>
                <a:gd name="T54" fmla="*/ 12 w 40"/>
                <a:gd name="T55" fmla="*/ 38 h 52"/>
                <a:gd name="T56" fmla="*/ 22 w 40"/>
                <a:gd name="T57" fmla="*/ 28 h 52"/>
                <a:gd name="T58" fmla="*/ 24 w 40"/>
                <a:gd name="T59" fmla="*/ 24 h 52"/>
                <a:gd name="T60" fmla="*/ 26 w 40"/>
                <a:gd name="T61" fmla="*/ 24 h 52"/>
                <a:gd name="T62" fmla="*/ 29 w 40"/>
                <a:gd name="T63" fmla="*/ 21 h 52"/>
                <a:gd name="T64" fmla="*/ 31 w 40"/>
                <a:gd name="T65" fmla="*/ 19 h 52"/>
                <a:gd name="T66" fmla="*/ 33 w 40"/>
                <a:gd name="T67" fmla="*/ 17 h 52"/>
                <a:gd name="T68" fmla="*/ 36 w 40"/>
                <a:gd name="T69" fmla="*/ 14 h 52"/>
                <a:gd name="T70" fmla="*/ 36 w 40"/>
                <a:gd name="T71" fmla="*/ 10 h 52"/>
                <a:gd name="T72" fmla="*/ 36 w 40"/>
                <a:gd name="T73" fmla="*/ 12 h 52"/>
                <a:gd name="T74" fmla="*/ 38 w 40"/>
                <a:gd name="T75" fmla="*/ 10 h 52"/>
                <a:gd name="T76" fmla="*/ 38 w 40"/>
                <a:gd name="T77" fmla="*/ 10 h 52"/>
                <a:gd name="T78" fmla="*/ 36 w 40"/>
                <a:gd name="T79" fmla="*/ 7 h 52"/>
                <a:gd name="T80" fmla="*/ 36 w 40"/>
                <a:gd name="T81" fmla="*/ 7 h 52"/>
                <a:gd name="T82" fmla="*/ 38 w 40"/>
                <a:gd name="T83" fmla="*/ 5 h 52"/>
                <a:gd name="T84" fmla="*/ 38 w 40"/>
                <a:gd name="T85" fmla="*/ 2 h 52"/>
                <a:gd name="T86" fmla="*/ 38 w 40"/>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52">
                  <a:moveTo>
                    <a:pt x="38" y="0"/>
                  </a:moveTo>
                  <a:lnTo>
                    <a:pt x="40" y="0"/>
                  </a:lnTo>
                  <a:lnTo>
                    <a:pt x="40" y="0"/>
                  </a:lnTo>
                  <a:lnTo>
                    <a:pt x="40" y="5"/>
                  </a:lnTo>
                  <a:lnTo>
                    <a:pt x="40" y="7"/>
                  </a:lnTo>
                  <a:lnTo>
                    <a:pt x="40" y="7"/>
                  </a:lnTo>
                  <a:lnTo>
                    <a:pt x="40" y="10"/>
                  </a:lnTo>
                  <a:lnTo>
                    <a:pt x="40" y="14"/>
                  </a:lnTo>
                  <a:lnTo>
                    <a:pt x="40" y="17"/>
                  </a:lnTo>
                  <a:lnTo>
                    <a:pt x="38" y="19"/>
                  </a:lnTo>
                  <a:lnTo>
                    <a:pt x="36" y="21"/>
                  </a:lnTo>
                  <a:lnTo>
                    <a:pt x="33" y="24"/>
                  </a:lnTo>
                  <a:lnTo>
                    <a:pt x="31" y="26"/>
                  </a:lnTo>
                  <a:lnTo>
                    <a:pt x="29" y="28"/>
                  </a:lnTo>
                  <a:lnTo>
                    <a:pt x="26" y="31"/>
                  </a:lnTo>
                  <a:lnTo>
                    <a:pt x="24" y="36"/>
                  </a:lnTo>
                  <a:lnTo>
                    <a:pt x="17" y="43"/>
                  </a:lnTo>
                  <a:lnTo>
                    <a:pt x="12" y="45"/>
                  </a:lnTo>
                  <a:lnTo>
                    <a:pt x="10" y="47"/>
                  </a:lnTo>
                  <a:lnTo>
                    <a:pt x="7" y="50"/>
                  </a:lnTo>
                  <a:lnTo>
                    <a:pt x="5" y="52"/>
                  </a:lnTo>
                  <a:lnTo>
                    <a:pt x="3" y="52"/>
                  </a:lnTo>
                  <a:lnTo>
                    <a:pt x="0" y="52"/>
                  </a:lnTo>
                  <a:lnTo>
                    <a:pt x="0" y="47"/>
                  </a:lnTo>
                  <a:lnTo>
                    <a:pt x="3" y="45"/>
                  </a:lnTo>
                  <a:lnTo>
                    <a:pt x="5" y="43"/>
                  </a:lnTo>
                  <a:lnTo>
                    <a:pt x="10" y="38"/>
                  </a:lnTo>
                  <a:lnTo>
                    <a:pt x="12" y="38"/>
                  </a:lnTo>
                  <a:lnTo>
                    <a:pt x="22" y="28"/>
                  </a:lnTo>
                  <a:lnTo>
                    <a:pt x="24" y="24"/>
                  </a:lnTo>
                  <a:lnTo>
                    <a:pt x="26" y="24"/>
                  </a:lnTo>
                  <a:lnTo>
                    <a:pt x="29" y="21"/>
                  </a:lnTo>
                  <a:lnTo>
                    <a:pt x="31" y="19"/>
                  </a:lnTo>
                  <a:lnTo>
                    <a:pt x="33" y="17"/>
                  </a:lnTo>
                  <a:lnTo>
                    <a:pt x="36" y="14"/>
                  </a:lnTo>
                  <a:lnTo>
                    <a:pt x="36" y="10"/>
                  </a:lnTo>
                  <a:lnTo>
                    <a:pt x="36" y="12"/>
                  </a:lnTo>
                  <a:lnTo>
                    <a:pt x="38" y="10"/>
                  </a:lnTo>
                  <a:lnTo>
                    <a:pt x="38" y="10"/>
                  </a:lnTo>
                  <a:lnTo>
                    <a:pt x="36" y="7"/>
                  </a:lnTo>
                  <a:lnTo>
                    <a:pt x="36" y="7"/>
                  </a:lnTo>
                  <a:lnTo>
                    <a:pt x="38" y="5"/>
                  </a:lnTo>
                  <a:lnTo>
                    <a:pt x="38" y="2"/>
                  </a:lnTo>
                  <a:lnTo>
                    <a:pt x="38"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4" name="Freeform 398">
              <a:extLst>
                <a:ext uri="{FF2B5EF4-FFF2-40B4-BE49-F238E27FC236}">
                  <a16:creationId xmlns:a16="http://schemas.microsoft.com/office/drawing/2014/main" id="{67F98BD8-8359-4040-9179-ED7AE233C5F9}"/>
                </a:ext>
              </a:extLst>
            </p:cNvPr>
            <p:cNvSpPr>
              <a:spLocks/>
            </p:cNvSpPr>
            <p:nvPr/>
          </p:nvSpPr>
          <p:spPr bwMode="auto">
            <a:xfrm>
              <a:off x="7336029" y="4308133"/>
              <a:ext cx="8273" cy="6618"/>
            </a:xfrm>
            <a:custGeom>
              <a:avLst/>
              <a:gdLst>
                <a:gd name="T0" fmla="*/ 0 w 5"/>
                <a:gd name="T1" fmla="*/ 0 h 4"/>
                <a:gd name="T2" fmla="*/ 3 w 5"/>
                <a:gd name="T3" fmla="*/ 2 h 4"/>
                <a:gd name="T4" fmla="*/ 5 w 5"/>
                <a:gd name="T5" fmla="*/ 2 h 4"/>
                <a:gd name="T6" fmla="*/ 5 w 5"/>
                <a:gd name="T7" fmla="*/ 2 h 4"/>
                <a:gd name="T8" fmla="*/ 3 w 5"/>
                <a:gd name="T9" fmla="*/ 4 h 4"/>
                <a:gd name="T10" fmla="*/ 3 w 5"/>
                <a:gd name="T11" fmla="*/ 2 h 4"/>
                <a:gd name="T12" fmla="*/ 0 w 5"/>
                <a:gd name="T13" fmla="*/ 0 h 4"/>
                <a:gd name="T14" fmla="*/ 0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0"/>
                  </a:moveTo>
                  <a:lnTo>
                    <a:pt x="3" y="2"/>
                  </a:lnTo>
                  <a:lnTo>
                    <a:pt x="5" y="2"/>
                  </a:lnTo>
                  <a:lnTo>
                    <a:pt x="5" y="2"/>
                  </a:lnTo>
                  <a:lnTo>
                    <a:pt x="3" y="4"/>
                  </a:lnTo>
                  <a:lnTo>
                    <a:pt x="3" y="2"/>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5" name="Freeform 399">
              <a:extLst>
                <a:ext uri="{FF2B5EF4-FFF2-40B4-BE49-F238E27FC236}">
                  <a16:creationId xmlns:a16="http://schemas.microsoft.com/office/drawing/2014/main" id="{C42AE38C-E32B-4841-998E-2B642B13815E}"/>
                </a:ext>
              </a:extLst>
            </p:cNvPr>
            <p:cNvSpPr>
              <a:spLocks/>
            </p:cNvSpPr>
            <p:nvPr/>
          </p:nvSpPr>
          <p:spPr bwMode="auto">
            <a:xfrm>
              <a:off x="7336029" y="4308133"/>
              <a:ext cx="8273" cy="6618"/>
            </a:xfrm>
            <a:custGeom>
              <a:avLst/>
              <a:gdLst>
                <a:gd name="T0" fmla="*/ 0 w 5"/>
                <a:gd name="T1" fmla="*/ 0 h 4"/>
                <a:gd name="T2" fmla="*/ 3 w 5"/>
                <a:gd name="T3" fmla="*/ 2 h 4"/>
                <a:gd name="T4" fmla="*/ 5 w 5"/>
                <a:gd name="T5" fmla="*/ 2 h 4"/>
                <a:gd name="T6" fmla="*/ 5 w 5"/>
                <a:gd name="T7" fmla="*/ 2 h 4"/>
                <a:gd name="T8" fmla="*/ 3 w 5"/>
                <a:gd name="T9" fmla="*/ 4 h 4"/>
                <a:gd name="T10" fmla="*/ 3 w 5"/>
                <a:gd name="T11" fmla="*/ 2 h 4"/>
                <a:gd name="T12" fmla="*/ 0 w 5"/>
                <a:gd name="T13" fmla="*/ 0 h 4"/>
                <a:gd name="T14" fmla="*/ 0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0"/>
                  </a:moveTo>
                  <a:lnTo>
                    <a:pt x="3" y="2"/>
                  </a:lnTo>
                  <a:lnTo>
                    <a:pt x="5" y="2"/>
                  </a:lnTo>
                  <a:lnTo>
                    <a:pt x="5" y="2"/>
                  </a:lnTo>
                  <a:lnTo>
                    <a:pt x="3" y="4"/>
                  </a:lnTo>
                  <a:lnTo>
                    <a:pt x="3" y="2"/>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6" name="Freeform 400">
              <a:extLst>
                <a:ext uri="{FF2B5EF4-FFF2-40B4-BE49-F238E27FC236}">
                  <a16:creationId xmlns:a16="http://schemas.microsoft.com/office/drawing/2014/main" id="{6D5B17F8-D640-439E-A5EB-332A73F5F76A}"/>
                </a:ext>
              </a:extLst>
            </p:cNvPr>
            <p:cNvSpPr>
              <a:spLocks/>
            </p:cNvSpPr>
            <p:nvPr/>
          </p:nvSpPr>
          <p:spPr bwMode="auto">
            <a:xfrm>
              <a:off x="7340994" y="4296552"/>
              <a:ext cx="6618" cy="6618"/>
            </a:xfrm>
            <a:custGeom>
              <a:avLst/>
              <a:gdLst>
                <a:gd name="T0" fmla="*/ 0 w 4"/>
                <a:gd name="T1" fmla="*/ 0 h 4"/>
                <a:gd name="T2" fmla="*/ 0 w 4"/>
                <a:gd name="T3" fmla="*/ 0 h 4"/>
                <a:gd name="T4" fmla="*/ 2 w 4"/>
                <a:gd name="T5" fmla="*/ 2 h 4"/>
                <a:gd name="T6" fmla="*/ 4 w 4"/>
                <a:gd name="T7" fmla="*/ 2 h 4"/>
                <a:gd name="T8" fmla="*/ 4 w 4"/>
                <a:gd name="T9" fmla="*/ 4 h 4"/>
                <a:gd name="T10" fmla="*/ 4 w 4"/>
                <a:gd name="T11" fmla="*/ 4 h 4"/>
                <a:gd name="T12" fmla="*/ 2 w 4"/>
                <a:gd name="T13" fmla="*/ 4 h 4"/>
                <a:gd name="T14" fmla="*/ 0 w 4"/>
                <a:gd name="T15" fmla="*/ 4 h 4"/>
                <a:gd name="T16" fmla="*/ 0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0"/>
                  </a:moveTo>
                  <a:lnTo>
                    <a:pt x="0" y="0"/>
                  </a:lnTo>
                  <a:lnTo>
                    <a:pt x="2" y="2"/>
                  </a:lnTo>
                  <a:lnTo>
                    <a:pt x="4" y="2"/>
                  </a:lnTo>
                  <a:lnTo>
                    <a:pt x="4" y="4"/>
                  </a:lnTo>
                  <a:lnTo>
                    <a:pt x="4" y="4"/>
                  </a:lnTo>
                  <a:lnTo>
                    <a:pt x="2" y="4"/>
                  </a:lnTo>
                  <a:lnTo>
                    <a:pt x="0" y="4"/>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7" name="Freeform 401">
              <a:extLst>
                <a:ext uri="{FF2B5EF4-FFF2-40B4-BE49-F238E27FC236}">
                  <a16:creationId xmlns:a16="http://schemas.microsoft.com/office/drawing/2014/main" id="{F71339D8-4183-42A0-BF0C-212B83FAD642}"/>
                </a:ext>
              </a:extLst>
            </p:cNvPr>
            <p:cNvSpPr>
              <a:spLocks/>
            </p:cNvSpPr>
            <p:nvPr/>
          </p:nvSpPr>
          <p:spPr bwMode="auto">
            <a:xfrm>
              <a:off x="7340994" y="4296552"/>
              <a:ext cx="6618" cy="6618"/>
            </a:xfrm>
            <a:custGeom>
              <a:avLst/>
              <a:gdLst>
                <a:gd name="T0" fmla="*/ 0 w 4"/>
                <a:gd name="T1" fmla="*/ 0 h 4"/>
                <a:gd name="T2" fmla="*/ 0 w 4"/>
                <a:gd name="T3" fmla="*/ 0 h 4"/>
                <a:gd name="T4" fmla="*/ 2 w 4"/>
                <a:gd name="T5" fmla="*/ 2 h 4"/>
                <a:gd name="T6" fmla="*/ 4 w 4"/>
                <a:gd name="T7" fmla="*/ 2 h 4"/>
                <a:gd name="T8" fmla="*/ 4 w 4"/>
                <a:gd name="T9" fmla="*/ 4 h 4"/>
                <a:gd name="T10" fmla="*/ 4 w 4"/>
                <a:gd name="T11" fmla="*/ 4 h 4"/>
                <a:gd name="T12" fmla="*/ 2 w 4"/>
                <a:gd name="T13" fmla="*/ 4 h 4"/>
                <a:gd name="T14" fmla="*/ 0 w 4"/>
                <a:gd name="T15" fmla="*/ 4 h 4"/>
                <a:gd name="T16" fmla="*/ 0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0"/>
                  </a:moveTo>
                  <a:lnTo>
                    <a:pt x="0" y="0"/>
                  </a:lnTo>
                  <a:lnTo>
                    <a:pt x="2" y="2"/>
                  </a:lnTo>
                  <a:lnTo>
                    <a:pt x="4" y="2"/>
                  </a:lnTo>
                  <a:lnTo>
                    <a:pt x="4" y="4"/>
                  </a:lnTo>
                  <a:lnTo>
                    <a:pt x="4" y="4"/>
                  </a:lnTo>
                  <a:lnTo>
                    <a:pt x="2" y="4"/>
                  </a:lnTo>
                  <a:lnTo>
                    <a:pt x="0" y="4"/>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8" name="Freeform 402">
              <a:extLst>
                <a:ext uri="{FF2B5EF4-FFF2-40B4-BE49-F238E27FC236}">
                  <a16:creationId xmlns:a16="http://schemas.microsoft.com/office/drawing/2014/main" id="{D21CD669-65BA-455F-8D59-8AC7DEFB0DEC}"/>
                </a:ext>
              </a:extLst>
            </p:cNvPr>
            <p:cNvSpPr>
              <a:spLocks/>
            </p:cNvSpPr>
            <p:nvPr/>
          </p:nvSpPr>
          <p:spPr bwMode="auto">
            <a:xfrm>
              <a:off x="7352574" y="4260155"/>
              <a:ext cx="34743" cy="39706"/>
            </a:xfrm>
            <a:custGeom>
              <a:avLst/>
              <a:gdLst>
                <a:gd name="T0" fmla="*/ 0 w 21"/>
                <a:gd name="T1" fmla="*/ 3 h 24"/>
                <a:gd name="T2" fmla="*/ 0 w 21"/>
                <a:gd name="T3" fmla="*/ 0 h 24"/>
                <a:gd name="T4" fmla="*/ 0 w 21"/>
                <a:gd name="T5" fmla="*/ 0 h 24"/>
                <a:gd name="T6" fmla="*/ 9 w 21"/>
                <a:gd name="T7" fmla="*/ 0 h 24"/>
                <a:gd name="T8" fmla="*/ 11 w 21"/>
                <a:gd name="T9" fmla="*/ 3 h 24"/>
                <a:gd name="T10" fmla="*/ 14 w 21"/>
                <a:gd name="T11" fmla="*/ 3 h 24"/>
                <a:gd name="T12" fmla="*/ 16 w 21"/>
                <a:gd name="T13" fmla="*/ 5 h 24"/>
                <a:gd name="T14" fmla="*/ 18 w 21"/>
                <a:gd name="T15" fmla="*/ 7 h 24"/>
                <a:gd name="T16" fmla="*/ 18 w 21"/>
                <a:gd name="T17" fmla="*/ 7 h 24"/>
                <a:gd name="T18" fmla="*/ 18 w 21"/>
                <a:gd name="T19" fmla="*/ 10 h 24"/>
                <a:gd name="T20" fmla="*/ 18 w 21"/>
                <a:gd name="T21" fmla="*/ 15 h 24"/>
                <a:gd name="T22" fmla="*/ 21 w 21"/>
                <a:gd name="T23" fmla="*/ 17 h 24"/>
                <a:gd name="T24" fmla="*/ 18 w 21"/>
                <a:gd name="T25" fmla="*/ 19 h 24"/>
                <a:gd name="T26" fmla="*/ 18 w 21"/>
                <a:gd name="T27" fmla="*/ 22 h 24"/>
                <a:gd name="T28" fmla="*/ 14 w 21"/>
                <a:gd name="T29" fmla="*/ 24 h 24"/>
                <a:gd name="T30" fmla="*/ 14 w 21"/>
                <a:gd name="T31" fmla="*/ 22 h 24"/>
                <a:gd name="T32" fmla="*/ 11 w 21"/>
                <a:gd name="T33" fmla="*/ 19 h 24"/>
                <a:gd name="T34" fmla="*/ 7 w 21"/>
                <a:gd name="T35" fmla="*/ 12 h 24"/>
                <a:gd name="T36" fmla="*/ 7 w 21"/>
                <a:gd name="T37" fmla="*/ 10 h 24"/>
                <a:gd name="T38" fmla="*/ 4 w 21"/>
                <a:gd name="T39" fmla="*/ 7 h 24"/>
                <a:gd name="T40" fmla="*/ 4 w 21"/>
                <a:gd name="T41" fmla="*/ 5 h 24"/>
                <a:gd name="T42" fmla="*/ 2 w 21"/>
                <a:gd name="T43" fmla="*/ 3 h 24"/>
                <a:gd name="T44" fmla="*/ 2 w 21"/>
                <a:gd name="T45" fmla="*/ 3 h 24"/>
                <a:gd name="T46" fmla="*/ 0 w 21"/>
                <a:gd name="T4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24">
                  <a:moveTo>
                    <a:pt x="0" y="3"/>
                  </a:moveTo>
                  <a:lnTo>
                    <a:pt x="0" y="0"/>
                  </a:lnTo>
                  <a:lnTo>
                    <a:pt x="0" y="0"/>
                  </a:lnTo>
                  <a:lnTo>
                    <a:pt x="9" y="0"/>
                  </a:lnTo>
                  <a:lnTo>
                    <a:pt x="11" y="3"/>
                  </a:lnTo>
                  <a:lnTo>
                    <a:pt x="14" y="3"/>
                  </a:lnTo>
                  <a:lnTo>
                    <a:pt x="16" y="5"/>
                  </a:lnTo>
                  <a:lnTo>
                    <a:pt x="18" y="7"/>
                  </a:lnTo>
                  <a:lnTo>
                    <a:pt x="18" y="7"/>
                  </a:lnTo>
                  <a:lnTo>
                    <a:pt x="18" y="10"/>
                  </a:lnTo>
                  <a:lnTo>
                    <a:pt x="18" y="15"/>
                  </a:lnTo>
                  <a:lnTo>
                    <a:pt x="21" y="17"/>
                  </a:lnTo>
                  <a:lnTo>
                    <a:pt x="18" y="19"/>
                  </a:lnTo>
                  <a:lnTo>
                    <a:pt x="18" y="22"/>
                  </a:lnTo>
                  <a:lnTo>
                    <a:pt x="14" y="24"/>
                  </a:lnTo>
                  <a:lnTo>
                    <a:pt x="14" y="22"/>
                  </a:lnTo>
                  <a:lnTo>
                    <a:pt x="11" y="19"/>
                  </a:lnTo>
                  <a:lnTo>
                    <a:pt x="7" y="12"/>
                  </a:lnTo>
                  <a:lnTo>
                    <a:pt x="7" y="10"/>
                  </a:lnTo>
                  <a:lnTo>
                    <a:pt x="4" y="7"/>
                  </a:lnTo>
                  <a:lnTo>
                    <a:pt x="4" y="5"/>
                  </a:lnTo>
                  <a:lnTo>
                    <a:pt x="2" y="3"/>
                  </a:lnTo>
                  <a:lnTo>
                    <a:pt x="2"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79" name="Freeform 403">
              <a:extLst>
                <a:ext uri="{FF2B5EF4-FFF2-40B4-BE49-F238E27FC236}">
                  <a16:creationId xmlns:a16="http://schemas.microsoft.com/office/drawing/2014/main" id="{D62D633C-770E-40CA-89D5-2E025065AFA4}"/>
                </a:ext>
              </a:extLst>
            </p:cNvPr>
            <p:cNvSpPr>
              <a:spLocks/>
            </p:cNvSpPr>
            <p:nvPr/>
          </p:nvSpPr>
          <p:spPr bwMode="auto">
            <a:xfrm>
              <a:off x="7352574" y="4260155"/>
              <a:ext cx="34743" cy="39706"/>
            </a:xfrm>
            <a:custGeom>
              <a:avLst/>
              <a:gdLst>
                <a:gd name="T0" fmla="*/ 0 w 21"/>
                <a:gd name="T1" fmla="*/ 3 h 24"/>
                <a:gd name="T2" fmla="*/ 0 w 21"/>
                <a:gd name="T3" fmla="*/ 0 h 24"/>
                <a:gd name="T4" fmla="*/ 0 w 21"/>
                <a:gd name="T5" fmla="*/ 0 h 24"/>
                <a:gd name="T6" fmla="*/ 9 w 21"/>
                <a:gd name="T7" fmla="*/ 0 h 24"/>
                <a:gd name="T8" fmla="*/ 11 w 21"/>
                <a:gd name="T9" fmla="*/ 3 h 24"/>
                <a:gd name="T10" fmla="*/ 14 w 21"/>
                <a:gd name="T11" fmla="*/ 3 h 24"/>
                <a:gd name="T12" fmla="*/ 16 w 21"/>
                <a:gd name="T13" fmla="*/ 5 h 24"/>
                <a:gd name="T14" fmla="*/ 18 w 21"/>
                <a:gd name="T15" fmla="*/ 7 h 24"/>
                <a:gd name="T16" fmla="*/ 18 w 21"/>
                <a:gd name="T17" fmla="*/ 7 h 24"/>
                <a:gd name="T18" fmla="*/ 18 w 21"/>
                <a:gd name="T19" fmla="*/ 10 h 24"/>
                <a:gd name="T20" fmla="*/ 18 w 21"/>
                <a:gd name="T21" fmla="*/ 15 h 24"/>
                <a:gd name="T22" fmla="*/ 21 w 21"/>
                <a:gd name="T23" fmla="*/ 17 h 24"/>
                <a:gd name="T24" fmla="*/ 18 w 21"/>
                <a:gd name="T25" fmla="*/ 19 h 24"/>
                <a:gd name="T26" fmla="*/ 18 w 21"/>
                <a:gd name="T27" fmla="*/ 22 h 24"/>
                <a:gd name="T28" fmla="*/ 14 w 21"/>
                <a:gd name="T29" fmla="*/ 24 h 24"/>
                <a:gd name="T30" fmla="*/ 14 w 21"/>
                <a:gd name="T31" fmla="*/ 22 h 24"/>
                <a:gd name="T32" fmla="*/ 11 w 21"/>
                <a:gd name="T33" fmla="*/ 19 h 24"/>
                <a:gd name="T34" fmla="*/ 7 w 21"/>
                <a:gd name="T35" fmla="*/ 12 h 24"/>
                <a:gd name="T36" fmla="*/ 7 w 21"/>
                <a:gd name="T37" fmla="*/ 10 h 24"/>
                <a:gd name="T38" fmla="*/ 4 w 21"/>
                <a:gd name="T39" fmla="*/ 7 h 24"/>
                <a:gd name="T40" fmla="*/ 4 w 21"/>
                <a:gd name="T41" fmla="*/ 5 h 24"/>
                <a:gd name="T42" fmla="*/ 2 w 21"/>
                <a:gd name="T43" fmla="*/ 3 h 24"/>
                <a:gd name="T44" fmla="*/ 2 w 21"/>
                <a:gd name="T45" fmla="*/ 3 h 24"/>
                <a:gd name="T46" fmla="*/ 0 w 21"/>
                <a:gd name="T4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24">
                  <a:moveTo>
                    <a:pt x="0" y="3"/>
                  </a:moveTo>
                  <a:lnTo>
                    <a:pt x="0" y="0"/>
                  </a:lnTo>
                  <a:lnTo>
                    <a:pt x="0" y="0"/>
                  </a:lnTo>
                  <a:lnTo>
                    <a:pt x="9" y="0"/>
                  </a:lnTo>
                  <a:lnTo>
                    <a:pt x="11" y="3"/>
                  </a:lnTo>
                  <a:lnTo>
                    <a:pt x="14" y="3"/>
                  </a:lnTo>
                  <a:lnTo>
                    <a:pt x="16" y="5"/>
                  </a:lnTo>
                  <a:lnTo>
                    <a:pt x="18" y="7"/>
                  </a:lnTo>
                  <a:lnTo>
                    <a:pt x="18" y="7"/>
                  </a:lnTo>
                  <a:lnTo>
                    <a:pt x="18" y="10"/>
                  </a:lnTo>
                  <a:lnTo>
                    <a:pt x="18" y="15"/>
                  </a:lnTo>
                  <a:lnTo>
                    <a:pt x="21" y="17"/>
                  </a:lnTo>
                  <a:lnTo>
                    <a:pt x="18" y="19"/>
                  </a:lnTo>
                  <a:lnTo>
                    <a:pt x="18" y="22"/>
                  </a:lnTo>
                  <a:lnTo>
                    <a:pt x="14" y="24"/>
                  </a:lnTo>
                  <a:lnTo>
                    <a:pt x="14" y="22"/>
                  </a:lnTo>
                  <a:lnTo>
                    <a:pt x="11" y="19"/>
                  </a:lnTo>
                  <a:lnTo>
                    <a:pt x="7" y="12"/>
                  </a:lnTo>
                  <a:lnTo>
                    <a:pt x="7" y="10"/>
                  </a:lnTo>
                  <a:lnTo>
                    <a:pt x="4" y="7"/>
                  </a:lnTo>
                  <a:lnTo>
                    <a:pt x="4" y="5"/>
                  </a:lnTo>
                  <a:lnTo>
                    <a:pt x="2" y="3"/>
                  </a:lnTo>
                  <a:lnTo>
                    <a:pt x="2"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0" name="Freeform 404">
              <a:extLst>
                <a:ext uri="{FF2B5EF4-FFF2-40B4-BE49-F238E27FC236}">
                  <a16:creationId xmlns:a16="http://schemas.microsoft.com/office/drawing/2014/main" id="{C8BDD028-24B7-4657-A616-85E8728D9308}"/>
                </a:ext>
              </a:extLst>
            </p:cNvPr>
            <p:cNvSpPr>
              <a:spLocks/>
            </p:cNvSpPr>
            <p:nvPr/>
          </p:nvSpPr>
          <p:spPr bwMode="auto">
            <a:xfrm>
              <a:off x="7336029" y="4107948"/>
              <a:ext cx="125737" cy="183642"/>
            </a:xfrm>
            <a:custGeom>
              <a:avLst/>
              <a:gdLst>
                <a:gd name="T0" fmla="*/ 45 w 76"/>
                <a:gd name="T1" fmla="*/ 7 h 111"/>
                <a:gd name="T2" fmla="*/ 40 w 76"/>
                <a:gd name="T3" fmla="*/ 14 h 111"/>
                <a:gd name="T4" fmla="*/ 45 w 76"/>
                <a:gd name="T5" fmla="*/ 24 h 111"/>
                <a:gd name="T6" fmla="*/ 47 w 76"/>
                <a:gd name="T7" fmla="*/ 31 h 111"/>
                <a:gd name="T8" fmla="*/ 43 w 76"/>
                <a:gd name="T9" fmla="*/ 43 h 111"/>
                <a:gd name="T10" fmla="*/ 38 w 76"/>
                <a:gd name="T11" fmla="*/ 47 h 111"/>
                <a:gd name="T12" fmla="*/ 31 w 76"/>
                <a:gd name="T13" fmla="*/ 52 h 111"/>
                <a:gd name="T14" fmla="*/ 28 w 76"/>
                <a:gd name="T15" fmla="*/ 62 h 111"/>
                <a:gd name="T16" fmla="*/ 31 w 76"/>
                <a:gd name="T17" fmla="*/ 69 h 111"/>
                <a:gd name="T18" fmla="*/ 31 w 76"/>
                <a:gd name="T19" fmla="*/ 76 h 111"/>
                <a:gd name="T20" fmla="*/ 38 w 76"/>
                <a:gd name="T21" fmla="*/ 85 h 111"/>
                <a:gd name="T22" fmla="*/ 43 w 76"/>
                <a:gd name="T23" fmla="*/ 83 h 111"/>
                <a:gd name="T24" fmla="*/ 45 w 76"/>
                <a:gd name="T25" fmla="*/ 78 h 111"/>
                <a:gd name="T26" fmla="*/ 52 w 76"/>
                <a:gd name="T27" fmla="*/ 78 h 111"/>
                <a:gd name="T28" fmla="*/ 57 w 76"/>
                <a:gd name="T29" fmla="*/ 88 h 111"/>
                <a:gd name="T30" fmla="*/ 59 w 76"/>
                <a:gd name="T31" fmla="*/ 83 h 111"/>
                <a:gd name="T32" fmla="*/ 66 w 76"/>
                <a:gd name="T33" fmla="*/ 85 h 111"/>
                <a:gd name="T34" fmla="*/ 69 w 76"/>
                <a:gd name="T35" fmla="*/ 90 h 111"/>
                <a:gd name="T36" fmla="*/ 69 w 76"/>
                <a:gd name="T37" fmla="*/ 97 h 111"/>
                <a:gd name="T38" fmla="*/ 71 w 76"/>
                <a:gd name="T39" fmla="*/ 99 h 111"/>
                <a:gd name="T40" fmla="*/ 73 w 76"/>
                <a:gd name="T41" fmla="*/ 102 h 111"/>
                <a:gd name="T42" fmla="*/ 73 w 76"/>
                <a:gd name="T43" fmla="*/ 111 h 111"/>
                <a:gd name="T44" fmla="*/ 73 w 76"/>
                <a:gd name="T45" fmla="*/ 104 h 111"/>
                <a:gd name="T46" fmla="*/ 64 w 76"/>
                <a:gd name="T47" fmla="*/ 102 h 111"/>
                <a:gd name="T48" fmla="*/ 59 w 76"/>
                <a:gd name="T49" fmla="*/ 95 h 111"/>
                <a:gd name="T50" fmla="*/ 52 w 76"/>
                <a:gd name="T51" fmla="*/ 90 h 111"/>
                <a:gd name="T52" fmla="*/ 47 w 76"/>
                <a:gd name="T53" fmla="*/ 90 h 111"/>
                <a:gd name="T54" fmla="*/ 47 w 76"/>
                <a:gd name="T55" fmla="*/ 97 h 111"/>
                <a:gd name="T56" fmla="*/ 40 w 76"/>
                <a:gd name="T57" fmla="*/ 88 h 111"/>
                <a:gd name="T58" fmla="*/ 31 w 76"/>
                <a:gd name="T59" fmla="*/ 85 h 111"/>
                <a:gd name="T60" fmla="*/ 24 w 76"/>
                <a:gd name="T61" fmla="*/ 90 h 111"/>
                <a:gd name="T62" fmla="*/ 17 w 76"/>
                <a:gd name="T63" fmla="*/ 88 h 111"/>
                <a:gd name="T64" fmla="*/ 14 w 76"/>
                <a:gd name="T65" fmla="*/ 83 h 111"/>
                <a:gd name="T66" fmla="*/ 19 w 76"/>
                <a:gd name="T67" fmla="*/ 73 h 111"/>
                <a:gd name="T68" fmla="*/ 14 w 76"/>
                <a:gd name="T69" fmla="*/ 71 h 111"/>
                <a:gd name="T70" fmla="*/ 10 w 76"/>
                <a:gd name="T71" fmla="*/ 73 h 111"/>
                <a:gd name="T72" fmla="*/ 5 w 76"/>
                <a:gd name="T73" fmla="*/ 66 h 111"/>
                <a:gd name="T74" fmla="*/ 0 w 76"/>
                <a:gd name="T75" fmla="*/ 45 h 111"/>
                <a:gd name="T76" fmla="*/ 5 w 76"/>
                <a:gd name="T77" fmla="*/ 47 h 111"/>
                <a:gd name="T78" fmla="*/ 10 w 76"/>
                <a:gd name="T79" fmla="*/ 31 h 111"/>
                <a:gd name="T80" fmla="*/ 10 w 76"/>
                <a:gd name="T81" fmla="*/ 17 h 111"/>
                <a:gd name="T82" fmla="*/ 14 w 76"/>
                <a:gd name="T83" fmla="*/ 3 h 111"/>
                <a:gd name="T84" fmla="*/ 21 w 76"/>
                <a:gd name="T85" fmla="*/ 0 h 111"/>
                <a:gd name="T86" fmla="*/ 36 w 76"/>
                <a:gd name="T87" fmla="*/ 7 h 111"/>
                <a:gd name="T88" fmla="*/ 40 w 76"/>
                <a:gd name="T89"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111">
                  <a:moveTo>
                    <a:pt x="43" y="5"/>
                  </a:moveTo>
                  <a:lnTo>
                    <a:pt x="43" y="5"/>
                  </a:lnTo>
                  <a:lnTo>
                    <a:pt x="45" y="7"/>
                  </a:lnTo>
                  <a:lnTo>
                    <a:pt x="43" y="7"/>
                  </a:lnTo>
                  <a:lnTo>
                    <a:pt x="40" y="12"/>
                  </a:lnTo>
                  <a:lnTo>
                    <a:pt x="40" y="14"/>
                  </a:lnTo>
                  <a:lnTo>
                    <a:pt x="40" y="21"/>
                  </a:lnTo>
                  <a:lnTo>
                    <a:pt x="43" y="24"/>
                  </a:lnTo>
                  <a:lnTo>
                    <a:pt x="45" y="24"/>
                  </a:lnTo>
                  <a:lnTo>
                    <a:pt x="45" y="26"/>
                  </a:lnTo>
                  <a:lnTo>
                    <a:pt x="47" y="29"/>
                  </a:lnTo>
                  <a:lnTo>
                    <a:pt x="47" y="31"/>
                  </a:lnTo>
                  <a:lnTo>
                    <a:pt x="45" y="36"/>
                  </a:lnTo>
                  <a:lnTo>
                    <a:pt x="43" y="40"/>
                  </a:lnTo>
                  <a:lnTo>
                    <a:pt x="43" y="43"/>
                  </a:lnTo>
                  <a:lnTo>
                    <a:pt x="40" y="45"/>
                  </a:lnTo>
                  <a:lnTo>
                    <a:pt x="38" y="47"/>
                  </a:lnTo>
                  <a:lnTo>
                    <a:pt x="38" y="47"/>
                  </a:lnTo>
                  <a:lnTo>
                    <a:pt x="36" y="47"/>
                  </a:lnTo>
                  <a:lnTo>
                    <a:pt x="33" y="50"/>
                  </a:lnTo>
                  <a:lnTo>
                    <a:pt x="31" y="52"/>
                  </a:lnTo>
                  <a:lnTo>
                    <a:pt x="31" y="57"/>
                  </a:lnTo>
                  <a:lnTo>
                    <a:pt x="31" y="59"/>
                  </a:lnTo>
                  <a:lnTo>
                    <a:pt x="28" y="62"/>
                  </a:lnTo>
                  <a:lnTo>
                    <a:pt x="28" y="64"/>
                  </a:lnTo>
                  <a:lnTo>
                    <a:pt x="28" y="66"/>
                  </a:lnTo>
                  <a:lnTo>
                    <a:pt x="31" y="69"/>
                  </a:lnTo>
                  <a:lnTo>
                    <a:pt x="33" y="71"/>
                  </a:lnTo>
                  <a:lnTo>
                    <a:pt x="31" y="73"/>
                  </a:lnTo>
                  <a:lnTo>
                    <a:pt x="31" y="76"/>
                  </a:lnTo>
                  <a:lnTo>
                    <a:pt x="33" y="78"/>
                  </a:lnTo>
                  <a:lnTo>
                    <a:pt x="33" y="83"/>
                  </a:lnTo>
                  <a:lnTo>
                    <a:pt x="38" y="85"/>
                  </a:lnTo>
                  <a:lnTo>
                    <a:pt x="40" y="85"/>
                  </a:lnTo>
                  <a:lnTo>
                    <a:pt x="43" y="85"/>
                  </a:lnTo>
                  <a:lnTo>
                    <a:pt x="43" y="83"/>
                  </a:lnTo>
                  <a:lnTo>
                    <a:pt x="43" y="81"/>
                  </a:lnTo>
                  <a:lnTo>
                    <a:pt x="43" y="81"/>
                  </a:lnTo>
                  <a:lnTo>
                    <a:pt x="45" y="78"/>
                  </a:lnTo>
                  <a:lnTo>
                    <a:pt x="50" y="78"/>
                  </a:lnTo>
                  <a:lnTo>
                    <a:pt x="50" y="78"/>
                  </a:lnTo>
                  <a:lnTo>
                    <a:pt x="52" y="78"/>
                  </a:lnTo>
                  <a:lnTo>
                    <a:pt x="54" y="81"/>
                  </a:lnTo>
                  <a:lnTo>
                    <a:pt x="57" y="85"/>
                  </a:lnTo>
                  <a:lnTo>
                    <a:pt x="57" y="88"/>
                  </a:lnTo>
                  <a:lnTo>
                    <a:pt x="59" y="90"/>
                  </a:lnTo>
                  <a:lnTo>
                    <a:pt x="62" y="88"/>
                  </a:lnTo>
                  <a:lnTo>
                    <a:pt x="59" y="83"/>
                  </a:lnTo>
                  <a:lnTo>
                    <a:pt x="62" y="83"/>
                  </a:lnTo>
                  <a:lnTo>
                    <a:pt x="64" y="85"/>
                  </a:lnTo>
                  <a:lnTo>
                    <a:pt x="66" y="85"/>
                  </a:lnTo>
                  <a:lnTo>
                    <a:pt x="71" y="88"/>
                  </a:lnTo>
                  <a:lnTo>
                    <a:pt x="71" y="90"/>
                  </a:lnTo>
                  <a:lnTo>
                    <a:pt x="69" y="90"/>
                  </a:lnTo>
                  <a:lnTo>
                    <a:pt x="66" y="92"/>
                  </a:lnTo>
                  <a:lnTo>
                    <a:pt x="66" y="95"/>
                  </a:lnTo>
                  <a:lnTo>
                    <a:pt x="69" y="97"/>
                  </a:lnTo>
                  <a:lnTo>
                    <a:pt x="71" y="97"/>
                  </a:lnTo>
                  <a:lnTo>
                    <a:pt x="69" y="99"/>
                  </a:lnTo>
                  <a:lnTo>
                    <a:pt x="71" y="99"/>
                  </a:lnTo>
                  <a:lnTo>
                    <a:pt x="71" y="99"/>
                  </a:lnTo>
                  <a:lnTo>
                    <a:pt x="71" y="102"/>
                  </a:lnTo>
                  <a:lnTo>
                    <a:pt x="73" y="102"/>
                  </a:lnTo>
                  <a:lnTo>
                    <a:pt x="76" y="102"/>
                  </a:lnTo>
                  <a:lnTo>
                    <a:pt x="76" y="109"/>
                  </a:lnTo>
                  <a:lnTo>
                    <a:pt x="73" y="111"/>
                  </a:lnTo>
                  <a:lnTo>
                    <a:pt x="71" y="109"/>
                  </a:lnTo>
                  <a:lnTo>
                    <a:pt x="71" y="107"/>
                  </a:lnTo>
                  <a:lnTo>
                    <a:pt x="73" y="104"/>
                  </a:lnTo>
                  <a:lnTo>
                    <a:pt x="71" y="104"/>
                  </a:lnTo>
                  <a:lnTo>
                    <a:pt x="66" y="104"/>
                  </a:lnTo>
                  <a:lnTo>
                    <a:pt x="64" y="102"/>
                  </a:lnTo>
                  <a:lnTo>
                    <a:pt x="62" y="102"/>
                  </a:lnTo>
                  <a:lnTo>
                    <a:pt x="62" y="97"/>
                  </a:lnTo>
                  <a:lnTo>
                    <a:pt x="59" y="95"/>
                  </a:lnTo>
                  <a:lnTo>
                    <a:pt x="54" y="92"/>
                  </a:lnTo>
                  <a:lnTo>
                    <a:pt x="54" y="90"/>
                  </a:lnTo>
                  <a:lnTo>
                    <a:pt x="52" y="90"/>
                  </a:lnTo>
                  <a:lnTo>
                    <a:pt x="50" y="88"/>
                  </a:lnTo>
                  <a:lnTo>
                    <a:pt x="47" y="85"/>
                  </a:lnTo>
                  <a:lnTo>
                    <a:pt x="47" y="90"/>
                  </a:lnTo>
                  <a:lnTo>
                    <a:pt x="50" y="97"/>
                  </a:lnTo>
                  <a:lnTo>
                    <a:pt x="50" y="97"/>
                  </a:lnTo>
                  <a:lnTo>
                    <a:pt x="47" y="97"/>
                  </a:lnTo>
                  <a:lnTo>
                    <a:pt x="47" y="95"/>
                  </a:lnTo>
                  <a:lnTo>
                    <a:pt x="43" y="92"/>
                  </a:lnTo>
                  <a:lnTo>
                    <a:pt x="40" y="88"/>
                  </a:lnTo>
                  <a:lnTo>
                    <a:pt x="38" y="85"/>
                  </a:lnTo>
                  <a:lnTo>
                    <a:pt x="36" y="85"/>
                  </a:lnTo>
                  <a:lnTo>
                    <a:pt x="31" y="85"/>
                  </a:lnTo>
                  <a:lnTo>
                    <a:pt x="28" y="90"/>
                  </a:lnTo>
                  <a:lnTo>
                    <a:pt x="26" y="90"/>
                  </a:lnTo>
                  <a:lnTo>
                    <a:pt x="24" y="90"/>
                  </a:lnTo>
                  <a:lnTo>
                    <a:pt x="21" y="90"/>
                  </a:lnTo>
                  <a:lnTo>
                    <a:pt x="19" y="88"/>
                  </a:lnTo>
                  <a:lnTo>
                    <a:pt x="17" y="88"/>
                  </a:lnTo>
                  <a:lnTo>
                    <a:pt x="17" y="88"/>
                  </a:lnTo>
                  <a:lnTo>
                    <a:pt x="14" y="85"/>
                  </a:lnTo>
                  <a:lnTo>
                    <a:pt x="14" y="83"/>
                  </a:lnTo>
                  <a:lnTo>
                    <a:pt x="14" y="78"/>
                  </a:lnTo>
                  <a:lnTo>
                    <a:pt x="17" y="76"/>
                  </a:lnTo>
                  <a:lnTo>
                    <a:pt x="19" y="73"/>
                  </a:lnTo>
                  <a:lnTo>
                    <a:pt x="19" y="73"/>
                  </a:lnTo>
                  <a:lnTo>
                    <a:pt x="17" y="71"/>
                  </a:lnTo>
                  <a:lnTo>
                    <a:pt x="14" y="71"/>
                  </a:lnTo>
                  <a:lnTo>
                    <a:pt x="14" y="76"/>
                  </a:lnTo>
                  <a:lnTo>
                    <a:pt x="12" y="76"/>
                  </a:lnTo>
                  <a:lnTo>
                    <a:pt x="10" y="73"/>
                  </a:lnTo>
                  <a:lnTo>
                    <a:pt x="10" y="71"/>
                  </a:lnTo>
                  <a:lnTo>
                    <a:pt x="7" y="71"/>
                  </a:lnTo>
                  <a:lnTo>
                    <a:pt x="5" y="66"/>
                  </a:lnTo>
                  <a:lnTo>
                    <a:pt x="5" y="62"/>
                  </a:lnTo>
                  <a:lnTo>
                    <a:pt x="0" y="50"/>
                  </a:lnTo>
                  <a:lnTo>
                    <a:pt x="0" y="45"/>
                  </a:lnTo>
                  <a:lnTo>
                    <a:pt x="0" y="43"/>
                  </a:lnTo>
                  <a:lnTo>
                    <a:pt x="3" y="45"/>
                  </a:lnTo>
                  <a:lnTo>
                    <a:pt x="5" y="47"/>
                  </a:lnTo>
                  <a:lnTo>
                    <a:pt x="10" y="45"/>
                  </a:lnTo>
                  <a:lnTo>
                    <a:pt x="10" y="36"/>
                  </a:lnTo>
                  <a:lnTo>
                    <a:pt x="10" y="31"/>
                  </a:lnTo>
                  <a:lnTo>
                    <a:pt x="12" y="26"/>
                  </a:lnTo>
                  <a:lnTo>
                    <a:pt x="12" y="21"/>
                  </a:lnTo>
                  <a:lnTo>
                    <a:pt x="10" y="17"/>
                  </a:lnTo>
                  <a:lnTo>
                    <a:pt x="12" y="14"/>
                  </a:lnTo>
                  <a:lnTo>
                    <a:pt x="12" y="7"/>
                  </a:lnTo>
                  <a:lnTo>
                    <a:pt x="14" y="3"/>
                  </a:lnTo>
                  <a:lnTo>
                    <a:pt x="17" y="0"/>
                  </a:lnTo>
                  <a:lnTo>
                    <a:pt x="17" y="0"/>
                  </a:lnTo>
                  <a:lnTo>
                    <a:pt x="21" y="0"/>
                  </a:lnTo>
                  <a:lnTo>
                    <a:pt x="26" y="3"/>
                  </a:lnTo>
                  <a:lnTo>
                    <a:pt x="33" y="7"/>
                  </a:lnTo>
                  <a:lnTo>
                    <a:pt x="36" y="7"/>
                  </a:lnTo>
                  <a:lnTo>
                    <a:pt x="38" y="5"/>
                  </a:lnTo>
                  <a:lnTo>
                    <a:pt x="38" y="3"/>
                  </a:lnTo>
                  <a:lnTo>
                    <a:pt x="40" y="3"/>
                  </a:lnTo>
                  <a:lnTo>
                    <a:pt x="43"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1" name="Freeform 405">
              <a:extLst>
                <a:ext uri="{FF2B5EF4-FFF2-40B4-BE49-F238E27FC236}">
                  <a16:creationId xmlns:a16="http://schemas.microsoft.com/office/drawing/2014/main" id="{B6E1EB1E-380B-4E76-A31A-DEB189824CC7}"/>
                </a:ext>
              </a:extLst>
            </p:cNvPr>
            <p:cNvSpPr>
              <a:spLocks/>
            </p:cNvSpPr>
            <p:nvPr/>
          </p:nvSpPr>
          <p:spPr bwMode="auto">
            <a:xfrm>
              <a:off x="7336029" y="4107948"/>
              <a:ext cx="125737" cy="183642"/>
            </a:xfrm>
            <a:custGeom>
              <a:avLst/>
              <a:gdLst>
                <a:gd name="T0" fmla="*/ 45 w 76"/>
                <a:gd name="T1" fmla="*/ 7 h 111"/>
                <a:gd name="T2" fmla="*/ 40 w 76"/>
                <a:gd name="T3" fmla="*/ 14 h 111"/>
                <a:gd name="T4" fmla="*/ 45 w 76"/>
                <a:gd name="T5" fmla="*/ 24 h 111"/>
                <a:gd name="T6" fmla="*/ 47 w 76"/>
                <a:gd name="T7" fmla="*/ 31 h 111"/>
                <a:gd name="T8" fmla="*/ 43 w 76"/>
                <a:gd name="T9" fmla="*/ 43 h 111"/>
                <a:gd name="T10" fmla="*/ 38 w 76"/>
                <a:gd name="T11" fmla="*/ 47 h 111"/>
                <a:gd name="T12" fmla="*/ 31 w 76"/>
                <a:gd name="T13" fmla="*/ 52 h 111"/>
                <a:gd name="T14" fmla="*/ 28 w 76"/>
                <a:gd name="T15" fmla="*/ 62 h 111"/>
                <a:gd name="T16" fmla="*/ 31 w 76"/>
                <a:gd name="T17" fmla="*/ 69 h 111"/>
                <a:gd name="T18" fmla="*/ 31 w 76"/>
                <a:gd name="T19" fmla="*/ 76 h 111"/>
                <a:gd name="T20" fmla="*/ 38 w 76"/>
                <a:gd name="T21" fmla="*/ 85 h 111"/>
                <a:gd name="T22" fmla="*/ 43 w 76"/>
                <a:gd name="T23" fmla="*/ 83 h 111"/>
                <a:gd name="T24" fmla="*/ 45 w 76"/>
                <a:gd name="T25" fmla="*/ 78 h 111"/>
                <a:gd name="T26" fmla="*/ 52 w 76"/>
                <a:gd name="T27" fmla="*/ 78 h 111"/>
                <a:gd name="T28" fmla="*/ 57 w 76"/>
                <a:gd name="T29" fmla="*/ 88 h 111"/>
                <a:gd name="T30" fmla="*/ 59 w 76"/>
                <a:gd name="T31" fmla="*/ 83 h 111"/>
                <a:gd name="T32" fmla="*/ 66 w 76"/>
                <a:gd name="T33" fmla="*/ 85 h 111"/>
                <a:gd name="T34" fmla="*/ 69 w 76"/>
                <a:gd name="T35" fmla="*/ 90 h 111"/>
                <a:gd name="T36" fmla="*/ 69 w 76"/>
                <a:gd name="T37" fmla="*/ 97 h 111"/>
                <a:gd name="T38" fmla="*/ 71 w 76"/>
                <a:gd name="T39" fmla="*/ 99 h 111"/>
                <a:gd name="T40" fmla="*/ 73 w 76"/>
                <a:gd name="T41" fmla="*/ 102 h 111"/>
                <a:gd name="T42" fmla="*/ 73 w 76"/>
                <a:gd name="T43" fmla="*/ 111 h 111"/>
                <a:gd name="T44" fmla="*/ 73 w 76"/>
                <a:gd name="T45" fmla="*/ 104 h 111"/>
                <a:gd name="T46" fmla="*/ 64 w 76"/>
                <a:gd name="T47" fmla="*/ 102 h 111"/>
                <a:gd name="T48" fmla="*/ 59 w 76"/>
                <a:gd name="T49" fmla="*/ 95 h 111"/>
                <a:gd name="T50" fmla="*/ 52 w 76"/>
                <a:gd name="T51" fmla="*/ 90 h 111"/>
                <a:gd name="T52" fmla="*/ 47 w 76"/>
                <a:gd name="T53" fmla="*/ 90 h 111"/>
                <a:gd name="T54" fmla="*/ 47 w 76"/>
                <a:gd name="T55" fmla="*/ 97 h 111"/>
                <a:gd name="T56" fmla="*/ 40 w 76"/>
                <a:gd name="T57" fmla="*/ 88 h 111"/>
                <a:gd name="T58" fmla="*/ 31 w 76"/>
                <a:gd name="T59" fmla="*/ 85 h 111"/>
                <a:gd name="T60" fmla="*/ 24 w 76"/>
                <a:gd name="T61" fmla="*/ 90 h 111"/>
                <a:gd name="T62" fmla="*/ 17 w 76"/>
                <a:gd name="T63" fmla="*/ 88 h 111"/>
                <a:gd name="T64" fmla="*/ 14 w 76"/>
                <a:gd name="T65" fmla="*/ 83 h 111"/>
                <a:gd name="T66" fmla="*/ 19 w 76"/>
                <a:gd name="T67" fmla="*/ 73 h 111"/>
                <a:gd name="T68" fmla="*/ 14 w 76"/>
                <a:gd name="T69" fmla="*/ 71 h 111"/>
                <a:gd name="T70" fmla="*/ 10 w 76"/>
                <a:gd name="T71" fmla="*/ 73 h 111"/>
                <a:gd name="T72" fmla="*/ 5 w 76"/>
                <a:gd name="T73" fmla="*/ 66 h 111"/>
                <a:gd name="T74" fmla="*/ 0 w 76"/>
                <a:gd name="T75" fmla="*/ 45 h 111"/>
                <a:gd name="T76" fmla="*/ 5 w 76"/>
                <a:gd name="T77" fmla="*/ 47 h 111"/>
                <a:gd name="T78" fmla="*/ 10 w 76"/>
                <a:gd name="T79" fmla="*/ 31 h 111"/>
                <a:gd name="T80" fmla="*/ 10 w 76"/>
                <a:gd name="T81" fmla="*/ 17 h 111"/>
                <a:gd name="T82" fmla="*/ 14 w 76"/>
                <a:gd name="T83" fmla="*/ 3 h 111"/>
                <a:gd name="T84" fmla="*/ 21 w 76"/>
                <a:gd name="T85" fmla="*/ 0 h 111"/>
                <a:gd name="T86" fmla="*/ 36 w 76"/>
                <a:gd name="T87" fmla="*/ 7 h 111"/>
                <a:gd name="T88" fmla="*/ 40 w 76"/>
                <a:gd name="T89"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111">
                  <a:moveTo>
                    <a:pt x="43" y="5"/>
                  </a:moveTo>
                  <a:lnTo>
                    <a:pt x="43" y="5"/>
                  </a:lnTo>
                  <a:lnTo>
                    <a:pt x="45" y="7"/>
                  </a:lnTo>
                  <a:lnTo>
                    <a:pt x="43" y="7"/>
                  </a:lnTo>
                  <a:lnTo>
                    <a:pt x="40" y="12"/>
                  </a:lnTo>
                  <a:lnTo>
                    <a:pt x="40" y="14"/>
                  </a:lnTo>
                  <a:lnTo>
                    <a:pt x="40" y="21"/>
                  </a:lnTo>
                  <a:lnTo>
                    <a:pt x="43" y="24"/>
                  </a:lnTo>
                  <a:lnTo>
                    <a:pt x="45" y="24"/>
                  </a:lnTo>
                  <a:lnTo>
                    <a:pt x="45" y="26"/>
                  </a:lnTo>
                  <a:lnTo>
                    <a:pt x="47" y="29"/>
                  </a:lnTo>
                  <a:lnTo>
                    <a:pt x="47" y="31"/>
                  </a:lnTo>
                  <a:lnTo>
                    <a:pt x="45" y="36"/>
                  </a:lnTo>
                  <a:lnTo>
                    <a:pt x="43" y="40"/>
                  </a:lnTo>
                  <a:lnTo>
                    <a:pt x="43" y="43"/>
                  </a:lnTo>
                  <a:lnTo>
                    <a:pt x="40" y="45"/>
                  </a:lnTo>
                  <a:lnTo>
                    <a:pt x="38" y="47"/>
                  </a:lnTo>
                  <a:lnTo>
                    <a:pt x="38" y="47"/>
                  </a:lnTo>
                  <a:lnTo>
                    <a:pt x="36" y="47"/>
                  </a:lnTo>
                  <a:lnTo>
                    <a:pt x="33" y="50"/>
                  </a:lnTo>
                  <a:lnTo>
                    <a:pt x="31" y="52"/>
                  </a:lnTo>
                  <a:lnTo>
                    <a:pt x="31" y="57"/>
                  </a:lnTo>
                  <a:lnTo>
                    <a:pt x="31" y="59"/>
                  </a:lnTo>
                  <a:lnTo>
                    <a:pt x="28" y="62"/>
                  </a:lnTo>
                  <a:lnTo>
                    <a:pt x="28" y="64"/>
                  </a:lnTo>
                  <a:lnTo>
                    <a:pt x="28" y="66"/>
                  </a:lnTo>
                  <a:lnTo>
                    <a:pt x="31" y="69"/>
                  </a:lnTo>
                  <a:lnTo>
                    <a:pt x="33" y="71"/>
                  </a:lnTo>
                  <a:lnTo>
                    <a:pt x="31" y="73"/>
                  </a:lnTo>
                  <a:lnTo>
                    <a:pt x="31" y="76"/>
                  </a:lnTo>
                  <a:lnTo>
                    <a:pt x="33" y="78"/>
                  </a:lnTo>
                  <a:lnTo>
                    <a:pt x="33" y="83"/>
                  </a:lnTo>
                  <a:lnTo>
                    <a:pt x="38" y="85"/>
                  </a:lnTo>
                  <a:lnTo>
                    <a:pt x="40" y="85"/>
                  </a:lnTo>
                  <a:lnTo>
                    <a:pt x="43" y="85"/>
                  </a:lnTo>
                  <a:lnTo>
                    <a:pt x="43" y="83"/>
                  </a:lnTo>
                  <a:lnTo>
                    <a:pt x="43" y="81"/>
                  </a:lnTo>
                  <a:lnTo>
                    <a:pt x="43" y="81"/>
                  </a:lnTo>
                  <a:lnTo>
                    <a:pt x="45" y="78"/>
                  </a:lnTo>
                  <a:lnTo>
                    <a:pt x="50" y="78"/>
                  </a:lnTo>
                  <a:lnTo>
                    <a:pt x="50" y="78"/>
                  </a:lnTo>
                  <a:lnTo>
                    <a:pt x="52" y="78"/>
                  </a:lnTo>
                  <a:lnTo>
                    <a:pt x="54" y="81"/>
                  </a:lnTo>
                  <a:lnTo>
                    <a:pt x="57" y="85"/>
                  </a:lnTo>
                  <a:lnTo>
                    <a:pt x="57" y="88"/>
                  </a:lnTo>
                  <a:lnTo>
                    <a:pt x="59" y="90"/>
                  </a:lnTo>
                  <a:lnTo>
                    <a:pt x="62" y="88"/>
                  </a:lnTo>
                  <a:lnTo>
                    <a:pt x="59" y="83"/>
                  </a:lnTo>
                  <a:lnTo>
                    <a:pt x="62" y="83"/>
                  </a:lnTo>
                  <a:lnTo>
                    <a:pt x="64" y="85"/>
                  </a:lnTo>
                  <a:lnTo>
                    <a:pt x="66" y="85"/>
                  </a:lnTo>
                  <a:lnTo>
                    <a:pt x="71" y="88"/>
                  </a:lnTo>
                  <a:lnTo>
                    <a:pt x="71" y="90"/>
                  </a:lnTo>
                  <a:lnTo>
                    <a:pt x="69" y="90"/>
                  </a:lnTo>
                  <a:lnTo>
                    <a:pt x="66" y="92"/>
                  </a:lnTo>
                  <a:lnTo>
                    <a:pt x="66" y="95"/>
                  </a:lnTo>
                  <a:lnTo>
                    <a:pt x="69" y="97"/>
                  </a:lnTo>
                  <a:lnTo>
                    <a:pt x="71" y="97"/>
                  </a:lnTo>
                  <a:lnTo>
                    <a:pt x="69" y="99"/>
                  </a:lnTo>
                  <a:lnTo>
                    <a:pt x="71" y="99"/>
                  </a:lnTo>
                  <a:lnTo>
                    <a:pt x="71" y="99"/>
                  </a:lnTo>
                  <a:lnTo>
                    <a:pt x="71" y="102"/>
                  </a:lnTo>
                  <a:lnTo>
                    <a:pt x="73" y="102"/>
                  </a:lnTo>
                  <a:lnTo>
                    <a:pt x="76" y="102"/>
                  </a:lnTo>
                  <a:lnTo>
                    <a:pt x="76" y="109"/>
                  </a:lnTo>
                  <a:lnTo>
                    <a:pt x="73" y="111"/>
                  </a:lnTo>
                  <a:lnTo>
                    <a:pt x="71" y="109"/>
                  </a:lnTo>
                  <a:lnTo>
                    <a:pt x="71" y="107"/>
                  </a:lnTo>
                  <a:lnTo>
                    <a:pt x="73" y="104"/>
                  </a:lnTo>
                  <a:lnTo>
                    <a:pt x="71" y="104"/>
                  </a:lnTo>
                  <a:lnTo>
                    <a:pt x="66" y="104"/>
                  </a:lnTo>
                  <a:lnTo>
                    <a:pt x="64" y="102"/>
                  </a:lnTo>
                  <a:lnTo>
                    <a:pt x="62" y="102"/>
                  </a:lnTo>
                  <a:lnTo>
                    <a:pt x="62" y="97"/>
                  </a:lnTo>
                  <a:lnTo>
                    <a:pt x="59" y="95"/>
                  </a:lnTo>
                  <a:lnTo>
                    <a:pt x="54" y="92"/>
                  </a:lnTo>
                  <a:lnTo>
                    <a:pt x="54" y="90"/>
                  </a:lnTo>
                  <a:lnTo>
                    <a:pt x="52" y="90"/>
                  </a:lnTo>
                  <a:lnTo>
                    <a:pt x="50" y="88"/>
                  </a:lnTo>
                  <a:lnTo>
                    <a:pt x="47" y="85"/>
                  </a:lnTo>
                  <a:lnTo>
                    <a:pt x="47" y="90"/>
                  </a:lnTo>
                  <a:lnTo>
                    <a:pt x="50" y="97"/>
                  </a:lnTo>
                  <a:lnTo>
                    <a:pt x="50" y="97"/>
                  </a:lnTo>
                  <a:lnTo>
                    <a:pt x="47" y="97"/>
                  </a:lnTo>
                  <a:lnTo>
                    <a:pt x="47" y="95"/>
                  </a:lnTo>
                  <a:lnTo>
                    <a:pt x="43" y="92"/>
                  </a:lnTo>
                  <a:lnTo>
                    <a:pt x="40" y="88"/>
                  </a:lnTo>
                  <a:lnTo>
                    <a:pt x="38" y="85"/>
                  </a:lnTo>
                  <a:lnTo>
                    <a:pt x="36" y="85"/>
                  </a:lnTo>
                  <a:lnTo>
                    <a:pt x="31" y="85"/>
                  </a:lnTo>
                  <a:lnTo>
                    <a:pt x="28" y="90"/>
                  </a:lnTo>
                  <a:lnTo>
                    <a:pt x="26" y="90"/>
                  </a:lnTo>
                  <a:lnTo>
                    <a:pt x="24" y="90"/>
                  </a:lnTo>
                  <a:lnTo>
                    <a:pt x="21" y="90"/>
                  </a:lnTo>
                  <a:lnTo>
                    <a:pt x="19" y="88"/>
                  </a:lnTo>
                  <a:lnTo>
                    <a:pt x="17" y="88"/>
                  </a:lnTo>
                  <a:lnTo>
                    <a:pt x="17" y="88"/>
                  </a:lnTo>
                  <a:lnTo>
                    <a:pt x="14" y="85"/>
                  </a:lnTo>
                  <a:lnTo>
                    <a:pt x="14" y="83"/>
                  </a:lnTo>
                  <a:lnTo>
                    <a:pt x="14" y="78"/>
                  </a:lnTo>
                  <a:lnTo>
                    <a:pt x="17" y="76"/>
                  </a:lnTo>
                  <a:lnTo>
                    <a:pt x="19" y="73"/>
                  </a:lnTo>
                  <a:lnTo>
                    <a:pt x="19" y="73"/>
                  </a:lnTo>
                  <a:lnTo>
                    <a:pt x="17" y="71"/>
                  </a:lnTo>
                  <a:lnTo>
                    <a:pt x="14" y="71"/>
                  </a:lnTo>
                  <a:lnTo>
                    <a:pt x="14" y="76"/>
                  </a:lnTo>
                  <a:lnTo>
                    <a:pt x="12" y="76"/>
                  </a:lnTo>
                  <a:lnTo>
                    <a:pt x="10" y="73"/>
                  </a:lnTo>
                  <a:lnTo>
                    <a:pt x="10" y="71"/>
                  </a:lnTo>
                  <a:lnTo>
                    <a:pt x="7" y="71"/>
                  </a:lnTo>
                  <a:lnTo>
                    <a:pt x="5" y="66"/>
                  </a:lnTo>
                  <a:lnTo>
                    <a:pt x="5" y="62"/>
                  </a:lnTo>
                  <a:lnTo>
                    <a:pt x="0" y="50"/>
                  </a:lnTo>
                  <a:lnTo>
                    <a:pt x="0" y="45"/>
                  </a:lnTo>
                  <a:lnTo>
                    <a:pt x="0" y="43"/>
                  </a:lnTo>
                  <a:lnTo>
                    <a:pt x="3" y="45"/>
                  </a:lnTo>
                  <a:lnTo>
                    <a:pt x="5" y="47"/>
                  </a:lnTo>
                  <a:lnTo>
                    <a:pt x="10" y="45"/>
                  </a:lnTo>
                  <a:lnTo>
                    <a:pt x="10" y="36"/>
                  </a:lnTo>
                  <a:lnTo>
                    <a:pt x="10" y="31"/>
                  </a:lnTo>
                  <a:lnTo>
                    <a:pt x="12" y="26"/>
                  </a:lnTo>
                  <a:lnTo>
                    <a:pt x="12" y="21"/>
                  </a:lnTo>
                  <a:lnTo>
                    <a:pt x="10" y="17"/>
                  </a:lnTo>
                  <a:lnTo>
                    <a:pt x="12" y="14"/>
                  </a:lnTo>
                  <a:lnTo>
                    <a:pt x="12" y="7"/>
                  </a:lnTo>
                  <a:lnTo>
                    <a:pt x="14" y="3"/>
                  </a:lnTo>
                  <a:lnTo>
                    <a:pt x="17" y="0"/>
                  </a:lnTo>
                  <a:lnTo>
                    <a:pt x="17" y="0"/>
                  </a:lnTo>
                  <a:lnTo>
                    <a:pt x="21" y="0"/>
                  </a:lnTo>
                  <a:lnTo>
                    <a:pt x="26" y="3"/>
                  </a:lnTo>
                  <a:lnTo>
                    <a:pt x="33" y="7"/>
                  </a:lnTo>
                  <a:lnTo>
                    <a:pt x="36" y="7"/>
                  </a:lnTo>
                  <a:lnTo>
                    <a:pt x="38" y="5"/>
                  </a:lnTo>
                  <a:lnTo>
                    <a:pt x="38" y="3"/>
                  </a:lnTo>
                  <a:lnTo>
                    <a:pt x="40" y="3"/>
                  </a:lnTo>
                  <a:lnTo>
                    <a:pt x="43"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2" name="Freeform 406">
              <a:extLst>
                <a:ext uri="{FF2B5EF4-FFF2-40B4-BE49-F238E27FC236}">
                  <a16:creationId xmlns:a16="http://schemas.microsoft.com/office/drawing/2014/main" id="{A93830EE-C702-4626-A79C-8FB6CC031405}"/>
                </a:ext>
              </a:extLst>
            </p:cNvPr>
            <p:cNvSpPr>
              <a:spLocks/>
            </p:cNvSpPr>
            <p:nvPr/>
          </p:nvSpPr>
          <p:spPr bwMode="auto">
            <a:xfrm>
              <a:off x="7395590" y="4213831"/>
              <a:ext cx="3309" cy="11582"/>
            </a:xfrm>
            <a:custGeom>
              <a:avLst/>
              <a:gdLst>
                <a:gd name="T0" fmla="*/ 0 w 2"/>
                <a:gd name="T1" fmla="*/ 2 h 7"/>
                <a:gd name="T2" fmla="*/ 0 w 2"/>
                <a:gd name="T3" fmla="*/ 0 h 7"/>
                <a:gd name="T4" fmla="*/ 2 w 2"/>
                <a:gd name="T5" fmla="*/ 2 h 7"/>
                <a:gd name="T6" fmla="*/ 2 w 2"/>
                <a:gd name="T7" fmla="*/ 7 h 7"/>
                <a:gd name="T8" fmla="*/ 2 w 2"/>
                <a:gd name="T9" fmla="*/ 7 h 7"/>
                <a:gd name="T10" fmla="*/ 0 w 2"/>
                <a:gd name="T11" fmla="*/ 2 h 7"/>
              </a:gdLst>
              <a:ahLst/>
              <a:cxnLst>
                <a:cxn ang="0">
                  <a:pos x="T0" y="T1"/>
                </a:cxn>
                <a:cxn ang="0">
                  <a:pos x="T2" y="T3"/>
                </a:cxn>
                <a:cxn ang="0">
                  <a:pos x="T4" y="T5"/>
                </a:cxn>
                <a:cxn ang="0">
                  <a:pos x="T6" y="T7"/>
                </a:cxn>
                <a:cxn ang="0">
                  <a:pos x="T8" y="T9"/>
                </a:cxn>
                <a:cxn ang="0">
                  <a:pos x="T10" y="T11"/>
                </a:cxn>
              </a:cxnLst>
              <a:rect l="0" t="0" r="r" b="b"/>
              <a:pathLst>
                <a:path w="2" h="7">
                  <a:moveTo>
                    <a:pt x="0" y="2"/>
                  </a:moveTo>
                  <a:lnTo>
                    <a:pt x="0" y="0"/>
                  </a:lnTo>
                  <a:lnTo>
                    <a:pt x="2" y="2"/>
                  </a:lnTo>
                  <a:lnTo>
                    <a:pt x="2" y="7"/>
                  </a:lnTo>
                  <a:lnTo>
                    <a:pt x="2" y="7"/>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3" name="Freeform 407">
              <a:extLst>
                <a:ext uri="{FF2B5EF4-FFF2-40B4-BE49-F238E27FC236}">
                  <a16:creationId xmlns:a16="http://schemas.microsoft.com/office/drawing/2014/main" id="{CECAF35D-8608-4A6D-BB1A-2721C10E0901}"/>
                </a:ext>
              </a:extLst>
            </p:cNvPr>
            <p:cNvSpPr>
              <a:spLocks/>
            </p:cNvSpPr>
            <p:nvPr/>
          </p:nvSpPr>
          <p:spPr bwMode="auto">
            <a:xfrm>
              <a:off x="7395590" y="4213831"/>
              <a:ext cx="3309" cy="11582"/>
            </a:xfrm>
            <a:custGeom>
              <a:avLst/>
              <a:gdLst>
                <a:gd name="T0" fmla="*/ 0 w 2"/>
                <a:gd name="T1" fmla="*/ 2 h 7"/>
                <a:gd name="T2" fmla="*/ 0 w 2"/>
                <a:gd name="T3" fmla="*/ 0 h 7"/>
                <a:gd name="T4" fmla="*/ 2 w 2"/>
                <a:gd name="T5" fmla="*/ 2 h 7"/>
                <a:gd name="T6" fmla="*/ 2 w 2"/>
                <a:gd name="T7" fmla="*/ 7 h 7"/>
                <a:gd name="T8" fmla="*/ 2 w 2"/>
                <a:gd name="T9" fmla="*/ 7 h 7"/>
                <a:gd name="T10" fmla="*/ 0 w 2"/>
                <a:gd name="T11" fmla="*/ 2 h 7"/>
              </a:gdLst>
              <a:ahLst/>
              <a:cxnLst>
                <a:cxn ang="0">
                  <a:pos x="T0" y="T1"/>
                </a:cxn>
                <a:cxn ang="0">
                  <a:pos x="T2" y="T3"/>
                </a:cxn>
                <a:cxn ang="0">
                  <a:pos x="T4" y="T5"/>
                </a:cxn>
                <a:cxn ang="0">
                  <a:pos x="T6" y="T7"/>
                </a:cxn>
                <a:cxn ang="0">
                  <a:pos x="T8" y="T9"/>
                </a:cxn>
                <a:cxn ang="0">
                  <a:pos x="T10" y="T11"/>
                </a:cxn>
              </a:cxnLst>
              <a:rect l="0" t="0" r="r" b="b"/>
              <a:pathLst>
                <a:path w="2" h="7">
                  <a:moveTo>
                    <a:pt x="0" y="2"/>
                  </a:moveTo>
                  <a:lnTo>
                    <a:pt x="0" y="0"/>
                  </a:lnTo>
                  <a:lnTo>
                    <a:pt x="2" y="2"/>
                  </a:lnTo>
                  <a:lnTo>
                    <a:pt x="2" y="7"/>
                  </a:lnTo>
                  <a:lnTo>
                    <a:pt x="2" y="7"/>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4" name="Freeform 408">
              <a:extLst>
                <a:ext uri="{FF2B5EF4-FFF2-40B4-BE49-F238E27FC236}">
                  <a16:creationId xmlns:a16="http://schemas.microsoft.com/office/drawing/2014/main" id="{6C28EE88-B8EA-4AB3-A8CD-C5C9EC68EB0C}"/>
                </a:ext>
              </a:extLst>
            </p:cNvPr>
            <p:cNvSpPr>
              <a:spLocks/>
            </p:cNvSpPr>
            <p:nvPr/>
          </p:nvSpPr>
          <p:spPr bwMode="auto">
            <a:xfrm>
              <a:off x="7395590" y="4260155"/>
              <a:ext cx="6618" cy="8273"/>
            </a:xfrm>
            <a:custGeom>
              <a:avLst/>
              <a:gdLst>
                <a:gd name="T0" fmla="*/ 0 w 4"/>
                <a:gd name="T1" fmla="*/ 5 h 5"/>
                <a:gd name="T2" fmla="*/ 0 w 4"/>
                <a:gd name="T3" fmla="*/ 3 h 5"/>
                <a:gd name="T4" fmla="*/ 0 w 4"/>
                <a:gd name="T5" fmla="*/ 0 h 5"/>
                <a:gd name="T6" fmla="*/ 2 w 4"/>
                <a:gd name="T7" fmla="*/ 0 h 5"/>
                <a:gd name="T8" fmla="*/ 4 w 4"/>
                <a:gd name="T9" fmla="*/ 0 h 5"/>
                <a:gd name="T10" fmla="*/ 4 w 4"/>
                <a:gd name="T11" fmla="*/ 3 h 5"/>
                <a:gd name="T12" fmla="*/ 4 w 4"/>
                <a:gd name="T13" fmla="*/ 5 h 5"/>
                <a:gd name="T14" fmla="*/ 2 w 4"/>
                <a:gd name="T15" fmla="*/ 5 h 5"/>
                <a:gd name="T16" fmla="*/ 0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5"/>
                  </a:moveTo>
                  <a:lnTo>
                    <a:pt x="0" y="3"/>
                  </a:lnTo>
                  <a:lnTo>
                    <a:pt x="0" y="0"/>
                  </a:lnTo>
                  <a:lnTo>
                    <a:pt x="2" y="0"/>
                  </a:lnTo>
                  <a:lnTo>
                    <a:pt x="4" y="0"/>
                  </a:lnTo>
                  <a:lnTo>
                    <a:pt x="4" y="3"/>
                  </a:lnTo>
                  <a:lnTo>
                    <a:pt x="4" y="5"/>
                  </a:lnTo>
                  <a:lnTo>
                    <a:pt x="2" y="5"/>
                  </a:lnTo>
                  <a:lnTo>
                    <a:pt x="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5" name="Freeform 409">
              <a:extLst>
                <a:ext uri="{FF2B5EF4-FFF2-40B4-BE49-F238E27FC236}">
                  <a16:creationId xmlns:a16="http://schemas.microsoft.com/office/drawing/2014/main" id="{6CA92790-9260-4502-BE31-D3FF9520A8C3}"/>
                </a:ext>
              </a:extLst>
            </p:cNvPr>
            <p:cNvSpPr>
              <a:spLocks/>
            </p:cNvSpPr>
            <p:nvPr/>
          </p:nvSpPr>
          <p:spPr bwMode="auto">
            <a:xfrm>
              <a:off x="7395590" y="4260155"/>
              <a:ext cx="6618" cy="8273"/>
            </a:xfrm>
            <a:custGeom>
              <a:avLst/>
              <a:gdLst>
                <a:gd name="T0" fmla="*/ 0 w 4"/>
                <a:gd name="T1" fmla="*/ 5 h 5"/>
                <a:gd name="T2" fmla="*/ 0 w 4"/>
                <a:gd name="T3" fmla="*/ 3 h 5"/>
                <a:gd name="T4" fmla="*/ 0 w 4"/>
                <a:gd name="T5" fmla="*/ 0 h 5"/>
                <a:gd name="T6" fmla="*/ 2 w 4"/>
                <a:gd name="T7" fmla="*/ 0 h 5"/>
                <a:gd name="T8" fmla="*/ 4 w 4"/>
                <a:gd name="T9" fmla="*/ 0 h 5"/>
                <a:gd name="T10" fmla="*/ 4 w 4"/>
                <a:gd name="T11" fmla="*/ 3 h 5"/>
                <a:gd name="T12" fmla="*/ 4 w 4"/>
                <a:gd name="T13" fmla="*/ 5 h 5"/>
                <a:gd name="T14" fmla="*/ 2 w 4"/>
                <a:gd name="T15" fmla="*/ 5 h 5"/>
                <a:gd name="T16" fmla="*/ 0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5"/>
                  </a:moveTo>
                  <a:lnTo>
                    <a:pt x="0" y="3"/>
                  </a:lnTo>
                  <a:lnTo>
                    <a:pt x="0" y="0"/>
                  </a:lnTo>
                  <a:lnTo>
                    <a:pt x="2" y="0"/>
                  </a:lnTo>
                  <a:lnTo>
                    <a:pt x="4" y="0"/>
                  </a:lnTo>
                  <a:lnTo>
                    <a:pt x="4" y="3"/>
                  </a:lnTo>
                  <a:lnTo>
                    <a:pt x="4" y="5"/>
                  </a:lnTo>
                  <a:lnTo>
                    <a:pt x="2" y="5"/>
                  </a:lnTo>
                  <a:lnTo>
                    <a:pt x="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6" name="Freeform 410">
              <a:extLst>
                <a:ext uri="{FF2B5EF4-FFF2-40B4-BE49-F238E27FC236}">
                  <a16:creationId xmlns:a16="http://schemas.microsoft.com/office/drawing/2014/main" id="{90CB2F3D-B172-4922-A465-1D16C328DAD9}"/>
                </a:ext>
              </a:extLst>
            </p:cNvPr>
            <p:cNvSpPr>
              <a:spLocks/>
            </p:cNvSpPr>
            <p:nvPr/>
          </p:nvSpPr>
          <p:spPr bwMode="auto">
            <a:xfrm>
              <a:off x="7398898" y="4288279"/>
              <a:ext cx="3309" cy="14890"/>
            </a:xfrm>
            <a:custGeom>
              <a:avLst/>
              <a:gdLst>
                <a:gd name="T0" fmla="*/ 0 w 2"/>
                <a:gd name="T1" fmla="*/ 2 h 9"/>
                <a:gd name="T2" fmla="*/ 0 w 2"/>
                <a:gd name="T3" fmla="*/ 0 h 9"/>
                <a:gd name="T4" fmla="*/ 2 w 2"/>
                <a:gd name="T5" fmla="*/ 0 h 9"/>
                <a:gd name="T6" fmla="*/ 2 w 2"/>
                <a:gd name="T7" fmla="*/ 7 h 9"/>
                <a:gd name="T8" fmla="*/ 0 w 2"/>
                <a:gd name="T9" fmla="*/ 9 h 9"/>
                <a:gd name="T10" fmla="*/ 0 w 2"/>
                <a:gd name="T11" fmla="*/ 7 h 9"/>
                <a:gd name="T12" fmla="*/ 0 w 2"/>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0" y="2"/>
                  </a:moveTo>
                  <a:lnTo>
                    <a:pt x="0" y="0"/>
                  </a:lnTo>
                  <a:lnTo>
                    <a:pt x="2" y="0"/>
                  </a:lnTo>
                  <a:lnTo>
                    <a:pt x="2" y="7"/>
                  </a:lnTo>
                  <a:lnTo>
                    <a:pt x="0" y="9"/>
                  </a:lnTo>
                  <a:lnTo>
                    <a:pt x="0" y="7"/>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7" name="Freeform 412">
              <a:extLst>
                <a:ext uri="{FF2B5EF4-FFF2-40B4-BE49-F238E27FC236}">
                  <a16:creationId xmlns:a16="http://schemas.microsoft.com/office/drawing/2014/main" id="{DE0E29A6-A994-4D95-B923-10BB0781CFC7}"/>
                </a:ext>
              </a:extLst>
            </p:cNvPr>
            <p:cNvSpPr>
              <a:spLocks/>
            </p:cNvSpPr>
            <p:nvPr/>
          </p:nvSpPr>
          <p:spPr bwMode="auto">
            <a:xfrm>
              <a:off x="7398899" y="4288279"/>
              <a:ext cx="3309" cy="14890"/>
            </a:xfrm>
            <a:custGeom>
              <a:avLst/>
              <a:gdLst>
                <a:gd name="T0" fmla="*/ 0 w 2"/>
                <a:gd name="T1" fmla="*/ 2 h 9"/>
                <a:gd name="T2" fmla="*/ 0 w 2"/>
                <a:gd name="T3" fmla="*/ 0 h 9"/>
                <a:gd name="T4" fmla="*/ 2 w 2"/>
                <a:gd name="T5" fmla="*/ 0 h 9"/>
                <a:gd name="T6" fmla="*/ 2 w 2"/>
                <a:gd name="T7" fmla="*/ 7 h 9"/>
                <a:gd name="T8" fmla="*/ 0 w 2"/>
                <a:gd name="T9" fmla="*/ 9 h 9"/>
                <a:gd name="T10" fmla="*/ 0 w 2"/>
                <a:gd name="T11" fmla="*/ 7 h 9"/>
                <a:gd name="T12" fmla="*/ 0 w 2"/>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0" y="2"/>
                  </a:moveTo>
                  <a:lnTo>
                    <a:pt x="0" y="0"/>
                  </a:lnTo>
                  <a:lnTo>
                    <a:pt x="2" y="0"/>
                  </a:lnTo>
                  <a:lnTo>
                    <a:pt x="2" y="7"/>
                  </a:lnTo>
                  <a:lnTo>
                    <a:pt x="0" y="9"/>
                  </a:lnTo>
                  <a:lnTo>
                    <a:pt x="0" y="7"/>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8" name="Freeform 413">
              <a:extLst>
                <a:ext uri="{FF2B5EF4-FFF2-40B4-BE49-F238E27FC236}">
                  <a16:creationId xmlns:a16="http://schemas.microsoft.com/office/drawing/2014/main" id="{AB144125-BDA9-4D42-B858-E4E59EE5E5D3}"/>
                </a:ext>
              </a:extLst>
            </p:cNvPr>
            <p:cNvSpPr>
              <a:spLocks/>
            </p:cNvSpPr>
            <p:nvPr/>
          </p:nvSpPr>
          <p:spPr bwMode="auto">
            <a:xfrm>
              <a:off x="7410480" y="4291588"/>
              <a:ext cx="8273" cy="4964"/>
            </a:xfrm>
            <a:custGeom>
              <a:avLst/>
              <a:gdLst>
                <a:gd name="T0" fmla="*/ 0 w 5"/>
                <a:gd name="T1" fmla="*/ 0 h 3"/>
                <a:gd name="T2" fmla="*/ 0 w 5"/>
                <a:gd name="T3" fmla="*/ 0 h 3"/>
                <a:gd name="T4" fmla="*/ 2 w 5"/>
                <a:gd name="T5" fmla="*/ 0 h 3"/>
                <a:gd name="T6" fmla="*/ 5 w 5"/>
                <a:gd name="T7" fmla="*/ 0 h 3"/>
                <a:gd name="T8" fmla="*/ 5 w 5"/>
                <a:gd name="T9" fmla="*/ 3 h 3"/>
                <a:gd name="T10" fmla="*/ 5 w 5"/>
                <a:gd name="T11" fmla="*/ 3 h 3"/>
                <a:gd name="T12" fmla="*/ 0 w 5"/>
                <a:gd name="T13" fmla="*/ 3 h 3"/>
                <a:gd name="T14" fmla="*/ 0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0"/>
                  </a:moveTo>
                  <a:lnTo>
                    <a:pt x="0" y="0"/>
                  </a:lnTo>
                  <a:lnTo>
                    <a:pt x="2" y="0"/>
                  </a:lnTo>
                  <a:lnTo>
                    <a:pt x="5" y="0"/>
                  </a:lnTo>
                  <a:lnTo>
                    <a:pt x="5" y="3"/>
                  </a:lnTo>
                  <a:lnTo>
                    <a:pt x="5" y="3"/>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89" name="Freeform 414">
              <a:extLst>
                <a:ext uri="{FF2B5EF4-FFF2-40B4-BE49-F238E27FC236}">
                  <a16:creationId xmlns:a16="http://schemas.microsoft.com/office/drawing/2014/main" id="{462A0AC7-4632-4789-88E6-44405E47EDB7}"/>
                </a:ext>
              </a:extLst>
            </p:cNvPr>
            <p:cNvSpPr>
              <a:spLocks/>
            </p:cNvSpPr>
            <p:nvPr/>
          </p:nvSpPr>
          <p:spPr bwMode="auto">
            <a:xfrm>
              <a:off x="7410480" y="4291588"/>
              <a:ext cx="8273" cy="4964"/>
            </a:xfrm>
            <a:custGeom>
              <a:avLst/>
              <a:gdLst>
                <a:gd name="T0" fmla="*/ 0 w 5"/>
                <a:gd name="T1" fmla="*/ 0 h 3"/>
                <a:gd name="T2" fmla="*/ 0 w 5"/>
                <a:gd name="T3" fmla="*/ 0 h 3"/>
                <a:gd name="T4" fmla="*/ 2 w 5"/>
                <a:gd name="T5" fmla="*/ 0 h 3"/>
                <a:gd name="T6" fmla="*/ 5 w 5"/>
                <a:gd name="T7" fmla="*/ 0 h 3"/>
                <a:gd name="T8" fmla="*/ 5 w 5"/>
                <a:gd name="T9" fmla="*/ 3 h 3"/>
                <a:gd name="T10" fmla="*/ 5 w 5"/>
                <a:gd name="T11" fmla="*/ 3 h 3"/>
                <a:gd name="T12" fmla="*/ 0 w 5"/>
                <a:gd name="T13" fmla="*/ 3 h 3"/>
                <a:gd name="T14" fmla="*/ 0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0"/>
                  </a:moveTo>
                  <a:lnTo>
                    <a:pt x="0" y="0"/>
                  </a:lnTo>
                  <a:lnTo>
                    <a:pt x="2" y="0"/>
                  </a:lnTo>
                  <a:lnTo>
                    <a:pt x="5" y="0"/>
                  </a:lnTo>
                  <a:lnTo>
                    <a:pt x="5" y="3"/>
                  </a:lnTo>
                  <a:lnTo>
                    <a:pt x="5" y="3"/>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0" name="Freeform 415">
              <a:extLst>
                <a:ext uri="{FF2B5EF4-FFF2-40B4-BE49-F238E27FC236}">
                  <a16:creationId xmlns:a16="http://schemas.microsoft.com/office/drawing/2014/main" id="{834E8C1F-8387-489C-8C8F-F5B001EBFD61}"/>
                </a:ext>
              </a:extLst>
            </p:cNvPr>
            <p:cNvSpPr>
              <a:spLocks/>
            </p:cNvSpPr>
            <p:nvPr/>
          </p:nvSpPr>
          <p:spPr bwMode="auto">
            <a:xfrm>
              <a:off x="7430333" y="4271736"/>
              <a:ext cx="8273" cy="13236"/>
            </a:xfrm>
            <a:custGeom>
              <a:avLst/>
              <a:gdLst>
                <a:gd name="T0" fmla="*/ 0 w 5"/>
                <a:gd name="T1" fmla="*/ 0 h 8"/>
                <a:gd name="T2" fmla="*/ 0 w 5"/>
                <a:gd name="T3" fmla="*/ 0 h 8"/>
                <a:gd name="T4" fmla="*/ 0 w 5"/>
                <a:gd name="T5" fmla="*/ 0 h 8"/>
                <a:gd name="T6" fmla="*/ 2 w 5"/>
                <a:gd name="T7" fmla="*/ 3 h 8"/>
                <a:gd name="T8" fmla="*/ 2 w 5"/>
                <a:gd name="T9" fmla="*/ 5 h 8"/>
                <a:gd name="T10" fmla="*/ 5 w 5"/>
                <a:gd name="T11" fmla="*/ 5 h 8"/>
                <a:gd name="T12" fmla="*/ 5 w 5"/>
                <a:gd name="T13" fmla="*/ 8 h 8"/>
                <a:gd name="T14" fmla="*/ 5 w 5"/>
                <a:gd name="T15" fmla="*/ 8 h 8"/>
                <a:gd name="T16" fmla="*/ 2 w 5"/>
                <a:gd name="T17" fmla="*/ 8 h 8"/>
                <a:gd name="T18" fmla="*/ 0 w 5"/>
                <a:gd name="T19" fmla="*/ 3 h 8"/>
                <a:gd name="T20" fmla="*/ 0 w 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8">
                  <a:moveTo>
                    <a:pt x="0" y="0"/>
                  </a:moveTo>
                  <a:lnTo>
                    <a:pt x="0" y="0"/>
                  </a:lnTo>
                  <a:lnTo>
                    <a:pt x="0" y="0"/>
                  </a:lnTo>
                  <a:lnTo>
                    <a:pt x="2" y="3"/>
                  </a:lnTo>
                  <a:lnTo>
                    <a:pt x="2" y="5"/>
                  </a:lnTo>
                  <a:lnTo>
                    <a:pt x="5" y="5"/>
                  </a:lnTo>
                  <a:lnTo>
                    <a:pt x="5" y="8"/>
                  </a:lnTo>
                  <a:lnTo>
                    <a:pt x="5" y="8"/>
                  </a:lnTo>
                  <a:lnTo>
                    <a:pt x="2" y="8"/>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1" name="Freeform 416">
              <a:extLst>
                <a:ext uri="{FF2B5EF4-FFF2-40B4-BE49-F238E27FC236}">
                  <a16:creationId xmlns:a16="http://schemas.microsoft.com/office/drawing/2014/main" id="{2C89AA84-5F6B-4602-AE4F-CDCFA4E2B3BE}"/>
                </a:ext>
              </a:extLst>
            </p:cNvPr>
            <p:cNvSpPr>
              <a:spLocks/>
            </p:cNvSpPr>
            <p:nvPr/>
          </p:nvSpPr>
          <p:spPr bwMode="auto">
            <a:xfrm>
              <a:off x="7430333" y="4271736"/>
              <a:ext cx="8273" cy="13236"/>
            </a:xfrm>
            <a:custGeom>
              <a:avLst/>
              <a:gdLst>
                <a:gd name="T0" fmla="*/ 0 w 5"/>
                <a:gd name="T1" fmla="*/ 0 h 8"/>
                <a:gd name="T2" fmla="*/ 0 w 5"/>
                <a:gd name="T3" fmla="*/ 0 h 8"/>
                <a:gd name="T4" fmla="*/ 0 w 5"/>
                <a:gd name="T5" fmla="*/ 0 h 8"/>
                <a:gd name="T6" fmla="*/ 2 w 5"/>
                <a:gd name="T7" fmla="*/ 3 h 8"/>
                <a:gd name="T8" fmla="*/ 2 w 5"/>
                <a:gd name="T9" fmla="*/ 5 h 8"/>
                <a:gd name="T10" fmla="*/ 5 w 5"/>
                <a:gd name="T11" fmla="*/ 5 h 8"/>
                <a:gd name="T12" fmla="*/ 5 w 5"/>
                <a:gd name="T13" fmla="*/ 8 h 8"/>
                <a:gd name="T14" fmla="*/ 5 w 5"/>
                <a:gd name="T15" fmla="*/ 8 h 8"/>
                <a:gd name="T16" fmla="*/ 2 w 5"/>
                <a:gd name="T17" fmla="*/ 8 h 8"/>
                <a:gd name="T18" fmla="*/ 0 w 5"/>
                <a:gd name="T19" fmla="*/ 3 h 8"/>
                <a:gd name="T20" fmla="*/ 0 w 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8">
                  <a:moveTo>
                    <a:pt x="0" y="0"/>
                  </a:moveTo>
                  <a:lnTo>
                    <a:pt x="0" y="0"/>
                  </a:lnTo>
                  <a:lnTo>
                    <a:pt x="0" y="0"/>
                  </a:lnTo>
                  <a:lnTo>
                    <a:pt x="2" y="3"/>
                  </a:lnTo>
                  <a:lnTo>
                    <a:pt x="2" y="5"/>
                  </a:lnTo>
                  <a:lnTo>
                    <a:pt x="5" y="5"/>
                  </a:lnTo>
                  <a:lnTo>
                    <a:pt x="5" y="8"/>
                  </a:lnTo>
                  <a:lnTo>
                    <a:pt x="5" y="8"/>
                  </a:lnTo>
                  <a:lnTo>
                    <a:pt x="2" y="8"/>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2" name="Freeform 417">
              <a:extLst>
                <a:ext uri="{FF2B5EF4-FFF2-40B4-BE49-F238E27FC236}">
                  <a16:creationId xmlns:a16="http://schemas.microsoft.com/office/drawing/2014/main" id="{1B034137-EBE8-4BC1-B18E-0BFC4C5531A3}"/>
                </a:ext>
              </a:extLst>
            </p:cNvPr>
            <p:cNvSpPr>
              <a:spLocks/>
            </p:cNvSpPr>
            <p:nvPr/>
          </p:nvSpPr>
          <p:spPr bwMode="auto">
            <a:xfrm>
              <a:off x="7445223" y="4288279"/>
              <a:ext cx="4964" cy="3309"/>
            </a:xfrm>
            <a:custGeom>
              <a:avLst/>
              <a:gdLst>
                <a:gd name="T0" fmla="*/ 0 w 3"/>
                <a:gd name="T1" fmla="*/ 0 h 2"/>
                <a:gd name="T2" fmla="*/ 3 w 3"/>
                <a:gd name="T3" fmla="*/ 0 h 2"/>
                <a:gd name="T4" fmla="*/ 3 w 3"/>
                <a:gd name="T5" fmla="*/ 2 h 2"/>
                <a:gd name="T6" fmla="*/ 3 w 3"/>
                <a:gd name="T7" fmla="*/ 2 h 2"/>
                <a:gd name="T8" fmla="*/ 3 w 3"/>
                <a:gd name="T9" fmla="*/ 2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lnTo>
                    <a:pt x="3" y="0"/>
                  </a:lnTo>
                  <a:lnTo>
                    <a:pt x="3" y="2"/>
                  </a:lnTo>
                  <a:lnTo>
                    <a:pt x="3" y="2"/>
                  </a:lnTo>
                  <a:lnTo>
                    <a:pt x="3"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3" name="Freeform 418">
              <a:extLst>
                <a:ext uri="{FF2B5EF4-FFF2-40B4-BE49-F238E27FC236}">
                  <a16:creationId xmlns:a16="http://schemas.microsoft.com/office/drawing/2014/main" id="{DCBDAB42-3ADC-4849-A5D7-AB0DD369F3E7}"/>
                </a:ext>
              </a:extLst>
            </p:cNvPr>
            <p:cNvSpPr>
              <a:spLocks/>
            </p:cNvSpPr>
            <p:nvPr/>
          </p:nvSpPr>
          <p:spPr bwMode="auto">
            <a:xfrm>
              <a:off x="7445223" y="4288279"/>
              <a:ext cx="4964" cy="3309"/>
            </a:xfrm>
            <a:custGeom>
              <a:avLst/>
              <a:gdLst>
                <a:gd name="T0" fmla="*/ 0 w 3"/>
                <a:gd name="T1" fmla="*/ 0 h 2"/>
                <a:gd name="T2" fmla="*/ 3 w 3"/>
                <a:gd name="T3" fmla="*/ 0 h 2"/>
                <a:gd name="T4" fmla="*/ 3 w 3"/>
                <a:gd name="T5" fmla="*/ 2 h 2"/>
                <a:gd name="T6" fmla="*/ 3 w 3"/>
                <a:gd name="T7" fmla="*/ 2 h 2"/>
                <a:gd name="T8" fmla="*/ 3 w 3"/>
                <a:gd name="T9" fmla="*/ 2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lnTo>
                    <a:pt x="3" y="0"/>
                  </a:lnTo>
                  <a:lnTo>
                    <a:pt x="3" y="2"/>
                  </a:lnTo>
                  <a:lnTo>
                    <a:pt x="3" y="2"/>
                  </a:lnTo>
                  <a:lnTo>
                    <a:pt x="3"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4" name="Freeform 419">
              <a:extLst>
                <a:ext uri="{FF2B5EF4-FFF2-40B4-BE49-F238E27FC236}">
                  <a16:creationId xmlns:a16="http://schemas.microsoft.com/office/drawing/2014/main" id="{44152339-194C-42E1-91B5-081AD5193278}"/>
                </a:ext>
              </a:extLst>
            </p:cNvPr>
            <p:cNvSpPr>
              <a:spLocks/>
            </p:cNvSpPr>
            <p:nvPr/>
          </p:nvSpPr>
          <p:spPr bwMode="auto">
            <a:xfrm>
              <a:off x="7433642" y="4288279"/>
              <a:ext cx="23161" cy="23161"/>
            </a:xfrm>
            <a:custGeom>
              <a:avLst/>
              <a:gdLst>
                <a:gd name="T0" fmla="*/ 0 w 14"/>
                <a:gd name="T1" fmla="*/ 0 h 14"/>
                <a:gd name="T2" fmla="*/ 3 w 14"/>
                <a:gd name="T3" fmla="*/ 2 h 14"/>
                <a:gd name="T4" fmla="*/ 3 w 14"/>
                <a:gd name="T5" fmla="*/ 2 h 14"/>
                <a:gd name="T6" fmla="*/ 3 w 14"/>
                <a:gd name="T7" fmla="*/ 2 h 14"/>
                <a:gd name="T8" fmla="*/ 5 w 14"/>
                <a:gd name="T9" fmla="*/ 2 h 14"/>
                <a:gd name="T10" fmla="*/ 14 w 14"/>
                <a:gd name="T11" fmla="*/ 9 h 14"/>
                <a:gd name="T12" fmla="*/ 14 w 14"/>
                <a:gd name="T13" fmla="*/ 12 h 14"/>
                <a:gd name="T14" fmla="*/ 14 w 14"/>
                <a:gd name="T15" fmla="*/ 14 h 14"/>
                <a:gd name="T16" fmla="*/ 12 w 14"/>
                <a:gd name="T17" fmla="*/ 14 h 14"/>
                <a:gd name="T18" fmla="*/ 10 w 14"/>
                <a:gd name="T19" fmla="*/ 12 h 14"/>
                <a:gd name="T20" fmla="*/ 7 w 14"/>
                <a:gd name="T21" fmla="*/ 9 h 14"/>
                <a:gd name="T22" fmla="*/ 5 w 14"/>
                <a:gd name="T23" fmla="*/ 7 h 14"/>
                <a:gd name="T24" fmla="*/ 3 w 14"/>
                <a:gd name="T25" fmla="*/ 9 h 14"/>
                <a:gd name="T26" fmla="*/ 0 w 14"/>
                <a:gd name="T27" fmla="*/ 12 h 14"/>
                <a:gd name="T28" fmla="*/ 0 w 14"/>
                <a:gd name="T29" fmla="*/ 12 h 14"/>
                <a:gd name="T30" fmla="*/ 0 w 14"/>
                <a:gd name="T31" fmla="*/ 7 h 14"/>
                <a:gd name="T32" fmla="*/ 0 w 14"/>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4">
                  <a:moveTo>
                    <a:pt x="0" y="0"/>
                  </a:moveTo>
                  <a:lnTo>
                    <a:pt x="3" y="2"/>
                  </a:lnTo>
                  <a:lnTo>
                    <a:pt x="3" y="2"/>
                  </a:lnTo>
                  <a:lnTo>
                    <a:pt x="3" y="2"/>
                  </a:lnTo>
                  <a:lnTo>
                    <a:pt x="5" y="2"/>
                  </a:lnTo>
                  <a:lnTo>
                    <a:pt x="14" y="9"/>
                  </a:lnTo>
                  <a:lnTo>
                    <a:pt x="14" y="12"/>
                  </a:lnTo>
                  <a:lnTo>
                    <a:pt x="14" y="14"/>
                  </a:lnTo>
                  <a:lnTo>
                    <a:pt x="12" y="14"/>
                  </a:lnTo>
                  <a:lnTo>
                    <a:pt x="10" y="12"/>
                  </a:lnTo>
                  <a:lnTo>
                    <a:pt x="7" y="9"/>
                  </a:lnTo>
                  <a:lnTo>
                    <a:pt x="5" y="7"/>
                  </a:lnTo>
                  <a:lnTo>
                    <a:pt x="3" y="9"/>
                  </a:lnTo>
                  <a:lnTo>
                    <a:pt x="0" y="12"/>
                  </a:lnTo>
                  <a:lnTo>
                    <a:pt x="0" y="12"/>
                  </a:lnTo>
                  <a:lnTo>
                    <a:pt x="0" y="7"/>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5" name="Freeform 420">
              <a:extLst>
                <a:ext uri="{FF2B5EF4-FFF2-40B4-BE49-F238E27FC236}">
                  <a16:creationId xmlns:a16="http://schemas.microsoft.com/office/drawing/2014/main" id="{15DD3163-2426-4D1B-89FF-F8238CEAA893}"/>
                </a:ext>
              </a:extLst>
            </p:cNvPr>
            <p:cNvSpPr>
              <a:spLocks/>
            </p:cNvSpPr>
            <p:nvPr/>
          </p:nvSpPr>
          <p:spPr bwMode="auto">
            <a:xfrm>
              <a:off x="7433642" y="4288279"/>
              <a:ext cx="23161" cy="23161"/>
            </a:xfrm>
            <a:custGeom>
              <a:avLst/>
              <a:gdLst>
                <a:gd name="T0" fmla="*/ 0 w 14"/>
                <a:gd name="T1" fmla="*/ 0 h 14"/>
                <a:gd name="T2" fmla="*/ 3 w 14"/>
                <a:gd name="T3" fmla="*/ 2 h 14"/>
                <a:gd name="T4" fmla="*/ 3 w 14"/>
                <a:gd name="T5" fmla="*/ 2 h 14"/>
                <a:gd name="T6" fmla="*/ 3 w 14"/>
                <a:gd name="T7" fmla="*/ 2 h 14"/>
                <a:gd name="T8" fmla="*/ 5 w 14"/>
                <a:gd name="T9" fmla="*/ 2 h 14"/>
                <a:gd name="T10" fmla="*/ 14 w 14"/>
                <a:gd name="T11" fmla="*/ 9 h 14"/>
                <a:gd name="T12" fmla="*/ 14 w 14"/>
                <a:gd name="T13" fmla="*/ 12 h 14"/>
                <a:gd name="T14" fmla="*/ 14 w 14"/>
                <a:gd name="T15" fmla="*/ 14 h 14"/>
                <a:gd name="T16" fmla="*/ 12 w 14"/>
                <a:gd name="T17" fmla="*/ 14 h 14"/>
                <a:gd name="T18" fmla="*/ 10 w 14"/>
                <a:gd name="T19" fmla="*/ 12 h 14"/>
                <a:gd name="T20" fmla="*/ 7 w 14"/>
                <a:gd name="T21" fmla="*/ 9 h 14"/>
                <a:gd name="T22" fmla="*/ 5 w 14"/>
                <a:gd name="T23" fmla="*/ 7 h 14"/>
                <a:gd name="T24" fmla="*/ 3 w 14"/>
                <a:gd name="T25" fmla="*/ 9 h 14"/>
                <a:gd name="T26" fmla="*/ 0 w 14"/>
                <a:gd name="T27" fmla="*/ 12 h 14"/>
                <a:gd name="T28" fmla="*/ 0 w 14"/>
                <a:gd name="T29" fmla="*/ 12 h 14"/>
                <a:gd name="T30" fmla="*/ 0 w 14"/>
                <a:gd name="T31" fmla="*/ 7 h 14"/>
                <a:gd name="T32" fmla="*/ 0 w 14"/>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4">
                  <a:moveTo>
                    <a:pt x="0" y="0"/>
                  </a:moveTo>
                  <a:lnTo>
                    <a:pt x="3" y="2"/>
                  </a:lnTo>
                  <a:lnTo>
                    <a:pt x="3" y="2"/>
                  </a:lnTo>
                  <a:lnTo>
                    <a:pt x="3" y="2"/>
                  </a:lnTo>
                  <a:lnTo>
                    <a:pt x="5" y="2"/>
                  </a:lnTo>
                  <a:lnTo>
                    <a:pt x="14" y="9"/>
                  </a:lnTo>
                  <a:lnTo>
                    <a:pt x="14" y="12"/>
                  </a:lnTo>
                  <a:lnTo>
                    <a:pt x="14" y="14"/>
                  </a:lnTo>
                  <a:lnTo>
                    <a:pt x="12" y="14"/>
                  </a:lnTo>
                  <a:lnTo>
                    <a:pt x="10" y="12"/>
                  </a:lnTo>
                  <a:lnTo>
                    <a:pt x="7" y="9"/>
                  </a:lnTo>
                  <a:lnTo>
                    <a:pt x="5" y="7"/>
                  </a:lnTo>
                  <a:lnTo>
                    <a:pt x="3" y="9"/>
                  </a:lnTo>
                  <a:lnTo>
                    <a:pt x="0" y="12"/>
                  </a:lnTo>
                  <a:lnTo>
                    <a:pt x="0" y="12"/>
                  </a:lnTo>
                  <a:lnTo>
                    <a:pt x="0" y="7"/>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6" name="Freeform 421">
              <a:extLst>
                <a:ext uri="{FF2B5EF4-FFF2-40B4-BE49-F238E27FC236}">
                  <a16:creationId xmlns:a16="http://schemas.microsoft.com/office/drawing/2014/main" id="{A7B2D054-AE63-47E8-AF0A-1B23DC0E97C5}"/>
                </a:ext>
              </a:extLst>
            </p:cNvPr>
            <p:cNvSpPr>
              <a:spLocks/>
            </p:cNvSpPr>
            <p:nvPr/>
          </p:nvSpPr>
          <p:spPr bwMode="auto">
            <a:xfrm>
              <a:off x="7465077" y="4288279"/>
              <a:ext cx="43015" cy="46324"/>
            </a:xfrm>
            <a:custGeom>
              <a:avLst/>
              <a:gdLst>
                <a:gd name="T0" fmla="*/ 0 w 26"/>
                <a:gd name="T1" fmla="*/ 2 h 28"/>
                <a:gd name="T2" fmla="*/ 2 w 26"/>
                <a:gd name="T3" fmla="*/ 2 h 28"/>
                <a:gd name="T4" fmla="*/ 10 w 26"/>
                <a:gd name="T5" fmla="*/ 2 h 28"/>
                <a:gd name="T6" fmla="*/ 12 w 26"/>
                <a:gd name="T7" fmla="*/ 0 h 28"/>
                <a:gd name="T8" fmla="*/ 14 w 26"/>
                <a:gd name="T9" fmla="*/ 0 h 28"/>
                <a:gd name="T10" fmla="*/ 17 w 26"/>
                <a:gd name="T11" fmla="*/ 2 h 28"/>
                <a:gd name="T12" fmla="*/ 19 w 26"/>
                <a:gd name="T13" fmla="*/ 5 h 28"/>
                <a:gd name="T14" fmla="*/ 21 w 26"/>
                <a:gd name="T15" fmla="*/ 7 h 28"/>
                <a:gd name="T16" fmla="*/ 21 w 26"/>
                <a:gd name="T17" fmla="*/ 9 h 28"/>
                <a:gd name="T18" fmla="*/ 21 w 26"/>
                <a:gd name="T19" fmla="*/ 14 h 28"/>
                <a:gd name="T20" fmla="*/ 21 w 26"/>
                <a:gd name="T21" fmla="*/ 19 h 28"/>
                <a:gd name="T22" fmla="*/ 24 w 26"/>
                <a:gd name="T23" fmla="*/ 23 h 28"/>
                <a:gd name="T24" fmla="*/ 26 w 26"/>
                <a:gd name="T25" fmla="*/ 28 h 28"/>
                <a:gd name="T26" fmla="*/ 21 w 26"/>
                <a:gd name="T27" fmla="*/ 28 h 28"/>
                <a:gd name="T28" fmla="*/ 17 w 26"/>
                <a:gd name="T29" fmla="*/ 26 h 28"/>
                <a:gd name="T30" fmla="*/ 17 w 26"/>
                <a:gd name="T31" fmla="*/ 23 h 28"/>
                <a:gd name="T32" fmla="*/ 14 w 26"/>
                <a:gd name="T33" fmla="*/ 21 h 28"/>
                <a:gd name="T34" fmla="*/ 12 w 26"/>
                <a:gd name="T35" fmla="*/ 21 h 28"/>
                <a:gd name="T36" fmla="*/ 12 w 26"/>
                <a:gd name="T37" fmla="*/ 19 h 28"/>
                <a:gd name="T38" fmla="*/ 12 w 26"/>
                <a:gd name="T39" fmla="*/ 16 h 28"/>
                <a:gd name="T40" fmla="*/ 12 w 26"/>
                <a:gd name="T41" fmla="*/ 16 h 28"/>
                <a:gd name="T42" fmla="*/ 7 w 26"/>
                <a:gd name="T43" fmla="*/ 9 h 28"/>
                <a:gd name="T44" fmla="*/ 5 w 26"/>
                <a:gd name="T45" fmla="*/ 9 h 28"/>
                <a:gd name="T46" fmla="*/ 2 w 26"/>
                <a:gd name="T47" fmla="*/ 7 h 28"/>
                <a:gd name="T48" fmla="*/ 0 w 26"/>
                <a:gd name="T49" fmla="*/ 2 h 28"/>
                <a:gd name="T50" fmla="*/ 0 w 26"/>
                <a:gd name="T5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8">
                  <a:moveTo>
                    <a:pt x="0" y="2"/>
                  </a:moveTo>
                  <a:lnTo>
                    <a:pt x="2" y="2"/>
                  </a:lnTo>
                  <a:lnTo>
                    <a:pt x="10" y="2"/>
                  </a:lnTo>
                  <a:lnTo>
                    <a:pt x="12" y="0"/>
                  </a:lnTo>
                  <a:lnTo>
                    <a:pt x="14" y="0"/>
                  </a:lnTo>
                  <a:lnTo>
                    <a:pt x="17" y="2"/>
                  </a:lnTo>
                  <a:lnTo>
                    <a:pt x="19" y="5"/>
                  </a:lnTo>
                  <a:lnTo>
                    <a:pt x="21" y="7"/>
                  </a:lnTo>
                  <a:lnTo>
                    <a:pt x="21" y="9"/>
                  </a:lnTo>
                  <a:lnTo>
                    <a:pt x="21" y="14"/>
                  </a:lnTo>
                  <a:lnTo>
                    <a:pt x="21" y="19"/>
                  </a:lnTo>
                  <a:lnTo>
                    <a:pt x="24" y="23"/>
                  </a:lnTo>
                  <a:lnTo>
                    <a:pt x="26" y="28"/>
                  </a:lnTo>
                  <a:lnTo>
                    <a:pt x="21" y="28"/>
                  </a:lnTo>
                  <a:lnTo>
                    <a:pt x="17" y="26"/>
                  </a:lnTo>
                  <a:lnTo>
                    <a:pt x="17" y="23"/>
                  </a:lnTo>
                  <a:lnTo>
                    <a:pt x="14" y="21"/>
                  </a:lnTo>
                  <a:lnTo>
                    <a:pt x="12" y="21"/>
                  </a:lnTo>
                  <a:lnTo>
                    <a:pt x="12" y="19"/>
                  </a:lnTo>
                  <a:lnTo>
                    <a:pt x="12" y="16"/>
                  </a:lnTo>
                  <a:lnTo>
                    <a:pt x="12" y="16"/>
                  </a:lnTo>
                  <a:lnTo>
                    <a:pt x="7" y="9"/>
                  </a:lnTo>
                  <a:lnTo>
                    <a:pt x="5" y="9"/>
                  </a:lnTo>
                  <a:lnTo>
                    <a:pt x="2" y="7"/>
                  </a:lnTo>
                  <a:lnTo>
                    <a:pt x="0"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7" name="Freeform 422">
              <a:extLst>
                <a:ext uri="{FF2B5EF4-FFF2-40B4-BE49-F238E27FC236}">
                  <a16:creationId xmlns:a16="http://schemas.microsoft.com/office/drawing/2014/main" id="{DE064D1B-0233-4B9E-BEE7-704F6FE66D11}"/>
                </a:ext>
              </a:extLst>
            </p:cNvPr>
            <p:cNvSpPr>
              <a:spLocks/>
            </p:cNvSpPr>
            <p:nvPr/>
          </p:nvSpPr>
          <p:spPr bwMode="auto">
            <a:xfrm>
              <a:off x="7465077" y="4288279"/>
              <a:ext cx="43015" cy="46324"/>
            </a:xfrm>
            <a:custGeom>
              <a:avLst/>
              <a:gdLst>
                <a:gd name="T0" fmla="*/ 0 w 26"/>
                <a:gd name="T1" fmla="*/ 2 h 28"/>
                <a:gd name="T2" fmla="*/ 2 w 26"/>
                <a:gd name="T3" fmla="*/ 2 h 28"/>
                <a:gd name="T4" fmla="*/ 10 w 26"/>
                <a:gd name="T5" fmla="*/ 2 h 28"/>
                <a:gd name="T6" fmla="*/ 12 w 26"/>
                <a:gd name="T7" fmla="*/ 0 h 28"/>
                <a:gd name="T8" fmla="*/ 14 w 26"/>
                <a:gd name="T9" fmla="*/ 0 h 28"/>
                <a:gd name="T10" fmla="*/ 17 w 26"/>
                <a:gd name="T11" fmla="*/ 2 h 28"/>
                <a:gd name="T12" fmla="*/ 19 w 26"/>
                <a:gd name="T13" fmla="*/ 5 h 28"/>
                <a:gd name="T14" fmla="*/ 21 w 26"/>
                <a:gd name="T15" fmla="*/ 7 h 28"/>
                <a:gd name="T16" fmla="*/ 21 w 26"/>
                <a:gd name="T17" fmla="*/ 9 h 28"/>
                <a:gd name="T18" fmla="*/ 21 w 26"/>
                <a:gd name="T19" fmla="*/ 14 h 28"/>
                <a:gd name="T20" fmla="*/ 21 w 26"/>
                <a:gd name="T21" fmla="*/ 19 h 28"/>
                <a:gd name="T22" fmla="*/ 24 w 26"/>
                <a:gd name="T23" fmla="*/ 23 h 28"/>
                <a:gd name="T24" fmla="*/ 26 w 26"/>
                <a:gd name="T25" fmla="*/ 28 h 28"/>
                <a:gd name="T26" fmla="*/ 21 w 26"/>
                <a:gd name="T27" fmla="*/ 28 h 28"/>
                <a:gd name="T28" fmla="*/ 17 w 26"/>
                <a:gd name="T29" fmla="*/ 26 h 28"/>
                <a:gd name="T30" fmla="*/ 17 w 26"/>
                <a:gd name="T31" fmla="*/ 23 h 28"/>
                <a:gd name="T32" fmla="*/ 14 w 26"/>
                <a:gd name="T33" fmla="*/ 21 h 28"/>
                <a:gd name="T34" fmla="*/ 12 w 26"/>
                <a:gd name="T35" fmla="*/ 21 h 28"/>
                <a:gd name="T36" fmla="*/ 12 w 26"/>
                <a:gd name="T37" fmla="*/ 19 h 28"/>
                <a:gd name="T38" fmla="*/ 12 w 26"/>
                <a:gd name="T39" fmla="*/ 16 h 28"/>
                <a:gd name="T40" fmla="*/ 12 w 26"/>
                <a:gd name="T41" fmla="*/ 16 h 28"/>
                <a:gd name="T42" fmla="*/ 7 w 26"/>
                <a:gd name="T43" fmla="*/ 9 h 28"/>
                <a:gd name="T44" fmla="*/ 5 w 26"/>
                <a:gd name="T45" fmla="*/ 9 h 28"/>
                <a:gd name="T46" fmla="*/ 2 w 26"/>
                <a:gd name="T47" fmla="*/ 7 h 28"/>
                <a:gd name="T48" fmla="*/ 0 w 26"/>
                <a:gd name="T49" fmla="*/ 2 h 28"/>
                <a:gd name="T50" fmla="*/ 0 w 26"/>
                <a:gd name="T5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8">
                  <a:moveTo>
                    <a:pt x="0" y="2"/>
                  </a:moveTo>
                  <a:lnTo>
                    <a:pt x="2" y="2"/>
                  </a:lnTo>
                  <a:lnTo>
                    <a:pt x="10" y="2"/>
                  </a:lnTo>
                  <a:lnTo>
                    <a:pt x="12" y="0"/>
                  </a:lnTo>
                  <a:lnTo>
                    <a:pt x="14" y="0"/>
                  </a:lnTo>
                  <a:lnTo>
                    <a:pt x="17" y="2"/>
                  </a:lnTo>
                  <a:lnTo>
                    <a:pt x="19" y="5"/>
                  </a:lnTo>
                  <a:lnTo>
                    <a:pt x="21" y="7"/>
                  </a:lnTo>
                  <a:lnTo>
                    <a:pt x="21" y="9"/>
                  </a:lnTo>
                  <a:lnTo>
                    <a:pt x="21" y="14"/>
                  </a:lnTo>
                  <a:lnTo>
                    <a:pt x="21" y="19"/>
                  </a:lnTo>
                  <a:lnTo>
                    <a:pt x="24" y="23"/>
                  </a:lnTo>
                  <a:lnTo>
                    <a:pt x="26" y="28"/>
                  </a:lnTo>
                  <a:lnTo>
                    <a:pt x="21" y="28"/>
                  </a:lnTo>
                  <a:lnTo>
                    <a:pt x="17" y="26"/>
                  </a:lnTo>
                  <a:lnTo>
                    <a:pt x="17" y="23"/>
                  </a:lnTo>
                  <a:lnTo>
                    <a:pt x="14" y="21"/>
                  </a:lnTo>
                  <a:lnTo>
                    <a:pt x="12" y="21"/>
                  </a:lnTo>
                  <a:lnTo>
                    <a:pt x="12" y="19"/>
                  </a:lnTo>
                  <a:lnTo>
                    <a:pt x="12" y="16"/>
                  </a:lnTo>
                  <a:lnTo>
                    <a:pt x="12" y="16"/>
                  </a:lnTo>
                  <a:lnTo>
                    <a:pt x="7" y="9"/>
                  </a:lnTo>
                  <a:lnTo>
                    <a:pt x="5" y="9"/>
                  </a:lnTo>
                  <a:lnTo>
                    <a:pt x="2" y="7"/>
                  </a:lnTo>
                  <a:lnTo>
                    <a:pt x="0"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8" name="Freeform 423">
              <a:extLst>
                <a:ext uri="{FF2B5EF4-FFF2-40B4-BE49-F238E27FC236}">
                  <a16:creationId xmlns:a16="http://schemas.microsoft.com/office/drawing/2014/main" id="{E646F183-6AA5-41D2-8369-D347DAD9F010}"/>
                </a:ext>
              </a:extLst>
            </p:cNvPr>
            <p:cNvSpPr>
              <a:spLocks/>
            </p:cNvSpPr>
            <p:nvPr/>
          </p:nvSpPr>
          <p:spPr bwMode="auto">
            <a:xfrm>
              <a:off x="7398899" y="4308133"/>
              <a:ext cx="31435" cy="46324"/>
            </a:xfrm>
            <a:custGeom>
              <a:avLst/>
              <a:gdLst>
                <a:gd name="T0" fmla="*/ 0 w 19"/>
                <a:gd name="T1" fmla="*/ 0 h 28"/>
                <a:gd name="T2" fmla="*/ 0 w 19"/>
                <a:gd name="T3" fmla="*/ 0 h 28"/>
                <a:gd name="T4" fmla="*/ 2 w 19"/>
                <a:gd name="T5" fmla="*/ 2 h 28"/>
                <a:gd name="T6" fmla="*/ 7 w 19"/>
                <a:gd name="T7" fmla="*/ 4 h 28"/>
                <a:gd name="T8" fmla="*/ 7 w 19"/>
                <a:gd name="T9" fmla="*/ 7 h 28"/>
                <a:gd name="T10" fmla="*/ 9 w 19"/>
                <a:gd name="T11" fmla="*/ 7 h 28"/>
                <a:gd name="T12" fmla="*/ 14 w 19"/>
                <a:gd name="T13" fmla="*/ 7 h 28"/>
                <a:gd name="T14" fmla="*/ 14 w 19"/>
                <a:gd name="T15" fmla="*/ 7 h 28"/>
                <a:gd name="T16" fmla="*/ 19 w 19"/>
                <a:gd name="T17" fmla="*/ 7 h 28"/>
                <a:gd name="T18" fmla="*/ 19 w 19"/>
                <a:gd name="T19" fmla="*/ 7 h 28"/>
                <a:gd name="T20" fmla="*/ 19 w 19"/>
                <a:gd name="T21" fmla="*/ 11 h 28"/>
                <a:gd name="T22" fmla="*/ 19 w 19"/>
                <a:gd name="T23" fmla="*/ 14 h 28"/>
                <a:gd name="T24" fmla="*/ 16 w 19"/>
                <a:gd name="T25" fmla="*/ 16 h 28"/>
                <a:gd name="T26" fmla="*/ 14 w 19"/>
                <a:gd name="T27" fmla="*/ 19 h 28"/>
                <a:gd name="T28" fmla="*/ 12 w 19"/>
                <a:gd name="T29" fmla="*/ 21 h 28"/>
                <a:gd name="T30" fmla="*/ 9 w 19"/>
                <a:gd name="T31" fmla="*/ 23 h 28"/>
                <a:gd name="T32" fmla="*/ 7 w 19"/>
                <a:gd name="T33" fmla="*/ 23 h 28"/>
                <a:gd name="T34" fmla="*/ 2 w 19"/>
                <a:gd name="T35" fmla="*/ 23 h 28"/>
                <a:gd name="T36" fmla="*/ 0 w 19"/>
                <a:gd name="T37" fmla="*/ 28 h 28"/>
                <a:gd name="T38" fmla="*/ 0 w 19"/>
                <a:gd name="T39" fmla="*/ 23 h 28"/>
                <a:gd name="T40" fmla="*/ 0 w 19"/>
                <a:gd name="T41" fmla="*/ 19 h 28"/>
                <a:gd name="T42" fmla="*/ 0 w 19"/>
                <a:gd name="T43" fmla="*/ 14 h 28"/>
                <a:gd name="T44" fmla="*/ 2 w 19"/>
                <a:gd name="T45" fmla="*/ 7 h 28"/>
                <a:gd name="T46" fmla="*/ 0 w 19"/>
                <a:gd name="T47" fmla="*/ 4 h 28"/>
                <a:gd name="T48" fmla="*/ 0 w 19"/>
                <a:gd name="T49" fmla="*/ 2 h 28"/>
                <a:gd name="T50" fmla="*/ 0 w 19"/>
                <a:gd name="T5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8">
                  <a:moveTo>
                    <a:pt x="0" y="0"/>
                  </a:moveTo>
                  <a:lnTo>
                    <a:pt x="0" y="0"/>
                  </a:lnTo>
                  <a:lnTo>
                    <a:pt x="2" y="2"/>
                  </a:lnTo>
                  <a:lnTo>
                    <a:pt x="7" y="4"/>
                  </a:lnTo>
                  <a:lnTo>
                    <a:pt x="7" y="7"/>
                  </a:lnTo>
                  <a:lnTo>
                    <a:pt x="9" y="7"/>
                  </a:lnTo>
                  <a:lnTo>
                    <a:pt x="14" y="7"/>
                  </a:lnTo>
                  <a:lnTo>
                    <a:pt x="14" y="7"/>
                  </a:lnTo>
                  <a:lnTo>
                    <a:pt x="19" y="7"/>
                  </a:lnTo>
                  <a:lnTo>
                    <a:pt x="19" y="7"/>
                  </a:lnTo>
                  <a:lnTo>
                    <a:pt x="19" y="11"/>
                  </a:lnTo>
                  <a:lnTo>
                    <a:pt x="19" y="14"/>
                  </a:lnTo>
                  <a:lnTo>
                    <a:pt x="16" y="16"/>
                  </a:lnTo>
                  <a:lnTo>
                    <a:pt x="14" y="19"/>
                  </a:lnTo>
                  <a:lnTo>
                    <a:pt x="12" y="21"/>
                  </a:lnTo>
                  <a:lnTo>
                    <a:pt x="9" y="23"/>
                  </a:lnTo>
                  <a:lnTo>
                    <a:pt x="7" y="23"/>
                  </a:lnTo>
                  <a:lnTo>
                    <a:pt x="2" y="23"/>
                  </a:lnTo>
                  <a:lnTo>
                    <a:pt x="0" y="28"/>
                  </a:lnTo>
                  <a:lnTo>
                    <a:pt x="0" y="23"/>
                  </a:lnTo>
                  <a:lnTo>
                    <a:pt x="0" y="19"/>
                  </a:lnTo>
                  <a:lnTo>
                    <a:pt x="0" y="14"/>
                  </a:lnTo>
                  <a:lnTo>
                    <a:pt x="2" y="7"/>
                  </a:lnTo>
                  <a:lnTo>
                    <a:pt x="0" y="4"/>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199" name="Freeform 424">
              <a:extLst>
                <a:ext uri="{FF2B5EF4-FFF2-40B4-BE49-F238E27FC236}">
                  <a16:creationId xmlns:a16="http://schemas.microsoft.com/office/drawing/2014/main" id="{4956B26C-016F-484C-8908-F1CFDF584B80}"/>
                </a:ext>
              </a:extLst>
            </p:cNvPr>
            <p:cNvSpPr>
              <a:spLocks/>
            </p:cNvSpPr>
            <p:nvPr/>
          </p:nvSpPr>
          <p:spPr bwMode="auto">
            <a:xfrm>
              <a:off x="7398899" y="4308133"/>
              <a:ext cx="31435" cy="46324"/>
            </a:xfrm>
            <a:custGeom>
              <a:avLst/>
              <a:gdLst>
                <a:gd name="T0" fmla="*/ 0 w 19"/>
                <a:gd name="T1" fmla="*/ 0 h 28"/>
                <a:gd name="T2" fmla="*/ 0 w 19"/>
                <a:gd name="T3" fmla="*/ 0 h 28"/>
                <a:gd name="T4" fmla="*/ 2 w 19"/>
                <a:gd name="T5" fmla="*/ 2 h 28"/>
                <a:gd name="T6" fmla="*/ 7 w 19"/>
                <a:gd name="T7" fmla="*/ 4 h 28"/>
                <a:gd name="T8" fmla="*/ 7 w 19"/>
                <a:gd name="T9" fmla="*/ 7 h 28"/>
                <a:gd name="T10" fmla="*/ 9 w 19"/>
                <a:gd name="T11" fmla="*/ 7 h 28"/>
                <a:gd name="T12" fmla="*/ 14 w 19"/>
                <a:gd name="T13" fmla="*/ 7 h 28"/>
                <a:gd name="T14" fmla="*/ 14 w 19"/>
                <a:gd name="T15" fmla="*/ 7 h 28"/>
                <a:gd name="T16" fmla="*/ 19 w 19"/>
                <a:gd name="T17" fmla="*/ 7 h 28"/>
                <a:gd name="T18" fmla="*/ 19 w 19"/>
                <a:gd name="T19" fmla="*/ 7 h 28"/>
                <a:gd name="T20" fmla="*/ 19 w 19"/>
                <a:gd name="T21" fmla="*/ 11 h 28"/>
                <a:gd name="T22" fmla="*/ 19 w 19"/>
                <a:gd name="T23" fmla="*/ 14 h 28"/>
                <a:gd name="T24" fmla="*/ 16 w 19"/>
                <a:gd name="T25" fmla="*/ 16 h 28"/>
                <a:gd name="T26" fmla="*/ 14 w 19"/>
                <a:gd name="T27" fmla="*/ 19 h 28"/>
                <a:gd name="T28" fmla="*/ 12 w 19"/>
                <a:gd name="T29" fmla="*/ 21 h 28"/>
                <a:gd name="T30" fmla="*/ 9 w 19"/>
                <a:gd name="T31" fmla="*/ 23 h 28"/>
                <a:gd name="T32" fmla="*/ 7 w 19"/>
                <a:gd name="T33" fmla="*/ 23 h 28"/>
                <a:gd name="T34" fmla="*/ 2 w 19"/>
                <a:gd name="T35" fmla="*/ 23 h 28"/>
                <a:gd name="T36" fmla="*/ 0 w 19"/>
                <a:gd name="T37" fmla="*/ 28 h 28"/>
                <a:gd name="T38" fmla="*/ 0 w 19"/>
                <a:gd name="T39" fmla="*/ 23 h 28"/>
                <a:gd name="T40" fmla="*/ 0 w 19"/>
                <a:gd name="T41" fmla="*/ 19 h 28"/>
                <a:gd name="T42" fmla="*/ 0 w 19"/>
                <a:gd name="T43" fmla="*/ 14 h 28"/>
                <a:gd name="T44" fmla="*/ 2 w 19"/>
                <a:gd name="T45" fmla="*/ 7 h 28"/>
                <a:gd name="T46" fmla="*/ 0 w 19"/>
                <a:gd name="T47" fmla="*/ 4 h 28"/>
                <a:gd name="T48" fmla="*/ 0 w 19"/>
                <a:gd name="T49" fmla="*/ 2 h 28"/>
                <a:gd name="T50" fmla="*/ 0 w 19"/>
                <a:gd name="T5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8">
                  <a:moveTo>
                    <a:pt x="0" y="0"/>
                  </a:moveTo>
                  <a:lnTo>
                    <a:pt x="0" y="0"/>
                  </a:lnTo>
                  <a:lnTo>
                    <a:pt x="2" y="2"/>
                  </a:lnTo>
                  <a:lnTo>
                    <a:pt x="7" y="4"/>
                  </a:lnTo>
                  <a:lnTo>
                    <a:pt x="7" y="7"/>
                  </a:lnTo>
                  <a:lnTo>
                    <a:pt x="9" y="7"/>
                  </a:lnTo>
                  <a:lnTo>
                    <a:pt x="14" y="7"/>
                  </a:lnTo>
                  <a:lnTo>
                    <a:pt x="14" y="7"/>
                  </a:lnTo>
                  <a:lnTo>
                    <a:pt x="19" y="7"/>
                  </a:lnTo>
                  <a:lnTo>
                    <a:pt x="19" y="7"/>
                  </a:lnTo>
                  <a:lnTo>
                    <a:pt x="19" y="11"/>
                  </a:lnTo>
                  <a:lnTo>
                    <a:pt x="19" y="14"/>
                  </a:lnTo>
                  <a:lnTo>
                    <a:pt x="16" y="16"/>
                  </a:lnTo>
                  <a:lnTo>
                    <a:pt x="14" y="19"/>
                  </a:lnTo>
                  <a:lnTo>
                    <a:pt x="12" y="21"/>
                  </a:lnTo>
                  <a:lnTo>
                    <a:pt x="9" y="23"/>
                  </a:lnTo>
                  <a:lnTo>
                    <a:pt x="7" y="23"/>
                  </a:lnTo>
                  <a:lnTo>
                    <a:pt x="2" y="23"/>
                  </a:lnTo>
                  <a:lnTo>
                    <a:pt x="0" y="28"/>
                  </a:lnTo>
                  <a:lnTo>
                    <a:pt x="0" y="23"/>
                  </a:lnTo>
                  <a:lnTo>
                    <a:pt x="0" y="19"/>
                  </a:lnTo>
                  <a:lnTo>
                    <a:pt x="0" y="14"/>
                  </a:lnTo>
                  <a:lnTo>
                    <a:pt x="2" y="7"/>
                  </a:lnTo>
                  <a:lnTo>
                    <a:pt x="0" y="4"/>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0" name="Freeform 425">
              <a:extLst>
                <a:ext uri="{FF2B5EF4-FFF2-40B4-BE49-F238E27FC236}">
                  <a16:creationId xmlns:a16="http://schemas.microsoft.com/office/drawing/2014/main" id="{1E91485E-C134-4B4F-8807-25B09BEB8EB1}"/>
                </a:ext>
              </a:extLst>
            </p:cNvPr>
            <p:cNvSpPr>
              <a:spLocks/>
            </p:cNvSpPr>
            <p:nvPr/>
          </p:nvSpPr>
          <p:spPr bwMode="auto">
            <a:xfrm>
              <a:off x="7413789" y="4346185"/>
              <a:ext cx="4964" cy="4964"/>
            </a:xfrm>
            <a:custGeom>
              <a:avLst/>
              <a:gdLst>
                <a:gd name="T0" fmla="*/ 3 w 3"/>
                <a:gd name="T1" fmla="*/ 0 h 3"/>
                <a:gd name="T2" fmla="*/ 3 w 3"/>
                <a:gd name="T3" fmla="*/ 0 h 3"/>
                <a:gd name="T4" fmla="*/ 3 w 3"/>
                <a:gd name="T5" fmla="*/ 3 h 3"/>
                <a:gd name="T6" fmla="*/ 3 w 3"/>
                <a:gd name="T7" fmla="*/ 3 h 3"/>
                <a:gd name="T8" fmla="*/ 0 w 3"/>
                <a:gd name="T9" fmla="*/ 3 h 3"/>
                <a:gd name="T10" fmla="*/ 0 w 3"/>
                <a:gd name="T11" fmla="*/ 0 h 3"/>
                <a:gd name="T12" fmla="*/ 0 w 3"/>
                <a:gd name="T13" fmla="*/ 0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3" y="0"/>
                  </a:lnTo>
                  <a:lnTo>
                    <a:pt x="3" y="3"/>
                  </a:lnTo>
                  <a:lnTo>
                    <a:pt x="3" y="3"/>
                  </a:lnTo>
                  <a:lnTo>
                    <a:pt x="0" y="3"/>
                  </a:lnTo>
                  <a:lnTo>
                    <a:pt x="0" y="0"/>
                  </a:lnTo>
                  <a:lnTo>
                    <a:pt x="0"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1" name="Freeform 426">
              <a:extLst>
                <a:ext uri="{FF2B5EF4-FFF2-40B4-BE49-F238E27FC236}">
                  <a16:creationId xmlns:a16="http://schemas.microsoft.com/office/drawing/2014/main" id="{808B236A-D655-44C4-80D6-F8BF72DF3B79}"/>
                </a:ext>
              </a:extLst>
            </p:cNvPr>
            <p:cNvSpPr>
              <a:spLocks/>
            </p:cNvSpPr>
            <p:nvPr/>
          </p:nvSpPr>
          <p:spPr bwMode="auto">
            <a:xfrm>
              <a:off x="7413789" y="4346185"/>
              <a:ext cx="4964" cy="4964"/>
            </a:xfrm>
            <a:custGeom>
              <a:avLst/>
              <a:gdLst>
                <a:gd name="T0" fmla="*/ 3 w 3"/>
                <a:gd name="T1" fmla="*/ 0 h 3"/>
                <a:gd name="T2" fmla="*/ 3 w 3"/>
                <a:gd name="T3" fmla="*/ 0 h 3"/>
                <a:gd name="T4" fmla="*/ 3 w 3"/>
                <a:gd name="T5" fmla="*/ 3 h 3"/>
                <a:gd name="T6" fmla="*/ 3 w 3"/>
                <a:gd name="T7" fmla="*/ 3 h 3"/>
                <a:gd name="T8" fmla="*/ 0 w 3"/>
                <a:gd name="T9" fmla="*/ 3 h 3"/>
                <a:gd name="T10" fmla="*/ 0 w 3"/>
                <a:gd name="T11" fmla="*/ 0 h 3"/>
                <a:gd name="T12" fmla="*/ 0 w 3"/>
                <a:gd name="T13" fmla="*/ 0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3" y="0"/>
                  </a:lnTo>
                  <a:lnTo>
                    <a:pt x="3" y="3"/>
                  </a:lnTo>
                  <a:lnTo>
                    <a:pt x="3" y="3"/>
                  </a:lnTo>
                  <a:lnTo>
                    <a:pt x="0" y="3"/>
                  </a:lnTo>
                  <a:lnTo>
                    <a:pt x="0" y="0"/>
                  </a:lnTo>
                  <a:lnTo>
                    <a:pt x="0"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2" name="Freeform 427">
              <a:extLst>
                <a:ext uri="{FF2B5EF4-FFF2-40B4-BE49-F238E27FC236}">
                  <a16:creationId xmlns:a16="http://schemas.microsoft.com/office/drawing/2014/main" id="{1AA0F600-0962-4637-991D-FEB8A116E9E0}"/>
                </a:ext>
              </a:extLst>
            </p:cNvPr>
            <p:cNvSpPr>
              <a:spLocks/>
            </p:cNvSpPr>
            <p:nvPr/>
          </p:nvSpPr>
          <p:spPr bwMode="auto">
            <a:xfrm>
              <a:off x="7410480" y="4334603"/>
              <a:ext cx="31435" cy="59560"/>
            </a:xfrm>
            <a:custGeom>
              <a:avLst/>
              <a:gdLst>
                <a:gd name="T0" fmla="*/ 9 w 19"/>
                <a:gd name="T1" fmla="*/ 3 h 36"/>
                <a:gd name="T2" fmla="*/ 14 w 19"/>
                <a:gd name="T3" fmla="*/ 0 h 36"/>
                <a:gd name="T4" fmla="*/ 14 w 19"/>
                <a:gd name="T5" fmla="*/ 3 h 36"/>
                <a:gd name="T6" fmla="*/ 19 w 19"/>
                <a:gd name="T7" fmla="*/ 3 h 36"/>
                <a:gd name="T8" fmla="*/ 19 w 19"/>
                <a:gd name="T9" fmla="*/ 5 h 36"/>
                <a:gd name="T10" fmla="*/ 19 w 19"/>
                <a:gd name="T11" fmla="*/ 10 h 36"/>
                <a:gd name="T12" fmla="*/ 17 w 19"/>
                <a:gd name="T13" fmla="*/ 10 h 36"/>
                <a:gd name="T14" fmla="*/ 17 w 19"/>
                <a:gd name="T15" fmla="*/ 14 h 36"/>
                <a:gd name="T16" fmla="*/ 14 w 19"/>
                <a:gd name="T17" fmla="*/ 21 h 36"/>
                <a:gd name="T18" fmla="*/ 14 w 19"/>
                <a:gd name="T19" fmla="*/ 24 h 36"/>
                <a:gd name="T20" fmla="*/ 14 w 19"/>
                <a:gd name="T21" fmla="*/ 26 h 36"/>
                <a:gd name="T22" fmla="*/ 14 w 19"/>
                <a:gd name="T23" fmla="*/ 29 h 36"/>
                <a:gd name="T24" fmla="*/ 14 w 19"/>
                <a:gd name="T25" fmla="*/ 33 h 36"/>
                <a:gd name="T26" fmla="*/ 12 w 19"/>
                <a:gd name="T27" fmla="*/ 36 h 36"/>
                <a:gd name="T28" fmla="*/ 9 w 19"/>
                <a:gd name="T29" fmla="*/ 31 h 36"/>
                <a:gd name="T30" fmla="*/ 7 w 19"/>
                <a:gd name="T31" fmla="*/ 29 h 36"/>
                <a:gd name="T32" fmla="*/ 5 w 19"/>
                <a:gd name="T33" fmla="*/ 29 h 36"/>
                <a:gd name="T34" fmla="*/ 2 w 19"/>
                <a:gd name="T35" fmla="*/ 26 h 36"/>
                <a:gd name="T36" fmla="*/ 0 w 19"/>
                <a:gd name="T37" fmla="*/ 24 h 36"/>
                <a:gd name="T38" fmla="*/ 2 w 19"/>
                <a:gd name="T39" fmla="*/ 19 h 36"/>
                <a:gd name="T40" fmla="*/ 7 w 19"/>
                <a:gd name="T41" fmla="*/ 17 h 36"/>
                <a:gd name="T42" fmla="*/ 7 w 19"/>
                <a:gd name="T43" fmla="*/ 14 h 36"/>
                <a:gd name="T44" fmla="*/ 7 w 19"/>
                <a:gd name="T45" fmla="*/ 10 h 36"/>
                <a:gd name="T46" fmla="*/ 9 w 19"/>
                <a:gd name="T47" fmla="*/ 5 h 36"/>
                <a:gd name="T48" fmla="*/ 9 w 19"/>
                <a:gd name="T4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6">
                  <a:moveTo>
                    <a:pt x="9" y="3"/>
                  </a:moveTo>
                  <a:lnTo>
                    <a:pt x="14" y="0"/>
                  </a:lnTo>
                  <a:lnTo>
                    <a:pt x="14" y="3"/>
                  </a:lnTo>
                  <a:lnTo>
                    <a:pt x="19" y="3"/>
                  </a:lnTo>
                  <a:lnTo>
                    <a:pt x="19" y="5"/>
                  </a:lnTo>
                  <a:lnTo>
                    <a:pt x="19" y="10"/>
                  </a:lnTo>
                  <a:lnTo>
                    <a:pt x="17" y="10"/>
                  </a:lnTo>
                  <a:lnTo>
                    <a:pt x="17" y="14"/>
                  </a:lnTo>
                  <a:lnTo>
                    <a:pt x="14" y="21"/>
                  </a:lnTo>
                  <a:lnTo>
                    <a:pt x="14" y="24"/>
                  </a:lnTo>
                  <a:lnTo>
                    <a:pt x="14" y="26"/>
                  </a:lnTo>
                  <a:lnTo>
                    <a:pt x="14" y="29"/>
                  </a:lnTo>
                  <a:lnTo>
                    <a:pt x="14" y="33"/>
                  </a:lnTo>
                  <a:lnTo>
                    <a:pt x="12" y="36"/>
                  </a:lnTo>
                  <a:lnTo>
                    <a:pt x="9" y="31"/>
                  </a:lnTo>
                  <a:lnTo>
                    <a:pt x="7" y="29"/>
                  </a:lnTo>
                  <a:lnTo>
                    <a:pt x="5" y="29"/>
                  </a:lnTo>
                  <a:lnTo>
                    <a:pt x="2" y="26"/>
                  </a:lnTo>
                  <a:lnTo>
                    <a:pt x="0" y="24"/>
                  </a:lnTo>
                  <a:lnTo>
                    <a:pt x="2" y="19"/>
                  </a:lnTo>
                  <a:lnTo>
                    <a:pt x="7" y="17"/>
                  </a:lnTo>
                  <a:lnTo>
                    <a:pt x="7" y="14"/>
                  </a:lnTo>
                  <a:lnTo>
                    <a:pt x="7" y="10"/>
                  </a:lnTo>
                  <a:lnTo>
                    <a:pt x="9" y="5"/>
                  </a:lnTo>
                  <a:lnTo>
                    <a:pt x="9"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3" name="Freeform 428">
              <a:extLst>
                <a:ext uri="{FF2B5EF4-FFF2-40B4-BE49-F238E27FC236}">
                  <a16:creationId xmlns:a16="http://schemas.microsoft.com/office/drawing/2014/main" id="{653CEEA8-8AAB-4511-A694-62399C66C21C}"/>
                </a:ext>
              </a:extLst>
            </p:cNvPr>
            <p:cNvSpPr>
              <a:spLocks/>
            </p:cNvSpPr>
            <p:nvPr/>
          </p:nvSpPr>
          <p:spPr bwMode="auto">
            <a:xfrm>
              <a:off x="7410480" y="4334603"/>
              <a:ext cx="31435" cy="59560"/>
            </a:xfrm>
            <a:custGeom>
              <a:avLst/>
              <a:gdLst>
                <a:gd name="T0" fmla="*/ 9 w 19"/>
                <a:gd name="T1" fmla="*/ 3 h 36"/>
                <a:gd name="T2" fmla="*/ 14 w 19"/>
                <a:gd name="T3" fmla="*/ 0 h 36"/>
                <a:gd name="T4" fmla="*/ 14 w 19"/>
                <a:gd name="T5" fmla="*/ 3 h 36"/>
                <a:gd name="T6" fmla="*/ 19 w 19"/>
                <a:gd name="T7" fmla="*/ 3 h 36"/>
                <a:gd name="T8" fmla="*/ 19 w 19"/>
                <a:gd name="T9" fmla="*/ 5 h 36"/>
                <a:gd name="T10" fmla="*/ 19 w 19"/>
                <a:gd name="T11" fmla="*/ 10 h 36"/>
                <a:gd name="T12" fmla="*/ 17 w 19"/>
                <a:gd name="T13" fmla="*/ 10 h 36"/>
                <a:gd name="T14" fmla="*/ 17 w 19"/>
                <a:gd name="T15" fmla="*/ 14 h 36"/>
                <a:gd name="T16" fmla="*/ 14 w 19"/>
                <a:gd name="T17" fmla="*/ 21 h 36"/>
                <a:gd name="T18" fmla="*/ 14 w 19"/>
                <a:gd name="T19" fmla="*/ 24 h 36"/>
                <a:gd name="T20" fmla="*/ 14 w 19"/>
                <a:gd name="T21" fmla="*/ 26 h 36"/>
                <a:gd name="T22" fmla="*/ 14 w 19"/>
                <a:gd name="T23" fmla="*/ 29 h 36"/>
                <a:gd name="T24" fmla="*/ 14 w 19"/>
                <a:gd name="T25" fmla="*/ 33 h 36"/>
                <a:gd name="T26" fmla="*/ 12 w 19"/>
                <a:gd name="T27" fmla="*/ 36 h 36"/>
                <a:gd name="T28" fmla="*/ 9 w 19"/>
                <a:gd name="T29" fmla="*/ 31 h 36"/>
                <a:gd name="T30" fmla="*/ 7 w 19"/>
                <a:gd name="T31" fmla="*/ 29 h 36"/>
                <a:gd name="T32" fmla="*/ 5 w 19"/>
                <a:gd name="T33" fmla="*/ 29 h 36"/>
                <a:gd name="T34" fmla="*/ 2 w 19"/>
                <a:gd name="T35" fmla="*/ 26 h 36"/>
                <a:gd name="T36" fmla="*/ 0 w 19"/>
                <a:gd name="T37" fmla="*/ 24 h 36"/>
                <a:gd name="T38" fmla="*/ 2 w 19"/>
                <a:gd name="T39" fmla="*/ 19 h 36"/>
                <a:gd name="T40" fmla="*/ 7 w 19"/>
                <a:gd name="T41" fmla="*/ 17 h 36"/>
                <a:gd name="T42" fmla="*/ 7 w 19"/>
                <a:gd name="T43" fmla="*/ 14 h 36"/>
                <a:gd name="T44" fmla="*/ 7 w 19"/>
                <a:gd name="T45" fmla="*/ 10 h 36"/>
                <a:gd name="T46" fmla="*/ 9 w 19"/>
                <a:gd name="T47" fmla="*/ 5 h 36"/>
                <a:gd name="T48" fmla="*/ 9 w 19"/>
                <a:gd name="T4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6">
                  <a:moveTo>
                    <a:pt x="9" y="3"/>
                  </a:moveTo>
                  <a:lnTo>
                    <a:pt x="14" y="0"/>
                  </a:lnTo>
                  <a:lnTo>
                    <a:pt x="14" y="3"/>
                  </a:lnTo>
                  <a:lnTo>
                    <a:pt x="19" y="3"/>
                  </a:lnTo>
                  <a:lnTo>
                    <a:pt x="19" y="5"/>
                  </a:lnTo>
                  <a:lnTo>
                    <a:pt x="19" y="10"/>
                  </a:lnTo>
                  <a:lnTo>
                    <a:pt x="17" y="10"/>
                  </a:lnTo>
                  <a:lnTo>
                    <a:pt x="17" y="14"/>
                  </a:lnTo>
                  <a:lnTo>
                    <a:pt x="14" y="21"/>
                  </a:lnTo>
                  <a:lnTo>
                    <a:pt x="14" y="24"/>
                  </a:lnTo>
                  <a:lnTo>
                    <a:pt x="14" y="26"/>
                  </a:lnTo>
                  <a:lnTo>
                    <a:pt x="14" y="29"/>
                  </a:lnTo>
                  <a:lnTo>
                    <a:pt x="14" y="33"/>
                  </a:lnTo>
                  <a:lnTo>
                    <a:pt x="12" y="36"/>
                  </a:lnTo>
                  <a:lnTo>
                    <a:pt x="9" y="31"/>
                  </a:lnTo>
                  <a:lnTo>
                    <a:pt x="7" y="29"/>
                  </a:lnTo>
                  <a:lnTo>
                    <a:pt x="5" y="29"/>
                  </a:lnTo>
                  <a:lnTo>
                    <a:pt x="2" y="26"/>
                  </a:lnTo>
                  <a:lnTo>
                    <a:pt x="0" y="24"/>
                  </a:lnTo>
                  <a:lnTo>
                    <a:pt x="2" y="19"/>
                  </a:lnTo>
                  <a:lnTo>
                    <a:pt x="7" y="17"/>
                  </a:lnTo>
                  <a:lnTo>
                    <a:pt x="7" y="14"/>
                  </a:lnTo>
                  <a:lnTo>
                    <a:pt x="7" y="10"/>
                  </a:lnTo>
                  <a:lnTo>
                    <a:pt x="9" y="5"/>
                  </a:lnTo>
                  <a:lnTo>
                    <a:pt x="9"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4" name="Freeform 429">
              <a:extLst>
                <a:ext uri="{FF2B5EF4-FFF2-40B4-BE49-F238E27FC236}">
                  <a16:creationId xmlns:a16="http://schemas.microsoft.com/office/drawing/2014/main" id="{63868A9A-5B1E-4922-8C8D-1651C0DD8ABB}"/>
                </a:ext>
              </a:extLst>
            </p:cNvPr>
            <p:cNvSpPr>
              <a:spLocks/>
            </p:cNvSpPr>
            <p:nvPr/>
          </p:nvSpPr>
          <p:spPr bwMode="auto">
            <a:xfrm>
              <a:off x="7468386" y="4314751"/>
              <a:ext cx="4964" cy="4964"/>
            </a:xfrm>
            <a:custGeom>
              <a:avLst/>
              <a:gdLst>
                <a:gd name="T0" fmla="*/ 0 w 3"/>
                <a:gd name="T1" fmla="*/ 0 h 3"/>
                <a:gd name="T2" fmla="*/ 0 w 3"/>
                <a:gd name="T3" fmla="*/ 0 h 3"/>
                <a:gd name="T4" fmla="*/ 3 w 3"/>
                <a:gd name="T5" fmla="*/ 0 h 3"/>
                <a:gd name="T6" fmla="*/ 3 w 3"/>
                <a:gd name="T7" fmla="*/ 3 h 3"/>
                <a:gd name="T8" fmla="*/ 3 w 3"/>
                <a:gd name="T9" fmla="*/ 3 h 3"/>
                <a:gd name="T10" fmla="*/ 3 w 3"/>
                <a:gd name="T11" fmla="*/ 3 h 3"/>
                <a:gd name="T12" fmla="*/ 0 w 3"/>
                <a:gd name="T13" fmla="*/ 3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0"/>
                  </a:lnTo>
                  <a:lnTo>
                    <a:pt x="3" y="3"/>
                  </a:lnTo>
                  <a:lnTo>
                    <a:pt x="3" y="3"/>
                  </a:lnTo>
                  <a:lnTo>
                    <a:pt x="3" y="3"/>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5" name="Freeform 430">
              <a:extLst>
                <a:ext uri="{FF2B5EF4-FFF2-40B4-BE49-F238E27FC236}">
                  <a16:creationId xmlns:a16="http://schemas.microsoft.com/office/drawing/2014/main" id="{84C0DFFF-A34E-4CFF-945C-A8CE2370FA2B}"/>
                </a:ext>
              </a:extLst>
            </p:cNvPr>
            <p:cNvSpPr>
              <a:spLocks/>
            </p:cNvSpPr>
            <p:nvPr/>
          </p:nvSpPr>
          <p:spPr bwMode="auto">
            <a:xfrm>
              <a:off x="7468386" y="4314751"/>
              <a:ext cx="4964" cy="4964"/>
            </a:xfrm>
            <a:custGeom>
              <a:avLst/>
              <a:gdLst>
                <a:gd name="T0" fmla="*/ 0 w 3"/>
                <a:gd name="T1" fmla="*/ 0 h 3"/>
                <a:gd name="T2" fmla="*/ 0 w 3"/>
                <a:gd name="T3" fmla="*/ 0 h 3"/>
                <a:gd name="T4" fmla="*/ 3 w 3"/>
                <a:gd name="T5" fmla="*/ 0 h 3"/>
                <a:gd name="T6" fmla="*/ 3 w 3"/>
                <a:gd name="T7" fmla="*/ 3 h 3"/>
                <a:gd name="T8" fmla="*/ 3 w 3"/>
                <a:gd name="T9" fmla="*/ 3 h 3"/>
                <a:gd name="T10" fmla="*/ 3 w 3"/>
                <a:gd name="T11" fmla="*/ 3 h 3"/>
                <a:gd name="T12" fmla="*/ 0 w 3"/>
                <a:gd name="T13" fmla="*/ 3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3" y="0"/>
                  </a:lnTo>
                  <a:lnTo>
                    <a:pt x="3" y="3"/>
                  </a:lnTo>
                  <a:lnTo>
                    <a:pt x="3" y="3"/>
                  </a:lnTo>
                  <a:lnTo>
                    <a:pt x="3" y="3"/>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6" name="Freeform 431">
              <a:extLst>
                <a:ext uri="{FF2B5EF4-FFF2-40B4-BE49-F238E27FC236}">
                  <a16:creationId xmlns:a16="http://schemas.microsoft.com/office/drawing/2014/main" id="{7910C8DF-B83E-476E-B75E-8277CA626DDB}"/>
                </a:ext>
              </a:extLst>
            </p:cNvPr>
            <p:cNvSpPr>
              <a:spLocks/>
            </p:cNvSpPr>
            <p:nvPr/>
          </p:nvSpPr>
          <p:spPr bwMode="auto">
            <a:xfrm>
              <a:off x="7465077" y="4319715"/>
              <a:ext cx="28126" cy="43015"/>
            </a:xfrm>
            <a:custGeom>
              <a:avLst/>
              <a:gdLst>
                <a:gd name="T0" fmla="*/ 0 w 17"/>
                <a:gd name="T1" fmla="*/ 0 h 26"/>
                <a:gd name="T2" fmla="*/ 2 w 17"/>
                <a:gd name="T3" fmla="*/ 2 h 26"/>
                <a:gd name="T4" fmla="*/ 2 w 17"/>
                <a:gd name="T5" fmla="*/ 2 h 26"/>
                <a:gd name="T6" fmla="*/ 5 w 17"/>
                <a:gd name="T7" fmla="*/ 2 h 26"/>
                <a:gd name="T8" fmla="*/ 5 w 17"/>
                <a:gd name="T9" fmla="*/ 4 h 26"/>
                <a:gd name="T10" fmla="*/ 10 w 17"/>
                <a:gd name="T11" fmla="*/ 2 h 26"/>
                <a:gd name="T12" fmla="*/ 12 w 17"/>
                <a:gd name="T13" fmla="*/ 7 h 26"/>
                <a:gd name="T14" fmla="*/ 12 w 17"/>
                <a:gd name="T15" fmla="*/ 14 h 26"/>
                <a:gd name="T16" fmla="*/ 14 w 17"/>
                <a:gd name="T17" fmla="*/ 16 h 26"/>
                <a:gd name="T18" fmla="*/ 17 w 17"/>
                <a:gd name="T19" fmla="*/ 21 h 26"/>
                <a:gd name="T20" fmla="*/ 17 w 17"/>
                <a:gd name="T21" fmla="*/ 23 h 26"/>
                <a:gd name="T22" fmla="*/ 14 w 17"/>
                <a:gd name="T23" fmla="*/ 23 h 26"/>
                <a:gd name="T24" fmla="*/ 12 w 17"/>
                <a:gd name="T25" fmla="*/ 23 h 26"/>
                <a:gd name="T26" fmla="*/ 12 w 17"/>
                <a:gd name="T27" fmla="*/ 26 h 26"/>
                <a:gd name="T28" fmla="*/ 10 w 17"/>
                <a:gd name="T29" fmla="*/ 26 h 26"/>
                <a:gd name="T30" fmla="*/ 10 w 17"/>
                <a:gd name="T31" fmla="*/ 23 h 26"/>
                <a:gd name="T32" fmla="*/ 10 w 17"/>
                <a:gd name="T33" fmla="*/ 14 h 26"/>
                <a:gd name="T34" fmla="*/ 7 w 17"/>
                <a:gd name="T35" fmla="*/ 12 h 26"/>
                <a:gd name="T36" fmla="*/ 2 w 17"/>
                <a:gd name="T37" fmla="*/ 12 h 26"/>
                <a:gd name="T38" fmla="*/ 2 w 17"/>
                <a:gd name="T39" fmla="*/ 7 h 26"/>
                <a:gd name="T40" fmla="*/ 2 w 17"/>
                <a:gd name="T41" fmla="*/ 4 h 26"/>
                <a:gd name="T42" fmla="*/ 0 w 17"/>
                <a:gd name="T43" fmla="*/ 2 h 26"/>
                <a:gd name="T44" fmla="*/ 0 w 17"/>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6">
                  <a:moveTo>
                    <a:pt x="0" y="0"/>
                  </a:moveTo>
                  <a:lnTo>
                    <a:pt x="2" y="2"/>
                  </a:lnTo>
                  <a:lnTo>
                    <a:pt x="2" y="2"/>
                  </a:lnTo>
                  <a:lnTo>
                    <a:pt x="5" y="2"/>
                  </a:lnTo>
                  <a:lnTo>
                    <a:pt x="5" y="4"/>
                  </a:lnTo>
                  <a:lnTo>
                    <a:pt x="10" y="2"/>
                  </a:lnTo>
                  <a:lnTo>
                    <a:pt x="12" y="7"/>
                  </a:lnTo>
                  <a:lnTo>
                    <a:pt x="12" y="14"/>
                  </a:lnTo>
                  <a:lnTo>
                    <a:pt x="14" y="16"/>
                  </a:lnTo>
                  <a:lnTo>
                    <a:pt x="17" y="21"/>
                  </a:lnTo>
                  <a:lnTo>
                    <a:pt x="17" y="23"/>
                  </a:lnTo>
                  <a:lnTo>
                    <a:pt x="14" y="23"/>
                  </a:lnTo>
                  <a:lnTo>
                    <a:pt x="12" y="23"/>
                  </a:lnTo>
                  <a:lnTo>
                    <a:pt x="12" y="26"/>
                  </a:lnTo>
                  <a:lnTo>
                    <a:pt x="10" y="26"/>
                  </a:lnTo>
                  <a:lnTo>
                    <a:pt x="10" y="23"/>
                  </a:lnTo>
                  <a:lnTo>
                    <a:pt x="10" y="14"/>
                  </a:lnTo>
                  <a:lnTo>
                    <a:pt x="7" y="12"/>
                  </a:lnTo>
                  <a:lnTo>
                    <a:pt x="2" y="12"/>
                  </a:lnTo>
                  <a:lnTo>
                    <a:pt x="2" y="7"/>
                  </a:lnTo>
                  <a:lnTo>
                    <a:pt x="2" y="4"/>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7" name="Freeform 432">
              <a:extLst>
                <a:ext uri="{FF2B5EF4-FFF2-40B4-BE49-F238E27FC236}">
                  <a16:creationId xmlns:a16="http://schemas.microsoft.com/office/drawing/2014/main" id="{B027A066-A0EE-4EBF-B41B-67312E164635}"/>
                </a:ext>
              </a:extLst>
            </p:cNvPr>
            <p:cNvSpPr>
              <a:spLocks/>
            </p:cNvSpPr>
            <p:nvPr/>
          </p:nvSpPr>
          <p:spPr bwMode="auto">
            <a:xfrm>
              <a:off x="7465077" y="4319715"/>
              <a:ext cx="28126" cy="43015"/>
            </a:xfrm>
            <a:custGeom>
              <a:avLst/>
              <a:gdLst>
                <a:gd name="T0" fmla="*/ 0 w 17"/>
                <a:gd name="T1" fmla="*/ 0 h 26"/>
                <a:gd name="T2" fmla="*/ 2 w 17"/>
                <a:gd name="T3" fmla="*/ 2 h 26"/>
                <a:gd name="T4" fmla="*/ 2 w 17"/>
                <a:gd name="T5" fmla="*/ 2 h 26"/>
                <a:gd name="T6" fmla="*/ 5 w 17"/>
                <a:gd name="T7" fmla="*/ 2 h 26"/>
                <a:gd name="T8" fmla="*/ 5 w 17"/>
                <a:gd name="T9" fmla="*/ 4 h 26"/>
                <a:gd name="T10" fmla="*/ 10 w 17"/>
                <a:gd name="T11" fmla="*/ 2 h 26"/>
                <a:gd name="T12" fmla="*/ 12 w 17"/>
                <a:gd name="T13" fmla="*/ 7 h 26"/>
                <a:gd name="T14" fmla="*/ 12 w 17"/>
                <a:gd name="T15" fmla="*/ 14 h 26"/>
                <a:gd name="T16" fmla="*/ 14 w 17"/>
                <a:gd name="T17" fmla="*/ 16 h 26"/>
                <a:gd name="T18" fmla="*/ 17 w 17"/>
                <a:gd name="T19" fmla="*/ 21 h 26"/>
                <a:gd name="T20" fmla="*/ 17 w 17"/>
                <a:gd name="T21" fmla="*/ 23 h 26"/>
                <a:gd name="T22" fmla="*/ 14 w 17"/>
                <a:gd name="T23" fmla="*/ 23 h 26"/>
                <a:gd name="T24" fmla="*/ 12 w 17"/>
                <a:gd name="T25" fmla="*/ 23 h 26"/>
                <a:gd name="T26" fmla="*/ 12 w 17"/>
                <a:gd name="T27" fmla="*/ 26 h 26"/>
                <a:gd name="T28" fmla="*/ 10 w 17"/>
                <a:gd name="T29" fmla="*/ 26 h 26"/>
                <a:gd name="T30" fmla="*/ 10 w 17"/>
                <a:gd name="T31" fmla="*/ 23 h 26"/>
                <a:gd name="T32" fmla="*/ 10 w 17"/>
                <a:gd name="T33" fmla="*/ 14 h 26"/>
                <a:gd name="T34" fmla="*/ 7 w 17"/>
                <a:gd name="T35" fmla="*/ 12 h 26"/>
                <a:gd name="T36" fmla="*/ 2 w 17"/>
                <a:gd name="T37" fmla="*/ 12 h 26"/>
                <a:gd name="T38" fmla="*/ 2 w 17"/>
                <a:gd name="T39" fmla="*/ 7 h 26"/>
                <a:gd name="T40" fmla="*/ 2 w 17"/>
                <a:gd name="T41" fmla="*/ 4 h 26"/>
                <a:gd name="T42" fmla="*/ 0 w 17"/>
                <a:gd name="T43" fmla="*/ 2 h 26"/>
                <a:gd name="T44" fmla="*/ 0 w 17"/>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6">
                  <a:moveTo>
                    <a:pt x="0" y="0"/>
                  </a:moveTo>
                  <a:lnTo>
                    <a:pt x="2" y="2"/>
                  </a:lnTo>
                  <a:lnTo>
                    <a:pt x="2" y="2"/>
                  </a:lnTo>
                  <a:lnTo>
                    <a:pt x="5" y="2"/>
                  </a:lnTo>
                  <a:lnTo>
                    <a:pt x="5" y="4"/>
                  </a:lnTo>
                  <a:lnTo>
                    <a:pt x="10" y="2"/>
                  </a:lnTo>
                  <a:lnTo>
                    <a:pt x="12" y="7"/>
                  </a:lnTo>
                  <a:lnTo>
                    <a:pt x="12" y="14"/>
                  </a:lnTo>
                  <a:lnTo>
                    <a:pt x="14" y="16"/>
                  </a:lnTo>
                  <a:lnTo>
                    <a:pt x="17" y="21"/>
                  </a:lnTo>
                  <a:lnTo>
                    <a:pt x="17" y="23"/>
                  </a:lnTo>
                  <a:lnTo>
                    <a:pt x="14" y="23"/>
                  </a:lnTo>
                  <a:lnTo>
                    <a:pt x="12" y="23"/>
                  </a:lnTo>
                  <a:lnTo>
                    <a:pt x="12" y="26"/>
                  </a:lnTo>
                  <a:lnTo>
                    <a:pt x="10" y="26"/>
                  </a:lnTo>
                  <a:lnTo>
                    <a:pt x="10" y="23"/>
                  </a:lnTo>
                  <a:lnTo>
                    <a:pt x="10" y="14"/>
                  </a:lnTo>
                  <a:lnTo>
                    <a:pt x="7" y="12"/>
                  </a:lnTo>
                  <a:lnTo>
                    <a:pt x="2" y="12"/>
                  </a:lnTo>
                  <a:lnTo>
                    <a:pt x="2" y="7"/>
                  </a:lnTo>
                  <a:lnTo>
                    <a:pt x="2" y="4"/>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8" name="Freeform 433">
              <a:extLst>
                <a:ext uri="{FF2B5EF4-FFF2-40B4-BE49-F238E27FC236}">
                  <a16:creationId xmlns:a16="http://schemas.microsoft.com/office/drawing/2014/main" id="{58F3EE75-D9D4-4F25-91C8-81769AE25813}"/>
                </a:ext>
              </a:extLst>
            </p:cNvPr>
            <p:cNvSpPr>
              <a:spLocks/>
            </p:cNvSpPr>
            <p:nvPr/>
          </p:nvSpPr>
          <p:spPr bwMode="auto">
            <a:xfrm>
              <a:off x="7499819" y="4351148"/>
              <a:ext cx="8273" cy="18200"/>
            </a:xfrm>
            <a:custGeom>
              <a:avLst/>
              <a:gdLst>
                <a:gd name="T0" fmla="*/ 0 w 5"/>
                <a:gd name="T1" fmla="*/ 4 h 11"/>
                <a:gd name="T2" fmla="*/ 0 w 5"/>
                <a:gd name="T3" fmla="*/ 2 h 11"/>
                <a:gd name="T4" fmla="*/ 3 w 5"/>
                <a:gd name="T5" fmla="*/ 0 h 11"/>
                <a:gd name="T6" fmla="*/ 3 w 5"/>
                <a:gd name="T7" fmla="*/ 2 h 11"/>
                <a:gd name="T8" fmla="*/ 5 w 5"/>
                <a:gd name="T9" fmla="*/ 11 h 11"/>
                <a:gd name="T10" fmla="*/ 3 w 5"/>
                <a:gd name="T11" fmla="*/ 11 h 11"/>
                <a:gd name="T12" fmla="*/ 3 w 5"/>
                <a:gd name="T13" fmla="*/ 9 h 11"/>
                <a:gd name="T14" fmla="*/ 3 w 5"/>
                <a:gd name="T15" fmla="*/ 7 h 11"/>
                <a:gd name="T16" fmla="*/ 0 w 5"/>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0" y="4"/>
                  </a:moveTo>
                  <a:lnTo>
                    <a:pt x="0" y="2"/>
                  </a:lnTo>
                  <a:lnTo>
                    <a:pt x="3" y="0"/>
                  </a:lnTo>
                  <a:lnTo>
                    <a:pt x="3" y="2"/>
                  </a:lnTo>
                  <a:lnTo>
                    <a:pt x="5" y="11"/>
                  </a:lnTo>
                  <a:lnTo>
                    <a:pt x="3" y="11"/>
                  </a:lnTo>
                  <a:lnTo>
                    <a:pt x="3" y="9"/>
                  </a:lnTo>
                  <a:lnTo>
                    <a:pt x="3" y="7"/>
                  </a:lnTo>
                  <a:lnTo>
                    <a:pt x="0" y="4"/>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09" name="Freeform 434">
              <a:extLst>
                <a:ext uri="{FF2B5EF4-FFF2-40B4-BE49-F238E27FC236}">
                  <a16:creationId xmlns:a16="http://schemas.microsoft.com/office/drawing/2014/main" id="{A9C419C4-0293-4AC8-A74B-7CC568C65AB1}"/>
                </a:ext>
              </a:extLst>
            </p:cNvPr>
            <p:cNvSpPr>
              <a:spLocks/>
            </p:cNvSpPr>
            <p:nvPr/>
          </p:nvSpPr>
          <p:spPr bwMode="auto">
            <a:xfrm>
              <a:off x="7499819" y="4351148"/>
              <a:ext cx="8273" cy="18200"/>
            </a:xfrm>
            <a:custGeom>
              <a:avLst/>
              <a:gdLst>
                <a:gd name="T0" fmla="*/ 0 w 5"/>
                <a:gd name="T1" fmla="*/ 4 h 11"/>
                <a:gd name="T2" fmla="*/ 0 w 5"/>
                <a:gd name="T3" fmla="*/ 2 h 11"/>
                <a:gd name="T4" fmla="*/ 3 w 5"/>
                <a:gd name="T5" fmla="*/ 0 h 11"/>
                <a:gd name="T6" fmla="*/ 3 w 5"/>
                <a:gd name="T7" fmla="*/ 2 h 11"/>
                <a:gd name="T8" fmla="*/ 5 w 5"/>
                <a:gd name="T9" fmla="*/ 11 h 11"/>
                <a:gd name="T10" fmla="*/ 3 w 5"/>
                <a:gd name="T11" fmla="*/ 11 h 11"/>
                <a:gd name="T12" fmla="*/ 3 w 5"/>
                <a:gd name="T13" fmla="*/ 9 h 11"/>
                <a:gd name="T14" fmla="*/ 3 w 5"/>
                <a:gd name="T15" fmla="*/ 7 h 11"/>
                <a:gd name="T16" fmla="*/ 0 w 5"/>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0" y="4"/>
                  </a:moveTo>
                  <a:lnTo>
                    <a:pt x="0" y="2"/>
                  </a:lnTo>
                  <a:lnTo>
                    <a:pt x="3" y="0"/>
                  </a:lnTo>
                  <a:lnTo>
                    <a:pt x="3" y="2"/>
                  </a:lnTo>
                  <a:lnTo>
                    <a:pt x="5" y="11"/>
                  </a:lnTo>
                  <a:lnTo>
                    <a:pt x="3" y="11"/>
                  </a:lnTo>
                  <a:lnTo>
                    <a:pt x="3" y="9"/>
                  </a:lnTo>
                  <a:lnTo>
                    <a:pt x="3" y="7"/>
                  </a:lnTo>
                  <a:lnTo>
                    <a:pt x="0" y="4"/>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0" name="Freeform 435">
              <a:extLst>
                <a:ext uri="{FF2B5EF4-FFF2-40B4-BE49-F238E27FC236}">
                  <a16:creationId xmlns:a16="http://schemas.microsoft.com/office/drawing/2014/main" id="{58562DBB-A4EE-4038-8957-1C65CFC05623}"/>
                </a:ext>
              </a:extLst>
            </p:cNvPr>
            <p:cNvSpPr>
              <a:spLocks/>
            </p:cNvSpPr>
            <p:nvPr/>
          </p:nvSpPr>
          <p:spPr bwMode="auto">
            <a:xfrm>
              <a:off x="7516364" y="4362730"/>
              <a:ext cx="3309" cy="6618"/>
            </a:xfrm>
            <a:custGeom>
              <a:avLst/>
              <a:gdLst>
                <a:gd name="T0" fmla="*/ 0 w 2"/>
                <a:gd name="T1" fmla="*/ 0 h 4"/>
                <a:gd name="T2" fmla="*/ 0 w 2"/>
                <a:gd name="T3" fmla="*/ 2 h 4"/>
                <a:gd name="T4" fmla="*/ 2 w 2"/>
                <a:gd name="T5" fmla="*/ 4 h 4"/>
                <a:gd name="T6" fmla="*/ 0 w 2"/>
                <a:gd name="T7" fmla="*/ 4 h 4"/>
                <a:gd name="T8" fmla="*/ 0 w 2"/>
                <a:gd name="T9" fmla="*/ 2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2"/>
                  </a:lnTo>
                  <a:lnTo>
                    <a:pt x="2" y="4"/>
                  </a:lnTo>
                  <a:lnTo>
                    <a:pt x="0" y="4"/>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1" name="Freeform 436">
              <a:extLst>
                <a:ext uri="{FF2B5EF4-FFF2-40B4-BE49-F238E27FC236}">
                  <a16:creationId xmlns:a16="http://schemas.microsoft.com/office/drawing/2014/main" id="{D3BBFDC3-FE3F-480F-9BF8-900105550A79}"/>
                </a:ext>
              </a:extLst>
            </p:cNvPr>
            <p:cNvSpPr>
              <a:spLocks/>
            </p:cNvSpPr>
            <p:nvPr/>
          </p:nvSpPr>
          <p:spPr bwMode="auto">
            <a:xfrm>
              <a:off x="7516364" y="4362730"/>
              <a:ext cx="3309" cy="6618"/>
            </a:xfrm>
            <a:custGeom>
              <a:avLst/>
              <a:gdLst>
                <a:gd name="T0" fmla="*/ 0 w 2"/>
                <a:gd name="T1" fmla="*/ 0 h 4"/>
                <a:gd name="T2" fmla="*/ 0 w 2"/>
                <a:gd name="T3" fmla="*/ 2 h 4"/>
                <a:gd name="T4" fmla="*/ 2 w 2"/>
                <a:gd name="T5" fmla="*/ 4 h 4"/>
                <a:gd name="T6" fmla="*/ 0 w 2"/>
                <a:gd name="T7" fmla="*/ 4 h 4"/>
                <a:gd name="T8" fmla="*/ 0 w 2"/>
                <a:gd name="T9" fmla="*/ 2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2"/>
                  </a:lnTo>
                  <a:lnTo>
                    <a:pt x="2" y="4"/>
                  </a:lnTo>
                  <a:lnTo>
                    <a:pt x="0" y="4"/>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2" name="Freeform 437">
              <a:extLst>
                <a:ext uri="{FF2B5EF4-FFF2-40B4-BE49-F238E27FC236}">
                  <a16:creationId xmlns:a16="http://schemas.microsoft.com/office/drawing/2014/main" id="{1A641545-A0B8-4E9C-A485-A12289D12F5D}"/>
                </a:ext>
              </a:extLst>
            </p:cNvPr>
            <p:cNvSpPr>
              <a:spLocks/>
            </p:cNvSpPr>
            <p:nvPr/>
          </p:nvSpPr>
          <p:spPr bwMode="auto">
            <a:xfrm>
              <a:off x="7438605" y="4326333"/>
              <a:ext cx="18200" cy="51288"/>
            </a:xfrm>
            <a:custGeom>
              <a:avLst/>
              <a:gdLst>
                <a:gd name="T0" fmla="*/ 11 w 11"/>
                <a:gd name="T1" fmla="*/ 0 h 31"/>
                <a:gd name="T2" fmla="*/ 11 w 11"/>
                <a:gd name="T3" fmla="*/ 0 h 31"/>
                <a:gd name="T4" fmla="*/ 11 w 11"/>
                <a:gd name="T5" fmla="*/ 3 h 31"/>
                <a:gd name="T6" fmla="*/ 11 w 11"/>
                <a:gd name="T7" fmla="*/ 5 h 31"/>
                <a:gd name="T8" fmla="*/ 11 w 11"/>
                <a:gd name="T9" fmla="*/ 12 h 31"/>
                <a:gd name="T10" fmla="*/ 11 w 11"/>
                <a:gd name="T11" fmla="*/ 17 h 31"/>
                <a:gd name="T12" fmla="*/ 7 w 11"/>
                <a:gd name="T13" fmla="*/ 19 h 31"/>
                <a:gd name="T14" fmla="*/ 4 w 11"/>
                <a:gd name="T15" fmla="*/ 24 h 31"/>
                <a:gd name="T16" fmla="*/ 4 w 11"/>
                <a:gd name="T17" fmla="*/ 29 h 31"/>
                <a:gd name="T18" fmla="*/ 2 w 11"/>
                <a:gd name="T19" fmla="*/ 31 h 31"/>
                <a:gd name="T20" fmla="*/ 2 w 11"/>
                <a:gd name="T21" fmla="*/ 31 h 31"/>
                <a:gd name="T22" fmla="*/ 0 w 11"/>
                <a:gd name="T23" fmla="*/ 29 h 31"/>
                <a:gd name="T24" fmla="*/ 0 w 11"/>
                <a:gd name="T25" fmla="*/ 26 h 31"/>
                <a:gd name="T26" fmla="*/ 2 w 11"/>
                <a:gd name="T27" fmla="*/ 19 h 31"/>
                <a:gd name="T28" fmla="*/ 7 w 11"/>
                <a:gd name="T29" fmla="*/ 15 h 31"/>
                <a:gd name="T30" fmla="*/ 9 w 11"/>
                <a:gd name="T31" fmla="*/ 8 h 31"/>
                <a:gd name="T32" fmla="*/ 9 w 11"/>
                <a:gd name="T33" fmla="*/ 3 h 31"/>
                <a:gd name="T34" fmla="*/ 11 w 11"/>
                <a:gd name="T3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31">
                  <a:moveTo>
                    <a:pt x="11" y="0"/>
                  </a:moveTo>
                  <a:lnTo>
                    <a:pt x="11" y="0"/>
                  </a:lnTo>
                  <a:lnTo>
                    <a:pt x="11" y="3"/>
                  </a:lnTo>
                  <a:lnTo>
                    <a:pt x="11" y="5"/>
                  </a:lnTo>
                  <a:lnTo>
                    <a:pt x="11" y="12"/>
                  </a:lnTo>
                  <a:lnTo>
                    <a:pt x="11" y="17"/>
                  </a:lnTo>
                  <a:lnTo>
                    <a:pt x="7" y="19"/>
                  </a:lnTo>
                  <a:lnTo>
                    <a:pt x="4" y="24"/>
                  </a:lnTo>
                  <a:lnTo>
                    <a:pt x="4" y="29"/>
                  </a:lnTo>
                  <a:lnTo>
                    <a:pt x="2" y="31"/>
                  </a:lnTo>
                  <a:lnTo>
                    <a:pt x="2" y="31"/>
                  </a:lnTo>
                  <a:lnTo>
                    <a:pt x="0" y="29"/>
                  </a:lnTo>
                  <a:lnTo>
                    <a:pt x="0" y="26"/>
                  </a:lnTo>
                  <a:lnTo>
                    <a:pt x="2" y="19"/>
                  </a:lnTo>
                  <a:lnTo>
                    <a:pt x="7" y="15"/>
                  </a:lnTo>
                  <a:lnTo>
                    <a:pt x="9" y="8"/>
                  </a:lnTo>
                  <a:lnTo>
                    <a:pt x="9" y="3"/>
                  </a:lnTo>
                  <a:lnTo>
                    <a:pt x="11"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3" name="Freeform 438">
              <a:extLst>
                <a:ext uri="{FF2B5EF4-FFF2-40B4-BE49-F238E27FC236}">
                  <a16:creationId xmlns:a16="http://schemas.microsoft.com/office/drawing/2014/main" id="{2CF982EF-6DDF-4F22-9C4E-C9C2CA2701A6}"/>
                </a:ext>
              </a:extLst>
            </p:cNvPr>
            <p:cNvSpPr>
              <a:spLocks/>
            </p:cNvSpPr>
            <p:nvPr/>
          </p:nvSpPr>
          <p:spPr bwMode="auto">
            <a:xfrm>
              <a:off x="7438605" y="4326333"/>
              <a:ext cx="18200" cy="51288"/>
            </a:xfrm>
            <a:custGeom>
              <a:avLst/>
              <a:gdLst>
                <a:gd name="T0" fmla="*/ 11 w 11"/>
                <a:gd name="T1" fmla="*/ 0 h 31"/>
                <a:gd name="T2" fmla="*/ 11 w 11"/>
                <a:gd name="T3" fmla="*/ 0 h 31"/>
                <a:gd name="T4" fmla="*/ 11 w 11"/>
                <a:gd name="T5" fmla="*/ 3 h 31"/>
                <a:gd name="T6" fmla="*/ 11 w 11"/>
                <a:gd name="T7" fmla="*/ 5 h 31"/>
                <a:gd name="T8" fmla="*/ 11 w 11"/>
                <a:gd name="T9" fmla="*/ 12 h 31"/>
                <a:gd name="T10" fmla="*/ 11 w 11"/>
                <a:gd name="T11" fmla="*/ 17 h 31"/>
                <a:gd name="T12" fmla="*/ 7 w 11"/>
                <a:gd name="T13" fmla="*/ 19 h 31"/>
                <a:gd name="T14" fmla="*/ 4 w 11"/>
                <a:gd name="T15" fmla="*/ 24 h 31"/>
                <a:gd name="T16" fmla="*/ 4 w 11"/>
                <a:gd name="T17" fmla="*/ 29 h 31"/>
                <a:gd name="T18" fmla="*/ 2 w 11"/>
                <a:gd name="T19" fmla="*/ 31 h 31"/>
                <a:gd name="T20" fmla="*/ 2 w 11"/>
                <a:gd name="T21" fmla="*/ 31 h 31"/>
                <a:gd name="T22" fmla="*/ 0 w 11"/>
                <a:gd name="T23" fmla="*/ 29 h 31"/>
                <a:gd name="T24" fmla="*/ 0 w 11"/>
                <a:gd name="T25" fmla="*/ 26 h 31"/>
                <a:gd name="T26" fmla="*/ 2 w 11"/>
                <a:gd name="T27" fmla="*/ 19 h 31"/>
                <a:gd name="T28" fmla="*/ 7 w 11"/>
                <a:gd name="T29" fmla="*/ 15 h 31"/>
                <a:gd name="T30" fmla="*/ 9 w 11"/>
                <a:gd name="T31" fmla="*/ 8 h 31"/>
                <a:gd name="T32" fmla="*/ 9 w 11"/>
                <a:gd name="T33" fmla="*/ 3 h 31"/>
                <a:gd name="T34" fmla="*/ 11 w 11"/>
                <a:gd name="T3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31">
                  <a:moveTo>
                    <a:pt x="11" y="0"/>
                  </a:moveTo>
                  <a:lnTo>
                    <a:pt x="11" y="0"/>
                  </a:lnTo>
                  <a:lnTo>
                    <a:pt x="11" y="3"/>
                  </a:lnTo>
                  <a:lnTo>
                    <a:pt x="11" y="5"/>
                  </a:lnTo>
                  <a:lnTo>
                    <a:pt x="11" y="12"/>
                  </a:lnTo>
                  <a:lnTo>
                    <a:pt x="11" y="17"/>
                  </a:lnTo>
                  <a:lnTo>
                    <a:pt x="7" y="19"/>
                  </a:lnTo>
                  <a:lnTo>
                    <a:pt x="4" y="24"/>
                  </a:lnTo>
                  <a:lnTo>
                    <a:pt x="4" y="29"/>
                  </a:lnTo>
                  <a:lnTo>
                    <a:pt x="2" y="31"/>
                  </a:lnTo>
                  <a:lnTo>
                    <a:pt x="2" y="31"/>
                  </a:lnTo>
                  <a:lnTo>
                    <a:pt x="0" y="29"/>
                  </a:lnTo>
                  <a:lnTo>
                    <a:pt x="0" y="26"/>
                  </a:lnTo>
                  <a:lnTo>
                    <a:pt x="2" y="19"/>
                  </a:lnTo>
                  <a:lnTo>
                    <a:pt x="7" y="15"/>
                  </a:lnTo>
                  <a:lnTo>
                    <a:pt x="9" y="8"/>
                  </a:lnTo>
                  <a:lnTo>
                    <a:pt x="9" y="3"/>
                  </a:lnTo>
                  <a:lnTo>
                    <a:pt x="11"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4" name="Freeform 439">
              <a:extLst>
                <a:ext uri="{FF2B5EF4-FFF2-40B4-BE49-F238E27FC236}">
                  <a16:creationId xmlns:a16="http://schemas.microsoft.com/office/drawing/2014/main" id="{84853D1F-C1BB-4AE1-9B0E-E1A808E23C2E}"/>
                </a:ext>
              </a:extLst>
            </p:cNvPr>
            <p:cNvSpPr>
              <a:spLocks/>
            </p:cNvSpPr>
            <p:nvPr/>
          </p:nvSpPr>
          <p:spPr bwMode="auto">
            <a:xfrm>
              <a:off x="7453495" y="4357766"/>
              <a:ext cx="19854" cy="16545"/>
            </a:xfrm>
            <a:custGeom>
              <a:avLst/>
              <a:gdLst>
                <a:gd name="T0" fmla="*/ 0 w 12"/>
                <a:gd name="T1" fmla="*/ 7 h 10"/>
                <a:gd name="T2" fmla="*/ 0 w 12"/>
                <a:gd name="T3" fmla="*/ 5 h 10"/>
                <a:gd name="T4" fmla="*/ 0 w 12"/>
                <a:gd name="T5" fmla="*/ 5 h 10"/>
                <a:gd name="T6" fmla="*/ 2 w 12"/>
                <a:gd name="T7" fmla="*/ 5 h 10"/>
                <a:gd name="T8" fmla="*/ 2 w 12"/>
                <a:gd name="T9" fmla="*/ 3 h 10"/>
                <a:gd name="T10" fmla="*/ 5 w 12"/>
                <a:gd name="T11" fmla="*/ 0 h 10"/>
                <a:gd name="T12" fmla="*/ 9 w 12"/>
                <a:gd name="T13" fmla="*/ 3 h 10"/>
                <a:gd name="T14" fmla="*/ 12 w 12"/>
                <a:gd name="T15" fmla="*/ 3 h 10"/>
                <a:gd name="T16" fmla="*/ 12 w 12"/>
                <a:gd name="T17" fmla="*/ 5 h 10"/>
                <a:gd name="T18" fmla="*/ 12 w 12"/>
                <a:gd name="T19" fmla="*/ 7 h 10"/>
                <a:gd name="T20" fmla="*/ 12 w 12"/>
                <a:gd name="T21" fmla="*/ 7 h 10"/>
                <a:gd name="T22" fmla="*/ 12 w 12"/>
                <a:gd name="T23" fmla="*/ 10 h 10"/>
                <a:gd name="T24" fmla="*/ 7 w 12"/>
                <a:gd name="T25" fmla="*/ 10 h 10"/>
                <a:gd name="T26" fmla="*/ 2 w 12"/>
                <a:gd name="T27" fmla="*/ 10 h 10"/>
                <a:gd name="T28" fmla="*/ 0 w 12"/>
                <a:gd name="T29" fmla="*/ 10 h 10"/>
                <a:gd name="T30" fmla="*/ 0 w 12"/>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0" y="7"/>
                  </a:moveTo>
                  <a:lnTo>
                    <a:pt x="0" y="5"/>
                  </a:lnTo>
                  <a:lnTo>
                    <a:pt x="0" y="5"/>
                  </a:lnTo>
                  <a:lnTo>
                    <a:pt x="2" y="5"/>
                  </a:lnTo>
                  <a:lnTo>
                    <a:pt x="2" y="3"/>
                  </a:lnTo>
                  <a:lnTo>
                    <a:pt x="5" y="0"/>
                  </a:lnTo>
                  <a:lnTo>
                    <a:pt x="9" y="3"/>
                  </a:lnTo>
                  <a:lnTo>
                    <a:pt x="12" y="3"/>
                  </a:lnTo>
                  <a:lnTo>
                    <a:pt x="12" y="5"/>
                  </a:lnTo>
                  <a:lnTo>
                    <a:pt x="12" y="7"/>
                  </a:lnTo>
                  <a:lnTo>
                    <a:pt x="12" y="7"/>
                  </a:lnTo>
                  <a:lnTo>
                    <a:pt x="12" y="10"/>
                  </a:lnTo>
                  <a:lnTo>
                    <a:pt x="7" y="10"/>
                  </a:lnTo>
                  <a:lnTo>
                    <a:pt x="2" y="10"/>
                  </a:lnTo>
                  <a:lnTo>
                    <a:pt x="0" y="10"/>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5" name="Freeform 440">
              <a:extLst>
                <a:ext uri="{FF2B5EF4-FFF2-40B4-BE49-F238E27FC236}">
                  <a16:creationId xmlns:a16="http://schemas.microsoft.com/office/drawing/2014/main" id="{6ABEDD24-81D4-43B0-B5E1-B4D2D3C2EE4C}"/>
                </a:ext>
              </a:extLst>
            </p:cNvPr>
            <p:cNvSpPr>
              <a:spLocks/>
            </p:cNvSpPr>
            <p:nvPr/>
          </p:nvSpPr>
          <p:spPr bwMode="auto">
            <a:xfrm>
              <a:off x="7453495" y="4357766"/>
              <a:ext cx="19854" cy="16545"/>
            </a:xfrm>
            <a:custGeom>
              <a:avLst/>
              <a:gdLst>
                <a:gd name="T0" fmla="*/ 0 w 12"/>
                <a:gd name="T1" fmla="*/ 7 h 10"/>
                <a:gd name="T2" fmla="*/ 0 w 12"/>
                <a:gd name="T3" fmla="*/ 5 h 10"/>
                <a:gd name="T4" fmla="*/ 0 w 12"/>
                <a:gd name="T5" fmla="*/ 5 h 10"/>
                <a:gd name="T6" fmla="*/ 2 w 12"/>
                <a:gd name="T7" fmla="*/ 5 h 10"/>
                <a:gd name="T8" fmla="*/ 2 w 12"/>
                <a:gd name="T9" fmla="*/ 3 h 10"/>
                <a:gd name="T10" fmla="*/ 5 w 12"/>
                <a:gd name="T11" fmla="*/ 0 h 10"/>
                <a:gd name="T12" fmla="*/ 9 w 12"/>
                <a:gd name="T13" fmla="*/ 3 h 10"/>
                <a:gd name="T14" fmla="*/ 12 w 12"/>
                <a:gd name="T15" fmla="*/ 3 h 10"/>
                <a:gd name="T16" fmla="*/ 12 w 12"/>
                <a:gd name="T17" fmla="*/ 5 h 10"/>
                <a:gd name="T18" fmla="*/ 12 w 12"/>
                <a:gd name="T19" fmla="*/ 7 h 10"/>
                <a:gd name="T20" fmla="*/ 12 w 12"/>
                <a:gd name="T21" fmla="*/ 7 h 10"/>
                <a:gd name="T22" fmla="*/ 12 w 12"/>
                <a:gd name="T23" fmla="*/ 10 h 10"/>
                <a:gd name="T24" fmla="*/ 7 w 12"/>
                <a:gd name="T25" fmla="*/ 10 h 10"/>
                <a:gd name="T26" fmla="*/ 2 w 12"/>
                <a:gd name="T27" fmla="*/ 10 h 10"/>
                <a:gd name="T28" fmla="*/ 0 w 12"/>
                <a:gd name="T29" fmla="*/ 10 h 10"/>
                <a:gd name="T30" fmla="*/ 0 w 12"/>
                <a:gd name="T3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0" y="7"/>
                  </a:moveTo>
                  <a:lnTo>
                    <a:pt x="0" y="5"/>
                  </a:lnTo>
                  <a:lnTo>
                    <a:pt x="0" y="5"/>
                  </a:lnTo>
                  <a:lnTo>
                    <a:pt x="2" y="5"/>
                  </a:lnTo>
                  <a:lnTo>
                    <a:pt x="2" y="3"/>
                  </a:lnTo>
                  <a:lnTo>
                    <a:pt x="5" y="0"/>
                  </a:lnTo>
                  <a:lnTo>
                    <a:pt x="9" y="3"/>
                  </a:lnTo>
                  <a:lnTo>
                    <a:pt x="12" y="3"/>
                  </a:lnTo>
                  <a:lnTo>
                    <a:pt x="12" y="5"/>
                  </a:lnTo>
                  <a:lnTo>
                    <a:pt x="12" y="7"/>
                  </a:lnTo>
                  <a:lnTo>
                    <a:pt x="12" y="7"/>
                  </a:lnTo>
                  <a:lnTo>
                    <a:pt x="12" y="10"/>
                  </a:lnTo>
                  <a:lnTo>
                    <a:pt x="7" y="10"/>
                  </a:lnTo>
                  <a:lnTo>
                    <a:pt x="2" y="10"/>
                  </a:lnTo>
                  <a:lnTo>
                    <a:pt x="0" y="10"/>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6" name="Freeform 441">
              <a:extLst>
                <a:ext uri="{FF2B5EF4-FFF2-40B4-BE49-F238E27FC236}">
                  <a16:creationId xmlns:a16="http://schemas.microsoft.com/office/drawing/2014/main" id="{2577EB95-309F-4BDE-9A59-08A079F66A8A}"/>
                </a:ext>
              </a:extLst>
            </p:cNvPr>
            <p:cNvSpPr>
              <a:spLocks/>
            </p:cNvSpPr>
            <p:nvPr/>
          </p:nvSpPr>
          <p:spPr bwMode="auto">
            <a:xfrm>
              <a:off x="7398899" y="4369348"/>
              <a:ext cx="132354" cy="122427"/>
            </a:xfrm>
            <a:custGeom>
              <a:avLst/>
              <a:gdLst>
                <a:gd name="T0" fmla="*/ 59 w 80"/>
                <a:gd name="T1" fmla="*/ 0 h 74"/>
                <a:gd name="T2" fmla="*/ 66 w 80"/>
                <a:gd name="T3" fmla="*/ 5 h 74"/>
                <a:gd name="T4" fmla="*/ 71 w 80"/>
                <a:gd name="T5" fmla="*/ 10 h 74"/>
                <a:gd name="T6" fmla="*/ 73 w 80"/>
                <a:gd name="T7" fmla="*/ 12 h 74"/>
                <a:gd name="T8" fmla="*/ 76 w 80"/>
                <a:gd name="T9" fmla="*/ 17 h 74"/>
                <a:gd name="T10" fmla="*/ 76 w 80"/>
                <a:gd name="T11" fmla="*/ 24 h 74"/>
                <a:gd name="T12" fmla="*/ 78 w 80"/>
                <a:gd name="T13" fmla="*/ 29 h 74"/>
                <a:gd name="T14" fmla="*/ 78 w 80"/>
                <a:gd name="T15" fmla="*/ 36 h 74"/>
                <a:gd name="T16" fmla="*/ 80 w 80"/>
                <a:gd name="T17" fmla="*/ 48 h 74"/>
                <a:gd name="T18" fmla="*/ 76 w 80"/>
                <a:gd name="T19" fmla="*/ 50 h 74"/>
                <a:gd name="T20" fmla="*/ 76 w 80"/>
                <a:gd name="T21" fmla="*/ 60 h 74"/>
                <a:gd name="T22" fmla="*/ 71 w 80"/>
                <a:gd name="T23" fmla="*/ 55 h 74"/>
                <a:gd name="T24" fmla="*/ 68 w 80"/>
                <a:gd name="T25" fmla="*/ 48 h 74"/>
                <a:gd name="T26" fmla="*/ 66 w 80"/>
                <a:gd name="T27" fmla="*/ 43 h 74"/>
                <a:gd name="T28" fmla="*/ 61 w 80"/>
                <a:gd name="T29" fmla="*/ 52 h 74"/>
                <a:gd name="T30" fmla="*/ 61 w 80"/>
                <a:gd name="T31" fmla="*/ 57 h 74"/>
                <a:gd name="T32" fmla="*/ 64 w 80"/>
                <a:gd name="T33" fmla="*/ 64 h 74"/>
                <a:gd name="T34" fmla="*/ 61 w 80"/>
                <a:gd name="T35" fmla="*/ 74 h 74"/>
                <a:gd name="T36" fmla="*/ 57 w 80"/>
                <a:gd name="T37" fmla="*/ 69 h 74"/>
                <a:gd name="T38" fmla="*/ 54 w 80"/>
                <a:gd name="T39" fmla="*/ 69 h 74"/>
                <a:gd name="T40" fmla="*/ 50 w 80"/>
                <a:gd name="T41" fmla="*/ 69 h 74"/>
                <a:gd name="T42" fmla="*/ 40 w 80"/>
                <a:gd name="T43" fmla="*/ 62 h 74"/>
                <a:gd name="T44" fmla="*/ 38 w 80"/>
                <a:gd name="T45" fmla="*/ 55 h 74"/>
                <a:gd name="T46" fmla="*/ 35 w 80"/>
                <a:gd name="T47" fmla="*/ 50 h 74"/>
                <a:gd name="T48" fmla="*/ 38 w 80"/>
                <a:gd name="T49" fmla="*/ 41 h 74"/>
                <a:gd name="T50" fmla="*/ 33 w 80"/>
                <a:gd name="T51" fmla="*/ 36 h 74"/>
                <a:gd name="T52" fmla="*/ 28 w 80"/>
                <a:gd name="T53" fmla="*/ 34 h 74"/>
                <a:gd name="T54" fmla="*/ 26 w 80"/>
                <a:gd name="T55" fmla="*/ 41 h 74"/>
                <a:gd name="T56" fmla="*/ 21 w 80"/>
                <a:gd name="T57" fmla="*/ 41 h 74"/>
                <a:gd name="T58" fmla="*/ 16 w 80"/>
                <a:gd name="T59" fmla="*/ 41 h 74"/>
                <a:gd name="T60" fmla="*/ 14 w 80"/>
                <a:gd name="T61" fmla="*/ 41 h 74"/>
                <a:gd name="T62" fmla="*/ 12 w 80"/>
                <a:gd name="T63" fmla="*/ 36 h 74"/>
                <a:gd name="T64" fmla="*/ 5 w 80"/>
                <a:gd name="T65" fmla="*/ 50 h 74"/>
                <a:gd name="T66" fmla="*/ 0 w 80"/>
                <a:gd name="T67" fmla="*/ 50 h 74"/>
                <a:gd name="T68" fmla="*/ 2 w 80"/>
                <a:gd name="T69" fmla="*/ 41 h 74"/>
                <a:gd name="T70" fmla="*/ 7 w 80"/>
                <a:gd name="T71" fmla="*/ 31 h 74"/>
                <a:gd name="T72" fmla="*/ 16 w 80"/>
                <a:gd name="T73" fmla="*/ 26 h 74"/>
                <a:gd name="T74" fmla="*/ 24 w 80"/>
                <a:gd name="T75" fmla="*/ 22 h 74"/>
                <a:gd name="T76" fmla="*/ 31 w 80"/>
                <a:gd name="T77" fmla="*/ 22 h 74"/>
                <a:gd name="T78" fmla="*/ 31 w 80"/>
                <a:gd name="T79" fmla="*/ 31 h 74"/>
                <a:gd name="T80" fmla="*/ 40 w 80"/>
                <a:gd name="T81" fmla="*/ 24 h 74"/>
                <a:gd name="T82" fmla="*/ 45 w 80"/>
                <a:gd name="T83" fmla="*/ 22 h 74"/>
                <a:gd name="T84" fmla="*/ 47 w 80"/>
                <a:gd name="T85" fmla="*/ 17 h 74"/>
                <a:gd name="T86" fmla="*/ 52 w 80"/>
                <a:gd name="T87" fmla="*/ 17 h 74"/>
                <a:gd name="T88" fmla="*/ 59 w 80"/>
                <a:gd name="T89" fmla="*/ 15 h 74"/>
                <a:gd name="T90" fmla="*/ 61 w 80"/>
                <a:gd name="T91" fmla="*/ 10 h 74"/>
                <a:gd name="T92" fmla="*/ 59 w 80"/>
                <a:gd name="T93" fmla="*/ 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74">
                  <a:moveTo>
                    <a:pt x="59" y="3"/>
                  </a:moveTo>
                  <a:lnTo>
                    <a:pt x="59" y="0"/>
                  </a:lnTo>
                  <a:lnTo>
                    <a:pt x="64" y="0"/>
                  </a:lnTo>
                  <a:lnTo>
                    <a:pt x="66" y="5"/>
                  </a:lnTo>
                  <a:lnTo>
                    <a:pt x="68" y="5"/>
                  </a:lnTo>
                  <a:lnTo>
                    <a:pt x="71" y="10"/>
                  </a:lnTo>
                  <a:lnTo>
                    <a:pt x="73" y="10"/>
                  </a:lnTo>
                  <a:lnTo>
                    <a:pt x="73" y="12"/>
                  </a:lnTo>
                  <a:lnTo>
                    <a:pt x="76" y="17"/>
                  </a:lnTo>
                  <a:lnTo>
                    <a:pt x="76" y="17"/>
                  </a:lnTo>
                  <a:lnTo>
                    <a:pt x="73" y="22"/>
                  </a:lnTo>
                  <a:lnTo>
                    <a:pt x="76" y="24"/>
                  </a:lnTo>
                  <a:lnTo>
                    <a:pt x="76" y="26"/>
                  </a:lnTo>
                  <a:lnTo>
                    <a:pt x="78" y="29"/>
                  </a:lnTo>
                  <a:lnTo>
                    <a:pt x="78" y="34"/>
                  </a:lnTo>
                  <a:lnTo>
                    <a:pt x="78" y="36"/>
                  </a:lnTo>
                  <a:lnTo>
                    <a:pt x="80" y="41"/>
                  </a:lnTo>
                  <a:lnTo>
                    <a:pt x="80" y="48"/>
                  </a:lnTo>
                  <a:lnTo>
                    <a:pt x="78" y="50"/>
                  </a:lnTo>
                  <a:lnTo>
                    <a:pt x="76" y="50"/>
                  </a:lnTo>
                  <a:lnTo>
                    <a:pt x="76" y="52"/>
                  </a:lnTo>
                  <a:lnTo>
                    <a:pt x="76" y="60"/>
                  </a:lnTo>
                  <a:lnTo>
                    <a:pt x="73" y="60"/>
                  </a:lnTo>
                  <a:lnTo>
                    <a:pt x="71" y="55"/>
                  </a:lnTo>
                  <a:lnTo>
                    <a:pt x="71" y="50"/>
                  </a:lnTo>
                  <a:lnTo>
                    <a:pt x="68" y="48"/>
                  </a:lnTo>
                  <a:lnTo>
                    <a:pt x="68" y="43"/>
                  </a:lnTo>
                  <a:lnTo>
                    <a:pt x="66" y="43"/>
                  </a:lnTo>
                  <a:lnTo>
                    <a:pt x="66" y="45"/>
                  </a:lnTo>
                  <a:lnTo>
                    <a:pt x="61" y="52"/>
                  </a:lnTo>
                  <a:lnTo>
                    <a:pt x="59" y="57"/>
                  </a:lnTo>
                  <a:lnTo>
                    <a:pt x="61" y="57"/>
                  </a:lnTo>
                  <a:lnTo>
                    <a:pt x="64" y="62"/>
                  </a:lnTo>
                  <a:lnTo>
                    <a:pt x="64" y="64"/>
                  </a:lnTo>
                  <a:lnTo>
                    <a:pt x="64" y="67"/>
                  </a:lnTo>
                  <a:lnTo>
                    <a:pt x="61" y="74"/>
                  </a:lnTo>
                  <a:lnTo>
                    <a:pt x="59" y="74"/>
                  </a:lnTo>
                  <a:lnTo>
                    <a:pt x="57" y="69"/>
                  </a:lnTo>
                  <a:lnTo>
                    <a:pt x="57" y="67"/>
                  </a:lnTo>
                  <a:lnTo>
                    <a:pt x="54" y="69"/>
                  </a:lnTo>
                  <a:lnTo>
                    <a:pt x="52" y="69"/>
                  </a:lnTo>
                  <a:lnTo>
                    <a:pt x="50" y="69"/>
                  </a:lnTo>
                  <a:lnTo>
                    <a:pt x="42" y="64"/>
                  </a:lnTo>
                  <a:lnTo>
                    <a:pt x="40" y="62"/>
                  </a:lnTo>
                  <a:lnTo>
                    <a:pt x="38" y="60"/>
                  </a:lnTo>
                  <a:lnTo>
                    <a:pt x="38" y="55"/>
                  </a:lnTo>
                  <a:lnTo>
                    <a:pt x="35" y="52"/>
                  </a:lnTo>
                  <a:lnTo>
                    <a:pt x="35" y="50"/>
                  </a:lnTo>
                  <a:lnTo>
                    <a:pt x="38" y="43"/>
                  </a:lnTo>
                  <a:lnTo>
                    <a:pt x="38" y="41"/>
                  </a:lnTo>
                  <a:lnTo>
                    <a:pt x="35" y="38"/>
                  </a:lnTo>
                  <a:lnTo>
                    <a:pt x="33" y="36"/>
                  </a:lnTo>
                  <a:lnTo>
                    <a:pt x="31" y="34"/>
                  </a:lnTo>
                  <a:lnTo>
                    <a:pt x="28" y="34"/>
                  </a:lnTo>
                  <a:lnTo>
                    <a:pt x="26" y="41"/>
                  </a:lnTo>
                  <a:lnTo>
                    <a:pt x="26" y="41"/>
                  </a:lnTo>
                  <a:lnTo>
                    <a:pt x="24" y="41"/>
                  </a:lnTo>
                  <a:lnTo>
                    <a:pt x="21" y="41"/>
                  </a:lnTo>
                  <a:lnTo>
                    <a:pt x="21" y="38"/>
                  </a:lnTo>
                  <a:lnTo>
                    <a:pt x="16" y="41"/>
                  </a:lnTo>
                  <a:lnTo>
                    <a:pt x="16" y="43"/>
                  </a:lnTo>
                  <a:lnTo>
                    <a:pt x="14" y="41"/>
                  </a:lnTo>
                  <a:lnTo>
                    <a:pt x="14" y="36"/>
                  </a:lnTo>
                  <a:lnTo>
                    <a:pt x="12" y="36"/>
                  </a:lnTo>
                  <a:lnTo>
                    <a:pt x="7" y="41"/>
                  </a:lnTo>
                  <a:lnTo>
                    <a:pt x="5" y="50"/>
                  </a:lnTo>
                  <a:lnTo>
                    <a:pt x="2" y="50"/>
                  </a:lnTo>
                  <a:lnTo>
                    <a:pt x="0" y="50"/>
                  </a:lnTo>
                  <a:lnTo>
                    <a:pt x="0" y="48"/>
                  </a:lnTo>
                  <a:lnTo>
                    <a:pt x="2" y="41"/>
                  </a:lnTo>
                  <a:lnTo>
                    <a:pt x="2" y="34"/>
                  </a:lnTo>
                  <a:lnTo>
                    <a:pt x="7" y="31"/>
                  </a:lnTo>
                  <a:lnTo>
                    <a:pt x="16" y="29"/>
                  </a:lnTo>
                  <a:lnTo>
                    <a:pt x="16" y="26"/>
                  </a:lnTo>
                  <a:lnTo>
                    <a:pt x="19" y="24"/>
                  </a:lnTo>
                  <a:lnTo>
                    <a:pt x="24" y="22"/>
                  </a:lnTo>
                  <a:lnTo>
                    <a:pt x="24" y="19"/>
                  </a:lnTo>
                  <a:lnTo>
                    <a:pt x="31" y="22"/>
                  </a:lnTo>
                  <a:lnTo>
                    <a:pt x="33" y="26"/>
                  </a:lnTo>
                  <a:lnTo>
                    <a:pt x="31" y="31"/>
                  </a:lnTo>
                  <a:lnTo>
                    <a:pt x="38" y="29"/>
                  </a:lnTo>
                  <a:lnTo>
                    <a:pt x="40" y="24"/>
                  </a:lnTo>
                  <a:lnTo>
                    <a:pt x="42" y="22"/>
                  </a:lnTo>
                  <a:lnTo>
                    <a:pt x="45" y="22"/>
                  </a:lnTo>
                  <a:lnTo>
                    <a:pt x="47" y="19"/>
                  </a:lnTo>
                  <a:lnTo>
                    <a:pt x="47" y="17"/>
                  </a:lnTo>
                  <a:lnTo>
                    <a:pt x="50" y="15"/>
                  </a:lnTo>
                  <a:lnTo>
                    <a:pt x="52" y="17"/>
                  </a:lnTo>
                  <a:lnTo>
                    <a:pt x="57" y="15"/>
                  </a:lnTo>
                  <a:lnTo>
                    <a:pt x="59" y="15"/>
                  </a:lnTo>
                  <a:lnTo>
                    <a:pt x="61" y="15"/>
                  </a:lnTo>
                  <a:lnTo>
                    <a:pt x="61" y="10"/>
                  </a:lnTo>
                  <a:lnTo>
                    <a:pt x="59" y="3"/>
                  </a:lnTo>
                  <a:lnTo>
                    <a:pt x="59"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7" name="Freeform 442">
              <a:extLst>
                <a:ext uri="{FF2B5EF4-FFF2-40B4-BE49-F238E27FC236}">
                  <a16:creationId xmlns:a16="http://schemas.microsoft.com/office/drawing/2014/main" id="{7F04F884-507C-4F68-8B95-7C0E6C5B9847}"/>
                </a:ext>
              </a:extLst>
            </p:cNvPr>
            <p:cNvSpPr>
              <a:spLocks/>
            </p:cNvSpPr>
            <p:nvPr/>
          </p:nvSpPr>
          <p:spPr bwMode="auto">
            <a:xfrm>
              <a:off x="7398899" y="4369348"/>
              <a:ext cx="132354" cy="122427"/>
            </a:xfrm>
            <a:custGeom>
              <a:avLst/>
              <a:gdLst>
                <a:gd name="T0" fmla="*/ 59 w 80"/>
                <a:gd name="T1" fmla="*/ 0 h 74"/>
                <a:gd name="T2" fmla="*/ 66 w 80"/>
                <a:gd name="T3" fmla="*/ 5 h 74"/>
                <a:gd name="T4" fmla="*/ 71 w 80"/>
                <a:gd name="T5" fmla="*/ 10 h 74"/>
                <a:gd name="T6" fmla="*/ 73 w 80"/>
                <a:gd name="T7" fmla="*/ 12 h 74"/>
                <a:gd name="T8" fmla="*/ 76 w 80"/>
                <a:gd name="T9" fmla="*/ 17 h 74"/>
                <a:gd name="T10" fmla="*/ 76 w 80"/>
                <a:gd name="T11" fmla="*/ 24 h 74"/>
                <a:gd name="T12" fmla="*/ 78 w 80"/>
                <a:gd name="T13" fmla="*/ 29 h 74"/>
                <a:gd name="T14" fmla="*/ 78 w 80"/>
                <a:gd name="T15" fmla="*/ 36 h 74"/>
                <a:gd name="T16" fmla="*/ 80 w 80"/>
                <a:gd name="T17" fmla="*/ 48 h 74"/>
                <a:gd name="T18" fmla="*/ 76 w 80"/>
                <a:gd name="T19" fmla="*/ 50 h 74"/>
                <a:gd name="T20" fmla="*/ 76 w 80"/>
                <a:gd name="T21" fmla="*/ 60 h 74"/>
                <a:gd name="T22" fmla="*/ 71 w 80"/>
                <a:gd name="T23" fmla="*/ 55 h 74"/>
                <a:gd name="T24" fmla="*/ 68 w 80"/>
                <a:gd name="T25" fmla="*/ 48 h 74"/>
                <a:gd name="T26" fmla="*/ 66 w 80"/>
                <a:gd name="T27" fmla="*/ 43 h 74"/>
                <a:gd name="T28" fmla="*/ 61 w 80"/>
                <a:gd name="T29" fmla="*/ 52 h 74"/>
                <a:gd name="T30" fmla="*/ 61 w 80"/>
                <a:gd name="T31" fmla="*/ 57 h 74"/>
                <a:gd name="T32" fmla="*/ 64 w 80"/>
                <a:gd name="T33" fmla="*/ 64 h 74"/>
                <a:gd name="T34" fmla="*/ 61 w 80"/>
                <a:gd name="T35" fmla="*/ 74 h 74"/>
                <a:gd name="T36" fmla="*/ 57 w 80"/>
                <a:gd name="T37" fmla="*/ 69 h 74"/>
                <a:gd name="T38" fmla="*/ 54 w 80"/>
                <a:gd name="T39" fmla="*/ 69 h 74"/>
                <a:gd name="T40" fmla="*/ 50 w 80"/>
                <a:gd name="T41" fmla="*/ 69 h 74"/>
                <a:gd name="T42" fmla="*/ 40 w 80"/>
                <a:gd name="T43" fmla="*/ 62 h 74"/>
                <a:gd name="T44" fmla="*/ 38 w 80"/>
                <a:gd name="T45" fmla="*/ 55 h 74"/>
                <a:gd name="T46" fmla="*/ 35 w 80"/>
                <a:gd name="T47" fmla="*/ 50 h 74"/>
                <a:gd name="T48" fmla="*/ 38 w 80"/>
                <a:gd name="T49" fmla="*/ 41 h 74"/>
                <a:gd name="T50" fmla="*/ 33 w 80"/>
                <a:gd name="T51" fmla="*/ 36 h 74"/>
                <a:gd name="T52" fmla="*/ 28 w 80"/>
                <a:gd name="T53" fmla="*/ 34 h 74"/>
                <a:gd name="T54" fmla="*/ 26 w 80"/>
                <a:gd name="T55" fmla="*/ 41 h 74"/>
                <a:gd name="T56" fmla="*/ 21 w 80"/>
                <a:gd name="T57" fmla="*/ 41 h 74"/>
                <a:gd name="T58" fmla="*/ 16 w 80"/>
                <a:gd name="T59" fmla="*/ 41 h 74"/>
                <a:gd name="T60" fmla="*/ 14 w 80"/>
                <a:gd name="T61" fmla="*/ 41 h 74"/>
                <a:gd name="T62" fmla="*/ 12 w 80"/>
                <a:gd name="T63" fmla="*/ 36 h 74"/>
                <a:gd name="T64" fmla="*/ 5 w 80"/>
                <a:gd name="T65" fmla="*/ 50 h 74"/>
                <a:gd name="T66" fmla="*/ 0 w 80"/>
                <a:gd name="T67" fmla="*/ 50 h 74"/>
                <a:gd name="T68" fmla="*/ 2 w 80"/>
                <a:gd name="T69" fmla="*/ 41 h 74"/>
                <a:gd name="T70" fmla="*/ 7 w 80"/>
                <a:gd name="T71" fmla="*/ 31 h 74"/>
                <a:gd name="T72" fmla="*/ 16 w 80"/>
                <a:gd name="T73" fmla="*/ 26 h 74"/>
                <a:gd name="T74" fmla="*/ 24 w 80"/>
                <a:gd name="T75" fmla="*/ 22 h 74"/>
                <a:gd name="T76" fmla="*/ 31 w 80"/>
                <a:gd name="T77" fmla="*/ 22 h 74"/>
                <a:gd name="T78" fmla="*/ 31 w 80"/>
                <a:gd name="T79" fmla="*/ 31 h 74"/>
                <a:gd name="T80" fmla="*/ 40 w 80"/>
                <a:gd name="T81" fmla="*/ 24 h 74"/>
                <a:gd name="T82" fmla="*/ 45 w 80"/>
                <a:gd name="T83" fmla="*/ 22 h 74"/>
                <a:gd name="T84" fmla="*/ 47 w 80"/>
                <a:gd name="T85" fmla="*/ 17 h 74"/>
                <a:gd name="T86" fmla="*/ 52 w 80"/>
                <a:gd name="T87" fmla="*/ 17 h 74"/>
                <a:gd name="T88" fmla="*/ 59 w 80"/>
                <a:gd name="T89" fmla="*/ 15 h 74"/>
                <a:gd name="T90" fmla="*/ 61 w 80"/>
                <a:gd name="T91" fmla="*/ 10 h 74"/>
                <a:gd name="T92" fmla="*/ 59 w 80"/>
                <a:gd name="T93" fmla="*/ 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74">
                  <a:moveTo>
                    <a:pt x="59" y="3"/>
                  </a:moveTo>
                  <a:lnTo>
                    <a:pt x="59" y="0"/>
                  </a:lnTo>
                  <a:lnTo>
                    <a:pt x="64" y="0"/>
                  </a:lnTo>
                  <a:lnTo>
                    <a:pt x="66" y="5"/>
                  </a:lnTo>
                  <a:lnTo>
                    <a:pt x="68" y="5"/>
                  </a:lnTo>
                  <a:lnTo>
                    <a:pt x="71" y="10"/>
                  </a:lnTo>
                  <a:lnTo>
                    <a:pt x="73" y="10"/>
                  </a:lnTo>
                  <a:lnTo>
                    <a:pt x="73" y="12"/>
                  </a:lnTo>
                  <a:lnTo>
                    <a:pt x="76" y="17"/>
                  </a:lnTo>
                  <a:lnTo>
                    <a:pt x="76" y="17"/>
                  </a:lnTo>
                  <a:lnTo>
                    <a:pt x="73" y="22"/>
                  </a:lnTo>
                  <a:lnTo>
                    <a:pt x="76" y="24"/>
                  </a:lnTo>
                  <a:lnTo>
                    <a:pt x="76" y="26"/>
                  </a:lnTo>
                  <a:lnTo>
                    <a:pt x="78" y="29"/>
                  </a:lnTo>
                  <a:lnTo>
                    <a:pt x="78" y="34"/>
                  </a:lnTo>
                  <a:lnTo>
                    <a:pt x="78" y="36"/>
                  </a:lnTo>
                  <a:lnTo>
                    <a:pt x="80" y="41"/>
                  </a:lnTo>
                  <a:lnTo>
                    <a:pt x="80" y="48"/>
                  </a:lnTo>
                  <a:lnTo>
                    <a:pt x="78" y="50"/>
                  </a:lnTo>
                  <a:lnTo>
                    <a:pt x="76" y="50"/>
                  </a:lnTo>
                  <a:lnTo>
                    <a:pt x="76" y="52"/>
                  </a:lnTo>
                  <a:lnTo>
                    <a:pt x="76" y="60"/>
                  </a:lnTo>
                  <a:lnTo>
                    <a:pt x="73" y="60"/>
                  </a:lnTo>
                  <a:lnTo>
                    <a:pt x="71" y="55"/>
                  </a:lnTo>
                  <a:lnTo>
                    <a:pt x="71" y="50"/>
                  </a:lnTo>
                  <a:lnTo>
                    <a:pt x="68" y="48"/>
                  </a:lnTo>
                  <a:lnTo>
                    <a:pt x="68" y="43"/>
                  </a:lnTo>
                  <a:lnTo>
                    <a:pt x="66" y="43"/>
                  </a:lnTo>
                  <a:lnTo>
                    <a:pt x="66" y="45"/>
                  </a:lnTo>
                  <a:lnTo>
                    <a:pt x="61" y="52"/>
                  </a:lnTo>
                  <a:lnTo>
                    <a:pt x="59" y="57"/>
                  </a:lnTo>
                  <a:lnTo>
                    <a:pt x="61" y="57"/>
                  </a:lnTo>
                  <a:lnTo>
                    <a:pt x="64" y="62"/>
                  </a:lnTo>
                  <a:lnTo>
                    <a:pt x="64" y="64"/>
                  </a:lnTo>
                  <a:lnTo>
                    <a:pt x="64" y="67"/>
                  </a:lnTo>
                  <a:lnTo>
                    <a:pt x="61" y="74"/>
                  </a:lnTo>
                  <a:lnTo>
                    <a:pt x="59" y="74"/>
                  </a:lnTo>
                  <a:lnTo>
                    <a:pt x="57" y="69"/>
                  </a:lnTo>
                  <a:lnTo>
                    <a:pt x="57" y="67"/>
                  </a:lnTo>
                  <a:lnTo>
                    <a:pt x="54" y="69"/>
                  </a:lnTo>
                  <a:lnTo>
                    <a:pt x="52" y="69"/>
                  </a:lnTo>
                  <a:lnTo>
                    <a:pt x="50" y="69"/>
                  </a:lnTo>
                  <a:lnTo>
                    <a:pt x="42" y="64"/>
                  </a:lnTo>
                  <a:lnTo>
                    <a:pt x="40" y="62"/>
                  </a:lnTo>
                  <a:lnTo>
                    <a:pt x="38" y="60"/>
                  </a:lnTo>
                  <a:lnTo>
                    <a:pt x="38" y="55"/>
                  </a:lnTo>
                  <a:lnTo>
                    <a:pt x="35" y="52"/>
                  </a:lnTo>
                  <a:lnTo>
                    <a:pt x="35" y="50"/>
                  </a:lnTo>
                  <a:lnTo>
                    <a:pt x="38" y="43"/>
                  </a:lnTo>
                  <a:lnTo>
                    <a:pt x="38" y="41"/>
                  </a:lnTo>
                  <a:lnTo>
                    <a:pt x="35" y="38"/>
                  </a:lnTo>
                  <a:lnTo>
                    <a:pt x="33" y="36"/>
                  </a:lnTo>
                  <a:lnTo>
                    <a:pt x="31" y="34"/>
                  </a:lnTo>
                  <a:lnTo>
                    <a:pt x="28" y="34"/>
                  </a:lnTo>
                  <a:lnTo>
                    <a:pt x="26" y="41"/>
                  </a:lnTo>
                  <a:lnTo>
                    <a:pt x="26" y="41"/>
                  </a:lnTo>
                  <a:lnTo>
                    <a:pt x="24" y="41"/>
                  </a:lnTo>
                  <a:lnTo>
                    <a:pt x="21" y="41"/>
                  </a:lnTo>
                  <a:lnTo>
                    <a:pt x="21" y="38"/>
                  </a:lnTo>
                  <a:lnTo>
                    <a:pt x="16" y="41"/>
                  </a:lnTo>
                  <a:lnTo>
                    <a:pt x="16" y="43"/>
                  </a:lnTo>
                  <a:lnTo>
                    <a:pt x="14" y="41"/>
                  </a:lnTo>
                  <a:lnTo>
                    <a:pt x="14" y="36"/>
                  </a:lnTo>
                  <a:lnTo>
                    <a:pt x="12" y="36"/>
                  </a:lnTo>
                  <a:lnTo>
                    <a:pt x="7" y="41"/>
                  </a:lnTo>
                  <a:lnTo>
                    <a:pt x="5" y="50"/>
                  </a:lnTo>
                  <a:lnTo>
                    <a:pt x="2" y="50"/>
                  </a:lnTo>
                  <a:lnTo>
                    <a:pt x="0" y="50"/>
                  </a:lnTo>
                  <a:lnTo>
                    <a:pt x="0" y="48"/>
                  </a:lnTo>
                  <a:lnTo>
                    <a:pt x="2" y="41"/>
                  </a:lnTo>
                  <a:lnTo>
                    <a:pt x="2" y="34"/>
                  </a:lnTo>
                  <a:lnTo>
                    <a:pt x="7" y="31"/>
                  </a:lnTo>
                  <a:lnTo>
                    <a:pt x="16" y="29"/>
                  </a:lnTo>
                  <a:lnTo>
                    <a:pt x="16" y="26"/>
                  </a:lnTo>
                  <a:lnTo>
                    <a:pt x="19" y="24"/>
                  </a:lnTo>
                  <a:lnTo>
                    <a:pt x="24" y="22"/>
                  </a:lnTo>
                  <a:lnTo>
                    <a:pt x="24" y="19"/>
                  </a:lnTo>
                  <a:lnTo>
                    <a:pt x="31" y="22"/>
                  </a:lnTo>
                  <a:lnTo>
                    <a:pt x="33" y="26"/>
                  </a:lnTo>
                  <a:lnTo>
                    <a:pt x="31" y="31"/>
                  </a:lnTo>
                  <a:lnTo>
                    <a:pt x="38" y="29"/>
                  </a:lnTo>
                  <a:lnTo>
                    <a:pt x="40" y="24"/>
                  </a:lnTo>
                  <a:lnTo>
                    <a:pt x="42" y="22"/>
                  </a:lnTo>
                  <a:lnTo>
                    <a:pt x="45" y="22"/>
                  </a:lnTo>
                  <a:lnTo>
                    <a:pt x="47" y="19"/>
                  </a:lnTo>
                  <a:lnTo>
                    <a:pt x="47" y="17"/>
                  </a:lnTo>
                  <a:lnTo>
                    <a:pt x="50" y="15"/>
                  </a:lnTo>
                  <a:lnTo>
                    <a:pt x="52" y="17"/>
                  </a:lnTo>
                  <a:lnTo>
                    <a:pt x="57" y="15"/>
                  </a:lnTo>
                  <a:lnTo>
                    <a:pt x="59" y="15"/>
                  </a:lnTo>
                  <a:lnTo>
                    <a:pt x="61" y="15"/>
                  </a:lnTo>
                  <a:lnTo>
                    <a:pt x="61" y="10"/>
                  </a:lnTo>
                  <a:lnTo>
                    <a:pt x="59" y="3"/>
                  </a:lnTo>
                  <a:lnTo>
                    <a:pt x="59"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8" name="Freeform 443">
              <a:extLst>
                <a:ext uri="{FF2B5EF4-FFF2-40B4-BE49-F238E27FC236}">
                  <a16:creationId xmlns:a16="http://schemas.microsoft.com/office/drawing/2014/main" id="{88DF5DCF-12C3-4301-9A4D-B5E757403044}"/>
                </a:ext>
              </a:extLst>
            </p:cNvPr>
            <p:cNvSpPr>
              <a:spLocks/>
            </p:cNvSpPr>
            <p:nvPr/>
          </p:nvSpPr>
          <p:spPr bwMode="auto">
            <a:xfrm>
              <a:off x="7395590" y="4460340"/>
              <a:ext cx="11582" cy="8273"/>
            </a:xfrm>
            <a:custGeom>
              <a:avLst/>
              <a:gdLst>
                <a:gd name="T0" fmla="*/ 0 w 7"/>
                <a:gd name="T1" fmla="*/ 0 h 5"/>
                <a:gd name="T2" fmla="*/ 2 w 7"/>
                <a:gd name="T3" fmla="*/ 0 h 5"/>
                <a:gd name="T4" fmla="*/ 4 w 7"/>
                <a:gd name="T5" fmla="*/ 0 h 5"/>
                <a:gd name="T6" fmla="*/ 7 w 7"/>
                <a:gd name="T7" fmla="*/ 0 h 5"/>
                <a:gd name="T8" fmla="*/ 7 w 7"/>
                <a:gd name="T9" fmla="*/ 2 h 5"/>
                <a:gd name="T10" fmla="*/ 4 w 7"/>
                <a:gd name="T11" fmla="*/ 5 h 5"/>
                <a:gd name="T12" fmla="*/ 2 w 7"/>
                <a:gd name="T13" fmla="*/ 5 h 5"/>
                <a:gd name="T14" fmla="*/ 0 w 7"/>
                <a:gd name="T15" fmla="*/ 2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2" y="0"/>
                  </a:lnTo>
                  <a:lnTo>
                    <a:pt x="4" y="0"/>
                  </a:lnTo>
                  <a:lnTo>
                    <a:pt x="7" y="0"/>
                  </a:lnTo>
                  <a:lnTo>
                    <a:pt x="7" y="2"/>
                  </a:lnTo>
                  <a:lnTo>
                    <a:pt x="4" y="5"/>
                  </a:lnTo>
                  <a:lnTo>
                    <a:pt x="2" y="5"/>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19" name="Freeform 444">
              <a:extLst>
                <a:ext uri="{FF2B5EF4-FFF2-40B4-BE49-F238E27FC236}">
                  <a16:creationId xmlns:a16="http://schemas.microsoft.com/office/drawing/2014/main" id="{1B0C3776-4039-4F3F-82AF-7549FEA23CF5}"/>
                </a:ext>
              </a:extLst>
            </p:cNvPr>
            <p:cNvSpPr>
              <a:spLocks/>
            </p:cNvSpPr>
            <p:nvPr/>
          </p:nvSpPr>
          <p:spPr bwMode="auto">
            <a:xfrm>
              <a:off x="7395590" y="4460340"/>
              <a:ext cx="11582" cy="8273"/>
            </a:xfrm>
            <a:custGeom>
              <a:avLst/>
              <a:gdLst>
                <a:gd name="T0" fmla="*/ 0 w 7"/>
                <a:gd name="T1" fmla="*/ 0 h 5"/>
                <a:gd name="T2" fmla="*/ 2 w 7"/>
                <a:gd name="T3" fmla="*/ 0 h 5"/>
                <a:gd name="T4" fmla="*/ 4 w 7"/>
                <a:gd name="T5" fmla="*/ 0 h 5"/>
                <a:gd name="T6" fmla="*/ 7 w 7"/>
                <a:gd name="T7" fmla="*/ 0 h 5"/>
                <a:gd name="T8" fmla="*/ 7 w 7"/>
                <a:gd name="T9" fmla="*/ 2 h 5"/>
                <a:gd name="T10" fmla="*/ 4 w 7"/>
                <a:gd name="T11" fmla="*/ 5 h 5"/>
                <a:gd name="T12" fmla="*/ 2 w 7"/>
                <a:gd name="T13" fmla="*/ 5 h 5"/>
                <a:gd name="T14" fmla="*/ 0 w 7"/>
                <a:gd name="T15" fmla="*/ 2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2" y="0"/>
                  </a:lnTo>
                  <a:lnTo>
                    <a:pt x="4" y="0"/>
                  </a:lnTo>
                  <a:lnTo>
                    <a:pt x="7" y="0"/>
                  </a:lnTo>
                  <a:lnTo>
                    <a:pt x="7" y="2"/>
                  </a:lnTo>
                  <a:lnTo>
                    <a:pt x="4" y="5"/>
                  </a:lnTo>
                  <a:lnTo>
                    <a:pt x="2" y="5"/>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0" name="Freeform 445">
              <a:extLst>
                <a:ext uri="{FF2B5EF4-FFF2-40B4-BE49-F238E27FC236}">
                  <a16:creationId xmlns:a16="http://schemas.microsoft.com/office/drawing/2014/main" id="{F7DD13F5-7F4E-429E-89BA-4284C5EF7D9D}"/>
                </a:ext>
              </a:extLst>
            </p:cNvPr>
            <p:cNvSpPr>
              <a:spLocks/>
            </p:cNvSpPr>
            <p:nvPr/>
          </p:nvSpPr>
          <p:spPr bwMode="auto">
            <a:xfrm>
              <a:off x="7367465" y="4480194"/>
              <a:ext cx="14890" cy="3309"/>
            </a:xfrm>
            <a:custGeom>
              <a:avLst/>
              <a:gdLst>
                <a:gd name="T0" fmla="*/ 0 w 9"/>
                <a:gd name="T1" fmla="*/ 2 h 2"/>
                <a:gd name="T2" fmla="*/ 0 w 9"/>
                <a:gd name="T3" fmla="*/ 2 h 2"/>
                <a:gd name="T4" fmla="*/ 2 w 9"/>
                <a:gd name="T5" fmla="*/ 0 h 2"/>
                <a:gd name="T6" fmla="*/ 2 w 9"/>
                <a:gd name="T7" fmla="*/ 0 h 2"/>
                <a:gd name="T8" fmla="*/ 9 w 9"/>
                <a:gd name="T9" fmla="*/ 0 h 2"/>
                <a:gd name="T10" fmla="*/ 7 w 9"/>
                <a:gd name="T11" fmla="*/ 2 h 2"/>
                <a:gd name="T12" fmla="*/ 5 w 9"/>
                <a:gd name="T13" fmla="*/ 2 h 2"/>
                <a:gd name="T14" fmla="*/ 2 w 9"/>
                <a:gd name="T15" fmla="*/ 2 h 2"/>
                <a:gd name="T16" fmla="*/ 0 w 9"/>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
                  <a:moveTo>
                    <a:pt x="0" y="2"/>
                  </a:moveTo>
                  <a:lnTo>
                    <a:pt x="0" y="2"/>
                  </a:lnTo>
                  <a:lnTo>
                    <a:pt x="2" y="0"/>
                  </a:lnTo>
                  <a:lnTo>
                    <a:pt x="2" y="0"/>
                  </a:lnTo>
                  <a:lnTo>
                    <a:pt x="9" y="0"/>
                  </a:lnTo>
                  <a:lnTo>
                    <a:pt x="7" y="2"/>
                  </a:lnTo>
                  <a:lnTo>
                    <a:pt x="5" y="2"/>
                  </a:lnTo>
                  <a:lnTo>
                    <a:pt x="2"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1" name="Freeform 446">
              <a:extLst>
                <a:ext uri="{FF2B5EF4-FFF2-40B4-BE49-F238E27FC236}">
                  <a16:creationId xmlns:a16="http://schemas.microsoft.com/office/drawing/2014/main" id="{99607861-4DD3-4F5C-8A79-14CB97BB3BA1}"/>
                </a:ext>
              </a:extLst>
            </p:cNvPr>
            <p:cNvSpPr>
              <a:spLocks/>
            </p:cNvSpPr>
            <p:nvPr/>
          </p:nvSpPr>
          <p:spPr bwMode="auto">
            <a:xfrm>
              <a:off x="7367465" y="4480194"/>
              <a:ext cx="14890" cy="3309"/>
            </a:xfrm>
            <a:custGeom>
              <a:avLst/>
              <a:gdLst>
                <a:gd name="T0" fmla="*/ 0 w 9"/>
                <a:gd name="T1" fmla="*/ 2 h 2"/>
                <a:gd name="T2" fmla="*/ 0 w 9"/>
                <a:gd name="T3" fmla="*/ 2 h 2"/>
                <a:gd name="T4" fmla="*/ 2 w 9"/>
                <a:gd name="T5" fmla="*/ 0 h 2"/>
                <a:gd name="T6" fmla="*/ 2 w 9"/>
                <a:gd name="T7" fmla="*/ 0 h 2"/>
                <a:gd name="T8" fmla="*/ 9 w 9"/>
                <a:gd name="T9" fmla="*/ 0 h 2"/>
                <a:gd name="T10" fmla="*/ 7 w 9"/>
                <a:gd name="T11" fmla="*/ 2 h 2"/>
                <a:gd name="T12" fmla="*/ 5 w 9"/>
                <a:gd name="T13" fmla="*/ 2 h 2"/>
                <a:gd name="T14" fmla="*/ 2 w 9"/>
                <a:gd name="T15" fmla="*/ 2 h 2"/>
                <a:gd name="T16" fmla="*/ 0 w 9"/>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
                  <a:moveTo>
                    <a:pt x="0" y="2"/>
                  </a:moveTo>
                  <a:lnTo>
                    <a:pt x="0" y="2"/>
                  </a:lnTo>
                  <a:lnTo>
                    <a:pt x="2" y="0"/>
                  </a:lnTo>
                  <a:lnTo>
                    <a:pt x="2" y="0"/>
                  </a:lnTo>
                  <a:lnTo>
                    <a:pt x="9" y="0"/>
                  </a:lnTo>
                  <a:lnTo>
                    <a:pt x="7" y="2"/>
                  </a:lnTo>
                  <a:lnTo>
                    <a:pt x="5" y="2"/>
                  </a:lnTo>
                  <a:lnTo>
                    <a:pt x="2"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2" name="Freeform 447">
              <a:extLst>
                <a:ext uri="{FF2B5EF4-FFF2-40B4-BE49-F238E27FC236}">
                  <a16:creationId xmlns:a16="http://schemas.microsoft.com/office/drawing/2014/main" id="{8C68B223-5152-4FA0-B445-EFAFF6025EAD}"/>
                </a:ext>
              </a:extLst>
            </p:cNvPr>
            <p:cNvSpPr>
              <a:spLocks/>
            </p:cNvSpPr>
            <p:nvPr/>
          </p:nvSpPr>
          <p:spPr bwMode="auto">
            <a:xfrm>
              <a:off x="7336031" y="4503356"/>
              <a:ext cx="11582" cy="8273"/>
            </a:xfrm>
            <a:custGeom>
              <a:avLst/>
              <a:gdLst>
                <a:gd name="T0" fmla="*/ 0 w 7"/>
                <a:gd name="T1" fmla="*/ 5 h 5"/>
                <a:gd name="T2" fmla="*/ 0 w 7"/>
                <a:gd name="T3" fmla="*/ 2 h 5"/>
                <a:gd name="T4" fmla="*/ 3 w 7"/>
                <a:gd name="T5" fmla="*/ 0 h 5"/>
                <a:gd name="T6" fmla="*/ 3 w 7"/>
                <a:gd name="T7" fmla="*/ 0 h 5"/>
                <a:gd name="T8" fmla="*/ 5 w 7"/>
                <a:gd name="T9" fmla="*/ 0 h 5"/>
                <a:gd name="T10" fmla="*/ 7 w 7"/>
                <a:gd name="T11" fmla="*/ 0 h 5"/>
                <a:gd name="T12" fmla="*/ 7 w 7"/>
                <a:gd name="T13" fmla="*/ 0 h 5"/>
                <a:gd name="T14" fmla="*/ 3 w 7"/>
                <a:gd name="T15" fmla="*/ 2 h 5"/>
                <a:gd name="T16" fmla="*/ 0 w 7"/>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5"/>
                  </a:moveTo>
                  <a:lnTo>
                    <a:pt x="0" y="2"/>
                  </a:lnTo>
                  <a:lnTo>
                    <a:pt x="3" y="0"/>
                  </a:lnTo>
                  <a:lnTo>
                    <a:pt x="3" y="0"/>
                  </a:lnTo>
                  <a:lnTo>
                    <a:pt x="5" y="0"/>
                  </a:lnTo>
                  <a:lnTo>
                    <a:pt x="7" y="0"/>
                  </a:lnTo>
                  <a:lnTo>
                    <a:pt x="7" y="0"/>
                  </a:lnTo>
                  <a:lnTo>
                    <a:pt x="3" y="2"/>
                  </a:lnTo>
                  <a:lnTo>
                    <a:pt x="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3" name="Freeform 448">
              <a:extLst>
                <a:ext uri="{FF2B5EF4-FFF2-40B4-BE49-F238E27FC236}">
                  <a16:creationId xmlns:a16="http://schemas.microsoft.com/office/drawing/2014/main" id="{6374A86D-1E15-4C8F-8524-CF87FDFC9FF8}"/>
                </a:ext>
              </a:extLst>
            </p:cNvPr>
            <p:cNvSpPr>
              <a:spLocks/>
            </p:cNvSpPr>
            <p:nvPr/>
          </p:nvSpPr>
          <p:spPr bwMode="auto">
            <a:xfrm>
              <a:off x="7336031" y="4503356"/>
              <a:ext cx="11582" cy="8273"/>
            </a:xfrm>
            <a:custGeom>
              <a:avLst/>
              <a:gdLst>
                <a:gd name="T0" fmla="*/ 0 w 7"/>
                <a:gd name="T1" fmla="*/ 5 h 5"/>
                <a:gd name="T2" fmla="*/ 0 w 7"/>
                <a:gd name="T3" fmla="*/ 2 h 5"/>
                <a:gd name="T4" fmla="*/ 3 w 7"/>
                <a:gd name="T5" fmla="*/ 0 h 5"/>
                <a:gd name="T6" fmla="*/ 3 w 7"/>
                <a:gd name="T7" fmla="*/ 0 h 5"/>
                <a:gd name="T8" fmla="*/ 5 w 7"/>
                <a:gd name="T9" fmla="*/ 0 h 5"/>
                <a:gd name="T10" fmla="*/ 7 w 7"/>
                <a:gd name="T11" fmla="*/ 0 h 5"/>
                <a:gd name="T12" fmla="*/ 7 w 7"/>
                <a:gd name="T13" fmla="*/ 0 h 5"/>
                <a:gd name="T14" fmla="*/ 3 w 7"/>
                <a:gd name="T15" fmla="*/ 2 h 5"/>
                <a:gd name="T16" fmla="*/ 0 w 7"/>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5"/>
                  </a:moveTo>
                  <a:lnTo>
                    <a:pt x="0" y="2"/>
                  </a:lnTo>
                  <a:lnTo>
                    <a:pt x="3" y="0"/>
                  </a:lnTo>
                  <a:lnTo>
                    <a:pt x="3" y="0"/>
                  </a:lnTo>
                  <a:lnTo>
                    <a:pt x="5" y="0"/>
                  </a:lnTo>
                  <a:lnTo>
                    <a:pt x="7" y="0"/>
                  </a:lnTo>
                  <a:lnTo>
                    <a:pt x="7" y="0"/>
                  </a:lnTo>
                  <a:lnTo>
                    <a:pt x="3" y="2"/>
                  </a:lnTo>
                  <a:lnTo>
                    <a:pt x="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4" name="Freeform 459">
              <a:extLst>
                <a:ext uri="{FF2B5EF4-FFF2-40B4-BE49-F238E27FC236}">
                  <a16:creationId xmlns:a16="http://schemas.microsoft.com/office/drawing/2014/main" id="{2AA13111-39F4-426B-841A-5E60D3773145}"/>
                </a:ext>
              </a:extLst>
            </p:cNvPr>
            <p:cNvSpPr>
              <a:spLocks/>
            </p:cNvSpPr>
            <p:nvPr/>
          </p:nvSpPr>
          <p:spPr bwMode="auto">
            <a:xfrm>
              <a:off x="7762874" y="4432215"/>
              <a:ext cx="3309" cy="8273"/>
            </a:xfrm>
            <a:custGeom>
              <a:avLst/>
              <a:gdLst>
                <a:gd name="T0" fmla="*/ 2 w 2"/>
                <a:gd name="T1" fmla="*/ 0 h 5"/>
                <a:gd name="T2" fmla="*/ 2 w 2"/>
                <a:gd name="T3" fmla="*/ 0 h 5"/>
                <a:gd name="T4" fmla="*/ 2 w 2"/>
                <a:gd name="T5" fmla="*/ 3 h 5"/>
                <a:gd name="T6" fmla="*/ 2 w 2"/>
                <a:gd name="T7" fmla="*/ 5 h 5"/>
                <a:gd name="T8" fmla="*/ 0 w 2"/>
                <a:gd name="T9" fmla="*/ 5 h 5"/>
                <a:gd name="T10" fmla="*/ 0 w 2"/>
                <a:gd name="T11" fmla="*/ 3 h 5"/>
                <a:gd name="T12" fmla="*/ 0 w 2"/>
                <a:gd name="T13" fmla="*/ 0 h 5"/>
                <a:gd name="T14" fmla="*/ 0 w 2"/>
                <a:gd name="T15" fmla="*/ 0 h 5"/>
                <a:gd name="T16" fmla="*/ 2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0"/>
                  </a:moveTo>
                  <a:lnTo>
                    <a:pt x="2" y="0"/>
                  </a:lnTo>
                  <a:lnTo>
                    <a:pt x="2" y="3"/>
                  </a:lnTo>
                  <a:lnTo>
                    <a:pt x="2" y="5"/>
                  </a:lnTo>
                  <a:lnTo>
                    <a:pt x="0" y="5"/>
                  </a:lnTo>
                  <a:lnTo>
                    <a:pt x="0" y="3"/>
                  </a:lnTo>
                  <a:lnTo>
                    <a:pt x="0" y="0"/>
                  </a:lnTo>
                  <a:lnTo>
                    <a:pt x="0"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5" name="Freeform 460">
              <a:extLst>
                <a:ext uri="{FF2B5EF4-FFF2-40B4-BE49-F238E27FC236}">
                  <a16:creationId xmlns:a16="http://schemas.microsoft.com/office/drawing/2014/main" id="{19013B3B-4309-440C-9D05-1BCFE0ED9DB8}"/>
                </a:ext>
              </a:extLst>
            </p:cNvPr>
            <p:cNvSpPr>
              <a:spLocks/>
            </p:cNvSpPr>
            <p:nvPr/>
          </p:nvSpPr>
          <p:spPr bwMode="auto">
            <a:xfrm>
              <a:off x="7762874" y="4432215"/>
              <a:ext cx="3309" cy="8273"/>
            </a:xfrm>
            <a:custGeom>
              <a:avLst/>
              <a:gdLst>
                <a:gd name="T0" fmla="*/ 2 w 2"/>
                <a:gd name="T1" fmla="*/ 0 h 5"/>
                <a:gd name="T2" fmla="*/ 2 w 2"/>
                <a:gd name="T3" fmla="*/ 0 h 5"/>
                <a:gd name="T4" fmla="*/ 2 w 2"/>
                <a:gd name="T5" fmla="*/ 3 h 5"/>
                <a:gd name="T6" fmla="*/ 2 w 2"/>
                <a:gd name="T7" fmla="*/ 5 h 5"/>
                <a:gd name="T8" fmla="*/ 0 w 2"/>
                <a:gd name="T9" fmla="*/ 5 h 5"/>
                <a:gd name="T10" fmla="*/ 0 w 2"/>
                <a:gd name="T11" fmla="*/ 3 h 5"/>
                <a:gd name="T12" fmla="*/ 0 w 2"/>
                <a:gd name="T13" fmla="*/ 0 h 5"/>
                <a:gd name="T14" fmla="*/ 0 w 2"/>
                <a:gd name="T15" fmla="*/ 0 h 5"/>
                <a:gd name="T16" fmla="*/ 2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0"/>
                  </a:moveTo>
                  <a:lnTo>
                    <a:pt x="2" y="0"/>
                  </a:lnTo>
                  <a:lnTo>
                    <a:pt x="2" y="3"/>
                  </a:lnTo>
                  <a:lnTo>
                    <a:pt x="2" y="5"/>
                  </a:lnTo>
                  <a:lnTo>
                    <a:pt x="0" y="5"/>
                  </a:lnTo>
                  <a:lnTo>
                    <a:pt x="0" y="3"/>
                  </a:lnTo>
                  <a:lnTo>
                    <a:pt x="0" y="0"/>
                  </a:lnTo>
                  <a:lnTo>
                    <a:pt x="0"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6" name="Freeform 461">
              <a:extLst>
                <a:ext uri="{FF2B5EF4-FFF2-40B4-BE49-F238E27FC236}">
                  <a16:creationId xmlns:a16="http://schemas.microsoft.com/office/drawing/2014/main" id="{920EBCAE-A6D9-4DE5-A701-B89D5E697560}"/>
                </a:ext>
              </a:extLst>
            </p:cNvPr>
            <p:cNvSpPr>
              <a:spLocks/>
            </p:cNvSpPr>
            <p:nvPr/>
          </p:nvSpPr>
          <p:spPr bwMode="auto">
            <a:xfrm>
              <a:off x="7867103" y="43776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7" name="Freeform 462">
              <a:extLst>
                <a:ext uri="{FF2B5EF4-FFF2-40B4-BE49-F238E27FC236}">
                  <a16:creationId xmlns:a16="http://schemas.microsoft.com/office/drawing/2014/main" id="{F344840E-D341-4DD0-8430-8380457052A5}"/>
                </a:ext>
              </a:extLst>
            </p:cNvPr>
            <p:cNvSpPr>
              <a:spLocks/>
            </p:cNvSpPr>
            <p:nvPr/>
          </p:nvSpPr>
          <p:spPr bwMode="auto">
            <a:xfrm>
              <a:off x="7867103" y="437761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8" name="Freeform 463">
              <a:extLst>
                <a:ext uri="{FF2B5EF4-FFF2-40B4-BE49-F238E27FC236}">
                  <a16:creationId xmlns:a16="http://schemas.microsoft.com/office/drawing/2014/main" id="{438F370C-1A62-4613-BA16-520573456A79}"/>
                </a:ext>
              </a:extLst>
            </p:cNvPr>
            <p:cNvSpPr>
              <a:spLocks/>
            </p:cNvSpPr>
            <p:nvPr/>
          </p:nvSpPr>
          <p:spPr bwMode="auto">
            <a:xfrm>
              <a:off x="8340271" y="4792882"/>
              <a:ext cx="4964" cy="11582"/>
            </a:xfrm>
            <a:custGeom>
              <a:avLst/>
              <a:gdLst>
                <a:gd name="T0" fmla="*/ 0 w 3"/>
                <a:gd name="T1" fmla="*/ 2 h 7"/>
                <a:gd name="T2" fmla="*/ 3 w 3"/>
                <a:gd name="T3" fmla="*/ 0 h 7"/>
                <a:gd name="T4" fmla="*/ 3 w 3"/>
                <a:gd name="T5" fmla="*/ 2 h 7"/>
                <a:gd name="T6" fmla="*/ 3 w 3"/>
                <a:gd name="T7" fmla="*/ 7 h 7"/>
                <a:gd name="T8" fmla="*/ 0 w 3"/>
                <a:gd name="T9" fmla="*/ 4 h 7"/>
                <a:gd name="T10" fmla="*/ 0 w 3"/>
                <a:gd name="T11" fmla="*/ 2 h 7"/>
              </a:gdLst>
              <a:ahLst/>
              <a:cxnLst>
                <a:cxn ang="0">
                  <a:pos x="T0" y="T1"/>
                </a:cxn>
                <a:cxn ang="0">
                  <a:pos x="T2" y="T3"/>
                </a:cxn>
                <a:cxn ang="0">
                  <a:pos x="T4" y="T5"/>
                </a:cxn>
                <a:cxn ang="0">
                  <a:pos x="T6" y="T7"/>
                </a:cxn>
                <a:cxn ang="0">
                  <a:pos x="T8" y="T9"/>
                </a:cxn>
                <a:cxn ang="0">
                  <a:pos x="T10" y="T11"/>
                </a:cxn>
              </a:cxnLst>
              <a:rect l="0" t="0" r="r" b="b"/>
              <a:pathLst>
                <a:path w="3" h="7">
                  <a:moveTo>
                    <a:pt x="0" y="2"/>
                  </a:moveTo>
                  <a:lnTo>
                    <a:pt x="3" y="0"/>
                  </a:lnTo>
                  <a:lnTo>
                    <a:pt x="3" y="2"/>
                  </a:lnTo>
                  <a:lnTo>
                    <a:pt x="3" y="7"/>
                  </a:lnTo>
                  <a:lnTo>
                    <a:pt x="0" y="4"/>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29" name="Freeform 464">
              <a:extLst>
                <a:ext uri="{FF2B5EF4-FFF2-40B4-BE49-F238E27FC236}">
                  <a16:creationId xmlns:a16="http://schemas.microsoft.com/office/drawing/2014/main" id="{5EB26D60-BB50-49BD-9D3E-850C25472E26}"/>
                </a:ext>
              </a:extLst>
            </p:cNvPr>
            <p:cNvSpPr>
              <a:spLocks/>
            </p:cNvSpPr>
            <p:nvPr/>
          </p:nvSpPr>
          <p:spPr bwMode="auto">
            <a:xfrm>
              <a:off x="8340271" y="4792882"/>
              <a:ext cx="4964" cy="11582"/>
            </a:xfrm>
            <a:custGeom>
              <a:avLst/>
              <a:gdLst>
                <a:gd name="T0" fmla="*/ 0 w 3"/>
                <a:gd name="T1" fmla="*/ 2 h 7"/>
                <a:gd name="T2" fmla="*/ 3 w 3"/>
                <a:gd name="T3" fmla="*/ 0 h 7"/>
                <a:gd name="T4" fmla="*/ 3 w 3"/>
                <a:gd name="T5" fmla="*/ 2 h 7"/>
                <a:gd name="T6" fmla="*/ 3 w 3"/>
                <a:gd name="T7" fmla="*/ 7 h 7"/>
                <a:gd name="T8" fmla="*/ 0 w 3"/>
                <a:gd name="T9" fmla="*/ 4 h 7"/>
                <a:gd name="T10" fmla="*/ 0 w 3"/>
                <a:gd name="T11" fmla="*/ 2 h 7"/>
              </a:gdLst>
              <a:ahLst/>
              <a:cxnLst>
                <a:cxn ang="0">
                  <a:pos x="T0" y="T1"/>
                </a:cxn>
                <a:cxn ang="0">
                  <a:pos x="T2" y="T3"/>
                </a:cxn>
                <a:cxn ang="0">
                  <a:pos x="T4" y="T5"/>
                </a:cxn>
                <a:cxn ang="0">
                  <a:pos x="T6" y="T7"/>
                </a:cxn>
                <a:cxn ang="0">
                  <a:pos x="T8" y="T9"/>
                </a:cxn>
                <a:cxn ang="0">
                  <a:pos x="T10" y="T11"/>
                </a:cxn>
              </a:cxnLst>
              <a:rect l="0" t="0" r="r" b="b"/>
              <a:pathLst>
                <a:path w="3" h="7">
                  <a:moveTo>
                    <a:pt x="0" y="2"/>
                  </a:moveTo>
                  <a:lnTo>
                    <a:pt x="3" y="0"/>
                  </a:lnTo>
                  <a:lnTo>
                    <a:pt x="3" y="2"/>
                  </a:lnTo>
                  <a:lnTo>
                    <a:pt x="3" y="7"/>
                  </a:lnTo>
                  <a:lnTo>
                    <a:pt x="0" y="4"/>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0" name="Freeform 465">
              <a:extLst>
                <a:ext uri="{FF2B5EF4-FFF2-40B4-BE49-F238E27FC236}">
                  <a16:creationId xmlns:a16="http://schemas.microsoft.com/office/drawing/2014/main" id="{5A0EAC4A-F09E-4275-9BBD-F453CA0091CA}"/>
                </a:ext>
              </a:extLst>
            </p:cNvPr>
            <p:cNvSpPr>
              <a:spLocks/>
            </p:cNvSpPr>
            <p:nvPr/>
          </p:nvSpPr>
          <p:spPr bwMode="auto">
            <a:xfrm>
              <a:off x="8345234" y="4807771"/>
              <a:ext cx="38052" cy="39706"/>
            </a:xfrm>
            <a:custGeom>
              <a:avLst/>
              <a:gdLst>
                <a:gd name="T0" fmla="*/ 0 w 23"/>
                <a:gd name="T1" fmla="*/ 0 h 24"/>
                <a:gd name="T2" fmla="*/ 2 w 23"/>
                <a:gd name="T3" fmla="*/ 0 h 24"/>
                <a:gd name="T4" fmla="*/ 4 w 23"/>
                <a:gd name="T5" fmla="*/ 0 h 24"/>
                <a:gd name="T6" fmla="*/ 9 w 23"/>
                <a:gd name="T7" fmla="*/ 7 h 24"/>
                <a:gd name="T8" fmla="*/ 14 w 23"/>
                <a:gd name="T9" fmla="*/ 12 h 24"/>
                <a:gd name="T10" fmla="*/ 21 w 23"/>
                <a:gd name="T11" fmla="*/ 17 h 24"/>
                <a:gd name="T12" fmla="*/ 23 w 23"/>
                <a:gd name="T13" fmla="*/ 21 h 24"/>
                <a:gd name="T14" fmla="*/ 21 w 23"/>
                <a:gd name="T15" fmla="*/ 24 h 24"/>
                <a:gd name="T16" fmla="*/ 19 w 23"/>
                <a:gd name="T17" fmla="*/ 24 h 24"/>
                <a:gd name="T18" fmla="*/ 16 w 23"/>
                <a:gd name="T19" fmla="*/ 24 h 24"/>
                <a:gd name="T20" fmla="*/ 14 w 23"/>
                <a:gd name="T21" fmla="*/ 24 h 24"/>
                <a:gd name="T22" fmla="*/ 11 w 23"/>
                <a:gd name="T23" fmla="*/ 21 h 24"/>
                <a:gd name="T24" fmla="*/ 9 w 23"/>
                <a:gd name="T25" fmla="*/ 19 h 24"/>
                <a:gd name="T26" fmla="*/ 9 w 23"/>
                <a:gd name="T27" fmla="*/ 14 h 24"/>
                <a:gd name="T28" fmla="*/ 7 w 23"/>
                <a:gd name="T29" fmla="*/ 12 h 24"/>
                <a:gd name="T30" fmla="*/ 4 w 23"/>
                <a:gd name="T31" fmla="*/ 9 h 24"/>
                <a:gd name="T32" fmla="*/ 2 w 23"/>
                <a:gd name="T33" fmla="*/ 7 h 24"/>
                <a:gd name="T34" fmla="*/ 0 w 23"/>
                <a:gd name="T35" fmla="*/ 2 h 24"/>
                <a:gd name="T36" fmla="*/ 0 w 23"/>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4">
                  <a:moveTo>
                    <a:pt x="0" y="0"/>
                  </a:moveTo>
                  <a:lnTo>
                    <a:pt x="2" y="0"/>
                  </a:lnTo>
                  <a:lnTo>
                    <a:pt x="4" y="0"/>
                  </a:lnTo>
                  <a:lnTo>
                    <a:pt x="9" y="7"/>
                  </a:lnTo>
                  <a:lnTo>
                    <a:pt x="14" y="12"/>
                  </a:lnTo>
                  <a:lnTo>
                    <a:pt x="21" y="17"/>
                  </a:lnTo>
                  <a:lnTo>
                    <a:pt x="23" y="21"/>
                  </a:lnTo>
                  <a:lnTo>
                    <a:pt x="21" y="24"/>
                  </a:lnTo>
                  <a:lnTo>
                    <a:pt x="19" y="24"/>
                  </a:lnTo>
                  <a:lnTo>
                    <a:pt x="16" y="24"/>
                  </a:lnTo>
                  <a:lnTo>
                    <a:pt x="14" y="24"/>
                  </a:lnTo>
                  <a:lnTo>
                    <a:pt x="11" y="21"/>
                  </a:lnTo>
                  <a:lnTo>
                    <a:pt x="9" y="19"/>
                  </a:lnTo>
                  <a:lnTo>
                    <a:pt x="9" y="14"/>
                  </a:lnTo>
                  <a:lnTo>
                    <a:pt x="7" y="12"/>
                  </a:lnTo>
                  <a:lnTo>
                    <a:pt x="4" y="9"/>
                  </a:lnTo>
                  <a:lnTo>
                    <a:pt x="2" y="7"/>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1" name="Freeform 466">
              <a:extLst>
                <a:ext uri="{FF2B5EF4-FFF2-40B4-BE49-F238E27FC236}">
                  <a16:creationId xmlns:a16="http://schemas.microsoft.com/office/drawing/2014/main" id="{DC6AC452-C943-4F3D-86EE-D9C2977E8119}"/>
                </a:ext>
              </a:extLst>
            </p:cNvPr>
            <p:cNvSpPr>
              <a:spLocks/>
            </p:cNvSpPr>
            <p:nvPr/>
          </p:nvSpPr>
          <p:spPr bwMode="auto">
            <a:xfrm>
              <a:off x="8345234" y="4807771"/>
              <a:ext cx="38052" cy="39706"/>
            </a:xfrm>
            <a:custGeom>
              <a:avLst/>
              <a:gdLst>
                <a:gd name="T0" fmla="*/ 0 w 23"/>
                <a:gd name="T1" fmla="*/ 0 h 24"/>
                <a:gd name="T2" fmla="*/ 2 w 23"/>
                <a:gd name="T3" fmla="*/ 0 h 24"/>
                <a:gd name="T4" fmla="*/ 4 w 23"/>
                <a:gd name="T5" fmla="*/ 0 h 24"/>
                <a:gd name="T6" fmla="*/ 9 w 23"/>
                <a:gd name="T7" fmla="*/ 7 h 24"/>
                <a:gd name="T8" fmla="*/ 14 w 23"/>
                <a:gd name="T9" fmla="*/ 12 h 24"/>
                <a:gd name="T10" fmla="*/ 21 w 23"/>
                <a:gd name="T11" fmla="*/ 17 h 24"/>
                <a:gd name="T12" fmla="*/ 23 w 23"/>
                <a:gd name="T13" fmla="*/ 21 h 24"/>
                <a:gd name="T14" fmla="*/ 21 w 23"/>
                <a:gd name="T15" fmla="*/ 24 h 24"/>
                <a:gd name="T16" fmla="*/ 19 w 23"/>
                <a:gd name="T17" fmla="*/ 24 h 24"/>
                <a:gd name="T18" fmla="*/ 16 w 23"/>
                <a:gd name="T19" fmla="*/ 24 h 24"/>
                <a:gd name="T20" fmla="*/ 14 w 23"/>
                <a:gd name="T21" fmla="*/ 24 h 24"/>
                <a:gd name="T22" fmla="*/ 11 w 23"/>
                <a:gd name="T23" fmla="*/ 21 h 24"/>
                <a:gd name="T24" fmla="*/ 9 w 23"/>
                <a:gd name="T25" fmla="*/ 19 h 24"/>
                <a:gd name="T26" fmla="*/ 9 w 23"/>
                <a:gd name="T27" fmla="*/ 14 h 24"/>
                <a:gd name="T28" fmla="*/ 7 w 23"/>
                <a:gd name="T29" fmla="*/ 12 h 24"/>
                <a:gd name="T30" fmla="*/ 4 w 23"/>
                <a:gd name="T31" fmla="*/ 9 h 24"/>
                <a:gd name="T32" fmla="*/ 2 w 23"/>
                <a:gd name="T33" fmla="*/ 7 h 24"/>
                <a:gd name="T34" fmla="*/ 0 w 23"/>
                <a:gd name="T35" fmla="*/ 2 h 24"/>
                <a:gd name="T36" fmla="*/ 0 w 23"/>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4">
                  <a:moveTo>
                    <a:pt x="0" y="0"/>
                  </a:moveTo>
                  <a:lnTo>
                    <a:pt x="2" y="0"/>
                  </a:lnTo>
                  <a:lnTo>
                    <a:pt x="4" y="0"/>
                  </a:lnTo>
                  <a:lnTo>
                    <a:pt x="9" y="7"/>
                  </a:lnTo>
                  <a:lnTo>
                    <a:pt x="14" y="12"/>
                  </a:lnTo>
                  <a:lnTo>
                    <a:pt x="21" y="17"/>
                  </a:lnTo>
                  <a:lnTo>
                    <a:pt x="23" y="21"/>
                  </a:lnTo>
                  <a:lnTo>
                    <a:pt x="21" y="24"/>
                  </a:lnTo>
                  <a:lnTo>
                    <a:pt x="19" y="24"/>
                  </a:lnTo>
                  <a:lnTo>
                    <a:pt x="16" y="24"/>
                  </a:lnTo>
                  <a:lnTo>
                    <a:pt x="14" y="24"/>
                  </a:lnTo>
                  <a:lnTo>
                    <a:pt x="11" y="21"/>
                  </a:lnTo>
                  <a:lnTo>
                    <a:pt x="9" y="19"/>
                  </a:lnTo>
                  <a:lnTo>
                    <a:pt x="9" y="14"/>
                  </a:lnTo>
                  <a:lnTo>
                    <a:pt x="7" y="12"/>
                  </a:lnTo>
                  <a:lnTo>
                    <a:pt x="4" y="9"/>
                  </a:lnTo>
                  <a:lnTo>
                    <a:pt x="2" y="7"/>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2" name="Freeform 467">
              <a:extLst>
                <a:ext uri="{FF2B5EF4-FFF2-40B4-BE49-F238E27FC236}">
                  <a16:creationId xmlns:a16="http://schemas.microsoft.com/office/drawing/2014/main" id="{3FBD1C69-E80F-49AA-BEEB-06BAF3DF2E8C}"/>
                </a:ext>
              </a:extLst>
            </p:cNvPr>
            <p:cNvSpPr>
              <a:spLocks/>
            </p:cNvSpPr>
            <p:nvPr/>
          </p:nvSpPr>
          <p:spPr bwMode="auto">
            <a:xfrm>
              <a:off x="8394868" y="4839206"/>
              <a:ext cx="31435" cy="23161"/>
            </a:xfrm>
            <a:custGeom>
              <a:avLst/>
              <a:gdLst>
                <a:gd name="T0" fmla="*/ 0 w 19"/>
                <a:gd name="T1" fmla="*/ 2 h 14"/>
                <a:gd name="T2" fmla="*/ 3 w 19"/>
                <a:gd name="T3" fmla="*/ 0 h 14"/>
                <a:gd name="T4" fmla="*/ 5 w 19"/>
                <a:gd name="T5" fmla="*/ 2 h 14"/>
                <a:gd name="T6" fmla="*/ 7 w 19"/>
                <a:gd name="T7" fmla="*/ 5 h 14"/>
                <a:gd name="T8" fmla="*/ 10 w 19"/>
                <a:gd name="T9" fmla="*/ 5 h 14"/>
                <a:gd name="T10" fmla="*/ 10 w 19"/>
                <a:gd name="T11" fmla="*/ 7 h 14"/>
                <a:gd name="T12" fmla="*/ 12 w 19"/>
                <a:gd name="T13" fmla="*/ 7 h 14"/>
                <a:gd name="T14" fmla="*/ 14 w 19"/>
                <a:gd name="T15" fmla="*/ 9 h 14"/>
                <a:gd name="T16" fmla="*/ 17 w 19"/>
                <a:gd name="T17" fmla="*/ 12 h 14"/>
                <a:gd name="T18" fmla="*/ 19 w 19"/>
                <a:gd name="T19" fmla="*/ 12 h 14"/>
                <a:gd name="T20" fmla="*/ 19 w 19"/>
                <a:gd name="T21" fmla="*/ 14 h 14"/>
                <a:gd name="T22" fmla="*/ 17 w 19"/>
                <a:gd name="T23" fmla="*/ 14 h 14"/>
                <a:gd name="T24" fmla="*/ 12 w 19"/>
                <a:gd name="T25" fmla="*/ 12 h 14"/>
                <a:gd name="T26" fmla="*/ 10 w 19"/>
                <a:gd name="T27" fmla="*/ 12 h 14"/>
                <a:gd name="T28" fmla="*/ 5 w 19"/>
                <a:gd name="T29" fmla="*/ 7 h 14"/>
                <a:gd name="T30" fmla="*/ 0 w 19"/>
                <a:gd name="T3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4">
                  <a:moveTo>
                    <a:pt x="0" y="2"/>
                  </a:moveTo>
                  <a:lnTo>
                    <a:pt x="3" y="0"/>
                  </a:lnTo>
                  <a:lnTo>
                    <a:pt x="5" y="2"/>
                  </a:lnTo>
                  <a:lnTo>
                    <a:pt x="7" y="5"/>
                  </a:lnTo>
                  <a:lnTo>
                    <a:pt x="10" y="5"/>
                  </a:lnTo>
                  <a:lnTo>
                    <a:pt x="10" y="7"/>
                  </a:lnTo>
                  <a:lnTo>
                    <a:pt x="12" y="7"/>
                  </a:lnTo>
                  <a:lnTo>
                    <a:pt x="14" y="9"/>
                  </a:lnTo>
                  <a:lnTo>
                    <a:pt x="17" y="12"/>
                  </a:lnTo>
                  <a:lnTo>
                    <a:pt x="19" y="12"/>
                  </a:lnTo>
                  <a:lnTo>
                    <a:pt x="19" y="14"/>
                  </a:lnTo>
                  <a:lnTo>
                    <a:pt x="17" y="14"/>
                  </a:lnTo>
                  <a:lnTo>
                    <a:pt x="12" y="12"/>
                  </a:lnTo>
                  <a:lnTo>
                    <a:pt x="10" y="12"/>
                  </a:lnTo>
                  <a:lnTo>
                    <a:pt x="5" y="7"/>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3" name="Freeform 468">
              <a:extLst>
                <a:ext uri="{FF2B5EF4-FFF2-40B4-BE49-F238E27FC236}">
                  <a16:creationId xmlns:a16="http://schemas.microsoft.com/office/drawing/2014/main" id="{B094F868-4D9A-4043-B9E2-1A60F754C2A0}"/>
                </a:ext>
              </a:extLst>
            </p:cNvPr>
            <p:cNvSpPr>
              <a:spLocks/>
            </p:cNvSpPr>
            <p:nvPr/>
          </p:nvSpPr>
          <p:spPr bwMode="auto">
            <a:xfrm>
              <a:off x="8394868" y="4839206"/>
              <a:ext cx="31435" cy="23161"/>
            </a:xfrm>
            <a:custGeom>
              <a:avLst/>
              <a:gdLst>
                <a:gd name="T0" fmla="*/ 0 w 19"/>
                <a:gd name="T1" fmla="*/ 2 h 14"/>
                <a:gd name="T2" fmla="*/ 3 w 19"/>
                <a:gd name="T3" fmla="*/ 0 h 14"/>
                <a:gd name="T4" fmla="*/ 5 w 19"/>
                <a:gd name="T5" fmla="*/ 2 h 14"/>
                <a:gd name="T6" fmla="*/ 7 w 19"/>
                <a:gd name="T7" fmla="*/ 5 h 14"/>
                <a:gd name="T8" fmla="*/ 10 w 19"/>
                <a:gd name="T9" fmla="*/ 5 h 14"/>
                <a:gd name="T10" fmla="*/ 10 w 19"/>
                <a:gd name="T11" fmla="*/ 7 h 14"/>
                <a:gd name="T12" fmla="*/ 12 w 19"/>
                <a:gd name="T13" fmla="*/ 7 h 14"/>
                <a:gd name="T14" fmla="*/ 14 w 19"/>
                <a:gd name="T15" fmla="*/ 9 h 14"/>
                <a:gd name="T16" fmla="*/ 17 w 19"/>
                <a:gd name="T17" fmla="*/ 12 h 14"/>
                <a:gd name="T18" fmla="*/ 19 w 19"/>
                <a:gd name="T19" fmla="*/ 12 h 14"/>
                <a:gd name="T20" fmla="*/ 19 w 19"/>
                <a:gd name="T21" fmla="*/ 14 h 14"/>
                <a:gd name="T22" fmla="*/ 17 w 19"/>
                <a:gd name="T23" fmla="*/ 14 h 14"/>
                <a:gd name="T24" fmla="*/ 12 w 19"/>
                <a:gd name="T25" fmla="*/ 12 h 14"/>
                <a:gd name="T26" fmla="*/ 10 w 19"/>
                <a:gd name="T27" fmla="*/ 12 h 14"/>
                <a:gd name="T28" fmla="*/ 5 w 19"/>
                <a:gd name="T29" fmla="*/ 7 h 14"/>
                <a:gd name="T30" fmla="*/ 0 w 19"/>
                <a:gd name="T3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4">
                  <a:moveTo>
                    <a:pt x="0" y="2"/>
                  </a:moveTo>
                  <a:lnTo>
                    <a:pt x="3" y="0"/>
                  </a:lnTo>
                  <a:lnTo>
                    <a:pt x="5" y="2"/>
                  </a:lnTo>
                  <a:lnTo>
                    <a:pt x="7" y="5"/>
                  </a:lnTo>
                  <a:lnTo>
                    <a:pt x="10" y="5"/>
                  </a:lnTo>
                  <a:lnTo>
                    <a:pt x="10" y="7"/>
                  </a:lnTo>
                  <a:lnTo>
                    <a:pt x="12" y="7"/>
                  </a:lnTo>
                  <a:lnTo>
                    <a:pt x="14" y="9"/>
                  </a:lnTo>
                  <a:lnTo>
                    <a:pt x="17" y="12"/>
                  </a:lnTo>
                  <a:lnTo>
                    <a:pt x="19" y="12"/>
                  </a:lnTo>
                  <a:lnTo>
                    <a:pt x="19" y="14"/>
                  </a:lnTo>
                  <a:lnTo>
                    <a:pt x="17" y="14"/>
                  </a:lnTo>
                  <a:lnTo>
                    <a:pt x="12" y="12"/>
                  </a:lnTo>
                  <a:lnTo>
                    <a:pt x="10" y="12"/>
                  </a:lnTo>
                  <a:lnTo>
                    <a:pt x="5" y="7"/>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4" name="Freeform 469">
              <a:extLst>
                <a:ext uri="{FF2B5EF4-FFF2-40B4-BE49-F238E27FC236}">
                  <a16:creationId xmlns:a16="http://schemas.microsoft.com/office/drawing/2014/main" id="{BB3DB4CA-92A5-43A7-ADA8-AE3018868075}"/>
                </a:ext>
              </a:extLst>
            </p:cNvPr>
            <p:cNvSpPr>
              <a:spLocks/>
            </p:cNvSpPr>
            <p:nvPr/>
          </p:nvSpPr>
          <p:spPr bwMode="auto">
            <a:xfrm>
              <a:off x="8399830" y="4865677"/>
              <a:ext cx="3309" cy="13236"/>
            </a:xfrm>
            <a:custGeom>
              <a:avLst/>
              <a:gdLst>
                <a:gd name="T0" fmla="*/ 0 w 2"/>
                <a:gd name="T1" fmla="*/ 0 h 8"/>
                <a:gd name="T2" fmla="*/ 2 w 2"/>
                <a:gd name="T3" fmla="*/ 3 h 8"/>
                <a:gd name="T4" fmla="*/ 2 w 2"/>
                <a:gd name="T5" fmla="*/ 3 h 8"/>
                <a:gd name="T6" fmla="*/ 2 w 2"/>
                <a:gd name="T7" fmla="*/ 5 h 8"/>
                <a:gd name="T8" fmla="*/ 2 w 2"/>
                <a:gd name="T9" fmla="*/ 8 h 8"/>
                <a:gd name="T10" fmla="*/ 0 w 2"/>
                <a:gd name="T11" fmla="*/ 5 h 8"/>
                <a:gd name="T12" fmla="*/ 0 w 2"/>
                <a:gd name="T13" fmla="*/ 3 h 8"/>
                <a:gd name="T14" fmla="*/ 0 w 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0" y="0"/>
                  </a:moveTo>
                  <a:lnTo>
                    <a:pt x="2" y="3"/>
                  </a:lnTo>
                  <a:lnTo>
                    <a:pt x="2" y="3"/>
                  </a:lnTo>
                  <a:lnTo>
                    <a:pt x="2" y="5"/>
                  </a:lnTo>
                  <a:lnTo>
                    <a:pt x="2" y="8"/>
                  </a:lnTo>
                  <a:lnTo>
                    <a:pt x="0" y="5"/>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5" name="Freeform 470">
              <a:extLst>
                <a:ext uri="{FF2B5EF4-FFF2-40B4-BE49-F238E27FC236}">
                  <a16:creationId xmlns:a16="http://schemas.microsoft.com/office/drawing/2014/main" id="{8FAB4A62-AC20-4515-89A7-7E8099353F91}"/>
                </a:ext>
              </a:extLst>
            </p:cNvPr>
            <p:cNvSpPr>
              <a:spLocks/>
            </p:cNvSpPr>
            <p:nvPr/>
          </p:nvSpPr>
          <p:spPr bwMode="auto">
            <a:xfrm>
              <a:off x="8399830" y="4865677"/>
              <a:ext cx="3309" cy="13236"/>
            </a:xfrm>
            <a:custGeom>
              <a:avLst/>
              <a:gdLst>
                <a:gd name="T0" fmla="*/ 0 w 2"/>
                <a:gd name="T1" fmla="*/ 0 h 8"/>
                <a:gd name="T2" fmla="*/ 2 w 2"/>
                <a:gd name="T3" fmla="*/ 3 h 8"/>
                <a:gd name="T4" fmla="*/ 2 w 2"/>
                <a:gd name="T5" fmla="*/ 3 h 8"/>
                <a:gd name="T6" fmla="*/ 2 w 2"/>
                <a:gd name="T7" fmla="*/ 5 h 8"/>
                <a:gd name="T8" fmla="*/ 2 w 2"/>
                <a:gd name="T9" fmla="*/ 8 h 8"/>
                <a:gd name="T10" fmla="*/ 0 w 2"/>
                <a:gd name="T11" fmla="*/ 5 h 8"/>
                <a:gd name="T12" fmla="*/ 0 w 2"/>
                <a:gd name="T13" fmla="*/ 3 h 8"/>
                <a:gd name="T14" fmla="*/ 0 w 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0" y="0"/>
                  </a:moveTo>
                  <a:lnTo>
                    <a:pt x="2" y="3"/>
                  </a:lnTo>
                  <a:lnTo>
                    <a:pt x="2" y="3"/>
                  </a:lnTo>
                  <a:lnTo>
                    <a:pt x="2" y="5"/>
                  </a:lnTo>
                  <a:lnTo>
                    <a:pt x="2" y="8"/>
                  </a:lnTo>
                  <a:lnTo>
                    <a:pt x="0" y="5"/>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6" name="Freeform 471">
              <a:extLst>
                <a:ext uri="{FF2B5EF4-FFF2-40B4-BE49-F238E27FC236}">
                  <a16:creationId xmlns:a16="http://schemas.microsoft.com/office/drawing/2014/main" id="{D128EC7C-F24C-4283-BF2B-3FA98F8B05D5}"/>
                </a:ext>
              </a:extLst>
            </p:cNvPr>
            <p:cNvSpPr>
              <a:spLocks/>
            </p:cNvSpPr>
            <p:nvPr/>
          </p:nvSpPr>
          <p:spPr bwMode="auto">
            <a:xfrm>
              <a:off x="8411412" y="4873949"/>
              <a:ext cx="3309" cy="11582"/>
            </a:xfrm>
            <a:custGeom>
              <a:avLst/>
              <a:gdLst>
                <a:gd name="T0" fmla="*/ 2 w 2"/>
                <a:gd name="T1" fmla="*/ 3 h 7"/>
                <a:gd name="T2" fmla="*/ 2 w 2"/>
                <a:gd name="T3" fmla="*/ 3 h 7"/>
                <a:gd name="T4" fmla="*/ 2 w 2"/>
                <a:gd name="T5" fmla="*/ 5 h 7"/>
                <a:gd name="T6" fmla="*/ 2 w 2"/>
                <a:gd name="T7" fmla="*/ 7 h 7"/>
                <a:gd name="T8" fmla="*/ 0 w 2"/>
                <a:gd name="T9" fmla="*/ 5 h 7"/>
                <a:gd name="T10" fmla="*/ 0 w 2"/>
                <a:gd name="T11" fmla="*/ 0 h 7"/>
                <a:gd name="T12" fmla="*/ 2 w 2"/>
                <a:gd name="T13" fmla="*/ 3 h 7"/>
                <a:gd name="T14" fmla="*/ 2 w 2"/>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3"/>
                  </a:moveTo>
                  <a:lnTo>
                    <a:pt x="2" y="3"/>
                  </a:lnTo>
                  <a:lnTo>
                    <a:pt x="2" y="5"/>
                  </a:lnTo>
                  <a:lnTo>
                    <a:pt x="2" y="7"/>
                  </a:lnTo>
                  <a:lnTo>
                    <a:pt x="0" y="5"/>
                  </a:lnTo>
                  <a:lnTo>
                    <a:pt x="0" y="0"/>
                  </a:lnTo>
                  <a:lnTo>
                    <a:pt x="2" y="3"/>
                  </a:lnTo>
                  <a:lnTo>
                    <a:pt x="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7" name="Freeform 472">
              <a:extLst>
                <a:ext uri="{FF2B5EF4-FFF2-40B4-BE49-F238E27FC236}">
                  <a16:creationId xmlns:a16="http://schemas.microsoft.com/office/drawing/2014/main" id="{27F3324B-3AAB-42E7-969B-3C00B0205C85}"/>
                </a:ext>
              </a:extLst>
            </p:cNvPr>
            <p:cNvSpPr>
              <a:spLocks/>
            </p:cNvSpPr>
            <p:nvPr/>
          </p:nvSpPr>
          <p:spPr bwMode="auto">
            <a:xfrm>
              <a:off x="8411412" y="4873949"/>
              <a:ext cx="3309" cy="11582"/>
            </a:xfrm>
            <a:custGeom>
              <a:avLst/>
              <a:gdLst>
                <a:gd name="T0" fmla="*/ 2 w 2"/>
                <a:gd name="T1" fmla="*/ 3 h 7"/>
                <a:gd name="T2" fmla="*/ 2 w 2"/>
                <a:gd name="T3" fmla="*/ 3 h 7"/>
                <a:gd name="T4" fmla="*/ 2 w 2"/>
                <a:gd name="T5" fmla="*/ 5 h 7"/>
                <a:gd name="T6" fmla="*/ 2 w 2"/>
                <a:gd name="T7" fmla="*/ 7 h 7"/>
                <a:gd name="T8" fmla="*/ 0 w 2"/>
                <a:gd name="T9" fmla="*/ 5 h 7"/>
                <a:gd name="T10" fmla="*/ 0 w 2"/>
                <a:gd name="T11" fmla="*/ 0 h 7"/>
                <a:gd name="T12" fmla="*/ 2 w 2"/>
                <a:gd name="T13" fmla="*/ 3 h 7"/>
                <a:gd name="T14" fmla="*/ 2 w 2"/>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3"/>
                  </a:moveTo>
                  <a:lnTo>
                    <a:pt x="2" y="3"/>
                  </a:lnTo>
                  <a:lnTo>
                    <a:pt x="2" y="5"/>
                  </a:lnTo>
                  <a:lnTo>
                    <a:pt x="2" y="7"/>
                  </a:lnTo>
                  <a:lnTo>
                    <a:pt x="0" y="5"/>
                  </a:lnTo>
                  <a:lnTo>
                    <a:pt x="0" y="0"/>
                  </a:lnTo>
                  <a:lnTo>
                    <a:pt x="2" y="3"/>
                  </a:lnTo>
                  <a:lnTo>
                    <a:pt x="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8" name="Freeform 473">
              <a:extLst>
                <a:ext uri="{FF2B5EF4-FFF2-40B4-BE49-F238E27FC236}">
                  <a16:creationId xmlns:a16="http://schemas.microsoft.com/office/drawing/2014/main" id="{A5AF71B2-53AA-4380-B460-1A2EE1B2AB67}"/>
                </a:ext>
              </a:extLst>
            </p:cNvPr>
            <p:cNvSpPr>
              <a:spLocks/>
            </p:cNvSpPr>
            <p:nvPr/>
          </p:nvSpPr>
          <p:spPr bwMode="auto">
            <a:xfrm>
              <a:off x="8418029" y="4882221"/>
              <a:ext cx="16545" cy="14890"/>
            </a:xfrm>
            <a:custGeom>
              <a:avLst/>
              <a:gdLst>
                <a:gd name="T0" fmla="*/ 0 w 10"/>
                <a:gd name="T1" fmla="*/ 2 h 9"/>
                <a:gd name="T2" fmla="*/ 0 w 10"/>
                <a:gd name="T3" fmla="*/ 2 h 9"/>
                <a:gd name="T4" fmla="*/ 0 w 10"/>
                <a:gd name="T5" fmla="*/ 0 h 9"/>
                <a:gd name="T6" fmla="*/ 3 w 10"/>
                <a:gd name="T7" fmla="*/ 0 h 9"/>
                <a:gd name="T8" fmla="*/ 5 w 10"/>
                <a:gd name="T9" fmla="*/ 0 h 9"/>
                <a:gd name="T10" fmla="*/ 8 w 10"/>
                <a:gd name="T11" fmla="*/ 2 h 9"/>
                <a:gd name="T12" fmla="*/ 10 w 10"/>
                <a:gd name="T13" fmla="*/ 5 h 9"/>
                <a:gd name="T14" fmla="*/ 10 w 10"/>
                <a:gd name="T15" fmla="*/ 9 h 9"/>
                <a:gd name="T16" fmla="*/ 10 w 10"/>
                <a:gd name="T17" fmla="*/ 9 h 9"/>
                <a:gd name="T18" fmla="*/ 5 w 10"/>
                <a:gd name="T19" fmla="*/ 5 h 9"/>
                <a:gd name="T20" fmla="*/ 3 w 10"/>
                <a:gd name="T21" fmla="*/ 5 h 9"/>
                <a:gd name="T22" fmla="*/ 0 w 10"/>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0" y="2"/>
                  </a:moveTo>
                  <a:lnTo>
                    <a:pt x="0" y="2"/>
                  </a:lnTo>
                  <a:lnTo>
                    <a:pt x="0" y="0"/>
                  </a:lnTo>
                  <a:lnTo>
                    <a:pt x="3" y="0"/>
                  </a:lnTo>
                  <a:lnTo>
                    <a:pt x="5" y="0"/>
                  </a:lnTo>
                  <a:lnTo>
                    <a:pt x="8" y="2"/>
                  </a:lnTo>
                  <a:lnTo>
                    <a:pt x="10" y="5"/>
                  </a:lnTo>
                  <a:lnTo>
                    <a:pt x="10" y="9"/>
                  </a:lnTo>
                  <a:lnTo>
                    <a:pt x="10" y="9"/>
                  </a:lnTo>
                  <a:lnTo>
                    <a:pt x="5" y="5"/>
                  </a:lnTo>
                  <a:lnTo>
                    <a:pt x="3" y="5"/>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39" name="Freeform 474">
              <a:extLst>
                <a:ext uri="{FF2B5EF4-FFF2-40B4-BE49-F238E27FC236}">
                  <a16:creationId xmlns:a16="http://schemas.microsoft.com/office/drawing/2014/main" id="{D5202BCD-A7BD-45CF-820C-1301400C6876}"/>
                </a:ext>
              </a:extLst>
            </p:cNvPr>
            <p:cNvSpPr>
              <a:spLocks/>
            </p:cNvSpPr>
            <p:nvPr/>
          </p:nvSpPr>
          <p:spPr bwMode="auto">
            <a:xfrm>
              <a:off x="8418029" y="4882221"/>
              <a:ext cx="16545" cy="14890"/>
            </a:xfrm>
            <a:custGeom>
              <a:avLst/>
              <a:gdLst>
                <a:gd name="T0" fmla="*/ 0 w 10"/>
                <a:gd name="T1" fmla="*/ 2 h 9"/>
                <a:gd name="T2" fmla="*/ 0 w 10"/>
                <a:gd name="T3" fmla="*/ 2 h 9"/>
                <a:gd name="T4" fmla="*/ 0 w 10"/>
                <a:gd name="T5" fmla="*/ 0 h 9"/>
                <a:gd name="T6" fmla="*/ 3 w 10"/>
                <a:gd name="T7" fmla="*/ 0 h 9"/>
                <a:gd name="T8" fmla="*/ 5 w 10"/>
                <a:gd name="T9" fmla="*/ 0 h 9"/>
                <a:gd name="T10" fmla="*/ 8 w 10"/>
                <a:gd name="T11" fmla="*/ 2 h 9"/>
                <a:gd name="T12" fmla="*/ 10 w 10"/>
                <a:gd name="T13" fmla="*/ 5 h 9"/>
                <a:gd name="T14" fmla="*/ 10 w 10"/>
                <a:gd name="T15" fmla="*/ 9 h 9"/>
                <a:gd name="T16" fmla="*/ 10 w 10"/>
                <a:gd name="T17" fmla="*/ 9 h 9"/>
                <a:gd name="T18" fmla="*/ 5 w 10"/>
                <a:gd name="T19" fmla="*/ 5 h 9"/>
                <a:gd name="T20" fmla="*/ 3 w 10"/>
                <a:gd name="T21" fmla="*/ 5 h 9"/>
                <a:gd name="T22" fmla="*/ 0 w 10"/>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0" y="2"/>
                  </a:moveTo>
                  <a:lnTo>
                    <a:pt x="0" y="2"/>
                  </a:lnTo>
                  <a:lnTo>
                    <a:pt x="0" y="0"/>
                  </a:lnTo>
                  <a:lnTo>
                    <a:pt x="3" y="0"/>
                  </a:lnTo>
                  <a:lnTo>
                    <a:pt x="5" y="0"/>
                  </a:lnTo>
                  <a:lnTo>
                    <a:pt x="8" y="2"/>
                  </a:lnTo>
                  <a:lnTo>
                    <a:pt x="10" y="5"/>
                  </a:lnTo>
                  <a:lnTo>
                    <a:pt x="10" y="9"/>
                  </a:lnTo>
                  <a:lnTo>
                    <a:pt x="10" y="9"/>
                  </a:lnTo>
                  <a:lnTo>
                    <a:pt x="5" y="5"/>
                  </a:lnTo>
                  <a:lnTo>
                    <a:pt x="3" y="5"/>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0" name="Freeform 475">
              <a:extLst>
                <a:ext uri="{FF2B5EF4-FFF2-40B4-BE49-F238E27FC236}">
                  <a16:creationId xmlns:a16="http://schemas.microsoft.com/office/drawing/2014/main" id="{628AD6A5-CCBC-4AD9-A991-1C604BF64EB7}"/>
                </a:ext>
              </a:extLst>
            </p:cNvPr>
            <p:cNvSpPr>
              <a:spLocks/>
            </p:cNvSpPr>
            <p:nvPr/>
          </p:nvSpPr>
          <p:spPr bwMode="auto">
            <a:xfrm>
              <a:off x="8418029" y="4893801"/>
              <a:ext cx="4964" cy="8273"/>
            </a:xfrm>
            <a:custGeom>
              <a:avLst/>
              <a:gdLst>
                <a:gd name="T0" fmla="*/ 0 w 3"/>
                <a:gd name="T1" fmla="*/ 2 h 5"/>
                <a:gd name="T2" fmla="*/ 0 w 3"/>
                <a:gd name="T3" fmla="*/ 2 h 5"/>
                <a:gd name="T4" fmla="*/ 0 w 3"/>
                <a:gd name="T5" fmla="*/ 0 h 5"/>
                <a:gd name="T6" fmla="*/ 3 w 3"/>
                <a:gd name="T7" fmla="*/ 0 h 5"/>
                <a:gd name="T8" fmla="*/ 3 w 3"/>
                <a:gd name="T9" fmla="*/ 2 h 5"/>
                <a:gd name="T10" fmla="*/ 3 w 3"/>
                <a:gd name="T11" fmla="*/ 5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lnTo>
                    <a:pt x="0" y="2"/>
                  </a:lnTo>
                  <a:lnTo>
                    <a:pt x="0" y="0"/>
                  </a:lnTo>
                  <a:lnTo>
                    <a:pt x="3" y="0"/>
                  </a:lnTo>
                  <a:lnTo>
                    <a:pt x="3" y="2"/>
                  </a:lnTo>
                  <a:lnTo>
                    <a:pt x="3" y="5"/>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1" name="Freeform 476">
              <a:extLst>
                <a:ext uri="{FF2B5EF4-FFF2-40B4-BE49-F238E27FC236}">
                  <a16:creationId xmlns:a16="http://schemas.microsoft.com/office/drawing/2014/main" id="{6B734EBF-DF21-4FA2-AC08-50D34986F051}"/>
                </a:ext>
              </a:extLst>
            </p:cNvPr>
            <p:cNvSpPr>
              <a:spLocks/>
            </p:cNvSpPr>
            <p:nvPr/>
          </p:nvSpPr>
          <p:spPr bwMode="auto">
            <a:xfrm>
              <a:off x="8418029" y="4893801"/>
              <a:ext cx="4964" cy="8273"/>
            </a:xfrm>
            <a:custGeom>
              <a:avLst/>
              <a:gdLst>
                <a:gd name="T0" fmla="*/ 0 w 3"/>
                <a:gd name="T1" fmla="*/ 2 h 5"/>
                <a:gd name="T2" fmla="*/ 0 w 3"/>
                <a:gd name="T3" fmla="*/ 2 h 5"/>
                <a:gd name="T4" fmla="*/ 0 w 3"/>
                <a:gd name="T5" fmla="*/ 0 h 5"/>
                <a:gd name="T6" fmla="*/ 3 w 3"/>
                <a:gd name="T7" fmla="*/ 0 h 5"/>
                <a:gd name="T8" fmla="*/ 3 w 3"/>
                <a:gd name="T9" fmla="*/ 2 h 5"/>
                <a:gd name="T10" fmla="*/ 3 w 3"/>
                <a:gd name="T11" fmla="*/ 5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lnTo>
                    <a:pt x="0" y="2"/>
                  </a:lnTo>
                  <a:lnTo>
                    <a:pt x="0" y="0"/>
                  </a:lnTo>
                  <a:lnTo>
                    <a:pt x="3" y="0"/>
                  </a:lnTo>
                  <a:lnTo>
                    <a:pt x="3" y="2"/>
                  </a:lnTo>
                  <a:lnTo>
                    <a:pt x="3" y="5"/>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2" name="Freeform 477">
              <a:extLst>
                <a:ext uri="{FF2B5EF4-FFF2-40B4-BE49-F238E27FC236}">
                  <a16:creationId xmlns:a16="http://schemas.microsoft.com/office/drawing/2014/main" id="{93851FE7-6887-40A2-AB29-BC7AD0326EFB}"/>
                </a:ext>
              </a:extLst>
            </p:cNvPr>
            <p:cNvSpPr>
              <a:spLocks/>
            </p:cNvSpPr>
            <p:nvPr/>
          </p:nvSpPr>
          <p:spPr bwMode="auto">
            <a:xfrm>
              <a:off x="8437883" y="4897110"/>
              <a:ext cx="4964" cy="4964"/>
            </a:xfrm>
            <a:custGeom>
              <a:avLst/>
              <a:gdLst>
                <a:gd name="T0" fmla="*/ 0 w 3"/>
                <a:gd name="T1" fmla="*/ 3 h 3"/>
                <a:gd name="T2" fmla="*/ 0 w 3"/>
                <a:gd name="T3" fmla="*/ 0 h 3"/>
                <a:gd name="T4" fmla="*/ 0 w 3"/>
                <a:gd name="T5" fmla="*/ 0 h 3"/>
                <a:gd name="T6" fmla="*/ 0 w 3"/>
                <a:gd name="T7" fmla="*/ 0 h 3"/>
                <a:gd name="T8" fmla="*/ 3 w 3"/>
                <a:gd name="T9" fmla="*/ 0 h 3"/>
                <a:gd name="T10" fmla="*/ 3 w 3"/>
                <a:gd name="T11" fmla="*/ 0 h 3"/>
                <a:gd name="T12" fmla="*/ 3 w 3"/>
                <a:gd name="T13" fmla="*/ 3 h 3"/>
                <a:gd name="T14" fmla="*/ 3 w 3"/>
                <a:gd name="T15" fmla="*/ 3 h 3"/>
                <a:gd name="T16" fmla="*/ 0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3"/>
                  </a:moveTo>
                  <a:lnTo>
                    <a:pt x="0" y="0"/>
                  </a:lnTo>
                  <a:lnTo>
                    <a:pt x="0" y="0"/>
                  </a:lnTo>
                  <a:lnTo>
                    <a:pt x="0" y="0"/>
                  </a:lnTo>
                  <a:lnTo>
                    <a:pt x="3" y="0"/>
                  </a:lnTo>
                  <a:lnTo>
                    <a:pt x="3" y="0"/>
                  </a:lnTo>
                  <a:lnTo>
                    <a:pt x="3" y="3"/>
                  </a:lnTo>
                  <a:lnTo>
                    <a:pt x="3"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3" name="Freeform 478">
              <a:extLst>
                <a:ext uri="{FF2B5EF4-FFF2-40B4-BE49-F238E27FC236}">
                  <a16:creationId xmlns:a16="http://schemas.microsoft.com/office/drawing/2014/main" id="{05918982-66D2-4A19-AD36-A54AC816F96F}"/>
                </a:ext>
              </a:extLst>
            </p:cNvPr>
            <p:cNvSpPr>
              <a:spLocks/>
            </p:cNvSpPr>
            <p:nvPr/>
          </p:nvSpPr>
          <p:spPr bwMode="auto">
            <a:xfrm>
              <a:off x="8437883" y="4897110"/>
              <a:ext cx="4964" cy="4964"/>
            </a:xfrm>
            <a:custGeom>
              <a:avLst/>
              <a:gdLst>
                <a:gd name="T0" fmla="*/ 0 w 3"/>
                <a:gd name="T1" fmla="*/ 3 h 3"/>
                <a:gd name="T2" fmla="*/ 0 w 3"/>
                <a:gd name="T3" fmla="*/ 0 h 3"/>
                <a:gd name="T4" fmla="*/ 0 w 3"/>
                <a:gd name="T5" fmla="*/ 0 h 3"/>
                <a:gd name="T6" fmla="*/ 0 w 3"/>
                <a:gd name="T7" fmla="*/ 0 h 3"/>
                <a:gd name="T8" fmla="*/ 3 w 3"/>
                <a:gd name="T9" fmla="*/ 0 h 3"/>
                <a:gd name="T10" fmla="*/ 3 w 3"/>
                <a:gd name="T11" fmla="*/ 0 h 3"/>
                <a:gd name="T12" fmla="*/ 3 w 3"/>
                <a:gd name="T13" fmla="*/ 3 h 3"/>
                <a:gd name="T14" fmla="*/ 3 w 3"/>
                <a:gd name="T15" fmla="*/ 3 h 3"/>
                <a:gd name="T16" fmla="*/ 0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3"/>
                  </a:moveTo>
                  <a:lnTo>
                    <a:pt x="0" y="0"/>
                  </a:lnTo>
                  <a:lnTo>
                    <a:pt x="0" y="0"/>
                  </a:lnTo>
                  <a:lnTo>
                    <a:pt x="0" y="0"/>
                  </a:lnTo>
                  <a:lnTo>
                    <a:pt x="3" y="0"/>
                  </a:lnTo>
                  <a:lnTo>
                    <a:pt x="3" y="0"/>
                  </a:lnTo>
                  <a:lnTo>
                    <a:pt x="3" y="3"/>
                  </a:lnTo>
                  <a:lnTo>
                    <a:pt x="3"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4" name="Freeform 479">
              <a:extLst>
                <a:ext uri="{FF2B5EF4-FFF2-40B4-BE49-F238E27FC236}">
                  <a16:creationId xmlns:a16="http://schemas.microsoft.com/office/drawing/2014/main" id="{08117359-4ED5-4159-815D-956CDFD94AC0}"/>
                </a:ext>
              </a:extLst>
            </p:cNvPr>
            <p:cNvSpPr>
              <a:spLocks/>
            </p:cNvSpPr>
            <p:nvPr/>
          </p:nvSpPr>
          <p:spPr bwMode="auto">
            <a:xfrm>
              <a:off x="8454427" y="4865677"/>
              <a:ext cx="38052" cy="28126"/>
            </a:xfrm>
            <a:custGeom>
              <a:avLst/>
              <a:gdLst>
                <a:gd name="T0" fmla="*/ 0 w 23"/>
                <a:gd name="T1" fmla="*/ 0 h 17"/>
                <a:gd name="T2" fmla="*/ 2 w 23"/>
                <a:gd name="T3" fmla="*/ 0 h 17"/>
                <a:gd name="T4" fmla="*/ 14 w 23"/>
                <a:gd name="T5" fmla="*/ 8 h 17"/>
                <a:gd name="T6" fmla="*/ 19 w 23"/>
                <a:gd name="T7" fmla="*/ 10 h 17"/>
                <a:gd name="T8" fmla="*/ 19 w 23"/>
                <a:gd name="T9" fmla="*/ 12 h 17"/>
                <a:gd name="T10" fmla="*/ 21 w 23"/>
                <a:gd name="T11" fmla="*/ 12 h 17"/>
                <a:gd name="T12" fmla="*/ 23 w 23"/>
                <a:gd name="T13" fmla="*/ 15 h 17"/>
                <a:gd name="T14" fmla="*/ 23 w 23"/>
                <a:gd name="T15" fmla="*/ 17 h 17"/>
                <a:gd name="T16" fmla="*/ 23 w 23"/>
                <a:gd name="T17" fmla="*/ 17 h 17"/>
                <a:gd name="T18" fmla="*/ 19 w 23"/>
                <a:gd name="T19" fmla="*/ 15 h 17"/>
                <a:gd name="T20" fmla="*/ 14 w 23"/>
                <a:gd name="T21" fmla="*/ 12 h 17"/>
                <a:gd name="T22" fmla="*/ 7 w 23"/>
                <a:gd name="T23" fmla="*/ 8 h 17"/>
                <a:gd name="T24" fmla="*/ 2 w 23"/>
                <a:gd name="T25" fmla="*/ 5 h 17"/>
                <a:gd name="T26" fmla="*/ 0 w 23"/>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7">
                  <a:moveTo>
                    <a:pt x="0" y="0"/>
                  </a:moveTo>
                  <a:lnTo>
                    <a:pt x="2" y="0"/>
                  </a:lnTo>
                  <a:lnTo>
                    <a:pt x="14" y="8"/>
                  </a:lnTo>
                  <a:lnTo>
                    <a:pt x="19" y="10"/>
                  </a:lnTo>
                  <a:lnTo>
                    <a:pt x="19" y="12"/>
                  </a:lnTo>
                  <a:lnTo>
                    <a:pt x="21" y="12"/>
                  </a:lnTo>
                  <a:lnTo>
                    <a:pt x="23" y="15"/>
                  </a:lnTo>
                  <a:lnTo>
                    <a:pt x="23" y="17"/>
                  </a:lnTo>
                  <a:lnTo>
                    <a:pt x="23" y="17"/>
                  </a:lnTo>
                  <a:lnTo>
                    <a:pt x="19" y="15"/>
                  </a:lnTo>
                  <a:lnTo>
                    <a:pt x="14" y="12"/>
                  </a:lnTo>
                  <a:lnTo>
                    <a:pt x="7" y="8"/>
                  </a:lnTo>
                  <a:lnTo>
                    <a:pt x="2" y="5"/>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5" name="Freeform 480">
              <a:extLst>
                <a:ext uri="{FF2B5EF4-FFF2-40B4-BE49-F238E27FC236}">
                  <a16:creationId xmlns:a16="http://schemas.microsoft.com/office/drawing/2014/main" id="{1FC79814-EE6D-4C47-AF7D-19F2841424B6}"/>
                </a:ext>
              </a:extLst>
            </p:cNvPr>
            <p:cNvSpPr>
              <a:spLocks/>
            </p:cNvSpPr>
            <p:nvPr/>
          </p:nvSpPr>
          <p:spPr bwMode="auto">
            <a:xfrm>
              <a:off x="8454427" y="4865677"/>
              <a:ext cx="38052" cy="28126"/>
            </a:xfrm>
            <a:custGeom>
              <a:avLst/>
              <a:gdLst>
                <a:gd name="T0" fmla="*/ 0 w 23"/>
                <a:gd name="T1" fmla="*/ 0 h 17"/>
                <a:gd name="T2" fmla="*/ 2 w 23"/>
                <a:gd name="T3" fmla="*/ 0 h 17"/>
                <a:gd name="T4" fmla="*/ 14 w 23"/>
                <a:gd name="T5" fmla="*/ 8 h 17"/>
                <a:gd name="T6" fmla="*/ 19 w 23"/>
                <a:gd name="T7" fmla="*/ 10 h 17"/>
                <a:gd name="T8" fmla="*/ 19 w 23"/>
                <a:gd name="T9" fmla="*/ 12 h 17"/>
                <a:gd name="T10" fmla="*/ 21 w 23"/>
                <a:gd name="T11" fmla="*/ 12 h 17"/>
                <a:gd name="T12" fmla="*/ 23 w 23"/>
                <a:gd name="T13" fmla="*/ 15 h 17"/>
                <a:gd name="T14" fmla="*/ 23 w 23"/>
                <a:gd name="T15" fmla="*/ 17 h 17"/>
                <a:gd name="T16" fmla="*/ 23 w 23"/>
                <a:gd name="T17" fmla="*/ 17 h 17"/>
                <a:gd name="T18" fmla="*/ 19 w 23"/>
                <a:gd name="T19" fmla="*/ 15 h 17"/>
                <a:gd name="T20" fmla="*/ 14 w 23"/>
                <a:gd name="T21" fmla="*/ 12 h 17"/>
                <a:gd name="T22" fmla="*/ 7 w 23"/>
                <a:gd name="T23" fmla="*/ 8 h 17"/>
                <a:gd name="T24" fmla="*/ 2 w 23"/>
                <a:gd name="T25" fmla="*/ 5 h 17"/>
                <a:gd name="T26" fmla="*/ 0 w 23"/>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7">
                  <a:moveTo>
                    <a:pt x="0" y="0"/>
                  </a:moveTo>
                  <a:lnTo>
                    <a:pt x="2" y="0"/>
                  </a:lnTo>
                  <a:lnTo>
                    <a:pt x="14" y="8"/>
                  </a:lnTo>
                  <a:lnTo>
                    <a:pt x="19" y="10"/>
                  </a:lnTo>
                  <a:lnTo>
                    <a:pt x="19" y="12"/>
                  </a:lnTo>
                  <a:lnTo>
                    <a:pt x="21" y="12"/>
                  </a:lnTo>
                  <a:lnTo>
                    <a:pt x="23" y="15"/>
                  </a:lnTo>
                  <a:lnTo>
                    <a:pt x="23" y="17"/>
                  </a:lnTo>
                  <a:lnTo>
                    <a:pt x="23" y="17"/>
                  </a:lnTo>
                  <a:lnTo>
                    <a:pt x="19" y="15"/>
                  </a:lnTo>
                  <a:lnTo>
                    <a:pt x="14" y="12"/>
                  </a:lnTo>
                  <a:lnTo>
                    <a:pt x="7" y="8"/>
                  </a:lnTo>
                  <a:lnTo>
                    <a:pt x="2" y="5"/>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6" name="Freeform 481">
              <a:extLst>
                <a:ext uri="{FF2B5EF4-FFF2-40B4-BE49-F238E27FC236}">
                  <a16:creationId xmlns:a16="http://schemas.microsoft.com/office/drawing/2014/main" id="{8D2ED8D5-DC5A-4603-A9E0-8D36E282B9D0}"/>
                </a:ext>
              </a:extLst>
            </p:cNvPr>
            <p:cNvSpPr>
              <a:spLocks/>
            </p:cNvSpPr>
            <p:nvPr/>
          </p:nvSpPr>
          <p:spPr bwMode="auto">
            <a:xfrm>
              <a:off x="8520605" y="4890493"/>
              <a:ext cx="23161" cy="38052"/>
            </a:xfrm>
            <a:custGeom>
              <a:avLst/>
              <a:gdLst>
                <a:gd name="T0" fmla="*/ 0 w 14"/>
                <a:gd name="T1" fmla="*/ 2 h 23"/>
                <a:gd name="T2" fmla="*/ 0 w 14"/>
                <a:gd name="T3" fmla="*/ 2 h 23"/>
                <a:gd name="T4" fmla="*/ 0 w 14"/>
                <a:gd name="T5" fmla="*/ 0 h 23"/>
                <a:gd name="T6" fmla="*/ 2 w 14"/>
                <a:gd name="T7" fmla="*/ 2 h 23"/>
                <a:gd name="T8" fmla="*/ 5 w 14"/>
                <a:gd name="T9" fmla="*/ 7 h 23"/>
                <a:gd name="T10" fmla="*/ 5 w 14"/>
                <a:gd name="T11" fmla="*/ 9 h 23"/>
                <a:gd name="T12" fmla="*/ 7 w 14"/>
                <a:gd name="T13" fmla="*/ 11 h 23"/>
                <a:gd name="T14" fmla="*/ 9 w 14"/>
                <a:gd name="T15" fmla="*/ 16 h 23"/>
                <a:gd name="T16" fmla="*/ 9 w 14"/>
                <a:gd name="T17" fmla="*/ 16 h 23"/>
                <a:gd name="T18" fmla="*/ 9 w 14"/>
                <a:gd name="T19" fmla="*/ 19 h 23"/>
                <a:gd name="T20" fmla="*/ 12 w 14"/>
                <a:gd name="T21" fmla="*/ 19 h 23"/>
                <a:gd name="T22" fmla="*/ 14 w 14"/>
                <a:gd name="T23" fmla="*/ 21 h 23"/>
                <a:gd name="T24" fmla="*/ 14 w 14"/>
                <a:gd name="T25" fmla="*/ 23 h 23"/>
                <a:gd name="T26" fmla="*/ 14 w 14"/>
                <a:gd name="T27" fmla="*/ 23 h 23"/>
                <a:gd name="T28" fmla="*/ 14 w 14"/>
                <a:gd name="T29" fmla="*/ 21 h 23"/>
                <a:gd name="T30" fmla="*/ 9 w 14"/>
                <a:gd name="T31" fmla="*/ 21 h 23"/>
                <a:gd name="T32" fmla="*/ 7 w 14"/>
                <a:gd name="T33" fmla="*/ 19 h 23"/>
                <a:gd name="T34" fmla="*/ 5 w 14"/>
                <a:gd name="T35" fmla="*/ 16 h 23"/>
                <a:gd name="T36" fmla="*/ 0 w 14"/>
                <a:gd name="T37" fmla="*/ 9 h 23"/>
                <a:gd name="T38" fmla="*/ 0 w 14"/>
                <a:gd name="T39" fmla="*/ 4 h 23"/>
                <a:gd name="T40" fmla="*/ 0 w 14"/>
                <a:gd name="T41" fmla="*/ 2 h 23"/>
                <a:gd name="T42" fmla="*/ 0 w 14"/>
                <a:gd name="T43"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3">
                  <a:moveTo>
                    <a:pt x="0" y="2"/>
                  </a:moveTo>
                  <a:lnTo>
                    <a:pt x="0" y="2"/>
                  </a:lnTo>
                  <a:lnTo>
                    <a:pt x="0" y="0"/>
                  </a:lnTo>
                  <a:lnTo>
                    <a:pt x="2" y="2"/>
                  </a:lnTo>
                  <a:lnTo>
                    <a:pt x="5" y="7"/>
                  </a:lnTo>
                  <a:lnTo>
                    <a:pt x="5" y="9"/>
                  </a:lnTo>
                  <a:lnTo>
                    <a:pt x="7" y="11"/>
                  </a:lnTo>
                  <a:lnTo>
                    <a:pt x="9" y="16"/>
                  </a:lnTo>
                  <a:lnTo>
                    <a:pt x="9" y="16"/>
                  </a:lnTo>
                  <a:lnTo>
                    <a:pt x="9" y="19"/>
                  </a:lnTo>
                  <a:lnTo>
                    <a:pt x="12" y="19"/>
                  </a:lnTo>
                  <a:lnTo>
                    <a:pt x="14" y="21"/>
                  </a:lnTo>
                  <a:lnTo>
                    <a:pt x="14" y="23"/>
                  </a:lnTo>
                  <a:lnTo>
                    <a:pt x="14" y="23"/>
                  </a:lnTo>
                  <a:lnTo>
                    <a:pt x="14" y="21"/>
                  </a:lnTo>
                  <a:lnTo>
                    <a:pt x="9" y="21"/>
                  </a:lnTo>
                  <a:lnTo>
                    <a:pt x="7" y="19"/>
                  </a:lnTo>
                  <a:lnTo>
                    <a:pt x="5" y="16"/>
                  </a:lnTo>
                  <a:lnTo>
                    <a:pt x="0" y="9"/>
                  </a:lnTo>
                  <a:lnTo>
                    <a:pt x="0" y="4"/>
                  </a:lnTo>
                  <a:lnTo>
                    <a:pt x="0"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7" name="Freeform 482">
              <a:extLst>
                <a:ext uri="{FF2B5EF4-FFF2-40B4-BE49-F238E27FC236}">
                  <a16:creationId xmlns:a16="http://schemas.microsoft.com/office/drawing/2014/main" id="{E7925693-F500-4494-80D6-739F8497981A}"/>
                </a:ext>
              </a:extLst>
            </p:cNvPr>
            <p:cNvSpPr>
              <a:spLocks/>
            </p:cNvSpPr>
            <p:nvPr/>
          </p:nvSpPr>
          <p:spPr bwMode="auto">
            <a:xfrm>
              <a:off x="8520605" y="4890493"/>
              <a:ext cx="23161" cy="38052"/>
            </a:xfrm>
            <a:custGeom>
              <a:avLst/>
              <a:gdLst>
                <a:gd name="T0" fmla="*/ 0 w 14"/>
                <a:gd name="T1" fmla="*/ 2 h 23"/>
                <a:gd name="T2" fmla="*/ 0 w 14"/>
                <a:gd name="T3" fmla="*/ 2 h 23"/>
                <a:gd name="T4" fmla="*/ 0 w 14"/>
                <a:gd name="T5" fmla="*/ 0 h 23"/>
                <a:gd name="T6" fmla="*/ 2 w 14"/>
                <a:gd name="T7" fmla="*/ 2 h 23"/>
                <a:gd name="T8" fmla="*/ 5 w 14"/>
                <a:gd name="T9" fmla="*/ 7 h 23"/>
                <a:gd name="T10" fmla="*/ 5 w 14"/>
                <a:gd name="T11" fmla="*/ 9 h 23"/>
                <a:gd name="T12" fmla="*/ 7 w 14"/>
                <a:gd name="T13" fmla="*/ 11 h 23"/>
                <a:gd name="T14" fmla="*/ 9 w 14"/>
                <a:gd name="T15" fmla="*/ 16 h 23"/>
                <a:gd name="T16" fmla="*/ 9 w 14"/>
                <a:gd name="T17" fmla="*/ 16 h 23"/>
                <a:gd name="T18" fmla="*/ 9 w 14"/>
                <a:gd name="T19" fmla="*/ 19 h 23"/>
                <a:gd name="T20" fmla="*/ 12 w 14"/>
                <a:gd name="T21" fmla="*/ 19 h 23"/>
                <a:gd name="T22" fmla="*/ 14 w 14"/>
                <a:gd name="T23" fmla="*/ 21 h 23"/>
                <a:gd name="T24" fmla="*/ 14 w 14"/>
                <a:gd name="T25" fmla="*/ 23 h 23"/>
                <a:gd name="T26" fmla="*/ 14 w 14"/>
                <a:gd name="T27" fmla="*/ 23 h 23"/>
                <a:gd name="T28" fmla="*/ 14 w 14"/>
                <a:gd name="T29" fmla="*/ 21 h 23"/>
                <a:gd name="T30" fmla="*/ 9 w 14"/>
                <a:gd name="T31" fmla="*/ 21 h 23"/>
                <a:gd name="T32" fmla="*/ 7 w 14"/>
                <a:gd name="T33" fmla="*/ 19 h 23"/>
                <a:gd name="T34" fmla="*/ 5 w 14"/>
                <a:gd name="T35" fmla="*/ 16 h 23"/>
                <a:gd name="T36" fmla="*/ 0 w 14"/>
                <a:gd name="T37" fmla="*/ 9 h 23"/>
                <a:gd name="T38" fmla="*/ 0 w 14"/>
                <a:gd name="T39" fmla="*/ 4 h 23"/>
                <a:gd name="T40" fmla="*/ 0 w 14"/>
                <a:gd name="T41" fmla="*/ 2 h 23"/>
                <a:gd name="T42" fmla="*/ 0 w 14"/>
                <a:gd name="T43"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3">
                  <a:moveTo>
                    <a:pt x="0" y="2"/>
                  </a:moveTo>
                  <a:lnTo>
                    <a:pt x="0" y="2"/>
                  </a:lnTo>
                  <a:lnTo>
                    <a:pt x="0" y="0"/>
                  </a:lnTo>
                  <a:lnTo>
                    <a:pt x="2" y="2"/>
                  </a:lnTo>
                  <a:lnTo>
                    <a:pt x="5" y="7"/>
                  </a:lnTo>
                  <a:lnTo>
                    <a:pt x="5" y="9"/>
                  </a:lnTo>
                  <a:lnTo>
                    <a:pt x="7" y="11"/>
                  </a:lnTo>
                  <a:lnTo>
                    <a:pt x="9" y="16"/>
                  </a:lnTo>
                  <a:lnTo>
                    <a:pt x="9" y="16"/>
                  </a:lnTo>
                  <a:lnTo>
                    <a:pt x="9" y="19"/>
                  </a:lnTo>
                  <a:lnTo>
                    <a:pt x="12" y="19"/>
                  </a:lnTo>
                  <a:lnTo>
                    <a:pt x="14" y="21"/>
                  </a:lnTo>
                  <a:lnTo>
                    <a:pt x="14" y="23"/>
                  </a:lnTo>
                  <a:lnTo>
                    <a:pt x="14" y="23"/>
                  </a:lnTo>
                  <a:lnTo>
                    <a:pt x="14" y="21"/>
                  </a:lnTo>
                  <a:lnTo>
                    <a:pt x="9" y="21"/>
                  </a:lnTo>
                  <a:lnTo>
                    <a:pt x="7" y="19"/>
                  </a:lnTo>
                  <a:lnTo>
                    <a:pt x="5" y="16"/>
                  </a:lnTo>
                  <a:lnTo>
                    <a:pt x="0" y="9"/>
                  </a:lnTo>
                  <a:lnTo>
                    <a:pt x="0" y="4"/>
                  </a:lnTo>
                  <a:lnTo>
                    <a:pt x="0"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8" name="Freeform 483">
              <a:extLst>
                <a:ext uri="{FF2B5EF4-FFF2-40B4-BE49-F238E27FC236}">
                  <a16:creationId xmlns:a16="http://schemas.microsoft.com/office/drawing/2014/main" id="{39B14E64-62CE-4BA3-9BAF-F755607F0A2D}"/>
                </a:ext>
              </a:extLst>
            </p:cNvPr>
            <p:cNvSpPr>
              <a:spLocks/>
            </p:cNvSpPr>
            <p:nvPr/>
          </p:nvSpPr>
          <p:spPr bwMode="auto">
            <a:xfrm>
              <a:off x="8500751" y="4908692"/>
              <a:ext cx="8273" cy="4964"/>
            </a:xfrm>
            <a:custGeom>
              <a:avLst/>
              <a:gdLst>
                <a:gd name="T0" fmla="*/ 2 w 5"/>
                <a:gd name="T1" fmla="*/ 0 h 3"/>
                <a:gd name="T2" fmla="*/ 0 w 5"/>
                <a:gd name="T3" fmla="*/ 0 h 3"/>
                <a:gd name="T4" fmla="*/ 2 w 5"/>
                <a:gd name="T5" fmla="*/ 0 h 3"/>
                <a:gd name="T6" fmla="*/ 5 w 5"/>
                <a:gd name="T7" fmla="*/ 0 h 3"/>
                <a:gd name="T8" fmla="*/ 5 w 5"/>
                <a:gd name="T9" fmla="*/ 3 h 3"/>
                <a:gd name="T10" fmla="*/ 5 w 5"/>
                <a:gd name="T11" fmla="*/ 3 h 3"/>
                <a:gd name="T12" fmla="*/ 5 w 5"/>
                <a:gd name="T13" fmla="*/ 3 h 3"/>
                <a:gd name="T14" fmla="*/ 2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2" y="0"/>
                  </a:moveTo>
                  <a:lnTo>
                    <a:pt x="0" y="0"/>
                  </a:lnTo>
                  <a:lnTo>
                    <a:pt x="2" y="0"/>
                  </a:lnTo>
                  <a:lnTo>
                    <a:pt x="5" y="0"/>
                  </a:lnTo>
                  <a:lnTo>
                    <a:pt x="5" y="3"/>
                  </a:lnTo>
                  <a:lnTo>
                    <a:pt x="5" y="3"/>
                  </a:lnTo>
                  <a:lnTo>
                    <a:pt x="5" y="3"/>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49" name="Freeform 484">
              <a:extLst>
                <a:ext uri="{FF2B5EF4-FFF2-40B4-BE49-F238E27FC236}">
                  <a16:creationId xmlns:a16="http://schemas.microsoft.com/office/drawing/2014/main" id="{1D3B7676-9744-492F-B84A-B17ABCD27F78}"/>
                </a:ext>
              </a:extLst>
            </p:cNvPr>
            <p:cNvSpPr>
              <a:spLocks/>
            </p:cNvSpPr>
            <p:nvPr/>
          </p:nvSpPr>
          <p:spPr bwMode="auto">
            <a:xfrm>
              <a:off x="8500751" y="4908692"/>
              <a:ext cx="8273" cy="4964"/>
            </a:xfrm>
            <a:custGeom>
              <a:avLst/>
              <a:gdLst>
                <a:gd name="T0" fmla="*/ 2 w 5"/>
                <a:gd name="T1" fmla="*/ 0 h 3"/>
                <a:gd name="T2" fmla="*/ 0 w 5"/>
                <a:gd name="T3" fmla="*/ 0 h 3"/>
                <a:gd name="T4" fmla="*/ 2 w 5"/>
                <a:gd name="T5" fmla="*/ 0 h 3"/>
                <a:gd name="T6" fmla="*/ 5 w 5"/>
                <a:gd name="T7" fmla="*/ 0 h 3"/>
                <a:gd name="T8" fmla="*/ 5 w 5"/>
                <a:gd name="T9" fmla="*/ 3 h 3"/>
                <a:gd name="T10" fmla="*/ 5 w 5"/>
                <a:gd name="T11" fmla="*/ 3 h 3"/>
                <a:gd name="T12" fmla="*/ 5 w 5"/>
                <a:gd name="T13" fmla="*/ 3 h 3"/>
                <a:gd name="T14" fmla="*/ 2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2" y="0"/>
                  </a:moveTo>
                  <a:lnTo>
                    <a:pt x="0" y="0"/>
                  </a:lnTo>
                  <a:lnTo>
                    <a:pt x="2" y="0"/>
                  </a:lnTo>
                  <a:lnTo>
                    <a:pt x="5" y="0"/>
                  </a:lnTo>
                  <a:lnTo>
                    <a:pt x="5" y="3"/>
                  </a:lnTo>
                  <a:lnTo>
                    <a:pt x="5" y="3"/>
                  </a:lnTo>
                  <a:lnTo>
                    <a:pt x="5" y="3"/>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0" name="Freeform 485">
              <a:extLst>
                <a:ext uri="{FF2B5EF4-FFF2-40B4-BE49-F238E27FC236}">
                  <a16:creationId xmlns:a16="http://schemas.microsoft.com/office/drawing/2014/main" id="{BC15624B-9DB9-41D9-A65F-3A0F92316A08}"/>
                </a:ext>
              </a:extLst>
            </p:cNvPr>
            <p:cNvSpPr>
              <a:spLocks/>
            </p:cNvSpPr>
            <p:nvPr/>
          </p:nvSpPr>
          <p:spPr bwMode="auto">
            <a:xfrm>
              <a:off x="8485860" y="4916964"/>
              <a:ext cx="38052" cy="19854"/>
            </a:xfrm>
            <a:custGeom>
              <a:avLst/>
              <a:gdLst>
                <a:gd name="T0" fmla="*/ 0 w 23"/>
                <a:gd name="T1" fmla="*/ 3 h 12"/>
                <a:gd name="T2" fmla="*/ 2 w 23"/>
                <a:gd name="T3" fmla="*/ 0 h 12"/>
                <a:gd name="T4" fmla="*/ 4 w 23"/>
                <a:gd name="T5" fmla="*/ 3 h 12"/>
                <a:gd name="T6" fmla="*/ 9 w 23"/>
                <a:gd name="T7" fmla="*/ 3 h 12"/>
                <a:gd name="T8" fmla="*/ 14 w 23"/>
                <a:gd name="T9" fmla="*/ 3 h 12"/>
                <a:gd name="T10" fmla="*/ 16 w 23"/>
                <a:gd name="T11" fmla="*/ 5 h 12"/>
                <a:gd name="T12" fmla="*/ 19 w 23"/>
                <a:gd name="T13" fmla="*/ 7 h 12"/>
                <a:gd name="T14" fmla="*/ 21 w 23"/>
                <a:gd name="T15" fmla="*/ 10 h 12"/>
                <a:gd name="T16" fmla="*/ 23 w 23"/>
                <a:gd name="T17" fmla="*/ 10 h 12"/>
                <a:gd name="T18" fmla="*/ 23 w 23"/>
                <a:gd name="T19" fmla="*/ 12 h 12"/>
                <a:gd name="T20" fmla="*/ 21 w 23"/>
                <a:gd name="T21" fmla="*/ 12 h 12"/>
                <a:gd name="T22" fmla="*/ 16 w 23"/>
                <a:gd name="T23" fmla="*/ 12 h 12"/>
                <a:gd name="T24" fmla="*/ 11 w 23"/>
                <a:gd name="T25" fmla="*/ 12 h 12"/>
                <a:gd name="T26" fmla="*/ 7 w 23"/>
                <a:gd name="T27" fmla="*/ 12 h 12"/>
                <a:gd name="T28" fmla="*/ 4 w 23"/>
                <a:gd name="T29" fmla="*/ 10 h 12"/>
                <a:gd name="T30" fmla="*/ 2 w 23"/>
                <a:gd name="T31" fmla="*/ 7 h 12"/>
                <a:gd name="T32" fmla="*/ 0 w 23"/>
                <a:gd name="T33" fmla="*/ 5 h 12"/>
                <a:gd name="T34" fmla="*/ 0 w 23"/>
                <a:gd name="T35" fmla="*/ 3 h 12"/>
                <a:gd name="T36" fmla="*/ 0 w 23"/>
                <a:gd name="T3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2">
                  <a:moveTo>
                    <a:pt x="0" y="3"/>
                  </a:moveTo>
                  <a:lnTo>
                    <a:pt x="2" y="0"/>
                  </a:lnTo>
                  <a:lnTo>
                    <a:pt x="4" y="3"/>
                  </a:lnTo>
                  <a:lnTo>
                    <a:pt x="9" y="3"/>
                  </a:lnTo>
                  <a:lnTo>
                    <a:pt x="14" y="3"/>
                  </a:lnTo>
                  <a:lnTo>
                    <a:pt x="16" y="5"/>
                  </a:lnTo>
                  <a:lnTo>
                    <a:pt x="19" y="7"/>
                  </a:lnTo>
                  <a:lnTo>
                    <a:pt x="21" y="10"/>
                  </a:lnTo>
                  <a:lnTo>
                    <a:pt x="23" y="10"/>
                  </a:lnTo>
                  <a:lnTo>
                    <a:pt x="23" y="12"/>
                  </a:lnTo>
                  <a:lnTo>
                    <a:pt x="21" y="12"/>
                  </a:lnTo>
                  <a:lnTo>
                    <a:pt x="16" y="12"/>
                  </a:lnTo>
                  <a:lnTo>
                    <a:pt x="11" y="12"/>
                  </a:lnTo>
                  <a:lnTo>
                    <a:pt x="7" y="12"/>
                  </a:lnTo>
                  <a:lnTo>
                    <a:pt x="4" y="10"/>
                  </a:lnTo>
                  <a:lnTo>
                    <a:pt x="2" y="7"/>
                  </a:lnTo>
                  <a:lnTo>
                    <a:pt x="0" y="5"/>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1" name="Freeform 486">
              <a:extLst>
                <a:ext uri="{FF2B5EF4-FFF2-40B4-BE49-F238E27FC236}">
                  <a16:creationId xmlns:a16="http://schemas.microsoft.com/office/drawing/2014/main" id="{BF2D29C2-0CEF-48A1-BA68-934D0F9C8031}"/>
                </a:ext>
              </a:extLst>
            </p:cNvPr>
            <p:cNvSpPr>
              <a:spLocks/>
            </p:cNvSpPr>
            <p:nvPr/>
          </p:nvSpPr>
          <p:spPr bwMode="auto">
            <a:xfrm>
              <a:off x="8485860" y="4916964"/>
              <a:ext cx="38052" cy="19854"/>
            </a:xfrm>
            <a:custGeom>
              <a:avLst/>
              <a:gdLst>
                <a:gd name="T0" fmla="*/ 0 w 23"/>
                <a:gd name="T1" fmla="*/ 3 h 12"/>
                <a:gd name="T2" fmla="*/ 2 w 23"/>
                <a:gd name="T3" fmla="*/ 0 h 12"/>
                <a:gd name="T4" fmla="*/ 4 w 23"/>
                <a:gd name="T5" fmla="*/ 3 h 12"/>
                <a:gd name="T6" fmla="*/ 9 w 23"/>
                <a:gd name="T7" fmla="*/ 3 h 12"/>
                <a:gd name="T8" fmla="*/ 14 w 23"/>
                <a:gd name="T9" fmla="*/ 3 h 12"/>
                <a:gd name="T10" fmla="*/ 16 w 23"/>
                <a:gd name="T11" fmla="*/ 5 h 12"/>
                <a:gd name="T12" fmla="*/ 19 w 23"/>
                <a:gd name="T13" fmla="*/ 7 h 12"/>
                <a:gd name="T14" fmla="*/ 21 w 23"/>
                <a:gd name="T15" fmla="*/ 10 h 12"/>
                <a:gd name="T16" fmla="*/ 23 w 23"/>
                <a:gd name="T17" fmla="*/ 10 h 12"/>
                <a:gd name="T18" fmla="*/ 23 w 23"/>
                <a:gd name="T19" fmla="*/ 12 h 12"/>
                <a:gd name="T20" fmla="*/ 21 w 23"/>
                <a:gd name="T21" fmla="*/ 12 h 12"/>
                <a:gd name="T22" fmla="*/ 16 w 23"/>
                <a:gd name="T23" fmla="*/ 12 h 12"/>
                <a:gd name="T24" fmla="*/ 11 w 23"/>
                <a:gd name="T25" fmla="*/ 12 h 12"/>
                <a:gd name="T26" fmla="*/ 7 w 23"/>
                <a:gd name="T27" fmla="*/ 12 h 12"/>
                <a:gd name="T28" fmla="*/ 4 w 23"/>
                <a:gd name="T29" fmla="*/ 10 h 12"/>
                <a:gd name="T30" fmla="*/ 2 w 23"/>
                <a:gd name="T31" fmla="*/ 7 h 12"/>
                <a:gd name="T32" fmla="*/ 0 w 23"/>
                <a:gd name="T33" fmla="*/ 5 h 12"/>
                <a:gd name="T34" fmla="*/ 0 w 23"/>
                <a:gd name="T35" fmla="*/ 3 h 12"/>
                <a:gd name="T36" fmla="*/ 0 w 23"/>
                <a:gd name="T3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2">
                  <a:moveTo>
                    <a:pt x="0" y="3"/>
                  </a:moveTo>
                  <a:lnTo>
                    <a:pt x="2" y="0"/>
                  </a:lnTo>
                  <a:lnTo>
                    <a:pt x="4" y="3"/>
                  </a:lnTo>
                  <a:lnTo>
                    <a:pt x="9" y="3"/>
                  </a:lnTo>
                  <a:lnTo>
                    <a:pt x="14" y="3"/>
                  </a:lnTo>
                  <a:lnTo>
                    <a:pt x="16" y="5"/>
                  </a:lnTo>
                  <a:lnTo>
                    <a:pt x="19" y="7"/>
                  </a:lnTo>
                  <a:lnTo>
                    <a:pt x="21" y="10"/>
                  </a:lnTo>
                  <a:lnTo>
                    <a:pt x="23" y="10"/>
                  </a:lnTo>
                  <a:lnTo>
                    <a:pt x="23" y="12"/>
                  </a:lnTo>
                  <a:lnTo>
                    <a:pt x="21" y="12"/>
                  </a:lnTo>
                  <a:lnTo>
                    <a:pt x="16" y="12"/>
                  </a:lnTo>
                  <a:lnTo>
                    <a:pt x="11" y="12"/>
                  </a:lnTo>
                  <a:lnTo>
                    <a:pt x="7" y="12"/>
                  </a:lnTo>
                  <a:lnTo>
                    <a:pt x="4" y="10"/>
                  </a:lnTo>
                  <a:lnTo>
                    <a:pt x="2" y="7"/>
                  </a:lnTo>
                  <a:lnTo>
                    <a:pt x="0" y="5"/>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2" name="Freeform 503">
              <a:extLst>
                <a:ext uri="{FF2B5EF4-FFF2-40B4-BE49-F238E27FC236}">
                  <a16:creationId xmlns:a16="http://schemas.microsoft.com/office/drawing/2014/main" id="{FA043B1A-CAB0-43E5-A2EB-FD0E0C86BCD9}"/>
                </a:ext>
              </a:extLst>
            </p:cNvPr>
            <p:cNvSpPr>
              <a:spLocks/>
            </p:cNvSpPr>
            <p:nvPr/>
          </p:nvSpPr>
          <p:spPr bwMode="auto">
            <a:xfrm>
              <a:off x="7969678" y="2782746"/>
              <a:ext cx="86030" cy="380519"/>
            </a:xfrm>
            <a:custGeom>
              <a:avLst/>
              <a:gdLst>
                <a:gd name="T0" fmla="*/ 16 w 52"/>
                <a:gd name="T1" fmla="*/ 0 h 230"/>
                <a:gd name="T2" fmla="*/ 21 w 52"/>
                <a:gd name="T3" fmla="*/ 8 h 230"/>
                <a:gd name="T4" fmla="*/ 23 w 52"/>
                <a:gd name="T5" fmla="*/ 26 h 230"/>
                <a:gd name="T6" fmla="*/ 28 w 52"/>
                <a:gd name="T7" fmla="*/ 48 h 230"/>
                <a:gd name="T8" fmla="*/ 28 w 52"/>
                <a:gd name="T9" fmla="*/ 60 h 230"/>
                <a:gd name="T10" fmla="*/ 26 w 52"/>
                <a:gd name="T11" fmla="*/ 69 h 230"/>
                <a:gd name="T12" fmla="*/ 26 w 52"/>
                <a:gd name="T13" fmla="*/ 78 h 230"/>
                <a:gd name="T14" fmla="*/ 28 w 52"/>
                <a:gd name="T15" fmla="*/ 83 h 230"/>
                <a:gd name="T16" fmla="*/ 31 w 52"/>
                <a:gd name="T17" fmla="*/ 93 h 230"/>
                <a:gd name="T18" fmla="*/ 35 w 52"/>
                <a:gd name="T19" fmla="*/ 112 h 230"/>
                <a:gd name="T20" fmla="*/ 42 w 52"/>
                <a:gd name="T21" fmla="*/ 137 h 230"/>
                <a:gd name="T22" fmla="*/ 47 w 52"/>
                <a:gd name="T23" fmla="*/ 147 h 230"/>
                <a:gd name="T24" fmla="*/ 52 w 52"/>
                <a:gd name="T25" fmla="*/ 156 h 230"/>
                <a:gd name="T26" fmla="*/ 45 w 52"/>
                <a:gd name="T27" fmla="*/ 149 h 230"/>
                <a:gd name="T28" fmla="*/ 38 w 52"/>
                <a:gd name="T29" fmla="*/ 145 h 230"/>
                <a:gd name="T30" fmla="*/ 28 w 52"/>
                <a:gd name="T31" fmla="*/ 142 h 230"/>
                <a:gd name="T32" fmla="*/ 23 w 52"/>
                <a:gd name="T33" fmla="*/ 152 h 230"/>
                <a:gd name="T34" fmla="*/ 19 w 52"/>
                <a:gd name="T35" fmla="*/ 163 h 230"/>
                <a:gd name="T36" fmla="*/ 16 w 52"/>
                <a:gd name="T37" fmla="*/ 182 h 230"/>
                <a:gd name="T38" fmla="*/ 19 w 52"/>
                <a:gd name="T39" fmla="*/ 192 h 230"/>
                <a:gd name="T40" fmla="*/ 23 w 52"/>
                <a:gd name="T41" fmla="*/ 204 h 230"/>
                <a:gd name="T42" fmla="*/ 26 w 52"/>
                <a:gd name="T43" fmla="*/ 208 h 230"/>
                <a:gd name="T44" fmla="*/ 31 w 52"/>
                <a:gd name="T45" fmla="*/ 208 h 230"/>
                <a:gd name="T46" fmla="*/ 33 w 52"/>
                <a:gd name="T47" fmla="*/ 218 h 230"/>
                <a:gd name="T48" fmla="*/ 31 w 52"/>
                <a:gd name="T49" fmla="*/ 227 h 230"/>
                <a:gd name="T50" fmla="*/ 21 w 52"/>
                <a:gd name="T51" fmla="*/ 213 h 230"/>
                <a:gd name="T52" fmla="*/ 14 w 52"/>
                <a:gd name="T53" fmla="*/ 215 h 230"/>
                <a:gd name="T54" fmla="*/ 9 w 52"/>
                <a:gd name="T55" fmla="*/ 230 h 230"/>
                <a:gd name="T56" fmla="*/ 5 w 52"/>
                <a:gd name="T57" fmla="*/ 220 h 230"/>
                <a:gd name="T58" fmla="*/ 5 w 52"/>
                <a:gd name="T59" fmla="*/ 199 h 230"/>
                <a:gd name="T60" fmla="*/ 9 w 52"/>
                <a:gd name="T61" fmla="*/ 178 h 230"/>
                <a:gd name="T62" fmla="*/ 7 w 52"/>
                <a:gd name="T63" fmla="*/ 166 h 230"/>
                <a:gd name="T64" fmla="*/ 5 w 52"/>
                <a:gd name="T65" fmla="*/ 154 h 230"/>
                <a:gd name="T66" fmla="*/ 7 w 52"/>
                <a:gd name="T67" fmla="*/ 137 h 230"/>
                <a:gd name="T68" fmla="*/ 9 w 52"/>
                <a:gd name="T69" fmla="*/ 126 h 230"/>
                <a:gd name="T70" fmla="*/ 7 w 52"/>
                <a:gd name="T71" fmla="*/ 121 h 230"/>
                <a:gd name="T72" fmla="*/ 7 w 52"/>
                <a:gd name="T73" fmla="*/ 112 h 230"/>
                <a:gd name="T74" fmla="*/ 9 w 52"/>
                <a:gd name="T75" fmla="*/ 95 h 230"/>
                <a:gd name="T76" fmla="*/ 5 w 52"/>
                <a:gd name="T77" fmla="*/ 83 h 230"/>
                <a:gd name="T78" fmla="*/ 0 w 52"/>
                <a:gd name="T79" fmla="*/ 78 h 230"/>
                <a:gd name="T80" fmla="*/ 0 w 52"/>
                <a:gd name="T81" fmla="*/ 74 h 230"/>
                <a:gd name="T82" fmla="*/ 0 w 52"/>
                <a:gd name="T83" fmla="*/ 62 h 230"/>
                <a:gd name="T84" fmla="*/ 2 w 52"/>
                <a:gd name="T85" fmla="*/ 41 h 230"/>
                <a:gd name="T86" fmla="*/ 2 w 52"/>
                <a:gd name="T87" fmla="*/ 31 h 230"/>
                <a:gd name="T88" fmla="*/ 7 w 52"/>
                <a:gd name="T89" fmla="*/ 26 h 230"/>
                <a:gd name="T90" fmla="*/ 12 w 52"/>
                <a:gd name="T91" fmla="*/ 29 h 230"/>
                <a:gd name="T92" fmla="*/ 14 w 52"/>
                <a:gd name="T93" fmla="*/ 26 h 230"/>
                <a:gd name="T94" fmla="*/ 14 w 52"/>
                <a:gd name="T95" fmla="*/ 22 h 230"/>
                <a:gd name="T96" fmla="*/ 16 w 52"/>
                <a:gd name="T97" fmla="*/ 22 h 230"/>
                <a:gd name="T98" fmla="*/ 14 w 52"/>
                <a:gd name="T99" fmla="*/ 12 h 230"/>
                <a:gd name="T100" fmla="*/ 12 w 52"/>
                <a:gd name="T101" fmla="*/ 3 h 230"/>
                <a:gd name="T102" fmla="*/ 14 w 52"/>
                <a:gd name="T103" fmla="*/ 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230">
                  <a:moveTo>
                    <a:pt x="14" y="3"/>
                  </a:moveTo>
                  <a:lnTo>
                    <a:pt x="16" y="0"/>
                  </a:lnTo>
                  <a:lnTo>
                    <a:pt x="19" y="3"/>
                  </a:lnTo>
                  <a:lnTo>
                    <a:pt x="21" y="8"/>
                  </a:lnTo>
                  <a:lnTo>
                    <a:pt x="21" y="19"/>
                  </a:lnTo>
                  <a:lnTo>
                    <a:pt x="23" y="26"/>
                  </a:lnTo>
                  <a:lnTo>
                    <a:pt x="26" y="38"/>
                  </a:lnTo>
                  <a:lnTo>
                    <a:pt x="28" y="48"/>
                  </a:lnTo>
                  <a:lnTo>
                    <a:pt x="28" y="55"/>
                  </a:lnTo>
                  <a:lnTo>
                    <a:pt x="28" y="60"/>
                  </a:lnTo>
                  <a:lnTo>
                    <a:pt x="26" y="62"/>
                  </a:lnTo>
                  <a:lnTo>
                    <a:pt x="26" y="69"/>
                  </a:lnTo>
                  <a:lnTo>
                    <a:pt x="26" y="74"/>
                  </a:lnTo>
                  <a:lnTo>
                    <a:pt x="26" y="78"/>
                  </a:lnTo>
                  <a:lnTo>
                    <a:pt x="26" y="83"/>
                  </a:lnTo>
                  <a:lnTo>
                    <a:pt x="28" y="83"/>
                  </a:lnTo>
                  <a:lnTo>
                    <a:pt x="31" y="88"/>
                  </a:lnTo>
                  <a:lnTo>
                    <a:pt x="31" y="93"/>
                  </a:lnTo>
                  <a:lnTo>
                    <a:pt x="31" y="95"/>
                  </a:lnTo>
                  <a:lnTo>
                    <a:pt x="35" y="112"/>
                  </a:lnTo>
                  <a:lnTo>
                    <a:pt x="42" y="130"/>
                  </a:lnTo>
                  <a:lnTo>
                    <a:pt x="42" y="137"/>
                  </a:lnTo>
                  <a:lnTo>
                    <a:pt x="45" y="142"/>
                  </a:lnTo>
                  <a:lnTo>
                    <a:pt x="47" y="147"/>
                  </a:lnTo>
                  <a:lnTo>
                    <a:pt x="49" y="152"/>
                  </a:lnTo>
                  <a:lnTo>
                    <a:pt x="52" y="156"/>
                  </a:lnTo>
                  <a:lnTo>
                    <a:pt x="52" y="159"/>
                  </a:lnTo>
                  <a:lnTo>
                    <a:pt x="45" y="149"/>
                  </a:lnTo>
                  <a:lnTo>
                    <a:pt x="42" y="147"/>
                  </a:lnTo>
                  <a:lnTo>
                    <a:pt x="38" y="145"/>
                  </a:lnTo>
                  <a:lnTo>
                    <a:pt x="33" y="142"/>
                  </a:lnTo>
                  <a:lnTo>
                    <a:pt x="28" y="142"/>
                  </a:lnTo>
                  <a:lnTo>
                    <a:pt x="23" y="147"/>
                  </a:lnTo>
                  <a:lnTo>
                    <a:pt x="23" y="152"/>
                  </a:lnTo>
                  <a:lnTo>
                    <a:pt x="21" y="156"/>
                  </a:lnTo>
                  <a:lnTo>
                    <a:pt x="19" y="163"/>
                  </a:lnTo>
                  <a:lnTo>
                    <a:pt x="16" y="175"/>
                  </a:lnTo>
                  <a:lnTo>
                    <a:pt x="16" y="182"/>
                  </a:lnTo>
                  <a:lnTo>
                    <a:pt x="16" y="187"/>
                  </a:lnTo>
                  <a:lnTo>
                    <a:pt x="19" y="192"/>
                  </a:lnTo>
                  <a:lnTo>
                    <a:pt x="23" y="199"/>
                  </a:lnTo>
                  <a:lnTo>
                    <a:pt x="23" y="204"/>
                  </a:lnTo>
                  <a:lnTo>
                    <a:pt x="26" y="206"/>
                  </a:lnTo>
                  <a:lnTo>
                    <a:pt x="26" y="208"/>
                  </a:lnTo>
                  <a:lnTo>
                    <a:pt x="31" y="211"/>
                  </a:lnTo>
                  <a:lnTo>
                    <a:pt x="31" y="208"/>
                  </a:lnTo>
                  <a:lnTo>
                    <a:pt x="31" y="211"/>
                  </a:lnTo>
                  <a:lnTo>
                    <a:pt x="33" y="218"/>
                  </a:lnTo>
                  <a:lnTo>
                    <a:pt x="33" y="225"/>
                  </a:lnTo>
                  <a:lnTo>
                    <a:pt x="31" y="227"/>
                  </a:lnTo>
                  <a:lnTo>
                    <a:pt x="28" y="215"/>
                  </a:lnTo>
                  <a:lnTo>
                    <a:pt x="21" y="213"/>
                  </a:lnTo>
                  <a:lnTo>
                    <a:pt x="16" y="211"/>
                  </a:lnTo>
                  <a:lnTo>
                    <a:pt x="14" y="215"/>
                  </a:lnTo>
                  <a:lnTo>
                    <a:pt x="9" y="225"/>
                  </a:lnTo>
                  <a:lnTo>
                    <a:pt x="9" y="230"/>
                  </a:lnTo>
                  <a:lnTo>
                    <a:pt x="5" y="227"/>
                  </a:lnTo>
                  <a:lnTo>
                    <a:pt x="5" y="220"/>
                  </a:lnTo>
                  <a:lnTo>
                    <a:pt x="2" y="213"/>
                  </a:lnTo>
                  <a:lnTo>
                    <a:pt x="5" y="199"/>
                  </a:lnTo>
                  <a:lnTo>
                    <a:pt x="7" y="180"/>
                  </a:lnTo>
                  <a:lnTo>
                    <a:pt x="9" y="178"/>
                  </a:lnTo>
                  <a:lnTo>
                    <a:pt x="9" y="173"/>
                  </a:lnTo>
                  <a:lnTo>
                    <a:pt x="7" y="166"/>
                  </a:lnTo>
                  <a:lnTo>
                    <a:pt x="5" y="159"/>
                  </a:lnTo>
                  <a:lnTo>
                    <a:pt x="5" y="154"/>
                  </a:lnTo>
                  <a:lnTo>
                    <a:pt x="5" y="149"/>
                  </a:lnTo>
                  <a:lnTo>
                    <a:pt x="7" y="137"/>
                  </a:lnTo>
                  <a:lnTo>
                    <a:pt x="7" y="126"/>
                  </a:lnTo>
                  <a:lnTo>
                    <a:pt x="9" y="126"/>
                  </a:lnTo>
                  <a:lnTo>
                    <a:pt x="7" y="123"/>
                  </a:lnTo>
                  <a:lnTo>
                    <a:pt x="7" y="121"/>
                  </a:lnTo>
                  <a:lnTo>
                    <a:pt x="7" y="116"/>
                  </a:lnTo>
                  <a:lnTo>
                    <a:pt x="7" y="112"/>
                  </a:lnTo>
                  <a:lnTo>
                    <a:pt x="7" y="107"/>
                  </a:lnTo>
                  <a:lnTo>
                    <a:pt x="9" y="95"/>
                  </a:lnTo>
                  <a:lnTo>
                    <a:pt x="9" y="93"/>
                  </a:lnTo>
                  <a:lnTo>
                    <a:pt x="5" y="83"/>
                  </a:lnTo>
                  <a:lnTo>
                    <a:pt x="2" y="81"/>
                  </a:lnTo>
                  <a:lnTo>
                    <a:pt x="0" y="78"/>
                  </a:lnTo>
                  <a:lnTo>
                    <a:pt x="0" y="76"/>
                  </a:lnTo>
                  <a:lnTo>
                    <a:pt x="0" y="74"/>
                  </a:lnTo>
                  <a:lnTo>
                    <a:pt x="0" y="67"/>
                  </a:lnTo>
                  <a:lnTo>
                    <a:pt x="0" y="62"/>
                  </a:lnTo>
                  <a:lnTo>
                    <a:pt x="2" y="52"/>
                  </a:lnTo>
                  <a:lnTo>
                    <a:pt x="2" y="41"/>
                  </a:lnTo>
                  <a:lnTo>
                    <a:pt x="2" y="36"/>
                  </a:lnTo>
                  <a:lnTo>
                    <a:pt x="2" y="31"/>
                  </a:lnTo>
                  <a:lnTo>
                    <a:pt x="2" y="29"/>
                  </a:lnTo>
                  <a:lnTo>
                    <a:pt x="7" y="26"/>
                  </a:lnTo>
                  <a:lnTo>
                    <a:pt x="9" y="26"/>
                  </a:lnTo>
                  <a:lnTo>
                    <a:pt x="12" y="29"/>
                  </a:lnTo>
                  <a:lnTo>
                    <a:pt x="14" y="29"/>
                  </a:lnTo>
                  <a:lnTo>
                    <a:pt x="14" y="26"/>
                  </a:lnTo>
                  <a:lnTo>
                    <a:pt x="14" y="24"/>
                  </a:lnTo>
                  <a:lnTo>
                    <a:pt x="14" y="22"/>
                  </a:lnTo>
                  <a:lnTo>
                    <a:pt x="16" y="22"/>
                  </a:lnTo>
                  <a:lnTo>
                    <a:pt x="16" y="22"/>
                  </a:lnTo>
                  <a:lnTo>
                    <a:pt x="16" y="17"/>
                  </a:lnTo>
                  <a:lnTo>
                    <a:pt x="14" y="12"/>
                  </a:lnTo>
                  <a:lnTo>
                    <a:pt x="12" y="5"/>
                  </a:lnTo>
                  <a:lnTo>
                    <a:pt x="12" y="3"/>
                  </a:lnTo>
                  <a:lnTo>
                    <a:pt x="12" y="3"/>
                  </a:lnTo>
                  <a:lnTo>
                    <a:pt x="14" y="3"/>
                  </a:lnTo>
                  <a:lnTo>
                    <a:pt x="14"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3" name="Freeform 504">
              <a:extLst>
                <a:ext uri="{FF2B5EF4-FFF2-40B4-BE49-F238E27FC236}">
                  <a16:creationId xmlns:a16="http://schemas.microsoft.com/office/drawing/2014/main" id="{AD048C75-95CB-4586-8420-EA870C11971E}"/>
                </a:ext>
              </a:extLst>
            </p:cNvPr>
            <p:cNvSpPr>
              <a:spLocks/>
            </p:cNvSpPr>
            <p:nvPr/>
          </p:nvSpPr>
          <p:spPr bwMode="auto">
            <a:xfrm>
              <a:off x="7969678" y="2782746"/>
              <a:ext cx="86030" cy="380519"/>
            </a:xfrm>
            <a:custGeom>
              <a:avLst/>
              <a:gdLst>
                <a:gd name="T0" fmla="*/ 16 w 52"/>
                <a:gd name="T1" fmla="*/ 0 h 230"/>
                <a:gd name="T2" fmla="*/ 21 w 52"/>
                <a:gd name="T3" fmla="*/ 8 h 230"/>
                <a:gd name="T4" fmla="*/ 23 w 52"/>
                <a:gd name="T5" fmla="*/ 26 h 230"/>
                <a:gd name="T6" fmla="*/ 28 w 52"/>
                <a:gd name="T7" fmla="*/ 48 h 230"/>
                <a:gd name="T8" fmla="*/ 28 w 52"/>
                <a:gd name="T9" fmla="*/ 60 h 230"/>
                <a:gd name="T10" fmla="*/ 26 w 52"/>
                <a:gd name="T11" fmla="*/ 69 h 230"/>
                <a:gd name="T12" fmla="*/ 26 w 52"/>
                <a:gd name="T13" fmla="*/ 78 h 230"/>
                <a:gd name="T14" fmla="*/ 28 w 52"/>
                <a:gd name="T15" fmla="*/ 83 h 230"/>
                <a:gd name="T16" fmla="*/ 31 w 52"/>
                <a:gd name="T17" fmla="*/ 93 h 230"/>
                <a:gd name="T18" fmla="*/ 35 w 52"/>
                <a:gd name="T19" fmla="*/ 112 h 230"/>
                <a:gd name="T20" fmla="*/ 42 w 52"/>
                <a:gd name="T21" fmla="*/ 137 h 230"/>
                <a:gd name="T22" fmla="*/ 47 w 52"/>
                <a:gd name="T23" fmla="*/ 147 h 230"/>
                <a:gd name="T24" fmla="*/ 52 w 52"/>
                <a:gd name="T25" fmla="*/ 156 h 230"/>
                <a:gd name="T26" fmla="*/ 45 w 52"/>
                <a:gd name="T27" fmla="*/ 149 h 230"/>
                <a:gd name="T28" fmla="*/ 38 w 52"/>
                <a:gd name="T29" fmla="*/ 145 h 230"/>
                <a:gd name="T30" fmla="*/ 28 w 52"/>
                <a:gd name="T31" fmla="*/ 142 h 230"/>
                <a:gd name="T32" fmla="*/ 23 w 52"/>
                <a:gd name="T33" fmla="*/ 152 h 230"/>
                <a:gd name="T34" fmla="*/ 19 w 52"/>
                <a:gd name="T35" fmla="*/ 163 h 230"/>
                <a:gd name="T36" fmla="*/ 16 w 52"/>
                <a:gd name="T37" fmla="*/ 182 h 230"/>
                <a:gd name="T38" fmla="*/ 19 w 52"/>
                <a:gd name="T39" fmla="*/ 192 h 230"/>
                <a:gd name="T40" fmla="*/ 23 w 52"/>
                <a:gd name="T41" fmla="*/ 204 h 230"/>
                <a:gd name="T42" fmla="*/ 26 w 52"/>
                <a:gd name="T43" fmla="*/ 208 h 230"/>
                <a:gd name="T44" fmla="*/ 31 w 52"/>
                <a:gd name="T45" fmla="*/ 208 h 230"/>
                <a:gd name="T46" fmla="*/ 33 w 52"/>
                <a:gd name="T47" fmla="*/ 218 h 230"/>
                <a:gd name="T48" fmla="*/ 31 w 52"/>
                <a:gd name="T49" fmla="*/ 227 h 230"/>
                <a:gd name="T50" fmla="*/ 21 w 52"/>
                <a:gd name="T51" fmla="*/ 213 h 230"/>
                <a:gd name="T52" fmla="*/ 14 w 52"/>
                <a:gd name="T53" fmla="*/ 215 h 230"/>
                <a:gd name="T54" fmla="*/ 9 w 52"/>
                <a:gd name="T55" fmla="*/ 230 h 230"/>
                <a:gd name="T56" fmla="*/ 5 w 52"/>
                <a:gd name="T57" fmla="*/ 220 h 230"/>
                <a:gd name="T58" fmla="*/ 5 w 52"/>
                <a:gd name="T59" fmla="*/ 199 h 230"/>
                <a:gd name="T60" fmla="*/ 9 w 52"/>
                <a:gd name="T61" fmla="*/ 178 h 230"/>
                <a:gd name="T62" fmla="*/ 7 w 52"/>
                <a:gd name="T63" fmla="*/ 166 h 230"/>
                <a:gd name="T64" fmla="*/ 5 w 52"/>
                <a:gd name="T65" fmla="*/ 154 h 230"/>
                <a:gd name="T66" fmla="*/ 7 w 52"/>
                <a:gd name="T67" fmla="*/ 137 h 230"/>
                <a:gd name="T68" fmla="*/ 9 w 52"/>
                <a:gd name="T69" fmla="*/ 126 h 230"/>
                <a:gd name="T70" fmla="*/ 7 w 52"/>
                <a:gd name="T71" fmla="*/ 121 h 230"/>
                <a:gd name="T72" fmla="*/ 7 w 52"/>
                <a:gd name="T73" fmla="*/ 112 h 230"/>
                <a:gd name="T74" fmla="*/ 9 w 52"/>
                <a:gd name="T75" fmla="*/ 95 h 230"/>
                <a:gd name="T76" fmla="*/ 5 w 52"/>
                <a:gd name="T77" fmla="*/ 83 h 230"/>
                <a:gd name="T78" fmla="*/ 0 w 52"/>
                <a:gd name="T79" fmla="*/ 78 h 230"/>
                <a:gd name="T80" fmla="*/ 0 w 52"/>
                <a:gd name="T81" fmla="*/ 74 h 230"/>
                <a:gd name="T82" fmla="*/ 0 w 52"/>
                <a:gd name="T83" fmla="*/ 62 h 230"/>
                <a:gd name="T84" fmla="*/ 2 w 52"/>
                <a:gd name="T85" fmla="*/ 41 h 230"/>
                <a:gd name="T86" fmla="*/ 2 w 52"/>
                <a:gd name="T87" fmla="*/ 31 h 230"/>
                <a:gd name="T88" fmla="*/ 7 w 52"/>
                <a:gd name="T89" fmla="*/ 26 h 230"/>
                <a:gd name="T90" fmla="*/ 12 w 52"/>
                <a:gd name="T91" fmla="*/ 29 h 230"/>
                <a:gd name="T92" fmla="*/ 14 w 52"/>
                <a:gd name="T93" fmla="*/ 26 h 230"/>
                <a:gd name="T94" fmla="*/ 14 w 52"/>
                <a:gd name="T95" fmla="*/ 22 h 230"/>
                <a:gd name="T96" fmla="*/ 16 w 52"/>
                <a:gd name="T97" fmla="*/ 22 h 230"/>
                <a:gd name="T98" fmla="*/ 14 w 52"/>
                <a:gd name="T99" fmla="*/ 12 h 230"/>
                <a:gd name="T100" fmla="*/ 12 w 52"/>
                <a:gd name="T101" fmla="*/ 3 h 230"/>
                <a:gd name="T102" fmla="*/ 14 w 52"/>
                <a:gd name="T103" fmla="*/ 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230">
                  <a:moveTo>
                    <a:pt x="14" y="3"/>
                  </a:moveTo>
                  <a:lnTo>
                    <a:pt x="16" y="0"/>
                  </a:lnTo>
                  <a:lnTo>
                    <a:pt x="19" y="3"/>
                  </a:lnTo>
                  <a:lnTo>
                    <a:pt x="21" y="8"/>
                  </a:lnTo>
                  <a:lnTo>
                    <a:pt x="21" y="19"/>
                  </a:lnTo>
                  <a:lnTo>
                    <a:pt x="23" y="26"/>
                  </a:lnTo>
                  <a:lnTo>
                    <a:pt x="26" y="38"/>
                  </a:lnTo>
                  <a:lnTo>
                    <a:pt x="28" y="48"/>
                  </a:lnTo>
                  <a:lnTo>
                    <a:pt x="28" y="55"/>
                  </a:lnTo>
                  <a:lnTo>
                    <a:pt x="28" y="60"/>
                  </a:lnTo>
                  <a:lnTo>
                    <a:pt x="26" y="62"/>
                  </a:lnTo>
                  <a:lnTo>
                    <a:pt x="26" y="69"/>
                  </a:lnTo>
                  <a:lnTo>
                    <a:pt x="26" y="74"/>
                  </a:lnTo>
                  <a:lnTo>
                    <a:pt x="26" y="78"/>
                  </a:lnTo>
                  <a:lnTo>
                    <a:pt x="26" y="83"/>
                  </a:lnTo>
                  <a:lnTo>
                    <a:pt x="28" y="83"/>
                  </a:lnTo>
                  <a:lnTo>
                    <a:pt x="31" y="88"/>
                  </a:lnTo>
                  <a:lnTo>
                    <a:pt x="31" y="93"/>
                  </a:lnTo>
                  <a:lnTo>
                    <a:pt x="31" y="95"/>
                  </a:lnTo>
                  <a:lnTo>
                    <a:pt x="35" y="112"/>
                  </a:lnTo>
                  <a:lnTo>
                    <a:pt x="42" y="130"/>
                  </a:lnTo>
                  <a:lnTo>
                    <a:pt x="42" y="137"/>
                  </a:lnTo>
                  <a:lnTo>
                    <a:pt x="45" y="142"/>
                  </a:lnTo>
                  <a:lnTo>
                    <a:pt x="47" y="147"/>
                  </a:lnTo>
                  <a:lnTo>
                    <a:pt x="49" y="152"/>
                  </a:lnTo>
                  <a:lnTo>
                    <a:pt x="52" y="156"/>
                  </a:lnTo>
                  <a:lnTo>
                    <a:pt x="52" y="159"/>
                  </a:lnTo>
                  <a:lnTo>
                    <a:pt x="45" y="149"/>
                  </a:lnTo>
                  <a:lnTo>
                    <a:pt x="42" y="147"/>
                  </a:lnTo>
                  <a:lnTo>
                    <a:pt x="38" y="145"/>
                  </a:lnTo>
                  <a:lnTo>
                    <a:pt x="33" y="142"/>
                  </a:lnTo>
                  <a:lnTo>
                    <a:pt x="28" y="142"/>
                  </a:lnTo>
                  <a:lnTo>
                    <a:pt x="23" y="147"/>
                  </a:lnTo>
                  <a:lnTo>
                    <a:pt x="23" y="152"/>
                  </a:lnTo>
                  <a:lnTo>
                    <a:pt x="21" y="156"/>
                  </a:lnTo>
                  <a:lnTo>
                    <a:pt x="19" y="163"/>
                  </a:lnTo>
                  <a:lnTo>
                    <a:pt x="16" y="175"/>
                  </a:lnTo>
                  <a:lnTo>
                    <a:pt x="16" y="182"/>
                  </a:lnTo>
                  <a:lnTo>
                    <a:pt x="16" y="187"/>
                  </a:lnTo>
                  <a:lnTo>
                    <a:pt x="19" y="192"/>
                  </a:lnTo>
                  <a:lnTo>
                    <a:pt x="23" y="199"/>
                  </a:lnTo>
                  <a:lnTo>
                    <a:pt x="23" y="204"/>
                  </a:lnTo>
                  <a:lnTo>
                    <a:pt x="26" y="206"/>
                  </a:lnTo>
                  <a:lnTo>
                    <a:pt x="26" y="208"/>
                  </a:lnTo>
                  <a:lnTo>
                    <a:pt x="31" y="211"/>
                  </a:lnTo>
                  <a:lnTo>
                    <a:pt x="31" y="208"/>
                  </a:lnTo>
                  <a:lnTo>
                    <a:pt x="31" y="211"/>
                  </a:lnTo>
                  <a:lnTo>
                    <a:pt x="33" y="218"/>
                  </a:lnTo>
                  <a:lnTo>
                    <a:pt x="33" y="225"/>
                  </a:lnTo>
                  <a:lnTo>
                    <a:pt x="31" y="227"/>
                  </a:lnTo>
                  <a:lnTo>
                    <a:pt x="28" y="215"/>
                  </a:lnTo>
                  <a:lnTo>
                    <a:pt x="21" y="213"/>
                  </a:lnTo>
                  <a:lnTo>
                    <a:pt x="16" y="211"/>
                  </a:lnTo>
                  <a:lnTo>
                    <a:pt x="14" y="215"/>
                  </a:lnTo>
                  <a:lnTo>
                    <a:pt x="9" y="225"/>
                  </a:lnTo>
                  <a:lnTo>
                    <a:pt x="9" y="230"/>
                  </a:lnTo>
                  <a:lnTo>
                    <a:pt x="5" y="227"/>
                  </a:lnTo>
                  <a:lnTo>
                    <a:pt x="5" y="220"/>
                  </a:lnTo>
                  <a:lnTo>
                    <a:pt x="2" y="213"/>
                  </a:lnTo>
                  <a:lnTo>
                    <a:pt x="5" y="199"/>
                  </a:lnTo>
                  <a:lnTo>
                    <a:pt x="7" y="180"/>
                  </a:lnTo>
                  <a:lnTo>
                    <a:pt x="9" y="178"/>
                  </a:lnTo>
                  <a:lnTo>
                    <a:pt x="9" y="173"/>
                  </a:lnTo>
                  <a:lnTo>
                    <a:pt x="7" y="166"/>
                  </a:lnTo>
                  <a:lnTo>
                    <a:pt x="5" y="159"/>
                  </a:lnTo>
                  <a:lnTo>
                    <a:pt x="5" y="154"/>
                  </a:lnTo>
                  <a:lnTo>
                    <a:pt x="5" y="149"/>
                  </a:lnTo>
                  <a:lnTo>
                    <a:pt x="7" y="137"/>
                  </a:lnTo>
                  <a:lnTo>
                    <a:pt x="7" y="126"/>
                  </a:lnTo>
                  <a:lnTo>
                    <a:pt x="9" y="126"/>
                  </a:lnTo>
                  <a:lnTo>
                    <a:pt x="7" y="123"/>
                  </a:lnTo>
                  <a:lnTo>
                    <a:pt x="7" y="121"/>
                  </a:lnTo>
                  <a:lnTo>
                    <a:pt x="7" y="116"/>
                  </a:lnTo>
                  <a:lnTo>
                    <a:pt x="7" y="112"/>
                  </a:lnTo>
                  <a:lnTo>
                    <a:pt x="7" y="107"/>
                  </a:lnTo>
                  <a:lnTo>
                    <a:pt x="9" y="95"/>
                  </a:lnTo>
                  <a:lnTo>
                    <a:pt x="9" y="93"/>
                  </a:lnTo>
                  <a:lnTo>
                    <a:pt x="5" y="83"/>
                  </a:lnTo>
                  <a:lnTo>
                    <a:pt x="2" y="81"/>
                  </a:lnTo>
                  <a:lnTo>
                    <a:pt x="0" y="78"/>
                  </a:lnTo>
                  <a:lnTo>
                    <a:pt x="0" y="76"/>
                  </a:lnTo>
                  <a:lnTo>
                    <a:pt x="0" y="74"/>
                  </a:lnTo>
                  <a:lnTo>
                    <a:pt x="0" y="67"/>
                  </a:lnTo>
                  <a:lnTo>
                    <a:pt x="0" y="62"/>
                  </a:lnTo>
                  <a:lnTo>
                    <a:pt x="2" y="52"/>
                  </a:lnTo>
                  <a:lnTo>
                    <a:pt x="2" y="41"/>
                  </a:lnTo>
                  <a:lnTo>
                    <a:pt x="2" y="36"/>
                  </a:lnTo>
                  <a:lnTo>
                    <a:pt x="2" y="31"/>
                  </a:lnTo>
                  <a:lnTo>
                    <a:pt x="2" y="29"/>
                  </a:lnTo>
                  <a:lnTo>
                    <a:pt x="7" y="26"/>
                  </a:lnTo>
                  <a:lnTo>
                    <a:pt x="9" y="26"/>
                  </a:lnTo>
                  <a:lnTo>
                    <a:pt x="12" y="29"/>
                  </a:lnTo>
                  <a:lnTo>
                    <a:pt x="14" y="29"/>
                  </a:lnTo>
                  <a:lnTo>
                    <a:pt x="14" y="26"/>
                  </a:lnTo>
                  <a:lnTo>
                    <a:pt x="14" y="24"/>
                  </a:lnTo>
                  <a:lnTo>
                    <a:pt x="14" y="22"/>
                  </a:lnTo>
                  <a:lnTo>
                    <a:pt x="16" y="22"/>
                  </a:lnTo>
                  <a:lnTo>
                    <a:pt x="16" y="22"/>
                  </a:lnTo>
                  <a:lnTo>
                    <a:pt x="16" y="17"/>
                  </a:lnTo>
                  <a:lnTo>
                    <a:pt x="14" y="12"/>
                  </a:lnTo>
                  <a:lnTo>
                    <a:pt x="12" y="5"/>
                  </a:lnTo>
                  <a:lnTo>
                    <a:pt x="12" y="3"/>
                  </a:lnTo>
                  <a:lnTo>
                    <a:pt x="12" y="3"/>
                  </a:lnTo>
                  <a:lnTo>
                    <a:pt x="14" y="3"/>
                  </a:lnTo>
                  <a:lnTo>
                    <a:pt x="14"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4" name="Freeform 505">
              <a:extLst>
                <a:ext uri="{FF2B5EF4-FFF2-40B4-BE49-F238E27FC236}">
                  <a16:creationId xmlns:a16="http://schemas.microsoft.com/office/drawing/2014/main" id="{DB0BB9FE-8C5A-45FA-A931-7A1D99126E4A}"/>
                </a:ext>
              </a:extLst>
            </p:cNvPr>
            <p:cNvSpPr>
              <a:spLocks/>
            </p:cNvSpPr>
            <p:nvPr/>
          </p:nvSpPr>
          <p:spPr bwMode="auto">
            <a:xfrm>
              <a:off x="7840632" y="2744695"/>
              <a:ext cx="26470" cy="26470"/>
            </a:xfrm>
            <a:custGeom>
              <a:avLst/>
              <a:gdLst>
                <a:gd name="T0" fmla="*/ 0 w 16"/>
                <a:gd name="T1" fmla="*/ 12 h 16"/>
                <a:gd name="T2" fmla="*/ 0 w 16"/>
                <a:gd name="T3" fmla="*/ 14 h 16"/>
                <a:gd name="T4" fmla="*/ 2 w 16"/>
                <a:gd name="T5" fmla="*/ 12 h 16"/>
                <a:gd name="T6" fmla="*/ 5 w 16"/>
                <a:gd name="T7" fmla="*/ 14 h 16"/>
                <a:gd name="T8" fmla="*/ 7 w 16"/>
                <a:gd name="T9" fmla="*/ 16 h 16"/>
                <a:gd name="T10" fmla="*/ 7 w 16"/>
                <a:gd name="T11" fmla="*/ 16 h 16"/>
                <a:gd name="T12" fmla="*/ 12 w 16"/>
                <a:gd name="T13" fmla="*/ 14 h 16"/>
                <a:gd name="T14" fmla="*/ 12 w 16"/>
                <a:gd name="T15" fmla="*/ 12 h 16"/>
                <a:gd name="T16" fmla="*/ 14 w 16"/>
                <a:gd name="T17" fmla="*/ 7 h 16"/>
                <a:gd name="T18" fmla="*/ 16 w 16"/>
                <a:gd name="T19" fmla="*/ 5 h 16"/>
                <a:gd name="T20" fmla="*/ 12 w 16"/>
                <a:gd name="T21" fmla="*/ 2 h 16"/>
                <a:gd name="T22" fmla="*/ 7 w 16"/>
                <a:gd name="T23" fmla="*/ 0 h 16"/>
                <a:gd name="T24" fmla="*/ 5 w 16"/>
                <a:gd name="T25" fmla="*/ 7 h 16"/>
                <a:gd name="T26" fmla="*/ 0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0" y="12"/>
                  </a:moveTo>
                  <a:lnTo>
                    <a:pt x="0" y="14"/>
                  </a:lnTo>
                  <a:lnTo>
                    <a:pt x="2" y="12"/>
                  </a:lnTo>
                  <a:lnTo>
                    <a:pt x="5" y="14"/>
                  </a:lnTo>
                  <a:lnTo>
                    <a:pt x="7" y="16"/>
                  </a:lnTo>
                  <a:lnTo>
                    <a:pt x="7" y="16"/>
                  </a:lnTo>
                  <a:lnTo>
                    <a:pt x="12" y="14"/>
                  </a:lnTo>
                  <a:lnTo>
                    <a:pt x="12" y="12"/>
                  </a:lnTo>
                  <a:lnTo>
                    <a:pt x="14" y="7"/>
                  </a:lnTo>
                  <a:lnTo>
                    <a:pt x="16" y="5"/>
                  </a:lnTo>
                  <a:lnTo>
                    <a:pt x="12" y="2"/>
                  </a:lnTo>
                  <a:lnTo>
                    <a:pt x="7" y="0"/>
                  </a:lnTo>
                  <a:lnTo>
                    <a:pt x="5" y="7"/>
                  </a:lnTo>
                  <a:lnTo>
                    <a:pt x="0"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5" name="Freeform 506">
              <a:extLst>
                <a:ext uri="{FF2B5EF4-FFF2-40B4-BE49-F238E27FC236}">
                  <a16:creationId xmlns:a16="http://schemas.microsoft.com/office/drawing/2014/main" id="{111C9ABF-8498-42EC-9ED7-861002BBB773}"/>
                </a:ext>
              </a:extLst>
            </p:cNvPr>
            <p:cNvSpPr>
              <a:spLocks/>
            </p:cNvSpPr>
            <p:nvPr/>
          </p:nvSpPr>
          <p:spPr bwMode="auto">
            <a:xfrm>
              <a:off x="7840632" y="2744695"/>
              <a:ext cx="26470" cy="26470"/>
            </a:xfrm>
            <a:custGeom>
              <a:avLst/>
              <a:gdLst>
                <a:gd name="T0" fmla="*/ 0 w 16"/>
                <a:gd name="T1" fmla="*/ 12 h 16"/>
                <a:gd name="T2" fmla="*/ 0 w 16"/>
                <a:gd name="T3" fmla="*/ 14 h 16"/>
                <a:gd name="T4" fmla="*/ 2 w 16"/>
                <a:gd name="T5" fmla="*/ 12 h 16"/>
                <a:gd name="T6" fmla="*/ 5 w 16"/>
                <a:gd name="T7" fmla="*/ 14 h 16"/>
                <a:gd name="T8" fmla="*/ 7 w 16"/>
                <a:gd name="T9" fmla="*/ 16 h 16"/>
                <a:gd name="T10" fmla="*/ 7 w 16"/>
                <a:gd name="T11" fmla="*/ 16 h 16"/>
                <a:gd name="T12" fmla="*/ 12 w 16"/>
                <a:gd name="T13" fmla="*/ 14 h 16"/>
                <a:gd name="T14" fmla="*/ 12 w 16"/>
                <a:gd name="T15" fmla="*/ 12 h 16"/>
                <a:gd name="T16" fmla="*/ 14 w 16"/>
                <a:gd name="T17" fmla="*/ 7 h 16"/>
                <a:gd name="T18" fmla="*/ 16 w 16"/>
                <a:gd name="T19" fmla="*/ 5 h 16"/>
                <a:gd name="T20" fmla="*/ 12 w 16"/>
                <a:gd name="T21" fmla="*/ 2 h 16"/>
                <a:gd name="T22" fmla="*/ 7 w 16"/>
                <a:gd name="T23" fmla="*/ 0 h 16"/>
                <a:gd name="T24" fmla="*/ 5 w 16"/>
                <a:gd name="T25" fmla="*/ 7 h 16"/>
                <a:gd name="T26" fmla="*/ 0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0" y="12"/>
                  </a:moveTo>
                  <a:lnTo>
                    <a:pt x="0" y="14"/>
                  </a:lnTo>
                  <a:lnTo>
                    <a:pt x="2" y="12"/>
                  </a:lnTo>
                  <a:lnTo>
                    <a:pt x="5" y="14"/>
                  </a:lnTo>
                  <a:lnTo>
                    <a:pt x="7" y="16"/>
                  </a:lnTo>
                  <a:lnTo>
                    <a:pt x="7" y="16"/>
                  </a:lnTo>
                  <a:lnTo>
                    <a:pt x="12" y="14"/>
                  </a:lnTo>
                  <a:lnTo>
                    <a:pt x="12" y="12"/>
                  </a:lnTo>
                  <a:lnTo>
                    <a:pt x="14" y="7"/>
                  </a:lnTo>
                  <a:lnTo>
                    <a:pt x="16" y="5"/>
                  </a:lnTo>
                  <a:lnTo>
                    <a:pt x="12" y="2"/>
                  </a:lnTo>
                  <a:lnTo>
                    <a:pt x="7" y="0"/>
                  </a:lnTo>
                  <a:lnTo>
                    <a:pt x="5" y="7"/>
                  </a:lnTo>
                  <a:lnTo>
                    <a:pt x="0" y="1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6" name="Freeform 509">
              <a:extLst>
                <a:ext uri="{FF2B5EF4-FFF2-40B4-BE49-F238E27FC236}">
                  <a16:creationId xmlns:a16="http://schemas.microsoft.com/office/drawing/2014/main" id="{AA23AB31-6A2C-4A88-8AD0-1B47C6002ED2}"/>
                </a:ext>
              </a:extLst>
            </p:cNvPr>
            <p:cNvSpPr>
              <a:spLocks/>
            </p:cNvSpPr>
            <p:nvPr/>
          </p:nvSpPr>
          <p:spPr bwMode="auto">
            <a:xfrm>
              <a:off x="8388249" y="2951498"/>
              <a:ext cx="6618" cy="8273"/>
            </a:xfrm>
            <a:custGeom>
              <a:avLst/>
              <a:gdLst>
                <a:gd name="T0" fmla="*/ 4 w 4"/>
                <a:gd name="T1" fmla="*/ 0 h 5"/>
                <a:gd name="T2" fmla="*/ 4 w 4"/>
                <a:gd name="T3" fmla="*/ 0 h 5"/>
                <a:gd name="T4" fmla="*/ 2 w 4"/>
                <a:gd name="T5" fmla="*/ 2 h 5"/>
                <a:gd name="T6" fmla="*/ 0 w 4"/>
                <a:gd name="T7" fmla="*/ 5 h 5"/>
                <a:gd name="T8" fmla="*/ 0 w 4"/>
                <a:gd name="T9" fmla="*/ 5 h 5"/>
                <a:gd name="T10" fmla="*/ 2 w 4"/>
                <a:gd name="T11" fmla="*/ 5 h 5"/>
                <a:gd name="T12" fmla="*/ 4 w 4"/>
                <a:gd name="T13" fmla="*/ 2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2" y="2"/>
                  </a:lnTo>
                  <a:lnTo>
                    <a:pt x="0" y="5"/>
                  </a:lnTo>
                  <a:lnTo>
                    <a:pt x="0" y="5"/>
                  </a:lnTo>
                  <a:lnTo>
                    <a:pt x="2" y="5"/>
                  </a:lnTo>
                  <a:lnTo>
                    <a:pt x="4" y="2"/>
                  </a:lnTo>
                  <a:lnTo>
                    <a:pt x="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7" name="Freeform 510">
              <a:extLst>
                <a:ext uri="{FF2B5EF4-FFF2-40B4-BE49-F238E27FC236}">
                  <a16:creationId xmlns:a16="http://schemas.microsoft.com/office/drawing/2014/main" id="{59553DF1-085E-4C00-B1EA-3B5D706ABD5F}"/>
                </a:ext>
              </a:extLst>
            </p:cNvPr>
            <p:cNvSpPr>
              <a:spLocks/>
            </p:cNvSpPr>
            <p:nvPr/>
          </p:nvSpPr>
          <p:spPr bwMode="auto">
            <a:xfrm>
              <a:off x="8388249" y="2951498"/>
              <a:ext cx="6618" cy="8273"/>
            </a:xfrm>
            <a:custGeom>
              <a:avLst/>
              <a:gdLst>
                <a:gd name="T0" fmla="*/ 4 w 4"/>
                <a:gd name="T1" fmla="*/ 0 h 5"/>
                <a:gd name="T2" fmla="*/ 4 w 4"/>
                <a:gd name="T3" fmla="*/ 0 h 5"/>
                <a:gd name="T4" fmla="*/ 2 w 4"/>
                <a:gd name="T5" fmla="*/ 2 h 5"/>
                <a:gd name="T6" fmla="*/ 0 w 4"/>
                <a:gd name="T7" fmla="*/ 5 h 5"/>
                <a:gd name="T8" fmla="*/ 0 w 4"/>
                <a:gd name="T9" fmla="*/ 5 h 5"/>
                <a:gd name="T10" fmla="*/ 2 w 4"/>
                <a:gd name="T11" fmla="*/ 5 h 5"/>
                <a:gd name="T12" fmla="*/ 4 w 4"/>
                <a:gd name="T13" fmla="*/ 2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4" y="0"/>
                  </a:lnTo>
                  <a:lnTo>
                    <a:pt x="2" y="2"/>
                  </a:lnTo>
                  <a:lnTo>
                    <a:pt x="0" y="5"/>
                  </a:lnTo>
                  <a:lnTo>
                    <a:pt x="0" y="5"/>
                  </a:lnTo>
                  <a:lnTo>
                    <a:pt x="2" y="5"/>
                  </a:lnTo>
                  <a:lnTo>
                    <a:pt x="4" y="2"/>
                  </a:lnTo>
                  <a:lnTo>
                    <a:pt x="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8" name="Freeform 511">
              <a:extLst>
                <a:ext uri="{FF2B5EF4-FFF2-40B4-BE49-F238E27FC236}">
                  <a16:creationId xmlns:a16="http://schemas.microsoft.com/office/drawing/2014/main" id="{0A1F6AA0-01B6-44C1-AD1D-217A239EB7B5}"/>
                </a:ext>
              </a:extLst>
            </p:cNvPr>
            <p:cNvSpPr>
              <a:spLocks/>
            </p:cNvSpPr>
            <p:nvPr/>
          </p:nvSpPr>
          <p:spPr bwMode="auto">
            <a:xfrm>
              <a:off x="8360124" y="2959771"/>
              <a:ext cx="28126" cy="31435"/>
            </a:xfrm>
            <a:custGeom>
              <a:avLst/>
              <a:gdLst>
                <a:gd name="T0" fmla="*/ 14 w 17"/>
                <a:gd name="T1" fmla="*/ 0 h 19"/>
                <a:gd name="T2" fmla="*/ 12 w 17"/>
                <a:gd name="T3" fmla="*/ 2 h 19"/>
                <a:gd name="T4" fmla="*/ 7 w 17"/>
                <a:gd name="T5" fmla="*/ 7 h 19"/>
                <a:gd name="T6" fmla="*/ 7 w 17"/>
                <a:gd name="T7" fmla="*/ 9 h 19"/>
                <a:gd name="T8" fmla="*/ 5 w 17"/>
                <a:gd name="T9" fmla="*/ 9 h 19"/>
                <a:gd name="T10" fmla="*/ 2 w 17"/>
                <a:gd name="T11" fmla="*/ 12 h 19"/>
                <a:gd name="T12" fmla="*/ 0 w 17"/>
                <a:gd name="T13" fmla="*/ 12 h 19"/>
                <a:gd name="T14" fmla="*/ 0 w 17"/>
                <a:gd name="T15" fmla="*/ 12 h 19"/>
                <a:gd name="T16" fmla="*/ 0 w 17"/>
                <a:gd name="T17" fmla="*/ 16 h 19"/>
                <a:gd name="T18" fmla="*/ 0 w 17"/>
                <a:gd name="T19" fmla="*/ 19 h 19"/>
                <a:gd name="T20" fmla="*/ 7 w 17"/>
                <a:gd name="T21" fmla="*/ 14 h 19"/>
                <a:gd name="T22" fmla="*/ 10 w 17"/>
                <a:gd name="T23" fmla="*/ 12 h 19"/>
                <a:gd name="T24" fmla="*/ 12 w 17"/>
                <a:gd name="T25" fmla="*/ 9 h 19"/>
                <a:gd name="T26" fmla="*/ 14 w 17"/>
                <a:gd name="T27" fmla="*/ 7 h 19"/>
                <a:gd name="T28" fmla="*/ 17 w 17"/>
                <a:gd name="T29" fmla="*/ 5 h 19"/>
                <a:gd name="T30" fmla="*/ 17 w 17"/>
                <a:gd name="T31" fmla="*/ 2 h 19"/>
                <a:gd name="T32" fmla="*/ 14 w 17"/>
                <a:gd name="T33" fmla="*/ 0 h 19"/>
                <a:gd name="T34" fmla="*/ 14 w 17"/>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9">
                  <a:moveTo>
                    <a:pt x="14" y="0"/>
                  </a:moveTo>
                  <a:lnTo>
                    <a:pt x="12" y="2"/>
                  </a:lnTo>
                  <a:lnTo>
                    <a:pt x="7" y="7"/>
                  </a:lnTo>
                  <a:lnTo>
                    <a:pt x="7" y="9"/>
                  </a:lnTo>
                  <a:lnTo>
                    <a:pt x="5" y="9"/>
                  </a:lnTo>
                  <a:lnTo>
                    <a:pt x="2" y="12"/>
                  </a:lnTo>
                  <a:lnTo>
                    <a:pt x="0" y="12"/>
                  </a:lnTo>
                  <a:lnTo>
                    <a:pt x="0" y="12"/>
                  </a:lnTo>
                  <a:lnTo>
                    <a:pt x="0" y="16"/>
                  </a:lnTo>
                  <a:lnTo>
                    <a:pt x="0" y="19"/>
                  </a:lnTo>
                  <a:lnTo>
                    <a:pt x="7" y="14"/>
                  </a:lnTo>
                  <a:lnTo>
                    <a:pt x="10" y="12"/>
                  </a:lnTo>
                  <a:lnTo>
                    <a:pt x="12" y="9"/>
                  </a:lnTo>
                  <a:lnTo>
                    <a:pt x="14" y="7"/>
                  </a:lnTo>
                  <a:lnTo>
                    <a:pt x="17" y="5"/>
                  </a:lnTo>
                  <a:lnTo>
                    <a:pt x="17" y="2"/>
                  </a:lnTo>
                  <a:lnTo>
                    <a:pt x="14" y="0"/>
                  </a:lnTo>
                  <a:lnTo>
                    <a:pt x="1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59" name="Freeform 512">
              <a:extLst>
                <a:ext uri="{FF2B5EF4-FFF2-40B4-BE49-F238E27FC236}">
                  <a16:creationId xmlns:a16="http://schemas.microsoft.com/office/drawing/2014/main" id="{E481F945-7867-4E29-83EE-4F367D2F48E0}"/>
                </a:ext>
              </a:extLst>
            </p:cNvPr>
            <p:cNvSpPr>
              <a:spLocks/>
            </p:cNvSpPr>
            <p:nvPr/>
          </p:nvSpPr>
          <p:spPr bwMode="auto">
            <a:xfrm>
              <a:off x="8360124" y="2959771"/>
              <a:ext cx="28126" cy="31435"/>
            </a:xfrm>
            <a:custGeom>
              <a:avLst/>
              <a:gdLst>
                <a:gd name="T0" fmla="*/ 14 w 17"/>
                <a:gd name="T1" fmla="*/ 0 h 19"/>
                <a:gd name="T2" fmla="*/ 12 w 17"/>
                <a:gd name="T3" fmla="*/ 2 h 19"/>
                <a:gd name="T4" fmla="*/ 7 w 17"/>
                <a:gd name="T5" fmla="*/ 7 h 19"/>
                <a:gd name="T6" fmla="*/ 7 w 17"/>
                <a:gd name="T7" fmla="*/ 9 h 19"/>
                <a:gd name="T8" fmla="*/ 5 w 17"/>
                <a:gd name="T9" fmla="*/ 9 h 19"/>
                <a:gd name="T10" fmla="*/ 2 w 17"/>
                <a:gd name="T11" fmla="*/ 12 h 19"/>
                <a:gd name="T12" fmla="*/ 0 w 17"/>
                <a:gd name="T13" fmla="*/ 12 h 19"/>
                <a:gd name="T14" fmla="*/ 0 w 17"/>
                <a:gd name="T15" fmla="*/ 12 h 19"/>
                <a:gd name="T16" fmla="*/ 0 w 17"/>
                <a:gd name="T17" fmla="*/ 16 h 19"/>
                <a:gd name="T18" fmla="*/ 0 w 17"/>
                <a:gd name="T19" fmla="*/ 19 h 19"/>
                <a:gd name="T20" fmla="*/ 7 w 17"/>
                <a:gd name="T21" fmla="*/ 14 h 19"/>
                <a:gd name="T22" fmla="*/ 10 w 17"/>
                <a:gd name="T23" fmla="*/ 12 h 19"/>
                <a:gd name="T24" fmla="*/ 12 w 17"/>
                <a:gd name="T25" fmla="*/ 9 h 19"/>
                <a:gd name="T26" fmla="*/ 14 w 17"/>
                <a:gd name="T27" fmla="*/ 7 h 19"/>
                <a:gd name="T28" fmla="*/ 17 w 17"/>
                <a:gd name="T29" fmla="*/ 5 h 19"/>
                <a:gd name="T30" fmla="*/ 17 w 17"/>
                <a:gd name="T31" fmla="*/ 2 h 19"/>
                <a:gd name="T32" fmla="*/ 14 w 17"/>
                <a:gd name="T33" fmla="*/ 0 h 19"/>
                <a:gd name="T34" fmla="*/ 14 w 17"/>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9">
                  <a:moveTo>
                    <a:pt x="14" y="0"/>
                  </a:moveTo>
                  <a:lnTo>
                    <a:pt x="12" y="2"/>
                  </a:lnTo>
                  <a:lnTo>
                    <a:pt x="7" y="7"/>
                  </a:lnTo>
                  <a:lnTo>
                    <a:pt x="7" y="9"/>
                  </a:lnTo>
                  <a:lnTo>
                    <a:pt x="5" y="9"/>
                  </a:lnTo>
                  <a:lnTo>
                    <a:pt x="2" y="12"/>
                  </a:lnTo>
                  <a:lnTo>
                    <a:pt x="0" y="12"/>
                  </a:lnTo>
                  <a:lnTo>
                    <a:pt x="0" y="12"/>
                  </a:lnTo>
                  <a:lnTo>
                    <a:pt x="0" y="16"/>
                  </a:lnTo>
                  <a:lnTo>
                    <a:pt x="0" y="19"/>
                  </a:lnTo>
                  <a:lnTo>
                    <a:pt x="7" y="14"/>
                  </a:lnTo>
                  <a:lnTo>
                    <a:pt x="10" y="12"/>
                  </a:lnTo>
                  <a:lnTo>
                    <a:pt x="12" y="9"/>
                  </a:lnTo>
                  <a:lnTo>
                    <a:pt x="14" y="7"/>
                  </a:lnTo>
                  <a:lnTo>
                    <a:pt x="17" y="5"/>
                  </a:lnTo>
                  <a:lnTo>
                    <a:pt x="17" y="2"/>
                  </a:lnTo>
                  <a:lnTo>
                    <a:pt x="14" y="0"/>
                  </a:lnTo>
                  <a:lnTo>
                    <a:pt x="1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0" name="Freeform 513">
              <a:extLst>
                <a:ext uri="{FF2B5EF4-FFF2-40B4-BE49-F238E27FC236}">
                  <a16:creationId xmlns:a16="http://schemas.microsoft.com/office/drawing/2014/main" id="{92544ED6-3A7E-43FF-9741-8B2521662BED}"/>
                </a:ext>
              </a:extLst>
            </p:cNvPr>
            <p:cNvSpPr>
              <a:spLocks/>
            </p:cNvSpPr>
            <p:nvPr/>
          </p:nvSpPr>
          <p:spPr bwMode="auto">
            <a:xfrm>
              <a:off x="8340271" y="3006095"/>
              <a:ext cx="4964" cy="16545"/>
            </a:xfrm>
            <a:custGeom>
              <a:avLst/>
              <a:gdLst>
                <a:gd name="T0" fmla="*/ 3 w 3"/>
                <a:gd name="T1" fmla="*/ 0 h 10"/>
                <a:gd name="T2" fmla="*/ 0 w 3"/>
                <a:gd name="T3" fmla="*/ 7 h 10"/>
                <a:gd name="T4" fmla="*/ 0 w 3"/>
                <a:gd name="T5" fmla="*/ 10 h 10"/>
                <a:gd name="T6" fmla="*/ 3 w 3"/>
                <a:gd name="T7" fmla="*/ 7 h 10"/>
                <a:gd name="T8" fmla="*/ 3 w 3"/>
                <a:gd name="T9" fmla="*/ 5 h 10"/>
                <a:gd name="T10" fmla="*/ 3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3" y="0"/>
                  </a:moveTo>
                  <a:lnTo>
                    <a:pt x="0" y="7"/>
                  </a:lnTo>
                  <a:lnTo>
                    <a:pt x="0" y="10"/>
                  </a:lnTo>
                  <a:lnTo>
                    <a:pt x="3" y="7"/>
                  </a:lnTo>
                  <a:lnTo>
                    <a:pt x="3" y="5"/>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1" name="Freeform 514">
              <a:extLst>
                <a:ext uri="{FF2B5EF4-FFF2-40B4-BE49-F238E27FC236}">
                  <a16:creationId xmlns:a16="http://schemas.microsoft.com/office/drawing/2014/main" id="{E2B30B6C-781A-4747-8A74-514C5187056F}"/>
                </a:ext>
              </a:extLst>
            </p:cNvPr>
            <p:cNvSpPr>
              <a:spLocks/>
            </p:cNvSpPr>
            <p:nvPr/>
          </p:nvSpPr>
          <p:spPr bwMode="auto">
            <a:xfrm>
              <a:off x="8340271" y="3006095"/>
              <a:ext cx="4964" cy="16545"/>
            </a:xfrm>
            <a:custGeom>
              <a:avLst/>
              <a:gdLst>
                <a:gd name="T0" fmla="*/ 3 w 3"/>
                <a:gd name="T1" fmla="*/ 0 h 10"/>
                <a:gd name="T2" fmla="*/ 0 w 3"/>
                <a:gd name="T3" fmla="*/ 7 h 10"/>
                <a:gd name="T4" fmla="*/ 0 w 3"/>
                <a:gd name="T5" fmla="*/ 10 h 10"/>
                <a:gd name="T6" fmla="*/ 3 w 3"/>
                <a:gd name="T7" fmla="*/ 7 h 10"/>
                <a:gd name="T8" fmla="*/ 3 w 3"/>
                <a:gd name="T9" fmla="*/ 5 h 10"/>
                <a:gd name="T10" fmla="*/ 3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3" y="0"/>
                  </a:moveTo>
                  <a:lnTo>
                    <a:pt x="0" y="7"/>
                  </a:lnTo>
                  <a:lnTo>
                    <a:pt x="0" y="10"/>
                  </a:lnTo>
                  <a:lnTo>
                    <a:pt x="3" y="7"/>
                  </a:lnTo>
                  <a:lnTo>
                    <a:pt x="3" y="5"/>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2" name="Freeform 515">
              <a:extLst>
                <a:ext uri="{FF2B5EF4-FFF2-40B4-BE49-F238E27FC236}">
                  <a16:creationId xmlns:a16="http://schemas.microsoft.com/office/drawing/2014/main" id="{2EBC47F2-03DD-4B49-B65A-04D68A779B94}"/>
                </a:ext>
              </a:extLst>
            </p:cNvPr>
            <p:cNvSpPr>
              <a:spLocks/>
            </p:cNvSpPr>
            <p:nvPr/>
          </p:nvSpPr>
          <p:spPr bwMode="auto">
            <a:xfrm>
              <a:off x="8325381" y="3037529"/>
              <a:ext cx="3309" cy="8273"/>
            </a:xfrm>
            <a:custGeom>
              <a:avLst/>
              <a:gdLst>
                <a:gd name="T0" fmla="*/ 2 w 2"/>
                <a:gd name="T1" fmla="*/ 0 h 5"/>
                <a:gd name="T2" fmla="*/ 0 w 2"/>
                <a:gd name="T3" fmla="*/ 5 h 5"/>
                <a:gd name="T4" fmla="*/ 2 w 2"/>
                <a:gd name="T5" fmla="*/ 2 h 5"/>
                <a:gd name="T6" fmla="*/ 2 w 2"/>
                <a:gd name="T7" fmla="*/ 2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5"/>
                  </a:lnTo>
                  <a:lnTo>
                    <a:pt x="2" y="2"/>
                  </a:lnTo>
                  <a:lnTo>
                    <a:pt x="2"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3" name="Freeform 516">
              <a:extLst>
                <a:ext uri="{FF2B5EF4-FFF2-40B4-BE49-F238E27FC236}">
                  <a16:creationId xmlns:a16="http://schemas.microsoft.com/office/drawing/2014/main" id="{A32CA609-6E7C-4AB3-870C-8DDA33408C29}"/>
                </a:ext>
              </a:extLst>
            </p:cNvPr>
            <p:cNvSpPr>
              <a:spLocks/>
            </p:cNvSpPr>
            <p:nvPr/>
          </p:nvSpPr>
          <p:spPr bwMode="auto">
            <a:xfrm>
              <a:off x="8325381" y="3037529"/>
              <a:ext cx="3309" cy="8273"/>
            </a:xfrm>
            <a:custGeom>
              <a:avLst/>
              <a:gdLst>
                <a:gd name="T0" fmla="*/ 2 w 2"/>
                <a:gd name="T1" fmla="*/ 0 h 5"/>
                <a:gd name="T2" fmla="*/ 0 w 2"/>
                <a:gd name="T3" fmla="*/ 5 h 5"/>
                <a:gd name="T4" fmla="*/ 2 w 2"/>
                <a:gd name="T5" fmla="*/ 2 h 5"/>
                <a:gd name="T6" fmla="*/ 2 w 2"/>
                <a:gd name="T7" fmla="*/ 2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5"/>
                  </a:lnTo>
                  <a:lnTo>
                    <a:pt x="2" y="2"/>
                  </a:lnTo>
                  <a:lnTo>
                    <a:pt x="2" y="2"/>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4" name="Freeform 517">
              <a:extLst>
                <a:ext uri="{FF2B5EF4-FFF2-40B4-BE49-F238E27FC236}">
                  <a16:creationId xmlns:a16="http://schemas.microsoft.com/office/drawing/2014/main" id="{43A227B5-7E0A-4108-B745-E6E1E498BBEF}"/>
                </a:ext>
              </a:extLst>
            </p:cNvPr>
            <p:cNvSpPr>
              <a:spLocks/>
            </p:cNvSpPr>
            <p:nvPr/>
          </p:nvSpPr>
          <p:spPr bwMode="auto">
            <a:xfrm>
              <a:off x="8259204" y="3115287"/>
              <a:ext cx="14890" cy="11582"/>
            </a:xfrm>
            <a:custGeom>
              <a:avLst/>
              <a:gdLst>
                <a:gd name="T0" fmla="*/ 9 w 9"/>
                <a:gd name="T1" fmla="*/ 0 h 7"/>
                <a:gd name="T2" fmla="*/ 9 w 9"/>
                <a:gd name="T3" fmla="*/ 3 h 7"/>
                <a:gd name="T4" fmla="*/ 4 w 9"/>
                <a:gd name="T5" fmla="*/ 5 h 7"/>
                <a:gd name="T6" fmla="*/ 2 w 9"/>
                <a:gd name="T7" fmla="*/ 7 h 7"/>
                <a:gd name="T8" fmla="*/ 0 w 9"/>
                <a:gd name="T9" fmla="*/ 7 h 7"/>
                <a:gd name="T10" fmla="*/ 2 w 9"/>
                <a:gd name="T11" fmla="*/ 5 h 7"/>
                <a:gd name="T12" fmla="*/ 4 w 9"/>
                <a:gd name="T13" fmla="*/ 3 h 7"/>
                <a:gd name="T14" fmla="*/ 7 w 9"/>
                <a:gd name="T15" fmla="*/ 0 h 7"/>
                <a:gd name="T16" fmla="*/ 9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0"/>
                  </a:moveTo>
                  <a:lnTo>
                    <a:pt x="9" y="3"/>
                  </a:lnTo>
                  <a:lnTo>
                    <a:pt x="4" y="5"/>
                  </a:lnTo>
                  <a:lnTo>
                    <a:pt x="2" y="7"/>
                  </a:lnTo>
                  <a:lnTo>
                    <a:pt x="0" y="7"/>
                  </a:lnTo>
                  <a:lnTo>
                    <a:pt x="2" y="5"/>
                  </a:lnTo>
                  <a:lnTo>
                    <a:pt x="4" y="3"/>
                  </a:lnTo>
                  <a:lnTo>
                    <a:pt x="7" y="0"/>
                  </a:lnTo>
                  <a:lnTo>
                    <a:pt x="9"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5" name="Freeform 518">
              <a:extLst>
                <a:ext uri="{FF2B5EF4-FFF2-40B4-BE49-F238E27FC236}">
                  <a16:creationId xmlns:a16="http://schemas.microsoft.com/office/drawing/2014/main" id="{08FF00EA-B5E2-4D49-9122-E3F09CA08C17}"/>
                </a:ext>
              </a:extLst>
            </p:cNvPr>
            <p:cNvSpPr>
              <a:spLocks/>
            </p:cNvSpPr>
            <p:nvPr/>
          </p:nvSpPr>
          <p:spPr bwMode="auto">
            <a:xfrm>
              <a:off x="8259204" y="3115287"/>
              <a:ext cx="14890" cy="11582"/>
            </a:xfrm>
            <a:custGeom>
              <a:avLst/>
              <a:gdLst>
                <a:gd name="T0" fmla="*/ 9 w 9"/>
                <a:gd name="T1" fmla="*/ 0 h 7"/>
                <a:gd name="T2" fmla="*/ 9 w 9"/>
                <a:gd name="T3" fmla="*/ 3 h 7"/>
                <a:gd name="T4" fmla="*/ 4 w 9"/>
                <a:gd name="T5" fmla="*/ 5 h 7"/>
                <a:gd name="T6" fmla="*/ 2 w 9"/>
                <a:gd name="T7" fmla="*/ 7 h 7"/>
                <a:gd name="T8" fmla="*/ 0 w 9"/>
                <a:gd name="T9" fmla="*/ 7 h 7"/>
                <a:gd name="T10" fmla="*/ 2 w 9"/>
                <a:gd name="T11" fmla="*/ 5 h 7"/>
                <a:gd name="T12" fmla="*/ 4 w 9"/>
                <a:gd name="T13" fmla="*/ 3 h 7"/>
                <a:gd name="T14" fmla="*/ 7 w 9"/>
                <a:gd name="T15" fmla="*/ 0 h 7"/>
                <a:gd name="T16" fmla="*/ 9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9" y="0"/>
                  </a:moveTo>
                  <a:lnTo>
                    <a:pt x="9" y="3"/>
                  </a:lnTo>
                  <a:lnTo>
                    <a:pt x="4" y="5"/>
                  </a:lnTo>
                  <a:lnTo>
                    <a:pt x="2" y="7"/>
                  </a:lnTo>
                  <a:lnTo>
                    <a:pt x="0" y="7"/>
                  </a:lnTo>
                  <a:lnTo>
                    <a:pt x="2" y="5"/>
                  </a:lnTo>
                  <a:lnTo>
                    <a:pt x="4" y="3"/>
                  </a:lnTo>
                  <a:lnTo>
                    <a:pt x="7" y="0"/>
                  </a:lnTo>
                  <a:lnTo>
                    <a:pt x="9"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6" name="Freeform 519">
              <a:extLst>
                <a:ext uri="{FF2B5EF4-FFF2-40B4-BE49-F238E27FC236}">
                  <a16:creationId xmlns:a16="http://schemas.microsoft.com/office/drawing/2014/main" id="{850E3D20-479F-4BBF-A56E-25B67EBF1ACA}"/>
                </a:ext>
              </a:extLst>
            </p:cNvPr>
            <p:cNvSpPr>
              <a:spLocks/>
            </p:cNvSpPr>
            <p:nvPr/>
          </p:nvSpPr>
          <p:spPr bwMode="auto">
            <a:xfrm>
              <a:off x="8196335" y="3151685"/>
              <a:ext cx="26470" cy="26470"/>
            </a:xfrm>
            <a:custGeom>
              <a:avLst/>
              <a:gdLst>
                <a:gd name="T0" fmla="*/ 16 w 16"/>
                <a:gd name="T1" fmla="*/ 2 h 16"/>
                <a:gd name="T2" fmla="*/ 16 w 16"/>
                <a:gd name="T3" fmla="*/ 4 h 16"/>
                <a:gd name="T4" fmla="*/ 7 w 16"/>
                <a:gd name="T5" fmla="*/ 11 h 16"/>
                <a:gd name="T6" fmla="*/ 2 w 16"/>
                <a:gd name="T7" fmla="*/ 16 h 16"/>
                <a:gd name="T8" fmla="*/ 0 w 16"/>
                <a:gd name="T9" fmla="*/ 16 h 16"/>
                <a:gd name="T10" fmla="*/ 2 w 16"/>
                <a:gd name="T11" fmla="*/ 14 h 16"/>
                <a:gd name="T12" fmla="*/ 7 w 16"/>
                <a:gd name="T13" fmla="*/ 4 h 16"/>
                <a:gd name="T14" fmla="*/ 14 w 16"/>
                <a:gd name="T15" fmla="*/ 0 h 16"/>
                <a:gd name="T16" fmla="*/ 16 w 16"/>
                <a:gd name="T17" fmla="*/ 0 h 16"/>
                <a:gd name="T18" fmla="*/ 16 w 16"/>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6" y="2"/>
                  </a:moveTo>
                  <a:lnTo>
                    <a:pt x="16" y="4"/>
                  </a:lnTo>
                  <a:lnTo>
                    <a:pt x="7" y="11"/>
                  </a:lnTo>
                  <a:lnTo>
                    <a:pt x="2" y="16"/>
                  </a:lnTo>
                  <a:lnTo>
                    <a:pt x="0" y="16"/>
                  </a:lnTo>
                  <a:lnTo>
                    <a:pt x="2" y="14"/>
                  </a:lnTo>
                  <a:lnTo>
                    <a:pt x="7" y="4"/>
                  </a:lnTo>
                  <a:lnTo>
                    <a:pt x="14" y="0"/>
                  </a:lnTo>
                  <a:lnTo>
                    <a:pt x="16" y="0"/>
                  </a:lnTo>
                  <a:lnTo>
                    <a:pt x="16"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7" name="Freeform 520">
              <a:extLst>
                <a:ext uri="{FF2B5EF4-FFF2-40B4-BE49-F238E27FC236}">
                  <a16:creationId xmlns:a16="http://schemas.microsoft.com/office/drawing/2014/main" id="{B97F6E3A-C855-4FD8-BCEC-B18686CED0F0}"/>
                </a:ext>
              </a:extLst>
            </p:cNvPr>
            <p:cNvSpPr>
              <a:spLocks/>
            </p:cNvSpPr>
            <p:nvPr/>
          </p:nvSpPr>
          <p:spPr bwMode="auto">
            <a:xfrm>
              <a:off x="8196335" y="3151685"/>
              <a:ext cx="26470" cy="26470"/>
            </a:xfrm>
            <a:custGeom>
              <a:avLst/>
              <a:gdLst>
                <a:gd name="T0" fmla="*/ 16 w 16"/>
                <a:gd name="T1" fmla="*/ 2 h 16"/>
                <a:gd name="T2" fmla="*/ 16 w 16"/>
                <a:gd name="T3" fmla="*/ 4 h 16"/>
                <a:gd name="T4" fmla="*/ 7 w 16"/>
                <a:gd name="T5" fmla="*/ 11 h 16"/>
                <a:gd name="T6" fmla="*/ 2 w 16"/>
                <a:gd name="T7" fmla="*/ 16 h 16"/>
                <a:gd name="T8" fmla="*/ 0 w 16"/>
                <a:gd name="T9" fmla="*/ 16 h 16"/>
                <a:gd name="T10" fmla="*/ 2 w 16"/>
                <a:gd name="T11" fmla="*/ 14 h 16"/>
                <a:gd name="T12" fmla="*/ 7 w 16"/>
                <a:gd name="T13" fmla="*/ 4 h 16"/>
                <a:gd name="T14" fmla="*/ 14 w 16"/>
                <a:gd name="T15" fmla="*/ 0 h 16"/>
                <a:gd name="T16" fmla="*/ 16 w 16"/>
                <a:gd name="T17" fmla="*/ 0 h 16"/>
                <a:gd name="T18" fmla="*/ 16 w 16"/>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6" y="2"/>
                  </a:moveTo>
                  <a:lnTo>
                    <a:pt x="16" y="4"/>
                  </a:lnTo>
                  <a:lnTo>
                    <a:pt x="7" y="11"/>
                  </a:lnTo>
                  <a:lnTo>
                    <a:pt x="2" y="16"/>
                  </a:lnTo>
                  <a:lnTo>
                    <a:pt x="0" y="16"/>
                  </a:lnTo>
                  <a:lnTo>
                    <a:pt x="2" y="14"/>
                  </a:lnTo>
                  <a:lnTo>
                    <a:pt x="7" y="4"/>
                  </a:lnTo>
                  <a:lnTo>
                    <a:pt x="14" y="0"/>
                  </a:lnTo>
                  <a:lnTo>
                    <a:pt x="16" y="0"/>
                  </a:lnTo>
                  <a:lnTo>
                    <a:pt x="16"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8" name="Freeform 521">
              <a:extLst>
                <a:ext uri="{FF2B5EF4-FFF2-40B4-BE49-F238E27FC236}">
                  <a16:creationId xmlns:a16="http://schemas.microsoft.com/office/drawing/2014/main" id="{FC7E1065-BDA4-4E16-B0BB-E5A7492763AF}"/>
                </a:ext>
              </a:extLst>
            </p:cNvPr>
            <p:cNvSpPr>
              <a:spLocks/>
            </p:cNvSpPr>
            <p:nvPr/>
          </p:nvSpPr>
          <p:spPr bwMode="auto">
            <a:xfrm>
              <a:off x="8121886" y="3181465"/>
              <a:ext cx="54597" cy="43015"/>
            </a:xfrm>
            <a:custGeom>
              <a:avLst/>
              <a:gdLst>
                <a:gd name="T0" fmla="*/ 33 w 33"/>
                <a:gd name="T1" fmla="*/ 3 h 26"/>
                <a:gd name="T2" fmla="*/ 33 w 33"/>
                <a:gd name="T3" fmla="*/ 3 h 26"/>
                <a:gd name="T4" fmla="*/ 33 w 33"/>
                <a:gd name="T5" fmla="*/ 5 h 26"/>
                <a:gd name="T6" fmla="*/ 28 w 33"/>
                <a:gd name="T7" fmla="*/ 8 h 26"/>
                <a:gd name="T8" fmla="*/ 16 w 33"/>
                <a:gd name="T9" fmla="*/ 15 h 26"/>
                <a:gd name="T10" fmla="*/ 14 w 33"/>
                <a:gd name="T11" fmla="*/ 15 h 26"/>
                <a:gd name="T12" fmla="*/ 12 w 33"/>
                <a:gd name="T13" fmla="*/ 17 h 26"/>
                <a:gd name="T14" fmla="*/ 12 w 33"/>
                <a:gd name="T15" fmla="*/ 19 h 26"/>
                <a:gd name="T16" fmla="*/ 7 w 33"/>
                <a:gd name="T17" fmla="*/ 22 h 26"/>
                <a:gd name="T18" fmla="*/ 2 w 33"/>
                <a:gd name="T19" fmla="*/ 26 h 26"/>
                <a:gd name="T20" fmla="*/ 0 w 33"/>
                <a:gd name="T21" fmla="*/ 26 h 26"/>
                <a:gd name="T22" fmla="*/ 2 w 33"/>
                <a:gd name="T23" fmla="*/ 24 h 26"/>
                <a:gd name="T24" fmla="*/ 2 w 33"/>
                <a:gd name="T25" fmla="*/ 22 h 26"/>
                <a:gd name="T26" fmla="*/ 5 w 33"/>
                <a:gd name="T27" fmla="*/ 19 h 26"/>
                <a:gd name="T28" fmla="*/ 5 w 33"/>
                <a:gd name="T29" fmla="*/ 17 h 26"/>
                <a:gd name="T30" fmla="*/ 9 w 33"/>
                <a:gd name="T31" fmla="*/ 12 h 26"/>
                <a:gd name="T32" fmla="*/ 12 w 33"/>
                <a:gd name="T33" fmla="*/ 10 h 26"/>
                <a:gd name="T34" fmla="*/ 14 w 33"/>
                <a:gd name="T35" fmla="*/ 10 h 26"/>
                <a:gd name="T36" fmla="*/ 16 w 33"/>
                <a:gd name="T37" fmla="*/ 5 h 26"/>
                <a:gd name="T38" fmla="*/ 19 w 33"/>
                <a:gd name="T39" fmla="*/ 5 h 26"/>
                <a:gd name="T40" fmla="*/ 19 w 33"/>
                <a:gd name="T41" fmla="*/ 5 h 26"/>
                <a:gd name="T42" fmla="*/ 19 w 33"/>
                <a:gd name="T43" fmla="*/ 8 h 26"/>
                <a:gd name="T44" fmla="*/ 21 w 33"/>
                <a:gd name="T45" fmla="*/ 8 h 26"/>
                <a:gd name="T46" fmla="*/ 26 w 33"/>
                <a:gd name="T47" fmla="*/ 5 h 26"/>
                <a:gd name="T48" fmla="*/ 28 w 33"/>
                <a:gd name="T49" fmla="*/ 0 h 26"/>
                <a:gd name="T50" fmla="*/ 31 w 33"/>
                <a:gd name="T51" fmla="*/ 0 h 26"/>
                <a:gd name="T52" fmla="*/ 33 w 33"/>
                <a:gd name="T53" fmla="*/ 0 h 26"/>
                <a:gd name="T54" fmla="*/ 33 w 33"/>
                <a:gd name="T55"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26">
                  <a:moveTo>
                    <a:pt x="33" y="3"/>
                  </a:moveTo>
                  <a:lnTo>
                    <a:pt x="33" y="3"/>
                  </a:lnTo>
                  <a:lnTo>
                    <a:pt x="33" y="5"/>
                  </a:lnTo>
                  <a:lnTo>
                    <a:pt x="28" y="8"/>
                  </a:lnTo>
                  <a:lnTo>
                    <a:pt x="16" y="15"/>
                  </a:lnTo>
                  <a:lnTo>
                    <a:pt x="14" y="15"/>
                  </a:lnTo>
                  <a:lnTo>
                    <a:pt x="12" y="17"/>
                  </a:lnTo>
                  <a:lnTo>
                    <a:pt x="12" y="19"/>
                  </a:lnTo>
                  <a:lnTo>
                    <a:pt x="7" y="22"/>
                  </a:lnTo>
                  <a:lnTo>
                    <a:pt x="2" y="26"/>
                  </a:lnTo>
                  <a:lnTo>
                    <a:pt x="0" y="26"/>
                  </a:lnTo>
                  <a:lnTo>
                    <a:pt x="2" y="24"/>
                  </a:lnTo>
                  <a:lnTo>
                    <a:pt x="2" y="22"/>
                  </a:lnTo>
                  <a:lnTo>
                    <a:pt x="5" y="19"/>
                  </a:lnTo>
                  <a:lnTo>
                    <a:pt x="5" y="17"/>
                  </a:lnTo>
                  <a:lnTo>
                    <a:pt x="9" y="12"/>
                  </a:lnTo>
                  <a:lnTo>
                    <a:pt x="12" y="10"/>
                  </a:lnTo>
                  <a:lnTo>
                    <a:pt x="14" y="10"/>
                  </a:lnTo>
                  <a:lnTo>
                    <a:pt x="16" y="5"/>
                  </a:lnTo>
                  <a:lnTo>
                    <a:pt x="19" y="5"/>
                  </a:lnTo>
                  <a:lnTo>
                    <a:pt x="19" y="5"/>
                  </a:lnTo>
                  <a:lnTo>
                    <a:pt x="19" y="8"/>
                  </a:lnTo>
                  <a:lnTo>
                    <a:pt x="21" y="8"/>
                  </a:lnTo>
                  <a:lnTo>
                    <a:pt x="26" y="5"/>
                  </a:lnTo>
                  <a:lnTo>
                    <a:pt x="28" y="0"/>
                  </a:lnTo>
                  <a:lnTo>
                    <a:pt x="31" y="0"/>
                  </a:lnTo>
                  <a:lnTo>
                    <a:pt x="33" y="0"/>
                  </a:lnTo>
                  <a:lnTo>
                    <a:pt x="33"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69" name="Freeform 522">
              <a:extLst>
                <a:ext uri="{FF2B5EF4-FFF2-40B4-BE49-F238E27FC236}">
                  <a16:creationId xmlns:a16="http://schemas.microsoft.com/office/drawing/2014/main" id="{71A96FBC-0D9A-4B1D-B453-2E4BEE394CEF}"/>
                </a:ext>
              </a:extLst>
            </p:cNvPr>
            <p:cNvSpPr>
              <a:spLocks/>
            </p:cNvSpPr>
            <p:nvPr/>
          </p:nvSpPr>
          <p:spPr bwMode="auto">
            <a:xfrm>
              <a:off x="8121886" y="3181465"/>
              <a:ext cx="54597" cy="43015"/>
            </a:xfrm>
            <a:custGeom>
              <a:avLst/>
              <a:gdLst>
                <a:gd name="T0" fmla="*/ 33 w 33"/>
                <a:gd name="T1" fmla="*/ 3 h 26"/>
                <a:gd name="T2" fmla="*/ 33 w 33"/>
                <a:gd name="T3" fmla="*/ 3 h 26"/>
                <a:gd name="T4" fmla="*/ 33 w 33"/>
                <a:gd name="T5" fmla="*/ 5 h 26"/>
                <a:gd name="T6" fmla="*/ 28 w 33"/>
                <a:gd name="T7" fmla="*/ 8 h 26"/>
                <a:gd name="T8" fmla="*/ 16 w 33"/>
                <a:gd name="T9" fmla="*/ 15 h 26"/>
                <a:gd name="T10" fmla="*/ 14 w 33"/>
                <a:gd name="T11" fmla="*/ 15 h 26"/>
                <a:gd name="T12" fmla="*/ 12 w 33"/>
                <a:gd name="T13" fmla="*/ 17 h 26"/>
                <a:gd name="T14" fmla="*/ 12 w 33"/>
                <a:gd name="T15" fmla="*/ 19 h 26"/>
                <a:gd name="T16" fmla="*/ 7 w 33"/>
                <a:gd name="T17" fmla="*/ 22 h 26"/>
                <a:gd name="T18" fmla="*/ 2 w 33"/>
                <a:gd name="T19" fmla="*/ 26 h 26"/>
                <a:gd name="T20" fmla="*/ 0 w 33"/>
                <a:gd name="T21" fmla="*/ 26 h 26"/>
                <a:gd name="T22" fmla="*/ 2 w 33"/>
                <a:gd name="T23" fmla="*/ 24 h 26"/>
                <a:gd name="T24" fmla="*/ 2 w 33"/>
                <a:gd name="T25" fmla="*/ 22 h 26"/>
                <a:gd name="T26" fmla="*/ 5 w 33"/>
                <a:gd name="T27" fmla="*/ 19 h 26"/>
                <a:gd name="T28" fmla="*/ 5 w 33"/>
                <a:gd name="T29" fmla="*/ 17 h 26"/>
                <a:gd name="T30" fmla="*/ 9 w 33"/>
                <a:gd name="T31" fmla="*/ 12 h 26"/>
                <a:gd name="T32" fmla="*/ 12 w 33"/>
                <a:gd name="T33" fmla="*/ 10 h 26"/>
                <a:gd name="T34" fmla="*/ 14 w 33"/>
                <a:gd name="T35" fmla="*/ 10 h 26"/>
                <a:gd name="T36" fmla="*/ 16 w 33"/>
                <a:gd name="T37" fmla="*/ 5 h 26"/>
                <a:gd name="T38" fmla="*/ 19 w 33"/>
                <a:gd name="T39" fmla="*/ 5 h 26"/>
                <a:gd name="T40" fmla="*/ 19 w 33"/>
                <a:gd name="T41" fmla="*/ 5 h 26"/>
                <a:gd name="T42" fmla="*/ 19 w 33"/>
                <a:gd name="T43" fmla="*/ 8 h 26"/>
                <a:gd name="T44" fmla="*/ 21 w 33"/>
                <a:gd name="T45" fmla="*/ 8 h 26"/>
                <a:gd name="T46" fmla="*/ 26 w 33"/>
                <a:gd name="T47" fmla="*/ 5 h 26"/>
                <a:gd name="T48" fmla="*/ 28 w 33"/>
                <a:gd name="T49" fmla="*/ 0 h 26"/>
                <a:gd name="T50" fmla="*/ 31 w 33"/>
                <a:gd name="T51" fmla="*/ 0 h 26"/>
                <a:gd name="T52" fmla="*/ 33 w 33"/>
                <a:gd name="T53" fmla="*/ 0 h 26"/>
                <a:gd name="T54" fmla="*/ 33 w 33"/>
                <a:gd name="T55"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26">
                  <a:moveTo>
                    <a:pt x="33" y="3"/>
                  </a:moveTo>
                  <a:lnTo>
                    <a:pt x="33" y="3"/>
                  </a:lnTo>
                  <a:lnTo>
                    <a:pt x="33" y="5"/>
                  </a:lnTo>
                  <a:lnTo>
                    <a:pt x="28" y="8"/>
                  </a:lnTo>
                  <a:lnTo>
                    <a:pt x="16" y="15"/>
                  </a:lnTo>
                  <a:lnTo>
                    <a:pt x="14" y="15"/>
                  </a:lnTo>
                  <a:lnTo>
                    <a:pt x="12" y="17"/>
                  </a:lnTo>
                  <a:lnTo>
                    <a:pt x="12" y="19"/>
                  </a:lnTo>
                  <a:lnTo>
                    <a:pt x="7" y="22"/>
                  </a:lnTo>
                  <a:lnTo>
                    <a:pt x="2" y="26"/>
                  </a:lnTo>
                  <a:lnTo>
                    <a:pt x="0" y="26"/>
                  </a:lnTo>
                  <a:lnTo>
                    <a:pt x="2" y="24"/>
                  </a:lnTo>
                  <a:lnTo>
                    <a:pt x="2" y="22"/>
                  </a:lnTo>
                  <a:lnTo>
                    <a:pt x="5" y="19"/>
                  </a:lnTo>
                  <a:lnTo>
                    <a:pt x="5" y="17"/>
                  </a:lnTo>
                  <a:lnTo>
                    <a:pt x="9" y="12"/>
                  </a:lnTo>
                  <a:lnTo>
                    <a:pt x="12" y="10"/>
                  </a:lnTo>
                  <a:lnTo>
                    <a:pt x="14" y="10"/>
                  </a:lnTo>
                  <a:lnTo>
                    <a:pt x="16" y="5"/>
                  </a:lnTo>
                  <a:lnTo>
                    <a:pt x="19" y="5"/>
                  </a:lnTo>
                  <a:lnTo>
                    <a:pt x="19" y="5"/>
                  </a:lnTo>
                  <a:lnTo>
                    <a:pt x="19" y="8"/>
                  </a:lnTo>
                  <a:lnTo>
                    <a:pt x="21" y="8"/>
                  </a:lnTo>
                  <a:lnTo>
                    <a:pt x="26" y="5"/>
                  </a:lnTo>
                  <a:lnTo>
                    <a:pt x="28" y="0"/>
                  </a:lnTo>
                  <a:lnTo>
                    <a:pt x="31" y="0"/>
                  </a:lnTo>
                  <a:lnTo>
                    <a:pt x="33" y="0"/>
                  </a:lnTo>
                  <a:lnTo>
                    <a:pt x="33"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0" name="Freeform 523">
              <a:extLst>
                <a:ext uri="{FF2B5EF4-FFF2-40B4-BE49-F238E27FC236}">
                  <a16:creationId xmlns:a16="http://schemas.microsoft.com/office/drawing/2014/main" id="{56D12E9C-A455-4EF4-9D19-64DDA10F444A}"/>
                </a:ext>
              </a:extLst>
            </p:cNvPr>
            <p:cNvSpPr>
              <a:spLocks/>
            </p:cNvSpPr>
            <p:nvPr/>
          </p:nvSpPr>
          <p:spPr bwMode="auto">
            <a:xfrm>
              <a:off x="8110305" y="3249296"/>
              <a:ext cx="11582" cy="6618"/>
            </a:xfrm>
            <a:custGeom>
              <a:avLst/>
              <a:gdLst>
                <a:gd name="T0" fmla="*/ 5 w 7"/>
                <a:gd name="T1" fmla="*/ 0 h 4"/>
                <a:gd name="T2" fmla="*/ 7 w 7"/>
                <a:gd name="T3" fmla="*/ 2 h 4"/>
                <a:gd name="T4" fmla="*/ 5 w 7"/>
                <a:gd name="T5" fmla="*/ 2 h 4"/>
                <a:gd name="T6" fmla="*/ 2 w 7"/>
                <a:gd name="T7" fmla="*/ 4 h 4"/>
                <a:gd name="T8" fmla="*/ 0 w 7"/>
                <a:gd name="T9" fmla="*/ 2 h 4"/>
                <a:gd name="T10" fmla="*/ 2 w 7"/>
                <a:gd name="T11" fmla="*/ 2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lnTo>
                    <a:pt x="7" y="2"/>
                  </a:lnTo>
                  <a:lnTo>
                    <a:pt x="5" y="2"/>
                  </a:lnTo>
                  <a:lnTo>
                    <a:pt x="2" y="4"/>
                  </a:lnTo>
                  <a:lnTo>
                    <a:pt x="0" y="2"/>
                  </a:lnTo>
                  <a:lnTo>
                    <a:pt x="2" y="2"/>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1" name="Freeform 524">
              <a:extLst>
                <a:ext uri="{FF2B5EF4-FFF2-40B4-BE49-F238E27FC236}">
                  <a16:creationId xmlns:a16="http://schemas.microsoft.com/office/drawing/2014/main" id="{49EE3CA9-3C53-439C-B59D-AB89F24568B8}"/>
                </a:ext>
              </a:extLst>
            </p:cNvPr>
            <p:cNvSpPr>
              <a:spLocks/>
            </p:cNvSpPr>
            <p:nvPr/>
          </p:nvSpPr>
          <p:spPr bwMode="auto">
            <a:xfrm>
              <a:off x="8110305" y="3249296"/>
              <a:ext cx="11582" cy="6618"/>
            </a:xfrm>
            <a:custGeom>
              <a:avLst/>
              <a:gdLst>
                <a:gd name="T0" fmla="*/ 5 w 7"/>
                <a:gd name="T1" fmla="*/ 0 h 4"/>
                <a:gd name="T2" fmla="*/ 7 w 7"/>
                <a:gd name="T3" fmla="*/ 2 h 4"/>
                <a:gd name="T4" fmla="*/ 5 w 7"/>
                <a:gd name="T5" fmla="*/ 2 h 4"/>
                <a:gd name="T6" fmla="*/ 2 w 7"/>
                <a:gd name="T7" fmla="*/ 4 h 4"/>
                <a:gd name="T8" fmla="*/ 0 w 7"/>
                <a:gd name="T9" fmla="*/ 2 h 4"/>
                <a:gd name="T10" fmla="*/ 2 w 7"/>
                <a:gd name="T11" fmla="*/ 2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lnTo>
                    <a:pt x="7" y="2"/>
                  </a:lnTo>
                  <a:lnTo>
                    <a:pt x="5" y="2"/>
                  </a:lnTo>
                  <a:lnTo>
                    <a:pt x="2" y="4"/>
                  </a:lnTo>
                  <a:lnTo>
                    <a:pt x="0" y="2"/>
                  </a:lnTo>
                  <a:lnTo>
                    <a:pt x="2" y="2"/>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2" name="Freeform 525">
              <a:extLst>
                <a:ext uri="{FF2B5EF4-FFF2-40B4-BE49-F238E27FC236}">
                  <a16:creationId xmlns:a16="http://schemas.microsoft.com/office/drawing/2014/main" id="{2C064CAB-34DD-4726-A53D-EC01C2F7E44B}"/>
                </a:ext>
              </a:extLst>
            </p:cNvPr>
            <p:cNvSpPr>
              <a:spLocks/>
            </p:cNvSpPr>
            <p:nvPr/>
          </p:nvSpPr>
          <p:spPr bwMode="auto">
            <a:xfrm>
              <a:off x="8078870" y="3224480"/>
              <a:ext cx="23161" cy="31435"/>
            </a:xfrm>
            <a:custGeom>
              <a:avLst/>
              <a:gdLst>
                <a:gd name="T0" fmla="*/ 12 w 14"/>
                <a:gd name="T1" fmla="*/ 0 h 19"/>
                <a:gd name="T2" fmla="*/ 12 w 14"/>
                <a:gd name="T3" fmla="*/ 0 h 19"/>
                <a:gd name="T4" fmla="*/ 14 w 14"/>
                <a:gd name="T5" fmla="*/ 3 h 19"/>
                <a:gd name="T6" fmla="*/ 14 w 14"/>
                <a:gd name="T7" fmla="*/ 5 h 19"/>
                <a:gd name="T8" fmla="*/ 14 w 14"/>
                <a:gd name="T9" fmla="*/ 5 h 19"/>
                <a:gd name="T10" fmla="*/ 2 w 14"/>
                <a:gd name="T11" fmla="*/ 17 h 19"/>
                <a:gd name="T12" fmla="*/ 0 w 14"/>
                <a:gd name="T13" fmla="*/ 19 h 19"/>
                <a:gd name="T14" fmla="*/ 0 w 14"/>
                <a:gd name="T15" fmla="*/ 17 h 19"/>
                <a:gd name="T16" fmla="*/ 9 w 14"/>
                <a:gd name="T17" fmla="*/ 5 h 19"/>
                <a:gd name="T18" fmla="*/ 9 w 14"/>
                <a:gd name="T19" fmla="*/ 0 h 19"/>
                <a:gd name="T20" fmla="*/ 12 w 1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9">
                  <a:moveTo>
                    <a:pt x="12" y="0"/>
                  </a:moveTo>
                  <a:lnTo>
                    <a:pt x="12" y="0"/>
                  </a:lnTo>
                  <a:lnTo>
                    <a:pt x="14" y="3"/>
                  </a:lnTo>
                  <a:lnTo>
                    <a:pt x="14" y="5"/>
                  </a:lnTo>
                  <a:lnTo>
                    <a:pt x="14" y="5"/>
                  </a:lnTo>
                  <a:lnTo>
                    <a:pt x="2" y="17"/>
                  </a:lnTo>
                  <a:lnTo>
                    <a:pt x="0" y="19"/>
                  </a:lnTo>
                  <a:lnTo>
                    <a:pt x="0" y="17"/>
                  </a:lnTo>
                  <a:lnTo>
                    <a:pt x="9" y="5"/>
                  </a:lnTo>
                  <a:lnTo>
                    <a:pt x="9" y="0"/>
                  </a:lnTo>
                  <a:lnTo>
                    <a:pt x="1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3" name="Freeform 526">
              <a:extLst>
                <a:ext uri="{FF2B5EF4-FFF2-40B4-BE49-F238E27FC236}">
                  <a16:creationId xmlns:a16="http://schemas.microsoft.com/office/drawing/2014/main" id="{CDA86DE2-F54A-4FC0-A022-0807EEDFAF83}"/>
                </a:ext>
              </a:extLst>
            </p:cNvPr>
            <p:cNvSpPr>
              <a:spLocks/>
            </p:cNvSpPr>
            <p:nvPr/>
          </p:nvSpPr>
          <p:spPr bwMode="auto">
            <a:xfrm>
              <a:off x="8078870" y="3224480"/>
              <a:ext cx="23161" cy="31435"/>
            </a:xfrm>
            <a:custGeom>
              <a:avLst/>
              <a:gdLst>
                <a:gd name="T0" fmla="*/ 12 w 14"/>
                <a:gd name="T1" fmla="*/ 0 h 19"/>
                <a:gd name="T2" fmla="*/ 12 w 14"/>
                <a:gd name="T3" fmla="*/ 0 h 19"/>
                <a:gd name="T4" fmla="*/ 14 w 14"/>
                <a:gd name="T5" fmla="*/ 3 h 19"/>
                <a:gd name="T6" fmla="*/ 14 w 14"/>
                <a:gd name="T7" fmla="*/ 5 h 19"/>
                <a:gd name="T8" fmla="*/ 14 w 14"/>
                <a:gd name="T9" fmla="*/ 5 h 19"/>
                <a:gd name="T10" fmla="*/ 2 w 14"/>
                <a:gd name="T11" fmla="*/ 17 h 19"/>
                <a:gd name="T12" fmla="*/ 0 w 14"/>
                <a:gd name="T13" fmla="*/ 19 h 19"/>
                <a:gd name="T14" fmla="*/ 0 w 14"/>
                <a:gd name="T15" fmla="*/ 17 h 19"/>
                <a:gd name="T16" fmla="*/ 9 w 14"/>
                <a:gd name="T17" fmla="*/ 5 h 19"/>
                <a:gd name="T18" fmla="*/ 9 w 14"/>
                <a:gd name="T19" fmla="*/ 0 h 19"/>
                <a:gd name="T20" fmla="*/ 12 w 1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9">
                  <a:moveTo>
                    <a:pt x="12" y="0"/>
                  </a:moveTo>
                  <a:lnTo>
                    <a:pt x="12" y="0"/>
                  </a:lnTo>
                  <a:lnTo>
                    <a:pt x="14" y="3"/>
                  </a:lnTo>
                  <a:lnTo>
                    <a:pt x="14" y="5"/>
                  </a:lnTo>
                  <a:lnTo>
                    <a:pt x="14" y="5"/>
                  </a:lnTo>
                  <a:lnTo>
                    <a:pt x="2" y="17"/>
                  </a:lnTo>
                  <a:lnTo>
                    <a:pt x="0" y="19"/>
                  </a:lnTo>
                  <a:lnTo>
                    <a:pt x="0" y="17"/>
                  </a:lnTo>
                  <a:lnTo>
                    <a:pt x="9" y="5"/>
                  </a:lnTo>
                  <a:lnTo>
                    <a:pt x="9" y="0"/>
                  </a:lnTo>
                  <a:lnTo>
                    <a:pt x="1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4" name="Freeform 632">
              <a:extLst>
                <a:ext uri="{FF2B5EF4-FFF2-40B4-BE49-F238E27FC236}">
                  <a16:creationId xmlns:a16="http://schemas.microsoft.com/office/drawing/2014/main" id="{A23C529C-9EB4-4AC8-BF0F-7EC2B2D4D863}"/>
                </a:ext>
              </a:extLst>
            </p:cNvPr>
            <p:cNvSpPr>
              <a:spLocks/>
            </p:cNvSpPr>
            <p:nvPr/>
          </p:nvSpPr>
          <p:spPr bwMode="auto">
            <a:xfrm>
              <a:off x="6543558" y="3806839"/>
              <a:ext cx="253128" cy="550925"/>
            </a:xfrm>
            <a:custGeom>
              <a:avLst/>
              <a:gdLst>
                <a:gd name="T0" fmla="*/ 40 w 153"/>
                <a:gd name="T1" fmla="*/ 208 h 333"/>
                <a:gd name="T2" fmla="*/ 35 w 153"/>
                <a:gd name="T3" fmla="*/ 187 h 333"/>
                <a:gd name="T4" fmla="*/ 28 w 153"/>
                <a:gd name="T5" fmla="*/ 177 h 333"/>
                <a:gd name="T6" fmla="*/ 26 w 153"/>
                <a:gd name="T7" fmla="*/ 170 h 333"/>
                <a:gd name="T8" fmla="*/ 23 w 153"/>
                <a:gd name="T9" fmla="*/ 163 h 333"/>
                <a:gd name="T10" fmla="*/ 7 w 153"/>
                <a:gd name="T11" fmla="*/ 149 h 333"/>
                <a:gd name="T12" fmla="*/ 0 w 153"/>
                <a:gd name="T13" fmla="*/ 140 h 333"/>
                <a:gd name="T14" fmla="*/ 4 w 153"/>
                <a:gd name="T15" fmla="*/ 133 h 333"/>
                <a:gd name="T16" fmla="*/ 7 w 153"/>
                <a:gd name="T17" fmla="*/ 118 h 333"/>
                <a:gd name="T18" fmla="*/ 14 w 153"/>
                <a:gd name="T19" fmla="*/ 116 h 333"/>
                <a:gd name="T20" fmla="*/ 11 w 153"/>
                <a:gd name="T21" fmla="*/ 104 h 333"/>
                <a:gd name="T22" fmla="*/ 19 w 153"/>
                <a:gd name="T23" fmla="*/ 88 h 333"/>
                <a:gd name="T24" fmla="*/ 30 w 153"/>
                <a:gd name="T25" fmla="*/ 85 h 333"/>
                <a:gd name="T26" fmla="*/ 42 w 153"/>
                <a:gd name="T27" fmla="*/ 62 h 333"/>
                <a:gd name="T28" fmla="*/ 49 w 153"/>
                <a:gd name="T29" fmla="*/ 50 h 333"/>
                <a:gd name="T30" fmla="*/ 61 w 153"/>
                <a:gd name="T31" fmla="*/ 29 h 333"/>
                <a:gd name="T32" fmla="*/ 75 w 153"/>
                <a:gd name="T33" fmla="*/ 19 h 333"/>
                <a:gd name="T34" fmla="*/ 82 w 153"/>
                <a:gd name="T35" fmla="*/ 10 h 333"/>
                <a:gd name="T36" fmla="*/ 92 w 153"/>
                <a:gd name="T37" fmla="*/ 0 h 333"/>
                <a:gd name="T38" fmla="*/ 101 w 153"/>
                <a:gd name="T39" fmla="*/ 5 h 333"/>
                <a:gd name="T40" fmla="*/ 111 w 153"/>
                <a:gd name="T41" fmla="*/ 24 h 333"/>
                <a:gd name="T42" fmla="*/ 108 w 153"/>
                <a:gd name="T43" fmla="*/ 52 h 333"/>
                <a:gd name="T44" fmla="*/ 99 w 153"/>
                <a:gd name="T45" fmla="*/ 62 h 333"/>
                <a:gd name="T46" fmla="*/ 96 w 153"/>
                <a:gd name="T47" fmla="*/ 81 h 333"/>
                <a:gd name="T48" fmla="*/ 101 w 153"/>
                <a:gd name="T49" fmla="*/ 81 h 333"/>
                <a:gd name="T50" fmla="*/ 115 w 153"/>
                <a:gd name="T51" fmla="*/ 90 h 333"/>
                <a:gd name="T52" fmla="*/ 122 w 153"/>
                <a:gd name="T53" fmla="*/ 109 h 333"/>
                <a:gd name="T54" fmla="*/ 134 w 153"/>
                <a:gd name="T55" fmla="*/ 123 h 333"/>
                <a:gd name="T56" fmla="*/ 153 w 153"/>
                <a:gd name="T57" fmla="*/ 123 h 333"/>
                <a:gd name="T58" fmla="*/ 144 w 153"/>
                <a:gd name="T59" fmla="*/ 135 h 333"/>
                <a:gd name="T60" fmla="*/ 141 w 153"/>
                <a:gd name="T61" fmla="*/ 140 h 333"/>
                <a:gd name="T62" fmla="*/ 134 w 153"/>
                <a:gd name="T63" fmla="*/ 147 h 333"/>
                <a:gd name="T64" fmla="*/ 120 w 153"/>
                <a:gd name="T65" fmla="*/ 159 h 333"/>
                <a:gd name="T66" fmla="*/ 104 w 153"/>
                <a:gd name="T67" fmla="*/ 163 h 333"/>
                <a:gd name="T68" fmla="*/ 96 w 153"/>
                <a:gd name="T69" fmla="*/ 185 h 333"/>
                <a:gd name="T70" fmla="*/ 99 w 153"/>
                <a:gd name="T71" fmla="*/ 201 h 333"/>
                <a:gd name="T72" fmla="*/ 108 w 153"/>
                <a:gd name="T73" fmla="*/ 220 h 333"/>
                <a:gd name="T74" fmla="*/ 111 w 153"/>
                <a:gd name="T75" fmla="*/ 229 h 333"/>
                <a:gd name="T76" fmla="*/ 108 w 153"/>
                <a:gd name="T77" fmla="*/ 241 h 333"/>
                <a:gd name="T78" fmla="*/ 106 w 153"/>
                <a:gd name="T79" fmla="*/ 255 h 333"/>
                <a:gd name="T80" fmla="*/ 118 w 153"/>
                <a:gd name="T81" fmla="*/ 272 h 333"/>
                <a:gd name="T82" fmla="*/ 122 w 153"/>
                <a:gd name="T83" fmla="*/ 293 h 333"/>
                <a:gd name="T84" fmla="*/ 118 w 153"/>
                <a:gd name="T85" fmla="*/ 317 h 333"/>
                <a:gd name="T86" fmla="*/ 113 w 153"/>
                <a:gd name="T87" fmla="*/ 333 h 333"/>
                <a:gd name="T88" fmla="*/ 111 w 153"/>
                <a:gd name="T89" fmla="*/ 324 h 333"/>
                <a:gd name="T90" fmla="*/ 111 w 153"/>
                <a:gd name="T91" fmla="*/ 305 h 333"/>
                <a:gd name="T92" fmla="*/ 111 w 153"/>
                <a:gd name="T93" fmla="*/ 298 h 333"/>
                <a:gd name="T94" fmla="*/ 106 w 153"/>
                <a:gd name="T95" fmla="*/ 270 h 333"/>
                <a:gd name="T96" fmla="*/ 99 w 153"/>
                <a:gd name="T97" fmla="*/ 260 h 333"/>
                <a:gd name="T98" fmla="*/ 94 w 153"/>
                <a:gd name="T99" fmla="*/ 229 h 333"/>
                <a:gd name="T100" fmla="*/ 87 w 153"/>
                <a:gd name="T101" fmla="*/ 218 h 333"/>
                <a:gd name="T102" fmla="*/ 78 w 153"/>
                <a:gd name="T103" fmla="*/ 208 h 333"/>
                <a:gd name="T104" fmla="*/ 70 w 153"/>
                <a:gd name="T105" fmla="*/ 220 h 333"/>
                <a:gd name="T106" fmla="*/ 56 w 153"/>
                <a:gd name="T107" fmla="*/ 229 h 333"/>
                <a:gd name="T108" fmla="*/ 47 w 153"/>
                <a:gd name="T109" fmla="*/ 232 h 333"/>
                <a:gd name="T110" fmla="*/ 37 w 153"/>
                <a:gd name="T111" fmla="*/ 229 h 333"/>
                <a:gd name="T112" fmla="*/ 35 w 153"/>
                <a:gd name="T113" fmla="*/ 2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333">
                  <a:moveTo>
                    <a:pt x="35" y="225"/>
                  </a:moveTo>
                  <a:lnTo>
                    <a:pt x="35" y="220"/>
                  </a:lnTo>
                  <a:lnTo>
                    <a:pt x="37" y="213"/>
                  </a:lnTo>
                  <a:lnTo>
                    <a:pt x="40" y="208"/>
                  </a:lnTo>
                  <a:lnTo>
                    <a:pt x="40" y="201"/>
                  </a:lnTo>
                  <a:lnTo>
                    <a:pt x="37" y="192"/>
                  </a:lnTo>
                  <a:lnTo>
                    <a:pt x="35" y="189"/>
                  </a:lnTo>
                  <a:lnTo>
                    <a:pt x="35" y="187"/>
                  </a:lnTo>
                  <a:lnTo>
                    <a:pt x="33" y="185"/>
                  </a:lnTo>
                  <a:lnTo>
                    <a:pt x="30" y="177"/>
                  </a:lnTo>
                  <a:lnTo>
                    <a:pt x="28" y="173"/>
                  </a:lnTo>
                  <a:lnTo>
                    <a:pt x="28" y="177"/>
                  </a:lnTo>
                  <a:lnTo>
                    <a:pt x="23" y="175"/>
                  </a:lnTo>
                  <a:lnTo>
                    <a:pt x="21" y="170"/>
                  </a:lnTo>
                  <a:lnTo>
                    <a:pt x="23" y="168"/>
                  </a:lnTo>
                  <a:lnTo>
                    <a:pt x="26" y="170"/>
                  </a:lnTo>
                  <a:lnTo>
                    <a:pt x="26" y="168"/>
                  </a:lnTo>
                  <a:lnTo>
                    <a:pt x="23" y="166"/>
                  </a:lnTo>
                  <a:lnTo>
                    <a:pt x="23" y="166"/>
                  </a:lnTo>
                  <a:lnTo>
                    <a:pt x="23" y="163"/>
                  </a:lnTo>
                  <a:lnTo>
                    <a:pt x="11" y="156"/>
                  </a:lnTo>
                  <a:lnTo>
                    <a:pt x="11" y="154"/>
                  </a:lnTo>
                  <a:lnTo>
                    <a:pt x="9" y="152"/>
                  </a:lnTo>
                  <a:lnTo>
                    <a:pt x="7" y="149"/>
                  </a:lnTo>
                  <a:lnTo>
                    <a:pt x="4" y="152"/>
                  </a:lnTo>
                  <a:lnTo>
                    <a:pt x="4" y="149"/>
                  </a:lnTo>
                  <a:lnTo>
                    <a:pt x="2" y="144"/>
                  </a:lnTo>
                  <a:lnTo>
                    <a:pt x="0" y="140"/>
                  </a:lnTo>
                  <a:lnTo>
                    <a:pt x="0" y="135"/>
                  </a:lnTo>
                  <a:lnTo>
                    <a:pt x="0" y="133"/>
                  </a:lnTo>
                  <a:lnTo>
                    <a:pt x="2" y="130"/>
                  </a:lnTo>
                  <a:lnTo>
                    <a:pt x="4" y="133"/>
                  </a:lnTo>
                  <a:lnTo>
                    <a:pt x="4" y="123"/>
                  </a:lnTo>
                  <a:lnTo>
                    <a:pt x="4" y="121"/>
                  </a:lnTo>
                  <a:lnTo>
                    <a:pt x="7" y="121"/>
                  </a:lnTo>
                  <a:lnTo>
                    <a:pt x="7" y="118"/>
                  </a:lnTo>
                  <a:lnTo>
                    <a:pt x="11" y="121"/>
                  </a:lnTo>
                  <a:lnTo>
                    <a:pt x="11" y="118"/>
                  </a:lnTo>
                  <a:lnTo>
                    <a:pt x="14" y="118"/>
                  </a:lnTo>
                  <a:lnTo>
                    <a:pt x="14" y="116"/>
                  </a:lnTo>
                  <a:lnTo>
                    <a:pt x="14" y="116"/>
                  </a:lnTo>
                  <a:lnTo>
                    <a:pt x="11" y="111"/>
                  </a:lnTo>
                  <a:lnTo>
                    <a:pt x="11" y="107"/>
                  </a:lnTo>
                  <a:lnTo>
                    <a:pt x="11" y="104"/>
                  </a:lnTo>
                  <a:lnTo>
                    <a:pt x="16" y="104"/>
                  </a:lnTo>
                  <a:lnTo>
                    <a:pt x="16" y="102"/>
                  </a:lnTo>
                  <a:lnTo>
                    <a:pt x="19" y="95"/>
                  </a:lnTo>
                  <a:lnTo>
                    <a:pt x="19" y="88"/>
                  </a:lnTo>
                  <a:lnTo>
                    <a:pt x="21" y="85"/>
                  </a:lnTo>
                  <a:lnTo>
                    <a:pt x="26" y="85"/>
                  </a:lnTo>
                  <a:lnTo>
                    <a:pt x="28" y="85"/>
                  </a:lnTo>
                  <a:lnTo>
                    <a:pt x="30" y="85"/>
                  </a:lnTo>
                  <a:lnTo>
                    <a:pt x="33" y="83"/>
                  </a:lnTo>
                  <a:lnTo>
                    <a:pt x="35" y="76"/>
                  </a:lnTo>
                  <a:lnTo>
                    <a:pt x="40" y="66"/>
                  </a:lnTo>
                  <a:lnTo>
                    <a:pt x="42" y="62"/>
                  </a:lnTo>
                  <a:lnTo>
                    <a:pt x="40" y="59"/>
                  </a:lnTo>
                  <a:lnTo>
                    <a:pt x="42" y="57"/>
                  </a:lnTo>
                  <a:lnTo>
                    <a:pt x="47" y="52"/>
                  </a:lnTo>
                  <a:lnTo>
                    <a:pt x="49" y="50"/>
                  </a:lnTo>
                  <a:lnTo>
                    <a:pt x="49" y="40"/>
                  </a:lnTo>
                  <a:lnTo>
                    <a:pt x="52" y="36"/>
                  </a:lnTo>
                  <a:lnTo>
                    <a:pt x="56" y="31"/>
                  </a:lnTo>
                  <a:lnTo>
                    <a:pt x="61" y="29"/>
                  </a:lnTo>
                  <a:lnTo>
                    <a:pt x="63" y="26"/>
                  </a:lnTo>
                  <a:lnTo>
                    <a:pt x="66" y="22"/>
                  </a:lnTo>
                  <a:lnTo>
                    <a:pt x="73" y="22"/>
                  </a:lnTo>
                  <a:lnTo>
                    <a:pt x="75" y="19"/>
                  </a:lnTo>
                  <a:lnTo>
                    <a:pt x="82" y="22"/>
                  </a:lnTo>
                  <a:lnTo>
                    <a:pt x="82" y="19"/>
                  </a:lnTo>
                  <a:lnTo>
                    <a:pt x="82" y="15"/>
                  </a:lnTo>
                  <a:lnTo>
                    <a:pt x="82" y="10"/>
                  </a:lnTo>
                  <a:lnTo>
                    <a:pt x="87" y="7"/>
                  </a:lnTo>
                  <a:lnTo>
                    <a:pt x="89" y="7"/>
                  </a:lnTo>
                  <a:lnTo>
                    <a:pt x="89" y="3"/>
                  </a:lnTo>
                  <a:lnTo>
                    <a:pt x="92" y="0"/>
                  </a:lnTo>
                  <a:lnTo>
                    <a:pt x="92" y="0"/>
                  </a:lnTo>
                  <a:lnTo>
                    <a:pt x="94" y="0"/>
                  </a:lnTo>
                  <a:lnTo>
                    <a:pt x="96" y="3"/>
                  </a:lnTo>
                  <a:lnTo>
                    <a:pt x="101" y="5"/>
                  </a:lnTo>
                  <a:lnTo>
                    <a:pt x="101" y="12"/>
                  </a:lnTo>
                  <a:lnTo>
                    <a:pt x="104" y="15"/>
                  </a:lnTo>
                  <a:lnTo>
                    <a:pt x="108" y="15"/>
                  </a:lnTo>
                  <a:lnTo>
                    <a:pt x="111" y="24"/>
                  </a:lnTo>
                  <a:lnTo>
                    <a:pt x="111" y="31"/>
                  </a:lnTo>
                  <a:lnTo>
                    <a:pt x="111" y="40"/>
                  </a:lnTo>
                  <a:lnTo>
                    <a:pt x="111" y="43"/>
                  </a:lnTo>
                  <a:lnTo>
                    <a:pt x="108" y="52"/>
                  </a:lnTo>
                  <a:lnTo>
                    <a:pt x="104" y="55"/>
                  </a:lnTo>
                  <a:lnTo>
                    <a:pt x="104" y="57"/>
                  </a:lnTo>
                  <a:lnTo>
                    <a:pt x="101" y="59"/>
                  </a:lnTo>
                  <a:lnTo>
                    <a:pt x="99" y="62"/>
                  </a:lnTo>
                  <a:lnTo>
                    <a:pt x="96" y="69"/>
                  </a:lnTo>
                  <a:lnTo>
                    <a:pt x="94" y="74"/>
                  </a:lnTo>
                  <a:lnTo>
                    <a:pt x="96" y="78"/>
                  </a:lnTo>
                  <a:lnTo>
                    <a:pt x="96" y="81"/>
                  </a:lnTo>
                  <a:lnTo>
                    <a:pt x="92" y="85"/>
                  </a:lnTo>
                  <a:lnTo>
                    <a:pt x="94" y="88"/>
                  </a:lnTo>
                  <a:lnTo>
                    <a:pt x="99" y="83"/>
                  </a:lnTo>
                  <a:lnTo>
                    <a:pt x="101" y="81"/>
                  </a:lnTo>
                  <a:lnTo>
                    <a:pt x="108" y="81"/>
                  </a:lnTo>
                  <a:lnTo>
                    <a:pt x="113" y="81"/>
                  </a:lnTo>
                  <a:lnTo>
                    <a:pt x="113" y="85"/>
                  </a:lnTo>
                  <a:lnTo>
                    <a:pt x="115" y="90"/>
                  </a:lnTo>
                  <a:lnTo>
                    <a:pt x="115" y="95"/>
                  </a:lnTo>
                  <a:lnTo>
                    <a:pt x="120" y="100"/>
                  </a:lnTo>
                  <a:lnTo>
                    <a:pt x="125" y="102"/>
                  </a:lnTo>
                  <a:lnTo>
                    <a:pt x="122" y="109"/>
                  </a:lnTo>
                  <a:lnTo>
                    <a:pt x="122" y="116"/>
                  </a:lnTo>
                  <a:lnTo>
                    <a:pt x="127" y="116"/>
                  </a:lnTo>
                  <a:lnTo>
                    <a:pt x="132" y="118"/>
                  </a:lnTo>
                  <a:lnTo>
                    <a:pt x="134" y="123"/>
                  </a:lnTo>
                  <a:lnTo>
                    <a:pt x="139" y="128"/>
                  </a:lnTo>
                  <a:lnTo>
                    <a:pt x="146" y="128"/>
                  </a:lnTo>
                  <a:lnTo>
                    <a:pt x="151" y="123"/>
                  </a:lnTo>
                  <a:lnTo>
                    <a:pt x="153" y="123"/>
                  </a:lnTo>
                  <a:lnTo>
                    <a:pt x="153" y="126"/>
                  </a:lnTo>
                  <a:lnTo>
                    <a:pt x="153" y="128"/>
                  </a:lnTo>
                  <a:lnTo>
                    <a:pt x="153" y="130"/>
                  </a:lnTo>
                  <a:lnTo>
                    <a:pt x="144" y="135"/>
                  </a:lnTo>
                  <a:lnTo>
                    <a:pt x="144" y="137"/>
                  </a:lnTo>
                  <a:lnTo>
                    <a:pt x="144" y="140"/>
                  </a:lnTo>
                  <a:lnTo>
                    <a:pt x="144" y="140"/>
                  </a:lnTo>
                  <a:lnTo>
                    <a:pt x="141" y="140"/>
                  </a:lnTo>
                  <a:lnTo>
                    <a:pt x="139" y="142"/>
                  </a:lnTo>
                  <a:lnTo>
                    <a:pt x="139" y="144"/>
                  </a:lnTo>
                  <a:lnTo>
                    <a:pt x="137" y="144"/>
                  </a:lnTo>
                  <a:lnTo>
                    <a:pt x="134" y="147"/>
                  </a:lnTo>
                  <a:lnTo>
                    <a:pt x="132" y="152"/>
                  </a:lnTo>
                  <a:lnTo>
                    <a:pt x="127" y="152"/>
                  </a:lnTo>
                  <a:lnTo>
                    <a:pt x="125" y="154"/>
                  </a:lnTo>
                  <a:lnTo>
                    <a:pt x="120" y="159"/>
                  </a:lnTo>
                  <a:lnTo>
                    <a:pt x="118" y="159"/>
                  </a:lnTo>
                  <a:lnTo>
                    <a:pt x="113" y="163"/>
                  </a:lnTo>
                  <a:lnTo>
                    <a:pt x="111" y="163"/>
                  </a:lnTo>
                  <a:lnTo>
                    <a:pt x="104" y="163"/>
                  </a:lnTo>
                  <a:lnTo>
                    <a:pt x="101" y="166"/>
                  </a:lnTo>
                  <a:lnTo>
                    <a:pt x="96" y="177"/>
                  </a:lnTo>
                  <a:lnTo>
                    <a:pt x="94" y="182"/>
                  </a:lnTo>
                  <a:lnTo>
                    <a:pt x="96" y="185"/>
                  </a:lnTo>
                  <a:lnTo>
                    <a:pt x="92" y="187"/>
                  </a:lnTo>
                  <a:lnTo>
                    <a:pt x="94" y="189"/>
                  </a:lnTo>
                  <a:lnTo>
                    <a:pt x="94" y="194"/>
                  </a:lnTo>
                  <a:lnTo>
                    <a:pt x="99" y="201"/>
                  </a:lnTo>
                  <a:lnTo>
                    <a:pt x="106" y="208"/>
                  </a:lnTo>
                  <a:lnTo>
                    <a:pt x="108" y="211"/>
                  </a:lnTo>
                  <a:lnTo>
                    <a:pt x="108" y="215"/>
                  </a:lnTo>
                  <a:lnTo>
                    <a:pt x="108" y="220"/>
                  </a:lnTo>
                  <a:lnTo>
                    <a:pt x="108" y="225"/>
                  </a:lnTo>
                  <a:lnTo>
                    <a:pt x="113" y="225"/>
                  </a:lnTo>
                  <a:lnTo>
                    <a:pt x="113" y="227"/>
                  </a:lnTo>
                  <a:lnTo>
                    <a:pt x="111" y="229"/>
                  </a:lnTo>
                  <a:lnTo>
                    <a:pt x="111" y="234"/>
                  </a:lnTo>
                  <a:lnTo>
                    <a:pt x="108" y="237"/>
                  </a:lnTo>
                  <a:lnTo>
                    <a:pt x="108" y="241"/>
                  </a:lnTo>
                  <a:lnTo>
                    <a:pt x="108" y="241"/>
                  </a:lnTo>
                  <a:lnTo>
                    <a:pt x="104" y="244"/>
                  </a:lnTo>
                  <a:lnTo>
                    <a:pt x="104" y="246"/>
                  </a:lnTo>
                  <a:lnTo>
                    <a:pt x="104" y="251"/>
                  </a:lnTo>
                  <a:lnTo>
                    <a:pt x="106" y="255"/>
                  </a:lnTo>
                  <a:lnTo>
                    <a:pt x="111" y="260"/>
                  </a:lnTo>
                  <a:lnTo>
                    <a:pt x="118" y="267"/>
                  </a:lnTo>
                  <a:lnTo>
                    <a:pt x="118" y="267"/>
                  </a:lnTo>
                  <a:lnTo>
                    <a:pt x="118" y="272"/>
                  </a:lnTo>
                  <a:lnTo>
                    <a:pt x="120" y="281"/>
                  </a:lnTo>
                  <a:lnTo>
                    <a:pt x="120" y="289"/>
                  </a:lnTo>
                  <a:lnTo>
                    <a:pt x="122" y="289"/>
                  </a:lnTo>
                  <a:lnTo>
                    <a:pt x="122" y="293"/>
                  </a:lnTo>
                  <a:lnTo>
                    <a:pt x="127" y="303"/>
                  </a:lnTo>
                  <a:lnTo>
                    <a:pt x="127" y="305"/>
                  </a:lnTo>
                  <a:lnTo>
                    <a:pt x="122" y="314"/>
                  </a:lnTo>
                  <a:lnTo>
                    <a:pt x="118" y="317"/>
                  </a:lnTo>
                  <a:lnTo>
                    <a:pt x="115" y="322"/>
                  </a:lnTo>
                  <a:lnTo>
                    <a:pt x="115" y="326"/>
                  </a:lnTo>
                  <a:lnTo>
                    <a:pt x="113" y="331"/>
                  </a:lnTo>
                  <a:lnTo>
                    <a:pt x="113" y="333"/>
                  </a:lnTo>
                  <a:lnTo>
                    <a:pt x="111" y="333"/>
                  </a:lnTo>
                  <a:lnTo>
                    <a:pt x="108" y="331"/>
                  </a:lnTo>
                  <a:lnTo>
                    <a:pt x="108" y="326"/>
                  </a:lnTo>
                  <a:lnTo>
                    <a:pt x="111" y="324"/>
                  </a:lnTo>
                  <a:lnTo>
                    <a:pt x="113" y="314"/>
                  </a:lnTo>
                  <a:lnTo>
                    <a:pt x="113" y="312"/>
                  </a:lnTo>
                  <a:lnTo>
                    <a:pt x="113" y="307"/>
                  </a:lnTo>
                  <a:lnTo>
                    <a:pt x="111" y="305"/>
                  </a:lnTo>
                  <a:lnTo>
                    <a:pt x="108" y="303"/>
                  </a:lnTo>
                  <a:lnTo>
                    <a:pt x="108" y="300"/>
                  </a:lnTo>
                  <a:lnTo>
                    <a:pt x="111" y="300"/>
                  </a:lnTo>
                  <a:lnTo>
                    <a:pt x="111" y="298"/>
                  </a:lnTo>
                  <a:lnTo>
                    <a:pt x="111" y="293"/>
                  </a:lnTo>
                  <a:lnTo>
                    <a:pt x="111" y="284"/>
                  </a:lnTo>
                  <a:lnTo>
                    <a:pt x="106" y="277"/>
                  </a:lnTo>
                  <a:lnTo>
                    <a:pt x="106" y="270"/>
                  </a:lnTo>
                  <a:lnTo>
                    <a:pt x="104" y="272"/>
                  </a:lnTo>
                  <a:lnTo>
                    <a:pt x="104" y="272"/>
                  </a:lnTo>
                  <a:lnTo>
                    <a:pt x="101" y="267"/>
                  </a:lnTo>
                  <a:lnTo>
                    <a:pt x="99" y="260"/>
                  </a:lnTo>
                  <a:lnTo>
                    <a:pt x="99" y="255"/>
                  </a:lnTo>
                  <a:lnTo>
                    <a:pt x="96" y="248"/>
                  </a:lnTo>
                  <a:lnTo>
                    <a:pt x="94" y="241"/>
                  </a:lnTo>
                  <a:lnTo>
                    <a:pt x="94" y="229"/>
                  </a:lnTo>
                  <a:lnTo>
                    <a:pt x="94" y="220"/>
                  </a:lnTo>
                  <a:lnTo>
                    <a:pt x="92" y="220"/>
                  </a:lnTo>
                  <a:lnTo>
                    <a:pt x="92" y="220"/>
                  </a:lnTo>
                  <a:lnTo>
                    <a:pt x="87" y="218"/>
                  </a:lnTo>
                  <a:lnTo>
                    <a:pt x="85" y="215"/>
                  </a:lnTo>
                  <a:lnTo>
                    <a:pt x="82" y="213"/>
                  </a:lnTo>
                  <a:lnTo>
                    <a:pt x="80" y="213"/>
                  </a:lnTo>
                  <a:lnTo>
                    <a:pt x="78" y="208"/>
                  </a:lnTo>
                  <a:lnTo>
                    <a:pt x="78" y="203"/>
                  </a:lnTo>
                  <a:lnTo>
                    <a:pt x="78" y="211"/>
                  </a:lnTo>
                  <a:lnTo>
                    <a:pt x="75" y="218"/>
                  </a:lnTo>
                  <a:lnTo>
                    <a:pt x="70" y="220"/>
                  </a:lnTo>
                  <a:lnTo>
                    <a:pt x="66" y="222"/>
                  </a:lnTo>
                  <a:lnTo>
                    <a:pt x="63" y="225"/>
                  </a:lnTo>
                  <a:lnTo>
                    <a:pt x="59" y="227"/>
                  </a:lnTo>
                  <a:lnTo>
                    <a:pt x="56" y="229"/>
                  </a:lnTo>
                  <a:lnTo>
                    <a:pt x="54" y="234"/>
                  </a:lnTo>
                  <a:lnTo>
                    <a:pt x="52" y="232"/>
                  </a:lnTo>
                  <a:lnTo>
                    <a:pt x="49" y="234"/>
                  </a:lnTo>
                  <a:lnTo>
                    <a:pt x="47" y="232"/>
                  </a:lnTo>
                  <a:lnTo>
                    <a:pt x="44" y="234"/>
                  </a:lnTo>
                  <a:lnTo>
                    <a:pt x="42" y="232"/>
                  </a:lnTo>
                  <a:lnTo>
                    <a:pt x="40" y="232"/>
                  </a:lnTo>
                  <a:lnTo>
                    <a:pt x="37" y="229"/>
                  </a:lnTo>
                  <a:lnTo>
                    <a:pt x="40" y="227"/>
                  </a:lnTo>
                  <a:lnTo>
                    <a:pt x="35" y="229"/>
                  </a:lnTo>
                  <a:lnTo>
                    <a:pt x="33" y="229"/>
                  </a:lnTo>
                  <a:lnTo>
                    <a:pt x="35" y="22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5" name="Freeform 634">
              <a:extLst>
                <a:ext uri="{FF2B5EF4-FFF2-40B4-BE49-F238E27FC236}">
                  <a16:creationId xmlns:a16="http://schemas.microsoft.com/office/drawing/2014/main" id="{32F66AAA-2C1C-4BE1-A6FA-6F07B5FB61C5}"/>
                </a:ext>
              </a:extLst>
            </p:cNvPr>
            <p:cNvSpPr>
              <a:spLocks/>
            </p:cNvSpPr>
            <p:nvPr/>
          </p:nvSpPr>
          <p:spPr bwMode="auto">
            <a:xfrm>
              <a:off x="6831428" y="4225412"/>
              <a:ext cx="153863" cy="125737"/>
            </a:xfrm>
            <a:custGeom>
              <a:avLst/>
              <a:gdLst>
                <a:gd name="T0" fmla="*/ 36 w 93"/>
                <a:gd name="T1" fmla="*/ 76 h 76"/>
                <a:gd name="T2" fmla="*/ 33 w 93"/>
                <a:gd name="T3" fmla="*/ 73 h 76"/>
                <a:gd name="T4" fmla="*/ 26 w 93"/>
                <a:gd name="T5" fmla="*/ 73 h 76"/>
                <a:gd name="T6" fmla="*/ 22 w 93"/>
                <a:gd name="T7" fmla="*/ 71 h 76"/>
                <a:gd name="T8" fmla="*/ 24 w 93"/>
                <a:gd name="T9" fmla="*/ 66 h 76"/>
                <a:gd name="T10" fmla="*/ 19 w 93"/>
                <a:gd name="T11" fmla="*/ 64 h 76"/>
                <a:gd name="T12" fmla="*/ 15 w 93"/>
                <a:gd name="T13" fmla="*/ 69 h 76"/>
                <a:gd name="T14" fmla="*/ 12 w 93"/>
                <a:gd name="T15" fmla="*/ 59 h 76"/>
                <a:gd name="T16" fmla="*/ 15 w 93"/>
                <a:gd name="T17" fmla="*/ 59 h 76"/>
                <a:gd name="T18" fmla="*/ 12 w 93"/>
                <a:gd name="T19" fmla="*/ 54 h 76"/>
                <a:gd name="T20" fmla="*/ 12 w 93"/>
                <a:gd name="T21" fmla="*/ 50 h 76"/>
                <a:gd name="T22" fmla="*/ 7 w 93"/>
                <a:gd name="T23" fmla="*/ 40 h 76"/>
                <a:gd name="T24" fmla="*/ 0 w 93"/>
                <a:gd name="T25" fmla="*/ 31 h 76"/>
                <a:gd name="T26" fmla="*/ 0 w 93"/>
                <a:gd name="T27" fmla="*/ 21 h 76"/>
                <a:gd name="T28" fmla="*/ 5 w 93"/>
                <a:gd name="T29" fmla="*/ 17 h 76"/>
                <a:gd name="T30" fmla="*/ 12 w 93"/>
                <a:gd name="T31" fmla="*/ 10 h 76"/>
                <a:gd name="T32" fmla="*/ 17 w 93"/>
                <a:gd name="T33" fmla="*/ 7 h 76"/>
                <a:gd name="T34" fmla="*/ 31 w 93"/>
                <a:gd name="T35" fmla="*/ 7 h 76"/>
                <a:gd name="T36" fmla="*/ 45 w 93"/>
                <a:gd name="T37" fmla="*/ 7 h 76"/>
                <a:gd name="T38" fmla="*/ 50 w 93"/>
                <a:gd name="T39" fmla="*/ 7 h 76"/>
                <a:gd name="T40" fmla="*/ 59 w 93"/>
                <a:gd name="T41" fmla="*/ 12 h 76"/>
                <a:gd name="T42" fmla="*/ 67 w 93"/>
                <a:gd name="T43" fmla="*/ 12 h 76"/>
                <a:gd name="T44" fmla="*/ 71 w 93"/>
                <a:gd name="T45" fmla="*/ 5 h 76"/>
                <a:gd name="T46" fmla="*/ 76 w 93"/>
                <a:gd name="T47" fmla="*/ 5 h 76"/>
                <a:gd name="T48" fmla="*/ 83 w 93"/>
                <a:gd name="T49" fmla="*/ 7 h 76"/>
                <a:gd name="T50" fmla="*/ 88 w 93"/>
                <a:gd name="T51" fmla="*/ 2 h 76"/>
                <a:gd name="T52" fmla="*/ 90 w 93"/>
                <a:gd name="T53" fmla="*/ 12 h 76"/>
                <a:gd name="T54" fmla="*/ 93 w 93"/>
                <a:gd name="T55" fmla="*/ 21 h 76"/>
                <a:gd name="T56" fmla="*/ 90 w 93"/>
                <a:gd name="T57" fmla="*/ 40 h 76"/>
                <a:gd name="T58" fmla="*/ 85 w 93"/>
                <a:gd name="T59" fmla="*/ 43 h 76"/>
                <a:gd name="T60" fmla="*/ 81 w 93"/>
                <a:gd name="T61" fmla="*/ 47 h 76"/>
                <a:gd name="T62" fmla="*/ 71 w 93"/>
                <a:gd name="T63" fmla="*/ 50 h 76"/>
                <a:gd name="T64" fmla="*/ 67 w 93"/>
                <a:gd name="T65" fmla="*/ 54 h 76"/>
                <a:gd name="T66" fmla="*/ 62 w 93"/>
                <a:gd name="T67" fmla="*/ 59 h 76"/>
                <a:gd name="T68" fmla="*/ 62 w 93"/>
                <a:gd name="T69" fmla="*/ 64 h 76"/>
                <a:gd name="T70" fmla="*/ 59 w 93"/>
                <a:gd name="T71" fmla="*/ 66 h 76"/>
                <a:gd name="T72" fmla="*/ 52 w 93"/>
                <a:gd name="T73" fmla="*/ 69 h 76"/>
                <a:gd name="T74" fmla="*/ 48 w 93"/>
                <a:gd name="T75" fmla="*/ 69 h 76"/>
                <a:gd name="T76" fmla="*/ 45 w 93"/>
                <a:gd name="T77" fmla="*/ 73 h 76"/>
                <a:gd name="T78" fmla="*/ 38 w 93"/>
                <a:gd name="T7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76">
                  <a:moveTo>
                    <a:pt x="38" y="76"/>
                  </a:moveTo>
                  <a:lnTo>
                    <a:pt x="36" y="76"/>
                  </a:lnTo>
                  <a:lnTo>
                    <a:pt x="36" y="73"/>
                  </a:lnTo>
                  <a:lnTo>
                    <a:pt x="33" y="73"/>
                  </a:lnTo>
                  <a:lnTo>
                    <a:pt x="29" y="73"/>
                  </a:lnTo>
                  <a:lnTo>
                    <a:pt x="26" y="73"/>
                  </a:lnTo>
                  <a:lnTo>
                    <a:pt x="22" y="73"/>
                  </a:lnTo>
                  <a:lnTo>
                    <a:pt x="22" y="71"/>
                  </a:lnTo>
                  <a:lnTo>
                    <a:pt x="24" y="69"/>
                  </a:lnTo>
                  <a:lnTo>
                    <a:pt x="24" y="66"/>
                  </a:lnTo>
                  <a:lnTo>
                    <a:pt x="22" y="64"/>
                  </a:lnTo>
                  <a:lnTo>
                    <a:pt x="19" y="64"/>
                  </a:lnTo>
                  <a:lnTo>
                    <a:pt x="19" y="69"/>
                  </a:lnTo>
                  <a:lnTo>
                    <a:pt x="15" y="69"/>
                  </a:lnTo>
                  <a:lnTo>
                    <a:pt x="12" y="59"/>
                  </a:lnTo>
                  <a:lnTo>
                    <a:pt x="12" y="59"/>
                  </a:lnTo>
                  <a:lnTo>
                    <a:pt x="15" y="59"/>
                  </a:lnTo>
                  <a:lnTo>
                    <a:pt x="15" y="59"/>
                  </a:lnTo>
                  <a:lnTo>
                    <a:pt x="12" y="54"/>
                  </a:lnTo>
                  <a:lnTo>
                    <a:pt x="12" y="54"/>
                  </a:lnTo>
                  <a:lnTo>
                    <a:pt x="12" y="52"/>
                  </a:lnTo>
                  <a:lnTo>
                    <a:pt x="12" y="50"/>
                  </a:lnTo>
                  <a:lnTo>
                    <a:pt x="10" y="45"/>
                  </a:lnTo>
                  <a:lnTo>
                    <a:pt x="7" y="40"/>
                  </a:lnTo>
                  <a:lnTo>
                    <a:pt x="3" y="38"/>
                  </a:lnTo>
                  <a:lnTo>
                    <a:pt x="0" y="31"/>
                  </a:lnTo>
                  <a:lnTo>
                    <a:pt x="0" y="26"/>
                  </a:lnTo>
                  <a:lnTo>
                    <a:pt x="0" y="21"/>
                  </a:lnTo>
                  <a:lnTo>
                    <a:pt x="3" y="19"/>
                  </a:lnTo>
                  <a:lnTo>
                    <a:pt x="5" y="17"/>
                  </a:lnTo>
                  <a:lnTo>
                    <a:pt x="7" y="17"/>
                  </a:lnTo>
                  <a:lnTo>
                    <a:pt x="12" y="10"/>
                  </a:lnTo>
                  <a:lnTo>
                    <a:pt x="15" y="7"/>
                  </a:lnTo>
                  <a:lnTo>
                    <a:pt x="17" y="7"/>
                  </a:lnTo>
                  <a:lnTo>
                    <a:pt x="24" y="7"/>
                  </a:lnTo>
                  <a:lnTo>
                    <a:pt x="31" y="7"/>
                  </a:lnTo>
                  <a:lnTo>
                    <a:pt x="36" y="7"/>
                  </a:lnTo>
                  <a:lnTo>
                    <a:pt x="45" y="7"/>
                  </a:lnTo>
                  <a:lnTo>
                    <a:pt x="48" y="10"/>
                  </a:lnTo>
                  <a:lnTo>
                    <a:pt x="50" y="7"/>
                  </a:lnTo>
                  <a:lnTo>
                    <a:pt x="52" y="12"/>
                  </a:lnTo>
                  <a:lnTo>
                    <a:pt x="59" y="12"/>
                  </a:lnTo>
                  <a:lnTo>
                    <a:pt x="62" y="14"/>
                  </a:lnTo>
                  <a:lnTo>
                    <a:pt x="67" y="12"/>
                  </a:lnTo>
                  <a:lnTo>
                    <a:pt x="67" y="7"/>
                  </a:lnTo>
                  <a:lnTo>
                    <a:pt x="71" y="5"/>
                  </a:lnTo>
                  <a:lnTo>
                    <a:pt x="74" y="2"/>
                  </a:lnTo>
                  <a:lnTo>
                    <a:pt x="76" y="5"/>
                  </a:lnTo>
                  <a:lnTo>
                    <a:pt x="78" y="7"/>
                  </a:lnTo>
                  <a:lnTo>
                    <a:pt x="83" y="7"/>
                  </a:lnTo>
                  <a:lnTo>
                    <a:pt x="85" y="5"/>
                  </a:lnTo>
                  <a:lnTo>
                    <a:pt x="88" y="2"/>
                  </a:lnTo>
                  <a:lnTo>
                    <a:pt x="90" y="0"/>
                  </a:lnTo>
                  <a:lnTo>
                    <a:pt x="90" y="12"/>
                  </a:lnTo>
                  <a:lnTo>
                    <a:pt x="90" y="17"/>
                  </a:lnTo>
                  <a:lnTo>
                    <a:pt x="93" y="21"/>
                  </a:lnTo>
                  <a:lnTo>
                    <a:pt x="93" y="38"/>
                  </a:lnTo>
                  <a:lnTo>
                    <a:pt x="90" y="40"/>
                  </a:lnTo>
                  <a:lnTo>
                    <a:pt x="88" y="45"/>
                  </a:lnTo>
                  <a:lnTo>
                    <a:pt x="85" y="43"/>
                  </a:lnTo>
                  <a:lnTo>
                    <a:pt x="83" y="45"/>
                  </a:lnTo>
                  <a:lnTo>
                    <a:pt x="81" y="47"/>
                  </a:lnTo>
                  <a:lnTo>
                    <a:pt x="78" y="47"/>
                  </a:lnTo>
                  <a:lnTo>
                    <a:pt x="71" y="50"/>
                  </a:lnTo>
                  <a:lnTo>
                    <a:pt x="71" y="52"/>
                  </a:lnTo>
                  <a:lnTo>
                    <a:pt x="67" y="54"/>
                  </a:lnTo>
                  <a:lnTo>
                    <a:pt x="64" y="54"/>
                  </a:lnTo>
                  <a:lnTo>
                    <a:pt x="62" y="59"/>
                  </a:lnTo>
                  <a:lnTo>
                    <a:pt x="62" y="61"/>
                  </a:lnTo>
                  <a:lnTo>
                    <a:pt x="62" y="64"/>
                  </a:lnTo>
                  <a:lnTo>
                    <a:pt x="62" y="66"/>
                  </a:lnTo>
                  <a:lnTo>
                    <a:pt x="59" y="66"/>
                  </a:lnTo>
                  <a:lnTo>
                    <a:pt x="55" y="69"/>
                  </a:lnTo>
                  <a:lnTo>
                    <a:pt x="52" y="69"/>
                  </a:lnTo>
                  <a:lnTo>
                    <a:pt x="50" y="69"/>
                  </a:lnTo>
                  <a:lnTo>
                    <a:pt x="48" y="69"/>
                  </a:lnTo>
                  <a:lnTo>
                    <a:pt x="48" y="71"/>
                  </a:lnTo>
                  <a:lnTo>
                    <a:pt x="45" y="73"/>
                  </a:lnTo>
                  <a:lnTo>
                    <a:pt x="43" y="73"/>
                  </a:lnTo>
                  <a:lnTo>
                    <a:pt x="38" y="76"/>
                  </a:lnTo>
                  <a:lnTo>
                    <a:pt x="38" y="76"/>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6" name="Freeform 635">
              <a:extLst>
                <a:ext uri="{FF2B5EF4-FFF2-40B4-BE49-F238E27FC236}">
                  <a16:creationId xmlns:a16="http://schemas.microsoft.com/office/drawing/2014/main" id="{7DEA9E78-AFA4-413C-9878-FD7AD932B449}"/>
                </a:ext>
              </a:extLst>
            </p:cNvPr>
            <p:cNvSpPr>
              <a:spLocks/>
            </p:cNvSpPr>
            <p:nvPr/>
          </p:nvSpPr>
          <p:spPr bwMode="auto">
            <a:xfrm>
              <a:off x="6831428" y="4225412"/>
              <a:ext cx="153863" cy="125737"/>
            </a:xfrm>
            <a:custGeom>
              <a:avLst/>
              <a:gdLst>
                <a:gd name="T0" fmla="*/ 36 w 93"/>
                <a:gd name="T1" fmla="*/ 76 h 76"/>
                <a:gd name="T2" fmla="*/ 33 w 93"/>
                <a:gd name="T3" fmla="*/ 73 h 76"/>
                <a:gd name="T4" fmla="*/ 26 w 93"/>
                <a:gd name="T5" fmla="*/ 73 h 76"/>
                <a:gd name="T6" fmla="*/ 22 w 93"/>
                <a:gd name="T7" fmla="*/ 71 h 76"/>
                <a:gd name="T8" fmla="*/ 24 w 93"/>
                <a:gd name="T9" fmla="*/ 66 h 76"/>
                <a:gd name="T10" fmla="*/ 19 w 93"/>
                <a:gd name="T11" fmla="*/ 64 h 76"/>
                <a:gd name="T12" fmla="*/ 15 w 93"/>
                <a:gd name="T13" fmla="*/ 69 h 76"/>
                <a:gd name="T14" fmla="*/ 12 w 93"/>
                <a:gd name="T15" fmla="*/ 59 h 76"/>
                <a:gd name="T16" fmla="*/ 15 w 93"/>
                <a:gd name="T17" fmla="*/ 59 h 76"/>
                <a:gd name="T18" fmla="*/ 12 w 93"/>
                <a:gd name="T19" fmla="*/ 54 h 76"/>
                <a:gd name="T20" fmla="*/ 12 w 93"/>
                <a:gd name="T21" fmla="*/ 50 h 76"/>
                <a:gd name="T22" fmla="*/ 7 w 93"/>
                <a:gd name="T23" fmla="*/ 40 h 76"/>
                <a:gd name="T24" fmla="*/ 0 w 93"/>
                <a:gd name="T25" fmla="*/ 31 h 76"/>
                <a:gd name="T26" fmla="*/ 0 w 93"/>
                <a:gd name="T27" fmla="*/ 21 h 76"/>
                <a:gd name="T28" fmla="*/ 5 w 93"/>
                <a:gd name="T29" fmla="*/ 17 h 76"/>
                <a:gd name="T30" fmla="*/ 12 w 93"/>
                <a:gd name="T31" fmla="*/ 10 h 76"/>
                <a:gd name="T32" fmla="*/ 17 w 93"/>
                <a:gd name="T33" fmla="*/ 7 h 76"/>
                <a:gd name="T34" fmla="*/ 31 w 93"/>
                <a:gd name="T35" fmla="*/ 7 h 76"/>
                <a:gd name="T36" fmla="*/ 45 w 93"/>
                <a:gd name="T37" fmla="*/ 7 h 76"/>
                <a:gd name="T38" fmla="*/ 50 w 93"/>
                <a:gd name="T39" fmla="*/ 7 h 76"/>
                <a:gd name="T40" fmla="*/ 59 w 93"/>
                <a:gd name="T41" fmla="*/ 12 h 76"/>
                <a:gd name="T42" fmla="*/ 67 w 93"/>
                <a:gd name="T43" fmla="*/ 12 h 76"/>
                <a:gd name="T44" fmla="*/ 71 w 93"/>
                <a:gd name="T45" fmla="*/ 5 h 76"/>
                <a:gd name="T46" fmla="*/ 76 w 93"/>
                <a:gd name="T47" fmla="*/ 5 h 76"/>
                <a:gd name="T48" fmla="*/ 83 w 93"/>
                <a:gd name="T49" fmla="*/ 7 h 76"/>
                <a:gd name="T50" fmla="*/ 88 w 93"/>
                <a:gd name="T51" fmla="*/ 2 h 76"/>
                <a:gd name="T52" fmla="*/ 90 w 93"/>
                <a:gd name="T53" fmla="*/ 12 h 76"/>
                <a:gd name="T54" fmla="*/ 93 w 93"/>
                <a:gd name="T55" fmla="*/ 21 h 76"/>
                <a:gd name="T56" fmla="*/ 90 w 93"/>
                <a:gd name="T57" fmla="*/ 40 h 76"/>
                <a:gd name="T58" fmla="*/ 85 w 93"/>
                <a:gd name="T59" fmla="*/ 43 h 76"/>
                <a:gd name="T60" fmla="*/ 81 w 93"/>
                <a:gd name="T61" fmla="*/ 47 h 76"/>
                <a:gd name="T62" fmla="*/ 71 w 93"/>
                <a:gd name="T63" fmla="*/ 50 h 76"/>
                <a:gd name="T64" fmla="*/ 67 w 93"/>
                <a:gd name="T65" fmla="*/ 54 h 76"/>
                <a:gd name="T66" fmla="*/ 62 w 93"/>
                <a:gd name="T67" fmla="*/ 59 h 76"/>
                <a:gd name="T68" fmla="*/ 62 w 93"/>
                <a:gd name="T69" fmla="*/ 64 h 76"/>
                <a:gd name="T70" fmla="*/ 59 w 93"/>
                <a:gd name="T71" fmla="*/ 66 h 76"/>
                <a:gd name="T72" fmla="*/ 52 w 93"/>
                <a:gd name="T73" fmla="*/ 69 h 76"/>
                <a:gd name="T74" fmla="*/ 48 w 93"/>
                <a:gd name="T75" fmla="*/ 69 h 76"/>
                <a:gd name="T76" fmla="*/ 45 w 93"/>
                <a:gd name="T77" fmla="*/ 73 h 76"/>
                <a:gd name="T78" fmla="*/ 38 w 93"/>
                <a:gd name="T7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76">
                  <a:moveTo>
                    <a:pt x="38" y="76"/>
                  </a:moveTo>
                  <a:lnTo>
                    <a:pt x="36" y="76"/>
                  </a:lnTo>
                  <a:lnTo>
                    <a:pt x="36" y="73"/>
                  </a:lnTo>
                  <a:lnTo>
                    <a:pt x="33" y="73"/>
                  </a:lnTo>
                  <a:lnTo>
                    <a:pt x="29" y="73"/>
                  </a:lnTo>
                  <a:lnTo>
                    <a:pt x="26" y="73"/>
                  </a:lnTo>
                  <a:lnTo>
                    <a:pt x="22" y="73"/>
                  </a:lnTo>
                  <a:lnTo>
                    <a:pt x="22" y="71"/>
                  </a:lnTo>
                  <a:lnTo>
                    <a:pt x="24" y="69"/>
                  </a:lnTo>
                  <a:lnTo>
                    <a:pt x="24" y="66"/>
                  </a:lnTo>
                  <a:lnTo>
                    <a:pt x="22" y="64"/>
                  </a:lnTo>
                  <a:lnTo>
                    <a:pt x="19" y="64"/>
                  </a:lnTo>
                  <a:lnTo>
                    <a:pt x="19" y="69"/>
                  </a:lnTo>
                  <a:lnTo>
                    <a:pt x="15" y="69"/>
                  </a:lnTo>
                  <a:lnTo>
                    <a:pt x="12" y="59"/>
                  </a:lnTo>
                  <a:lnTo>
                    <a:pt x="12" y="59"/>
                  </a:lnTo>
                  <a:lnTo>
                    <a:pt x="15" y="59"/>
                  </a:lnTo>
                  <a:lnTo>
                    <a:pt x="15" y="59"/>
                  </a:lnTo>
                  <a:lnTo>
                    <a:pt x="12" y="54"/>
                  </a:lnTo>
                  <a:lnTo>
                    <a:pt x="12" y="54"/>
                  </a:lnTo>
                  <a:lnTo>
                    <a:pt x="12" y="52"/>
                  </a:lnTo>
                  <a:lnTo>
                    <a:pt x="12" y="50"/>
                  </a:lnTo>
                  <a:lnTo>
                    <a:pt x="10" y="45"/>
                  </a:lnTo>
                  <a:lnTo>
                    <a:pt x="7" y="40"/>
                  </a:lnTo>
                  <a:lnTo>
                    <a:pt x="3" y="38"/>
                  </a:lnTo>
                  <a:lnTo>
                    <a:pt x="0" y="31"/>
                  </a:lnTo>
                  <a:lnTo>
                    <a:pt x="0" y="26"/>
                  </a:lnTo>
                  <a:lnTo>
                    <a:pt x="0" y="21"/>
                  </a:lnTo>
                  <a:lnTo>
                    <a:pt x="3" y="19"/>
                  </a:lnTo>
                  <a:lnTo>
                    <a:pt x="5" y="17"/>
                  </a:lnTo>
                  <a:lnTo>
                    <a:pt x="7" y="17"/>
                  </a:lnTo>
                  <a:lnTo>
                    <a:pt x="12" y="10"/>
                  </a:lnTo>
                  <a:lnTo>
                    <a:pt x="15" y="7"/>
                  </a:lnTo>
                  <a:lnTo>
                    <a:pt x="17" y="7"/>
                  </a:lnTo>
                  <a:lnTo>
                    <a:pt x="24" y="7"/>
                  </a:lnTo>
                  <a:lnTo>
                    <a:pt x="31" y="7"/>
                  </a:lnTo>
                  <a:lnTo>
                    <a:pt x="36" y="7"/>
                  </a:lnTo>
                  <a:lnTo>
                    <a:pt x="45" y="7"/>
                  </a:lnTo>
                  <a:lnTo>
                    <a:pt x="48" y="10"/>
                  </a:lnTo>
                  <a:lnTo>
                    <a:pt x="50" y="7"/>
                  </a:lnTo>
                  <a:lnTo>
                    <a:pt x="52" y="12"/>
                  </a:lnTo>
                  <a:lnTo>
                    <a:pt x="59" y="12"/>
                  </a:lnTo>
                  <a:lnTo>
                    <a:pt x="62" y="14"/>
                  </a:lnTo>
                  <a:lnTo>
                    <a:pt x="67" y="12"/>
                  </a:lnTo>
                  <a:lnTo>
                    <a:pt x="67" y="7"/>
                  </a:lnTo>
                  <a:lnTo>
                    <a:pt x="71" y="5"/>
                  </a:lnTo>
                  <a:lnTo>
                    <a:pt x="74" y="2"/>
                  </a:lnTo>
                  <a:lnTo>
                    <a:pt x="76" y="5"/>
                  </a:lnTo>
                  <a:lnTo>
                    <a:pt x="78" y="7"/>
                  </a:lnTo>
                  <a:lnTo>
                    <a:pt x="83" y="7"/>
                  </a:lnTo>
                  <a:lnTo>
                    <a:pt x="85" y="5"/>
                  </a:lnTo>
                  <a:lnTo>
                    <a:pt x="88" y="2"/>
                  </a:lnTo>
                  <a:lnTo>
                    <a:pt x="90" y="0"/>
                  </a:lnTo>
                  <a:lnTo>
                    <a:pt x="90" y="12"/>
                  </a:lnTo>
                  <a:lnTo>
                    <a:pt x="90" y="17"/>
                  </a:lnTo>
                  <a:lnTo>
                    <a:pt x="93" y="21"/>
                  </a:lnTo>
                  <a:lnTo>
                    <a:pt x="93" y="38"/>
                  </a:lnTo>
                  <a:lnTo>
                    <a:pt x="90" y="40"/>
                  </a:lnTo>
                  <a:lnTo>
                    <a:pt x="88" y="45"/>
                  </a:lnTo>
                  <a:lnTo>
                    <a:pt x="85" y="43"/>
                  </a:lnTo>
                  <a:lnTo>
                    <a:pt x="83" y="45"/>
                  </a:lnTo>
                  <a:lnTo>
                    <a:pt x="81" y="47"/>
                  </a:lnTo>
                  <a:lnTo>
                    <a:pt x="78" y="47"/>
                  </a:lnTo>
                  <a:lnTo>
                    <a:pt x="71" y="50"/>
                  </a:lnTo>
                  <a:lnTo>
                    <a:pt x="71" y="52"/>
                  </a:lnTo>
                  <a:lnTo>
                    <a:pt x="67" y="54"/>
                  </a:lnTo>
                  <a:lnTo>
                    <a:pt x="64" y="54"/>
                  </a:lnTo>
                  <a:lnTo>
                    <a:pt x="62" y="59"/>
                  </a:lnTo>
                  <a:lnTo>
                    <a:pt x="62" y="61"/>
                  </a:lnTo>
                  <a:lnTo>
                    <a:pt x="62" y="64"/>
                  </a:lnTo>
                  <a:lnTo>
                    <a:pt x="62" y="66"/>
                  </a:lnTo>
                  <a:lnTo>
                    <a:pt x="59" y="66"/>
                  </a:lnTo>
                  <a:lnTo>
                    <a:pt x="55" y="69"/>
                  </a:lnTo>
                  <a:lnTo>
                    <a:pt x="52" y="69"/>
                  </a:lnTo>
                  <a:lnTo>
                    <a:pt x="50" y="69"/>
                  </a:lnTo>
                  <a:lnTo>
                    <a:pt x="48" y="69"/>
                  </a:lnTo>
                  <a:lnTo>
                    <a:pt x="48" y="71"/>
                  </a:lnTo>
                  <a:lnTo>
                    <a:pt x="45" y="73"/>
                  </a:lnTo>
                  <a:lnTo>
                    <a:pt x="43" y="73"/>
                  </a:lnTo>
                  <a:lnTo>
                    <a:pt x="38" y="76"/>
                  </a:lnTo>
                  <a:lnTo>
                    <a:pt x="38" y="7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7" name="Freeform 636">
              <a:extLst>
                <a:ext uri="{FF2B5EF4-FFF2-40B4-BE49-F238E27FC236}">
                  <a16:creationId xmlns:a16="http://schemas.microsoft.com/office/drawing/2014/main" id="{E105D8EF-32CE-4004-8E65-E15BC0AEE436}"/>
                </a:ext>
              </a:extLst>
            </p:cNvPr>
            <p:cNvSpPr>
              <a:spLocks/>
            </p:cNvSpPr>
            <p:nvPr/>
          </p:nvSpPr>
          <p:spPr bwMode="auto">
            <a:xfrm>
              <a:off x="7168933" y="4506665"/>
              <a:ext cx="43015" cy="31433"/>
            </a:xfrm>
            <a:custGeom>
              <a:avLst/>
              <a:gdLst>
                <a:gd name="T0" fmla="*/ 21 w 26"/>
                <a:gd name="T1" fmla="*/ 3 h 19"/>
                <a:gd name="T2" fmla="*/ 23 w 26"/>
                <a:gd name="T3" fmla="*/ 5 h 19"/>
                <a:gd name="T4" fmla="*/ 23 w 26"/>
                <a:gd name="T5" fmla="*/ 7 h 19"/>
                <a:gd name="T6" fmla="*/ 26 w 26"/>
                <a:gd name="T7" fmla="*/ 7 h 19"/>
                <a:gd name="T8" fmla="*/ 26 w 26"/>
                <a:gd name="T9" fmla="*/ 10 h 19"/>
                <a:gd name="T10" fmla="*/ 23 w 26"/>
                <a:gd name="T11" fmla="*/ 12 h 19"/>
                <a:gd name="T12" fmla="*/ 23 w 26"/>
                <a:gd name="T13" fmla="*/ 12 h 19"/>
                <a:gd name="T14" fmla="*/ 21 w 26"/>
                <a:gd name="T15" fmla="*/ 10 h 19"/>
                <a:gd name="T16" fmla="*/ 18 w 26"/>
                <a:gd name="T17" fmla="*/ 10 h 19"/>
                <a:gd name="T18" fmla="*/ 18 w 26"/>
                <a:gd name="T19" fmla="*/ 5 h 19"/>
                <a:gd name="T20" fmla="*/ 18 w 26"/>
                <a:gd name="T21" fmla="*/ 5 h 19"/>
                <a:gd name="T22" fmla="*/ 16 w 26"/>
                <a:gd name="T23" fmla="*/ 5 h 19"/>
                <a:gd name="T24" fmla="*/ 14 w 26"/>
                <a:gd name="T25" fmla="*/ 5 h 19"/>
                <a:gd name="T26" fmla="*/ 14 w 26"/>
                <a:gd name="T27" fmla="*/ 7 h 19"/>
                <a:gd name="T28" fmla="*/ 14 w 26"/>
                <a:gd name="T29" fmla="*/ 14 h 19"/>
                <a:gd name="T30" fmla="*/ 11 w 26"/>
                <a:gd name="T31" fmla="*/ 17 h 19"/>
                <a:gd name="T32" fmla="*/ 11 w 26"/>
                <a:gd name="T33" fmla="*/ 19 h 19"/>
                <a:gd name="T34" fmla="*/ 9 w 26"/>
                <a:gd name="T35" fmla="*/ 17 h 19"/>
                <a:gd name="T36" fmla="*/ 9 w 26"/>
                <a:gd name="T37" fmla="*/ 17 h 19"/>
                <a:gd name="T38" fmla="*/ 7 w 26"/>
                <a:gd name="T39" fmla="*/ 14 h 19"/>
                <a:gd name="T40" fmla="*/ 4 w 26"/>
                <a:gd name="T41" fmla="*/ 12 h 19"/>
                <a:gd name="T42" fmla="*/ 2 w 26"/>
                <a:gd name="T43" fmla="*/ 10 h 19"/>
                <a:gd name="T44" fmla="*/ 2 w 26"/>
                <a:gd name="T45" fmla="*/ 10 h 19"/>
                <a:gd name="T46" fmla="*/ 0 w 26"/>
                <a:gd name="T47" fmla="*/ 7 h 19"/>
                <a:gd name="T48" fmla="*/ 0 w 26"/>
                <a:gd name="T49" fmla="*/ 7 h 19"/>
                <a:gd name="T50" fmla="*/ 4 w 26"/>
                <a:gd name="T51" fmla="*/ 7 h 19"/>
                <a:gd name="T52" fmla="*/ 9 w 26"/>
                <a:gd name="T53" fmla="*/ 7 h 19"/>
                <a:gd name="T54" fmla="*/ 11 w 26"/>
                <a:gd name="T55" fmla="*/ 5 h 19"/>
                <a:gd name="T56" fmla="*/ 16 w 26"/>
                <a:gd name="T57" fmla="*/ 0 h 19"/>
                <a:gd name="T58" fmla="*/ 16 w 26"/>
                <a:gd name="T59" fmla="*/ 3 h 19"/>
                <a:gd name="T60" fmla="*/ 21 w 26"/>
                <a:gd name="T6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19">
                  <a:moveTo>
                    <a:pt x="21" y="3"/>
                  </a:moveTo>
                  <a:lnTo>
                    <a:pt x="23" y="5"/>
                  </a:lnTo>
                  <a:lnTo>
                    <a:pt x="23" y="7"/>
                  </a:lnTo>
                  <a:lnTo>
                    <a:pt x="26" y="7"/>
                  </a:lnTo>
                  <a:lnTo>
                    <a:pt x="26" y="10"/>
                  </a:lnTo>
                  <a:lnTo>
                    <a:pt x="23" y="12"/>
                  </a:lnTo>
                  <a:lnTo>
                    <a:pt x="23" y="12"/>
                  </a:lnTo>
                  <a:lnTo>
                    <a:pt x="21" y="10"/>
                  </a:lnTo>
                  <a:lnTo>
                    <a:pt x="18" y="10"/>
                  </a:lnTo>
                  <a:lnTo>
                    <a:pt x="18" y="5"/>
                  </a:lnTo>
                  <a:lnTo>
                    <a:pt x="18" y="5"/>
                  </a:lnTo>
                  <a:lnTo>
                    <a:pt x="16" y="5"/>
                  </a:lnTo>
                  <a:lnTo>
                    <a:pt x="14" y="5"/>
                  </a:lnTo>
                  <a:lnTo>
                    <a:pt x="14" y="7"/>
                  </a:lnTo>
                  <a:lnTo>
                    <a:pt x="14" y="14"/>
                  </a:lnTo>
                  <a:lnTo>
                    <a:pt x="11" y="17"/>
                  </a:lnTo>
                  <a:lnTo>
                    <a:pt x="11" y="19"/>
                  </a:lnTo>
                  <a:lnTo>
                    <a:pt x="9" y="17"/>
                  </a:lnTo>
                  <a:lnTo>
                    <a:pt x="9" y="17"/>
                  </a:lnTo>
                  <a:lnTo>
                    <a:pt x="7" y="14"/>
                  </a:lnTo>
                  <a:lnTo>
                    <a:pt x="4" y="12"/>
                  </a:lnTo>
                  <a:lnTo>
                    <a:pt x="2" y="10"/>
                  </a:lnTo>
                  <a:lnTo>
                    <a:pt x="2" y="10"/>
                  </a:lnTo>
                  <a:lnTo>
                    <a:pt x="0" y="7"/>
                  </a:lnTo>
                  <a:lnTo>
                    <a:pt x="0" y="7"/>
                  </a:lnTo>
                  <a:lnTo>
                    <a:pt x="4" y="7"/>
                  </a:lnTo>
                  <a:lnTo>
                    <a:pt x="9" y="7"/>
                  </a:lnTo>
                  <a:lnTo>
                    <a:pt x="11" y="5"/>
                  </a:lnTo>
                  <a:lnTo>
                    <a:pt x="16" y="0"/>
                  </a:lnTo>
                  <a:lnTo>
                    <a:pt x="16" y="3"/>
                  </a:lnTo>
                  <a:lnTo>
                    <a:pt x="21"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8" name="Freeform 637">
              <a:extLst>
                <a:ext uri="{FF2B5EF4-FFF2-40B4-BE49-F238E27FC236}">
                  <a16:creationId xmlns:a16="http://schemas.microsoft.com/office/drawing/2014/main" id="{ABDA03F0-C8D5-4A30-B28C-6B9DFB206E5B}"/>
                </a:ext>
              </a:extLst>
            </p:cNvPr>
            <p:cNvSpPr>
              <a:spLocks/>
            </p:cNvSpPr>
            <p:nvPr/>
          </p:nvSpPr>
          <p:spPr bwMode="auto">
            <a:xfrm>
              <a:off x="7168933" y="4506665"/>
              <a:ext cx="43015" cy="31433"/>
            </a:xfrm>
            <a:custGeom>
              <a:avLst/>
              <a:gdLst>
                <a:gd name="T0" fmla="*/ 21 w 26"/>
                <a:gd name="T1" fmla="*/ 3 h 19"/>
                <a:gd name="T2" fmla="*/ 23 w 26"/>
                <a:gd name="T3" fmla="*/ 5 h 19"/>
                <a:gd name="T4" fmla="*/ 23 w 26"/>
                <a:gd name="T5" fmla="*/ 7 h 19"/>
                <a:gd name="T6" fmla="*/ 26 w 26"/>
                <a:gd name="T7" fmla="*/ 7 h 19"/>
                <a:gd name="T8" fmla="*/ 26 w 26"/>
                <a:gd name="T9" fmla="*/ 10 h 19"/>
                <a:gd name="T10" fmla="*/ 23 w 26"/>
                <a:gd name="T11" fmla="*/ 12 h 19"/>
                <a:gd name="T12" fmla="*/ 23 w 26"/>
                <a:gd name="T13" fmla="*/ 12 h 19"/>
                <a:gd name="T14" fmla="*/ 21 w 26"/>
                <a:gd name="T15" fmla="*/ 10 h 19"/>
                <a:gd name="T16" fmla="*/ 18 w 26"/>
                <a:gd name="T17" fmla="*/ 10 h 19"/>
                <a:gd name="T18" fmla="*/ 18 w 26"/>
                <a:gd name="T19" fmla="*/ 5 h 19"/>
                <a:gd name="T20" fmla="*/ 18 w 26"/>
                <a:gd name="T21" fmla="*/ 5 h 19"/>
                <a:gd name="T22" fmla="*/ 16 w 26"/>
                <a:gd name="T23" fmla="*/ 5 h 19"/>
                <a:gd name="T24" fmla="*/ 14 w 26"/>
                <a:gd name="T25" fmla="*/ 5 h 19"/>
                <a:gd name="T26" fmla="*/ 14 w 26"/>
                <a:gd name="T27" fmla="*/ 7 h 19"/>
                <a:gd name="T28" fmla="*/ 14 w 26"/>
                <a:gd name="T29" fmla="*/ 14 h 19"/>
                <a:gd name="T30" fmla="*/ 11 w 26"/>
                <a:gd name="T31" fmla="*/ 17 h 19"/>
                <a:gd name="T32" fmla="*/ 11 w 26"/>
                <a:gd name="T33" fmla="*/ 19 h 19"/>
                <a:gd name="T34" fmla="*/ 9 w 26"/>
                <a:gd name="T35" fmla="*/ 17 h 19"/>
                <a:gd name="T36" fmla="*/ 9 w 26"/>
                <a:gd name="T37" fmla="*/ 17 h 19"/>
                <a:gd name="T38" fmla="*/ 7 w 26"/>
                <a:gd name="T39" fmla="*/ 14 h 19"/>
                <a:gd name="T40" fmla="*/ 4 w 26"/>
                <a:gd name="T41" fmla="*/ 12 h 19"/>
                <a:gd name="T42" fmla="*/ 2 w 26"/>
                <a:gd name="T43" fmla="*/ 10 h 19"/>
                <a:gd name="T44" fmla="*/ 2 w 26"/>
                <a:gd name="T45" fmla="*/ 10 h 19"/>
                <a:gd name="T46" fmla="*/ 0 w 26"/>
                <a:gd name="T47" fmla="*/ 7 h 19"/>
                <a:gd name="T48" fmla="*/ 0 w 26"/>
                <a:gd name="T49" fmla="*/ 7 h 19"/>
                <a:gd name="T50" fmla="*/ 4 w 26"/>
                <a:gd name="T51" fmla="*/ 7 h 19"/>
                <a:gd name="T52" fmla="*/ 9 w 26"/>
                <a:gd name="T53" fmla="*/ 7 h 19"/>
                <a:gd name="T54" fmla="*/ 11 w 26"/>
                <a:gd name="T55" fmla="*/ 5 h 19"/>
                <a:gd name="T56" fmla="*/ 16 w 26"/>
                <a:gd name="T57" fmla="*/ 0 h 19"/>
                <a:gd name="T58" fmla="*/ 16 w 26"/>
                <a:gd name="T59" fmla="*/ 3 h 19"/>
                <a:gd name="T60" fmla="*/ 21 w 26"/>
                <a:gd name="T6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19">
                  <a:moveTo>
                    <a:pt x="21" y="3"/>
                  </a:moveTo>
                  <a:lnTo>
                    <a:pt x="23" y="5"/>
                  </a:lnTo>
                  <a:lnTo>
                    <a:pt x="23" y="7"/>
                  </a:lnTo>
                  <a:lnTo>
                    <a:pt x="26" y="7"/>
                  </a:lnTo>
                  <a:lnTo>
                    <a:pt x="26" y="10"/>
                  </a:lnTo>
                  <a:lnTo>
                    <a:pt x="23" y="12"/>
                  </a:lnTo>
                  <a:lnTo>
                    <a:pt x="23" y="12"/>
                  </a:lnTo>
                  <a:lnTo>
                    <a:pt x="21" y="10"/>
                  </a:lnTo>
                  <a:lnTo>
                    <a:pt x="18" y="10"/>
                  </a:lnTo>
                  <a:lnTo>
                    <a:pt x="18" y="5"/>
                  </a:lnTo>
                  <a:lnTo>
                    <a:pt x="18" y="5"/>
                  </a:lnTo>
                  <a:lnTo>
                    <a:pt x="16" y="5"/>
                  </a:lnTo>
                  <a:lnTo>
                    <a:pt x="14" y="5"/>
                  </a:lnTo>
                  <a:lnTo>
                    <a:pt x="14" y="7"/>
                  </a:lnTo>
                  <a:lnTo>
                    <a:pt x="14" y="14"/>
                  </a:lnTo>
                  <a:lnTo>
                    <a:pt x="11" y="17"/>
                  </a:lnTo>
                  <a:lnTo>
                    <a:pt x="11" y="19"/>
                  </a:lnTo>
                  <a:lnTo>
                    <a:pt x="9" y="17"/>
                  </a:lnTo>
                  <a:lnTo>
                    <a:pt x="9" y="17"/>
                  </a:lnTo>
                  <a:lnTo>
                    <a:pt x="7" y="14"/>
                  </a:lnTo>
                  <a:lnTo>
                    <a:pt x="4" y="12"/>
                  </a:lnTo>
                  <a:lnTo>
                    <a:pt x="2" y="10"/>
                  </a:lnTo>
                  <a:lnTo>
                    <a:pt x="2" y="10"/>
                  </a:lnTo>
                  <a:lnTo>
                    <a:pt x="0" y="7"/>
                  </a:lnTo>
                  <a:lnTo>
                    <a:pt x="0" y="7"/>
                  </a:lnTo>
                  <a:lnTo>
                    <a:pt x="4" y="7"/>
                  </a:lnTo>
                  <a:lnTo>
                    <a:pt x="9" y="7"/>
                  </a:lnTo>
                  <a:lnTo>
                    <a:pt x="11" y="5"/>
                  </a:lnTo>
                  <a:lnTo>
                    <a:pt x="16" y="0"/>
                  </a:lnTo>
                  <a:lnTo>
                    <a:pt x="16" y="3"/>
                  </a:lnTo>
                  <a:lnTo>
                    <a:pt x="21"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79" name="Freeform 668">
              <a:extLst>
                <a:ext uri="{FF2B5EF4-FFF2-40B4-BE49-F238E27FC236}">
                  <a16:creationId xmlns:a16="http://schemas.microsoft.com/office/drawing/2014/main" id="{E785AAF6-749F-4613-967A-7FC7578E3491}"/>
                </a:ext>
              </a:extLst>
            </p:cNvPr>
            <p:cNvSpPr>
              <a:spLocks/>
            </p:cNvSpPr>
            <p:nvPr/>
          </p:nvSpPr>
          <p:spPr bwMode="auto">
            <a:xfrm>
              <a:off x="6440983" y="3806839"/>
              <a:ext cx="97612" cy="51287"/>
            </a:xfrm>
            <a:custGeom>
              <a:avLst/>
              <a:gdLst>
                <a:gd name="T0" fmla="*/ 52 w 59"/>
                <a:gd name="T1" fmla="*/ 10 h 31"/>
                <a:gd name="T2" fmla="*/ 52 w 59"/>
                <a:gd name="T3" fmla="*/ 10 h 31"/>
                <a:gd name="T4" fmla="*/ 47 w 59"/>
                <a:gd name="T5" fmla="*/ 7 h 31"/>
                <a:gd name="T6" fmla="*/ 47 w 59"/>
                <a:gd name="T7" fmla="*/ 5 h 31"/>
                <a:gd name="T8" fmla="*/ 45 w 59"/>
                <a:gd name="T9" fmla="*/ 5 h 31"/>
                <a:gd name="T10" fmla="*/ 40 w 59"/>
                <a:gd name="T11" fmla="*/ 7 h 31"/>
                <a:gd name="T12" fmla="*/ 40 w 59"/>
                <a:gd name="T13" fmla="*/ 5 h 31"/>
                <a:gd name="T14" fmla="*/ 36 w 59"/>
                <a:gd name="T15" fmla="*/ 5 h 31"/>
                <a:gd name="T16" fmla="*/ 31 w 59"/>
                <a:gd name="T17" fmla="*/ 5 h 31"/>
                <a:gd name="T18" fmla="*/ 29 w 59"/>
                <a:gd name="T19" fmla="*/ 3 h 31"/>
                <a:gd name="T20" fmla="*/ 29 w 59"/>
                <a:gd name="T21" fmla="*/ 3 h 31"/>
                <a:gd name="T22" fmla="*/ 26 w 59"/>
                <a:gd name="T23" fmla="*/ 0 h 31"/>
                <a:gd name="T24" fmla="*/ 24 w 59"/>
                <a:gd name="T25" fmla="*/ 0 h 31"/>
                <a:gd name="T26" fmla="*/ 19 w 59"/>
                <a:gd name="T27" fmla="*/ 0 h 31"/>
                <a:gd name="T28" fmla="*/ 17 w 59"/>
                <a:gd name="T29" fmla="*/ 3 h 31"/>
                <a:gd name="T30" fmla="*/ 12 w 59"/>
                <a:gd name="T31" fmla="*/ 5 h 31"/>
                <a:gd name="T32" fmla="*/ 10 w 59"/>
                <a:gd name="T33" fmla="*/ 10 h 31"/>
                <a:gd name="T34" fmla="*/ 3 w 59"/>
                <a:gd name="T35" fmla="*/ 17 h 31"/>
                <a:gd name="T36" fmla="*/ 3 w 59"/>
                <a:gd name="T37" fmla="*/ 19 h 31"/>
                <a:gd name="T38" fmla="*/ 3 w 59"/>
                <a:gd name="T39" fmla="*/ 19 h 31"/>
                <a:gd name="T40" fmla="*/ 0 w 59"/>
                <a:gd name="T41" fmla="*/ 22 h 31"/>
                <a:gd name="T42" fmla="*/ 0 w 59"/>
                <a:gd name="T43" fmla="*/ 24 h 31"/>
                <a:gd name="T44" fmla="*/ 0 w 59"/>
                <a:gd name="T45" fmla="*/ 24 h 31"/>
                <a:gd name="T46" fmla="*/ 3 w 59"/>
                <a:gd name="T47" fmla="*/ 24 h 31"/>
                <a:gd name="T48" fmla="*/ 3 w 59"/>
                <a:gd name="T49" fmla="*/ 26 h 31"/>
                <a:gd name="T50" fmla="*/ 3 w 59"/>
                <a:gd name="T51" fmla="*/ 29 h 31"/>
                <a:gd name="T52" fmla="*/ 3 w 59"/>
                <a:gd name="T53" fmla="*/ 29 h 31"/>
                <a:gd name="T54" fmla="*/ 5 w 59"/>
                <a:gd name="T55" fmla="*/ 29 h 31"/>
                <a:gd name="T56" fmla="*/ 7 w 59"/>
                <a:gd name="T57" fmla="*/ 31 h 31"/>
                <a:gd name="T58" fmla="*/ 14 w 59"/>
                <a:gd name="T59" fmla="*/ 31 h 31"/>
                <a:gd name="T60" fmla="*/ 21 w 59"/>
                <a:gd name="T61" fmla="*/ 31 h 31"/>
                <a:gd name="T62" fmla="*/ 29 w 59"/>
                <a:gd name="T63" fmla="*/ 29 h 31"/>
                <a:gd name="T64" fmla="*/ 31 w 59"/>
                <a:gd name="T65" fmla="*/ 29 h 31"/>
                <a:gd name="T66" fmla="*/ 33 w 59"/>
                <a:gd name="T67" fmla="*/ 29 h 31"/>
                <a:gd name="T68" fmla="*/ 36 w 59"/>
                <a:gd name="T69" fmla="*/ 29 h 31"/>
                <a:gd name="T70" fmla="*/ 38 w 59"/>
                <a:gd name="T71" fmla="*/ 29 h 31"/>
                <a:gd name="T72" fmla="*/ 45 w 59"/>
                <a:gd name="T73" fmla="*/ 29 h 31"/>
                <a:gd name="T74" fmla="*/ 50 w 59"/>
                <a:gd name="T75" fmla="*/ 29 h 31"/>
                <a:gd name="T76" fmla="*/ 57 w 59"/>
                <a:gd name="T77" fmla="*/ 26 h 31"/>
                <a:gd name="T78" fmla="*/ 59 w 59"/>
                <a:gd name="T79" fmla="*/ 24 h 31"/>
                <a:gd name="T80" fmla="*/ 59 w 59"/>
                <a:gd name="T81" fmla="*/ 24 h 31"/>
                <a:gd name="T82" fmla="*/ 59 w 59"/>
                <a:gd name="T83" fmla="*/ 24 h 31"/>
                <a:gd name="T84" fmla="*/ 59 w 59"/>
                <a:gd name="T85" fmla="*/ 19 h 31"/>
                <a:gd name="T86" fmla="*/ 57 w 59"/>
                <a:gd name="T87" fmla="*/ 17 h 31"/>
                <a:gd name="T88" fmla="*/ 52 w 59"/>
                <a:gd name="T89" fmla="*/ 15 h 31"/>
                <a:gd name="T90" fmla="*/ 50 w 59"/>
                <a:gd name="T91" fmla="*/ 12 h 31"/>
                <a:gd name="T92" fmla="*/ 50 w 59"/>
                <a:gd name="T93" fmla="*/ 12 h 31"/>
                <a:gd name="T94" fmla="*/ 52 w 59"/>
                <a:gd name="T95" fmla="*/ 10 h 31"/>
                <a:gd name="T96" fmla="*/ 52 w 59"/>
                <a:gd name="T97"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31">
                  <a:moveTo>
                    <a:pt x="52" y="10"/>
                  </a:moveTo>
                  <a:lnTo>
                    <a:pt x="52" y="10"/>
                  </a:lnTo>
                  <a:lnTo>
                    <a:pt x="47" y="7"/>
                  </a:lnTo>
                  <a:lnTo>
                    <a:pt x="47" y="5"/>
                  </a:lnTo>
                  <a:lnTo>
                    <a:pt x="45" y="5"/>
                  </a:lnTo>
                  <a:lnTo>
                    <a:pt x="40" y="7"/>
                  </a:lnTo>
                  <a:lnTo>
                    <a:pt x="40" y="5"/>
                  </a:lnTo>
                  <a:lnTo>
                    <a:pt x="36" y="5"/>
                  </a:lnTo>
                  <a:lnTo>
                    <a:pt x="31" y="5"/>
                  </a:lnTo>
                  <a:lnTo>
                    <a:pt x="29" y="3"/>
                  </a:lnTo>
                  <a:lnTo>
                    <a:pt x="29" y="3"/>
                  </a:lnTo>
                  <a:lnTo>
                    <a:pt x="26" y="0"/>
                  </a:lnTo>
                  <a:lnTo>
                    <a:pt x="24" y="0"/>
                  </a:lnTo>
                  <a:lnTo>
                    <a:pt x="19" y="0"/>
                  </a:lnTo>
                  <a:lnTo>
                    <a:pt x="17" y="3"/>
                  </a:lnTo>
                  <a:lnTo>
                    <a:pt x="12" y="5"/>
                  </a:lnTo>
                  <a:lnTo>
                    <a:pt x="10" y="10"/>
                  </a:lnTo>
                  <a:lnTo>
                    <a:pt x="3" y="17"/>
                  </a:lnTo>
                  <a:lnTo>
                    <a:pt x="3" y="19"/>
                  </a:lnTo>
                  <a:lnTo>
                    <a:pt x="3" y="19"/>
                  </a:lnTo>
                  <a:lnTo>
                    <a:pt x="0" y="22"/>
                  </a:lnTo>
                  <a:lnTo>
                    <a:pt x="0" y="24"/>
                  </a:lnTo>
                  <a:lnTo>
                    <a:pt x="0" y="24"/>
                  </a:lnTo>
                  <a:lnTo>
                    <a:pt x="3" y="24"/>
                  </a:lnTo>
                  <a:lnTo>
                    <a:pt x="3" y="26"/>
                  </a:lnTo>
                  <a:lnTo>
                    <a:pt x="3" y="29"/>
                  </a:lnTo>
                  <a:lnTo>
                    <a:pt x="3" y="29"/>
                  </a:lnTo>
                  <a:lnTo>
                    <a:pt x="5" y="29"/>
                  </a:lnTo>
                  <a:lnTo>
                    <a:pt x="7" y="31"/>
                  </a:lnTo>
                  <a:lnTo>
                    <a:pt x="14" y="31"/>
                  </a:lnTo>
                  <a:lnTo>
                    <a:pt x="21" y="31"/>
                  </a:lnTo>
                  <a:lnTo>
                    <a:pt x="29" y="29"/>
                  </a:lnTo>
                  <a:lnTo>
                    <a:pt x="31" y="29"/>
                  </a:lnTo>
                  <a:lnTo>
                    <a:pt x="33" y="29"/>
                  </a:lnTo>
                  <a:lnTo>
                    <a:pt x="36" y="29"/>
                  </a:lnTo>
                  <a:lnTo>
                    <a:pt x="38" y="29"/>
                  </a:lnTo>
                  <a:lnTo>
                    <a:pt x="45" y="29"/>
                  </a:lnTo>
                  <a:lnTo>
                    <a:pt x="50" y="29"/>
                  </a:lnTo>
                  <a:lnTo>
                    <a:pt x="57" y="26"/>
                  </a:lnTo>
                  <a:lnTo>
                    <a:pt x="59" y="24"/>
                  </a:lnTo>
                  <a:lnTo>
                    <a:pt x="59" y="24"/>
                  </a:lnTo>
                  <a:lnTo>
                    <a:pt x="59" y="24"/>
                  </a:lnTo>
                  <a:lnTo>
                    <a:pt x="59" y="19"/>
                  </a:lnTo>
                  <a:lnTo>
                    <a:pt x="57" y="17"/>
                  </a:lnTo>
                  <a:lnTo>
                    <a:pt x="52" y="15"/>
                  </a:lnTo>
                  <a:lnTo>
                    <a:pt x="50" y="12"/>
                  </a:lnTo>
                  <a:lnTo>
                    <a:pt x="50" y="12"/>
                  </a:lnTo>
                  <a:lnTo>
                    <a:pt x="52" y="10"/>
                  </a:lnTo>
                  <a:lnTo>
                    <a:pt x="52" y="1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0" name="Freeform 669">
              <a:extLst>
                <a:ext uri="{FF2B5EF4-FFF2-40B4-BE49-F238E27FC236}">
                  <a16:creationId xmlns:a16="http://schemas.microsoft.com/office/drawing/2014/main" id="{1A97FE7A-006F-4429-9F34-D71F19C926F4}"/>
                </a:ext>
              </a:extLst>
            </p:cNvPr>
            <p:cNvSpPr>
              <a:spLocks/>
            </p:cNvSpPr>
            <p:nvPr/>
          </p:nvSpPr>
          <p:spPr bwMode="auto">
            <a:xfrm>
              <a:off x="6440983" y="3806839"/>
              <a:ext cx="97612" cy="51287"/>
            </a:xfrm>
            <a:custGeom>
              <a:avLst/>
              <a:gdLst>
                <a:gd name="T0" fmla="*/ 52 w 59"/>
                <a:gd name="T1" fmla="*/ 10 h 31"/>
                <a:gd name="T2" fmla="*/ 52 w 59"/>
                <a:gd name="T3" fmla="*/ 10 h 31"/>
                <a:gd name="T4" fmla="*/ 47 w 59"/>
                <a:gd name="T5" fmla="*/ 7 h 31"/>
                <a:gd name="T6" fmla="*/ 47 w 59"/>
                <a:gd name="T7" fmla="*/ 5 h 31"/>
                <a:gd name="T8" fmla="*/ 45 w 59"/>
                <a:gd name="T9" fmla="*/ 5 h 31"/>
                <a:gd name="T10" fmla="*/ 40 w 59"/>
                <a:gd name="T11" fmla="*/ 7 h 31"/>
                <a:gd name="T12" fmla="*/ 40 w 59"/>
                <a:gd name="T13" fmla="*/ 5 h 31"/>
                <a:gd name="T14" fmla="*/ 36 w 59"/>
                <a:gd name="T15" fmla="*/ 5 h 31"/>
                <a:gd name="T16" fmla="*/ 31 w 59"/>
                <a:gd name="T17" fmla="*/ 5 h 31"/>
                <a:gd name="T18" fmla="*/ 29 w 59"/>
                <a:gd name="T19" fmla="*/ 3 h 31"/>
                <a:gd name="T20" fmla="*/ 29 w 59"/>
                <a:gd name="T21" fmla="*/ 3 h 31"/>
                <a:gd name="T22" fmla="*/ 26 w 59"/>
                <a:gd name="T23" fmla="*/ 0 h 31"/>
                <a:gd name="T24" fmla="*/ 24 w 59"/>
                <a:gd name="T25" fmla="*/ 0 h 31"/>
                <a:gd name="T26" fmla="*/ 19 w 59"/>
                <a:gd name="T27" fmla="*/ 0 h 31"/>
                <a:gd name="T28" fmla="*/ 17 w 59"/>
                <a:gd name="T29" fmla="*/ 3 h 31"/>
                <a:gd name="T30" fmla="*/ 12 w 59"/>
                <a:gd name="T31" fmla="*/ 5 h 31"/>
                <a:gd name="T32" fmla="*/ 10 w 59"/>
                <a:gd name="T33" fmla="*/ 10 h 31"/>
                <a:gd name="T34" fmla="*/ 3 w 59"/>
                <a:gd name="T35" fmla="*/ 17 h 31"/>
                <a:gd name="T36" fmla="*/ 3 w 59"/>
                <a:gd name="T37" fmla="*/ 19 h 31"/>
                <a:gd name="T38" fmla="*/ 3 w 59"/>
                <a:gd name="T39" fmla="*/ 19 h 31"/>
                <a:gd name="T40" fmla="*/ 0 w 59"/>
                <a:gd name="T41" fmla="*/ 22 h 31"/>
                <a:gd name="T42" fmla="*/ 0 w 59"/>
                <a:gd name="T43" fmla="*/ 24 h 31"/>
                <a:gd name="T44" fmla="*/ 0 w 59"/>
                <a:gd name="T45" fmla="*/ 24 h 31"/>
                <a:gd name="T46" fmla="*/ 3 w 59"/>
                <a:gd name="T47" fmla="*/ 24 h 31"/>
                <a:gd name="T48" fmla="*/ 3 w 59"/>
                <a:gd name="T49" fmla="*/ 26 h 31"/>
                <a:gd name="T50" fmla="*/ 3 w 59"/>
                <a:gd name="T51" fmla="*/ 29 h 31"/>
                <a:gd name="T52" fmla="*/ 3 w 59"/>
                <a:gd name="T53" fmla="*/ 29 h 31"/>
                <a:gd name="T54" fmla="*/ 5 w 59"/>
                <a:gd name="T55" fmla="*/ 29 h 31"/>
                <a:gd name="T56" fmla="*/ 7 w 59"/>
                <a:gd name="T57" fmla="*/ 31 h 31"/>
                <a:gd name="T58" fmla="*/ 14 w 59"/>
                <a:gd name="T59" fmla="*/ 31 h 31"/>
                <a:gd name="T60" fmla="*/ 21 w 59"/>
                <a:gd name="T61" fmla="*/ 31 h 31"/>
                <a:gd name="T62" fmla="*/ 29 w 59"/>
                <a:gd name="T63" fmla="*/ 29 h 31"/>
                <a:gd name="T64" fmla="*/ 31 w 59"/>
                <a:gd name="T65" fmla="*/ 29 h 31"/>
                <a:gd name="T66" fmla="*/ 33 w 59"/>
                <a:gd name="T67" fmla="*/ 29 h 31"/>
                <a:gd name="T68" fmla="*/ 36 w 59"/>
                <a:gd name="T69" fmla="*/ 29 h 31"/>
                <a:gd name="T70" fmla="*/ 38 w 59"/>
                <a:gd name="T71" fmla="*/ 29 h 31"/>
                <a:gd name="T72" fmla="*/ 45 w 59"/>
                <a:gd name="T73" fmla="*/ 29 h 31"/>
                <a:gd name="T74" fmla="*/ 50 w 59"/>
                <a:gd name="T75" fmla="*/ 29 h 31"/>
                <a:gd name="T76" fmla="*/ 57 w 59"/>
                <a:gd name="T77" fmla="*/ 26 h 31"/>
                <a:gd name="T78" fmla="*/ 59 w 59"/>
                <a:gd name="T79" fmla="*/ 24 h 31"/>
                <a:gd name="T80" fmla="*/ 59 w 59"/>
                <a:gd name="T81" fmla="*/ 24 h 31"/>
                <a:gd name="T82" fmla="*/ 59 w 59"/>
                <a:gd name="T83" fmla="*/ 24 h 31"/>
                <a:gd name="T84" fmla="*/ 59 w 59"/>
                <a:gd name="T85" fmla="*/ 19 h 31"/>
                <a:gd name="T86" fmla="*/ 57 w 59"/>
                <a:gd name="T87" fmla="*/ 17 h 31"/>
                <a:gd name="T88" fmla="*/ 52 w 59"/>
                <a:gd name="T89" fmla="*/ 15 h 31"/>
                <a:gd name="T90" fmla="*/ 50 w 59"/>
                <a:gd name="T91" fmla="*/ 12 h 31"/>
                <a:gd name="T92" fmla="*/ 50 w 59"/>
                <a:gd name="T93" fmla="*/ 12 h 31"/>
                <a:gd name="T94" fmla="*/ 52 w 59"/>
                <a:gd name="T95" fmla="*/ 10 h 31"/>
                <a:gd name="T96" fmla="*/ 52 w 59"/>
                <a:gd name="T97"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31">
                  <a:moveTo>
                    <a:pt x="52" y="10"/>
                  </a:moveTo>
                  <a:lnTo>
                    <a:pt x="52" y="10"/>
                  </a:lnTo>
                  <a:lnTo>
                    <a:pt x="47" y="7"/>
                  </a:lnTo>
                  <a:lnTo>
                    <a:pt x="47" y="5"/>
                  </a:lnTo>
                  <a:lnTo>
                    <a:pt x="45" y="5"/>
                  </a:lnTo>
                  <a:lnTo>
                    <a:pt x="40" y="7"/>
                  </a:lnTo>
                  <a:lnTo>
                    <a:pt x="40" y="5"/>
                  </a:lnTo>
                  <a:lnTo>
                    <a:pt x="36" y="5"/>
                  </a:lnTo>
                  <a:lnTo>
                    <a:pt x="31" y="5"/>
                  </a:lnTo>
                  <a:lnTo>
                    <a:pt x="29" y="3"/>
                  </a:lnTo>
                  <a:lnTo>
                    <a:pt x="29" y="3"/>
                  </a:lnTo>
                  <a:lnTo>
                    <a:pt x="26" y="0"/>
                  </a:lnTo>
                  <a:lnTo>
                    <a:pt x="24" y="0"/>
                  </a:lnTo>
                  <a:lnTo>
                    <a:pt x="19" y="0"/>
                  </a:lnTo>
                  <a:lnTo>
                    <a:pt x="17" y="3"/>
                  </a:lnTo>
                  <a:lnTo>
                    <a:pt x="12" y="5"/>
                  </a:lnTo>
                  <a:lnTo>
                    <a:pt x="10" y="10"/>
                  </a:lnTo>
                  <a:lnTo>
                    <a:pt x="3" y="17"/>
                  </a:lnTo>
                  <a:lnTo>
                    <a:pt x="3" y="19"/>
                  </a:lnTo>
                  <a:lnTo>
                    <a:pt x="3" y="19"/>
                  </a:lnTo>
                  <a:lnTo>
                    <a:pt x="0" y="22"/>
                  </a:lnTo>
                  <a:lnTo>
                    <a:pt x="0" y="24"/>
                  </a:lnTo>
                  <a:lnTo>
                    <a:pt x="0" y="24"/>
                  </a:lnTo>
                  <a:lnTo>
                    <a:pt x="3" y="24"/>
                  </a:lnTo>
                  <a:lnTo>
                    <a:pt x="3" y="26"/>
                  </a:lnTo>
                  <a:lnTo>
                    <a:pt x="3" y="29"/>
                  </a:lnTo>
                  <a:lnTo>
                    <a:pt x="3" y="29"/>
                  </a:lnTo>
                  <a:lnTo>
                    <a:pt x="5" y="29"/>
                  </a:lnTo>
                  <a:lnTo>
                    <a:pt x="7" y="31"/>
                  </a:lnTo>
                  <a:lnTo>
                    <a:pt x="14" y="31"/>
                  </a:lnTo>
                  <a:lnTo>
                    <a:pt x="21" y="31"/>
                  </a:lnTo>
                  <a:lnTo>
                    <a:pt x="29" y="29"/>
                  </a:lnTo>
                  <a:lnTo>
                    <a:pt x="31" y="29"/>
                  </a:lnTo>
                  <a:lnTo>
                    <a:pt x="33" y="29"/>
                  </a:lnTo>
                  <a:lnTo>
                    <a:pt x="36" y="29"/>
                  </a:lnTo>
                  <a:lnTo>
                    <a:pt x="38" y="29"/>
                  </a:lnTo>
                  <a:lnTo>
                    <a:pt x="45" y="29"/>
                  </a:lnTo>
                  <a:lnTo>
                    <a:pt x="50" y="29"/>
                  </a:lnTo>
                  <a:lnTo>
                    <a:pt x="57" y="26"/>
                  </a:lnTo>
                  <a:lnTo>
                    <a:pt x="59" y="24"/>
                  </a:lnTo>
                  <a:lnTo>
                    <a:pt x="59" y="24"/>
                  </a:lnTo>
                  <a:lnTo>
                    <a:pt x="59" y="24"/>
                  </a:lnTo>
                  <a:lnTo>
                    <a:pt x="59" y="19"/>
                  </a:lnTo>
                  <a:lnTo>
                    <a:pt x="57" y="17"/>
                  </a:lnTo>
                  <a:lnTo>
                    <a:pt x="52" y="15"/>
                  </a:lnTo>
                  <a:lnTo>
                    <a:pt x="50" y="12"/>
                  </a:lnTo>
                  <a:lnTo>
                    <a:pt x="50" y="12"/>
                  </a:lnTo>
                  <a:lnTo>
                    <a:pt x="52" y="10"/>
                  </a:lnTo>
                  <a:lnTo>
                    <a:pt x="52" y="1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1" name="Freeform 780">
              <a:extLst>
                <a:ext uri="{FF2B5EF4-FFF2-40B4-BE49-F238E27FC236}">
                  <a16:creationId xmlns:a16="http://schemas.microsoft.com/office/drawing/2014/main" id="{731F3DD6-A020-4623-8B13-C47E155BBA95}"/>
                </a:ext>
              </a:extLst>
            </p:cNvPr>
            <p:cNvSpPr>
              <a:spLocks/>
            </p:cNvSpPr>
            <p:nvPr/>
          </p:nvSpPr>
          <p:spPr bwMode="auto">
            <a:xfrm>
              <a:off x="6871135" y="4609239"/>
              <a:ext cx="11582" cy="3309"/>
            </a:xfrm>
            <a:custGeom>
              <a:avLst/>
              <a:gdLst>
                <a:gd name="T0" fmla="*/ 7 w 7"/>
                <a:gd name="T1" fmla="*/ 2 h 2"/>
                <a:gd name="T2" fmla="*/ 7 w 7"/>
                <a:gd name="T3" fmla="*/ 0 h 2"/>
                <a:gd name="T4" fmla="*/ 5 w 7"/>
                <a:gd name="T5" fmla="*/ 0 h 2"/>
                <a:gd name="T6" fmla="*/ 2 w 7"/>
                <a:gd name="T7" fmla="*/ 0 h 2"/>
                <a:gd name="T8" fmla="*/ 0 w 7"/>
                <a:gd name="T9" fmla="*/ 2 h 2"/>
                <a:gd name="T10" fmla="*/ 0 w 7"/>
                <a:gd name="T11" fmla="*/ 2 h 2"/>
                <a:gd name="T12" fmla="*/ 2 w 7"/>
                <a:gd name="T13" fmla="*/ 2 h 2"/>
                <a:gd name="T14" fmla="*/ 5 w 7"/>
                <a:gd name="T15" fmla="*/ 2 h 2"/>
                <a:gd name="T16" fmla="*/ 7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7" y="2"/>
                  </a:moveTo>
                  <a:lnTo>
                    <a:pt x="7" y="0"/>
                  </a:lnTo>
                  <a:lnTo>
                    <a:pt x="5" y="0"/>
                  </a:lnTo>
                  <a:lnTo>
                    <a:pt x="2" y="0"/>
                  </a:lnTo>
                  <a:lnTo>
                    <a:pt x="0" y="2"/>
                  </a:lnTo>
                  <a:lnTo>
                    <a:pt x="0" y="2"/>
                  </a:lnTo>
                  <a:lnTo>
                    <a:pt x="2" y="2"/>
                  </a:lnTo>
                  <a:lnTo>
                    <a:pt x="5" y="2"/>
                  </a:lnTo>
                  <a:lnTo>
                    <a:pt x="7"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2" name="Freeform 781">
              <a:extLst>
                <a:ext uri="{FF2B5EF4-FFF2-40B4-BE49-F238E27FC236}">
                  <a16:creationId xmlns:a16="http://schemas.microsoft.com/office/drawing/2014/main" id="{465CD0E3-17FA-469B-8058-A76892E02773}"/>
                </a:ext>
              </a:extLst>
            </p:cNvPr>
            <p:cNvSpPr>
              <a:spLocks/>
            </p:cNvSpPr>
            <p:nvPr/>
          </p:nvSpPr>
          <p:spPr bwMode="auto">
            <a:xfrm>
              <a:off x="6871135" y="4609239"/>
              <a:ext cx="11582" cy="3309"/>
            </a:xfrm>
            <a:custGeom>
              <a:avLst/>
              <a:gdLst>
                <a:gd name="T0" fmla="*/ 7 w 7"/>
                <a:gd name="T1" fmla="*/ 2 h 2"/>
                <a:gd name="T2" fmla="*/ 7 w 7"/>
                <a:gd name="T3" fmla="*/ 0 h 2"/>
                <a:gd name="T4" fmla="*/ 5 w 7"/>
                <a:gd name="T5" fmla="*/ 0 h 2"/>
                <a:gd name="T6" fmla="*/ 2 w 7"/>
                <a:gd name="T7" fmla="*/ 0 h 2"/>
                <a:gd name="T8" fmla="*/ 0 w 7"/>
                <a:gd name="T9" fmla="*/ 2 h 2"/>
                <a:gd name="T10" fmla="*/ 0 w 7"/>
                <a:gd name="T11" fmla="*/ 2 h 2"/>
                <a:gd name="T12" fmla="*/ 2 w 7"/>
                <a:gd name="T13" fmla="*/ 2 h 2"/>
                <a:gd name="T14" fmla="*/ 5 w 7"/>
                <a:gd name="T15" fmla="*/ 2 h 2"/>
                <a:gd name="T16" fmla="*/ 7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7" y="2"/>
                  </a:moveTo>
                  <a:lnTo>
                    <a:pt x="7" y="0"/>
                  </a:lnTo>
                  <a:lnTo>
                    <a:pt x="5" y="0"/>
                  </a:lnTo>
                  <a:lnTo>
                    <a:pt x="2" y="0"/>
                  </a:lnTo>
                  <a:lnTo>
                    <a:pt x="0" y="2"/>
                  </a:lnTo>
                  <a:lnTo>
                    <a:pt x="0" y="2"/>
                  </a:lnTo>
                  <a:lnTo>
                    <a:pt x="2" y="2"/>
                  </a:lnTo>
                  <a:lnTo>
                    <a:pt x="5" y="2"/>
                  </a:lnTo>
                  <a:lnTo>
                    <a:pt x="7"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3" name="Freeform 782">
              <a:extLst>
                <a:ext uri="{FF2B5EF4-FFF2-40B4-BE49-F238E27FC236}">
                  <a16:creationId xmlns:a16="http://schemas.microsoft.com/office/drawing/2014/main" id="{EC48E9AD-ECB9-4971-A836-AC4144C33CCD}"/>
                </a:ext>
              </a:extLst>
            </p:cNvPr>
            <p:cNvSpPr>
              <a:spLocks/>
            </p:cNvSpPr>
            <p:nvPr/>
          </p:nvSpPr>
          <p:spPr bwMode="auto">
            <a:xfrm>
              <a:off x="8110305" y="4710159"/>
              <a:ext cx="14890" cy="8272"/>
            </a:xfrm>
            <a:custGeom>
              <a:avLst/>
              <a:gdLst>
                <a:gd name="T0" fmla="*/ 0 w 9"/>
                <a:gd name="T1" fmla="*/ 0 h 5"/>
                <a:gd name="T2" fmla="*/ 2 w 9"/>
                <a:gd name="T3" fmla="*/ 0 h 5"/>
                <a:gd name="T4" fmla="*/ 2 w 9"/>
                <a:gd name="T5" fmla="*/ 0 h 5"/>
                <a:gd name="T6" fmla="*/ 5 w 9"/>
                <a:gd name="T7" fmla="*/ 0 h 5"/>
                <a:gd name="T8" fmla="*/ 7 w 9"/>
                <a:gd name="T9" fmla="*/ 0 h 5"/>
                <a:gd name="T10" fmla="*/ 9 w 9"/>
                <a:gd name="T11" fmla="*/ 0 h 5"/>
                <a:gd name="T12" fmla="*/ 7 w 9"/>
                <a:gd name="T13" fmla="*/ 2 h 5"/>
                <a:gd name="T14" fmla="*/ 7 w 9"/>
                <a:gd name="T15" fmla="*/ 2 h 5"/>
                <a:gd name="T16" fmla="*/ 5 w 9"/>
                <a:gd name="T17" fmla="*/ 2 h 5"/>
                <a:gd name="T18" fmla="*/ 5 w 9"/>
                <a:gd name="T19" fmla="*/ 2 h 5"/>
                <a:gd name="T20" fmla="*/ 2 w 9"/>
                <a:gd name="T21" fmla="*/ 5 h 5"/>
                <a:gd name="T22" fmla="*/ 0 w 9"/>
                <a:gd name="T23" fmla="*/ 2 h 5"/>
                <a:gd name="T24" fmla="*/ 2 w 9"/>
                <a:gd name="T25" fmla="*/ 0 h 5"/>
                <a:gd name="T26" fmla="*/ 0 w 9"/>
                <a:gd name="T27" fmla="*/ 0 h 5"/>
                <a:gd name="T28" fmla="*/ 0 w 9"/>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5">
                  <a:moveTo>
                    <a:pt x="0" y="0"/>
                  </a:moveTo>
                  <a:lnTo>
                    <a:pt x="2" y="0"/>
                  </a:lnTo>
                  <a:lnTo>
                    <a:pt x="2" y="0"/>
                  </a:lnTo>
                  <a:lnTo>
                    <a:pt x="5" y="0"/>
                  </a:lnTo>
                  <a:lnTo>
                    <a:pt x="7" y="0"/>
                  </a:lnTo>
                  <a:lnTo>
                    <a:pt x="9" y="0"/>
                  </a:lnTo>
                  <a:lnTo>
                    <a:pt x="7" y="2"/>
                  </a:lnTo>
                  <a:lnTo>
                    <a:pt x="7" y="2"/>
                  </a:lnTo>
                  <a:lnTo>
                    <a:pt x="5" y="2"/>
                  </a:lnTo>
                  <a:lnTo>
                    <a:pt x="5" y="2"/>
                  </a:lnTo>
                  <a:lnTo>
                    <a:pt x="2" y="5"/>
                  </a:lnTo>
                  <a:lnTo>
                    <a:pt x="0" y="2"/>
                  </a:lnTo>
                  <a:lnTo>
                    <a:pt x="2" y="0"/>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4" name="Freeform 783">
              <a:extLst>
                <a:ext uri="{FF2B5EF4-FFF2-40B4-BE49-F238E27FC236}">
                  <a16:creationId xmlns:a16="http://schemas.microsoft.com/office/drawing/2014/main" id="{11693221-21FB-4898-AEB4-AD3EF5D3CCA1}"/>
                </a:ext>
              </a:extLst>
            </p:cNvPr>
            <p:cNvSpPr>
              <a:spLocks/>
            </p:cNvSpPr>
            <p:nvPr/>
          </p:nvSpPr>
          <p:spPr bwMode="auto">
            <a:xfrm>
              <a:off x="8110305" y="4710159"/>
              <a:ext cx="14890" cy="8272"/>
            </a:xfrm>
            <a:custGeom>
              <a:avLst/>
              <a:gdLst>
                <a:gd name="T0" fmla="*/ 0 w 9"/>
                <a:gd name="T1" fmla="*/ 0 h 5"/>
                <a:gd name="T2" fmla="*/ 2 w 9"/>
                <a:gd name="T3" fmla="*/ 0 h 5"/>
                <a:gd name="T4" fmla="*/ 2 w 9"/>
                <a:gd name="T5" fmla="*/ 0 h 5"/>
                <a:gd name="T6" fmla="*/ 5 w 9"/>
                <a:gd name="T7" fmla="*/ 0 h 5"/>
                <a:gd name="T8" fmla="*/ 7 w 9"/>
                <a:gd name="T9" fmla="*/ 0 h 5"/>
                <a:gd name="T10" fmla="*/ 9 w 9"/>
                <a:gd name="T11" fmla="*/ 0 h 5"/>
                <a:gd name="T12" fmla="*/ 7 w 9"/>
                <a:gd name="T13" fmla="*/ 2 h 5"/>
                <a:gd name="T14" fmla="*/ 7 w 9"/>
                <a:gd name="T15" fmla="*/ 2 h 5"/>
                <a:gd name="T16" fmla="*/ 5 w 9"/>
                <a:gd name="T17" fmla="*/ 2 h 5"/>
                <a:gd name="T18" fmla="*/ 5 w 9"/>
                <a:gd name="T19" fmla="*/ 2 h 5"/>
                <a:gd name="T20" fmla="*/ 2 w 9"/>
                <a:gd name="T21" fmla="*/ 5 h 5"/>
                <a:gd name="T22" fmla="*/ 0 w 9"/>
                <a:gd name="T23" fmla="*/ 2 h 5"/>
                <a:gd name="T24" fmla="*/ 2 w 9"/>
                <a:gd name="T25" fmla="*/ 0 h 5"/>
                <a:gd name="T26" fmla="*/ 0 w 9"/>
                <a:gd name="T27" fmla="*/ 0 h 5"/>
                <a:gd name="T28" fmla="*/ 0 w 9"/>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5">
                  <a:moveTo>
                    <a:pt x="0" y="0"/>
                  </a:moveTo>
                  <a:lnTo>
                    <a:pt x="2" y="0"/>
                  </a:lnTo>
                  <a:lnTo>
                    <a:pt x="2" y="0"/>
                  </a:lnTo>
                  <a:lnTo>
                    <a:pt x="5" y="0"/>
                  </a:lnTo>
                  <a:lnTo>
                    <a:pt x="7" y="0"/>
                  </a:lnTo>
                  <a:lnTo>
                    <a:pt x="9" y="0"/>
                  </a:lnTo>
                  <a:lnTo>
                    <a:pt x="7" y="2"/>
                  </a:lnTo>
                  <a:lnTo>
                    <a:pt x="7" y="2"/>
                  </a:lnTo>
                  <a:lnTo>
                    <a:pt x="5" y="2"/>
                  </a:lnTo>
                  <a:lnTo>
                    <a:pt x="5" y="2"/>
                  </a:lnTo>
                  <a:lnTo>
                    <a:pt x="2" y="5"/>
                  </a:lnTo>
                  <a:lnTo>
                    <a:pt x="0" y="2"/>
                  </a:lnTo>
                  <a:lnTo>
                    <a:pt x="2" y="0"/>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5" name="Freeform 784">
              <a:extLst>
                <a:ext uri="{FF2B5EF4-FFF2-40B4-BE49-F238E27FC236}">
                  <a16:creationId xmlns:a16="http://schemas.microsoft.com/office/drawing/2014/main" id="{E46BF198-BB42-4F52-9DEB-2C470BA54BD3}"/>
                </a:ext>
              </a:extLst>
            </p:cNvPr>
            <p:cNvSpPr>
              <a:spLocks/>
            </p:cNvSpPr>
            <p:nvPr/>
          </p:nvSpPr>
          <p:spPr bwMode="auto">
            <a:xfrm>
              <a:off x="8196334" y="4690306"/>
              <a:ext cx="8273" cy="8272"/>
            </a:xfrm>
            <a:custGeom>
              <a:avLst/>
              <a:gdLst>
                <a:gd name="T0" fmla="*/ 0 w 5"/>
                <a:gd name="T1" fmla="*/ 0 h 5"/>
                <a:gd name="T2" fmla="*/ 2 w 5"/>
                <a:gd name="T3" fmla="*/ 0 h 5"/>
                <a:gd name="T4" fmla="*/ 5 w 5"/>
                <a:gd name="T5" fmla="*/ 3 h 5"/>
                <a:gd name="T6" fmla="*/ 2 w 5"/>
                <a:gd name="T7" fmla="*/ 5 h 5"/>
                <a:gd name="T8" fmla="*/ 0 w 5"/>
                <a:gd name="T9" fmla="*/ 3 h 5"/>
                <a:gd name="T10" fmla="*/ 0 w 5"/>
                <a:gd name="T11" fmla="*/ 0 h 5"/>
                <a:gd name="T12" fmla="*/ 0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0"/>
                  </a:moveTo>
                  <a:lnTo>
                    <a:pt x="2" y="0"/>
                  </a:lnTo>
                  <a:lnTo>
                    <a:pt x="5" y="3"/>
                  </a:lnTo>
                  <a:lnTo>
                    <a:pt x="2" y="5"/>
                  </a:lnTo>
                  <a:lnTo>
                    <a:pt x="0" y="3"/>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6" name="Freeform 785">
              <a:extLst>
                <a:ext uri="{FF2B5EF4-FFF2-40B4-BE49-F238E27FC236}">
                  <a16:creationId xmlns:a16="http://schemas.microsoft.com/office/drawing/2014/main" id="{EE69D1A7-B25F-487A-83D4-F8D5789FCEBF}"/>
                </a:ext>
              </a:extLst>
            </p:cNvPr>
            <p:cNvSpPr>
              <a:spLocks/>
            </p:cNvSpPr>
            <p:nvPr/>
          </p:nvSpPr>
          <p:spPr bwMode="auto">
            <a:xfrm>
              <a:off x="8196334" y="4690306"/>
              <a:ext cx="8273" cy="8272"/>
            </a:xfrm>
            <a:custGeom>
              <a:avLst/>
              <a:gdLst>
                <a:gd name="T0" fmla="*/ 0 w 5"/>
                <a:gd name="T1" fmla="*/ 0 h 5"/>
                <a:gd name="T2" fmla="*/ 2 w 5"/>
                <a:gd name="T3" fmla="*/ 0 h 5"/>
                <a:gd name="T4" fmla="*/ 5 w 5"/>
                <a:gd name="T5" fmla="*/ 3 h 5"/>
                <a:gd name="T6" fmla="*/ 2 w 5"/>
                <a:gd name="T7" fmla="*/ 5 h 5"/>
                <a:gd name="T8" fmla="*/ 0 w 5"/>
                <a:gd name="T9" fmla="*/ 3 h 5"/>
                <a:gd name="T10" fmla="*/ 0 w 5"/>
                <a:gd name="T11" fmla="*/ 0 h 5"/>
                <a:gd name="T12" fmla="*/ 0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0"/>
                  </a:moveTo>
                  <a:lnTo>
                    <a:pt x="2" y="0"/>
                  </a:lnTo>
                  <a:lnTo>
                    <a:pt x="5" y="3"/>
                  </a:lnTo>
                  <a:lnTo>
                    <a:pt x="2" y="5"/>
                  </a:lnTo>
                  <a:lnTo>
                    <a:pt x="0" y="3"/>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7" name="Freeform 786">
              <a:extLst>
                <a:ext uri="{FF2B5EF4-FFF2-40B4-BE49-F238E27FC236}">
                  <a16:creationId xmlns:a16="http://schemas.microsoft.com/office/drawing/2014/main" id="{8EB88DBE-964B-47D4-8994-E64F0EC79BEB}"/>
                </a:ext>
              </a:extLst>
            </p:cNvPr>
            <p:cNvSpPr>
              <a:spLocks/>
            </p:cNvSpPr>
            <p:nvPr/>
          </p:nvSpPr>
          <p:spPr bwMode="auto">
            <a:xfrm>
              <a:off x="8211225" y="4721741"/>
              <a:ext cx="11582" cy="8272"/>
            </a:xfrm>
            <a:custGeom>
              <a:avLst/>
              <a:gdLst>
                <a:gd name="T0" fmla="*/ 0 w 7"/>
                <a:gd name="T1" fmla="*/ 0 h 5"/>
                <a:gd name="T2" fmla="*/ 0 w 7"/>
                <a:gd name="T3" fmla="*/ 0 h 5"/>
                <a:gd name="T4" fmla="*/ 3 w 7"/>
                <a:gd name="T5" fmla="*/ 0 h 5"/>
                <a:gd name="T6" fmla="*/ 5 w 7"/>
                <a:gd name="T7" fmla="*/ 0 h 5"/>
                <a:gd name="T8" fmla="*/ 7 w 7"/>
                <a:gd name="T9" fmla="*/ 2 h 5"/>
                <a:gd name="T10" fmla="*/ 7 w 7"/>
                <a:gd name="T11" fmla="*/ 5 h 5"/>
                <a:gd name="T12" fmla="*/ 3 w 7"/>
                <a:gd name="T13" fmla="*/ 5 h 5"/>
                <a:gd name="T14" fmla="*/ 0 w 7"/>
                <a:gd name="T15" fmla="*/ 2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0" y="0"/>
                  </a:lnTo>
                  <a:lnTo>
                    <a:pt x="3" y="0"/>
                  </a:lnTo>
                  <a:lnTo>
                    <a:pt x="5" y="0"/>
                  </a:lnTo>
                  <a:lnTo>
                    <a:pt x="7" y="2"/>
                  </a:lnTo>
                  <a:lnTo>
                    <a:pt x="7" y="5"/>
                  </a:lnTo>
                  <a:lnTo>
                    <a:pt x="3" y="5"/>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8" name="Freeform 787">
              <a:extLst>
                <a:ext uri="{FF2B5EF4-FFF2-40B4-BE49-F238E27FC236}">
                  <a16:creationId xmlns:a16="http://schemas.microsoft.com/office/drawing/2014/main" id="{5EDA1FCF-EFA3-4537-B7B5-845057B99D17}"/>
                </a:ext>
              </a:extLst>
            </p:cNvPr>
            <p:cNvSpPr>
              <a:spLocks/>
            </p:cNvSpPr>
            <p:nvPr/>
          </p:nvSpPr>
          <p:spPr bwMode="auto">
            <a:xfrm>
              <a:off x="8211225" y="4721741"/>
              <a:ext cx="11582" cy="8272"/>
            </a:xfrm>
            <a:custGeom>
              <a:avLst/>
              <a:gdLst>
                <a:gd name="T0" fmla="*/ 0 w 7"/>
                <a:gd name="T1" fmla="*/ 0 h 5"/>
                <a:gd name="T2" fmla="*/ 0 w 7"/>
                <a:gd name="T3" fmla="*/ 0 h 5"/>
                <a:gd name="T4" fmla="*/ 3 w 7"/>
                <a:gd name="T5" fmla="*/ 0 h 5"/>
                <a:gd name="T6" fmla="*/ 5 w 7"/>
                <a:gd name="T7" fmla="*/ 0 h 5"/>
                <a:gd name="T8" fmla="*/ 7 w 7"/>
                <a:gd name="T9" fmla="*/ 2 h 5"/>
                <a:gd name="T10" fmla="*/ 7 w 7"/>
                <a:gd name="T11" fmla="*/ 5 h 5"/>
                <a:gd name="T12" fmla="*/ 3 w 7"/>
                <a:gd name="T13" fmla="*/ 5 h 5"/>
                <a:gd name="T14" fmla="*/ 0 w 7"/>
                <a:gd name="T15" fmla="*/ 2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0" y="0"/>
                  </a:lnTo>
                  <a:lnTo>
                    <a:pt x="3" y="0"/>
                  </a:lnTo>
                  <a:lnTo>
                    <a:pt x="5" y="0"/>
                  </a:lnTo>
                  <a:lnTo>
                    <a:pt x="7" y="2"/>
                  </a:lnTo>
                  <a:lnTo>
                    <a:pt x="7" y="5"/>
                  </a:lnTo>
                  <a:lnTo>
                    <a:pt x="3" y="5"/>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89" name="Freeform 788">
              <a:extLst>
                <a:ext uri="{FF2B5EF4-FFF2-40B4-BE49-F238E27FC236}">
                  <a16:creationId xmlns:a16="http://schemas.microsoft.com/office/drawing/2014/main" id="{EB5B293E-6A14-4766-B52D-5E5FE2B6FB06}"/>
                </a:ext>
              </a:extLst>
            </p:cNvPr>
            <p:cNvSpPr>
              <a:spLocks/>
            </p:cNvSpPr>
            <p:nvPr/>
          </p:nvSpPr>
          <p:spPr bwMode="auto">
            <a:xfrm>
              <a:off x="8234387" y="4725050"/>
              <a:ext cx="67833" cy="62869"/>
            </a:xfrm>
            <a:custGeom>
              <a:avLst/>
              <a:gdLst>
                <a:gd name="T0" fmla="*/ 0 w 41"/>
                <a:gd name="T1" fmla="*/ 3 h 38"/>
                <a:gd name="T2" fmla="*/ 0 w 41"/>
                <a:gd name="T3" fmla="*/ 0 h 38"/>
                <a:gd name="T4" fmla="*/ 5 w 41"/>
                <a:gd name="T5" fmla="*/ 5 h 38"/>
                <a:gd name="T6" fmla="*/ 8 w 41"/>
                <a:gd name="T7" fmla="*/ 5 h 38"/>
                <a:gd name="T8" fmla="*/ 10 w 41"/>
                <a:gd name="T9" fmla="*/ 7 h 38"/>
                <a:gd name="T10" fmla="*/ 17 w 41"/>
                <a:gd name="T11" fmla="*/ 12 h 38"/>
                <a:gd name="T12" fmla="*/ 19 w 41"/>
                <a:gd name="T13" fmla="*/ 12 h 38"/>
                <a:gd name="T14" fmla="*/ 24 w 41"/>
                <a:gd name="T15" fmla="*/ 15 h 38"/>
                <a:gd name="T16" fmla="*/ 26 w 41"/>
                <a:gd name="T17" fmla="*/ 17 h 38"/>
                <a:gd name="T18" fmla="*/ 29 w 41"/>
                <a:gd name="T19" fmla="*/ 19 h 38"/>
                <a:gd name="T20" fmla="*/ 31 w 41"/>
                <a:gd name="T21" fmla="*/ 22 h 38"/>
                <a:gd name="T22" fmla="*/ 34 w 41"/>
                <a:gd name="T23" fmla="*/ 24 h 38"/>
                <a:gd name="T24" fmla="*/ 38 w 41"/>
                <a:gd name="T25" fmla="*/ 24 h 38"/>
                <a:gd name="T26" fmla="*/ 38 w 41"/>
                <a:gd name="T27" fmla="*/ 26 h 38"/>
                <a:gd name="T28" fmla="*/ 41 w 41"/>
                <a:gd name="T29" fmla="*/ 29 h 38"/>
                <a:gd name="T30" fmla="*/ 41 w 41"/>
                <a:gd name="T31" fmla="*/ 31 h 38"/>
                <a:gd name="T32" fmla="*/ 41 w 41"/>
                <a:gd name="T33" fmla="*/ 33 h 38"/>
                <a:gd name="T34" fmla="*/ 41 w 41"/>
                <a:gd name="T35" fmla="*/ 36 h 38"/>
                <a:gd name="T36" fmla="*/ 38 w 41"/>
                <a:gd name="T37" fmla="*/ 38 h 38"/>
                <a:gd name="T38" fmla="*/ 36 w 41"/>
                <a:gd name="T39" fmla="*/ 38 h 38"/>
                <a:gd name="T40" fmla="*/ 34 w 41"/>
                <a:gd name="T41" fmla="*/ 31 h 38"/>
                <a:gd name="T42" fmla="*/ 31 w 41"/>
                <a:gd name="T43" fmla="*/ 24 h 38"/>
                <a:gd name="T44" fmla="*/ 26 w 41"/>
                <a:gd name="T45" fmla="*/ 17 h 38"/>
                <a:gd name="T46" fmla="*/ 26 w 41"/>
                <a:gd name="T47" fmla="*/ 17 h 38"/>
                <a:gd name="T48" fmla="*/ 19 w 41"/>
                <a:gd name="T49" fmla="*/ 15 h 38"/>
                <a:gd name="T50" fmla="*/ 17 w 41"/>
                <a:gd name="T51" fmla="*/ 15 h 38"/>
                <a:gd name="T52" fmla="*/ 15 w 41"/>
                <a:gd name="T53" fmla="*/ 10 h 38"/>
                <a:gd name="T54" fmla="*/ 12 w 41"/>
                <a:gd name="T55" fmla="*/ 10 h 38"/>
                <a:gd name="T56" fmla="*/ 10 w 41"/>
                <a:gd name="T57" fmla="*/ 7 h 38"/>
                <a:gd name="T58" fmla="*/ 8 w 41"/>
                <a:gd name="T59" fmla="*/ 7 h 38"/>
                <a:gd name="T60" fmla="*/ 3 w 41"/>
                <a:gd name="T61" fmla="*/ 3 h 38"/>
                <a:gd name="T62" fmla="*/ 0 w 41"/>
                <a:gd name="T63" fmla="*/ 3 h 38"/>
                <a:gd name="T64" fmla="*/ 0 w 41"/>
                <a:gd name="T65"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38">
                  <a:moveTo>
                    <a:pt x="0" y="3"/>
                  </a:moveTo>
                  <a:lnTo>
                    <a:pt x="0" y="0"/>
                  </a:lnTo>
                  <a:lnTo>
                    <a:pt x="5" y="5"/>
                  </a:lnTo>
                  <a:lnTo>
                    <a:pt x="8" y="5"/>
                  </a:lnTo>
                  <a:lnTo>
                    <a:pt x="10" y="7"/>
                  </a:lnTo>
                  <a:lnTo>
                    <a:pt x="17" y="12"/>
                  </a:lnTo>
                  <a:lnTo>
                    <a:pt x="19" y="12"/>
                  </a:lnTo>
                  <a:lnTo>
                    <a:pt x="24" y="15"/>
                  </a:lnTo>
                  <a:lnTo>
                    <a:pt x="26" y="17"/>
                  </a:lnTo>
                  <a:lnTo>
                    <a:pt x="29" y="19"/>
                  </a:lnTo>
                  <a:lnTo>
                    <a:pt x="31" y="22"/>
                  </a:lnTo>
                  <a:lnTo>
                    <a:pt x="34" y="24"/>
                  </a:lnTo>
                  <a:lnTo>
                    <a:pt x="38" y="24"/>
                  </a:lnTo>
                  <a:lnTo>
                    <a:pt x="38" y="26"/>
                  </a:lnTo>
                  <a:lnTo>
                    <a:pt x="41" y="29"/>
                  </a:lnTo>
                  <a:lnTo>
                    <a:pt x="41" y="31"/>
                  </a:lnTo>
                  <a:lnTo>
                    <a:pt x="41" y="33"/>
                  </a:lnTo>
                  <a:lnTo>
                    <a:pt x="41" y="36"/>
                  </a:lnTo>
                  <a:lnTo>
                    <a:pt x="38" y="38"/>
                  </a:lnTo>
                  <a:lnTo>
                    <a:pt x="36" y="38"/>
                  </a:lnTo>
                  <a:lnTo>
                    <a:pt x="34" y="31"/>
                  </a:lnTo>
                  <a:lnTo>
                    <a:pt x="31" y="24"/>
                  </a:lnTo>
                  <a:lnTo>
                    <a:pt x="26" y="17"/>
                  </a:lnTo>
                  <a:lnTo>
                    <a:pt x="26" y="17"/>
                  </a:lnTo>
                  <a:lnTo>
                    <a:pt x="19" y="15"/>
                  </a:lnTo>
                  <a:lnTo>
                    <a:pt x="17" y="15"/>
                  </a:lnTo>
                  <a:lnTo>
                    <a:pt x="15" y="10"/>
                  </a:lnTo>
                  <a:lnTo>
                    <a:pt x="12" y="10"/>
                  </a:lnTo>
                  <a:lnTo>
                    <a:pt x="10" y="7"/>
                  </a:lnTo>
                  <a:lnTo>
                    <a:pt x="8" y="7"/>
                  </a:lnTo>
                  <a:lnTo>
                    <a:pt x="3" y="3"/>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0" name="Freeform 789">
              <a:extLst>
                <a:ext uri="{FF2B5EF4-FFF2-40B4-BE49-F238E27FC236}">
                  <a16:creationId xmlns:a16="http://schemas.microsoft.com/office/drawing/2014/main" id="{9DA0D327-4FDF-4FC5-AA7D-0221216A91E0}"/>
                </a:ext>
              </a:extLst>
            </p:cNvPr>
            <p:cNvSpPr>
              <a:spLocks/>
            </p:cNvSpPr>
            <p:nvPr/>
          </p:nvSpPr>
          <p:spPr bwMode="auto">
            <a:xfrm>
              <a:off x="8234387" y="4725050"/>
              <a:ext cx="67833" cy="62869"/>
            </a:xfrm>
            <a:custGeom>
              <a:avLst/>
              <a:gdLst>
                <a:gd name="T0" fmla="*/ 0 w 41"/>
                <a:gd name="T1" fmla="*/ 3 h 38"/>
                <a:gd name="T2" fmla="*/ 0 w 41"/>
                <a:gd name="T3" fmla="*/ 0 h 38"/>
                <a:gd name="T4" fmla="*/ 5 w 41"/>
                <a:gd name="T5" fmla="*/ 5 h 38"/>
                <a:gd name="T6" fmla="*/ 8 w 41"/>
                <a:gd name="T7" fmla="*/ 5 h 38"/>
                <a:gd name="T8" fmla="*/ 10 w 41"/>
                <a:gd name="T9" fmla="*/ 7 h 38"/>
                <a:gd name="T10" fmla="*/ 17 w 41"/>
                <a:gd name="T11" fmla="*/ 12 h 38"/>
                <a:gd name="T12" fmla="*/ 19 w 41"/>
                <a:gd name="T13" fmla="*/ 12 h 38"/>
                <a:gd name="T14" fmla="*/ 24 w 41"/>
                <a:gd name="T15" fmla="*/ 15 h 38"/>
                <a:gd name="T16" fmla="*/ 26 w 41"/>
                <a:gd name="T17" fmla="*/ 17 h 38"/>
                <a:gd name="T18" fmla="*/ 29 w 41"/>
                <a:gd name="T19" fmla="*/ 19 h 38"/>
                <a:gd name="T20" fmla="*/ 31 w 41"/>
                <a:gd name="T21" fmla="*/ 22 h 38"/>
                <a:gd name="T22" fmla="*/ 34 w 41"/>
                <a:gd name="T23" fmla="*/ 24 h 38"/>
                <a:gd name="T24" fmla="*/ 38 w 41"/>
                <a:gd name="T25" fmla="*/ 24 h 38"/>
                <a:gd name="T26" fmla="*/ 38 w 41"/>
                <a:gd name="T27" fmla="*/ 26 h 38"/>
                <a:gd name="T28" fmla="*/ 41 w 41"/>
                <a:gd name="T29" fmla="*/ 29 h 38"/>
                <a:gd name="T30" fmla="*/ 41 w 41"/>
                <a:gd name="T31" fmla="*/ 31 h 38"/>
                <a:gd name="T32" fmla="*/ 41 w 41"/>
                <a:gd name="T33" fmla="*/ 33 h 38"/>
                <a:gd name="T34" fmla="*/ 41 w 41"/>
                <a:gd name="T35" fmla="*/ 36 h 38"/>
                <a:gd name="T36" fmla="*/ 38 w 41"/>
                <a:gd name="T37" fmla="*/ 38 h 38"/>
                <a:gd name="T38" fmla="*/ 36 w 41"/>
                <a:gd name="T39" fmla="*/ 38 h 38"/>
                <a:gd name="T40" fmla="*/ 34 w 41"/>
                <a:gd name="T41" fmla="*/ 31 h 38"/>
                <a:gd name="T42" fmla="*/ 31 w 41"/>
                <a:gd name="T43" fmla="*/ 24 h 38"/>
                <a:gd name="T44" fmla="*/ 26 w 41"/>
                <a:gd name="T45" fmla="*/ 17 h 38"/>
                <a:gd name="T46" fmla="*/ 26 w 41"/>
                <a:gd name="T47" fmla="*/ 17 h 38"/>
                <a:gd name="T48" fmla="*/ 19 w 41"/>
                <a:gd name="T49" fmla="*/ 15 h 38"/>
                <a:gd name="T50" fmla="*/ 17 w 41"/>
                <a:gd name="T51" fmla="*/ 15 h 38"/>
                <a:gd name="T52" fmla="*/ 15 w 41"/>
                <a:gd name="T53" fmla="*/ 10 h 38"/>
                <a:gd name="T54" fmla="*/ 12 w 41"/>
                <a:gd name="T55" fmla="*/ 10 h 38"/>
                <a:gd name="T56" fmla="*/ 10 w 41"/>
                <a:gd name="T57" fmla="*/ 7 h 38"/>
                <a:gd name="T58" fmla="*/ 8 w 41"/>
                <a:gd name="T59" fmla="*/ 7 h 38"/>
                <a:gd name="T60" fmla="*/ 3 w 41"/>
                <a:gd name="T61" fmla="*/ 3 h 38"/>
                <a:gd name="T62" fmla="*/ 0 w 41"/>
                <a:gd name="T63" fmla="*/ 3 h 38"/>
                <a:gd name="T64" fmla="*/ 0 w 41"/>
                <a:gd name="T65"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 h="38">
                  <a:moveTo>
                    <a:pt x="0" y="3"/>
                  </a:moveTo>
                  <a:lnTo>
                    <a:pt x="0" y="0"/>
                  </a:lnTo>
                  <a:lnTo>
                    <a:pt x="5" y="5"/>
                  </a:lnTo>
                  <a:lnTo>
                    <a:pt x="8" y="5"/>
                  </a:lnTo>
                  <a:lnTo>
                    <a:pt x="10" y="7"/>
                  </a:lnTo>
                  <a:lnTo>
                    <a:pt x="17" y="12"/>
                  </a:lnTo>
                  <a:lnTo>
                    <a:pt x="19" y="12"/>
                  </a:lnTo>
                  <a:lnTo>
                    <a:pt x="24" y="15"/>
                  </a:lnTo>
                  <a:lnTo>
                    <a:pt x="26" y="17"/>
                  </a:lnTo>
                  <a:lnTo>
                    <a:pt x="29" y="19"/>
                  </a:lnTo>
                  <a:lnTo>
                    <a:pt x="31" y="22"/>
                  </a:lnTo>
                  <a:lnTo>
                    <a:pt x="34" y="24"/>
                  </a:lnTo>
                  <a:lnTo>
                    <a:pt x="38" y="24"/>
                  </a:lnTo>
                  <a:lnTo>
                    <a:pt x="38" y="26"/>
                  </a:lnTo>
                  <a:lnTo>
                    <a:pt x="41" y="29"/>
                  </a:lnTo>
                  <a:lnTo>
                    <a:pt x="41" y="31"/>
                  </a:lnTo>
                  <a:lnTo>
                    <a:pt x="41" y="33"/>
                  </a:lnTo>
                  <a:lnTo>
                    <a:pt x="41" y="36"/>
                  </a:lnTo>
                  <a:lnTo>
                    <a:pt x="38" y="38"/>
                  </a:lnTo>
                  <a:lnTo>
                    <a:pt x="36" y="38"/>
                  </a:lnTo>
                  <a:lnTo>
                    <a:pt x="34" y="31"/>
                  </a:lnTo>
                  <a:lnTo>
                    <a:pt x="31" y="24"/>
                  </a:lnTo>
                  <a:lnTo>
                    <a:pt x="26" y="17"/>
                  </a:lnTo>
                  <a:lnTo>
                    <a:pt x="26" y="17"/>
                  </a:lnTo>
                  <a:lnTo>
                    <a:pt x="19" y="15"/>
                  </a:lnTo>
                  <a:lnTo>
                    <a:pt x="17" y="15"/>
                  </a:lnTo>
                  <a:lnTo>
                    <a:pt x="15" y="10"/>
                  </a:lnTo>
                  <a:lnTo>
                    <a:pt x="12" y="10"/>
                  </a:lnTo>
                  <a:lnTo>
                    <a:pt x="10" y="7"/>
                  </a:lnTo>
                  <a:lnTo>
                    <a:pt x="8" y="7"/>
                  </a:lnTo>
                  <a:lnTo>
                    <a:pt x="3" y="3"/>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1" name="Freeform 790">
              <a:extLst>
                <a:ext uri="{FF2B5EF4-FFF2-40B4-BE49-F238E27FC236}">
                  <a16:creationId xmlns:a16="http://schemas.microsoft.com/office/drawing/2014/main" id="{0452B75B-E206-4F43-8010-AC3AA36F52BB}"/>
                </a:ext>
              </a:extLst>
            </p:cNvPr>
            <p:cNvSpPr>
              <a:spLocks/>
            </p:cNvSpPr>
            <p:nvPr/>
          </p:nvSpPr>
          <p:spPr bwMode="auto">
            <a:xfrm>
              <a:off x="8125195" y="4804462"/>
              <a:ext cx="4964" cy="3309"/>
            </a:xfrm>
            <a:custGeom>
              <a:avLst/>
              <a:gdLst>
                <a:gd name="T0" fmla="*/ 0 w 3"/>
                <a:gd name="T1" fmla="*/ 0 h 2"/>
                <a:gd name="T2" fmla="*/ 0 w 3"/>
                <a:gd name="T3" fmla="*/ 0 h 2"/>
                <a:gd name="T4" fmla="*/ 3 w 3"/>
                <a:gd name="T5" fmla="*/ 0 h 2"/>
                <a:gd name="T6" fmla="*/ 3 w 3"/>
                <a:gd name="T7" fmla="*/ 2 h 2"/>
                <a:gd name="T8" fmla="*/ 3 w 3"/>
                <a:gd name="T9" fmla="*/ 2 h 2"/>
                <a:gd name="T10" fmla="*/ 0 w 3"/>
                <a:gd name="T11" fmla="*/ 2 h 2"/>
                <a:gd name="T12" fmla="*/ 0 w 3"/>
                <a:gd name="T13" fmla="*/ 0 h 2"/>
                <a:gd name="T14" fmla="*/ 0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0"/>
                  </a:moveTo>
                  <a:lnTo>
                    <a:pt x="0" y="0"/>
                  </a:lnTo>
                  <a:lnTo>
                    <a:pt x="3" y="0"/>
                  </a:lnTo>
                  <a:lnTo>
                    <a:pt x="3" y="2"/>
                  </a:lnTo>
                  <a:lnTo>
                    <a:pt x="3" y="2"/>
                  </a:lnTo>
                  <a:lnTo>
                    <a:pt x="0" y="2"/>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2" name="Freeform 791">
              <a:extLst>
                <a:ext uri="{FF2B5EF4-FFF2-40B4-BE49-F238E27FC236}">
                  <a16:creationId xmlns:a16="http://schemas.microsoft.com/office/drawing/2014/main" id="{2F0B6531-2F6B-4AEF-B9F6-C6CB05CADE1F}"/>
                </a:ext>
              </a:extLst>
            </p:cNvPr>
            <p:cNvSpPr>
              <a:spLocks/>
            </p:cNvSpPr>
            <p:nvPr/>
          </p:nvSpPr>
          <p:spPr bwMode="auto">
            <a:xfrm>
              <a:off x="8125195" y="4804462"/>
              <a:ext cx="4964" cy="3309"/>
            </a:xfrm>
            <a:custGeom>
              <a:avLst/>
              <a:gdLst>
                <a:gd name="T0" fmla="*/ 0 w 3"/>
                <a:gd name="T1" fmla="*/ 0 h 2"/>
                <a:gd name="T2" fmla="*/ 0 w 3"/>
                <a:gd name="T3" fmla="*/ 0 h 2"/>
                <a:gd name="T4" fmla="*/ 3 w 3"/>
                <a:gd name="T5" fmla="*/ 0 h 2"/>
                <a:gd name="T6" fmla="*/ 3 w 3"/>
                <a:gd name="T7" fmla="*/ 2 h 2"/>
                <a:gd name="T8" fmla="*/ 3 w 3"/>
                <a:gd name="T9" fmla="*/ 2 h 2"/>
                <a:gd name="T10" fmla="*/ 0 w 3"/>
                <a:gd name="T11" fmla="*/ 2 h 2"/>
                <a:gd name="T12" fmla="*/ 0 w 3"/>
                <a:gd name="T13" fmla="*/ 0 h 2"/>
                <a:gd name="T14" fmla="*/ 0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0"/>
                  </a:moveTo>
                  <a:lnTo>
                    <a:pt x="0" y="0"/>
                  </a:lnTo>
                  <a:lnTo>
                    <a:pt x="3" y="0"/>
                  </a:lnTo>
                  <a:lnTo>
                    <a:pt x="3" y="2"/>
                  </a:lnTo>
                  <a:lnTo>
                    <a:pt x="3" y="2"/>
                  </a:lnTo>
                  <a:lnTo>
                    <a:pt x="0" y="2"/>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3" name="Freeform 792">
              <a:extLst>
                <a:ext uri="{FF2B5EF4-FFF2-40B4-BE49-F238E27FC236}">
                  <a16:creationId xmlns:a16="http://schemas.microsoft.com/office/drawing/2014/main" id="{A02A8161-7482-48C9-947C-EBABDC185E27}"/>
                </a:ext>
              </a:extLst>
            </p:cNvPr>
            <p:cNvSpPr>
              <a:spLocks/>
            </p:cNvSpPr>
            <p:nvPr/>
          </p:nvSpPr>
          <p:spPr bwMode="auto">
            <a:xfrm>
              <a:off x="8145048" y="4811080"/>
              <a:ext cx="11582" cy="8272"/>
            </a:xfrm>
            <a:custGeom>
              <a:avLst/>
              <a:gdLst>
                <a:gd name="T0" fmla="*/ 0 w 7"/>
                <a:gd name="T1" fmla="*/ 0 h 5"/>
                <a:gd name="T2" fmla="*/ 2 w 7"/>
                <a:gd name="T3" fmla="*/ 0 h 5"/>
                <a:gd name="T4" fmla="*/ 2 w 7"/>
                <a:gd name="T5" fmla="*/ 0 h 5"/>
                <a:gd name="T6" fmla="*/ 5 w 7"/>
                <a:gd name="T7" fmla="*/ 0 h 5"/>
                <a:gd name="T8" fmla="*/ 7 w 7"/>
                <a:gd name="T9" fmla="*/ 5 h 5"/>
                <a:gd name="T10" fmla="*/ 5 w 7"/>
                <a:gd name="T11" fmla="*/ 5 h 5"/>
                <a:gd name="T12" fmla="*/ 2 w 7"/>
                <a:gd name="T13" fmla="*/ 3 h 5"/>
                <a:gd name="T14" fmla="*/ 0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0" y="0"/>
                  </a:moveTo>
                  <a:lnTo>
                    <a:pt x="2" y="0"/>
                  </a:lnTo>
                  <a:lnTo>
                    <a:pt x="2" y="0"/>
                  </a:lnTo>
                  <a:lnTo>
                    <a:pt x="5" y="0"/>
                  </a:lnTo>
                  <a:lnTo>
                    <a:pt x="7" y="5"/>
                  </a:lnTo>
                  <a:lnTo>
                    <a:pt x="5" y="5"/>
                  </a:lnTo>
                  <a:lnTo>
                    <a:pt x="2"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4" name="Freeform 793">
              <a:extLst>
                <a:ext uri="{FF2B5EF4-FFF2-40B4-BE49-F238E27FC236}">
                  <a16:creationId xmlns:a16="http://schemas.microsoft.com/office/drawing/2014/main" id="{3872ABFA-C965-4C0C-90B0-2186D2D2FC05}"/>
                </a:ext>
              </a:extLst>
            </p:cNvPr>
            <p:cNvSpPr>
              <a:spLocks/>
            </p:cNvSpPr>
            <p:nvPr/>
          </p:nvSpPr>
          <p:spPr bwMode="auto">
            <a:xfrm>
              <a:off x="8145048" y="4811080"/>
              <a:ext cx="11582" cy="8272"/>
            </a:xfrm>
            <a:custGeom>
              <a:avLst/>
              <a:gdLst>
                <a:gd name="T0" fmla="*/ 0 w 7"/>
                <a:gd name="T1" fmla="*/ 0 h 5"/>
                <a:gd name="T2" fmla="*/ 2 w 7"/>
                <a:gd name="T3" fmla="*/ 0 h 5"/>
                <a:gd name="T4" fmla="*/ 2 w 7"/>
                <a:gd name="T5" fmla="*/ 0 h 5"/>
                <a:gd name="T6" fmla="*/ 5 w 7"/>
                <a:gd name="T7" fmla="*/ 0 h 5"/>
                <a:gd name="T8" fmla="*/ 7 w 7"/>
                <a:gd name="T9" fmla="*/ 5 h 5"/>
                <a:gd name="T10" fmla="*/ 5 w 7"/>
                <a:gd name="T11" fmla="*/ 5 h 5"/>
                <a:gd name="T12" fmla="*/ 2 w 7"/>
                <a:gd name="T13" fmla="*/ 3 h 5"/>
                <a:gd name="T14" fmla="*/ 0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0" y="0"/>
                  </a:moveTo>
                  <a:lnTo>
                    <a:pt x="2" y="0"/>
                  </a:lnTo>
                  <a:lnTo>
                    <a:pt x="2" y="0"/>
                  </a:lnTo>
                  <a:lnTo>
                    <a:pt x="5" y="0"/>
                  </a:lnTo>
                  <a:lnTo>
                    <a:pt x="7" y="5"/>
                  </a:lnTo>
                  <a:lnTo>
                    <a:pt x="5" y="5"/>
                  </a:lnTo>
                  <a:lnTo>
                    <a:pt x="2"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5" name="Freeform 794">
              <a:extLst>
                <a:ext uri="{FF2B5EF4-FFF2-40B4-BE49-F238E27FC236}">
                  <a16:creationId xmlns:a16="http://schemas.microsoft.com/office/drawing/2014/main" id="{1F9B1115-E5FD-4ED7-821C-18C56B0F487C}"/>
                </a:ext>
              </a:extLst>
            </p:cNvPr>
            <p:cNvSpPr>
              <a:spLocks/>
            </p:cNvSpPr>
            <p:nvPr/>
          </p:nvSpPr>
          <p:spPr bwMode="auto">
            <a:xfrm>
              <a:off x="8161592" y="4773028"/>
              <a:ext cx="115810" cy="62869"/>
            </a:xfrm>
            <a:custGeom>
              <a:avLst/>
              <a:gdLst>
                <a:gd name="T0" fmla="*/ 0 w 70"/>
                <a:gd name="T1" fmla="*/ 23 h 38"/>
                <a:gd name="T2" fmla="*/ 2 w 70"/>
                <a:gd name="T3" fmla="*/ 21 h 38"/>
                <a:gd name="T4" fmla="*/ 4 w 70"/>
                <a:gd name="T5" fmla="*/ 23 h 38"/>
                <a:gd name="T6" fmla="*/ 16 w 70"/>
                <a:gd name="T7" fmla="*/ 23 h 38"/>
                <a:gd name="T8" fmla="*/ 26 w 70"/>
                <a:gd name="T9" fmla="*/ 23 h 38"/>
                <a:gd name="T10" fmla="*/ 28 w 70"/>
                <a:gd name="T11" fmla="*/ 21 h 38"/>
                <a:gd name="T12" fmla="*/ 28 w 70"/>
                <a:gd name="T13" fmla="*/ 19 h 38"/>
                <a:gd name="T14" fmla="*/ 28 w 70"/>
                <a:gd name="T15" fmla="*/ 19 h 38"/>
                <a:gd name="T16" fmla="*/ 30 w 70"/>
                <a:gd name="T17" fmla="*/ 16 h 38"/>
                <a:gd name="T18" fmla="*/ 33 w 70"/>
                <a:gd name="T19" fmla="*/ 14 h 38"/>
                <a:gd name="T20" fmla="*/ 33 w 70"/>
                <a:gd name="T21" fmla="*/ 16 h 38"/>
                <a:gd name="T22" fmla="*/ 30 w 70"/>
                <a:gd name="T23" fmla="*/ 19 h 38"/>
                <a:gd name="T24" fmla="*/ 30 w 70"/>
                <a:gd name="T25" fmla="*/ 21 h 38"/>
                <a:gd name="T26" fmla="*/ 33 w 70"/>
                <a:gd name="T27" fmla="*/ 23 h 38"/>
                <a:gd name="T28" fmla="*/ 35 w 70"/>
                <a:gd name="T29" fmla="*/ 21 h 38"/>
                <a:gd name="T30" fmla="*/ 37 w 70"/>
                <a:gd name="T31" fmla="*/ 21 h 38"/>
                <a:gd name="T32" fmla="*/ 40 w 70"/>
                <a:gd name="T33" fmla="*/ 23 h 38"/>
                <a:gd name="T34" fmla="*/ 42 w 70"/>
                <a:gd name="T35" fmla="*/ 23 h 38"/>
                <a:gd name="T36" fmla="*/ 44 w 70"/>
                <a:gd name="T37" fmla="*/ 21 h 38"/>
                <a:gd name="T38" fmla="*/ 52 w 70"/>
                <a:gd name="T39" fmla="*/ 14 h 38"/>
                <a:gd name="T40" fmla="*/ 54 w 70"/>
                <a:gd name="T41" fmla="*/ 12 h 38"/>
                <a:gd name="T42" fmla="*/ 56 w 70"/>
                <a:gd name="T43" fmla="*/ 14 h 38"/>
                <a:gd name="T44" fmla="*/ 59 w 70"/>
                <a:gd name="T45" fmla="*/ 12 h 38"/>
                <a:gd name="T46" fmla="*/ 59 w 70"/>
                <a:gd name="T47" fmla="*/ 9 h 38"/>
                <a:gd name="T48" fmla="*/ 59 w 70"/>
                <a:gd name="T49" fmla="*/ 4 h 38"/>
                <a:gd name="T50" fmla="*/ 56 w 70"/>
                <a:gd name="T51" fmla="*/ 2 h 38"/>
                <a:gd name="T52" fmla="*/ 56 w 70"/>
                <a:gd name="T53" fmla="*/ 0 h 38"/>
                <a:gd name="T54" fmla="*/ 61 w 70"/>
                <a:gd name="T55" fmla="*/ 0 h 38"/>
                <a:gd name="T56" fmla="*/ 61 w 70"/>
                <a:gd name="T57" fmla="*/ 2 h 38"/>
                <a:gd name="T58" fmla="*/ 63 w 70"/>
                <a:gd name="T59" fmla="*/ 2 h 38"/>
                <a:gd name="T60" fmla="*/ 66 w 70"/>
                <a:gd name="T61" fmla="*/ 0 h 38"/>
                <a:gd name="T62" fmla="*/ 68 w 70"/>
                <a:gd name="T63" fmla="*/ 0 h 38"/>
                <a:gd name="T64" fmla="*/ 70 w 70"/>
                <a:gd name="T65" fmla="*/ 0 h 38"/>
                <a:gd name="T66" fmla="*/ 70 w 70"/>
                <a:gd name="T67" fmla="*/ 4 h 38"/>
                <a:gd name="T68" fmla="*/ 70 w 70"/>
                <a:gd name="T69" fmla="*/ 9 h 38"/>
                <a:gd name="T70" fmla="*/ 70 w 70"/>
                <a:gd name="T71" fmla="*/ 12 h 38"/>
                <a:gd name="T72" fmla="*/ 68 w 70"/>
                <a:gd name="T73" fmla="*/ 14 h 38"/>
                <a:gd name="T74" fmla="*/ 66 w 70"/>
                <a:gd name="T75" fmla="*/ 14 h 38"/>
                <a:gd name="T76" fmla="*/ 66 w 70"/>
                <a:gd name="T77" fmla="*/ 16 h 38"/>
                <a:gd name="T78" fmla="*/ 68 w 70"/>
                <a:gd name="T79" fmla="*/ 19 h 38"/>
                <a:gd name="T80" fmla="*/ 66 w 70"/>
                <a:gd name="T81" fmla="*/ 23 h 38"/>
                <a:gd name="T82" fmla="*/ 63 w 70"/>
                <a:gd name="T83" fmla="*/ 23 h 38"/>
                <a:gd name="T84" fmla="*/ 59 w 70"/>
                <a:gd name="T85" fmla="*/ 23 h 38"/>
                <a:gd name="T86" fmla="*/ 56 w 70"/>
                <a:gd name="T87" fmla="*/ 26 h 38"/>
                <a:gd name="T88" fmla="*/ 56 w 70"/>
                <a:gd name="T89" fmla="*/ 28 h 38"/>
                <a:gd name="T90" fmla="*/ 54 w 70"/>
                <a:gd name="T91" fmla="*/ 30 h 38"/>
                <a:gd name="T92" fmla="*/ 44 w 70"/>
                <a:gd name="T93" fmla="*/ 35 h 38"/>
                <a:gd name="T94" fmla="*/ 42 w 70"/>
                <a:gd name="T95" fmla="*/ 35 h 38"/>
                <a:gd name="T96" fmla="*/ 40 w 70"/>
                <a:gd name="T97" fmla="*/ 35 h 38"/>
                <a:gd name="T98" fmla="*/ 33 w 70"/>
                <a:gd name="T99" fmla="*/ 35 h 38"/>
                <a:gd name="T100" fmla="*/ 30 w 70"/>
                <a:gd name="T101" fmla="*/ 38 h 38"/>
                <a:gd name="T102" fmla="*/ 26 w 70"/>
                <a:gd name="T103" fmla="*/ 38 h 38"/>
                <a:gd name="T104" fmla="*/ 21 w 70"/>
                <a:gd name="T105" fmla="*/ 33 h 38"/>
                <a:gd name="T106" fmla="*/ 18 w 70"/>
                <a:gd name="T107" fmla="*/ 33 h 38"/>
                <a:gd name="T108" fmla="*/ 16 w 70"/>
                <a:gd name="T109" fmla="*/ 35 h 38"/>
                <a:gd name="T110" fmla="*/ 9 w 70"/>
                <a:gd name="T111" fmla="*/ 30 h 38"/>
                <a:gd name="T112" fmla="*/ 4 w 70"/>
                <a:gd name="T113" fmla="*/ 28 h 38"/>
                <a:gd name="T114" fmla="*/ 2 w 70"/>
                <a:gd name="T115" fmla="*/ 26 h 38"/>
                <a:gd name="T116" fmla="*/ 0 w 70"/>
                <a:gd name="T117"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 h="38">
                  <a:moveTo>
                    <a:pt x="0" y="23"/>
                  </a:moveTo>
                  <a:lnTo>
                    <a:pt x="2" y="21"/>
                  </a:lnTo>
                  <a:lnTo>
                    <a:pt x="4" y="23"/>
                  </a:lnTo>
                  <a:lnTo>
                    <a:pt x="16" y="23"/>
                  </a:lnTo>
                  <a:lnTo>
                    <a:pt x="26" y="23"/>
                  </a:lnTo>
                  <a:lnTo>
                    <a:pt x="28" y="21"/>
                  </a:lnTo>
                  <a:lnTo>
                    <a:pt x="28" y="19"/>
                  </a:lnTo>
                  <a:lnTo>
                    <a:pt x="28" y="19"/>
                  </a:lnTo>
                  <a:lnTo>
                    <a:pt x="30" y="16"/>
                  </a:lnTo>
                  <a:lnTo>
                    <a:pt x="33" y="14"/>
                  </a:lnTo>
                  <a:lnTo>
                    <a:pt x="33" y="16"/>
                  </a:lnTo>
                  <a:lnTo>
                    <a:pt x="30" y="19"/>
                  </a:lnTo>
                  <a:lnTo>
                    <a:pt x="30" y="21"/>
                  </a:lnTo>
                  <a:lnTo>
                    <a:pt x="33" y="23"/>
                  </a:lnTo>
                  <a:lnTo>
                    <a:pt x="35" y="21"/>
                  </a:lnTo>
                  <a:lnTo>
                    <a:pt x="37" y="21"/>
                  </a:lnTo>
                  <a:lnTo>
                    <a:pt x="40" y="23"/>
                  </a:lnTo>
                  <a:lnTo>
                    <a:pt x="42" y="23"/>
                  </a:lnTo>
                  <a:lnTo>
                    <a:pt x="44" y="21"/>
                  </a:lnTo>
                  <a:lnTo>
                    <a:pt x="52" y="14"/>
                  </a:lnTo>
                  <a:lnTo>
                    <a:pt x="54" y="12"/>
                  </a:lnTo>
                  <a:lnTo>
                    <a:pt x="56" y="14"/>
                  </a:lnTo>
                  <a:lnTo>
                    <a:pt x="59" y="12"/>
                  </a:lnTo>
                  <a:lnTo>
                    <a:pt x="59" y="9"/>
                  </a:lnTo>
                  <a:lnTo>
                    <a:pt x="59" y="4"/>
                  </a:lnTo>
                  <a:lnTo>
                    <a:pt x="56" y="2"/>
                  </a:lnTo>
                  <a:lnTo>
                    <a:pt x="56" y="0"/>
                  </a:lnTo>
                  <a:lnTo>
                    <a:pt x="61" y="0"/>
                  </a:lnTo>
                  <a:lnTo>
                    <a:pt x="61" y="2"/>
                  </a:lnTo>
                  <a:lnTo>
                    <a:pt x="63" y="2"/>
                  </a:lnTo>
                  <a:lnTo>
                    <a:pt x="66" y="0"/>
                  </a:lnTo>
                  <a:lnTo>
                    <a:pt x="68" y="0"/>
                  </a:lnTo>
                  <a:lnTo>
                    <a:pt x="70" y="0"/>
                  </a:lnTo>
                  <a:lnTo>
                    <a:pt x="70" y="4"/>
                  </a:lnTo>
                  <a:lnTo>
                    <a:pt x="70" y="9"/>
                  </a:lnTo>
                  <a:lnTo>
                    <a:pt x="70" y="12"/>
                  </a:lnTo>
                  <a:lnTo>
                    <a:pt x="68" y="14"/>
                  </a:lnTo>
                  <a:lnTo>
                    <a:pt x="66" y="14"/>
                  </a:lnTo>
                  <a:lnTo>
                    <a:pt x="66" y="16"/>
                  </a:lnTo>
                  <a:lnTo>
                    <a:pt x="68" y="19"/>
                  </a:lnTo>
                  <a:lnTo>
                    <a:pt x="66" y="23"/>
                  </a:lnTo>
                  <a:lnTo>
                    <a:pt x="63" y="23"/>
                  </a:lnTo>
                  <a:lnTo>
                    <a:pt x="59" y="23"/>
                  </a:lnTo>
                  <a:lnTo>
                    <a:pt x="56" y="26"/>
                  </a:lnTo>
                  <a:lnTo>
                    <a:pt x="56" y="28"/>
                  </a:lnTo>
                  <a:lnTo>
                    <a:pt x="54" y="30"/>
                  </a:lnTo>
                  <a:lnTo>
                    <a:pt x="44" y="35"/>
                  </a:lnTo>
                  <a:lnTo>
                    <a:pt x="42" y="35"/>
                  </a:lnTo>
                  <a:lnTo>
                    <a:pt x="40" y="35"/>
                  </a:lnTo>
                  <a:lnTo>
                    <a:pt x="33" y="35"/>
                  </a:lnTo>
                  <a:lnTo>
                    <a:pt x="30" y="38"/>
                  </a:lnTo>
                  <a:lnTo>
                    <a:pt x="26" y="38"/>
                  </a:lnTo>
                  <a:lnTo>
                    <a:pt x="21" y="33"/>
                  </a:lnTo>
                  <a:lnTo>
                    <a:pt x="18" y="33"/>
                  </a:lnTo>
                  <a:lnTo>
                    <a:pt x="16" y="35"/>
                  </a:lnTo>
                  <a:lnTo>
                    <a:pt x="9" y="30"/>
                  </a:lnTo>
                  <a:lnTo>
                    <a:pt x="4" y="28"/>
                  </a:lnTo>
                  <a:lnTo>
                    <a:pt x="2" y="26"/>
                  </a:lnTo>
                  <a:lnTo>
                    <a:pt x="0" y="2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6" name="Freeform 795">
              <a:extLst>
                <a:ext uri="{FF2B5EF4-FFF2-40B4-BE49-F238E27FC236}">
                  <a16:creationId xmlns:a16="http://schemas.microsoft.com/office/drawing/2014/main" id="{7C3CF6F2-AA90-4D5F-B49A-EB4F1F55127D}"/>
                </a:ext>
              </a:extLst>
            </p:cNvPr>
            <p:cNvSpPr>
              <a:spLocks/>
            </p:cNvSpPr>
            <p:nvPr/>
          </p:nvSpPr>
          <p:spPr bwMode="auto">
            <a:xfrm>
              <a:off x="8161592" y="4773028"/>
              <a:ext cx="115810" cy="62869"/>
            </a:xfrm>
            <a:custGeom>
              <a:avLst/>
              <a:gdLst>
                <a:gd name="T0" fmla="*/ 0 w 70"/>
                <a:gd name="T1" fmla="*/ 23 h 38"/>
                <a:gd name="T2" fmla="*/ 2 w 70"/>
                <a:gd name="T3" fmla="*/ 21 h 38"/>
                <a:gd name="T4" fmla="*/ 4 w 70"/>
                <a:gd name="T5" fmla="*/ 23 h 38"/>
                <a:gd name="T6" fmla="*/ 16 w 70"/>
                <a:gd name="T7" fmla="*/ 23 h 38"/>
                <a:gd name="T8" fmla="*/ 26 w 70"/>
                <a:gd name="T9" fmla="*/ 23 h 38"/>
                <a:gd name="T10" fmla="*/ 28 w 70"/>
                <a:gd name="T11" fmla="*/ 21 h 38"/>
                <a:gd name="T12" fmla="*/ 28 w 70"/>
                <a:gd name="T13" fmla="*/ 19 h 38"/>
                <a:gd name="T14" fmla="*/ 28 w 70"/>
                <a:gd name="T15" fmla="*/ 19 h 38"/>
                <a:gd name="T16" fmla="*/ 30 w 70"/>
                <a:gd name="T17" fmla="*/ 16 h 38"/>
                <a:gd name="T18" fmla="*/ 33 w 70"/>
                <a:gd name="T19" fmla="*/ 14 h 38"/>
                <a:gd name="T20" fmla="*/ 33 w 70"/>
                <a:gd name="T21" fmla="*/ 16 h 38"/>
                <a:gd name="T22" fmla="*/ 30 w 70"/>
                <a:gd name="T23" fmla="*/ 19 h 38"/>
                <a:gd name="T24" fmla="*/ 30 w 70"/>
                <a:gd name="T25" fmla="*/ 21 h 38"/>
                <a:gd name="T26" fmla="*/ 33 w 70"/>
                <a:gd name="T27" fmla="*/ 23 h 38"/>
                <a:gd name="T28" fmla="*/ 35 w 70"/>
                <a:gd name="T29" fmla="*/ 21 h 38"/>
                <a:gd name="T30" fmla="*/ 37 w 70"/>
                <a:gd name="T31" fmla="*/ 21 h 38"/>
                <a:gd name="T32" fmla="*/ 40 w 70"/>
                <a:gd name="T33" fmla="*/ 23 h 38"/>
                <a:gd name="T34" fmla="*/ 42 w 70"/>
                <a:gd name="T35" fmla="*/ 23 h 38"/>
                <a:gd name="T36" fmla="*/ 44 w 70"/>
                <a:gd name="T37" fmla="*/ 21 h 38"/>
                <a:gd name="T38" fmla="*/ 52 w 70"/>
                <a:gd name="T39" fmla="*/ 14 h 38"/>
                <a:gd name="T40" fmla="*/ 54 w 70"/>
                <a:gd name="T41" fmla="*/ 12 h 38"/>
                <a:gd name="T42" fmla="*/ 56 w 70"/>
                <a:gd name="T43" fmla="*/ 14 h 38"/>
                <a:gd name="T44" fmla="*/ 59 w 70"/>
                <a:gd name="T45" fmla="*/ 12 h 38"/>
                <a:gd name="T46" fmla="*/ 59 w 70"/>
                <a:gd name="T47" fmla="*/ 9 h 38"/>
                <a:gd name="T48" fmla="*/ 59 w 70"/>
                <a:gd name="T49" fmla="*/ 4 h 38"/>
                <a:gd name="T50" fmla="*/ 56 w 70"/>
                <a:gd name="T51" fmla="*/ 2 h 38"/>
                <a:gd name="T52" fmla="*/ 56 w 70"/>
                <a:gd name="T53" fmla="*/ 0 h 38"/>
                <a:gd name="T54" fmla="*/ 61 w 70"/>
                <a:gd name="T55" fmla="*/ 0 h 38"/>
                <a:gd name="T56" fmla="*/ 61 w 70"/>
                <a:gd name="T57" fmla="*/ 2 h 38"/>
                <a:gd name="T58" fmla="*/ 63 w 70"/>
                <a:gd name="T59" fmla="*/ 2 h 38"/>
                <a:gd name="T60" fmla="*/ 66 w 70"/>
                <a:gd name="T61" fmla="*/ 0 h 38"/>
                <a:gd name="T62" fmla="*/ 68 w 70"/>
                <a:gd name="T63" fmla="*/ 0 h 38"/>
                <a:gd name="T64" fmla="*/ 70 w 70"/>
                <a:gd name="T65" fmla="*/ 0 h 38"/>
                <a:gd name="T66" fmla="*/ 70 w 70"/>
                <a:gd name="T67" fmla="*/ 4 h 38"/>
                <a:gd name="T68" fmla="*/ 70 w 70"/>
                <a:gd name="T69" fmla="*/ 9 h 38"/>
                <a:gd name="T70" fmla="*/ 70 w 70"/>
                <a:gd name="T71" fmla="*/ 12 h 38"/>
                <a:gd name="T72" fmla="*/ 68 w 70"/>
                <a:gd name="T73" fmla="*/ 14 h 38"/>
                <a:gd name="T74" fmla="*/ 66 w 70"/>
                <a:gd name="T75" fmla="*/ 14 h 38"/>
                <a:gd name="T76" fmla="*/ 66 w 70"/>
                <a:gd name="T77" fmla="*/ 16 h 38"/>
                <a:gd name="T78" fmla="*/ 68 w 70"/>
                <a:gd name="T79" fmla="*/ 19 h 38"/>
                <a:gd name="T80" fmla="*/ 66 w 70"/>
                <a:gd name="T81" fmla="*/ 23 h 38"/>
                <a:gd name="T82" fmla="*/ 63 w 70"/>
                <a:gd name="T83" fmla="*/ 23 h 38"/>
                <a:gd name="T84" fmla="*/ 59 w 70"/>
                <a:gd name="T85" fmla="*/ 23 h 38"/>
                <a:gd name="T86" fmla="*/ 56 w 70"/>
                <a:gd name="T87" fmla="*/ 26 h 38"/>
                <a:gd name="T88" fmla="*/ 56 w 70"/>
                <a:gd name="T89" fmla="*/ 28 h 38"/>
                <a:gd name="T90" fmla="*/ 54 w 70"/>
                <a:gd name="T91" fmla="*/ 30 h 38"/>
                <a:gd name="T92" fmla="*/ 44 w 70"/>
                <a:gd name="T93" fmla="*/ 35 h 38"/>
                <a:gd name="T94" fmla="*/ 42 w 70"/>
                <a:gd name="T95" fmla="*/ 35 h 38"/>
                <a:gd name="T96" fmla="*/ 40 w 70"/>
                <a:gd name="T97" fmla="*/ 35 h 38"/>
                <a:gd name="T98" fmla="*/ 33 w 70"/>
                <a:gd name="T99" fmla="*/ 35 h 38"/>
                <a:gd name="T100" fmla="*/ 30 w 70"/>
                <a:gd name="T101" fmla="*/ 38 h 38"/>
                <a:gd name="T102" fmla="*/ 26 w 70"/>
                <a:gd name="T103" fmla="*/ 38 h 38"/>
                <a:gd name="T104" fmla="*/ 21 w 70"/>
                <a:gd name="T105" fmla="*/ 33 h 38"/>
                <a:gd name="T106" fmla="*/ 18 w 70"/>
                <a:gd name="T107" fmla="*/ 33 h 38"/>
                <a:gd name="T108" fmla="*/ 16 w 70"/>
                <a:gd name="T109" fmla="*/ 35 h 38"/>
                <a:gd name="T110" fmla="*/ 9 w 70"/>
                <a:gd name="T111" fmla="*/ 30 h 38"/>
                <a:gd name="T112" fmla="*/ 4 w 70"/>
                <a:gd name="T113" fmla="*/ 28 h 38"/>
                <a:gd name="T114" fmla="*/ 2 w 70"/>
                <a:gd name="T115" fmla="*/ 26 h 38"/>
                <a:gd name="T116" fmla="*/ 0 w 70"/>
                <a:gd name="T117"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 h="38">
                  <a:moveTo>
                    <a:pt x="0" y="23"/>
                  </a:moveTo>
                  <a:lnTo>
                    <a:pt x="2" y="21"/>
                  </a:lnTo>
                  <a:lnTo>
                    <a:pt x="4" y="23"/>
                  </a:lnTo>
                  <a:lnTo>
                    <a:pt x="16" y="23"/>
                  </a:lnTo>
                  <a:lnTo>
                    <a:pt x="26" y="23"/>
                  </a:lnTo>
                  <a:lnTo>
                    <a:pt x="28" y="21"/>
                  </a:lnTo>
                  <a:lnTo>
                    <a:pt x="28" y="19"/>
                  </a:lnTo>
                  <a:lnTo>
                    <a:pt x="28" y="19"/>
                  </a:lnTo>
                  <a:lnTo>
                    <a:pt x="30" y="16"/>
                  </a:lnTo>
                  <a:lnTo>
                    <a:pt x="33" y="14"/>
                  </a:lnTo>
                  <a:lnTo>
                    <a:pt x="33" y="16"/>
                  </a:lnTo>
                  <a:lnTo>
                    <a:pt x="30" y="19"/>
                  </a:lnTo>
                  <a:lnTo>
                    <a:pt x="30" y="21"/>
                  </a:lnTo>
                  <a:lnTo>
                    <a:pt x="33" y="23"/>
                  </a:lnTo>
                  <a:lnTo>
                    <a:pt x="35" y="21"/>
                  </a:lnTo>
                  <a:lnTo>
                    <a:pt x="37" y="21"/>
                  </a:lnTo>
                  <a:lnTo>
                    <a:pt x="40" y="23"/>
                  </a:lnTo>
                  <a:lnTo>
                    <a:pt x="42" y="23"/>
                  </a:lnTo>
                  <a:lnTo>
                    <a:pt x="44" y="21"/>
                  </a:lnTo>
                  <a:lnTo>
                    <a:pt x="52" y="14"/>
                  </a:lnTo>
                  <a:lnTo>
                    <a:pt x="54" y="12"/>
                  </a:lnTo>
                  <a:lnTo>
                    <a:pt x="56" y="14"/>
                  </a:lnTo>
                  <a:lnTo>
                    <a:pt x="59" y="12"/>
                  </a:lnTo>
                  <a:lnTo>
                    <a:pt x="59" y="9"/>
                  </a:lnTo>
                  <a:lnTo>
                    <a:pt x="59" y="4"/>
                  </a:lnTo>
                  <a:lnTo>
                    <a:pt x="56" y="2"/>
                  </a:lnTo>
                  <a:lnTo>
                    <a:pt x="56" y="0"/>
                  </a:lnTo>
                  <a:lnTo>
                    <a:pt x="61" y="0"/>
                  </a:lnTo>
                  <a:lnTo>
                    <a:pt x="61" y="2"/>
                  </a:lnTo>
                  <a:lnTo>
                    <a:pt x="63" y="2"/>
                  </a:lnTo>
                  <a:lnTo>
                    <a:pt x="66" y="0"/>
                  </a:lnTo>
                  <a:lnTo>
                    <a:pt x="68" y="0"/>
                  </a:lnTo>
                  <a:lnTo>
                    <a:pt x="70" y="0"/>
                  </a:lnTo>
                  <a:lnTo>
                    <a:pt x="70" y="4"/>
                  </a:lnTo>
                  <a:lnTo>
                    <a:pt x="70" y="9"/>
                  </a:lnTo>
                  <a:lnTo>
                    <a:pt x="70" y="12"/>
                  </a:lnTo>
                  <a:lnTo>
                    <a:pt x="68" y="14"/>
                  </a:lnTo>
                  <a:lnTo>
                    <a:pt x="66" y="14"/>
                  </a:lnTo>
                  <a:lnTo>
                    <a:pt x="66" y="16"/>
                  </a:lnTo>
                  <a:lnTo>
                    <a:pt x="68" y="19"/>
                  </a:lnTo>
                  <a:lnTo>
                    <a:pt x="66" y="23"/>
                  </a:lnTo>
                  <a:lnTo>
                    <a:pt x="63" y="23"/>
                  </a:lnTo>
                  <a:lnTo>
                    <a:pt x="59" y="23"/>
                  </a:lnTo>
                  <a:lnTo>
                    <a:pt x="56" y="26"/>
                  </a:lnTo>
                  <a:lnTo>
                    <a:pt x="56" y="28"/>
                  </a:lnTo>
                  <a:lnTo>
                    <a:pt x="54" y="30"/>
                  </a:lnTo>
                  <a:lnTo>
                    <a:pt x="44" y="35"/>
                  </a:lnTo>
                  <a:lnTo>
                    <a:pt x="42" y="35"/>
                  </a:lnTo>
                  <a:lnTo>
                    <a:pt x="40" y="35"/>
                  </a:lnTo>
                  <a:lnTo>
                    <a:pt x="33" y="35"/>
                  </a:lnTo>
                  <a:lnTo>
                    <a:pt x="30" y="38"/>
                  </a:lnTo>
                  <a:lnTo>
                    <a:pt x="26" y="38"/>
                  </a:lnTo>
                  <a:lnTo>
                    <a:pt x="21" y="33"/>
                  </a:lnTo>
                  <a:lnTo>
                    <a:pt x="18" y="33"/>
                  </a:lnTo>
                  <a:lnTo>
                    <a:pt x="16" y="35"/>
                  </a:lnTo>
                  <a:lnTo>
                    <a:pt x="9" y="30"/>
                  </a:lnTo>
                  <a:lnTo>
                    <a:pt x="4" y="28"/>
                  </a:lnTo>
                  <a:lnTo>
                    <a:pt x="2" y="26"/>
                  </a:lnTo>
                  <a:lnTo>
                    <a:pt x="0" y="2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7" name="Freeform 796">
              <a:extLst>
                <a:ext uri="{FF2B5EF4-FFF2-40B4-BE49-F238E27FC236}">
                  <a16:creationId xmlns:a16="http://schemas.microsoft.com/office/drawing/2014/main" id="{8C9AE42D-FB67-42C8-BDDC-0470848AE911}"/>
                </a:ext>
              </a:extLst>
            </p:cNvPr>
            <p:cNvSpPr>
              <a:spLocks/>
            </p:cNvSpPr>
            <p:nvPr/>
          </p:nvSpPr>
          <p:spPr bwMode="auto">
            <a:xfrm>
              <a:off x="8285674" y="4908691"/>
              <a:ext cx="8273" cy="13236"/>
            </a:xfrm>
            <a:custGeom>
              <a:avLst/>
              <a:gdLst>
                <a:gd name="T0" fmla="*/ 0 w 5"/>
                <a:gd name="T1" fmla="*/ 0 h 8"/>
                <a:gd name="T2" fmla="*/ 3 w 5"/>
                <a:gd name="T3" fmla="*/ 3 h 8"/>
                <a:gd name="T4" fmla="*/ 5 w 5"/>
                <a:gd name="T5" fmla="*/ 5 h 8"/>
                <a:gd name="T6" fmla="*/ 5 w 5"/>
                <a:gd name="T7" fmla="*/ 8 h 8"/>
                <a:gd name="T8" fmla="*/ 3 w 5"/>
                <a:gd name="T9" fmla="*/ 8 h 8"/>
                <a:gd name="T10" fmla="*/ 3 w 5"/>
                <a:gd name="T11" fmla="*/ 5 h 8"/>
                <a:gd name="T12" fmla="*/ 0 w 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0" y="0"/>
                  </a:moveTo>
                  <a:lnTo>
                    <a:pt x="3" y="3"/>
                  </a:lnTo>
                  <a:lnTo>
                    <a:pt x="5" y="5"/>
                  </a:lnTo>
                  <a:lnTo>
                    <a:pt x="5" y="8"/>
                  </a:lnTo>
                  <a:lnTo>
                    <a:pt x="3" y="8"/>
                  </a:lnTo>
                  <a:lnTo>
                    <a:pt x="3" y="5"/>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8" name="Freeform 797">
              <a:extLst>
                <a:ext uri="{FF2B5EF4-FFF2-40B4-BE49-F238E27FC236}">
                  <a16:creationId xmlns:a16="http://schemas.microsoft.com/office/drawing/2014/main" id="{79C084DB-1944-4F20-9DAF-38E622B1DC41}"/>
                </a:ext>
              </a:extLst>
            </p:cNvPr>
            <p:cNvSpPr>
              <a:spLocks/>
            </p:cNvSpPr>
            <p:nvPr/>
          </p:nvSpPr>
          <p:spPr bwMode="auto">
            <a:xfrm>
              <a:off x="8285674" y="4908691"/>
              <a:ext cx="8273" cy="13236"/>
            </a:xfrm>
            <a:custGeom>
              <a:avLst/>
              <a:gdLst>
                <a:gd name="T0" fmla="*/ 0 w 5"/>
                <a:gd name="T1" fmla="*/ 0 h 8"/>
                <a:gd name="T2" fmla="*/ 3 w 5"/>
                <a:gd name="T3" fmla="*/ 3 h 8"/>
                <a:gd name="T4" fmla="*/ 5 w 5"/>
                <a:gd name="T5" fmla="*/ 5 h 8"/>
                <a:gd name="T6" fmla="*/ 5 w 5"/>
                <a:gd name="T7" fmla="*/ 8 h 8"/>
                <a:gd name="T8" fmla="*/ 3 w 5"/>
                <a:gd name="T9" fmla="*/ 8 h 8"/>
                <a:gd name="T10" fmla="*/ 3 w 5"/>
                <a:gd name="T11" fmla="*/ 5 h 8"/>
                <a:gd name="T12" fmla="*/ 0 w 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0" y="0"/>
                  </a:moveTo>
                  <a:lnTo>
                    <a:pt x="3" y="3"/>
                  </a:lnTo>
                  <a:lnTo>
                    <a:pt x="5" y="5"/>
                  </a:lnTo>
                  <a:lnTo>
                    <a:pt x="5" y="8"/>
                  </a:lnTo>
                  <a:lnTo>
                    <a:pt x="3" y="8"/>
                  </a:lnTo>
                  <a:lnTo>
                    <a:pt x="3" y="5"/>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299" name="Freeform 798">
              <a:extLst>
                <a:ext uri="{FF2B5EF4-FFF2-40B4-BE49-F238E27FC236}">
                  <a16:creationId xmlns:a16="http://schemas.microsoft.com/office/drawing/2014/main" id="{B5117AF7-3BDB-4F20-8369-EC821ACE5676}"/>
                </a:ext>
              </a:extLst>
            </p:cNvPr>
            <p:cNvSpPr>
              <a:spLocks/>
            </p:cNvSpPr>
            <p:nvPr/>
          </p:nvSpPr>
          <p:spPr bwMode="auto">
            <a:xfrm>
              <a:off x="8222805" y="4921927"/>
              <a:ext cx="16545" cy="11581"/>
            </a:xfrm>
            <a:custGeom>
              <a:avLst/>
              <a:gdLst>
                <a:gd name="T0" fmla="*/ 3 w 10"/>
                <a:gd name="T1" fmla="*/ 0 h 7"/>
                <a:gd name="T2" fmla="*/ 5 w 10"/>
                <a:gd name="T3" fmla="*/ 0 h 7"/>
                <a:gd name="T4" fmla="*/ 7 w 10"/>
                <a:gd name="T5" fmla="*/ 2 h 7"/>
                <a:gd name="T6" fmla="*/ 10 w 10"/>
                <a:gd name="T7" fmla="*/ 7 h 7"/>
                <a:gd name="T8" fmla="*/ 3 w 10"/>
                <a:gd name="T9" fmla="*/ 4 h 7"/>
                <a:gd name="T10" fmla="*/ 0 w 10"/>
                <a:gd name="T11" fmla="*/ 0 h 7"/>
                <a:gd name="T12" fmla="*/ 3 w 1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3" y="0"/>
                  </a:moveTo>
                  <a:lnTo>
                    <a:pt x="5" y="0"/>
                  </a:lnTo>
                  <a:lnTo>
                    <a:pt x="7" y="2"/>
                  </a:lnTo>
                  <a:lnTo>
                    <a:pt x="10" y="7"/>
                  </a:lnTo>
                  <a:lnTo>
                    <a:pt x="3" y="4"/>
                  </a:lnTo>
                  <a:lnTo>
                    <a:pt x="0"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0" name="Freeform 799">
              <a:extLst>
                <a:ext uri="{FF2B5EF4-FFF2-40B4-BE49-F238E27FC236}">
                  <a16:creationId xmlns:a16="http://schemas.microsoft.com/office/drawing/2014/main" id="{CFAEBD32-1DA1-415F-A99F-A1B7E5CECEC9}"/>
                </a:ext>
              </a:extLst>
            </p:cNvPr>
            <p:cNvSpPr>
              <a:spLocks/>
            </p:cNvSpPr>
            <p:nvPr/>
          </p:nvSpPr>
          <p:spPr bwMode="auto">
            <a:xfrm>
              <a:off x="8222805" y="4921927"/>
              <a:ext cx="16545" cy="11581"/>
            </a:xfrm>
            <a:custGeom>
              <a:avLst/>
              <a:gdLst>
                <a:gd name="T0" fmla="*/ 3 w 10"/>
                <a:gd name="T1" fmla="*/ 0 h 7"/>
                <a:gd name="T2" fmla="*/ 5 w 10"/>
                <a:gd name="T3" fmla="*/ 0 h 7"/>
                <a:gd name="T4" fmla="*/ 7 w 10"/>
                <a:gd name="T5" fmla="*/ 2 h 7"/>
                <a:gd name="T6" fmla="*/ 10 w 10"/>
                <a:gd name="T7" fmla="*/ 7 h 7"/>
                <a:gd name="T8" fmla="*/ 3 w 10"/>
                <a:gd name="T9" fmla="*/ 4 h 7"/>
                <a:gd name="T10" fmla="*/ 0 w 10"/>
                <a:gd name="T11" fmla="*/ 0 h 7"/>
                <a:gd name="T12" fmla="*/ 3 w 1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3" y="0"/>
                  </a:moveTo>
                  <a:lnTo>
                    <a:pt x="5" y="0"/>
                  </a:lnTo>
                  <a:lnTo>
                    <a:pt x="7" y="2"/>
                  </a:lnTo>
                  <a:lnTo>
                    <a:pt x="10" y="7"/>
                  </a:lnTo>
                  <a:lnTo>
                    <a:pt x="3" y="4"/>
                  </a:lnTo>
                  <a:lnTo>
                    <a:pt x="0"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1" name="Freeform 800">
              <a:extLst>
                <a:ext uri="{FF2B5EF4-FFF2-40B4-BE49-F238E27FC236}">
                  <a16:creationId xmlns:a16="http://schemas.microsoft.com/office/drawing/2014/main" id="{355CACCA-55DC-4709-828C-A7AFD43A0B6F}"/>
                </a:ext>
              </a:extLst>
            </p:cNvPr>
            <p:cNvSpPr>
              <a:spLocks/>
            </p:cNvSpPr>
            <p:nvPr/>
          </p:nvSpPr>
          <p:spPr bwMode="auto">
            <a:xfrm>
              <a:off x="8234387" y="4933508"/>
              <a:ext cx="13236" cy="11581"/>
            </a:xfrm>
            <a:custGeom>
              <a:avLst/>
              <a:gdLst>
                <a:gd name="T0" fmla="*/ 0 w 8"/>
                <a:gd name="T1" fmla="*/ 0 h 7"/>
                <a:gd name="T2" fmla="*/ 3 w 8"/>
                <a:gd name="T3" fmla="*/ 2 h 7"/>
                <a:gd name="T4" fmla="*/ 5 w 8"/>
                <a:gd name="T5" fmla="*/ 4 h 7"/>
                <a:gd name="T6" fmla="*/ 5 w 8"/>
                <a:gd name="T7" fmla="*/ 2 h 7"/>
                <a:gd name="T8" fmla="*/ 8 w 8"/>
                <a:gd name="T9" fmla="*/ 4 h 7"/>
                <a:gd name="T10" fmla="*/ 8 w 8"/>
                <a:gd name="T11" fmla="*/ 7 h 7"/>
                <a:gd name="T12" fmla="*/ 5 w 8"/>
                <a:gd name="T13" fmla="*/ 7 h 7"/>
                <a:gd name="T14" fmla="*/ 0 w 8"/>
                <a:gd name="T15" fmla="*/ 2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3" y="2"/>
                  </a:lnTo>
                  <a:lnTo>
                    <a:pt x="5" y="4"/>
                  </a:lnTo>
                  <a:lnTo>
                    <a:pt x="5" y="2"/>
                  </a:lnTo>
                  <a:lnTo>
                    <a:pt x="8" y="4"/>
                  </a:lnTo>
                  <a:lnTo>
                    <a:pt x="8" y="7"/>
                  </a:lnTo>
                  <a:lnTo>
                    <a:pt x="5" y="7"/>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2" name="Freeform 801">
              <a:extLst>
                <a:ext uri="{FF2B5EF4-FFF2-40B4-BE49-F238E27FC236}">
                  <a16:creationId xmlns:a16="http://schemas.microsoft.com/office/drawing/2014/main" id="{18968DD0-C98C-414A-BD87-468B3CA21D40}"/>
                </a:ext>
              </a:extLst>
            </p:cNvPr>
            <p:cNvSpPr>
              <a:spLocks/>
            </p:cNvSpPr>
            <p:nvPr/>
          </p:nvSpPr>
          <p:spPr bwMode="auto">
            <a:xfrm>
              <a:off x="8234387" y="4933508"/>
              <a:ext cx="13236" cy="11581"/>
            </a:xfrm>
            <a:custGeom>
              <a:avLst/>
              <a:gdLst>
                <a:gd name="T0" fmla="*/ 0 w 8"/>
                <a:gd name="T1" fmla="*/ 0 h 7"/>
                <a:gd name="T2" fmla="*/ 3 w 8"/>
                <a:gd name="T3" fmla="*/ 2 h 7"/>
                <a:gd name="T4" fmla="*/ 5 w 8"/>
                <a:gd name="T5" fmla="*/ 4 h 7"/>
                <a:gd name="T6" fmla="*/ 5 w 8"/>
                <a:gd name="T7" fmla="*/ 2 h 7"/>
                <a:gd name="T8" fmla="*/ 8 w 8"/>
                <a:gd name="T9" fmla="*/ 4 h 7"/>
                <a:gd name="T10" fmla="*/ 8 w 8"/>
                <a:gd name="T11" fmla="*/ 7 h 7"/>
                <a:gd name="T12" fmla="*/ 5 w 8"/>
                <a:gd name="T13" fmla="*/ 7 h 7"/>
                <a:gd name="T14" fmla="*/ 0 w 8"/>
                <a:gd name="T15" fmla="*/ 2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3" y="2"/>
                  </a:lnTo>
                  <a:lnTo>
                    <a:pt x="5" y="4"/>
                  </a:lnTo>
                  <a:lnTo>
                    <a:pt x="5" y="2"/>
                  </a:lnTo>
                  <a:lnTo>
                    <a:pt x="8" y="4"/>
                  </a:lnTo>
                  <a:lnTo>
                    <a:pt x="8" y="7"/>
                  </a:lnTo>
                  <a:lnTo>
                    <a:pt x="5" y="7"/>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3" name="Freeform 847">
              <a:extLst>
                <a:ext uri="{FF2B5EF4-FFF2-40B4-BE49-F238E27FC236}">
                  <a16:creationId xmlns:a16="http://schemas.microsoft.com/office/drawing/2014/main" id="{70FF4E93-C358-4D75-B613-24982DBDA567}"/>
                </a:ext>
              </a:extLst>
            </p:cNvPr>
            <p:cNvSpPr>
              <a:spLocks/>
            </p:cNvSpPr>
            <p:nvPr/>
          </p:nvSpPr>
          <p:spPr bwMode="auto">
            <a:xfrm>
              <a:off x="7949825" y="4725050"/>
              <a:ext cx="284562" cy="234929"/>
            </a:xfrm>
            <a:custGeom>
              <a:avLst/>
              <a:gdLst>
                <a:gd name="T0" fmla="*/ 2 w 172"/>
                <a:gd name="T1" fmla="*/ 43 h 142"/>
                <a:gd name="T2" fmla="*/ 0 w 172"/>
                <a:gd name="T3" fmla="*/ 74 h 142"/>
                <a:gd name="T4" fmla="*/ 2 w 172"/>
                <a:gd name="T5" fmla="*/ 111 h 142"/>
                <a:gd name="T6" fmla="*/ 9 w 172"/>
                <a:gd name="T7" fmla="*/ 116 h 142"/>
                <a:gd name="T8" fmla="*/ 19 w 172"/>
                <a:gd name="T9" fmla="*/ 116 h 142"/>
                <a:gd name="T10" fmla="*/ 31 w 172"/>
                <a:gd name="T11" fmla="*/ 119 h 142"/>
                <a:gd name="T12" fmla="*/ 40 w 172"/>
                <a:gd name="T13" fmla="*/ 111 h 142"/>
                <a:gd name="T14" fmla="*/ 38 w 172"/>
                <a:gd name="T15" fmla="*/ 102 h 142"/>
                <a:gd name="T16" fmla="*/ 45 w 172"/>
                <a:gd name="T17" fmla="*/ 97 h 142"/>
                <a:gd name="T18" fmla="*/ 50 w 172"/>
                <a:gd name="T19" fmla="*/ 95 h 142"/>
                <a:gd name="T20" fmla="*/ 50 w 172"/>
                <a:gd name="T21" fmla="*/ 88 h 142"/>
                <a:gd name="T22" fmla="*/ 57 w 172"/>
                <a:gd name="T23" fmla="*/ 88 h 142"/>
                <a:gd name="T24" fmla="*/ 64 w 172"/>
                <a:gd name="T25" fmla="*/ 88 h 142"/>
                <a:gd name="T26" fmla="*/ 66 w 172"/>
                <a:gd name="T27" fmla="*/ 90 h 142"/>
                <a:gd name="T28" fmla="*/ 73 w 172"/>
                <a:gd name="T29" fmla="*/ 93 h 142"/>
                <a:gd name="T30" fmla="*/ 83 w 172"/>
                <a:gd name="T31" fmla="*/ 95 h 142"/>
                <a:gd name="T32" fmla="*/ 92 w 172"/>
                <a:gd name="T33" fmla="*/ 104 h 142"/>
                <a:gd name="T34" fmla="*/ 106 w 172"/>
                <a:gd name="T35" fmla="*/ 114 h 142"/>
                <a:gd name="T36" fmla="*/ 106 w 172"/>
                <a:gd name="T37" fmla="*/ 119 h 142"/>
                <a:gd name="T38" fmla="*/ 113 w 172"/>
                <a:gd name="T39" fmla="*/ 126 h 142"/>
                <a:gd name="T40" fmla="*/ 123 w 172"/>
                <a:gd name="T41" fmla="*/ 133 h 142"/>
                <a:gd name="T42" fmla="*/ 135 w 172"/>
                <a:gd name="T43" fmla="*/ 133 h 142"/>
                <a:gd name="T44" fmla="*/ 158 w 172"/>
                <a:gd name="T45" fmla="*/ 140 h 142"/>
                <a:gd name="T46" fmla="*/ 168 w 172"/>
                <a:gd name="T47" fmla="*/ 140 h 142"/>
                <a:gd name="T48" fmla="*/ 163 w 172"/>
                <a:gd name="T49" fmla="*/ 137 h 142"/>
                <a:gd name="T50" fmla="*/ 172 w 172"/>
                <a:gd name="T51" fmla="*/ 135 h 142"/>
                <a:gd name="T52" fmla="*/ 161 w 172"/>
                <a:gd name="T53" fmla="*/ 133 h 142"/>
                <a:gd name="T54" fmla="*/ 158 w 172"/>
                <a:gd name="T55" fmla="*/ 126 h 142"/>
                <a:gd name="T56" fmla="*/ 146 w 172"/>
                <a:gd name="T57" fmla="*/ 123 h 142"/>
                <a:gd name="T58" fmla="*/ 144 w 172"/>
                <a:gd name="T59" fmla="*/ 114 h 142"/>
                <a:gd name="T60" fmla="*/ 132 w 172"/>
                <a:gd name="T61" fmla="*/ 111 h 142"/>
                <a:gd name="T62" fmla="*/ 128 w 172"/>
                <a:gd name="T63" fmla="*/ 102 h 142"/>
                <a:gd name="T64" fmla="*/ 125 w 172"/>
                <a:gd name="T65" fmla="*/ 97 h 142"/>
                <a:gd name="T66" fmla="*/ 118 w 172"/>
                <a:gd name="T67" fmla="*/ 90 h 142"/>
                <a:gd name="T68" fmla="*/ 109 w 172"/>
                <a:gd name="T69" fmla="*/ 81 h 142"/>
                <a:gd name="T70" fmla="*/ 109 w 172"/>
                <a:gd name="T71" fmla="*/ 74 h 142"/>
                <a:gd name="T72" fmla="*/ 118 w 172"/>
                <a:gd name="T73" fmla="*/ 74 h 142"/>
                <a:gd name="T74" fmla="*/ 120 w 172"/>
                <a:gd name="T75" fmla="*/ 64 h 142"/>
                <a:gd name="T76" fmla="*/ 111 w 172"/>
                <a:gd name="T77" fmla="*/ 59 h 142"/>
                <a:gd name="T78" fmla="*/ 95 w 172"/>
                <a:gd name="T79" fmla="*/ 52 h 142"/>
                <a:gd name="T80" fmla="*/ 85 w 172"/>
                <a:gd name="T81" fmla="*/ 43 h 142"/>
                <a:gd name="T82" fmla="*/ 76 w 172"/>
                <a:gd name="T83" fmla="*/ 33 h 142"/>
                <a:gd name="T84" fmla="*/ 61 w 172"/>
                <a:gd name="T85" fmla="*/ 24 h 142"/>
                <a:gd name="T86" fmla="*/ 52 w 172"/>
                <a:gd name="T87" fmla="*/ 19 h 142"/>
                <a:gd name="T88" fmla="*/ 28 w 172"/>
                <a:gd name="T89" fmla="*/ 12 h 142"/>
                <a:gd name="T90" fmla="*/ 14 w 172"/>
                <a:gd name="T91" fmla="*/ 5 h 142"/>
                <a:gd name="T92" fmla="*/ 0 w 172"/>
                <a:gd name="T9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42">
                  <a:moveTo>
                    <a:pt x="0" y="0"/>
                  </a:moveTo>
                  <a:lnTo>
                    <a:pt x="0" y="3"/>
                  </a:lnTo>
                  <a:lnTo>
                    <a:pt x="2" y="43"/>
                  </a:lnTo>
                  <a:lnTo>
                    <a:pt x="2" y="67"/>
                  </a:lnTo>
                  <a:lnTo>
                    <a:pt x="0" y="74"/>
                  </a:lnTo>
                  <a:lnTo>
                    <a:pt x="0" y="74"/>
                  </a:lnTo>
                  <a:lnTo>
                    <a:pt x="2" y="78"/>
                  </a:lnTo>
                  <a:lnTo>
                    <a:pt x="2" y="93"/>
                  </a:lnTo>
                  <a:lnTo>
                    <a:pt x="2" y="111"/>
                  </a:lnTo>
                  <a:lnTo>
                    <a:pt x="5" y="116"/>
                  </a:lnTo>
                  <a:lnTo>
                    <a:pt x="9" y="114"/>
                  </a:lnTo>
                  <a:lnTo>
                    <a:pt x="9" y="116"/>
                  </a:lnTo>
                  <a:lnTo>
                    <a:pt x="12" y="116"/>
                  </a:lnTo>
                  <a:lnTo>
                    <a:pt x="14" y="116"/>
                  </a:lnTo>
                  <a:lnTo>
                    <a:pt x="19" y="116"/>
                  </a:lnTo>
                  <a:lnTo>
                    <a:pt x="24" y="116"/>
                  </a:lnTo>
                  <a:lnTo>
                    <a:pt x="24" y="116"/>
                  </a:lnTo>
                  <a:lnTo>
                    <a:pt x="31" y="119"/>
                  </a:lnTo>
                  <a:lnTo>
                    <a:pt x="31" y="116"/>
                  </a:lnTo>
                  <a:lnTo>
                    <a:pt x="35" y="114"/>
                  </a:lnTo>
                  <a:lnTo>
                    <a:pt x="40" y="111"/>
                  </a:lnTo>
                  <a:lnTo>
                    <a:pt x="40" y="111"/>
                  </a:lnTo>
                  <a:lnTo>
                    <a:pt x="40" y="107"/>
                  </a:lnTo>
                  <a:lnTo>
                    <a:pt x="38" y="102"/>
                  </a:lnTo>
                  <a:lnTo>
                    <a:pt x="35" y="102"/>
                  </a:lnTo>
                  <a:lnTo>
                    <a:pt x="43" y="100"/>
                  </a:lnTo>
                  <a:lnTo>
                    <a:pt x="45" y="97"/>
                  </a:lnTo>
                  <a:lnTo>
                    <a:pt x="43" y="97"/>
                  </a:lnTo>
                  <a:lnTo>
                    <a:pt x="45" y="95"/>
                  </a:lnTo>
                  <a:lnTo>
                    <a:pt x="50" y="95"/>
                  </a:lnTo>
                  <a:lnTo>
                    <a:pt x="52" y="95"/>
                  </a:lnTo>
                  <a:lnTo>
                    <a:pt x="50" y="93"/>
                  </a:lnTo>
                  <a:lnTo>
                    <a:pt x="50" y="88"/>
                  </a:lnTo>
                  <a:lnTo>
                    <a:pt x="52" y="88"/>
                  </a:lnTo>
                  <a:lnTo>
                    <a:pt x="54" y="90"/>
                  </a:lnTo>
                  <a:lnTo>
                    <a:pt x="57" y="88"/>
                  </a:lnTo>
                  <a:lnTo>
                    <a:pt x="59" y="88"/>
                  </a:lnTo>
                  <a:lnTo>
                    <a:pt x="59" y="85"/>
                  </a:lnTo>
                  <a:lnTo>
                    <a:pt x="64" y="88"/>
                  </a:lnTo>
                  <a:lnTo>
                    <a:pt x="64" y="88"/>
                  </a:lnTo>
                  <a:lnTo>
                    <a:pt x="66" y="88"/>
                  </a:lnTo>
                  <a:lnTo>
                    <a:pt x="66" y="90"/>
                  </a:lnTo>
                  <a:lnTo>
                    <a:pt x="69" y="90"/>
                  </a:lnTo>
                  <a:lnTo>
                    <a:pt x="71" y="90"/>
                  </a:lnTo>
                  <a:lnTo>
                    <a:pt x="73" y="93"/>
                  </a:lnTo>
                  <a:lnTo>
                    <a:pt x="76" y="93"/>
                  </a:lnTo>
                  <a:lnTo>
                    <a:pt x="78" y="95"/>
                  </a:lnTo>
                  <a:lnTo>
                    <a:pt x="83" y="95"/>
                  </a:lnTo>
                  <a:lnTo>
                    <a:pt x="87" y="97"/>
                  </a:lnTo>
                  <a:lnTo>
                    <a:pt x="92" y="100"/>
                  </a:lnTo>
                  <a:lnTo>
                    <a:pt x="92" y="104"/>
                  </a:lnTo>
                  <a:lnTo>
                    <a:pt x="97" y="109"/>
                  </a:lnTo>
                  <a:lnTo>
                    <a:pt x="99" y="114"/>
                  </a:lnTo>
                  <a:lnTo>
                    <a:pt x="106" y="114"/>
                  </a:lnTo>
                  <a:lnTo>
                    <a:pt x="104" y="116"/>
                  </a:lnTo>
                  <a:lnTo>
                    <a:pt x="104" y="119"/>
                  </a:lnTo>
                  <a:lnTo>
                    <a:pt x="106" y="119"/>
                  </a:lnTo>
                  <a:lnTo>
                    <a:pt x="109" y="121"/>
                  </a:lnTo>
                  <a:lnTo>
                    <a:pt x="111" y="123"/>
                  </a:lnTo>
                  <a:lnTo>
                    <a:pt x="113" y="126"/>
                  </a:lnTo>
                  <a:lnTo>
                    <a:pt x="118" y="130"/>
                  </a:lnTo>
                  <a:lnTo>
                    <a:pt x="120" y="130"/>
                  </a:lnTo>
                  <a:lnTo>
                    <a:pt x="123" y="133"/>
                  </a:lnTo>
                  <a:lnTo>
                    <a:pt x="128" y="133"/>
                  </a:lnTo>
                  <a:lnTo>
                    <a:pt x="130" y="133"/>
                  </a:lnTo>
                  <a:lnTo>
                    <a:pt x="135" y="133"/>
                  </a:lnTo>
                  <a:lnTo>
                    <a:pt x="142" y="135"/>
                  </a:lnTo>
                  <a:lnTo>
                    <a:pt x="158" y="137"/>
                  </a:lnTo>
                  <a:lnTo>
                    <a:pt x="158" y="140"/>
                  </a:lnTo>
                  <a:lnTo>
                    <a:pt x="158" y="140"/>
                  </a:lnTo>
                  <a:lnTo>
                    <a:pt x="163" y="142"/>
                  </a:lnTo>
                  <a:lnTo>
                    <a:pt x="168" y="140"/>
                  </a:lnTo>
                  <a:lnTo>
                    <a:pt x="168" y="140"/>
                  </a:lnTo>
                  <a:lnTo>
                    <a:pt x="165" y="137"/>
                  </a:lnTo>
                  <a:lnTo>
                    <a:pt x="163" y="137"/>
                  </a:lnTo>
                  <a:lnTo>
                    <a:pt x="165" y="135"/>
                  </a:lnTo>
                  <a:lnTo>
                    <a:pt x="170" y="137"/>
                  </a:lnTo>
                  <a:lnTo>
                    <a:pt x="172" y="135"/>
                  </a:lnTo>
                  <a:lnTo>
                    <a:pt x="172" y="135"/>
                  </a:lnTo>
                  <a:lnTo>
                    <a:pt x="165" y="133"/>
                  </a:lnTo>
                  <a:lnTo>
                    <a:pt x="161" y="133"/>
                  </a:lnTo>
                  <a:lnTo>
                    <a:pt x="154" y="128"/>
                  </a:lnTo>
                  <a:lnTo>
                    <a:pt x="156" y="126"/>
                  </a:lnTo>
                  <a:lnTo>
                    <a:pt x="158" y="126"/>
                  </a:lnTo>
                  <a:lnTo>
                    <a:pt x="154" y="123"/>
                  </a:lnTo>
                  <a:lnTo>
                    <a:pt x="151" y="123"/>
                  </a:lnTo>
                  <a:lnTo>
                    <a:pt x="146" y="123"/>
                  </a:lnTo>
                  <a:lnTo>
                    <a:pt x="144" y="121"/>
                  </a:lnTo>
                  <a:lnTo>
                    <a:pt x="144" y="119"/>
                  </a:lnTo>
                  <a:lnTo>
                    <a:pt x="144" y="114"/>
                  </a:lnTo>
                  <a:lnTo>
                    <a:pt x="144" y="114"/>
                  </a:lnTo>
                  <a:lnTo>
                    <a:pt x="135" y="114"/>
                  </a:lnTo>
                  <a:lnTo>
                    <a:pt x="132" y="111"/>
                  </a:lnTo>
                  <a:lnTo>
                    <a:pt x="130" y="107"/>
                  </a:lnTo>
                  <a:lnTo>
                    <a:pt x="128" y="107"/>
                  </a:lnTo>
                  <a:lnTo>
                    <a:pt x="128" y="102"/>
                  </a:lnTo>
                  <a:lnTo>
                    <a:pt x="125" y="100"/>
                  </a:lnTo>
                  <a:lnTo>
                    <a:pt x="125" y="97"/>
                  </a:lnTo>
                  <a:lnTo>
                    <a:pt x="125" y="97"/>
                  </a:lnTo>
                  <a:lnTo>
                    <a:pt x="123" y="95"/>
                  </a:lnTo>
                  <a:lnTo>
                    <a:pt x="123" y="95"/>
                  </a:lnTo>
                  <a:lnTo>
                    <a:pt x="118" y="90"/>
                  </a:lnTo>
                  <a:lnTo>
                    <a:pt x="113" y="88"/>
                  </a:lnTo>
                  <a:lnTo>
                    <a:pt x="111" y="85"/>
                  </a:lnTo>
                  <a:lnTo>
                    <a:pt x="109" y="81"/>
                  </a:lnTo>
                  <a:lnTo>
                    <a:pt x="109" y="78"/>
                  </a:lnTo>
                  <a:lnTo>
                    <a:pt x="106" y="76"/>
                  </a:lnTo>
                  <a:lnTo>
                    <a:pt x="109" y="74"/>
                  </a:lnTo>
                  <a:lnTo>
                    <a:pt x="111" y="74"/>
                  </a:lnTo>
                  <a:lnTo>
                    <a:pt x="116" y="74"/>
                  </a:lnTo>
                  <a:lnTo>
                    <a:pt x="118" y="74"/>
                  </a:lnTo>
                  <a:lnTo>
                    <a:pt x="120" y="74"/>
                  </a:lnTo>
                  <a:lnTo>
                    <a:pt x="120" y="69"/>
                  </a:lnTo>
                  <a:lnTo>
                    <a:pt x="120" y="64"/>
                  </a:lnTo>
                  <a:lnTo>
                    <a:pt x="116" y="62"/>
                  </a:lnTo>
                  <a:lnTo>
                    <a:pt x="113" y="59"/>
                  </a:lnTo>
                  <a:lnTo>
                    <a:pt x="111" y="59"/>
                  </a:lnTo>
                  <a:lnTo>
                    <a:pt x="104" y="57"/>
                  </a:lnTo>
                  <a:lnTo>
                    <a:pt x="99" y="57"/>
                  </a:lnTo>
                  <a:lnTo>
                    <a:pt x="95" y="52"/>
                  </a:lnTo>
                  <a:lnTo>
                    <a:pt x="85" y="52"/>
                  </a:lnTo>
                  <a:lnTo>
                    <a:pt x="85" y="50"/>
                  </a:lnTo>
                  <a:lnTo>
                    <a:pt x="85" y="43"/>
                  </a:lnTo>
                  <a:lnTo>
                    <a:pt x="83" y="41"/>
                  </a:lnTo>
                  <a:lnTo>
                    <a:pt x="80" y="36"/>
                  </a:lnTo>
                  <a:lnTo>
                    <a:pt x="76" y="33"/>
                  </a:lnTo>
                  <a:lnTo>
                    <a:pt x="71" y="31"/>
                  </a:lnTo>
                  <a:lnTo>
                    <a:pt x="64" y="26"/>
                  </a:lnTo>
                  <a:lnTo>
                    <a:pt x="61" y="24"/>
                  </a:lnTo>
                  <a:lnTo>
                    <a:pt x="59" y="22"/>
                  </a:lnTo>
                  <a:lnTo>
                    <a:pt x="57" y="22"/>
                  </a:lnTo>
                  <a:lnTo>
                    <a:pt x="52" y="19"/>
                  </a:lnTo>
                  <a:lnTo>
                    <a:pt x="40" y="15"/>
                  </a:lnTo>
                  <a:lnTo>
                    <a:pt x="33" y="12"/>
                  </a:lnTo>
                  <a:lnTo>
                    <a:pt x="28" y="12"/>
                  </a:lnTo>
                  <a:lnTo>
                    <a:pt x="26" y="10"/>
                  </a:lnTo>
                  <a:lnTo>
                    <a:pt x="19" y="7"/>
                  </a:lnTo>
                  <a:lnTo>
                    <a:pt x="14" y="5"/>
                  </a:lnTo>
                  <a:lnTo>
                    <a:pt x="9" y="3"/>
                  </a:lnTo>
                  <a:lnTo>
                    <a:pt x="5"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4" name="Freeform 848">
              <a:extLst>
                <a:ext uri="{FF2B5EF4-FFF2-40B4-BE49-F238E27FC236}">
                  <a16:creationId xmlns:a16="http://schemas.microsoft.com/office/drawing/2014/main" id="{F59CAF67-3742-494F-BF47-7475D44FDC23}"/>
                </a:ext>
              </a:extLst>
            </p:cNvPr>
            <p:cNvSpPr>
              <a:spLocks/>
            </p:cNvSpPr>
            <p:nvPr/>
          </p:nvSpPr>
          <p:spPr bwMode="auto">
            <a:xfrm>
              <a:off x="7949825" y="4725050"/>
              <a:ext cx="284562" cy="234929"/>
            </a:xfrm>
            <a:custGeom>
              <a:avLst/>
              <a:gdLst>
                <a:gd name="T0" fmla="*/ 2 w 172"/>
                <a:gd name="T1" fmla="*/ 43 h 142"/>
                <a:gd name="T2" fmla="*/ 0 w 172"/>
                <a:gd name="T3" fmla="*/ 74 h 142"/>
                <a:gd name="T4" fmla="*/ 2 w 172"/>
                <a:gd name="T5" fmla="*/ 111 h 142"/>
                <a:gd name="T6" fmla="*/ 9 w 172"/>
                <a:gd name="T7" fmla="*/ 116 h 142"/>
                <a:gd name="T8" fmla="*/ 19 w 172"/>
                <a:gd name="T9" fmla="*/ 116 h 142"/>
                <a:gd name="T10" fmla="*/ 31 w 172"/>
                <a:gd name="T11" fmla="*/ 119 h 142"/>
                <a:gd name="T12" fmla="*/ 40 w 172"/>
                <a:gd name="T13" fmla="*/ 111 h 142"/>
                <a:gd name="T14" fmla="*/ 38 w 172"/>
                <a:gd name="T15" fmla="*/ 102 h 142"/>
                <a:gd name="T16" fmla="*/ 45 w 172"/>
                <a:gd name="T17" fmla="*/ 97 h 142"/>
                <a:gd name="T18" fmla="*/ 50 w 172"/>
                <a:gd name="T19" fmla="*/ 95 h 142"/>
                <a:gd name="T20" fmla="*/ 50 w 172"/>
                <a:gd name="T21" fmla="*/ 88 h 142"/>
                <a:gd name="T22" fmla="*/ 57 w 172"/>
                <a:gd name="T23" fmla="*/ 88 h 142"/>
                <a:gd name="T24" fmla="*/ 64 w 172"/>
                <a:gd name="T25" fmla="*/ 88 h 142"/>
                <a:gd name="T26" fmla="*/ 66 w 172"/>
                <a:gd name="T27" fmla="*/ 90 h 142"/>
                <a:gd name="T28" fmla="*/ 73 w 172"/>
                <a:gd name="T29" fmla="*/ 93 h 142"/>
                <a:gd name="T30" fmla="*/ 83 w 172"/>
                <a:gd name="T31" fmla="*/ 95 h 142"/>
                <a:gd name="T32" fmla="*/ 92 w 172"/>
                <a:gd name="T33" fmla="*/ 104 h 142"/>
                <a:gd name="T34" fmla="*/ 106 w 172"/>
                <a:gd name="T35" fmla="*/ 114 h 142"/>
                <a:gd name="T36" fmla="*/ 106 w 172"/>
                <a:gd name="T37" fmla="*/ 119 h 142"/>
                <a:gd name="T38" fmla="*/ 113 w 172"/>
                <a:gd name="T39" fmla="*/ 126 h 142"/>
                <a:gd name="T40" fmla="*/ 123 w 172"/>
                <a:gd name="T41" fmla="*/ 133 h 142"/>
                <a:gd name="T42" fmla="*/ 135 w 172"/>
                <a:gd name="T43" fmla="*/ 133 h 142"/>
                <a:gd name="T44" fmla="*/ 158 w 172"/>
                <a:gd name="T45" fmla="*/ 140 h 142"/>
                <a:gd name="T46" fmla="*/ 168 w 172"/>
                <a:gd name="T47" fmla="*/ 140 h 142"/>
                <a:gd name="T48" fmla="*/ 163 w 172"/>
                <a:gd name="T49" fmla="*/ 137 h 142"/>
                <a:gd name="T50" fmla="*/ 172 w 172"/>
                <a:gd name="T51" fmla="*/ 135 h 142"/>
                <a:gd name="T52" fmla="*/ 161 w 172"/>
                <a:gd name="T53" fmla="*/ 133 h 142"/>
                <a:gd name="T54" fmla="*/ 158 w 172"/>
                <a:gd name="T55" fmla="*/ 126 h 142"/>
                <a:gd name="T56" fmla="*/ 146 w 172"/>
                <a:gd name="T57" fmla="*/ 123 h 142"/>
                <a:gd name="T58" fmla="*/ 144 w 172"/>
                <a:gd name="T59" fmla="*/ 114 h 142"/>
                <a:gd name="T60" fmla="*/ 132 w 172"/>
                <a:gd name="T61" fmla="*/ 111 h 142"/>
                <a:gd name="T62" fmla="*/ 128 w 172"/>
                <a:gd name="T63" fmla="*/ 102 h 142"/>
                <a:gd name="T64" fmla="*/ 125 w 172"/>
                <a:gd name="T65" fmla="*/ 97 h 142"/>
                <a:gd name="T66" fmla="*/ 118 w 172"/>
                <a:gd name="T67" fmla="*/ 90 h 142"/>
                <a:gd name="T68" fmla="*/ 109 w 172"/>
                <a:gd name="T69" fmla="*/ 81 h 142"/>
                <a:gd name="T70" fmla="*/ 109 w 172"/>
                <a:gd name="T71" fmla="*/ 74 h 142"/>
                <a:gd name="T72" fmla="*/ 118 w 172"/>
                <a:gd name="T73" fmla="*/ 74 h 142"/>
                <a:gd name="T74" fmla="*/ 120 w 172"/>
                <a:gd name="T75" fmla="*/ 64 h 142"/>
                <a:gd name="T76" fmla="*/ 111 w 172"/>
                <a:gd name="T77" fmla="*/ 59 h 142"/>
                <a:gd name="T78" fmla="*/ 95 w 172"/>
                <a:gd name="T79" fmla="*/ 52 h 142"/>
                <a:gd name="T80" fmla="*/ 85 w 172"/>
                <a:gd name="T81" fmla="*/ 43 h 142"/>
                <a:gd name="T82" fmla="*/ 76 w 172"/>
                <a:gd name="T83" fmla="*/ 33 h 142"/>
                <a:gd name="T84" fmla="*/ 61 w 172"/>
                <a:gd name="T85" fmla="*/ 24 h 142"/>
                <a:gd name="T86" fmla="*/ 52 w 172"/>
                <a:gd name="T87" fmla="*/ 19 h 142"/>
                <a:gd name="T88" fmla="*/ 28 w 172"/>
                <a:gd name="T89" fmla="*/ 12 h 142"/>
                <a:gd name="T90" fmla="*/ 14 w 172"/>
                <a:gd name="T91" fmla="*/ 5 h 142"/>
                <a:gd name="T92" fmla="*/ 0 w 172"/>
                <a:gd name="T9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42">
                  <a:moveTo>
                    <a:pt x="0" y="0"/>
                  </a:moveTo>
                  <a:lnTo>
                    <a:pt x="0" y="3"/>
                  </a:lnTo>
                  <a:lnTo>
                    <a:pt x="2" y="43"/>
                  </a:lnTo>
                  <a:lnTo>
                    <a:pt x="2" y="67"/>
                  </a:lnTo>
                  <a:lnTo>
                    <a:pt x="0" y="74"/>
                  </a:lnTo>
                  <a:lnTo>
                    <a:pt x="0" y="74"/>
                  </a:lnTo>
                  <a:lnTo>
                    <a:pt x="2" y="78"/>
                  </a:lnTo>
                  <a:lnTo>
                    <a:pt x="2" y="93"/>
                  </a:lnTo>
                  <a:lnTo>
                    <a:pt x="2" y="111"/>
                  </a:lnTo>
                  <a:lnTo>
                    <a:pt x="5" y="116"/>
                  </a:lnTo>
                  <a:lnTo>
                    <a:pt x="9" y="114"/>
                  </a:lnTo>
                  <a:lnTo>
                    <a:pt x="9" y="116"/>
                  </a:lnTo>
                  <a:lnTo>
                    <a:pt x="12" y="116"/>
                  </a:lnTo>
                  <a:lnTo>
                    <a:pt x="14" y="116"/>
                  </a:lnTo>
                  <a:lnTo>
                    <a:pt x="19" y="116"/>
                  </a:lnTo>
                  <a:lnTo>
                    <a:pt x="24" y="116"/>
                  </a:lnTo>
                  <a:lnTo>
                    <a:pt x="24" y="116"/>
                  </a:lnTo>
                  <a:lnTo>
                    <a:pt x="31" y="119"/>
                  </a:lnTo>
                  <a:lnTo>
                    <a:pt x="31" y="116"/>
                  </a:lnTo>
                  <a:lnTo>
                    <a:pt x="35" y="114"/>
                  </a:lnTo>
                  <a:lnTo>
                    <a:pt x="40" y="111"/>
                  </a:lnTo>
                  <a:lnTo>
                    <a:pt x="40" y="111"/>
                  </a:lnTo>
                  <a:lnTo>
                    <a:pt x="40" y="107"/>
                  </a:lnTo>
                  <a:lnTo>
                    <a:pt x="38" y="102"/>
                  </a:lnTo>
                  <a:lnTo>
                    <a:pt x="35" y="102"/>
                  </a:lnTo>
                  <a:lnTo>
                    <a:pt x="43" y="100"/>
                  </a:lnTo>
                  <a:lnTo>
                    <a:pt x="45" y="97"/>
                  </a:lnTo>
                  <a:lnTo>
                    <a:pt x="43" y="97"/>
                  </a:lnTo>
                  <a:lnTo>
                    <a:pt x="45" y="95"/>
                  </a:lnTo>
                  <a:lnTo>
                    <a:pt x="50" y="95"/>
                  </a:lnTo>
                  <a:lnTo>
                    <a:pt x="52" y="95"/>
                  </a:lnTo>
                  <a:lnTo>
                    <a:pt x="50" y="93"/>
                  </a:lnTo>
                  <a:lnTo>
                    <a:pt x="50" y="88"/>
                  </a:lnTo>
                  <a:lnTo>
                    <a:pt x="52" y="88"/>
                  </a:lnTo>
                  <a:lnTo>
                    <a:pt x="54" y="90"/>
                  </a:lnTo>
                  <a:lnTo>
                    <a:pt x="57" y="88"/>
                  </a:lnTo>
                  <a:lnTo>
                    <a:pt x="59" y="88"/>
                  </a:lnTo>
                  <a:lnTo>
                    <a:pt x="59" y="85"/>
                  </a:lnTo>
                  <a:lnTo>
                    <a:pt x="64" y="88"/>
                  </a:lnTo>
                  <a:lnTo>
                    <a:pt x="64" y="88"/>
                  </a:lnTo>
                  <a:lnTo>
                    <a:pt x="66" y="88"/>
                  </a:lnTo>
                  <a:lnTo>
                    <a:pt x="66" y="90"/>
                  </a:lnTo>
                  <a:lnTo>
                    <a:pt x="69" y="90"/>
                  </a:lnTo>
                  <a:lnTo>
                    <a:pt x="71" y="90"/>
                  </a:lnTo>
                  <a:lnTo>
                    <a:pt x="73" y="93"/>
                  </a:lnTo>
                  <a:lnTo>
                    <a:pt x="76" y="93"/>
                  </a:lnTo>
                  <a:lnTo>
                    <a:pt x="78" y="95"/>
                  </a:lnTo>
                  <a:lnTo>
                    <a:pt x="83" y="95"/>
                  </a:lnTo>
                  <a:lnTo>
                    <a:pt x="87" y="97"/>
                  </a:lnTo>
                  <a:lnTo>
                    <a:pt x="92" y="100"/>
                  </a:lnTo>
                  <a:lnTo>
                    <a:pt x="92" y="104"/>
                  </a:lnTo>
                  <a:lnTo>
                    <a:pt x="97" y="109"/>
                  </a:lnTo>
                  <a:lnTo>
                    <a:pt x="99" y="114"/>
                  </a:lnTo>
                  <a:lnTo>
                    <a:pt x="106" y="114"/>
                  </a:lnTo>
                  <a:lnTo>
                    <a:pt x="104" y="116"/>
                  </a:lnTo>
                  <a:lnTo>
                    <a:pt x="104" y="119"/>
                  </a:lnTo>
                  <a:lnTo>
                    <a:pt x="106" y="119"/>
                  </a:lnTo>
                  <a:lnTo>
                    <a:pt x="109" y="121"/>
                  </a:lnTo>
                  <a:lnTo>
                    <a:pt x="111" y="123"/>
                  </a:lnTo>
                  <a:lnTo>
                    <a:pt x="113" y="126"/>
                  </a:lnTo>
                  <a:lnTo>
                    <a:pt x="118" y="130"/>
                  </a:lnTo>
                  <a:lnTo>
                    <a:pt x="120" y="130"/>
                  </a:lnTo>
                  <a:lnTo>
                    <a:pt x="123" y="133"/>
                  </a:lnTo>
                  <a:lnTo>
                    <a:pt x="128" y="133"/>
                  </a:lnTo>
                  <a:lnTo>
                    <a:pt x="130" y="133"/>
                  </a:lnTo>
                  <a:lnTo>
                    <a:pt x="135" y="133"/>
                  </a:lnTo>
                  <a:lnTo>
                    <a:pt x="142" y="135"/>
                  </a:lnTo>
                  <a:lnTo>
                    <a:pt x="158" y="137"/>
                  </a:lnTo>
                  <a:lnTo>
                    <a:pt x="158" y="140"/>
                  </a:lnTo>
                  <a:lnTo>
                    <a:pt x="158" y="140"/>
                  </a:lnTo>
                  <a:lnTo>
                    <a:pt x="163" y="142"/>
                  </a:lnTo>
                  <a:lnTo>
                    <a:pt x="168" y="140"/>
                  </a:lnTo>
                  <a:lnTo>
                    <a:pt x="168" y="140"/>
                  </a:lnTo>
                  <a:lnTo>
                    <a:pt x="165" y="137"/>
                  </a:lnTo>
                  <a:lnTo>
                    <a:pt x="163" y="137"/>
                  </a:lnTo>
                  <a:lnTo>
                    <a:pt x="165" y="135"/>
                  </a:lnTo>
                  <a:lnTo>
                    <a:pt x="170" y="137"/>
                  </a:lnTo>
                  <a:lnTo>
                    <a:pt x="172" y="135"/>
                  </a:lnTo>
                  <a:lnTo>
                    <a:pt x="172" y="135"/>
                  </a:lnTo>
                  <a:lnTo>
                    <a:pt x="165" y="133"/>
                  </a:lnTo>
                  <a:lnTo>
                    <a:pt x="161" y="133"/>
                  </a:lnTo>
                  <a:lnTo>
                    <a:pt x="154" y="128"/>
                  </a:lnTo>
                  <a:lnTo>
                    <a:pt x="156" y="126"/>
                  </a:lnTo>
                  <a:lnTo>
                    <a:pt x="158" y="126"/>
                  </a:lnTo>
                  <a:lnTo>
                    <a:pt x="154" y="123"/>
                  </a:lnTo>
                  <a:lnTo>
                    <a:pt x="151" y="123"/>
                  </a:lnTo>
                  <a:lnTo>
                    <a:pt x="146" y="123"/>
                  </a:lnTo>
                  <a:lnTo>
                    <a:pt x="144" y="121"/>
                  </a:lnTo>
                  <a:lnTo>
                    <a:pt x="144" y="119"/>
                  </a:lnTo>
                  <a:lnTo>
                    <a:pt x="144" y="114"/>
                  </a:lnTo>
                  <a:lnTo>
                    <a:pt x="144" y="114"/>
                  </a:lnTo>
                  <a:lnTo>
                    <a:pt x="135" y="114"/>
                  </a:lnTo>
                  <a:lnTo>
                    <a:pt x="132" y="111"/>
                  </a:lnTo>
                  <a:lnTo>
                    <a:pt x="130" y="107"/>
                  </a:lnTo>
                  <a:lnTo>
                    <a:pt x="128" y="107"/>
                  </a:lnTo>
                  <a:lnTo>
                    <a:pt x="128" y="102"/>
                  </a:lnTo>
                  <a:lnTo>
                    <a:pt x="125" y="100"/>
                  </a:lnTo>
                  <a:lnTo>
                    <a:pt x="125" y="97"/>
                  </a:lnTo>
                  <a:lnTo>
                    <a:pt x="125" y="97"/>
                  </a:lnTo>
                  <a:lnTo>
                    <a:pt x="123" y="95"/>
                  </a:lnTo>
                  <a:lnTo>
                    <a:pt x="123" y="95"/>
                  </a:lnTo>
                  <a:lnTo>
                    <a:pt x="118" y="90"/>
                  </a:lnTo>
                  <a:lnTo>
                    <a:pt x="113" y="88"/>
                  </a:lnTo>
                  <a:lnTo>
                    <a:pt x="111" y="85"/>
                  </a:lnTo>
                  <a:lnTo>
                    <a:pt x="109" y="81"/>
                  </a:lnTo>
                  <a:lnTo>
                    <a:pt x="109" y="78"/>
                  </a:lnTo>
                  <a:lnTo>
                    <a:pt x="106" y="76"/>
                  </a:lnTo>
                  <a:lnTo>
                    <a:pt x="109" y="74"/>
                  </a:lnTo>
                  <a:lnTo>
                    <a:pt x="111" y="74"/>
                  </a:lnTo>
                  <a:lnTo>
                    <a:pt x="116" y="74"/>
                  </a:lnTo>
                  <a:lnTo>
                    <a:pt x="118" y="74"/>
                  </a:lnTo>
                  <a:lnTo>
                    <a:pt x="120" y="74"/>
                  </a:lnTo>
                  <a:lnTo>
                    <a:pt x="120" y="69"/>
                  </a:lnTo>
                  <a:lnTo>
                    <a:pt x="120" y="64"/>
                  </a:lnTo>
                  <a:lnTo>
                    <a:pt x="116" y="62"/>
                  </a:lnTo>
                  <a:lnTo>
                    <a:pt x="113" y="59"/>
                  </a:lnTo>
                  <a:lnTo>
                    <a:pt x="111" y="59"/>
                  </a:lnTo>
                  <a:lnTo>
                    <a:pt x="104" y="57"/>
                  </a:lnTo>
                  <a:lnTo>
                    <a:pt x="99" y="57"/>
                  </a:lnTo>
                  <a:lnTo>
                    <a:pt x="95" y="52"/>
                  </a:lnTo>
                  <a:lnTo>
                    <a:pt x="85" y="52"/>
                  </a:lnTo>
                  <a:lnTo>
                    <a:pt x="85" y="50"/>
                  </a:lnTo>
                  <a:lnTo>
                    <a:pt x="85" y="43"/>
                  </a:lnTo>
                  <a:lnTo>
                    <a:pt x="83" y="41"/>
                  </a:lnTo>
                  <a:lnTo>
                    <a:pt x="80" y="36"/>
                  </a:lnTo>
                  <a:lnTo>
                    <a:pt x="76" y="33"/>
                  </a:lnTo>
                  <a:lnTo>
                    <a:pt x="71" y="31"/>
                  </a:lnTo>
                  <a:lnTo>
                    <a:pt x="64" y="26"/>
                  </a:lnTo>
                  <a:lnTo>
                    <a:pt x="61" y="24"/>
                  </a:lnTo>
                  <a:lnTo>
                    <a:pt x="59" y="22"/>
                  </a:lnTo>
                  <a:lnTo>
                    <a:pt x="57" y="22"/>
                  </a:lnTo>
                  <a:lnTo>
                    <a:pt x="52" y="19"/>
                  </a:lnTo>
                  <a:lnTo>
                    <a:pt x="40" y="15"/>
                  </a:lnTo>
                  <a:lnTo>
                    <a:pt x="33" y="12"/>
                  </a:lnTo>
                  <a:lnTo>
                    <a:pt x="28" y="12"/>
                  </a:lnTo>
                  <a:lnTo>
                    <a:pt x="26" y="10"/>
                  </a:lnTo>
                  <a:lnTo>
                    <a:pt x="19" y="7"/>
                  </a:lnTo>
                  <a:lnTo>
                    <a:pt x="14" y="5"/>
                  </a:lnTo>
                  <a:lnTo>
                    <a:pt x="9" y="3"/>
                  </a:lnTo>
                  <a:lnTo>
                    <a:pt x="5"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5" name="Freeform 881">
              <a:extLst>
                <a:ext uri="{FF2B5EF4-FFF2-40B4-BE49-F238E27FC236}">
                  <a16:creationId xmlns:a16="http://schemas.microsoft.com/office/drawing/2014/main" id="{3443D45C-683F-4FE2-9552-877A0EC8E784}"/>
                </a:ext>
              </a:extLst>
            </p:cNvPr>
            <p:cNvSpPr>
              <a:spLocks/>
            </p:cNvSpPr>
            <p:nvPr/>
          </p:nvSpPr>
          <p:spPr bwMode="auto">
            <a:xfrm>
              <a:off x="7915081" y="3186428"/>
              <a:ext cx="175370" cy="160479"/>
            </a:xfrm>
            <a:custGeom>
              <a:avLst/>
              <a:gdLst>
                <a:gd name="T0" fmla="*/ 97 w 106"/>
                <a:gd name="T1" fmla="*/ 28 h 97"/>
                <a:gd name="T2" fmla="*/ 94 w 106"/>
                <a:gd name="T3" fmla="*/ 35 h 97"/>
                <a:gd name="T4" fmla="*/ 94 w 106"/>
                <a:gd name="T5" fmla="*/ 45 h 97"/>
                <a:gd name="T6" fmla="*/ 97 w 106"/>
                <a:gd name="T7" fmla="*/ 49 h 97"/>
                <a:gd name="T8" fmla="*/ 106 w 106"/>
                <a:gd name="T9" fmla="*/ 49 h 97"/>
                <a:gd name="T10" fmla="*/ 99 w 106"/>
                <a:gd name="T11" fmla="*/ 54 h 97"/>
                <a:gd name="T12" fmla="*/ 90 w 106"/>
                <a:gd name="T13" fmla="*/ 59 h 97"/>
                <a:gd name="T14" fmla="*/ 87 w 106"/>
                <a:gd name="T15" fmla="*/ 61 h 97"/>
                <a:gd name="T16" fmla="*/ 75 w 106"/>
                <a:gd name="T17" fmla="*/ 61 h 97"/>
                <a:gd name="T18" fmla="*/ 66 w 106"/>
                <a:gd name="T19" fmla="*/ 68 h 97"/>
                <a:gd name="T20" fmla="*/ 61 w 106"/>
                <a:gd name="T21" fmla="*/ 80 h 97"/>
                <a:gd name="T22" fmla="*/ 52 w 106"/>
                <a:gd name="T23" fmla="*/ 78 h 97"/>
                <a:gd name="T24" fmla="*/ 35 w 106"/>
                <a:gd name="T25" fmla="*/ 71 h 97"/>
                <a:gd name="T26" fmla="*/ 26 w 106"/>
                <a:gd name="T27" fmla="*/ 71 h 97"/>
                <a:gd name="T28" fmla="*/ 21 w 106"/>
                <a:gd name="T29" fmla="*/ 73 h 97"/>
                <a:gd name="T30" fmla="*/ 12 w 106"/>
                <a:gd name="T31" fmla="*/ 71 h 97"/>
                <a:gd name="T32" fmla="*/ 12 w 106"/>
                <a:gd name="T33" fmla="*/ 78 h 97"/>
                <a:gd name="T34" fmla="*/ 23 w 106"/>
                <a:gd name="T35" fmla="*/ 87 h 97"/>
                <a:gd name="T36" fmla="*/ 19 w 106"/>
                <a:gd name="T37" fmla="*/ 90 h 97"/>
                <a:gd name="T38" fmla="*/ 14 w 106"/>
                <a:gd name="T39" fmla="*/ 90 h 97"/>
                <a:gd name="T40" fmla="*/ 7 w 106"/>
                <a:gd name="T41" fmla="*/ 97 h 97"/>
                <a:gd name="T42" fmla="*/ 4 w 106"/>
                <a:gd name="T43" fmla="*/ 92 h 97"/>
                <a:gd name="T44" fmla="*/ 0 w 106"/>
                <a:gd name="T45" fmla="*/ 78 h 97"/>
                <a:gd name="T46" fmla="*/ 4 w 106"/>
                <a:gd name="T47" fmla="*/ 66 h 97"/>
                <a:gd name="T48" fmla="*/ 12 w 106"/>
                <a:gd name="T49" fmla="*/ 61 h 97"/>
                <a:gd name="T50" fmla="*/ 9 w 106"/>
                <a:gd name="T51" fmla="*/ 54 h 97"/>
                <a:gd name="T52" fmla="*/ 14 w 106"/>
                <a:gd name="T53" fmla="*/ 52 h 97"/>
                <a:gd name="T54" fmla="*/ 26 w 106"/>
                <a:gd name="T55" fmla="*/ 54 h 97"/>
                <a:gd name="T56" fmla="*/ 28 w 106"/>
                <a:gd name="T57" fmla="*/ 45 h 97"/>
                <a:gd name="T58" fmla="*/ 30 w 106"/>
                <a:gd name="T59" fmla="*/ 40 h 97"/>
                <a:gd name="T60" fmla="*/ 33 w 106"/>
                <a:gd name="T61" fmla="*/ 28 h 97"/>
                <a:gd name="T62" fmla="*/ 30 w 106"/>
                <a:gd name="T63" fmla="*/ 7 h 97"/>
                <a:gd name="T64" fmla="*/ 35 w 106"/>
                <a:gd name="T65" fmla="*/ 0 h 97"/>
                <a:gd name="T66" fmla="*/ 40 w 106"/>
                <a:gd name="T67" fmla="*/ 0 h 97"/>
                <a:gd name="T68" fmla="*/ 42 w 106"/>
                <a:gd name="T69" fmla="*/ 5 h 97"/>
                <a:gd name="T70" fmla="*/ 56 w 106"/>
                <a:gd name="T71" fmla="*/ 23 h 97"/>
                <a:gd name="T72" fmla="*/ 71 w 106"/>
                <a:gd name="T73" fmla="*/ 30 h 97"/>
                <a:gd name="T74" fmla="*/ 80 w 106"/>
                <a:gd name="T75" fmla="*/ 35 h 97"/>
                <a:gd name="T76" fmla="*/ 87 w 106"/>
                <a:gd name="T77"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97">
                  <a:moveTo>
                    <a:pt x="92" y="33"/>
                  </a:moveTo>
                  <a:lnTo>
                    <a:pt x="97" y="28"/>
                  </a:lnTo>
                  <a:lnTo>
                    <a:pt x="97" y="30"/>
                  </a:lnTo>
                  <a:lnTo>
                    <a:pt x="94" y="35"/>
                  </a:lnTo>
                  <a:lnTo>
                    <a:pt x="92" y="40"/>
                  </a:lnTo>
                  <a:lnTo>
                    <a:pt x="94" y="45"/>
                  </a:lnTo>
                  <a:lnTo>
                    <a:pt x="97" y="45"/>
                  </a:lnTo>
                  <a:lnTo>
                    <a:pt x="97" y="49"/>
                  </a:lnTo>
                  <a:lnTo>
                    <a:pt x="101" y="52"/>
                  </a:lnTo>
                  <a:lnTo>
                    <a:pt x="106" y="49"/>
                  </a:lnTo>
                  <a:lnTo>
                    <a:pt x="104" y="52"/>
                  </a:lnTo>
                  <a:lnTo>
                    <a:pt x="99" y="54"/>
                  </a:lnTo>
                  <a:lnTo>
                    <a:pt x="94" y="59"/>
                  </a:lnTo>
                  <a:lnTo>
                    <a:pt x="90" y="59"/>
                  </a:lnTo>
                  <a:lnTo>
                    <a:pt x="90" y="59"/>
                  </a:lnTo>
                  <a:lnTo>
                    <a:pt x="87" y="61"/>
                  </a:lnTo>
                  <a:lnTo>
                    <a:pt x="80" y="59"/>
                  </a:lnTo>
                  <a:lnTo>
                    <a:pt x="75" y="61"/>
                  </a:lnTo>
                  <a:lnTo>
                    <a:pt x="71" y="64"/>
                  </a:lnTo>
                  <a:lnTo>
                    <a:pt x="66" y="68"/>
                  </a:lnTo>
                  <a:lnTo>
                    <a:pt x="64" y="75"/>
                  </a:lnTo>
                  <a:lnTo>
                    <a:pt x="61" y="80"/>
                  </a:lnTo>
                  <a:lnTo>
                    <a:pt x="61" y="85"/>
                  </a:lnTo>
                  <a:lnTo>
                    <a:pt x="52" y="78"/>
                  </a:lnTo>
                  <a:lnTo>
                    <a:pt x="45" y="75"/>
                  </a:lnTo>
                  <a:lnTo>
                    <a:pt x="35" y="71"/>
                  </a:lnTo>
                  <a:lnTo>
                    <a:pt x="30" y="68"/>
                  </a:lnTo>
                  <a:lnTo>
                    <a:pt x="26" y="71"/>
                  </a:lnTo>
                  <a:lnTo>
                    <a:pt x="23" y="73"/>
                  </a:lnTo>
                  <a:lnTo>
                    <a:pt x="21" y="73"/>
                  </a:lnTo>
                  <a:lnTo>
                    <a:pt x="16" y="71"/>
                  </a:lnTo>
                  <a:lnTo>
                    <a:pt x="12" y="71"/>
                  </a:lnTo>
                  <a:lnTo>
                    <a:pt x="9" y="75"/>
                  </a:lnTo>
                  <a:lnTo>
                    <a:pt x="12" y="78"/>
                  </a:lnTo>
                  <a:lnTo>
                    <a:pt x="19" y="82"/>
                  </a:lnTo>
                  <a:lnTo>
                    <a:pt x="23" y="87"/>
                  </a:lnTo>
                  <a:lnTo>
                    <a:pt x="23" y="90"/>
                  </a:lnTo>
                  <a:lnTo>
                    <a:pt x="19" y="90"/>
                  </a:lnTo>
                  <a:lnTo>
                    <a:pt x="16" y="90"/>
                  </a:lnTo>
                  <a:lnTo>
                    <a:pt x="14" y="90"/>
                  </a:lnTo>
                  <a:lnTo>
                    <a:pt x="12" y="94"/>
                  </a:lnTo>
                  <a:lnTo>
                    <a:pt x="7" y="97"/>
                  </a:lnTo>
                  <a:lnTo>
                    <a:pt x="4" y="97"/>
                  </a:lnTo>
                  <a:lnTo>
                    <a:pt x="4" y="92"/>
                  </a:lnTo>
                  <a:lnTo>
                    <a:pt x="7" y="82"/>
                  </a:lnTo>
                  <a:lnTo>
                    <a:pt x="0" y="78"/>
                  </a:lnTo>
                  <a:lnTo>
                    <a:pt x="0" y="71"/>
                  </a:lnTo>
                  <a:lnTo>
                    <a:pt x="4" y="66"/>
                  </a:lnTo>
                  <a:lnTo>
                    <a:pt x="7" y="64"/>
                  </a:lnTo>
                  <a:lnTo>
                    <a:pt x="12" y="61"/>
                  </a:lnTo>
                  <a:lnTo>
                    <a:pt x="12" y="56"/>
                  </a:lnTo>
                  <a:lnTo>
                    <a:pt x="9" y="54"/>
                  </a:lnTo>
                  <a:lnTo>
                    <a:pt x="12" y="52"/>
                  </a:lnTo>
                  <a:lnTo>
                    <a:pt x="14" y="52"/>
                  </a:lnTo>
                  <a:lnTo>
                    <a:pt x="19" y="54"/>
                  </a:lnTo>
                  <a:lnTo>
                    <a:pt x="26" y="54"/>
                  </a:lnTo>
                  <a:lnTo>
                    <a:pt x="28" y="49"/>
                  </a:lnTo>
                  <a:lnTo>
                    <a:pt x="28" y="45"/>
                  </a:lnTo>
                  <a:lnTo>
                    <a:pt x="28" y="42"/>
                  </a:lnTo>
                  <a:lnTo>
                    <a:pt x="30" y="40"/>
                  </a:lnTo>
                  <a:lnTo>
                    <a:pt x="33" y="33"/>
                  </a:lnTo>
                  <a:lnTo>
                    <a:pt x="33" y="28"/>
                  </a:lnTo>
                  <a:lnTo>
                    <a:pt x="35" y="16"/>
                  </a:lnTo>
                  <a:lnTo>
                    <a:pt x="30" y="7"/>
                  </a:lnTo>
                  <a:lnTo>
                    <a:pt x="33" y="2"/>
                  </a:lnTo>
                  <a:lnTo>
                    <a:pt x="35" y="0"/>
                  </a:lnTo>
                  <a:lnTo>
                    <a:pt x="38" y="0"/>
                  </a:lnTo>
                  <a:lnTo>
                    <a:pt x="40" y="0"/>
                  </a:lnTo>
                  <a:lnTo>
                    <a:pt x="40" y="2"/>
                  </a:lnTo>
                  <a:lnTo>
                    <a:pt x="42" y="5"/>
                  </a:lnTo>
                  <a:lnTo>
                    <a:pt x="49" y="16"/>
                  </a:lnTo>
                  <a:lnTo>
                    <a:pt x="56" y="23"/>
                  </a:lnTo>
                  <a:lnTo>
                    <a:pt x="64" y="28"/>
                  </a:lnTo>
                  <a:lnTo>
                    <a:pt x="71" y="30"/>
                  </a:lnTo>
                  <a:lnTo>
                    <a:pt x="78" y="33"/>
                  </a:lnTo>
                  <a:lnTo>
                    <a:pt x="80" y="35"/>
                  </a:lnTo>
                  <a:lnTo>
                    <a:pt x="82" y="38"/>
                  </a:lnTo>
                  <a:lnTo>
                    <a:pt x="87" y="35"/>
                  </a:lnTo>
                  <a:lnTo>
                    <a:pt x="92" y="3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6" name="Freeform 882">
              <a:extLst>
                <a:ext uri="{FF2B5EF4-FFF2-40B4-BE49-F238E27FC236}">
                  <a16:creationId xmlns:a16="http://schemas.microsoft.com/office/drawing/2014/main" id="{9EB43608-EBD1-44FC-BD33-E097A288FFCF}"/>
                </a:ext>
              </a:extLst>
            </p:cNvPr>
            <p:cNvSpPr>
              <a:spLocks/>
            </p:cNvSpPr>
            <p:nvPr/>
          </p:nvSpPr>
          <p:spPr bwMode="auto">
            <a:xfrm>
              <a:off x="7915081" y="3186428"/>
              <a:ext cx="175370" cy="160479"/>
            </a:xfrm>
            <a:custGeom>
              <a:avLst/>
              <a:gdLst>
                <a:gd name="T0" fmla="*/ 97 w 106"/>
                <a:gd name="T1" fmla="*/ 28 h 97"/>
                <a:gd name="T2" fmla="*/ 94 w 106"/>
                <a:gd name="T3" fmla="*/ 35 h 97"/>
                <a:gd name="T4" fmla="*/ 94 w 106"/>
                <a:gd name="T5" fmla="*/ 45 h 97"/>
                <a:gd name="T6" fmla="*/ 97 w 106"/>
                <a:gd name="T7" fmla="*/ 49 h 97"/>
                <a:gd name="T8" fmla="*/ 106 w 106"/>
                <a:gd name="T9" fmla="*/ 49 h 97"/>
                <a:gd name="T10" fmla="*/ 99 w 106"/>
                <a:gd name="T11" fmla="*/ 54 h 97"/>
                <a:gd name="T12" fmla="*/ 90 w 106"/>
                <a:gd name="T13" fmla="*/ 59 h 97"/>
                <a:gd name="T14" fmla="*/ 87 w 106"/>
                <a:gd name="T15" fmla="*/ 61 h 97"/>
                <a:gd name="T16" fmla="*/ 75 w 106"/>
                <a:gd name="T17" fmla="*/ 61 h 97"/>
                <a:gd name="T18" fmla="*/ 66 w 106"/>
                <a:gd name="T19" fmla="*/ 68 h 97"/>
                <a:gd name="T20" fmla="*/ 61 w 106"/>
                <a:gd name="T21" fmla="*/ 80 h 97"/>
                <a:gd name="T22" fmla="*/ 52 w 106"/>
                <a:gd name="T23" fmla="*/ 78 h 97"/>
                <a:gd name="T24" fmla="*/ 35 w 106"/>
                <a:gd name="T25" fmla="*/ 71 h 97"/>
                <a:gd name="T26" fmla="*/ 26 w 106"/>
                <a:gd name="T27" fmla="*/ 71 h 97"/>
                <a:gd name="T28" fmla="*/ 21 w 106"/>
                <a:gd name="T29" fmla="*/ 73 h 97"/>
                <a:gd name="T30" fmla="*/ 12 w 106"/>
                <a:gd name="T31" fmla="*/ 71 h 97"/>
                <a:gd name="T32" fmla="*/ 12 w 106"/>
                <a:gd name="T33" fmla="*/ 78 h 97"/>
                <a:gd name="T34" fmla="*/ 23 w 106"/>
                <a:gd name="T35" fmla="*/ 87 h 97"/>
                <a:gd name="T36" fmla="*/ 19 w 106"/>
                <a:gd name="T37" fmla="*/ 90 h 97"/>
                <a:gd name="T38" fmla="*/ 14 w 106"/>
                <a:gd name="T39" fmla="*/ 90 h 97"/>
                <a:gd name="T40" fmla="*/ 7 w 106"/>
                <a:gd name="T41" fmla="*/ 97 h 97"/>
                <a:gd name="T42" fmla="*/ 4 w 106"/>
                <a:gd name="T43" fmla="*/ 92 h 97"/>
                <a:gd name="T44" fmla="*/ 0 w 106"/>
                <a:gd name="T45" fmla="*/ 78 h 97"/>
                <a:gd name="T46" fmla="*/ 4 w 106"/>
                <a:gd name="T47" fmla="*/ 66 h 97"/>
                <a:gd name="T48" fmla="*/ 12 w 106"/>
                <a:gd name="T49" fmla="*/ 61 h 97"/>
                <a:gd name="T50" fmla="*/ 9 w 106"/>
                <a:gd name="T51" fmla="*/ 54 h 97"/>
                <a:gd name="T52" fmla="*/ 14 w 106"/>
                <a:gd name="T53" fmla="*/ 52 h 97"/>
                <a:gd name="T54" fmla="*/ 26 w 106"/>
                <a:gd name="T55" fmla="*/ 54 h 97"/>
                <a:gd name="T56" fmla="*/ 28 w 106"/>
                <a:gd name="T57" fmla="*/ 45 h 97"/>
                <a:gd name="T58" fmla="*/ 30 w 106"/>
                <a:gd name="T59" fmla="*/ 40 h 97"/>
                <a:gd name="T60" fmla="*/ 33 w 106"/>
                <a:gd name="T61" fmla="*/ 28 h 97"/>
                <a:gd name="T62" fmla="*/ 30 w 106"/>
                <a:gd name="T63" fmla="*/ 7 h 97"/>
                <a:gd name="T64" fmla="*/ 35 w 106"/>
                <a:gd name="T65" fmla="*/ 0 h 97"/>
                <a:gd name="T66" fmla="*/ 40 w 106"/>
                <a:gd name="T67" fmla="*/ 0 h 97"/>
                <a:gd name="T68" fmla="*/ 42 w 106"/>
                <a:gd name="T69" fmla="*/ 5 h 97"/>
                <a:gd name="T70" fmla="*/ 56 w 106"/>
                <a:gd name="T71" fmla="*/ 23 h 97"/>
                <a:gd name="T72" fmla="*/ 71 w 106"/>
                <a:gd name="T73" fmla="*/ 30 h 97"/>
                <a:gd name="T74" fmla="*/ 80 w 106"/>
                <a:gd name="T75" fmla="*/ 35 h 97"/>
                <a:gd name="T76" fmla="*/ 87 w 106"/>
                <a:gd name="T77"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97">
                  <a:moveTo>
                    <a:pt x="92" y="33"/>
                  </a:moveTo>
                  <a:lnTo>
                    <a:pt x="97" y="28"/>
                  </a:lnTo>
                  <a:lnTo>
                    <a:pt x="97" y="30"/>
                  </a:lnTo>
                  <a:lnTo>
                    <a:pt x="94" y="35"/>
                  </a:lnTo>
                  <a:lnTo>
                    <a:pt x="92" y="40"/>
                  </a:lnTo>
                  <a:lnTo>
                    <a:pt x="94" y="45"/>
                  </a:lnTo>
                  <a:lnTo>
                    <a:pt x="97" y="45"/>
                  </a:lnTo>
                  <a:lnTo>
                    <a:pt x="97" y="49"/>
                  </a:lnTo>
                  <a:lnTo>
                    <a:pt x="101" y="52"/>
                  </a:lnTo>
                  <a:lnTo>
                    <a:pt x="106" y="49"/>
                  </a:lnTo>
                  <a:lnTo>
                    <a:pt x="104" y="52"/>
                  </a:lnTo>
                  <a:lnTo>
                    <a:pt x="99" y="54"/>
                  </a:lnTo>
                  <a:lnTo>
                    <a:pt x="94" y="59"/>
                  </a:lnTo>
                  <a:lnTo>
                    <a:pt x="90" y="59"/>
                  </a:lnTo>
                  <a:lnTo>
                    <a:pt x="90" y="59"/>
                  </a:lnTo>
                  <a:lnTo>
                    <a:pt x="87" y="61"/>
                  </a:lnTo>
                  <a:lnTo>
                    <a:pt x="80" y="59"/>
                  </a:lnTo>
                  <a:lnTo>
                    <a:pt x="75" y="61"/>
                  </a:lnTo>
                  <a:lnTo>
                    <a:pt x="71" y="64"/>
                  </a:lnTo>
                  <a:lnTo>
                    <a:pt x="66" y="68"/>
                  </a:lnTo>
                  <a:lnTo>
                    <a:pt x="64" y="75"/>
                  </a:lnTo>
                  <a:lnTo>
                    <a:pt x="61" y="80"/>
                  </a:lnTo>
                  <a:lnTo>
                    <a:pt x="61" y="85"/>
                  </a:lnTo>
                  <a:lnTo>
                    <a:pt x="52" y="78"/>
                  </a:lnTo>
                  <a:lnTo>
                    <a:pt x="45" y="75"/>
                  </a:lnTo>
                  <a:lnTo>
                    <a:pt x="35" y="71"/>
                  </a:lnTo>
                  <a:lnTo>
                    <a:pt x="30" y="68"/>
                  </a:lnTo>
                  <a:lnTo>
                    <a:pt x="26" y="71"/>
                  </a:lnTo>
                  <a:lnTo>
                    <a:pt x="23" y="73"/>
                  </a:lnTo>
                  <a:lnTo>
                    <a:pt x="21" y="73"/>
                  </a:lnTo>
                  <a:lnTo>
                    <a:pt x="16" y="71"/>
                  </a:lnTo>
                  <a:lnTo>
                    <a:pt x="12" y="71"/>
                  </a:lnTo>
                  <a:lnTo>
                    <a:pt x="9" y="75"/>
                  </a:lnTo>
                  <a:lnTo>
                    <a:pt x="12" y="78"/>
                  </a:lnTo>
                  <a:lnTo>
                    <a:pt x="19" y="82"/>
                  </a:lnTo>
                  <a:lnTo>
                    <a:pt x="23" y="87"/>
                  </a:lnTo>
                  <a:lnTo>
                    <a:pt x="23" y="90"/>
                  </a:lnTo>
                  <a:lnTo>
                    <a:pt x="19" y="90"/>
                  </a:lnTo>
                  <a:lnTo>
                    <a:pt x="16" y="90"/>
                  </a:lnTo>
                  <a:lnTo>
                    <a:pt x="14" y="90"/>
                  </a:lnTo>
                  <a:lnTo>
                    <a:pt x="12" y="94"/>
                  </a:lnTo>
                  <a:lnTo>
                    <a:pt x="7" y="97"/>
                  </a:lnTo>
                  <a:lnTo>
                    <a:pt x="4" y="97"/>
                  </a:lnTo>
                  <a:lnTo>
                    <a:pt x="4" y="92"/>
                  </a:lnTo>
                  <a:lnTo>
                    <a:pt x="7" y="82"/>
                  </a:lnTo>
                  <a:lnTo>
                    <a:pt x="0" y="78"/>
                  </a:lnTo>
                  <a:lnTo>
                    <a:pt x="0" y="71"/>
                  </a:lnTo>
                  <a:lnTo>
                    <a:pt x="4" y="66"/>
                  </a:lnTo>
                  <a:lnTo>
                    <a:pt x="7" y="64"/>
                  </a:lnTo>
                  <a:lnTo>
                    <a:pt x="12" y="61"/>
                  </a:lnTo>
                  <a:lnTo>
                    <a:pt x="12" y="56"/>
                  </a:lnTo>
                  <a:lnTo>
                    <a:pt x="9" y="54"/>
                  </a:lnTo>
                  <a:lnTo>
                    <a:pt x="12" y="52"/>
                  </a:lnTo>
                  <a:lnTo>
                    <a:pt x="14" y="52"/>
                  </a:lnTo>
                  <a:lnTo>
                    <a:pt x="19" y="54"/>
                  </a:lnTo>
                  <a:lnTo>
                    <a:pt x="26" y="54"/>
                  </a:lnTo>
                  <a:lnTo>
                    <a:pt x="28" y="49"/>
                  </a:lnTo>
                  <a:lnTo>
                    <a:pt x="28" y="45"/>
                  </a:lnTo>
                  <a:lnTo>
                    <a:pt x="28" y="42"/>
                  </a:lnTo>
                  <a:lnTo>
                    <a:pt x="30" y="40"/>
                  </a:lnTo>
                  <a:lnTo>
                    <a:pt x="33" y="33"/>
                  </a:lnTo>
                  <a:lnTo>
                    <a:pt x="33" y="28"/>
                  </a:lnTo>
                  <a:lnTo>
                    <a:pt x="35" y="16"/>
                  </a:lnTo>
                  <a:lnTo>
                    <a:pt x="30" y="7"/>
                  </a:lnTo>
                  <a:lnTo>
                    <a:pt x="33" y="2"/>
                  </a:lnTo>
                  <a:lnTo>
                    <a:pt x="35" y="0"/>
                  </a:lnTo>
                  <a:lnTo>
                    <a:pt x="38" y="0"/>
                  </a:lnTo>
                  <a:lnTo>
                    <a:pt x="40" y="0"/>
                  </a:lnTo>
                  <a:lnTo>
                    <a:pt x="40" y="2"/>
                  </a:lnTo>
                  <a:lnTo>
                    <a:pt x="42" y="5"/>
                  </a:lnTo>
                  <a:lnTo>
                    <a:pt x="49" y="16"/>
                  </a:lnTo>
                  <a:lnTo>
                    <a:pt x="56" y="23"/>
                  </a:lnTo>
                  <a:lnTo>
                    <a:pt x="64" y="28"/>
                  </a:lnTo>
                  <a:lnTo>
                    <a:pt x="71" y="30"/>
                  </a:lnTo>
                  <a:lnTo>
                    <a:pt x="78" y="33"/>
                  </a:lnTo>
                  <a:lnTo>
                    <a:pt x="80" y="35"/>
                  </a:lnTo>
                  <a:lnTo>
                    <a:pt x="82" y="38"/>
                  </a:lnTo>
                  <a:lnTo>
                    <a:pt x="87" y="35"/>
                  </a:lnTo>
                  <a:lnTo>
                    <a:pt x="92" y="3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7" name="Freeform 883">
              <a:extLst>
                <a:ext uri="{FF2B5EF4-FFF2-40B4-BE49-F238E27FC236}">
                  <a16:creationId xmlns:a16="http://schemas.microsoft.com/office/drawing/2014/main" id="{F7421F1F-BAB0-43A4-94CA-4FD45DFFE545}"/>
                </a:ext>
              </a:extLst>
            </p:cNvPr>
            <p:cNvSpPr>
              <a:spLocks/>
            </p:cNvSpPr>
            <p:nvPr/>
          </p:nvSpPr>
          <p:spPr bwMode="auto">
            <a:xfrm>
              <a:off x="7949825" y="3194699"/>
              <a:ext cx="8273" cy="3309"/>
            </a:xfrm>
            <a:custGeom>
              <a:avLst/>
              <a:gdLst>
                <a:gd name="T0" fmla="*/ 2 w 5"/>
                <a:gd name="T1" fmla="*/ 0 h 2"/>
                <a:gd name="T2" fmla="*/ 0 w 5"/>
                <a:gd name="T3" fmla="*/ 2 h 2"/>
                <a:gd name="T4" fmla="*/ 2 w 5"/>
                <a:gd name="T5" fmla="*/ 2 h 2"/>
                <a:gd name="T6" fmla="*/ 5 w 5"/>
                <a:gd name="T7" fmla="*/ 2 h 2"/>
                <a:gd name="T8" fmla="*/ 5 w 5"/>
                <a:gd name="T9" fmla="*/ 0 h 2"/>
                <a:gd name="T10" fmla="*/ 2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2" y="0"/>
                  </a:moveTo>
                  <a:lnTo>
                    <a:pt x="0" y="2"/>
                  </a:lnTo>
                  <a:lnTo>
                    <a:pt x="2" y="2"/>
                  </a:lnTo>
                  <a:lnTo>
                    <a:pt x="5" y="2"/>
                  </a:lnTo>
                  <a:lnTo>
                    <a:pt x="5"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8" name="Freeform 884">
              <a:extLst>
                <a:ext uri="{FF2B5EF4-FFF2-40B4-BE49-F238E27FC236}">
                  <a16:creationId xmlns:a16="http://schemas.microsoft.com/office/drawing/2014/main" id="{A746C77C-7C0F-4709-9736-F82D1EA191D1}"/>
                </a:ext>
              </a:extLst>
            </p:cNvPr>
            <p:cNvSpPr>
              <a:spLocks/>
            </p:cNvSpPr>
            <p:nvPr/>
          </p:nvSpPr>
          <p:spPr bwMode="auto">
            <a:xfrm>
              <a:off x="7949825" y="3194699"/>
              <a:ext cx="8273" cy="3309"/>
            </a:xfrm>
            <a:custGeom>
              <a:avLst/>
              <a:gdLst>
                <a:gd name="T0" fmla="*/ 2 w 5"/>
                <a:gd name="T1" fmla="*/ 0 h 2"/>
                <a:gd name="T2" fmla="*/ 0 w 5"/>
                <a:gd name="T3" fmla="*/ 2 h 2"/>
                <a:gd name="T4" fmla="*/ 2 w 5"/>
                <a:gd name="T5" fmla="*/ 2 h 2"/>
                <a:gd name="T6" fmla="*/ 5 w 5"/>
                <a:gd name="T7" fmla="*/ 2 h 2"/>
                <a:gd name="T8" fmla="*/ 5 w 5"/>
                <a:gd name="T9" fmla="*/ 0 h 2"/>
                <a:gd name="T10" fmla="*/ 2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2" y="0"/>
                  </a:moveTo>
                  <a:lnTo>
                    <a:pt x="0" y="2"/>
                  </a:lnTo>
                  <a:lnTo>
                    <a:pt x="2" y="2"/>
                  </a:lnTo>
                  <a:lnTo>
                    <a:pt x="5" y="2"/>
                  </a:lnTo>
                  <a:lnTo>
                    <a:pt x="5"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09" name="Freeform 885">
              <a:extLst>
                <a:ext uri="{FF2B5EF4-FFF2-40B4-BE49-F238E27FC236}">
                  <a16:creationId xmlns:a16="http://schemas.microsoft.com/office/drawing/2014/main" id="{51C83109-E843-47C5-9258-B28A28796D61}"/>
                </a:ext>
              </a:extLst>
            </p:cNvPr>
            <p:cNvSpPr>
              <a:spLocks/>
            </p:cNvSpPr>
            <p:nvPr/>
          </p:nvSpPr>
          <p:spPr bwMode="auto">
            <a:xfrm>
              <a:off x="7656990" y="3341945"/>
              <a:ext cx="324269" cy="289525"/>
            </a:xfrm>
            <a:custGeom>
              <a:avLst/>
              <a:gdLst>
                <a:gd name="T0" fmla="*/ 184 w 196"/>
                <a:gd name="T1" fmla="*/ 5 h 175"/>
                <a:gd name="T2" fmla="*/ 186 w 196"/>
                <a:gd name="T3" fmla="*/ 22 h 175"/>
                <a:gd name="T4" fmla="*/ 194 w 196"/>
                <a:gd name="T5" fmla="*/ 38 h 175"/>
                <a:gd name="T6" fmla="*/ 194 w 196"/>
                <a:gd name="T7" fmla="*/ 52 h 175"/>
                <a:gd name="T8" fmla="*/ 189 w 196"/>
                <a:gd name="T9" fmla="*/ 57 h 175"/>
                <a:gd name="T10" fmla="*/ 182 w 196"/>
                <a:gd name="T11" fmla="*/ 71 h 175"/>
                <a:gd name="T12" fmla="*/ 177 w 196"/>
                <a:gd name="T13" fmla="*/ 85 h 175"/>
                <a:gd name="T14" fmla="*/ 179 w 196"/>
                <a:gd name="T15" fmla="*/ 102 h 175"/>
                <a:gd name="T16" fmla="*/ 172 w 196"/>
                <a:gd name="T17" fmla="*/ 116 h 175"/>
                <a:gd name="T18" fmla="*/ 175 w 196"/>
                <a:gd name="T19" fmla="*/ 128 h 175"/>
                <a:gd name="T20" fmla="*/ 168 w 196"/>
                <a:gd name="T21" fmla="*/ 140 h 175"/>
                <a:gd name="T22" fmla="*/ 158 w 196"/>
                <a:gd name="T23" fmla="*/ 135 h 175"/>
                <a:gd name="T24" fmla="*/ 158 w 196"/>
                <a:gd name="T25" fmla="*/ 130 h 175"/>
                <a:gd name="T26" fmla="*/ 153 w 196"/>
                <a:gd name="T27" fmla="*/ 140 h 175"/>
                <a:gd name="T28" fmla="*/ 146 w 196"/>
                <a:gd name="T29" fmla="*/ 142 h 175"/>
                <a:gd name="T30" fmla="*/ 139 w 196"/>
                <a:gd name="T31" fmla="*/ 151 h 175"/>
                <a:gd name="T32" fmla="*/ 137 w 196"/>
                <a:gd name="T33" fmla="*/ 142 h 175"/>
                <a:gd name="T34" fmla="*/ 130 w 196"/>
                <a:gd name="T35" fmla="*/ 151 h 175"/>
                <a:gd name="T36" fmla="*/ 113 w 196"/>
                <a:gd name="T37" fmla="*/ 151 h 175"/>
                <a:gd name="T38" fmla="*/ 113 w 196"/>
                <a:gd name="T39" fmla="*/ 149 h 175"/>
                <a:gd name="T40" fmla="*/ 106 w 196"/>
                <a:gd name="T41" fmla="*/ 149 h 175"/>
                <a:gd name="T42" fmla="*/ 104 w 196"/>
                <a:gd name="T43" fmla="*/ 144 h 175"/>
                <a:gd name="T44" fmla="*/ 106 w 196"/>
                <a:gd name="T45" fmla="*/ 161 h 175"/>
                <a:gd name="T46" fmla="*/ 99 w 196"/>
                <a:gd name="T47" fmla="*/ 161 h 175"/>
                <a:gd name="T48" fmla="*/ 94 w 196"/>
                <a:gd name="T49" fmla="*/ 166 h 175"/>
                <a:gd name="T50" fmla="*/ 80 w 196"/>
                <a:gd name="T51" fmla="*/ 175 h 175"/>
                <a:gd name="T52" fmla="*/ 75 w 196"/>
                <a:gd name="T53" fmla="*/ 166 h 175"/>
                <a:gd name="T54" fmla="*/ 80 w 196"/>
                <a:gd name="T55" fmla="*/ 154 h 175"/>
                <a:gd name="T56" fmla="*/ 73 w 196"/>
                <a:gd name="T57" fmla="*/ 151 h 175"/>
                <a:gd name="T58" fmla="*/ 61 w 196"/>
                <a:gd name="T59" fmla="*/ 149 h 175"/>
                <a:gd name="T60" fmla="*/ 49 w 196"/>
                <a:gd name="T61" fmla="*/ 154 h 175"/>
                <a:gd name="T62" fmla="*/ 42 w 196"/>
                <a:gd name="T63" fmla="*/ 156 h 175"/>
                <a:gd name="T64" fmla="*/ 31 w 196"/>
                <a:gd name="T65" fmla="*/ 161 h 175"/>
                <a:gd name="T66" fmla="*/ 23 w 196"/>
                <a:gd name="T67" fmla="*/ 168 h 175"/>
                <a:gd name="T68" fmla="*/ 14 w 196"/>
                <a:gd name="T69" fmla="*/ 166 h 175"/>
                <a:gd name="T70" fmla="*/ 7 w 196"/>
                <a:gd name="T71" fmla="*/ 166 h 175"/>
                <a:gd name="T72" fmla="*/ 0 w 196"/>
                <a:gd name="T73" fmla="*/ 161 h 175"/>
                <a:gd name="T74" fmla="*/ 12 w 196"/>
                <a:gd name="T75" fmla="*/ 154 h 175"/>
                <a:gd name="T76" fmla="*/ 23 w 196"/>
                <a:gd name="T77" fmla="*/ 142 h 175"/>
                <a:gd name="T78" fmla="*/ 35 w 196"/>
                <a:gd name="T79" fmla="*/ 133 h 175"/>
                <a:gd name="T80" fmla="*/ 49 w 196"/>
                <a:gd name="T81" fmla="*/ 133 h 175"/>
                <a:gd name="T82" fmla="*/ 71 w 196"/>
                <a:gd name="T83" fmla="*/ 130 h 175"/>
                <a:gd name="T84" fmla="*/ 75 w 196"/>
                <a:gd name="T85" fmla="*/ 133 h 175"/>
                <a:gd name="T86" fmla="*/ 87 w 196"/>
                <a:gd name="T87" fmla="*/ 133 h 175"/>
                <a:gd name="T88" fmla="*/ 97 w 196"/>
                <a:gd name="T89" fmla="*/ 114 h 175"/>
                <a:gd name="T90" fmla="*/ 104 w 196"/>
                <a:gd name="T91" fmla="*/ 97 h 175"/>
                <a:gd name="T92" fmla="*/ 113 w 196"/>
                <a:gd name="T93" fmla="*/ 90 h 175"/>
                <a:gd name="T94" fmla="*/ 106 w 196"/>
                <a:gd name="T95" fmla="*/ 97 h 175"/>
                <a:gd name="T96" fmla="*/ 109 w 196"/>
                <a:gd name="T97" fmla="*/ 107 h 175"/>
                <a:gd name="T98" fmla="*/ 116 w 196"/>
                <a:gd name="T99" fmla="*/ 102 h 175"/>
                <a:gd name="T100" fmla="*/ 132 w 196"/>
                <a:gd name="T101" fmla="*/ 95 h 175"/>
                <a:gd name="T102" fmla="*/ 142 w 196"/>
                <a:gd name="T103" fmla="*/ 83 h 175"/>
                <a:gd name="T104" fmla="*/ 149 w 196"/>
                <a:gd name="T105" fmla="*/ 76 h 175"/>
                <a:gd name="T106" fmla="*/ 156 w 196"/>
                <a:gd name="T107" fmla="*/ 59 h 175"/>
                <a:gd name="T108" fmla="*/ 160 w 196"/>
                <a:gd name="T109" fmla="*/ 50 h 175"/>
                <a:gd name="T110" fmla="*/ 158 w 196"/>
                <a:gd name="T111" fmla="*/ 38 h 175"/>
                <a:gd name="T112" fmla="*/ 160 w 196"/>
                <a:gd name="T113" fmla="*/ 31 h 175"/>
                <a:gd name="T114" fmla="*/ 163 w 196"/>
                <a:gd name="T115" fmla="*/ 17 h 175"/>
                <a:gd name="T116" fmla="*/ 168 w 196"/>
                <a:gd name="T117" fmla="*/ 7 h 175"/>
                <a:gd name="T118" fmla="*/ 172 w 196"/>
                <a:gd name="T119" fmla="*/ 17 h 175"/>
                <a:gd name="T120" fmla="*/ 179 w 196"/>
                <a:gd name="T121" fmla="*/ 14 h 175"/>
                <a:gd name="T122" fmla="*/ 179 w 196"/>
                <a:gd name="T123" fmla="*/ 7 h 175"/>
                <a:gd name="T124" fmla="*/ 175 w 196"/>
                <a:gd name="T12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175">
                  <a:moveTo>
                    <a:pt x="179" y="3"/>
                  </a:moveTo>
                  <a:lnTo>
                    <a:pt x="184" y="3"/>
                  </a:lnTo>
                  <a:lnTo>
                    <a:pt x="184" y="5"/>
                  </a:lnTo>
                  <a:lnTo>
                    <a:pt x="184" y="12"/>
                  </a:lnTo>
                  <a:lnTo>
                    <a:pt x="184" y="17"/>
                  </a:lnTo>
                  <a:lnTo>
                    <a:pt x="186" y="22"/>
                  </a:lnTo>
                  <a:lnTo>
                    <a:pt x="189" y="26"/>
                  </a:lnTo>
                  <a:lnTo>
                    <a:pt x="191" y="31"/>
                  </a:lnTo>
                  <a:lnTo>
                    <a:pt x="194" y="38"/>
                  </a:lnTo>
                  <a:lnTo>
                    <a:pt x="196" y="45"/>
                  </a:lnTo>
                  <a:lnTo>
                    <a:pt x="196" y="50"/>
                  </a:lnTo>
                  <a:lnTo>
                    <a:pt x="194" y="52"/>
                  </a:lnTo>
                  <a:lnTo>
                    <a:pt x="194" y="55"/>
                  </a:lnTo>
                  <a:lnTo>
                    <a:pt x="191" y="57"/>
                  </a:lnTo>
                  <a:lnTo>
                    <a:pt x="189" y="57"/>
                  </a:lnTo>
                  <a:lnTo>
                    <a:pt x="186" y="66"/>
                  </a:lnTo>
                  <a:lnTo>
                    <a:pt x="186" y="71"/>
                  </a:lnTo>
                  <a:lnTo>
                    <a:pt x="182" y="71"/>
                  </a:lnTo>
                  <a:lnTo>
                    <a:pt x="177" y="73"/>
                  </a:lnTo>
                  <a:lnTo>
                    <a:pt x="177" y="81"/>
                  </a:lnTo>
                  <a:lnTo>
                    <a:pt x="177" y="85"/>
                  </a:lnTo>
                  <a:lnTo>
                    <a:pt x="177" y="90"/>
                  </a:lnTo>
                  <a:lnTo>
                    <a:pt x="177" y="97"/>
                  </a:lnTo>
                  <a:lnTo>
                    <a:pt x="179" y="102"/>
                  </a:lnTo>
                  <a:lnTo>
                    <a:pt x="175" y="104"/>
                  </a:lnTo>
                  <a:lnTo>
                    <a:pt x="172" y="111"/>
                  </a:lnTo>
                  <a:lnTo>
                    <a:pt x="172" y="116"/>
                  </a:lnTo>
                  <a:lnTo>
                    <a:pt x="170" y="123"/>
                  </a:lnTo>
                  <a:lnTo>
                    <a:pt x="175" y="128"/>
                  </a:lnTo>
                  <a:lnTo>
                    <a:pt x="175" y="128"/>
                  </a:lnTo>
                  <a:lnTo>
                    <a:pt x="172" y="130"/>
                  </a:lnTo>
                  <a:lnTo>
                    <a:pt x="168" y="135"/>
                  </a:lnTo>
                  <a:lnTo>
                    <a:pt x="168" y="140"/>
                  </a:lnTo>
                  <a:lnTo>
                    <a:pt x="158" y="147"/>
                  </a:lnTo>
                  <a:lnTo>
                    <a:pt x="158" y="144"/>
                  </a:lnTo>
                  <a:lnTo>
                    <a:pt x="158" y="135"/>
                  </a:lnTo>
                  <a:lnTo>
                    <a:pt x="160" y="133"/>
                  </a:lnTo>
                  <a:lnTo>
                    <a:pt x="160" y="130"/>
                  </a:lnTo>
                  <a:lnTo>
                    <a:pt x="158" y="130"/>
                  </a:lnTo>
                  <a:lnTo>
                    <a:pt x="156" y="135"/>
                  </a:lnTo>
                  <a:lnTo>
                    <a:pt x="156" y="137"/>
                  </a:lnTo>
                  <a:lnTo>
                    <a:pt x="153" y="140"/>
                  </a:lnTo>
                  <a:lnTo>
                    <a:pt x="151" y="140"/>
                  </a:lnTo>
                  <a:lnTo>
                    <a:pt x="149" y="137"/>
                  </a:lnTo>
                  <a:lnTo>
                    <a:pt x="146" y="142"/>
                  </a:lnTo>
                  <a:lnTo>
                    <a:pt x="144" y="149"/>
                  </a:lnTo>
                  <a:lnTo>
                    <a:pt x="142" y="151"/>
                  </a:lnTo>
                  <a:lnTo>
                    <a:pt x="139" y="151"/>
                  </a:lnTo>
                  <a:lnTo>
                    <a:pt x="139" y="147"/>
                  </a:lnTo>
                  <a:lnTo>
                    <a:pt x="139" y="142"/>
                  </a:lnTo>
                  <a:lnTo>
                    <a:pt x="137" y="142"/>
                  </a:lnTo>
                  <a:lnTo>
                    <a:pt x="134" y="144"/>
                  </a:lnTo>
                  <a:lnTo>
                    <a:pt x="132" y="149"/>
                  </a:lnTo>
                  <a:lnTo>
                    <a:pt x="130" y="151"/>
                  </a:lnTo>
                  <a:lnTo>
                    <a:pt x="130" y="154"/>
                  </a:lnTo>
                  <a:lnTo>
                    <a:pt x="123" y="151"/>
                  </a:lnTo>
                  <a:lnTo>
                    <a:pt x="113" y="151"/>
                  </a:lnTo>
                  <a:lnTo>
                    <a:pt x="109" y="154"/>
                  </a:lnTo>
                  <a:lnTo>
                    <a:pt x="111" y="151"/>
                  </a:lnTo>
                  <a:lnTo>
                    <a:pt x="113" y="149"/>
                  </a:lnTo>
                  <a:lnTo>
                    <a:pt x="109" y="149"/>
                  </a:lnTo>
                  <a:lnTo>
                    <a:pt x="109" y="147"/>
                  </a:lnTo>
                  <a:lnTo>
                    <a:pt x="106" y="149"/>
                  </a:lnTo>
                  <a:lnTo>
                    <a:pt x="104" y="147"/>
                  </a:lnTo>
                  <a:lnTo>
                    <a:pt x="104" y="144"/>
                  </a:lnTo>
                  <a:lnTo>
                    <a:pt x="104" y="144"/>
                  </a:lnTo>
                  <a:lnTo>
                    <a:pt x="99" y="151"/>
                  </a:lnTo>
                  <a:lnTo>
                    <a:pt x="106" y="156"/>
                  </a:lnTo>
                  <a:lnTo>
                    <a:pt x="106" y="161"/>
                  </a:lnTo>
                  <a:lnTo>
                    <a:pt x="104" y="159"/>
                  </a:lnTo>
                  <a:lnTo>
                    <a:pt x="101" y="161"/>
                  </a:lnTo>
                  <a:lnTo>
                    <a:pt x="99" y="161"/>
                  </a:lnTo>
                  <a:lnTo>
                    <a:pt x="97" y="161"/>
                  </a:lnTo>
                  <a:lnTo>
                    <a:pt x="94" y="163"/>
                  </a:lnTo>
                  <a:lnTo>
                    <a:pt x="94" y="166"/>
                  </a:lnTo>
                  <a:lnTo>
                    <a:pt x="90" y="175"/>
                  </a:lnTo>
                  <a:lnTo>
                    <a:pt x="85" y="175"/>
                  </a:lnTo>
                  <a:lnTo>
                    <a:pt x="80" y="175"/>
                  </a:lnTo>
                  <a:lnTo>
                    <a:pt x="80" y="170"/>
                  </a:lnTo>
                  <a:lnTo>
                    <a:pt x="75" y="168"/>
                  </a:lnTo>
                  <a:lnTo>
                    <a:pt x="75" y="166"/>
                  </a:lnTo>
                  <a:lnTo>
                    <a:pt x="75" y="159"/>
                  </a:lnTo>
                  <a:lnTo>
                    <a:pt x="78" y="159"/>
                  </a:lnTo>
                  <a:lnTo>
                    <a:pt x="80" y="154"/>
                  </a:lnTo>
                  <a:lnTo>
                    <a:pt x="80" y="151"/>
                  </a:lnTo>
                  <a:lnTo>
                    <a:pt x="80" y="151"/>
                  </a:lnTo>
                  <a:lnTo>
                    <a:pt x="73" y="151"/>
                  </a:lnTo>
                  <a:lnTo>
                    <a:pt x="71" y="151"/>
                  </a:lnTo>
                  <a:lnTo>
                    <a:pt x="66" y="149"/>
                  </a:lnTo>
                  <a:lnTo>
                    <a:pt x="61" y="149"/>
                  </a:lnTo>
                  <a:lnTo>
                    <a:pt x="59" y="151"/>
                  </a:lnTo>
                  <a:lnTo>
                    <a:pt x="52" y="156"/>
                  </a:lnTo>
                  <a:lnTo>
                    <a:pt x="49" y="154"/>
                  </a:lnTo>
                  <a:lnTo>
                    <a:pt x="47" y="156"/>
                  </a:lnTo>
                  <a:lnTo>
                    <a:pt x="47" y="156"/>
                  </a:lnTo>
                  <a:lnTo>
                    <a:pt x="42" y="156"/>
                  </a:lnTo>
                  <a:lnTo>
                    <a:pt x="40" y="156"/>
                  </a:lnTo>
                  <a:lnTo>
                    <a:pt x="40" y="159"/>
                  </a:lnTo>
                  <a:lnTo>
                    <a:pt x="31" y="161"/>
                  </a:lnTo>
                  <a:lnTo>
                    <a:pt x="28" y="159"/>
                  </a:lnTo>
                  <a:lnTo>
                    <a:pt x="26" y="159"/>
                  </a:lnTo>
                  <a:lnTo>
                    <a:pt x="23" y="168"/>
                  </a:lnTo>
                  <a:lnTo>
                    <a:pt x="21" y="168"/>
                  </a:lnTo>
                  <a:lnTo>
                    <a:pt x="16" y="166"/>
                  </a:lnTo>
                  <a:lnTo>
                    <a:pt x="14" y="166"/>
                  </a:lnTo>
                  <a:lnTo>
                    <a:pt x="12" y="166"/>
                  </a:lnTo>
                  <a:lnTo>
                    <a:pt x="9" y="166"/>
                  </a:lnTo>
                  <a:lnTo>
                    <a:pt x="7" y="166"/>
                  </a:lnTo>
                  <a:lnTo>
                    <a:pt x="5" y="166"/>
                  </a:lnTo>
                  <a:lnTo>
                    <a:pt x="0" y="166"/>
                  </a:lnTo>
                  <a:lnTo>
                    <a:pt x="0" y="161"/>
                  </a:lnTo>
                  <a:lnTo>
                    <a:pt x="2" y="159"/>
                  </a:lnTo>
                  <a:lnTo>
                    <a:pt x="9" y="156"/>
                  </a:lnTo>
                  <a:lnTo>
                    <a:pt x="12" y="154"/>
                  </a:lnTo>
                  <a:lnTo>
                    <a:pt x="16" y="151"/>
                  </a:lnTo>
                  <a:lnTo>
                    <a:pt x="21" y="147"/>
                  </a:lnTo>
                  <a:lnTo>
                    <a:pt x="23" y="142"/>
                  </a:lnTo>
                  <a:lnTo>
                    <a:pt x="28" y="140"/>
                  </a:lnTo>
                  <a:lnTo>
                    <a:pt x="31" y="135"/>
                  </a:lnTo>
                  <a:lnTo>
                    <a:pt x="35" y="133"/>
                  </a:lnTo>
                  <a:lnTo>
                    <a:pt x="38" y="133"/>
                  </a:lnTo>
                  <a:lnTo>
                    <a:pt x="45" y="133"/>
                  </a:lnTo>
                  <a:lnTo>
                    <a:pt x="49" y="133"/>
                  </a:lnTo>
                  <a:lnTo>
                    <a:pt x="54" y="133"/>
                  </a:lnTo>
                  <a:lnTo>
                    <a:pt x="68" y="130"/>
                  </a:lnTo>
                  <a:lnTo>
                    <a:pt x="71" y="130"/>
                  </a:lnTo>
                  <a:lnTo>
                    <a:pt x="73" y="128"/>
                  </a:lnTo>
                  <a:lnTo>
                    <a:pt x="78" y="128"/>
                  </a:lnTo>
                  <a:lnTo>
                    <a:pt x="75" y="133"/>
                  </a:lnTo>
                  <a:lnTo>
                    <a:pt x="85" y="133"/>
                  </a:lnTo>
                  <a:lnTo>
                    <a:pt x="85" y="133"/>
                  </a:lnTo>
                  <a:lnTo>
                    <a:pt x="87" y="133"/>
                  </a:lnTo>
                  <a:lnTo>
                    <a:pt x="92" y="128"/>
                  </a:lnTo>
                  <a:lnTo>
                    <a:pt x="92" y="118"/>
                  </a:lnTo>
                  <a:lnTo>
                    <a:pt x="97" y="114"/>
                  </a:lnTo>
                  <a:lnTo>
                    <a:pt x="101" y="109"/>
                  </a:lnTo>
                  <a:lnTo>
                    <a:pt x="104" y="102"/>
                  </a:lnTo>
                  <a:lnTo>
                    <a:pt x="104" y="97"/>
                  </a:lnTo>
                  <a:lnTo>
                    <a:pt x="104" y="95"/>
                  </a:lnTo>
                  <a:lnTo>
                    <a:pt x="111" y="90"/>
                  </a:lnTo>
                  <a:lnTo>
                    <a:pt x="113" y="90"/>
                  </a:lnTo>
                  <a:lnTo>
                    <a:pt x="113" y="95"/>
                  </a:lnTo>
                  <a:lnTo>
                    <a:pt x="109" y="95"/>
                  </a:lnTo>
                  <a:lnTo>
                    <a:pt x="106" y="97"/>
                  </a:lnTo>
                  <a:lnTo>
                    <a:pt x="106" y="99"/>
                  </a:lnTo>
                  <a:lnTo>
                    <a:pt x="109" y="102"/>
                  </a:lnTo>
                  <a:lnTo>
                    <a:pt x="109" y="107"/>
                  </a:lnTo>
                  <a:lnTo>
                    <a:pt x="109" y="107"/>
                  </a:lnTo>
                  <a:lnTo>
                    <a:pt x="113" y="107"/>
                  </a:lnTo>
                  <a:lnTo>
                    <a:pt x="116" y="102"/>
                  </a:lnTo>
                  <a:lnTo>
                    <a:pt x="120" y="99"/>
                  </a:lnTo>
                  <a:lnTo>
                    <a:pt x="125" y="99"/>
                  </a:lnTo>
                  <a:lnTo>
                    <a:pt x="132" y="95"/>
                  </a:lnTo>
                  <a:lnTo>
                    <a:pt x="134" y="90"/>
                  </a:lnTo>
                  <a:lnTo>
                    <a:pt x="137" y="85"/>
                  </a:lnTo>
                  <a:lnTo>
                    <a:pt x="142" y="83"/>
                  </a:lnTo>
                  <a:lnTo>
                    <a:pt x="144" y="78"/>
                  </a:lnTo>
                  <a:lnTo>
                    <a:pt x="146" y="78"/>
                  </a:lnTo>
                  <a:lnTo>
                    <a:pt x="149" y="76"/>
                  </a:lnTo>
                  <a:lnTo>
                    <a:pt x="151" y="71"/>
                  </a:lnTo>
                  <a:lnTo>
                    <a:pt x="151" y="69"/>
                  </a:lnTo>
                  <a:lnTo>
                    <a:pt x="156" y="59"/>
                  </a:lnTo>
                  <a:lnTo>
                    <a:pt x="156" y="57"/>
                  </a:lnTo>
                  <a:lnTo>
                    <a:pt x="158" y="52"/>
                  </a:lnTo>
                  <a:lnTo>
                    <a:pt x="160" y="50"/>
                  </a:lnTo>
                  <a:lnTo>
                    <a:pt x="160" y="45"/>
                  </a:lnTo>
                  <a:lnTo>
                    <a:pt x="160" y="40"/>
                  </a:lnTo>
                  <a:lnTo>
                    <a:pt x="158" y="38"/>
                  </a:lnTo>
                  <a:lnTo>
                    <a:pt x="156" y="36"/>
                  </a:lnTo>
                  <a:lnTo>
                    <a:pt x="156" y="33"/>
                  </a:lnTo>
                  <a:lnTo>
                    <a:pt x="160" y="31"/>
                  </a:lnTo>
                  <a:lnTo>
                    <a:pt x="158" y="19"/>
                  </a:lnTo>
                  <a:lnTo>
                    <a:pt x="160" y="17"/>
                  </a:lnTo>
                  <a:lnTo>
                    <a:pt x="163" y="17"/>
                  </a:lnTo>
                  <a:lnTo>
                    <a:pt x="165" y="10"/>
                  </a:lnTo>
                  <a:lnTo>
                    <a:pt x="165" y="7"/>
                  </a:lnTo>
                  <a:lnTo>
                    <a:pt x="168" y="7"/>
                  </a:lnTo>
                  <a:lnTo>
                    <a:pt x="170" y="10"/>
                  </a:lnTo>
                  <a:lnTo>
                    <a:pt x="170" y="14"/>
                  </a:lnTo>
                  <a:lnTo>
                    <a:pt x="172" y="17"/>
                  </a:lnTo>
                  <a:lnTo>
                    <a:pt x="175" y="12"/>
                  </a:lnTo>
                  <a:lnTo>
                    <a:pt x="177" y="14"/>
                  </a:lnTo>
                  <a:lnTo>
                    <a:pt x="179" y="14"/>
                  </a:lnTo>
                  <a:lnTo>
                    <a:pt x="182" y="10"/>
                  </a:lnTo>
                  <a:lnTo>
                    <a:pt x="182" y="5"/>
                  </a:lnTo>
                  <a:lnTo>
                    <a:pt x="179" y="7"/>
                  </a:lnTo>
                  <a:lnTo>
                    <a:pt x="175" y="10"/>
                  </a:lnTo>
                  <a:lnTo>
                    <a:pt x="172" y="5"/>
                  </a:lnTo>
                  <a:lnTo>
                    <a:pt x="175" y="0"/>
                  </a:lnTo>
                  <a:lnTo>
                    <a:pt x="177" y="0"/>
                  </a:lnTo>
                  <a:lnTo>
                    <a:pt x="179"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0" name="Freeform 886">
              <a:extLst>
                <a:ext uri="{FF2B5EF4-FFF2-40B4-BE49-F238E27FC236}">
                  <a16:creationId xmlns:a16="http://schemas.microsoft.com/office/drawing/2014/main" id="{D116CB66-8707-4F27-BE53-491ECABA50F1}"/>
                </a:ext>
              </a:extLst>
            </p:cNvPr>
            <p:cNvSpPr>
              <a:spLocks/>
            </p:cNvSpPr>
            <p:nvPr/>
          </p:nvSpPr>
          <p:spPr bwMode="auto">
            <a:xfrm>
              <a:off x="7656990" y="3341945"/>
              <a:ext cx="324269" cy="289525"/>
            </a:xfrm>
            <a:custGeom>
              <a:avLst/>
              <a:gdLst>
                <a:gd name="T0" fmla="*/ 184 w 196"/>
                <a:gd name="T1" fmla="*/ 5 h 175"/>
                <a:gd name="T2" fmla="*/ 186 w 196"/>
                <a:gd name="T3" fmla="*/ 22 h 175"/>
                <a:gd name="T4" fmla="*/ 194 w 196"/>
                <a:gd name="T5" fmla="*/ 38 h 175"/>
                <a:gd name="T6" fmla="*/ 194 w 196"/>
                <a:gd name="T7" fmla="*/ 52 h 175"/>
                <a:gd name="T8" fmla="*/ 189 w 196"/>
                <a:gd name="T9" fmla="*/ 57 h 175"/>
                <a:gd name="T10" fmla="*/ 182 w 196"/>
                <a:gd name="T11" fmla="*/ 71 h 175"/>
                <a:gd name="T12" fmla="*/ 177 w 196"/>
                <a:gd name="T13" fmla="*/ 85 h 175"/>
                <a:gd name="T14" fmla="*/ 179 w 196"/>
                <a:gd name="T15" fmla="*/ 102 h 175"/>
                <a:gd name="T16" fmla="*/ 172 w 196"/>
                <a:gd name="T17" fmla="*/ 116 h 175"/>
                <a:gd name="T18" fmla="*/ 175 w 196"/>
                <a:gd name="T19" fmla="*/ 128 h 175"/>
                <a:gd name="T20" fmla="*/ 168 w 196"/>
                <a:gd name="T21" fmla="*/ 140 h 175"/>
                <a:gd name="T22" fmla="*/ 158 w 196"/>
                <a:gd name="T23" fmla="*/ 135 h 175"/>
                <a:gd name="T24" fmla="*/ 158 w 196"/>
                <a:gd name="T25" fmla="*/ 130 h 175"/>
                <a:gd name="T26" fmla="*/ 153 w 196"/>
                <a:gd name="T27" fmla="*/ 140 h 175"/>
                <a:gd name="T28" fmla="*/ 146 w 196"/>
                <a:gd name="T29" fmla="*/ 142 h 175"/>
                <a:gd name="T30" fmla="*/ 139 w 196"/>
                <a:gd name="T31" fmla="*/ 151 h 175"/>
                <a:gd name="T32" fmla="*/ 137 w 196"/>
                <a:gd name="T33" fmla="*/ 142 h 175"/>
                <a:gd name="T34" fmla="*/ 130 w 196"/>
                <a:gd name="T35" fmla="*/ 151 h 175"/>
                <a:gd name="T36" fmla="*/ 113 w 196"/>
                <a:gd name="T37" fmla="*/ 151 h 175"/>
                <a:gd name="T38" fmla="*/ 113 w 196"/>
                <a:gd name="T39" fmla="*/ 149 h 175"/>
                <a:gd name="T40" fmla="*/ 106 w 196"/>
                <a:gd name="T41" fmla="*/ 149 h 175"/>
                <a:gd name="T42" fmla="*/ 104 w 196"/>
                <a:gd name="T43" fmla="*/ 144 h 175"/>
                <a:gd name="T44" fmla="*/ 106 w 196"/>
                <a:gd name="T45" fmla="*/ 161 h 175"/>
                <a:gd name="T46" fmla="*/ 99 w 196"/>
                <a:gd name="T47" fmla="*/ 161 h 175"/>
                <a:gd name="T48" fmla="*/ 94 w 196"/>
                <a:gd name="T49" fmla="*/ 166 h 175"/>
                <a:gd name="T50" fmla="*/ 80 w 196"/>
                <a:gd name="T51" fmla="*/ 175 h 175"/>
                <a:gd name="T52" fmla="*/ 75 w 196"/>
                <a:gd name="T53" fmla="*/ 166 h 175"/>
                <a:gd name="T54" fmla="*/ 80 w 196"/>
                <a:gd name="T55" fmla="*/ 154 h 175"/>
                <a:gd name="T56" fmla="*/ 73 w 196"/>
                <a:gd name="T57" fmla="*/ 151 h 175"/>
                <a:gd name="T58" fmla="*/ 61 w 196"/>
                <a:gd name="T59" fmla="*/ 149 h 175"/>
                <a:gd name="T60" fmla="*/ 49 w 196"/>
                <a:gd name="T61" fmla="*/ 154 h 175"/>
                <a:gd name="T62" fmla="*/ 42 w 196"/>
                <a:gd name="T63" fmla="*/ 156 h 175"/>
                <a:gd name="T64" fmla="*/ 31 w 196"/>
                <a:gd name="T65" fmla="*/ 161 h 175"/>
                <a:gd name="T66" fmla="*/ 23 w 196"/>
                <a:gd name="T67" fmla="*/ 168 h 175"/>
                <a:gd name="T68" fmla="*/ 14 w 196"/>
                <a:gd name="T69" fmla="*/ 166 h 175"/>
                <a:gd name="T70" fmla="*/ 7 w 196"/>
                <a:gd name="T71" fmla="*/ 166 h 175"/>
                <a:gd name="T72" fmla="*/ 0 w 196"/>
                <a:gd name="T73" fmla="*/ 161 h 175"/>
                <a:gd name="T74" fmla="*/ 12 w 196"/>
                <a:gd name="T75" fmla="*/ 154 h 175"/>
                <a:gd name="T76" fmla="*/ 23 w 196"/>
                <a:gd name="T77" fmla="*/ 142 h 175"/>
                <a:gd name="T78" fmla="*/ 35 w 196"/>
                <a:gd name="T79" fmla="*/ 133 h 175"/>
                <a:gd name="T80" fmla="*/ 49 w 196"/>
                <a:gd name="T81" fmla="*/ 133 h 175"/>
                <a:gd name="T82" fmla="*/ 71 w 196"/>
                <a:gd name="T83" fmla="*/ 130 h 175"/>
                <a:gd name="T84" fmla="*/ 75 w 196"/>
                <a:gd name="T85" fmla="*/ 133 h 175"/>
                <a:gd name="T86" fmla="*/ 87 w 196"/>
                <a:gd name="T87" fmla="*/ 133 h 175"/>
                <a:gd name="T88" fmla="*/ 97 w 196"/>
                <a:gd name="T89" fmla="*/ 114 h 175"/>
                <a:gd name="T90" fmla="*/ 104 w 196"/>
                <a:gd name="T91" fmla="*/ 97 h 175"/>
                <a:gd name="T92" fmla="*/ 113 w 196"/>
                <a:gd name="T93" fmla="*/ 90 h 175"/>
                <a:gd name="T94" fmla="*/ 106 w 196"/>
                <a:gd name="T95" fmla="*/ 97 h 175"/>
                <a:gd name="T96" fmla="*/ 109 w 196"/>
                <a:gd name="T97" fmla="*/ 107 h 175"/>
                <a:gd name="T98" fmla="*/ 116 w 196"/>
                <a:gd name="T99" fmla="*/ 102 h 175"/>
                <a:gd name="T100" fmla="*/ 132 w 196"/>
                <a:gd name="T101" fmla="*/ 95 h 175"/>
                <a:gd name="T102" fmla="*/ 142 w 196"/>
                <a:gd name="T103" fmla="*/ 83 h 175"/>
                <a:gd name="T104" fmla="*/ 149 w 196"/>
                <a:gd name="T105" fmla="*/ 76 h 175"/>
                <a:gd name="T106" fmla="*/ 156 w 196"/>
                <a:gd name="T107" fmla="*/ 59 h 175"/>
                <a:gd name="T108" fmla="*/ 160 w 196"/>
                <a:gd name="T109" fmla="*/ 50 h 175"/>
                <a:gd name="T110" fmla="*/ 158 w 196"/>
                <a:gd name="T111" fmla="*/ 38 h 175"/>
                <a:gd name="T112" fmla="*/ 160 w 196"/>
                <a:gd name="T113" fmla="*/ 31 h 175"/>
                <a:gd name="T114" fmla="*/ 163 w 196"/>
                <a:gd name="T115" fmla="*/ 17 h 175"/>
                <a:gd name="T116" fmla="*/ 168 w 196"/>
                <a:gd name="T117" fmla="*/ 7 h 175"/>
                <a:gd name="T118" fmla="*/ 172 w 196"/>
                <a:gd name="T119" fmla="*/ 17 h 175"/>
                <a:gd name="T120" fmla="*/ 179 w 196"/>
                <a:gd name="T121" fmla="*/ 14 h 175"/>
                <a:gd name="T122" fmla="*/ 179 w 196"/>
                <a:gd name="T123" fmla="*/ 7 h 175"/>
                <a:gd name="T124" fmla="*/ 175 w 196"/>
                <a:gd name="T12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175">
                  <a:moveTo>
                    <a:pt x="179" y="3"/>
                  </a:moveTo>
                  <a:lnTo>
                    <a:pt x="184" y="3"/>
                  </a:lnTo>
                  <a:lnTo>
                    <a:pt x="184" y="5"/>
                  </a:lnTo>
                  <a:lnTo>
                    <a:pt x="184" y="12"/>
                  </a:lnTo>
                  <a:lnTo>
                    <a:pt x="184" y="17"/>
                  </a:lnTo>
                  <a:lnTo>
                    <a:pt x="186" y="22"/>
                  </a:lnTo>
                  <a:lnTo>
                    <a:pt x="189" y="26"/>
                  </a:lnTo>
                  <a:lnTo>
                    <a:pt x="191" y="31"/>
                  </a:lnTo>
                  <a:lnTo>
                    <a:pt x="194" y="38"/>
                  </a:lnTo>
                  <a:lnTo>
                    <a:pt x="196" y="45"/>
                  </a:lnTo>
                  <a:lnTo>
                    <a:pt x="196" y="50"/>
                  </a:lnTo>
                  <a:lnTo>
                    <a:pt x="194" y="52"/>
                  </a:lnTo>
                  <a:lnTo>
                    <a:pt x="194" y="55"/>
                  </a:lnTo>
                  <a:lnTo>
                    <a:pt x="191" y="57"/>
                  </a:lnTo>
                  <a:lnTo>
                    <a:pt x="189" y="57"/>
                  </a:lnTo>
                  <a:lnTo>
                    <a:pt x="186" y="66"/>
                  </a:lnTo>
                  <a:lnTo>
                    <a:pt x="186" y="71"/>
                  </a:lnTo>
                  <a:lnTo>
                    <a:pt x="182" y="71"/>
                  </a:lnTo>
                  <a:lnTo>
                    <a:pt x="177" y="73"/>
                  </a:lnTo>
                  <a:lnTo>
                    <a:pt x="177" y="81"/>
                  </a:lnTo>
                  <a:lnTo>
                    <a:pt x="177" y="85"/>
                  </a:lnTo>
                  <a:lnTo>
                    <a:pt x="177" y="90"/>
                  </a:lnTo>
                  <a:lnTo>
                    <a:pt x="177" y="97"/>
                  </a:lnTo>
                  <a:lnTo>
                    <a:pt x="179" y="102"/>
                  </a:lnTo>
                  <a:lnTo>
                    <a:pt x="175" y="104"/>
                  </a:lnTo>
                  <a:lnTo>
                    <a:pt x="172" y="111"/>
                  </a:lnTo>
                  <a:lnTo>
                    <a:pt x="172" y="116"/>
                  </a:lnTo>
                  <a:lnTo>
                    <a:pt x="170" y="123"/>
                  </a:lnTo>
                  <a:lnTo>
                    <a:pt x="175" y="128"/>
                  </a:lnTo>
                  <a:lnTo>
                    <a:pt x="175" y="128"/>
                  </a:lnTo>
                  <a:lnTo>
                    <a:pt x="172" y="130"/>
                  </a:lnTo>
                  <a:lnTo>
                    <a:pt x="168" y="135"/>
                  </a:lnTo>
                  <a:lnTo>
                    <a:pt x="168" y="140"/>
                  </a:lnTo>
                  <a:lnTo>
                    <a:pt x="158" y="147"/>
                  </a:lnTo>
                  <a:lnTo>
                    <a:pt x="158" y="144"/>
                  </a:lnTo>
                  <a:lnTo>
                    <a:pt x="158" y="135"/>
                  </a:lnTo>
                  <a:lnTo>
                    <a:pt x="160" y="133"/>
                  </a:lnTo>
                  <a:lnTo>
                    <a:pt x="160" y="130"/>
                  </a:lnTo>
                  <a:lnTo>
                    <a:pt x="158" y="130"/>
                  </a:lnTo>
                  <a:lnTo>
                    <a:pt x="156" y="135"/>
                  </a:lnTo>
                  <a:lnTo>
                    <a:pt x="156" y="137"/>
                  </a:lnTo>
                  <a:lnTo>
                    <a:pt x="153" y="140"/>
                  </a:lnTo>
                  <a:lnTo>
                    <a:pt x="151" y="140"/>
                  </a:lnTo>
                  <a:lnTo>
                    <a:pt x="149" y="137"/>
                  </a:lnTo>
                  <a:lnTo>
                    <a:pt x="146" y="142"/>
                  </a:lnTo>
                  <a:lnTo>
                    <a:pt x="144" y="149"/>
                  </a:lnTo>
                  <a:lnTo>
                    <a:pt x="142" y="151"/>
                  </a:lnTo>
                  <a:lnTo>
                    <a:pt x="139" y="151"/>
                  </a:lnTo>
                  <a:lnTo>
                    <a:pt x="139" y="147"/>
                  </a:lnTo>
                  <a:lnTo>
                    <a:pt x="139" y="142"/>
                  </a:lnTo>
                  <a:lnTo>
                    <a:pt x="137" y="142"/>
                  </a:lnTo>
                  <a:lnTo>
                    <a:pt x="134" y="144"/>
                  </a:lnTo>
                  <a:lnTo>
                    <a:pt x="132" y="149"/>
                  </a:lnTo>
                  <a:lnTo>
                    <a:pt x="130" y="151"/>
                  </a:lnTo>
                  <a:lnTo>
                    <a:pt x="130" y="154"/>
                  </a:lnTo>
                  <a:lnTo>
                    <a:pt x="123" y="151"/>
                  </a:lnTo>
                  <a:lnTo>
                    <a:pt x="113" y="151"/>
                  </a:lnTo>
                  <a:lnTo>
                    <a:pt x="109" y="154"/>
                  </a:lnTo>
                  <a:lnTo>
                    <a:pt x="111" y="151"/>
                  </a:lnTo>
                  <a:lnTo>
                    <a:pt x="113" y="149"/>
                  </a:lnTo>
                  <a:lnTo>
                    <a:pt x="109" y="149"/>
                  </a:lnTo>
                  <a:lnTo>
                    <a:pt x="109" y="147"/>
                  </a:lnTo>
                  <a:lnTo>
                    <a:pt x="106" y="149"/>
                  </a:lnTo>
                  <a:lnTo>
                    <a:pt x="104" y="147"/>
                  </a:lnTo>
                  <a:lnTo>
                    <a:pt x="104" y="144"/>
                  </a:lnTo>
                  <a:lnTo>
                    <a:pt x="104" y="144"/>
                  </a:lnTo>
                  <a:lnTo>
                    <a:pt x="99" y="151"/>
                  </a:lnTo>
                  <a:lnTo>
                    <a:pt x="106" y="156"/>
                  </a:lnTo>
                  <a:lnTo>
                    <a:pt x="106" y="161"/>
                  </a:lnTo>
                  <a:lnTo>
                    <a:pt x="104" y="159"/>
                  </a:lnTo>
                  <a:lnTo>
                    <a:pt x="101" y="161"/>
                  </a:lnTo>
                  <a:lnTo>
                    <a:pt x="99" y="161"/>
                  </a:lnTo>
                  <a:lnTo>
                    <a:pt x="97" y="161"/>
                  </a:lnTo>
                  <a:lnTo>
                    <a:pt x="94" y="163"/>
                  </a:lnTo>
                  <a:lnTo>
                    <a:pt x="94" y="166"/>
                  </a:lnTo>
                  <a:lnTo>
                    <a:pt x="90" y="175"/>
                  </a:lnTo>
                  <a:lnTo>
                    <a:pt x="85" y="175"/>
                  </a:lnTo>
                  <a:lnTo>
                    <a:pt x="80" y="175"/>
                  </a:lnTo>
                  <a:lnTo>
                    <a:pt x="80" y="170"/>
                  </a:lnTo>
                  <a:lnTo>
                    <a:pt x="75" y="168"/>
                  </a:lnTo>
                  <a:lnTo>
                    <a:pt x="75" y="166"/>
                  </a:lnTo>
                  <a:lnTo>
                    <a:pt x="75" y="159"/>
                  </a:lnTo>
                  <a:lnTo>
                    <a:pt x="78" y="159"/>
                  </a:lnTo>
                  <a:lnTo>
                    <a:pt x="80" y="154"/>
                  </a:lnTo>
                  <a:lnTo>
                    <a:pt x="80" y="151"/>
                  </a:lnTo>
                  <a:lnTo>
                    <a:pt x="80" y="151"/>
                  </a:lnTo>
                  <a:lnTo>
                    <a:pt x="73" y="151"/>
                  </a:lnTo>
                  <a:lnTo>
                    <a:pt x="71" y="151"/>
                  </a:lnTo>
                  <a:lnTo>
                    <a:pt x="66" y="149"/>
                  </a:lnTo>
                  <a:lnTo>
                    <a:pt x="61" y="149"/>
                  </a:lnTo>
                  <a:lnTo>
                    <a:pt x="59" y="151"/>
                  </a:lnTo>
                  <a:lnTo>
                    <a:pt x="52" y="156"/>
                  </a:lnTo>
                  <a:lnTo>
                    <a:pt x="49" y="154"/>
                  </a:lnTo>
                  <a:lnTo>
                    <a:pt x="47" y="156"/>
                  </a:lnTo>
                  <a:lnTo>
                    <a:pt x="47" y="156"/>
                  </a:lnTo>
                  <a:lnTo>
                    <a:pt x="42" y="156"/>
                  </a:lnTo>
                  <a:lnTo>
                    <a:pt x="40" y="156"/>
                  </a:lnTo>
                  <a:lnTo>
                    <a:pt x="40" y="159"/>
                  </a:lnTo>
                  <a:lnTo>
                    <a:pt x="31" y="161"/>
                  </a:lnTo>
                  <a:lnTo>
                    <a:pt x="28" y="159"/>
                  </a:lnTo>
                  <a:lnTo>
                    <a:pt x="26" y="159"/>
                  </a:lnTo>
                  <a:lnTo>
                    <a:pt x="23" y="168"/>
                  </a:lnTo>
                  <a:lnTo>
                    <a:pt x="21" y="168"/>
                  </a:lnTo>
                  <a:lnTo>
                    <a:pt x="16" y="166"/>
                  </a:lnTo>
                  <a:lnTo>
                    <a:pt x="14" y="166"/>
                  </a:lnTo>
                  <a:lnTo>
                    <a:pt x="12" y="166"/>
                  </a:lnTo>
                  <a:lnTo>
                    <a:pt x="9" y="166"/>
                  </a:lnTo>
                  <a:lnTo>
                    <a:pt x="7" y="166"/>
                  </a:lnTo>
                  <a:lnTo>
                    <a:pt x="5" y="166"/>
                  </a:lnTo>
                  <a:lnTo>
                    <a:pt x="0" y="166"/>
                  </a:lnTo>
                  <a:lnTo>
                    <a:pt x="0" y="161"/>
                  </a:lnTo>
                  <a:lnTo>
                    <a:pt x="2" y="159"/>
                  </a:lnTo>
                  <a:lnTo>
                    <a:pt x="9" y="156"/>
                  </a:lnTo>
                  <a:lnTo>
                    <a:pt x="12" y="154"/>
                  </a:lnTo>
                  <a:lnTo>
                    <a:pt x="16" y="151"/>
                  </a:lnTo>
                  <a:lnTo>
                    <a:pt x="21" y="147"/>
                  </a:lnTo>
                  <a:lnTo>
                    <a:pt x="23" y="142"/>
                  </a:lnTo>
                  <a:lnTo>
                    <a:pt x="28" y="140"/>
                  </a:lnTo>
                  <a:lnTo>
                    <a:pt x="31" y="135"/>
                  </a:lnTo>
                  <a:lnTo>
                    <a:pt x="35" y="133"/>
                  </a:lnTo>
                  <a:lnTo>
                    <a:pt x="38" y="133"/>
                  </a:lnTo>
                  <a:lnTo>
                    <a:pt x="45" y="133"/>
                  </a:lnTo>
                  <a:lnTo>
                    <a:pt x="49" y="133"/>
                  </a:lnTo>
                  <a:lnTo>
                    <a:pt x="54" y="133"/>
                  </a:lnTo>
                  <a:lnTo>
                    <a:pt x="68" y="130"/>
                  </a:lnTo>
                  <a:lnTo>
                    <a:pt x="71" y="130"/>
                  </a:lnTo>
                  <a:lnTo>
                    <a:pt x="73" y="128"/>
                  </a:lnTo>
                  <a:lnTo>
                    <a:pt x="78" y="128"/>
                  </a:lnTo>
                  <a:lnTo>
                    <a:pt x="75" y="133"/>
                  </a:lnTo>
                  <a:lnTo>
                    <a:pt x="85" y="133"/>
                  </a:lnTo>
                  <a:lnTo>
                    <a:pt x="85" y="133"/>
                  </a:lnTo>
                  <a:lnTo>
                    <a:pt x="87" y="133"/>
                  </a:lnTo>
                  <a:lnTo>
                    <a:pt x="92" y="128"/>
                  </a:lnTo>
                  <a:lnTo>
                    <a:pt x="92" y="118"/>
                  </a:lnTo>
                  <a:lnTo>
                    <a:pt x="97" y="114"/>
                  </a:lnTo>
                  <a:lnTo>
                    <a:pt x="101" y="109"/>
                  </a:lnTo>
                  <a:lnTo>
                    <a:pt x="104" y="102"/>
                  </a:lnTo>
                  <a:lnTo>
                    <a:pt x="104" y="97"/>
                  </a:lnTo>
                  <a:lnTo>
                    <a:pt x="104" y="95"/>
                  </a:lnTo>
                  <a:lnTo>
                    <a:pt x="111" y="90"/>
                  </a:lnTo>
                  <a:lnTo>
                    <a:pt x="113" y="90"/>
                  </a:lnTo>
                  <a:lnTo>
                    <a:pt x="113" y="95"/>
                  </a:lnTo>
                  <a:lnTo>
                    <a:pt x="109" y="95"/>
                  </a:lnTo>
                  <a:lnTo>
                    <a:pt x="106" y="97"/>
                  </a:lnTo>
                  <a:lnTo>
                    <a:pt x="106" y="99"/>
                  </a:lnTo>
                  <a:lnTo>
                    <a:pt x="109" y="102"/>
                  </a:lnTo>
                  <a:lnTo>
                    <a:pt x="109" y="107"/>
                  </a:lnTo>
                  <a:lnTo>
                    <a:pt x="109" y="107"/>
                  </a:lnTo>
                  <a:lnTo>
                    <a:pt x="113" y="107"/>
                  </a:lnTo>
                  <a:lnTo>
                    <a:pt x="116" y="102"/>
                  </a:lnTo>
                  <a:lnTo>
                    <a:pt x="120" y="99"/>
                  </a:lnTo>
                  <a:lnTo>
                    <a:pt x="125" y="99"/>
                  </a:lnTo>
                  <a:lnTo>
                    <a:pt x="132" y="95"/>
                  </a:lnTo>
                  <a:lnTo>
                    <a:pt x="134" y="90"/>
                  </a:lnTo>
                  <a:lnTo>
                    <a:pt x="137" y="85"/>
                  </a:lnTo>
                  <a:lnTo>
                    <a:pt x="142" y="83"/>
                  </a:lnTo>
                  <a:lnTo>
                    <a:pt x="144" y="78"/>
                  </a:lnTo>
                  <a:lnTo>
                    <a:pt x="146" y="78"/>
                  </a:lnTo>
                  <a:lnTo>
                    <a:pt x="149" y="76"/>
                  </a:lnTo>
                  <a:lnTo>
                    <a:pt x="151" y="71"/>
                  </a:lnTo>
                  <a:lnTo>
                    <a:pt x="151" y="69"/>
                  </a:lnTo>
                  <a:lnTo>
                    <a:pt x="156" y="59"/>
                  </a:lnTo>
                  <a:lnTo>
                    <a:pt x="156" y="57"/>
                  </a:lnTo>
                  <a:lnTo>
                    <a:pt x="158" y="52"/>
                  </a:lnTo>
                  <a:lnTo>
                    <a:pt x="160" y="50"/>
                  </a:lnTo>
                  <a:lnTo>
                    <a:pt x="160" y="45"/>
                  </a:lnTo>
                  <a:lnTo>
                    <a:pt x="160" y="40"/>
                  </a:lnTo>
                  <a:lnTo>
                    <a:pt x="158" y="38"/>
                  </a:lnTo>
                  <a:lnTo>
                    <a:pt x="156" y="36"/>
                  </a:lnTo>
                  <a:lnTo>
                    <a:pt x="156" y="33"/>
                  </a:lnTo>
                  <a:lnTo>
                    <a:pt x="160" y="31"/>
                  </a:lnTo>
                  <a:lnTo>
                    <a:pt x="158" y="19"/>
                  </a:lnTo>
                  <a:lnTo>
                    <a:pt x="160" y="17"/>
                  </a:lnTo>
                  <a:lnTo>
                    <a:pt x="163" y="17"/>
                  </a:lnTo>
                  <a:lnTo>
                    <a:pt x="165" y="10"/>
                  </a:lnTo>
                  <a:lnTo>
                    <a:pt x="165" y="7"/>
                  </a:lnTo>
                  <a:lnTo>
                    <a:pt x="168" y="7"/>
                  </a:lnTo>
                  <a:lnTo>
                    <a:pt x="170" y="10"/>
                  </a:lnTo>
                  <a:lnTo>
                    <a:pt x="170" y="14"/>
                  </a:lnTo>
                  <a:lnTo>
                    <a:pt x="172" y="17"/>
                  </a:lnTo>
                  <a:lnTo>
                    <a:pt x="175" y="12"/>
                  </a:lnTo>
                  <a:lnTo>
                    <a:pt x="177" y="14"/>
                  </a:lnTo>
                  <a:lnTo>
                    <a:pt x="179" y="14"/>
                  </a:lnTo>
                  <a:lnTo>
                    <a:pt x="182" y="10"/>
                  </a:lnTo>
                  <a:lnTo>
                    <a:pt x="182" y="5"/>
                  </a:lnTo>
                  <a:lnTo>
                    <a:pt x="179" y="7"/>
                  </a:lnTo>
                  <a:lnTo>
                    <a:pt x="175" y="10"/>
                  </a:lnTo>
                  <a:lnTo>
                    <a:pt x="172" y="5"/>
                  </a:lnTo>
                  <a:lnTo>
                    <a:pt x="175" y="0"/>
                  </a:lnTo>
                  <a:lnTo>
                    <a:pt x="177" y="0"/>
                  </a:lnTo>
                  <a:lnTo>
                    <a:pt x="179"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1" name="Freeform 887">
              <a:extLst>
                <a:ext uri="{FF2B5EF4-FFF2-40B4-BE49-F238E27FC236}">
                  <a16:creationId xmlns:a16="http://schemas.microsoft.com/office/drawing/2014/main" id="{B0292156-07AB-4E8F-A9BF-9884215A0C1F}"/>
                </a:ext>
              </a:extLst>
            </p:cNvPr>
            <p:cNvSpPr>
              <a:spLocks/>
            </p:cNvSpPr>
            <p:nvPr/>
          </p:nvSpPr>
          <p:spPr bwMode="auto">
            <a:xfrm>
              <a:off x="7872066" y="3462717"/>
              <a:ext cx="6618" cy="16545"/>
            </a:xfrm>
            <a:custGeom>
              <a:avLst/>
              <a:gdLst>
                <a:gd name="T0" fmla="*/ 4 w 4"/>
                <a:gd name="T1" fmla="*/ 0 h 10"/>
                <a:gd name="T2" fmla="*/ 4 w 4"/>
                <a:gd name="T3" fmla="*/ 3 h 10"/>
                <a:gd name="T4" fmla="*/ 4 w 4"/>
                <a:gd name="T5" fmla="*/ 5 h 10"/>
                <a:gd name="T6" fmla="*/ 2 w 4"/>
                <a:gd name="T7" fmla="*/ 10 h 10"/>
                <a:gd name="T8" fmla="*/ 0 w 4"/>
                <a:gd name="T9" fmla="*/ 10 h 10"/>
                <a:gd name="T10" fmla="*/ 0 w 4"/>
                <a:gd name="T11" fmla="*/ 8 h 10"/>
                <a:gd name="T12" fmla="*/ 2 w 4"/>
                <a:gd name="T13" fmla="*/ 0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3"/>
                  </a:lnTo>
                  <a:lnTo>
                    <a:pt x="4" y="5"/>
                  </a:lnTo>
                  <a:lnTo>
                    <a:pt x="2" y="10"/>
                  </a:lnTo>
                  <a:lnTo>
                    <a:pt x="0" y="10"/>
                  </a:lnTo>
                  <a:lnTo>
                    <a:pt x="0" y="8"/>
                  </a:lnTo>
                  <a:lnTo>
                    <a:pt x="2" y="0"/>
                  </a:lnTo>
                  <a:lnTo>
                    <a:pt x="4"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2" name="Freeform 888">
              <a:extLst>
                <a:ext uri="{FF2B5EF4-FFF2-40B4-BE49-F238E27FC236}">
                  <a16:creationId xmlns:a16="http://schemas.microsoft.com/office/drawing/2014/main" id="{D380306A-8595-4F8B-A515-9D82E94FDF79}"/>
                </a:ext>
              </a:extLst>
            </p:cNvPr>
            <p:cNvSpPr>
              <a:spLocks/>
            </p:cNvSpPr>
            <p:nvPr/>
          </p:nvSpPr>
          <p:spPr bwMode="auto">
            <a:xfrm>
              <a:off x="7872066" y="3462717"/>
              <a:ext cx="6618" cy="16545"/>
            </a:xfrm>
            <a:custGeom>
              <a:avLst/>
              <a:gdLst>
                <a:gd name="T0" fmla="*/ 4 w 4"/>
                <a:gd name="T1" fmla="*/ 0 h 10"/>
                <a:gd name="T2" fmla="*/ 4 w 4"/>
                <a:gd name="T3" fmla="*/ 3 h 10"/>
                <a:gd name="T4" fmla="*/ 4 w 4"/>
                <a:gd name="T5" fmla="*/ 5 h 10"/>
                <a:gd name="T6" fmla="*/ 2 w 4"/>
                <a:gd name="T7" fmla="*/ 10 h 10"/>
                <a:gd name="T8" fmla="*/ 0 w 4"/>
                <a:gd name="T9" fmla="*/ 10 h 10"/>
                <a:gd name="T10" fmla="*/ 0 w 4"/>
                <a:gd name="T11" fmla="*/ 8 h 10"/>
                <a:gd name="T12" fmla="*/ 2 w 4"/>
                <a:gd name="T13" fmla="*/ 0 h 10"/>
                <a:gd name="T14" fmla="*/ 4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0"/>
                  </a:moveTo>
                  <a:lnTo>
                    <a:pt x="4" y="3"/>
                  </a:lnTo>
                  <a:lnTo>
                    <a:pt x="4" y="5"/>
                  </a:lnTo>
                  <a:lnTo>
                    <a:pt x="2" y="10"/>
                  </a:lnTo>
                  <a:lnTo>
                    <a:pt x="0" y="10"/>
                  </a:lnTo>
                  <a:lnTo>
                    <a:pt x="0" y="8"/>
                  </a:lnTo>
                  <a:lnTo>
                    <a:pt x="2" y="0"/>
                  </a:lnTo>
                  <a:lnTo>
                    <a:pt x="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3" name="Freeform 889">
              <a:extLst>
                <a:ext uri="{FF2B5EF4-FFF2-40B4-BE49-F238E27FC236}">
                  <a16:creationId xmlns:a16="http://schemas.microsoft.com/office/drawing/2014/main" id="{A1874297-DBCA-4681-83C6-3B69B4803E60}"/>
                </a:ext>
              </a:extLst>
            </p:cNvPr>
            <p:cNvSpPr>
              <a:spLocks/>
            </p:cNvSpPr>
            <p:nvPr/>
          </p:nvSpPr>
          <p:spPr bwMode="auto">
            <a:xfrm>
              <a:off x="7695042" y="3604999"/>
              <a:ext cx="71141" cy="54596"/>
            </a:xfrm>
            <a:custGeom>
              <a:avLst/>
              <a:gdLst>
                <a:gd name="T0" fmla="*/ 36 w 43"/>
                <a:gd name="T1" fmla="*/ 21 h 33"/>
                <a:gd name="T2" fmla="*/ 31 w 43"/>
                <a:gd name="T3" fmla="*/ 18 h 33"/>
                <a:gd name="T4" fmla="*/ 26 w 43"/>
                <a:gd name="T5" fmla="*/ 16 h 33"/>
                <a:gd name="T6" fmla="*/ 24 w 43"/>
                <a:gd name="T7" fmla="*/ 18 h 33"/>
                <a:gd name="T8" fmla="*/ 19 w 43"/>
                <a:gd name="T9" fmla="*/ 21 h 33"/>
                <a:gd name="T10" fmla="*/ 17 w 43"/>
                <a:gd name="T11" fmla="*/ 23 h 33"/>
                <a:gd name="T12" fmla="*/ 15 w 43"/>
                <a:gd name="T13" fmla="*/ 28 h 33"/>
                <a:gd name="T14" fmla="*/ 15 w 43"/>
                <a:gd name="T15" fmla="*/ 33 h 33"/>
                <a:gd name="T16" fmla="*/ 12 w 43"/>
                <a:gd name="T17" fmla="*/ 33 h 33"/>
                <a:gd name="T18" fmla="*/ 10 w 43"/>
                <a:gd name="T19" fmla="*/ 30 h 33"/>
                <a:gd name="T20" fmla="*/ 8 w 43"/>
                <a:gd name="T21" fmla="*/ 28 h 33"/>
                <a:gd name="T22" fmla="*/ 5 w 43"/>
                <a:gd name="T23" fmla="*/ 25 h 33"/>
                <a:gd name="T24" fmla="*/ 5 w 43"/>
                <a:gd name="T25" fmla="*/ 23 h 33"/>
                <a:gd name="T26" fmla="*/ 5 w 43"/>
                <a:gd name="T27" fmla="*/ 21 h 33"/>
                <a:gd name="T28" fmla="*/ 3 w 43"/>
                <a:gd name="T29" fmla="*/ 18 h 33"/>
                <a:gd name="T30" fmla="*/ 0 w 43"/>
                <a:gd name="T31" fmla="*/ 18 h 33"/>
                <a:gd name="T32" fmla="*/ 5 w 43"/>
                <a:gd name="T33" fmla="*/ 16 h 33"/>
                <a:gd name="T34" fmla="*/ 12 w 43"/>
                <a:gd name="T35" fmla="*/ 7 h 33"/>
                <a:gd name="T36" fmla="*/ 15 w 43"/>
                <a:gd name="T37" fmla="*/ 7 h 33"/>
                <a:gd name="T38" fmla="*/ 17 w 43"/>
                <a:gd name="T39" fmla="*/ 7 h 33"/>
                <a:gd name="T40" fmla="*/ 22 w 43"/>
                <a:gd name="T41" fmla="*/ 7 h 33"/>
                <a:gd name="T42" fmla="*/ 24 w 43"/>
                <a:gd name="T43" fmla="*/ 7 h 33"/>
                <a:gd name="T44" fmla="*/ 24 w 43"/>
                <a:gd name="T45" fmla="*/ 2 h 33"/>
                <a:gd name="T46" fmla="*/ 29 w 43"/>
                <a:gd name="T47" fmla="*/ 0 h 33"/>
                <a:gd name="T48" fmla="*/ 31 w 43"/>
                <a:gd name="T49" fmla="*/ 0 h 33"/>
                <a:gd name="T50" fmla="*/ 36 w 43"/>
                <a:gd name="T51" fmla="*/ 0 h 33"/>
                <a:gd name="T52" fmla="*/ 38 w 43"/>
                <a:gd name="T53" fmla="*/ 2 h 33"/>
                <a:gd name="T54" fmla="*/ 41 w 43"/>
                <a:gd name="T55" fmla="*/ 2 h 33"/>
                <a:gd name="T56" fmla="*/ 43 w 43"/>
                <a:gd name="T57" fmla="*/ 9 h 33"/>
                <a:gd name="T58" fmla="*/ 43 w 43"/>
                <a:gd name="T59" fmla="*/ 9 h 33"/>
                <a:gd name="T60" fmla="*/ 43 w 43"/>
                <a:gd name="T61" fmla="*/ 14 h 33"/>
                <a:gd name="T62" fmla="*/ 41 w 43"/>
                <a:gd name="T63" fmla="*/ 14 h 33"/>
                <a:gd name="T64" fmla="*/ 38 w 43"/>
                <a:gd name="T65" fmla="*/ 16 h 33"/>
                <a:gd name="T66" fmla="*/ 36 w 43"/>
                <a:gd name="T67" fmla="*/ 18 h 33"/>
                <a:gd name="T68" fmla="*/ 36 w 43"/>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33">
                  <a:moveTo>
                    <a:pt x="36" y="21"/>
                  </a:moveTo>
                  <a:lnTo>
                    <a:pt x="31" y="18"/>
                  </a:lnTo>
                  <a:lnTo>
                    <a:pt x="26" y="16"/>
                  </a:lnTo>
                  <a:lnTo>
                    <a:pt x="24" y="18"/>
                  </a:lnTo>
                  <a:lnTo>
                    <a:pt x="19" y="21"/>
                  </a:lnTo>
                  <a:lnTo>
                    <a:pt x="17" y="23"/>
                  </a:lnTo>
                  <a:lnTo>
                    <a:pt x="15" y="28"/>
                  </a:lnTo>
                  <a:lnTo>
                    <a:pt x="15" y="33"/>
                  </a:lnTo>
                  <a:lnTo>
                    <a:pt x="12" y="33"/>
                  </a:lnTo>
                  <a:lnTo>
                    <a:pt x="10" y="30"/>
                  </a:lnTo>
                  <a:lnTo>
                    <a:pt x="8" y="28"/>
                  </a:lnTo>
                  <a:lnTo>
                    <a:pt x="5" y="25"/>
                  </a:lnTo>
                  <a:lnTo>
                    <a:pt x="5" y="23"/>
                  </a:lnTo>
                  <a:lnTo>
                    <a:pt x="5" y="21"/>
                  </a:lnTo>
                  <a:lnTo>
                    <a:pt x="3" y="18"/>
                  </a:lnTo>
                  <a:lnTo>
                    <a:pt x="0" y="18"/>
                  </a:lnTo>
                  <a:lnTo>
                    <a:pt x="5" y="16"/>
                  </a:lnTo>
                  <a:lnTo>
                    <a:pt x="12" y="7"/>
                  </a:lnTo>
                  <a:lnTo>
                    <a:pt x="15" y="7"/>
                  </a:lnTo>
                  <a:lnTo>
                    <a:pt x="17" y="7"/>
                  </a:lnTo>
                  <a:lnTo>
                    <a:pt x="22" y="7"/>
                  </a:lnTo>
                  <a:lnTo>
                    <a:pt x="24" y="7"/>
                  </a:lnTo>
                  <a:lnTo>
                    <a:pt x="24" y="2"/>
                  </a:lnTo>
                  <a:lnTo>
                    <a:pt x="29" y="0"/>
                  </a:lnTo>
                  <a:lnTo>
                    <a:pt x="31" y="0"/>
                  </a:lnTo>
                  <a:lnTo>
                    <a:pt x="36" y="0"/>
                  </a:lnTo>
                  <a:lnTo>
                    <a:pt x="38" y="2"/>
                  </a:lnTo>
                  <a:lnTo>
                    <a:pt x="41" y="2"/>
                  </a:lnTo>
                  <a:lnTo>
                    <a:pt x="43" y="9"/>
                  </a:lnTo>
                  <a:lnTo>
                    <a:pt x="43" y="9"/>
                  </a:lnTo>
                  <a:lnTo>
                    <a:pt x="43" y="14"/>
                  </a:lnTo>
                  <a:lnTo>
                    <a:pt x="41" y="14"/>
                  </a:lnTo>
                  <a:lnTo>
                    <a:pt x="38" y="16"/>
                  </a:lnTo>
                  <a:lnTo>
                    <a:pt x="36" y="18"/>
                  </a:lnTo>
                  <a:lnTo>
                    <a:pt x="36" y="2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4" name="Freeform 890">
              <a:extLst>
                <a:ext uri="{FF2B5EF4-FFF2-40B4-BE49-F238E27FC236}">
                  <a16:creationId xmlns:a16="http://schemas.microsoft.com/office/drawing/2014/main" id="{DE521420-D2AA-4BA3-A626-B012D415F05A}"/>
                </a:ext>
              </a:extLst>
            </p:cNvPr>
            <p:cNvSpPr>
              <a:spLocks/>
            </p:cNvSpPr>
            <p:nvPr/>
          </p:nvSpPr>
          <p:spPr bwMode="auto">
            <a:xfrm>
              <a:off x="7695042" y="3604999"/>
              <a:ext cx="71141" cy="54596"/>
            </a:xfrm>
            <a:custGeom>
              <a:avLst/>
              <a:gdLst>
                <a:gd name="T0" fmla="*/ 36 w 43"/>
                <a:gd name="T1" fmla="*/ 21 h 33"/>
                <a:gd name="T2" fmla="*/ 31 w 43"/>
                <a:gd name="T3" fmla="*/ 18 h 33"/>
                <a:gd name="T4" fmla="*/ 26 w 43"/>
                <a:gd name="T5" fmla="*/ 16 h 33"/>
                <a:gd name="T6" fmla="*/ 24 w 43"/>
                <a:gd name="T7" fmla="*/ 18 h 33"/>
                <a:gd name="T8" fmla="*/ 19 w 43"/>
                <a:gd name="T9" fmla="*/ 21 h 33"/>
                <a:gd name="T10" fmla="*/ 17 w 43"/>
                <a:gd name="T11" fmla="*/ 23 h 33"/>
                <a:gd name="T12" fmla="*/ 15 w 43"/>
                <a:gd name="T13" fmla="*/ 28 h 33"/>
                <a:gd name="T14" fmla="*/ 15 w 43"/>
                <a:gd name="T15" fmla="*/ 33 h 33"/>
                <a:gd name="T16" fmla="*/ 12 w 43"/>
                <a:gd name="T17" fmla="*/ 33 h 33"/>
                <a:gd name="T18" fmla="*/ 10 w 43"/>
                <a:gd name="T19" fmla="*/ 30 h 33"/>
                <a:gd name="T20" fmla="*/ 8 w 43"/>
                <a:gd name="T21" fmla="*/ 28 h 33"/>
                <a:gd name="T22" fmla="*/ 5 w 43"/>
                <a:gd name="T23" fmla="*/ 25 h 33"/>
                <a:gd name="T24" fmla="*/ 5 w 43"/>
                <a:gd name="T25" fmla="*/ 23 h 33"/>
                <a:gd name="T26" fmla="*/ 5 w 43"/>
                <a:gd name="T27" fmla="*/ 21 h 33"/>
                <a:gd name="T28" fmla="*/ 3 w 43"/>
                <a:gd name="T29" fmla="*/ 18 h 33"/>
                <a:gd name="T30" fmla="*/ 0 w 43"/>
                <a:gd name="T31" fmla="*/ 18 h 33"/>
                <a:gd name="T32" fmla="*/ 5 w 43"/>
                <a:gd name="T33" fmla="*/ 16 h 33"/>
                <a:gd name="T34" fmla="*/ 12 w 43"/>
                <a:gd name="T35" fmla="*/ 7 h 33"/>
                <a:gd name="T36" fmla="*/ 15 w 43"/>
                <a:gd name="T37" fmla="*/ 7 h 33"/>
                <a:gd name="T38" fmla="*/ 17 w 43"/>
                <a:gd name="T39" fmla="*/ 7 h 33"/>
                <a:gd name="T40" fmla="*/ 22 w 43"/>
                <a:gd name="T41" fmla="*/ 7 h 33"/>
                <a:gd name="T42" fmla="*/ 24 w 43"/>
                <a:gd name="T43" fmla="*/ 7 h 33"/>
                <a:gd name="T44" fmla="*/ 24 w 43"/>
                <a:gd name="T45" fmla="*/ 2 h 33"/>
                <a:gd name="T46" fmla="*/ 29 w 43"/>
                <a:gd name="T47" fmla="*/ 0 h 33"/>
                <a:gd name="T48" fmla="*/ 31 w 43"/>
                <a:gd name="T49" fmla="*/ 0 h 33"/>
                <a:gd name="T50" fmla="*/ 36 w 43"/>
                <a:gd name="T51" fmla="*/ 0 h 33"/>
                <a:gd name="T52" fmla="*/ 38 w 43"/>
                <a:gd name="T53" fmla="*/ 2 h 33"/>
                <a:gd name="T54" fmla="*/ 41 w 43"/>
                <a:gd name="T55" fmla="*/ 2 h 33"/>
                <a:gd name="T56" fmla="*/ 43 w 43"/>
                <a:gd name="T57" fmla="*/ 9 h 33"/>
                <a:gd name="T58" fmla="*/ 43 w 43"/>
                <a:gd name="T59" fmla="*/ 9 h 33"/>
                <a:gd name="T60" fmla="*/ 43 w 43"/>
                <a:gd name="T61" fmla="*/ 14 h 33"/>
                <a:gd name="T62" fmla="*/ 41 w 43"/>
                <a:gd name="T63" fmla="*/ 14 h 33"/>
                <a:gd name="T64" fmla="*/ 38 w 43"/>
                <a:gd name="T65" fmla="*/ 16 h 33"/>
                <a:gd name="T66" fmla="*/ 36 w 43"/>
                <a:gd name="T67" fmla="*/ 18 h 33"/>
                <a:gd name="T68" fmla="*/ 36 w 43"/>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33">
                  <a:moveTo>
                    <a:pt x="36" y="21"/>
                  </a:moveTo>
                  <a:lnTo>
                    <a:pt x="31" y="18"/>
                  </a:lnTo>
                  <a:lnTo>
                    <a:pt x="26" y="16"/>
                  </a:lnTo>
                  <a:lnTo>
                    <a:pt x="24" y="18"/>
                  </a:lnTo>
                  <a:lnTo>
                    <a:pt x="19" y="21"/>
                  </a:lnTo>
                  <a:lnTo>
                    <a:pt x="17" y="23"/>
                  </a:lnTo>
                  <a:lnTo>
                    <a:pt x="15" y="28"/>
                  </a:lnTo>
                  <a:lnTo>
                    <a:pt x="15" y="33"/>
                  </a:lnTo>
                  <a:lnTo>
                    <a:pt x="12" y="33"/>
                  </a:lnTo>
                  <a:lnTo>
                    <a:pt x="10" y="30"/>
                  </a:lnTo>
                  <a:lnTo>
                    <a:pt x="8" y="28"/>
                  </a:lnTo>
                  <a:lnTo>
                    <a:pt x="5" y="25"/>
                  </a:lnTo>
                  <a:lnTo>
                    <a:pt x="5" y="23"/>
                  </a:lnTo>
                  <a:lnTo>
                    <a:pt x="5" y="21"/>
                  </a:lnTo>
                  <a:lnTo>
                    <a:pt x="3" y="18"/>
                  </a:lnTo>
                  <a:lnTo>
                    <a:pt x="0" y="18"/>
                  </a:lnTo>
                  <a:lnTo>
                    <a:pt x="5" y="16"/>
                  </a:lnTo>
                  <a:lnTo>
                    <a:pt x="12" y="7"/>
                  </a:lnTo>
                  <a:lnTo>
                    <a:pt x="15" y="7"/>
                  </a:lnTo>
                  <a:lnTo>
                    <a:pt x="17" y="7"/>
                  </a:lnTo>
                  <a:lnTo>
                    <a:pt x="22" y="7"/>
                  </a:lnTo>
                  <a:lnTo>
                    <a:pt x="24" y="7"/>
                  </a:lnTo>
                  <a:lnTo>
                    <a:pt x="24" y="2"/>
                  </a:lnTo>
                  <a:lnTo>
                    <a:pt x="29" y="0"/>
                  </a:lnTo>
                  <a:lnTo>
                    <a:pt x="31" y="0"/>
                  </a:lnTo>
                  <a:lnTo>
                    <a:pt x="36" y="0"/>
                  </a:lnTo>
                  <a:lnTo>
                    <a:pt x="38" y="2"/>
                  </a:lnTo>
                  <a:lnTo>
                    <a:pt x="41" y="2"/>
                  </a:lnTo>
                  <a:lnTo>
                    <a:pt x="43" y="9"/>
                  </a:lnTo>
                  <a:lnTo>
                    <a:pt x="43" y="9"/>
                  </a:lnTo>
                  <a:lnTo>
                    <a:pt x="43" y="14"/>
                  </a:lnTo>
                  <a:lnTo>
                    <a:pt x="41" y="14"/>
                  </a:lnTo>
                  <a:lnTo>
                    <a:pt x="38" y="16"/>
                  </a:lnTo>
                  <a:lnTo>
                    <a:pt x="36" y="18"/>
                  </a:lnTo>
                  <a:lnTo>
                    <a:pt x="36" y="2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5" name="Freeform 891">
              <a:extLst>
                <a:ext uri="{FF2B5EF4-FFF2-40B4-BE49-F238E27FC236}">
                  <a16:creationId xmlns:a16="http://schemas.microsoft.com/office/drawing/2014/main" id="{66EC223C-4B8E-4474-A87E-B1BA6E146B79}"/>
                </a:ext>
              </a:extLst>
            </p:cNvPr>
            <p:cNvSpPr>
              <a:spLocks/>
            </p:cNvSpPr>
            <p:nvPr/>
          </p:nvSpPr>
          <p:spPr bwMode="auto">
            <a:xfrm>
              <a:off x="7766183" y="3596727"/>
              <a:ext cx="11582" cy="11581"/>
            </a:xfrm>
            <a:custGeom>
              <a:avLst/>
              <a:gdLst>
                <a:gd name="T0" fmla="*/ 7 w 7"/>
                <a:gd name="T1" fmla="*/ 0 h 7"/>
                <a:gd name="T2" fmla="*/ 2 w 7"/>
                <a:gd name="T3" fmla="*/ 2 h 7"/>
                <a:gd name="T4" fmla="*/ 0 w 7"/>
                <a:gd name="T5" fmla="*/ 7 h 7"/>
                <a:gd name="T6" fmla="*/ 2 w 7"/>
                <a:gd name="T7" fmla="*/ 7 h 7"/>
                <a:gd name="T8" fmla="*/ 5 w 7"/>
                <a:gd name="T9" fmla="*/ 7 h 7"/>
                <a:gd name="T10" fmla="*/ 5 w 7"/>
                <a:gd name="T11" fmla="*/ 2 h 7"/>
                <a:gd name="T12" fmla="*/ 7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lnTo>
                    <a:pt x="2" y="2"/>
                  </a:lnTo>
                  <a:lnTo>
                    <a:pt x="0" y="7"/>
                  </a:lnTo>
                  <a:lnTo>
                    <a:pt x="2" y="7"/>
                  </a:lnTo>
                  <a:lnTo>
                    <a:pt x="5" y="7"/>
                  </a:lnTo>
                  <a:lnTo>
                    <a:pt x="5" y="2"/>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6" name="Freeform 892">
              <a:extLst>
                <a:ext uri="{FF2B5EF4-FFF2-40B4-BE49-F238E27FC236}">
                  <a16:creationId xmlns:a16="http://schemas.microsoft.com/office/drawing/2014/main" id="{97557340-71E1-4166-970A-F5161232B992}"/>
                </a:ext>
              </a:extLst>
            </p:cNvPr>
            <p:cNvSpPr>
              <a:spLocks/>
            </p:cNvSpPr>
            <p:nvPr/>
          </p:nvSpPr>
          <p:spPr bwMode="auto">
            <a:xfrm>
              <a:off x="7766183" y="3596727"/>
              <a:ext cx="11582" cy="11581"/>
            </a:xfrm>
            <a:custGeom>
              <a:avLst/>
              <a:gdLst>
                <a:gd name="T0" fmla="*/ 7 w 7"/>
                <a:gd name="T1" fmla="*/ 0 h 7"/>
                <a:gd name="T2" fmla="*/ 2 w 7"/>
                <a:gd name="T3" fmla="*/ 2 h 7"/>
                <a:gd name="T4" fmla="*/ 0 w 7"/>
                <a:gd name="T5" fmla="*/ 7 h 7"/>
                <a:gd name="T6" fmla="*/ 2 w 7"/>
                <a:gd name="T7" fmla="*/ 7 h 7"/>
                <a:gd name="T8" fmla="*/ 5 w 7"/>
                <a:gd name="T9" fmla="*/ 7 h 7"/>
                <a:gd name="T10" fmla="*/ 5 w 7"/>
                <a:gd name="T11" fmla="*/ 2 h 7"/>
                <a:gd name="T12" fmla="*/ 7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0"/>
                  </a:moveTo>
                  <a:lnTo>
                    <a:pt x="2" y="2"/>
                  </a:lnTo>
                  <a:lnTo>
                    <a:pt x="0" y="7"/>
                  </a:lnTo>
                  <a:lnTo>
                    <a:pt x="2" y="7"/>
                  </a:lnTo>
                  <a:lnTo>
                    <a:pt x="5" y="7"/>
                  </a:lnTo>
                  <a:lnTo>
                    <a:pt x="5" y="2"/>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7" name="Freeform 893">
              <a:extLst>
                <a:ext uri="{FF2B5EF4-FFF2-40B4-BE49-F238E27FC236}">
                  <a16:creationId xmlns:a16="http://schemas.microsoft.com/office/drawing/2014/main" id="{EF93E2FC-191D-4BB3-9CD6-918A11F79D04}"/>
                </a:ext>
              </a:extLst>
            </p:cNvPr>
            <p:cNvSpPr>
              <a:spLocks/>
            </p:cNvSpPr>
            <p:nvPr/>
          </p:nvSpPr>
          <p:spPr bwMode="auto">
            <a:xfrm>
              <a:off x="7622247" y="3616579"/>
              <a:ext cx="66176" cy="100920"/>
            </a:xfrm>
            <a:custGeom>
              <a:avLst/>
              <a:gdLst>
                <a:gd name="T0" fmla="*/ 21 w 40"/>
                <a:gd name="T1" fmla="*/ 2 h 61"/>
                <a:gd name="T2" fmla="*/ 16 w 40"/>
                <a:gd name="T3" fmla="*/ 2 h 61"/>
                <a:gd name="T4" fmla="*/ 11 w 40"/>
                <a:gd name="T5" fmla="*/ 7 h 61"/>
                <a:gd name="T6" fmla="*/ 9 w 40"/>
                <a:gd name="T7" fmla="*/ 9 h 61"/>
                <a:gd name="T8" fmla="*/ 4 w 40"/>
                <a:gd name="T9" fmla="*/ 9 h 61"/>
                <a:gd name="T10" fmla="*/ 0 w 40"/>
                <a:gd name="T11" fmla="*/ 16 h 61"/>
                <a:gd name="T12" fmla="*/ 4 w 40"/>
                <a:gd name="T13" fmla="*/ 21 h 61"/>
                <a:gd name="T14" fmla="*/ 2 w 40"/>
                <a:gd name="T15" fmla="*/ 21 h 61"/>
                <a:gd name="T16" fmla="*/ 2 w 40"/>
                <a:gd name="T17" fmla="*/ 28 h 61"/>
                <a:gd name="T18" fmla="*/ 7 w 40"/>
                <a:gd name="T19" fmla="*/ 26 h 61"/>
                <a:gd name="T20" fmla="*/ 11 w 40"/>
                <a:gd name="T21" fmla="*/ 26 h 61"/>
                <a:gd name="T22" fmla="*/ 9 w 40"/>
                <a:gd name="T23" fmla="*/ 21 h 61"/>
                <a:gd name="T24" fmla="*/ 11 w 40"/>
                <a:gd name="T25" fmla="*/ 16 h 61"/>
                <a:gd name="T26" fmla="*/ 14 w 40"/>
                <a:gd name="T27" fmla="*/ 23 h 61"/>
                <a:gd name="T28" fmla="*/ 16 w 40"/>
                <a:gd name="T29" fmla="*/ 28 h 61"/>
                <a:gd name="T30" fmla="*/ 14 w 40"/>
                <a:gd name="T31" fmla="*/ 37 h 61"/>
                <a:gd name="T32" fmla="*/ 9 w 40"/>
                <a:gd name="T33" fmla="*/ 42 h 61"/>
                <a:gd name="T34" fmla="*/ 11 w 40"/>
                <a:gd name="T35" fmla="*/ 52 h 61"/>
                <a:gd name="T36" fmla="*/ 11 w 40"/>
                <a:gd name="T37" fmla="*/ 56 h 61"/>
                <a:gd name="T38" fmla="*/ 16 w 40"/>
                <a:gd name="T39" fmla="*/ 54 h 61"/>
                <a:gd name="T40" fmla="*/ 16 w 40"/>
                <a:gd name="T41" fmla="*/ 47 h 61"/>
                <a:gd name="T42" fmla="*/ 18 w 40"/>
                <a:gd name="T43" fmla="*/ 49 h 61"/>
                <a:gd name="T44" fmla="*/ 18 w 40"/>
                <a:gd name="T45" fmla="*/ 56 h 61"/>
                <a:gd name="T46" fmla="*/ 21 w 40"/>
                <a:gd name="T47" fmla="*/ 59 h 61"/>
                <a:gd name="T48" fmla="*/ 23 w 40"/>
                <a:gd name="T49" fmla="*/ 54 h 61"/>
                <a:gd name="T50" fmla="*/ 28 w 40"/>
                <a:gd name="T51" fmla="*/ 52 h 61"/>
                <a:gd name="T52" fmla="*/ 33 w 40"/>
                <a:gd name="T53" fmla="*/ 37 h 61"/>
                <a:gd name="T54" fmla="*/ 37 w 40"/>
                <a:gd name="T55" fmla="*/ 28 h 61"/>
                <a:gd name="T56" fmla="*/ 40 w 40"/>
                <a:gd name="T57" fmla="*/ 23 h 61"/>
                <a:gd name="T58" fmla="*/ 37 w 40"/>
                <a:gd name="T59" fmla="*/ 16 h 61"/>
                <a:gd name="T60" fmla="*/ 33 w 40"/>
                <a:gd name="T61" fmla="*/ 14 h 61"/>
                <a:gd name="T62" fmla="*/ 35 w 40"/>
                <a:gd name="T63" fmla="*/ 7 h 61"/>
                <a:gd name="T64" fmla="*/ 26 w 40"/>
                <a:gd name="T65" fmla="*/ 7 h 61"/>
                <a:gd name="T66" fmla="*/ 23 w 40"/>
                <a:gd name="T67"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61">
                  <a:moveTo>
                    <a:pt x="21" y="2"/>
                  </a:moveTo>
                  <a:lnTo>
                    <a:pt x="21" y="2"/>
                  </a:lnTo>
                  <a:lnTo>
                    <a:pt x="18" y="0"/>
                  </a:lnTo>
                  <a:lnTo>
                    <a:pt x="16" y="2"/>
                  </a:lnTo>
                  <a:lnTo>
                    <a:pt x="14" y="4"/>
                  </a:lnTo>
                  <a:lnTo>
                    <a:pt x="11" y="7"/>
                  </a:lnTo>
                  <a:lnTo>
                    <a:pt x="9" y="7"/>
                  </a:lnTo>
                  <a:lnTo>
                    <a:pt x="9" y="9"/>
                  </a:lnTo>
                  <a:lnTo>
                    <a:pt x="4" y="11"/>
                  </a:lnTo>
                  <a:lnTo>
                    <a:pt x="4" y="9"/>
                  </a:lnTo>
                  <a:lnTo>
                    <a:pt x="2" y="11"/>
                  </a:lnTo>
                  <a:lnTo>
                    <a:pt x="0" y="16"/>
                  </a:lnTo>
                  <a:lnTo>
                    <a:pt x="2" y="18"/>
                  </a:lnTo>
                  <a:lnTo>
                    <a:pt x="4" y="21"/>
                  </a:lnTo>
                  <a:lnTo>
                    <a:pt x="4" y="23"/>
                  </a:lnTo>
                  <a:lnTo>
                    <a:pt x="2" y="21"/>
                  </a:lnTo>
                  <a:lnTo>
                    <a:pt x="0" y="21"/>
                  </a:lnTo>
                  <a:lnTo>
                    <a:pt x="2" y="28"/>
                  </a:lnTo>
                  <a:lnTo>
                    <a:pt x="4" y="26"/>
                  </a:lnTo>
                  <a:lnTo>
                    <a:pt x="7" y="26"/>
                  </a:lnTo>
                  <a:lnTo>
                    <a:pt x="11" y="28"/>
                  </a:lnTo>
                  <a:lnTo>
                    <a:pt x="11" y="26"/>
                  </a:lnTo>
                  <a:lnTo>
                    <a:pt x="9" y="23"/>
                  </a:lnTo>
                  <a:lnTo>
                    <a:pt x="9" y="21"/>
                  </a:lnTo>
                  <a:lnTo>
                    <a:pt x="9" y="18"/>
                  </a:lnTo>
                  <a:lnTo>
                    <a:pt x="11" y="16"/>
                  </a:lnTo>
                  <a:lnTo>
                    <a:pt x="11" y="21"/>
                  </a:lnTo>
                  <a:lnTo>
                    <a:pt x="14" y="23"/>
                  </a:lnTo>
                  <a:lnTo>
                    <a:pt x="14" y="28"/>
                  </a:lnTo>
                  <a:lnTo>
                    <a:pt x="16" y="28"/>
                  </a:lnTo>
                  <a:lnTo>
                    <a:pt x="16" y="33"/>
                  </a:lnTo>
                  <a:lnTo>
                    <a:pt x="14" y="37"/>
                  </a:lnTo>
                  <a:lnTo>
                    <a:pt x="11" y="37"/>
                  </a:lnTo>
                  <a:lnTo>
                    <a:pt x="9" y="42"/>
                  </a:lnTo>
                  <a:lnTo>
                    <a:pt x="9" y="47"/>
                  </a:lnTo>
                  <a:lnTo>
                    <a:pt x="11" y="52"/>
                  </a:lnTo>
                  <a:lnTo>
                    <a:pt x="9" y="54"/>
                  </a:lnTo>
                  <a:lnTo>
                    <a:pt x="11" y="56"/>
                  </a:lnTo>
                  <a:lnTo>
                    <a:pt x="16" y="59"/>
                  </a:lnTo>
                  <a:lnTo>
                    <a:pt x="16" y="54"/>
                  </a:lnTo>
                  <a:lnTo>
                    <a:pt x="16" y="49"/>
                  </a:lnTo>
                  <a:lnTo>
                    <a:pt x="16" y="47"/>
                  </a:lnTo>
                  <a:lnTo>
                    <a:pt x="18" y="47"/>
                  </a:lnTo>
                  <a:lnTo>
                    <a:pt x="18" y="49"/>
                  </a:lnTo>
                  <a:lnTo>
                    <a:pt x="18" y="52"/>
                  </a:lnTo>
                  <a:lnTo>
                    <a:pt x="18" y="56"/>
                  </a:lnTo>
                  <a:lnTo>
                    <a:pt x="18" y="61"/>
                  </a:lnTo>
                  <a:lnTo>
                    <a:pt x="21" y="59"/>
                  </a:lnTo>
                  <a:lnTo>
                    <a:pt x="23" y="56"/>
                  </a:lnTo>
                  <a:lnTo>
                    <a:pt x="23" y="54"/>
                  </a:lnTo>
                  <a:lnTo>
                    <a:pt x="26" y="52"/>
                  </a:lnTo>
                  <a:lnTo>
                    <a:pt x="28" y="52"/>
                  </a:lnTo>
                  <a:lnTo>
                    <a:pt x="30" y="47"/>
                  </a:lnTo>
                  <a:lnTo>
                    <a:pt x="33" y="37"/>
                  </a:lnTo>
                  <a:lnTo>
                    <a:pt x="35" y="33"/>
                  </a:lnTo>
                  <a:lnTo>
                    <a:pt x="37" y="28"/>
                  </a:lnTo>
                  <a:lnTo>
                    <a:pt x="40" y="26"/>
                  </a:lnTo>
                  <a:lnTo>
                    <a:pt x="40" y="23"/>
                  </a:lnTo>
                  <a:lnTo>
                    <a:pt x="40" y="18"/>
                  </a:lnTo>
                  <a:lnTo>
                    <a:pt x="37" y="16"/>
                  </a:lnTo>
                  <a:lnTo>
                    <a:pt x="35" y="14"/>
                  </a:lnTo>
                  <a:lnTo>
                    <a:pt x="33" y="14"/>
                  </a:lnTo>
                  <a:lnTo>
                    <a:pt x="35" y="9"/>
                  </a:lnTo>
                  <a:lnTo>
                    <a:pt x="35" y="7"/>
                  </a:lnTo>
                  <a:lnTo>
                    <a:pt x="33" y="7"/>
                  </a:lnTo>
                  <a:lnTo>
                    <a:pt x="26" y="7"/>
                  </a:lnTo>
                  <a:lnTo>
                    <a:pt x="23" y="4"/>
                  </a:lnTo>
                  <a:lnTo>
                    <a:pt x="23" y="2"/>
                  </a:lnTo>
                  <a:lnTo>
                    <a:pt x="21"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8" name="Freeform 894">
              <a:extLst>
                <a:ext uri="{FF2B5EF4-FFF2-40B4-BE49-F238E27FC236}">
                  <a16:creationId xmlns:a16="http://schemas.microsoft.com/office/drawing/2014/main" id="{161DFF97-9B77-43F8-A358-767BC33CEA5F}"/>
                </a:ext>
              </a:extLst>
            </p:cNvPr>
            <p:cNvSpPr>
              <a:spLocks/>
            </p:cNvSpPr>
            <p:nvPr/>
          </p:nvSpPr>
          <p:spPr bwMode="auto">
            <a:xfrm>
              <a:off x="7622247" y="3616579"/>
              <a:ext cx="66176" cy="100920"/>
            </a:xfrm>
            <a:custGeom>
              <a:avLst/>
              <a:gdLst>
                <a:gd name="T0" fmla="*/ 21 w 40"/>
                <a:gd name="T1" fmla="*/ 2 h 61"/>
                <a:gd name="T2" fmla="*/ 16 w 40"/>
                <a:gd name="T3" fmla="*/ 2 h 61"/>
                <a:gd name="T4" fmla="*/ 11 w 40"/>
                <a:gd name="T5" fmla="*/ 7 h 61"/>
                <a:gd name="T6" fmla="*/ 9 w 40"/>
                <a:gd name="T7" fmla="*/ 9 h 61"/>
                <a:gd name="T8" fmla="*/ 4 w 40"/>
                <a:gd name="T9" fmla="*/ 9 h 61"/>
                <a:gd name="T10" fmla="*/ 0 w 40"/>
                <a:gd name="T11" fmla="*/ 16 h 61"/>
                <a:gd name="T12" fmla="*/ 4 w 40"/>
                <a:gd name="T13" fmla="*/ 21 h 61"/>
                <a:gd name="T14" fmla="*/ 2 w 40"/>
                <a:gd name="T15" fmla="*/ 21 h 61"/>
                <a:gd name="T16" fmla="*/ 2 w 40"/>
                <a:gd name="T17" fmla="*/ 28 h 61"/>
                <a:gd name="T18" fmla="*/ 7 w 40"/>
                <a:gd name="T19" fmla="*/ 26 h 61"/>
                <a:gd name="T20" fmla="*/ 11 w 40"/>
                <a:gd name="T21" fmla="*/ 26 h 61"/>
                <a:gd name="T22" fmla="*/ 9 w 40"/>
                <a:gd name="T23" fmla="*/ 21 h 61"/>
                <a:gd name="T24" fmla="*/ 11 w 40"/>
                <a:gd name="T25" fmla="*/ 16 h 61"/>
                <a:gd name="T26" fmla="*/ 14 w 40"/>
                <a:gd name="T27" fmla="*/ 23 h 61"/>
                <a:gd name="T28" fmla="*/ 16 w 40"/>
                <a:gd name="T29" fmla="*/ 28 h 61"/>
                <a:gd name="T30" fmla="*/ 14 w 40"/>
                <a:gd name="T31" fmla="*/ 37 h 61"/>
                <a:gd name="T32" fmla="*/ 9 w 40"/>
                <a:gd name="T33" fmla="*/ 42 h 61"/>
                <a:gd name="T34" fmla="*/ 11 w 40"/>
                <a:gd name="T35" fmla="*/ 52 h 61"/>
                <a:gd name="T36" fmla="*/ 11 w 40"/>
                <a:gd name="T37" fmla="*/ 56 h 61"/>
                <a:gd name="T38" fmla="*/ 16 w 40"/>
                <a:gd name="T39" fmla="*/ 54 h 61"/>
                <a:gd name="T40" fmla="*/ 16 w 40"/>
                <a:gd name="T41" fmla="*/ 47 h 61"/>
                <a:gd name="T42" fmla="*/ 18 w 40"/>
                <a:gd name="T43" fmla="*/ 49 h 61"/>
                <a:gd name="T44" fmla="*/ 18 w 40"/>
                <a:gd name="T45" fmla="*/ 56 h 61"/>
                <a:gd name="T46" fmla="*/ 21 w 40"/>
                <a:gd name="T47" fmla="*/ 59 h 61"/>
                <a:gd name="T48" fmla="*/ 23 w 40"/>
                <a:gd name="T49" fmla="*/ 54 h 61"/>
                <a:gd name="T50" fmla="*/ 28 w 40"/>
                <a:gd name="T51" fmla="*/ 52 h 61"/>
                <a:gd name="T52" fmla="*/ 33 w 40"/>
                <a:gd name="T53" fmla="*/ 37 h 61"/>
                <a:gd name="T54" fmla="*/ 37 w 40"/>
                <a:gd name="T55" fmla="*/ 28 h 61"/>
                <a:gd name="T56" fmla="*/ 40 w 40"/>
                <a:gd name="T57" fmla="*/ 23 h 61"/>
                <a:gd name="T58" fmla="*/ 37 w 40"/>
                <a:gd name="T59" fmla="*/ 16 h 61"/>
                <a:gd name="T60" fmla="*/ 33 w 40"/>
                <a:gd name="T61" fmla="*/ 14 h 61"/>
                <a:gd name="T62" fmla="*/ 35 w 40"/>
                <a:gd name="T63" fmla="*/ 7 h 61"/>
                <a:gd name="T64" fmla="*/ 26 w 40"/>
                <a:gd name="T65" fmla="*/ 7 h 61"/>
                <a:gd name="T66" fmla="*/ 23 w 40"/>
                <a:gd name="T67"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61">
                  <a:moveTo>
                    <a:pt x="21" y="2"/>
                  </a:moveTo>
                  <a:lnTo>
                    <a:pt x="21" y="2"/>
                  </a:lnTo>
                  <a:lnTo>
                    <a:pt x="18" y="0"/>
                  </a:lnTo>
                  <a:lnTo>
                    <a:pt x="16" y="2"/>
                  </a:lnTo>
                  <a:lnTo>
                    <a:pt x="14" y="4"/>
                  </a:lnTo>
                  <a:lnTo>
                    <a:pt x="11" y="7"/>
                  </a:lnTo>
                  <a:lnTo>
                    <a:pt x="9" y="7"/>
                  </a:lnTo>
                  <a:lnTo>
                    <a:pt x="9" y="9"/>
                  </a:lnTo>
                  <a:lnTo>
                    <a:pt x="4" y="11"/>
                  </a:lnTo>
                  <a:lnTo>
                    <a:pt x="4" y="9"/>
                  </a:lnTo>
                  <a:lnTo>
                    <a:pt x="2" y="11"/>
                  </a:lnTo>
                  <a:lnTo>
                    <a:pt x="0" y="16"/>
                  </a:lnTo>
                  <a:lnTo>
                    <a:pt x="2" y="18"/>
                  </a:lnTo>
                  <a:lnTo>
                    <a:pt x="4" y="21"/>
                  </a:lnTo>
                  <a:lnTo>
                    <a:pt x="4" y="23"/>
                  </a:lnTo>
                  <a:lnTo>
                    <a:pt x="2" y="21"/>
                  </a:lnTo>
                  <a:lnTo>
                    <a:pt x="0" y="21"/>
                  </a:lnTo>
                  <a:lnTo>
                    <a:pt x="2" y="28"/>
                  </a:lnTo>
                  <a:lnTo>
                    <a:pt x="4" y="26"/>
                  </a:lnTo>
                  <a:lnTo>
                    <a:pt x="7" y="26"/>
                  </a:lnTo>
                  <a:lnTo>
                    <a:pt x="11" y="28"/>
                  </a:lnTo>
                  <a:lnTo>
                    <a:pt x="11" y="26"/>
                  </a:lnTo>
                  <a:lnTo>
                    <a:pt x="9" y="23"/>
                  </a:lnTo>
                  <a:lnTo>
                    <a:pt x="9" y="21"/>
                  </a:lnTo>
                  <a:lnTo>
                    <a:pt x="9" y="18"/>
                  </a:lnTo>
                  <a:lnTo>
                    <a:pt x="11" y="16"/>
                  </a:lnTo>
                  <a:lnTo>
                    <a:pt x="11" y="21"/>
                  </a:lnTo>
                  <a:lnTo>
                    <a:pt x="14" y="23"/>
                  </a:lnTo>
                  <a:lnTo>
                    <a:pt x="14" y="28"/>
                  </a:lnTo>
                  <a:lnTo>
                    <a:pt x="16" y="28"/>
                  </a:lnTo>
                  <a:lnTo>
                    <a:pt x="16" y="33"/>
                  </a:lnTo>
                  <a:lnTo>
                    <a:pt x="14" y="37"/>
                  </a:lnTo>
                  <a:lnTo>
                    <a:pt x="11" y="37"/>
                  </a:lnTo>
                  <a:lnTo>
                    <a:pt x="9" y="42"/>
                  </a:lnTo>
                  <a:lnTo>
                    <a:pt x="9" y="47"/>
                  </a:lnTo>
                  <a:lnTo>
                    <a:pt x="11" y="52"/>
                  </a:lnTo>
                  <a:lnTo>
                    <a:pt x="9" y="54"/>
                  </a:lnTo>
                  <a:lnTo>
                    <a:pt x="11" y="56"/>
                  </a:lnTo>
                  <a:lnTo>
                    <a:pt x="16" y="59"/>
                  </a:lnTo>
                  <a:lnTo>
                    <a:pt x="16" y="54"/>
                  </a:lnTo>
                  <a:lnTo>
                    <a:pt x="16" y="49"/>
                  </a:lnTo>
                  <a:lnTo>
                    <a:pt x="16" y="47"/>
                  </a:lnTo>
                  <a:lnTo>
                    <a:pt x="18" y="47"/>
                  </a:lnTo>
                  <a:lnTo>
                    <a:pt x="18" y="49"/>
                  </a:lnTo>
                  <a:lnTo>
                    <a:pt x="18" y="52"/>
                  </a:lnTo>
                  <a:lnTo>
                    <a:pt x="18" y="56"/>
                  </a:lnTo>
                  <a:lnTo>
                    <a:pt x="18" y="61"/>
                  </a:lnTo>
                  <a:lnTo>
                    <a:pt x="21" y="59"/>
                  </a:lnTo>
                  <a:lnTo>
                    <a:pt x="23" y="56"/>
                  </a:lnTo>
                  <a:lnTo>
                    <a:pt x="23" y="54"/>
                  </a:lnTo>
                  <a:lnTo>
                    <a:pt x="26" y="52"/>
                  </a:lnTo>
                  <a:lnTo>
                    <a:pt x="28" y="52"/>
                  </a:lnTo>
                  <a:lnTo>
                    <a:pt x="30" y="47"/>
                  </a:lnTo>
                  <a:lnTo>
                    <a:pt x="33" y="37"/>
                  </a:lnTo>
                  <a:lnTo>
                    <a:pt x="35" y="33"/>
                  </a:lnTo>
                  <a:lnTo>
                    <a:pt x="37" y="28"/>
                  </a:lnTo>
                  <a:lnTo>
                    <a:pt x="40" y="26"/>
                  </a:lnTo>
                  <a:lnTo>
                    <a:pt x="40" y="23"/>
                  </a:lnTo>
                  <a:lnTo>
                    <a:pt x="40" y="18"/>
                  </a:lnTo>
                  <a:lnTo>
                    <a:pt x="37" y="16"/>
                  </a:lnTo>
                  <a:lnTo>
                    <a:pt x="35" y="14"/>
                  </a:lnTo>
                  <a:lnTo>
                    <a:pt x="33" y="14"/>
                  </a:lnTo>
                  <a:lnTo>
                    <a:pt x="35" y="9"/>
                  </a:lnTo>
                  <a:lnTo>
                    <a:pt x="35" y="7"/>
                  </a:lnTo>
                  <a:lnTo>
                    <a:pt x="33" y="7"/>
                  </a:lnTo>
                  <a:lnTo>
                    <a:pt x="26" y="7"/>
                  </a:lnTo>
                  <a:lnTo>
                    <a:pt x="23" y="4"/>
                  </a:lnTo>
                  <a:lnTo>
                    <a:pt x="23" y="2"/>
                  </a:lnTo>
                  <a:lnTo>
                    <a:pt x="21"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19" name="Freeform 895">
              <a:extLst>
                <a:ext uri="{FF2B5EF4-FFF2-40B4-BE49-F238E27FC236}">
                  <a16:creationId xmlns:a16="http://schemas.microsoft.com/office/drawing/2014/main" id="{5442E58C-2A6A-409D-BA69-0305425DBD5D}"/>
                </a:ext>
              </a:extLst>
            </p:cNvPr>
            <p:cNvSpPr>
              <a:spLocks/>
            </p:cNvSpPr>
            <p:nvPr/>
          </p:nvSpPr>
          <p:spPr bwMode="auto">
            <a:xfrm>
              <a:off x="7633828" y="3666213"/>
              <a:ext cx="3309" cy="11581"/>
            </a:xfrm>
            <a:custGeom>
              <a:avLst/>
              <a:gdLst>
                <a:gd name="T0" fmla="*/ 0 w 2"/>
                <a:gd name="T1" fmla="*/ 0 h 7"/>
                <a:gd name="T2" fmla="*/ 0 w 2"/>
                <a:gd name="T3" fmla="*/ 3 h 7"/>
                <a:gd name="T4" fmla="*/ 0 w 2"/>
                <a:gd name="T5" fmla="*/ 5 h 7"/>
                <a:gd name="T6" fmla="*/ 0 w 2"/>
                <a:gd name="T7" fmla="*/ 7 h 7"/>
                <a:gd name="T8" fmla="*/ 2 w 2"/>
                <a:gd name="T9" fmla="*/ 0 h 7"/>
                <a:gd name="T10" fmla="*/ 0 w 2"/>
                <a:gd name="T11" fmla="*/ 0 h 7"/>
              </a:gdLst>
              <a:ahLst/>
              <a:cxnLst>
                <a:cxn ang="0">
                  <a:pos x="T0" y="T1"/>
                </a:cxn>
                <a:cxn ang="0">
                  <a:pos x="T2" y="T3"/>
                </a:cxn>
                <a:cxn ang="0">
                  <a:pos x="T4" y="T5"/>
                </a:cxn>
                <a:cxn ang="0">
                  <a:pos x="T6" y="T7"/>
                </a:cxn>
                <a:cxn ang="0">
                  <a:pos x="T8" y="T9"/>
                </a:cxn>
                <a:cxn ang="0">
                  <a:pos x="T10" y="T11"/>
                </a:cxn>
              </a:cxnLst>
              <a:rect l="0" t="0" r="r" b="b"/>
              <a:pathLst>
                <a:path w="2" h="7">
                  <a:moveTo>
                    <a:pt x="0" y="0"/>
                  </a:moveTo>
                  <a:lnTo>
                    <a:pt x="0" y="3"/>
                  </a:lnTo>
                  <a:lnTo>
                    <a:pt x="0" y="5"/>
                  </a:lnTo>
                  <a:lnTo>
                    <a:pt x="0" y="7"/>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0" name="Freeform 896">
              <a:extLst>
                <a:ext uri="{FF2B5EF4-FFF2-40B4-BE49-F238E27FC236}">
                  <a16:creationId xmlns:a16="http://schemas.microsoft.com/office/drawing/2014/main" id="{33AD3945-720B-468F-B897-4A3912243706}"/>
                </a:ext>
              </a:extLst>
            </p:cNvPr>
            <p:cNvSpPr>
              <a:spLocks/>
            </p:cNvSpPr>
            <p:nvPr/>
          </p:nvSpPr>
          <p:spPr bwMode="auto">
            <a:xfrm>
              <a:off x="7633828" y="3666213"/>
              <a:ext cx="3309" cy="11581"/>
            </a:xfrm>
            <a:custGeom>
              <a:avLst/>
              <a:gdLst>
                <a:gd name="T0" fmla="*/ 0 w 2"/>
                <a:gd name="T1" fmla="*/ 0 h 7"/>
                <a:gd name="T2" fmla="*/ 0 w 2"/>
                <a:gd name="T3" fmla="*/ 3 h 7"/>
                <a:gd name="T4" fmla="*/ 0 w 2"/>
                <a:gd name="T5" fmla="*/ 5 h 7"/>
                <a:gd name="T6" fmla="*/ 0 w 2"/>
                <a:gd name="T7" fmla="*/ 7 h 7"/>
                <a:gd name="T8" fmla="*/ 2 w 2"/>
                <a:gd name="T9" fmla="*/ 0 h 7"/>
                <a:gd name="T10" fmla="*/ 0 w 2"/>
                <a:gd name="T11" fmla="*/ 0 h 7"/>
              </a:gdLst>
              <a:ahLst/>
              <a:cxnLst>
                <a:cxn ang="0">
                  <a:pos x="T0" y="T1"/>
                </a:cxn>
                <a:cxn ang="0">
                  <a:pos x="T2" y="T3"/>
                </a:cxn>
                <a:cxn ang="0">
                  <a:pos x="T4" y="T5"/>
                </a:cxn>
                <a:cxn ang="0">
                  <a:pos x="T6" y="T7"/>
                </a:cxn>
                <a:cxn ang="0">
                  <a:pos x="T8" y="T9"/>
                </a:cxn>
                <a:cxn ang="0">
                  <a:pos x="T10" y="T11"/>
                </a:cxn>
              </a:cxnLst>
              <a:rect l="0" t="0" r="r" b="b"/>
              <a:pathLst>
                <a:path w="2" h="7">
                  <a:moveTo>
                    <a:pt x="0" y="0"/>
                  </a:moveTo>
                  <a:lnTo>
                    <a:pt x="0" y="3"/>
                  </a:lnTo>
                  <a:lnTo>
                    <a:pt x="0" y="5"/>
                  </a:lnTo>
                  <a:lnTo>
                    <a:pt x="0" y="7"/>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1" name="Freeform 897">
              <a:extLst>
                <a:ext uri="{FF2B5EF4-FFF2-40B4-BE49-F238E27FC236}">
                  <a16:creationId xmlns:a16="http://schemas.microsoft.com/office/drawing/2014/main" id="{47E270B0-2ABE-41AA-B779-00C0458E77D2}"/>
                </a:ext>
              </a:extLst>
            </p:cNvPr>
            <p:cNvSpPr>
              <a:spLocks/>
            </p:cNvSpPr>
            <p:nvPr/>
          </p:nvSpPr>
          <p:spPr bwMode="auto">
            <a:xfrm>
              <a:off x="7656990" y="3725773"/>
              <a:ext cx="3309" cy="11581"/>
            </a:xfrm>
            <a:custGeom>
              <a:avLst/>
              <a:gdLst>
                <a:gd name="T0" fmla="*/ 2 w 2"/>
                <a:gd name="T1" fmla="*/ 2 h 7"/>
                <a:gd name="T2" fmla="*/ 2 w 2"/>
                <a:gd name="T3" fmla="*/ 0 h 7"/>
                <a:gd name="T4" fmla="*/ 2 w 2"/>
                <a:gd name="T5" fmla="*/ 2 h 7"/>
                <a:gd name="T6" fmla="*/ 0 w 2"/>
                <a:gd name="T7" fmla="*/ 7 h 7"/>
                <a:gd name="T8" fmla="*/ 2 w 2"/>
                <a:gd name="T9" fmla="*/ 7 h 7"/>
                <a:gd name="T10" fmla="*/ 2 w 2"/>
                <a:gd name="T11" fmla="*/ 2 h 7"/>
              </a:gdLst>
              <a:ahLst/>
              <a:cxnLst>
                <a:cxn ang="0">
                  <a:pos x="T0" y="T1"/>
                </a:cxn>
                <a:cxn ang="0">
                  <a:pos x="T2" y="T3"/>
                </a:cxn>
                <a:cxn ang="0">
                  <a:pos x="T4" y="T5"/>
                </a:cxn>
                <a:cxn ang="0">
                  <a:pos x="T6" y="T7"/>
                </a:cxn>
                <a:cxn ang="0">
                  <a:pos x="T8" y="T9"/>
                </a:cxn>
                <a:cxn ang="0">
                  <a:pos x="T10" y="T11"/>
                </a:cxn>
              </a:cxnLst>
              <a:rect l="0" t="0" r="r" b="b"/>
              <a:pathLst>
                <a:path w="2" h="7">
                  <a:moveTo>
                    <a:pt x="2" y="2"/>
                  </a:moveTo>
                  <a:lnTo>
                    <a:pt x="2" y="0"/>
                  </a:lnTo>
                  <a:lnTo>
                    <a:pt x="2" y="2"/>
                  </a:lnTo>
                  <a:lnTo>
                    <a:pt x="0" y="7"/>
                  </a:lnTo>
                  <a:lnTo>
                    <a:pt x="2" y="7"/>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2" name="Freeform 898">
              <a:extLst>
                <a:ext uri="{FF2B5EF4-FFF2-40B4-BE49-F238E27FC236}">
                  <a16:creationId xmlns:a16="http://schemas.microsoft.com/office/drawing/2014/main" id="{3897E7F5-5760-4FAF-BCA2-321EF7CC612F}"/>
                </a:ext>
              </a:extLst>
            </p:cNvPr>
            <p:cNvSpPr>
              <a:spLocks/>
            </p:cNvSpPr>
            <p:nvPr/>
          </p:nvSpPr>
          <p:spPr bwMode="auto">
            <a:xfrm>
              <a:off x="7656990" y="3725773"/>
              <a:ext cx="3309" cy="11581"/>
            </a:xfrm>
            <a:custGeom>
              <a:avLst/>
              <a:gdLst>
                <a:gd name="T0" fmla="*/ 2 w 2"/>
                <a:gd name="T1" fmla="*/ 2 h 7"/>
                <a:gd name="T2" fmla="*/ 2 w 2"/>
                <a:gd name="T3" fmla="*/ 0 h 7"/>
                <a:gd name="T4" fmla="*/ 2 w 2"/>
                <a:gd name="T5" fmla="*/ 2 h 7"/>
                <a:gd name="T6" fmla="*/ 0 w 2"/>
                <a:gd name="T7" fmla="*/ 7 h 7"/>
                <a:gd name="T8" fmla="*/ 2 w 2"/>
                <a:gd name="T9" fmla="*/ 7 h 7"/>
                <a:gd name="T10" fmla="*/ 2 w 2"/>
                <a:gd name="T11" fmla="*/ 2 h 7"/>
              </a:gdLst>
              <a:ahLst/>
              <a:cxnLst>
                <a:cxn ang="0">
                  <a:pos x="T0" y="T1"/>
                </a:cxn>
                <a:cxn ang="0">
                  <a:pos x="T2" y="T3"/>
                </a:cxn>
                <a:cxn ang="0">
                  <a:pos x="T4" y="T5"/>
                </a:cxn>
                <a:cxn ang="0">
                  <a:pos x="T6" y="T7"/>
                </a:cxn>
                <a:cxn ang="0">
                  <a:pos x="T8" y="T9"/>
                </a:cxn>
                <a:cxn ang="0">
                  <a:pos x="T10" y="T11"/>
                </a:cxn>
              </a:cxnLst>
              <a:rect l="0" t="0" r="r" b="b"/>
              <a:pathLst>
                <a:path w="2" h="7">
                  <a:moveTo>
                    <a:pt x="2" y="2"/>
                  </a:moveTo>
                  <a:lnTo>
                    <a:pt x="2" y="0"/>
                  </a:lnTo>
                  <a:lnTo>
                    <a:pt x="2" y="2"/>
                  </a:lnTo>
                  <a:lnTo>
                    <a:pt x="0" y="7"/>
                  </a:lnTo>
                  <a:lnTo>
                    <a:pt x="2" y="7"/>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3" name="Freeform 899">
              <a:extLst>
                <a:ext uri="{FF2B5EF4-FFF2-40B4-BE49-F238E27FC236}">
                  <a16:creationId xmlns:a16="http://schemas.microsoft.com/office/drawing/2014/main" id="{297EEADF-9DAC-409C-B3DF-197DEE26F18D}"/>
                </a:ext>
              </a:extLst>
            </p:cNvPr>
            <p:cNvSpPr>
              <a:spLocks/>
            </p:cNvSpPr>
            <p:nvPr/>
          </p:nvSpPr>
          <p:spPr bwMode="auto">
            <a:xfrm>
              <a:off x="7645410" y="3737353"/>
              <a:ext cx="3309" cy="8272"/>
            </a:xfrm>
            <a:custGeom>
              <a:avLst/>
              <a:gdLst>
                <a:gd name="T0" fmla="*/ 0 w 2"/>
                <a:gd name="T1" fmla="*/ 0 h 5"/>
                <a:gd name="T2" fmla="*/ 0 w 2"/>
                <a:gd name="T3" fmla="*/ 0 h 5"/>
                <a:gd name="T4" fmla="*/ 0 w 2"/>
                <a:gd name="T5" fmla="*/ 0 h 5"/>
                <a:gd name="T6" fmla="*/ 0 w 2"/>
                <a:gd name="T7" fmla="*/ 2 h 5"/>
                <a:gd name="T8" fmla="*/ 2 w 2"/>
                <a:gd name="T9" fmla="*/ 5 h 5"/>
                <a:gd name="T10" fmla="*/ 2 w 2"/>
                <a:gd name="T11" fmla="*/ 0 h 5"/>
                <a:gd name="T12" fmla="*/ 0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0"/>
                  </a:moveTo>
                  <a:lnTo>
                    <a:pt x="0" y="0"/>
                  </a:lnTo>
                  <a:lnTo>
                    <a:pt x="0" y="0"/>
                  </a:lnTo>
                  <a:lnTo>
                    <a:pt x="0" y="2"/>
                  </a:lnTo>
                  <a:lnTo>
                    <a:pt x="2" y="5"/>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4" name="Freeform 900">
              <a:extLst>
                <a:ext uri="{FF2B5EF4-FFF2-40B4-BE49-F238E27FC236}">
                  <a16:creationId xmlns:a16="http://schemas.microsoft.com/office/drawing/2014/main" id="{67D74CB0-AB12-4145-81FA-31B58D3B929E}"/>
                </a:ext>
              </a:extLst>
            </p:cNvPr>
            <p:cNvSpPr>
              <a:spLocks/>
            </p:cNvSpPr>
            <p:nvPr/>
          </p:nvSpPr>
          <p:spPr bwMode="auto">
            <a:xfrm>
              <a:off x="7645410" y="3737353"/>
              <a:ext cx="3309" cy="8272"/>
            </a:xfrm>
            <a:custGeom>
              <a:avLst/>
              <a:gdLst>
                <a:gd name="T0" fmla="*/ 0 w 2"/>
                <a:gd name="T1" fmla="*/ 0 h 5"/>
                <a:gd name="T2" fmla="*/ 0 w 2"/>
                <a:gd name="T3" fmla="*/ 0 h 5"/>
                <a:gd name="T4" fmla="*/ 0 w 2"/>
                <a:gd name="T5" fmla="*/ 0 h 5"/>
                <a:gd name="T6" fmla="*/ 0 w 2"/>
                <a:gd name="T7" fmla="*/ 2 h 5"/>
                <a:gd name="T8" fmla="*/ 2 w 2"/>
                <a:gd name="T9" fmla="*/ 5 h 5"/>
                <a:gd name="T10" fmla="*/ 2 w 2"/>
                <a:gd name="T11" fmla="*/ 0 h 5"/>
                <a:gd name="T12" fmla="*/ 0 w 2"/>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0"/>
                  </a:moveTo>
                  <a:lnTo>
                    <a:pt x="0" y="0"/>
                  </a:lnTo>
                  <a:lnTo>
                    <a:pt x="0" y="0"/>
                  </a:lnTo>
                  <a:lnTo>
                    <a:pt x="0" y="2"/>
                  </a:lnTo>
                  <a:lnTo>
                    <a:pt x="2" y="5"/>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5" name="Rectangle 901">
              <a:extLst>
                <a:ext uri="{FF2B5EF4-FFF2-40B4-BE49-F238E27FC236}">
                  <a16:creationId xmlns:a16="http://schemas.microsoft.com/office/drawing/2014/main" id="{1B77C822-A8FC-4F9C-90EF-EDC760E7A24F}"/>
                </a:ext>
              </a:extLst>
            </p:cNvPr>
            <p:cNvSpPr>
              <a:spLocks noChangeArrowheads="1"/>
            </p:cNvSpPr>
            <p:nvPr/>
          </p:nvSpPr>
          <p:spPr bwMode="auto">
            <a:xfrm>
              <a:off x="7594121" y="3659596"/>
              <a:ext cx="3309" cy="3309"/>
            </a:xfrm>
            <a:prstGeom prst="rect">
              <a:avLst/>
            </a:prstGeom>
            <a:grp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6" name="Rectangle 902">
              <a:extLst>
                <a:ext uri="{FF2B5EF4-FFF2-40B4-BE49-F238E27FC236}">
                  <a16:creationId xmlns:a16="http://schemas.microsoft.com/office/drawing/2014/main" id="{885EE919-3D9F-49B2-8EBC-96F62805AEF5}"/>
                </a:ext>
              </a:extLst>
            </p:cNvPr>
            <p:cNvSpPr>
              <a:spLocks noChangeArrowheads="1"/>
            </p:cNvSpPr>
            <p:nvPr/>
          </p:nvSpPr>
          <p:spPr bwMode="auto">
            <a:xfrm>
              <a:off x="7594121" y="3659596"/>
              <a:ext cx="3309" cy="3309"/>
            </a:xfrm>
            <a:prstGeom prst="rect">
              <a:avLst/>
            </a:prstGeom>
            <a:grp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7" name="Freeform 903">
              <a:extLst>
                <a:ext uri="{FF2B5EF4-FFF2-40B4-BE49-F238E27FC236}">
                  <a16:creationId xmlns:a16="http://schemas.microsoft.com/office/drawing/2014/main" id="{4B84101B-14FF-46F5-9A5C-391F477D35FB}"/>
                </a:ext>
              </a:extLst>
            </p:cNvPr>
            <p:cNvSpPr>
              <a:spLocks/>
            </p:cNvSpPr>
            <p:nvPr/>
          </p:nvSpPr>
          <p:spPr bwMode="auto">
            <a:xfrm>
              <a:off x="7602394" y="3646360"/>
              <a:ext cx="3309" cy="8272"/>
            </a:xfrm>
            <a:custGeom>
              <a:avLst/>
              <a:gdLst>
                <a:gd name="T0" fmla="*/ 2 w 2"/>
                <a:gd name="T1" fmla="*/ 3 h 5"/>
                <a:gd name="T2" fmla="*/ 2 w 2"/>
                <a:gd name="T3" fmla="*/ 0 h 5"/>
                <a:gd name="T4" fmla="*/ 2 w 2"/>
                <a:gd name="T5" fmla="*/ 0 h 5"/>
                <a:gd name="T6" fmla="*/ 0 w 2"/>
                <a:gd name="T7" fmla="*/ 3 h 5"/>
                <a:gd name="T8" fmla="*/ 2 w 2"/>
                <a:gd name="T9" fmla="*/ 5 h 5"/>
                <a:gd name="T10" fmla="*/ 2 w 2"/>
                <a:gd name="T11" fmla="*/ 3 h 5"/>
                <a:gd name="T12" fmla="*/ 2 w 2"/>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3"/>
                  </a:moveTo>
                  <a:lnTo>
                    <a:pt x="2" y="0"/>
                  </a:lnTo>
                  <a:lnTo>
                    <a:pt x="2" y="0"/>
                  </a:lnTo>
                  <a:lnTo>
                    <a:pt x="0" y="3"/>
                  </a:lnTo>
                  <a:lnTo>
                    <a:pt x="2" y="5"/>
                  </a:lnTo>
                  <a:lnTo>
                    <a:pt x="2" y="3"/>
                  </a:lnTo>
                  <a:lnTo>
                    <a:pt x="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8" name="Freeform 904">
              <a:extLst>
                <a:ext uri="{FF2B5EF4-FFF2-40B4-BE49-F238E27FC236}">
                  <a16:creationId xmlns:a16="http://schemas.microsoft.com/office/drawing/2014/main" id="{00D78DEF-F1F5-4E98-9680-7004EB53A650}"/>
                </a:ext>
              </a:extLst>
            </p:cNvPr>
            <p:cNvSpPr>
              <a:spLocks/>
            </p:cNvSpPr>
            <p:nvPr/>
          </p:nvSpPr>
          <p:spPr bwMode="auto">
            <a:xfrm>
              <a:off x="7602394" y="3646360"/>
              <a:ext cx="3309" cy="8272"/>
            </a:xfrm>
            <a:custGeom>
              <a:avLst/>
              <a:gdLst>
                <a:gd name="T0" fmla="*/ 2 w 2"/>
                <a:gd name="T1" fmla="*/ 3 h 5"/>
                <a:gd name="T2" fmla="*/ 2 w 2"/>
                <a:gd name="T3" fmla="*/ 0 h 5"/>
                <a:gd name="T4" fmla="*/ 2 w 2"/>
                <a:gd name="T5" fmla="*/ 0 h 5"/>
                <a:gd name="T6" fmla="*/ 0 w 2"/>
                <a:gd name="T7" fmla="*/ 3 h 5"/>
                <a:gd name="T8" fmla="*/ 2 w 2"/>
                <a:gd name="T9" fmla="*/ 5 h 5"/>
                <a:gd name="T10" fmla="*/ 2 w 2"/>
                <a:gd name="T11" fmla="*/ 3 h 5"/>
                <a:gd name="T12" fmla="*/ 2 w 2"/>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3"/>
                  </a:moveTo>
                  <a:lnTo>
                    <a:pt x="2" y="0"/>
                  </a:lnTo>
                  <a:lnTo>
                    <a:pt x="2" y="0"/>
                  </a:lnTo>
                  <a:lnTo>
                    <a:pt x="0" y="3"/>
                  </a:lnTo>
                  <a:lnTo>
                    <a:pt x="2" y="5"/>
                  </a:lnTo>
                  <a:lnTo>
                    <a:pt x="2" y="3"/>
                  </a:lnTo>
                  <a:lnTo>
                    <a:pt x="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29" name="Freeform 905">
              <a:extLst>
                <a:ext uri="{FF2B5EF4-FFF2-40B4-BE49-F238E27FC236}">
                  <a16:creationId xmlns:a16="http://schemas.microsoft.com/office/drawing/2014/main" id="{842BAB24-FC3A-4474-88B0-AF65AC977A5B}"/>
                </a:ext>
              </a:extLst>
            </p:cNvPr>
            <p:cNvSpPr>
              <a:spLocks/>
            </p:cNvSpPr>
            <p:nvPr/>
          </p:nvSpPr>
          <p:spPr bwMode="auto">
            <a:xfrm>
              <a:off x="7622247" y="3619889"/>
              <a:ext cx="3309" cy="3309"/>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0" name="Freeform 906">
              <a:extLst>
                <a:ext uri="{FF2B5EF4-FFF2-40B4-BE49-F238E27FC236}">
                  <a16:creationId xmlns:a16="http://schemas.microsoft.com/office/drawing/2014/main" id="{43500CAF-2E17-4574-BDA7-BFFA86E80286}"/>
                </a:ext>
              </a:extLst>
            </p:cNvPr>
            <p:cNvSpPr>
              <a:spLocks/>
            </p:cNvSpPr>
            <p:nvPr/>
          </p:nvSpPr>
          <p:spPr bwMode="auto">
            <a:xfrm>
              <a:off x="7622247" y="3619889"/>
              <a:ext cx="3309" cy="3309"/>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1" name="Freeform 907">
              <a:extLst>
                <a:ext uri="{FF2B5EF4-FFF2-40B4-BE49-F238E27FC236}">
                  <a16:creationId xmlns:a16="http://schemas.microsoft.com/office/drawing/2014/main" id="{83D66EF2-92E1-48DB-9929-83D40A5A7976}"/>
                </a:ext>
              </a:extLst>
            </p:cNvPr>
            <p:cNvSpPr>
              <a:spLocks/>
            </p:cNvSpPr>
            <p:nvPr/>
          </p:nvSpPr>
          <p:spPr bwMode="auto">
            <a:xfrm>
              <a:off x="7344302" y="3901142"/>
              <a:ext cx="51288" cy="105884"/>
            </a:xfrm>
            <a:custGeom>
              <a:avLst/>
              <a:gdLst>
                <a:gd name="T0" fmla="*/ 23 w 31"/>
                <a:gd name="T1" fmla="*/ 0 h 64"/>
                <a:gd name="T2" fmla="*/ 26 w 31"/>
                <a:gd name="T3" fmla="*/ 2 h 64"/>
                <a:gd name="T4" fmla="*/ 28 w 31"/>
                <a:gd name="T5" fmla="*/ 2 h 64"/>
                <a:gd name="T6" fmla="*/ 28 w 31"/>
                <a:gd name="T7" fmla="*/ 2 h 64"/>
                <a:gd name="T8" fmla="*/ 31 w 31"/>
                <a:gd name="T9" fmla="*/ 5 h 64"/>
                <a:gd name="T10" fmla="*/ 31 w 31"/>
                <a:gd name="T11" fmla="*/ 5 h 64"/>
                <a:gd name="T12" fmla="*/ 31 w 31"/>
                <a:gd name="T13" fmla="*/ 7 h 64"/>
                <a:gd name="T14" fmla="*/ 31 w 31"/>
                <a:gd name="T15" fmla="*/ 9 h 64"/>
                <a:gd name="T16" fmla="*/ 28 w 31"/>
                <a:gd name="T17" fmla="*/ 12 h 64"/>
                <a:gd name="T18" fmla="*/ 31 w 31"/>
                <a:gd name="T19" fmla="*/ 14 h 64"/>
                <a:gd name="T20" fmla="*/ 28 w 31"/>
                <a:gd name="T21" fmla="*/ 17 h 64"/>
                <a:gd name="T22" fmla="*/ 26 w 31"/>
                <a:gd name="T23" fmla="*/ 24 h 64"/>
                <a:gd name="T24" fmla="*/ 26 w 31"/>
                <a:gd name="T25" fmla="*/ 31 h 64"/>
                <a:gd name="T26" fmla="*/ 23 w 31"/>
                <a:gd name="T27" fmla="*/ 38 h 64"/>
                <a:gd name="T28" fmla="*/ 21 w 31"/>
                <a:gd name="T29" fmla="*/ 43 h 64"/>
                <a:gd name="T30" fmla="*/ 19 w 31"/>
                <a:gd name="T31" fmla="*/ 50 h 64"/>
                <a:gd name="T32" fmla="*/ 16 w 31"/>
                <a:gd name="T33" fmla="*/ 52 h 64"/>
                <a:gd name="T34" fmla="*/ 14 w 31"/>
                <a:gd name="T35" fmla="*/ 54 h 64"/>
                <a:gd name="T36" fmla="*/ 12 w 31"/>
                <a:gd name="T37" fmla="*/ 64 h 64"/>
                <a:gd name="T38" fmla="*/ 12 w 31"/>
                <a:gd name="T39" fmla="*/ 64 h 64"/>
                <a:gd name="T40" fmla="*/ 9 w 31"/>
                <a:gd name="T41" fmla="*/ 59 h 64"/>
                <a:gd name="T42" fmla="*/ 7 w 31"/>
                <a:gd name="T43" fmla="*/ 54 h 64"/>
                <a:gd name="T44" fmla="*/ 5 w 31"/>
                <a:gd name="T45" fmla="*/ 52 h 64"/>
                <a:gd name="T46" fmla="*/ 2 w 31"/>
                <a:gd name="T47" fmla="*/ 47 h 64"/>
                <a:gd name="T48" fmla="*/ 0 w 31"/>
                <a:gd name="T49" fmla="*/ 40 h 64"/>
                <a:gd name="T50" fmla="*/ 0 w 31"/>
                <a:gd name="T51" fmla="*/ 33 h 64"/>
                <a:gd name="T52" fmla="*/ 0 w 31"/>
                <a:gd name="T53" fmla="*/ 31 h 64"/>
                <a:gd name="T54" fmla="*/ 2 w 31"/>
                <a:gd name="T55" fmla="*/ 26 h 64"/>
                <a:gd name="T56" fmla="*/ 14 w 31"/>
                <a:gd name="T57" fmla="*/ 7 h 64"/>
                <a:gd name="T58" fmla="*/ 21 w 31"/>
                <a:gd name="T59" fmla="*/ 2 h 64"/>
                <a:gd name="T60" fmla="*/ 21 w 31"/>
                <a:gd name="T61" fmla="*/ 2 h 64"/>
                <a:gd name="T62" fmla="*/ 23 w 31"/>
                <a:gd name="T6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64">
                  <a:moveTo>
                    <a:pt x="23" y="0"/>
                  </a:moveTo>
                  <a:lnTo>
                    <a:pt x="26" y="2"/>
                  </a:lnTo>
                  <a:lnTo>
                    <a:pt x="28" y="2"/>
                  </a:lnTo>
                  <a:lnTo>
                    <a:pt x="28" y="2"/>
                  </a:lnTo>
                  <a:lnTo>
                    <a:pt x="31" y="5"/>
                  </a:lnTo>
                  <a:lnTo>
                    <a:pt x="31" y="5"/>
                  </a:lnTo>
                  <a:lnTo>
                    <a:pt x="31" y="7"/>
                  </a:lnTo>
                  <a:lnTo>
                    <a:pt x="31" y="9"/>
                  </a:lnTo>
                  <a:lnTo>
                    <a:pt x="28" y="12"/>
                  </a:lnTo>
                  <a:lnTo>
                    <a:pt x="31" y="14"/>
                  </a:lnTo>
                  <a:lnTo>
                    <a:pt x="28" y="17"/>
                  </a:lnTo>
                  <a:lnTo>
                    <a:pt x="26" y="24"/>
                  </a:lnTo>
                  <a:lnTo>
                    <a:pt x="26" y="31"/>
                  </a:lnTo>
                  <a:lnTo>
                    <a:pt x="23" y="38"/>
                  </a:lnTo>
                  <a:lnTo>
                    <a:pt x="21" y="43"/>
                  </a:lnTo>
                  <a:lnTo>
                    <a:pt x="19" y="50"/>
                  </a:lnTo>
                  <a:lnTo>
                    <a:pt x="16" y="52"/>
                  </a:lnTo>
                  <a:lnTo>
                    <a:pt x="14" y="54"/>
                  </a:lnTo>
                  <a:lnTo>
                    <a:pt x="12" y="64"/>
                  </a:lnTo>
                  <a:lnTo>
                    <a:pt x="12" y="64"/>
                  </a:lnTo>
                  <a:lnTo>
                    <a:pt x="9" y="59"/>
                  </a:lnTo>
                  <a:lnTo>
                    <a:pt x="7" y="54"/>
                  </a:lnTo>
                  <a:lnTo>
                    <a:pt x="5" y="52"/>
                  </a:lnTo>
                  <a:lnTo>
                    <a:pt x="2" y="47"/>
                  </a:lnTo>
                  <a:lnTo>
                    <a:pt x="0" y="40"/>
                  </a:lnTo>
                  <a:lnTo>
                    <a:pt x="0" y="33"/>
                  </a:lnTo>
                  <a:lnTo>
                    <a:pt x="0" y="31"/>
                  </a:lnTo>
                  <a:lnTo>
                    <a:pt x="2" y="26"/>
                  </a:lnTo>
                  <a:lnTo>
                    <a:pt x="14" y="7"/>
                  </a:lnTo>
                  <a:lnTo>
                    <a:pt x="21" y="2"/>
                  </a:lnTo>
                  <a:lnTo>
                    <a:pt x="21" y="2"/>
                  </a:lnTo>
                  <a:lnTo>
                    <a:pt x="2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2" name="Freeform 908">
              <a:extLst>
                <a:ext uri="{FF2B5EF4-FFF2-40B4-BE49-F238E27FC236}">
                  <a16:creationId xmlns:a16="http://schemas.microsoft.com/office/drawing/2014/main" id="{D72C4551-D0EC-48AE-B43D-5BA414A3AC5D}"/>
                </a:ext>
              </a:extLst>
            </p:cNvPr>
            <p:cNvSpPr>
              <a:spLocks/>
            </p:cNvSpPr>
            <p:nvPr/>
          </p:nvSpPr>
          <p:spPr bwMode="auto">
            <a:xfrm>
              <a:off x="7344302" y="3901142"/>
              <a:ext cx="51288" cy="105884"/>
            </a:xfrm>
            <a:custGeom>
              <a:avLst/>
              <a:gdLst>
                <a:gd name="T0" fmla="*/ 23 w 31"/>
                <a:gd name="T1" fmla="*/ 0 h 64"/>
                <a:gd name="T2" fmla="*/ 26 w 31"/>
                <a:gd name="T3" fmla="*/ 2 h 64"/>
                <a:gd name="T4" fmla="*/ 28 w 31"/>
                <a:gd name="T5" fmla="*/ 2 h 64"/>
                <a:gd name="T6" fmla="*/ 28 w 31"/>
                <a:gd name="T7" fmla="*/ 2 h 64"/>
                <a:gd name="T8" fmla="*/ 31 w 31"/>
                <a:gd name="T9" fmla="*/ 5 h 64"/>
                <a:gd name="T10" fmla="*/ 31 w 31"/>
                <a:gd name="T11" fmla="*/ 5 h 64"/>
                <a:gd name="T12" fmla="*/ 31 w 31"/>
                <a:gd name="T13" fmla="*/ 7 h 64"/>
                <a:gd name="T14" fmla="*/ 31 w 31"/>
                <a:gd name="T15" fmla="*/ 9 h 64"/>
                <a:gd name="T16" fmla="*/ 28 w 31"/>
                <a:gd name="T17" fmla="*/ 12 h 64"/>
                <a:gd name="T18" fmla="*/ 31 w 31"/>
                <a:gd name="T19" fmla="*/ 14 h 64"/>
                <a:gd name="T20" fmla="*/ 28 w 31"/>
                <a:gd name="T21" fmla="*/ 17 h 64"/>
                <a:gd name="T22" fmla="*/ 26 w 31"/>
                <a:gd name="T23" fmla="*/ 24 h 64"/>
                <a:gd name="T24" fmla="*/ 26 w 31"/>
                <a:gd name="T25" fmla="*/ 31 h 64"/>
                <a:gd name="T26" fmla="*/ 23 w 31"/>
                <a:gd name="T27" fmla="*/ 38 h 64"/>
                <a:gd name="T28" fmla="*/ 21 w 31"/>
                <a:gd name="T29" fmla="*/ 43 h 64"/>
                <a:gd name="T30" fmla="*/ 19 w 31"/>
                <a:gd name="T31" fmla="*/ 50 h 64"/>
                <a:gd name="T32" fmla="*/ 16 w 31"/>
                <a:gd name="T33" fmla="*/ 52 h 64"/>
                <a:gd name="T34" fmla="*/ 14 w 31"/>
                <a:gd name="T35" fmla="*/ 54 h 64"/>
                <a:gd name="T36" fmla="*/ 12 w 31"/>
                <a:gd name="T37" fmla="*/ 64 h 64"/>
                <a:gd name="T38" fmla="*/ 12 w 31"/>
                <a:gd name="T39" fmla="*/ 64 h 64"/>
                <a:gd name="T40" fmla="*/ 9 w 31"/>
                <a:gd name="T41" fmla="*/ 59 h 64"/>
                <a:gd name="T42" fmla="*/ 7 w 31"/>
                <a:gd name="T43" fmla="*/ 54 h 64"/>
                <a:gd name="T44" fmla="*/ 5 w 31"/>
                <a:gd name="T45" fmla="*/ 52 h 64"/>
                <a:gd name="T46" fmla="*/ 2 w 31"/>
                <a:gd name="T47" fmla="*/ 47 h 64"/>
                <a:gd name="T48" fmla="*/ 0 w 31"/>
                <a:gd name="T49" fmla="*/ 40 h 64"/>
                <a:gd name="T50" fmla="*/ 0 w 31"/>
                <a:gd name="T51" fmla="*/ 33 h 64"/>
                <a:gd name="T52" fmla="*/ 0 w 31"/>
                <a:gd name="T53" fmla="*/ 31 h 64"/>
                <a:gd name="T54" fmla="*/ 2 w 31"/>
                <a:gd name="T55" fmla="*/ 26 h 64"/>
                <a:gd name="T56" fmla="*/ 14 w 31"/>
                <a:gd name="T57" fmla="*/ 7 h 64"/>
                <a:gd name="T58" fmla="*/ 21 w 31"/>
                <a:gd name="T59" fmla="*/ 2 h 64"/>
                <a:gd name="T60" fmla="*/ 21 w 31"/>
                <a:gd name="T61" fmla="*/ 2 h 64"/>
                <a:gd name="T62" fmla="*/ 23 w 31"/>
                <a:gd name="T6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64">
                  <a:moveTo>
                    <a:pt x="23" y="0"/>
                  </a:moveTo>
                  <a:lnTo>
                    <a:pt x="26" y="2"/>
                  </a:lnTo>
                  <a:lnTo>
                    <a:pt x="28" y="2"/>
                  </a:lnTo>
                  <a:lnTo>
                    <a:pt x="28" y="2"/>
                  </a:lnTo>
                  <a:lnTo>
                    <a:pt x="31" y="5"/>
                  </a:lnTo>
                  <a:lnTo>
                    <a:pt x="31" y="5"/>
                  </a:lnTo>
                  <a:lnTo>
                    <a:pt x="31" y="7"/>
                  </a:lnTo>
                  <a:lnTo>
                    <a:pt x="31" y="9"/>
                  </a:lnTo>
                  <a:lnTo>
                    <a:pt x="28" y="12"/>
                  </a:lnTo>
                  <a:lnTo>
                    <a:pt x="31" y="14"/>
                  </a:lnTo>
                  <a:lnTo>
                    <a:pt x="28" y="17"/>
                  </a:lnTo>
                  <a:lnTo>
                    <a:pt x="26" y="24"/>
                  </a:lnTo>
                  <a:lnTo>
                    <a:pt x="26" y="31"/>
                  </a:lnTo>
                  <a:lnTo>
                    <a:pt x="23" y="38"/>
                  </a:lnTo>
                  <a:lnTo>
                    <a:pt x="21" y="43"/>
                  </a:lnTo>
                  <a:lnTo>
                    <a:pt x="19" y="50"/>
                  </a:lnTo>
                  <a:lnTo>
                    <a:pt x="16" y="52"/>
                  </a:lnTo>
                  <a:lnTo>
                    <a:pt x="14" y="54"/>
                  </a:lnTo>
                  <a:lnTo>
                    <a:pt x="12" y="64"/>
                  </a:lnTo>
                  <a:lnTo>
                    <a:pt x="12" y="64"/>
                  </a:lnTo>
                  <a:lnTo>
                    <a:pt x="9" y="59"/>
                  </a:lnTo>
                  <a:lnTo>
                    <a:pt x="7" y="54"/>
                  </a:lnTo>
                  <a:lnTo>
                    <a:pt x="5" y="52"/>
                  </a:lnTo>
                  <a:lnTo>
                    <a:pt x="2" y="47"/>
                  </a:lnTo>
                  <a:lnTo>
                    <a:pt x="0" y="40"/>
                  </a:lnTo>
                  <a:lnTo>
                    <a:pt x="0" y="33"/>
                  </a:lnTo>
                  <a:lnTo>
                    <a:pt x="0" y="31"/>
                  </a:lnTo>
                  <a:lnTo>
                    <a:pt x="2" y="26"/>
                  </a:lnTo>
                  <a:lnTo>
                    <a:pt x="14" y="7"/>
                  </a:lnTo>
                  <a:lnTo>
                    <a:pt x="21" y="2"/>
                  </a:lnTo>
                  <a:lnTo>
                    <a:pt x="21" y="2"/>
                  </a:lnTo>
                  <a:lnTo>
                    <a:pt x="2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3" name="Freeform 909">
              <a:extLst>
                <a:ext uri="{FF2B5EF4-FFF2-40B4-BE49-F238E27FC236}">
                  <a16:creationId xmlns:a16="http://schemas.microsoft.com/office/drawing/2014/main" id="{88409904-4E22-40FE-B0BA-94EAB70B9C29}"/>
                </a:ext>
              </a:extLst>
            </p:cNvPr>
            <p:cNvSpPr>
              <a:spLocks/>
            </p:cNvSpPr>
            <p:nvPr/>
          </p:nvSpPr>
          <p:spPr bwMode="auto">
            <a:xfrm>
              <a:off x="7450186" y="3929267"/>
              <a:ext cx="3309" cy="6618"/>
            </a:xfrm>
            <a:custGeom>
              <a:avLst/>
              <a:gdLst>
                <a:gd name="T0" fmla="*/ 0 w 2"/>
                <a:gd name="T1" fmla="*/ 0 h 4"/>
                <a:gd name="T2" fmla="*/ 0 w 2"/>
                <a:gd name="T3" fmla="*/ 0 h 4"/>
                <a:gd name="T4" fmla="*/ 2 w 2"/>
                <a:gd name="T5" fmla="*/ 2 h 4"/>
                <a:gd name="T6" fmla="*/ 2 w 2"/>
                <a:gd name="T7" fmla="*/ 2 h 4"/>
                <a:gd name="T8" fmla="*/ 2 w 2"/>
                <a:gd name="T9" fmla="*/ 2 h 4"/>
                <a:gd name="T10" fmla="*/ 0 w 2"/>
                <a:gd name="T11" fmla="*/ 4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0" y="0"/>
                  </a:lnTo>
                  <a:lnTo>
                    <a:pt x="2" y="2"/>
                  </a:lnTo>
                  <a:lnTo>
                    <a:pt x="2" y="2"/>
                  </a:lnTo>
                  <a:lnTo>
                    <a:pt x="2" y="2"/>
                  </a:lnTo>
                  <a:lnTo>
                    <a:pt x="0" y="4"/>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4" name="Freeform 910">
              <a:extLst>
                <a:ext uri="{FF2B5EF4-FFF2-40B4-BE49-F238E27FC236}">
                  <a16:creationId xmlns:a16="http://schemas.microsoft.com/office/drawing/2014/main" id="{F9DC2ABD-8DBE-409E-A38B-9693FB71DBF1}"/>
                </a:ext>
              </a:extLst>
            </p:cNvPr>
            <p:cNvSpPr>
              <a:spLocks/>
            </p:cNvSpPr>
            <p:nvPr/>
          </p:nvSpPr>
          <p:spPr bwMode="auto">
            <a:xfrm>
              <a:off x="7450186" y="3929267"/>
              <a:ext cx="3309" cy="6618"/>
            </a:xfrm>
            <a:custGeom>
              <a:avLst/>
              <a:gdLst>
                <a:gd name="T0" fmla="*/ 0 w 2"/>
                <a:gd name="T1" fmla="*/ 0 h 4"/>
                <a:gd name="T2" fmla="*/ 0 w 2"/>
                <a:gd name="T3" fmla="*/ 0 h 4"/>
                <a:gd name="T4" fmla="*/ 2 w 2"/>
                <a:gd name="T5" fmla="*/ 2 h 4"/>
                <a:gd name="T6" fmla="*/ 2 w 2"/>
                <a:gd name="T7" fmla="*/ 2 h 4"/>
                <a:gd name="T8" fmla="*/ 2 w 2"/>
                <a:gd name="T9" fmla="*/ 2 h 4"/>
                <a:gd name="T10" fmla="*/ 0 w 2"/>
                <a:gd name="T11" fmla="*/ 4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0" y="0"/>
                  </a:lnTo>
                  <a:lnTo>
                    <a:pt x="2" y="2"/>
                  </a:lnTo>
                  <a:lnTo>
                    <a:pt x="2" y="2"/>
                  </a:lnTo>
                  <a:lnTo>
                    <a:pt x="2" y="2"/>
                  </a:lnTo>
                  <a:lnTo>
                    <a:pt x="0" y="4"/>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5" name="Freeform 911">
              <a:extLst>
                <a:ext uri="{FF2B5EF4-FFF2-40B4-BE49-F238E27FC236}">
                  <a16:creationId xmlns:a16="http://schemas.microsoft.com/office/drawing/2014/main" id="{25434B20-E721-4753-8A2F-261F763BD1CC}"/>
                </a:ext>
              </a:extLst>
            </p:cNvPr>
            <p:cNvSpPr>
              <a:spLocks/>
            </p:cNvSpPr>
            <p:nvPr/>
          </p:nvSpPr>
          <p:spPr bwMode="auto">
            <a:xfrm>
              <a:off x="7456804" y="3929267"/>
              <a:ext cx="8273" cy="3309"/>
            </a:xfrm>
            <a:custGeom>
              <a:avLst/>
              <a:gdLst>
                <a:gd name="T0" fmla="*/ 3 w 5"/>
                <a:gd name="T1" fmla="*/ 2 h 2"/>
                <a:gd name="T2" fmla="*/ 0 w 5"/>
                <a:gd name="T3" fmla="*/ 0 h 2"/>
                <a:gd name="T4" fmla="*/ 3 w 5"/>
                <a:gd name="T5" fmla="*/ 0 h 2"/>
                <a:gd name="T6" fmla="*/ 5 w 5"/>
                <a:gd name="T7" fmla="*/ 0 h 2"/>
                <a:gd name="T8" fmla="*/ 5 w 5"/>
                <a:gd name="T9" fmla="*/ 0 h 2"/>
                <a:gd name="T10" fmla="*/ 5 w 5"/>
                <a:gd name="T11" fmla="*/ 2 h 2"/>
                <a:gd name="T12" fmla="*/ 3 w 5"/>
                <a:gd name="T13" fmla="*/ 2 h 2"/>
                <a:gd name="T14" fmla="*/ 3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3" y="2"/>
                  </a:moveTo>
                  <a:lnTo>
                    <a:pt x="0" y="0"/>
                  </a:lnTo>
                  <a:lnTo>
                    <a:pt x="3" y="0"/>
                  </a:lnTo>
                  <a:lnTo>
                    <a:pt x="5" y="0"/>
                  </a:lnTo>
                  <a:lnTo>
                    <a:pt x="5" y="0"/>
                  </a:lnTo>
                  <a:lnTo>
                    <a:pt x="5" y="2"/>
                  </a:lnTo>
                  <a:lnTo>
                    <a:pt x="3" y="2"/>
                  </a:lnTo>
                  <a:lnTo>
                    <a:pt x="3"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6" name="Freeform 912">
              <a:extLst>
                <a:ext uri="{FF2B5EF4-FFF2-40B4-BE49-F238E27FC236}">
                  <a16:creationId xmlns:a16="http://schemas.microsoft.com/office/drawing/2014/main" id="{2D105BDA-92DE-48F4-B768-72224D80C1C3}"/>
                </a:ext>
              </a:extLst>
            </p:cNvPr>
            <p:cNvSpPr>
              <a:spLocks/>
            </p:cNvSpPr>
            <p:nvPr/>
          </p:nvSpPr>
          <p:spPr bwMode="auto">
            <a:xfrm>
              <a:off x="7456804" y="3929267"/>
              <a:ext cx="8273" cy="3309"/>
            </a:xfrm>
            <a:custGeom>
              <a:avLst/>
              <a:gdLst>
                <a:gd name="T0" fmla="*/ 3 w 5"/>
                <a:gd name="T1" fmla="*/ 2 h 2"/>
                <a:gd name="T2" fmla="*/ 0 w 5"/>
                <a:gd name="T3" fmla="*/ 0 h 2"/>
                <a:gd name="T4" fmla="*/ 3 w 5"/>
                <a:gd name="T5" fmla="*/ 0 h 2"/>
                <a:gd name="T6" fmla="*/ 5 w 5"/>
                <a:gd name="T7" fmla="*/ 0 h 2"/>
                <a:gd name="T8" fmla="*/ 5 w 5"/>
                <a:gd name="T9" fmla="*/ 0 h 2"/>
                <a:gd name="T10" fmla="*/ 5 w 5"/>
                <a:gd name="T11" fmla="*/ 2 h 2"/>
                <a:gd name="T12" fmla="*/ 3 w 5"/>
                <a:gd name="T13" fmla="*/ 2 h 2"/>
                <a:gd name="T14" fmla="*/ 3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3" y="2"/>
                  </a:moveTo>
                  <a:lnTo>
                    <a:pt x="0" y="0"/>
                  </a:lnTo>
                  <a:lnTo>
                    <a:pt x="3" y="0"/>
                  </a:lnTo>
                  <a:lnTo>
                    <a:pt x="5" y="0"/>
                  </a:lnTo>
                  <a:lnTo>
                    <a:pt x="5" y="0"/>
                  </a:lnTo>
                  <a:lnTo>
                    <a:pt x="5" y="2"/>
                  </a:lnTo>
                  <a:lnTo>
                    <a:pt x="3" y="2"/>
                  </a:lnTo>
                  <a:lnTo>
                    <a:pt x="3"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7" name="Freeform 913">
              <a:extLst>
                <a:ext uri="{FF2B5EF4-FFF2-40B4-BE49-F238E27FC236}">
                  <a16:creationId xmlns:a16="http://schemas.microsoft.com/office/drawing/2014/main" id="{E9EBF09E-206C-4862-B7F5-E97A58EAE443}"/>
                </a:ext>
              </a:extLst>
            </p:cNvPr>
            <p:cNvSpPr>
              <a:spLocks/>
            </p:cNvSpPr>
            <p:nvPr/>
          </p:nvSpPr>
          <p:spPr bwMode="auto">
            <a:xfrm>
              <a:off x="7562687" y="3849855"/>
              <a:ext cx="16545" cy="23161"/>
            </a:xfrm>
            <a:custGeom>
              <a:avLst/>
              <a:gdLst>
                <a:gd name="T0" fmla="*/ 3 w 10"/>
                <a:gd name="T1" fmla="*/ 7 h 14"/>
                <a:gd name="T2" fmla="*/ 3 w 10"/>
                <a:gd name="T3" fmla="*/ 7 h 14"/>
                <a:gd name="T4" fmla="*/ 5 w 10"/>
                <a:gd name="T5" fmla="*/ 5 h 14"/>
                <a:gd name="T6" fmla="*/ 5 w 10"/>
                <a:gd name="T7" fmla="*/ 5 h 14"/>
                <a:gd name="T8" fmla="*/ 7 w 10"/>
                <a:gd name="T9" fmla="*/ 3 h 14"/>
                <a:gd name="T10" fmla="*/ 10 w 10"/>
                <a:gd name="T11" fmla="*/ 0 h 14"/>
                <a:gd name="T12" fmla="*/ 10 w 10"/>
                <a:gd name="T13" fmla="*/ 3 h 14"/>
                <a:gd name="T14" fmla="*/ 7 w 10"/>
                <a:gd name="T15" fmla="*/ 7 h 14"/>
                <a:gd name="T16" fmla="*/ 5 w 10"/>
                <a:gd name="T17" fmla="*/ 7 h 14"/>
                <a:gd name="T18" fmla="*/ 3 w 10"/>
                <a:gd name="T19" fmla="*/ 10 h 14"/>
                <a:gd name="T20" fmla="*/ 3 w 10"/>
                <a:gd name="T21" fmla="*/ 12 h 14"/>
                <a:gd name="T22" fmla="*/ 3 w 10"/>
                <a:gd name="T23" fmla="*/ 12 h 14"/>
                <a:gd name="T24" fmla="*/ 3 w 10"/>
                <a:gd name="T25" fmla="*/ 14 h 14"/>
                <a:gd name="T26" fmla="*/ 3 w 10"/>
                <a:gd name="T27" fmla="*/ 14 h 14"/>
                <a:gd name="T28" fmla="*/ 0 w 10"/>
                <a:gd name="T29" fmla="*/ 12 h 14"/>
                <a:gd name="T30" fmla="*/ 0 w 10"/>
                <a:gd name="T31" fmla="*/ 10 h 14"/>
                <a:gd name="T32" fmla="*/ 3 w 10"/>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3" y="7"/>
                  </a:moveTo>
                  <a:lnTo>
                    <a:pt x="3" y="7"/>
                  </a:lnTo>
                  <a:lnTo>
                    <a:pt x="5" y="5"/>
                  </a:lnTo>
                  <a:lnTo>
                    <a:pt x="5" y="5"/>
                  </a:lnTo>
                  <a:lnTo>
                    <a:pt x="7" y="3"/>
                  </a:lnTo>
                  <a:lnTo>
                    <a:pt x="10" y="0"/>
                  </a:lnTo>
                  <a:lnTo>
                    <a:pt x="10" y="3"/>
                  </a:lnTo>
                  <a:lnTo>
                    <a:pt x="7" y="7"/>
                  </a:lnTo>
                  <a:lnTo>
                    <a:pt x="5" y="7"/>
                  </a:lnTo>
                  <a:lnTo>
                    <a:pt x="3" y="10"/>
                  </a:lnTo>
                  <a:lnTo>
                    <a:pt x="3" y="12"/>
                  </a:lnTo>
                  <a:lnTo>
                    <a:pt x="3" y="12"/>
                  </a:lnTo>
                  <a:lnTo>
                    <a:pt x="3" y="14"/>
                  </a:lnTo>
                  <a:lnTo>
                    <a:pt x="3" y="14"/>
                  </a:lnTo>
                  <a:lnTo>
                    <a:pt x="0" y="12"/>
                  </a:lnTo>
                  <a:lnTo>
                    <a:pt x="0" y="10"/>
                  </a:lnTo>
                  <a:lnTo>
                    <a:pt x="3"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8" name="Freeform 914">
              <a:extLst>
                <a:ext uri="{FF2B5EF4-FFF2-40B4-BE49-F238E27FC236}">
                  <a16:creationId xmlns:a16="http://schemas.microsoft.com/office/drawing/2014/main" id="{EA9ACBE3-BE61-480E-8B99-28B534C6AF6C}"/>
                </a:ext>
              </a:extLst>
            </p:cNvPr>
            <p:cNvSpPr>
              <a:spLocks/>
            </p:cNvSpPr>
            <p:nvPr/>
          </p:nvSpPr>
          <p:spPr bwMode="auto">
            <a:xfrm>
              <a:off x="7562687" y="3849855"/>
              <a:ext cx="16545" cy="23161"/>
            </a:xfrm>
            <a:custGeom>
              <a:avLst/>
              <a:gdLst>
                <a:gd name="T0" fmla="*/ 3 w 10"/>
                <a:gd name="T1" fmla="*/ 7 h 14"/>
                <a:gd name="T2" fmla="*/ 3 w 10"/>
                <a:gd name="T3" fmla="*/ 7 h 14"/>
                <a:gd name="T4" fmla="*/ 5 w 10"/>
                <a:gd name="T5" fmla="*/ 5 h 14"/>
                <a:gd name="T6" fmla="*/ 5 w 10"/>
                <a:gd name="T7" fmla="*/ 5 h 14"/>
                <a:gd name="T8" fmla="*/ 7 w 10"/>
                <a:gd name="T9" fmla="*/ 3 h 14"/>
                <a:gd name="T10" fmla="*/ 10 w 10"/>
                <a:gd name="T11" fmla="*/ 0 h 14"/>
                <a:gd name="T12" fmla="*/ 10 w 10"/>
                <a:gd name="T13" fmla="*/ 3 h 14"/>
                <a:gd name="T14" fmla="*/ 7 w 10"/>
                <a:gd name="T15" fmla="*/ 7 h 14"/>
                <a:gd name="T16" fmla="*/ 5 w 10"/>
                <a:gd name="T17" fmla="*/ 7 h 14"/>
                <a:gd name="T18" fmla="*/ 3 w 10"/>
                <a:gd name="T19" fmla="*/ 10 h 14"/>
                <a:gd name="T20" fmla="*/ 3 w 10"/>
                <a:gd name="T21" fmla="*/ 12 h 14"/>
                <a:gd name="T22" fmla="*/ 3 w 10"/>
                <a:gd name="T23" fmla="*/ 12 h 14"/>
                <a:gd name="T24" fmla="*/ 3 w 10"/>
                <a:gd name="T25" fmla="*/ 14 h 14"/>
                <a:gd name="T26" fmla="*/ 3 w 10"/>
                <a:gd name="T27" fmla="*/ 14 h 14"/>
                <a:gd name="T28" fmla="*/ 0 w 10"/>
                <a:gd name="T29" fmla="*/ 12 h 14"/>
                <a:gd name="T30" fmla="*/ 0 w 10"/>
                <a:gd name="T31" fmla="*/ 10 h 14"/>
                <a:gd name="T32" fmla="*/ 3 w 10"/>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3" y="7"/>
                  </a:moveTo>
                  <a:lnTo>
                    <a:pt x="3" y="7"/>
                  </a:lnTo>
                  <a:lnTo>
                    <a:pt x="5" y="5"/>
                  </a:lnTo>
                  <a:lnTo>
                    <a:pt x="5" y="5"/>
                  </a:lnTo>
                  <a:lnTo>
                    <a:pt x="7" y="3"/>
                  </a:lnTo>
                  <a:lnTo>
                    <a:pt x="10" y="0"/>
                  </a:lnTo>
                  <a:lnTo>
                    <a:pt x="10" y="3"/>
                  </a:lnTo>
                  <a:lnTo>
                    <a:pt x="7" y="7"/>
                  </a:lnTo>
                  <a:lnTo>
                    <a:pt x="5" y="7"/>
                  </a:lnTo>
                  <a:lnTo>
                    <a:pt x="3" y="10"/>
                  </a:lnTo>
                  <a:lnTo>
                    <a:pt x="3" y="12"/>
                  </a:lnTo>
                  <a:lnTo>
                    <a:pt x="3" y="12"/>
                  </a:lnTo>
                  <a:lnTo>
                    <a:pt x="3" y="14"/>
                  </a:lnTo>
                  <a:lnTo>
                    <a:pt x="3" y="14"/>
                  </a:lnTo>
                  <a:lnTo>
                    <a:pt x="0" y="12"/>
                  </a:lnTo>
                  <a:lnTo>
                    <a:pt x="0" y="10"/>
                  </a:lnTo>
                  <a:lnTo>
                    <a:pt x="3"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39" name="Freeform 915">
              <a:extLst>
                <a:ext uri="{FF2B5EF4-FFF2-40B4-BE49-F238E27FC236}">
                  <a16:creationId xmlns:a16="http://schemas.microsoft.com/office/drawing/2014/main" id="{7DF0980B-971A-4185-9529-F384A45831A6}"/>
                </a:ext>
              </a:extLst>
            </p:cNvPr>
            <p:cNvSpPr>
              <a:spLocks/>
            </p:cNvSpPr>
            <p:nvPr/>
          </p:nvSpPr>
          <p:spPr bwMode="auto">
            <a:xfrm>
              <a:off x="7597430" y="3818421"/>
              <a:ext cx="0" cy="8272"/>
            </a:xfrm>
            <a:custGeom>
              <a:avLst/>
              <a:gdLst>
                <a:gd name="T0" fmla="*/ 3 h 5"/>
                <a:gd name="T1" fmla="*/ 3 h 5"/>
                <a:gd name="T2" fmla="*/ 5 h 5"/>
                <a:gd name="T3" fmla="*/ 3 h 5"/>
                <a:gd name="T4" fmla="*/ 0 h 5"/>
                <a:gd name="T5" fmla="*/ 0 h 5"/>
                <a:gd name="T6" fmla="*/ 3 h 5"/>
                <a:gd name="T7" fmla="*/ 3 h 5"/>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5">
                  <a:moveTo>
                    <a:pt x="0" y="3"/>
                  </a:moveTo>
                  <a:lnTo>
                    <a:pt x="0" y="3"/>
                  </a:lnTo>
                  <a:lnTo>
                    <a:pt x="0" y="5"/>
                  </a:lnTo>
                  <a:lnTo>
                    <a:pt x="0" y="3"/>
                  </a:lnTo>
                  <a:lnTo>
                    <a:pt x="0" y="0"/>
                  </a:lnTo>
                  <a:lnTo>
                    <a:pt x="0" y="0"/>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0" name="Freeform 916">
              <a:extLst>
                <a:ext uri="{FF2B5EF4-FFF2-40B4-BE49-F238E27FC236}">
                  <a16:creationId xmlns:a16="http://schemas.microsoft.com/office/drawing/2014/main" id="{1142B391-14F9-46A3-B613-D0EB975B278E}"/>
                </a:ext>
              </a:extLst>
            </p:cNvPr>
            <p:cNvSpPr>
              <a:spLocks/>
            </p:cNvSpPr>
            <p:nvPr/>
          </p:nvSpPr>
          <p:spPr bwMode="auto">
            <a:xfrm>
              <a:off x="7597430" y="3818421"/>
              <a:ext cx="0" cy="8272"/>
            </a:xfrm>
            <a:custGeom>
              <a:avLst/>
              <a:gdLst>
                <a:gd name="T0" fmla="*/ 3 h 5"/>
                <a:gd name="T1" fmla="*/ 3 h 5"/>
                <a:gd name="T2" fmla="*/ 5 h 5"/>
                <a:gd name="T3" fmla="*/ 3 h 5"/>
                <a:gd name="T4" fmla="*/ 0 h 5"/>
                <a:gd name="T5" fmla="*/ 0 h 5"/>
                <a:gd name="T6" fmla="*/ 3 h 5"/>
                <a:gd name="T7" fmla="*/ 3 h 5"/>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5">
                  <a:moveTo>
                    <a:pt x="0" y="3"/>
                  </a:moveTo>
                  <a:lnTo>
                    <a:pt x="0" y="3"/>
                  </a:lnTo>
                  <a:lnTo>
                    <a:pt x="0" y="5"/>
                  </a:lnTo>
                  <a:lnTo>
                    <a:pt x="0" y="3"/>
                  </a:lnTo>
                  <a:lnTo>
                    <a:pt x="0" y="0"/>
                  </a:lnTo>
                  <a:lnTo>
                    <a:pt x="0" y="0"/>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1" name="Freeform 917">
              <a:extLst>
                <a:ext uri="{FF2B5EF4-FFF2-40B4-BE49-F238E27FC236}">
                  <a16:creationId xmlns:a16="http://schemas.microsoft.com/office/drawing/2014/main" id="{1BAFE991-D6C2-4382-AB6D-A44A4DD143BD}"/>
                </a:ext>
              </a:extLst>
            </p:cNvPr>
            <p:cNvSpPr>
              <a:spLocks/>
            </p:cNvSpPr>
            <p:nvPr/>
          </p:nvSpPr>
          <p:spPr bwMode="auto">
            <a:xfrm>
              <a:off x="7610666" y="3800221"/>
              <a:ext cx="6618" cy="11581"/>
            </a:xfrm>
            <a:custGeom>
              <a:avLst/>
              <a:gdLst>
                <a:gd name="T0" fmla="*/ 2 w 4"/>
                <a:gd name="T1" fmla="*/ 2 h 7"/>
                <a:gd name="T2" fmla="*/ 4 w 4"/>
                <a:gd name="T3" fmla="*/ 0 h 7"/>
                <a:gd name="T4" fmla="*/ 4 w 4"/>
                <a:gd name="T5" fmla="*/ 0 h 7"/>
                <a:gd name="T6" fmla="*/ 4 w 4"/>
                <a:gd name="T7" fmla="*/ 2 h 7"/>
                <a:gd name="T8" fmla="*/ 4 w 4"/>
                <a:gd name="T9" fmla="*/ 2 h 7"/>
                <a:gd name="T10" fmla="*/ 2 w 4"/>
                <a:gd name="T11" fmla="*/ 4 h 7"/>
                <a:gd name="T12" fmla="*/ 0 w 4"/>
                <a:gd name="T13" fmla="*/ 7 h 7"/>
                <a:gd name="T14" fmla="*/ 0 w 4"/>
                <a:gd name="T15" fmla="*/ 4 h 7"/>
                <a:gd name="T16" fmla="*/ 0 w 4"/>
                <a:gd name="T17" fmla="*/ 4 h 7"/>
                <a:gd name="T18" fmla="*/ 0 w 4"/>
                <a:gd name="T19" fmla="*/ 2 h 7"/>
                <a:gd name="T20" fmla="*/ 0 w 4"/>
                <a:gd name="T21" fmla="*/ 2 h 7"/>
                <a:gd name="T22" fmla="*/ 2 w 4"/>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7">
                  <a:moveTo>
                    <a:pt x="2" y="2"/>
                  </a:moveTo>
                  <a:lnTo>
                    <a:pt x="4" y="0"/>
                  </a:lnTo>
                  <a:lnTo>
                    <a:pt x="4" y="0"/>
                  </a:lnTo>
                  <a:lnTo>
                    <a:pt x="4" y="2"/>
                  </a:lnTo>
                  <a:lnTo>
                    <a:pt x="4" y="2"/>
                  </a:lnTo>
                  <a:lnTo>
                    <a:pt x="2" y="4"/>
                  </a:lnTo>
                  <a:lnTo>
                    <a:pt x="0" y="7"/>
                  </a:lnTo>
                  <a:lnTo>
                    <a:pt x="0" y="4"/>
                  </a:lnTo>
                  <a:lnTo>
                    <a:pt x="0" y="4"/>
                  </a:lnTo>
                  <a:lnTo>
                    <a:pt x="0" y="2"/>
                  </a:lnTo>
                  <a:lnTo>
                    <a:pt x="0" y="2"/>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2" name="Freeform 918">
              <a:extLst>
                <a:ext uri="{FF2B5EF4-FFF2-40B4-BE49-F238E27FC236}">
                  <a16:creationId xmlns:a16="http://schemas.microsoft.com/office/drawing/2014/main" id="{E961F361-2CFD-4E82-8272-336FFF11E6D2}"/>
                </a:ext>
              </a:extLst>
            </p:cNvPr>
            <p:cNvSpPr>
              <a:spLocks/>
            </p:cNvSpPr>
            <p:nvPr/>
          </p:nvSpPr>
          <p:spPr bwMode="auto">
            <a:xfrm>
              <a:off x="7610666" y="3800221"/>
              <a:ext cx="6618" cy="11581"/>
            </a:xfrm>
            <a:custGeom>
              <a:avLst/>
              <a:gdLst>
                <a:gd name="T0" fmla="*/ 2 w 4"/>
                <a:gd name="T1" fmla="*/ 2 h 7"/>
                <a:gd name="T2" fmla="*/ 4 w 4"/>
                <a:gd name="T3" fmla="*/ 0 h 7"/>
                <a:gd name="T4" fmla="*/ 4 w 4"/>
                <a:gd name="T5" fmla="*/ 0 h 7"/>
                <a:gd name="T6" fmla="*/ 4 w 4"/>
                <a:gd name="T7" fmla="*/ 2 h 7"/>
                <a:gd name="T8" fmla="*/ 4 w 4"/>
                <a:gd name="T9" fmla="*/ 2 h 7"/>
                <a:gd name="T10" fmla="*/ 2 w 4"/>
                <a:gd name="T11" fmla="*/ 4 h 7"/>
                <a:gd name="T12" fmla="*/ 0 w 4"/>
                <a:gd name="T13" fmla="*/ 7 h 7"/>
                <a:gd name="T14" fmla="*/ 0 w 4"/>
                <a:gd name="T15" fmla="*/ 4 h 7"/>
                <a:gd name="T16" fmla="*/ 0 w 4"/>
                <a:gd name="T17" fmla="*/ 4 h 7"/>
                <a:gd name="T18" fmla="*/ 0 w 4"/>
                <a:gd name="T19" fmla="*/ 2 h 7"/>
                <a:gd name="T20" fmla="*/ 0 w 4"/>
                <a:gd name="T21" fmla="*/ 2 h 7"/>
                <a:gd name="T22" fmla="*/ 2 w 4"/>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7">
                  <a:moveTo>
                    <a:pt x="2" y="2"/>
                  </a:moveTo>
                  <a:lnTo>
                    <a:pt x="4" y="0"/>
                  </a:lnTo>
                  <a:lnTo>
                    <a:pt x="4" y="0"/>
                  </a:lnTo>
                  <a:lnTo>
                    <a:pt x="4" y="2"/>
                  </a:lnTo>
                  <a:lnTo>
                    <a:pt x="4" y="2"/>
                  </a:lnTo>
                  <a:lnTo>
                    <a:pt x="2" y="4"/>
                  </a:lnTo>
                  <a:lnTo>
                    <a:pt x="0" y="7"/>
                  </a:lnTo>
                  <a:lnTo>
                    <a:pt x="0" y="4"/>
                  </a:lnTo>
                  <a:lnTo>
                    <a:pt x="0" y="4"/>
                  </a:lnTo>
                  <a:lnTo>
                    <a:pt x="0" y="2"/>
                  </a:lnTo>
                  <a:lnTo>
                    <a:pt x="0" y="2"/>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3" name="Freeform 919">
              <a:extLst>
                <a:ext uri="{FF2B5EF4-FFF2-40B4-BE49-F238E27FC236}">
                  <a16:creationId xmlns:a16="http://schemas.microsoft.com/office/drawing/2014/main" id="{DCF994E4-971C-40BC-B02C-98D9A7CE27B7}"/>
                </a:ext>
              </a:extLst>
            </p:cNvPr>
            <p:cNvSpPr>
              <a:spLocks/>
            </p:cNvSpPr>
            <p:nvPr/>
          </p:nvSpPr>
          <p:spPr bwMode="auto">
            <a:xfrm>
              <a:off x="7493201" y="3916031"/>
              <a:ext cx="3309" cy="4963"/>
            </a:xfrm>
            <a:custGeom>
              <a:avLst/>
              <a:gdLst>
                <a:gd name="T0" fmla="*/ 2 w 2"/>
                <a:gd name="T1" fmla="*/ 0 h 3"/>
                <a:gd name="T2" fmla="*/ 0 w 2"/>
                <a:gd name="T3" fmla="*/ 0 h 3"/>
                <a:gd name="T4" fmla="*/ 0 w 2"/>
                <a:gd name="T5" fmla="*/ 0 h 3"/>
                <a:gd name="T6" fmla="*/ 2 w 2"/>
                <a:gd name="T7" fmla="*/ 0 h 3"/>
                <a:gd name="T8" fmla="*/ 2 w 2"/>
                <a:gd name="T9" fmla="*/ 3 h 3"/>
                <a:gd name="T10" fmla="*/ 2 w 2"/>
                <a:gd name="T11" fmla="*/ 3 h 3"/>
                <a:gd name="T12" fmla="*/ 2 w 2"/>
                <a:gd name="T13" fmla="*/ 3 h 3"/>
                <a:gd name="T14" fmla="*/ 2 w 2"/>
                <a:gd name="T15" fmla="*/ 3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lnTo>
                    <a:pt x="0" y="0"/>
                  </a:lnTo>
                  <a:lnTo>
                    <a:pt x="0" y="0"/>
                  </a:lnTo>
                  <a:lnTo>
                    <a:pt x="2" y="0"/>
                  </a:lnTo>
                  <a:lnTo>
                    <a:pt x="2" y="3"/>
                  </a:lnTo>
                  <a:lnTo>
                    <a:pt x="2" y="3"/>
                  </a:lnTo>
                  <a:lnTo>
                    <a:pt x="2" y="3"/>
                  </a:lnTo>
                  <a:lnTo>
                    <a:pt x="2" y="3"/>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4" name="Freeform 920">
              <a:extLst>
                <a:ext uri="{FF2B5EF4-FFF2-40B4-BE49-F238E27FC236}">
                  <a16:creationId xmlns:a16="http://schemas.microsoft.com/office/drawing/2014/main" id="{13BD7603-F0CF-4DF0-92C6-7746F8C65A6E}"/>
                </a:ext>
              </a:extLst>
            </p:cNvPr>
            <p:cNvSpPr>
              <a:spLocks/>
            </p:cNvSpPr>
            <p:nvPr/>
          </p:nvSpPr>
          <p:spPr bwMode="auto">
            <a:xfrm>
              <a:off x="7493201" y="3916031"/>
              <a:ext cx="3309" cy="4963"/>
            </a:xfrm>
            <a:custGeom>
              <a:avLst/>
              <a:gdLst>
                <a:gd name="T0" fmla="*/ 2 w 2"/>
                <a:gd name="T1" fmla="*/ 0 h 3"/>
                <a:gd name="T2" fmla="*/ 0 w 2"/>
                <a:gd name="T3" fmla="*/ 0 h 3"/>
                <a:gd name="T4" fmla="*/ 0 w 2"/>
                <a:gd name="T5" fmla="*/ 0 h 3"/>
                <a:gd name="T6" fmla="*/ 2 w 2"/>
                <a:gd name="T7" fmla="*/ 0 h 3"/>
                <a:gd name="T8" fmla="*/ 2 w 2"/>
                <a:gd name="T9" fmla="*/ 3 h 3"/>
                <a:gd name="T10" fmla="*/ 2 w 2"/>
                <a:gd name="T11" fmla="*/ 3 h 3"/>
                <a:gd name="T12" fmla="*/ 2 w 2"/>
                <a:gd name="T13" fmla="*/ 3 h 3"/>
                <a:gd name="T14" fmla="*/ 2 w 2"/>
                <a:gd name="T15" fmla="*/ 3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lnTo>
                    <a:pt x="0" y="0"/>
                  </a:lnTo>
                  <a:lnTo>
                    <a:pt x="0" y="0"/>
                  </a:lnTo>
                  <a:lnTo>
                    <a:pt x="2" y="0"/>
                  </a:lnTo>
                  <a:lnTo>
                    <a:pt x="2" y="3"/>
                  </a:lnTo>
                  <a:lnTo>
                    <a:pt x="2" y="3"/>
                  </a:lnTo>
                  <a:lnTo>
                    <a:pt x="2" y="3"/>
                  </a:lnTo>
                  <a:lnTo>
                    <a:pt x="2" y="3"/>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5" name="Freeform 935">
              <a:extLst>
                <a:ext uri="{FF2B5EF4-FFF2-40B4-BE49-F238E27FC236}">
                  <a16:creationId xmlns:a16="http://schemas.microsoft.com/office/drawing/2014/main" id="{A0830255-2D1F-4BBB-A843-6AB04FDFBDDB}"/>
                </a:ext>
              </a:extLst>
            </p:cNvPr>
            <p:cNvSpPr>
              <a:spLocks/>
            </p:cNvSpPr>
            <p:nvPr/>
          </p:nvSpPr>
          <p:spPr bwMode="auto">
            <a:xfrm>
              <a:off x="7163969" y="3995444"/>
              <a:ext cx="4964" cy="3309"/>
            </a:xfrm>
            <a:custGeom>
              <a:avLst/>
              <a:gdLst>
                <a:gd name="T0" fmla="*/ 3 w 3"/>
                <a:gd name="T1" fmla="*/ 0 h 2"/>
                <a:gd name="T2" fmla="*/ 3 w 3"/>
                <a:gd name="T3" fmla="*/ 0 h 2"/>
                <a:gd name="T4" fmla="*/ 0 w 3"/>
                <a:gd name="T5" fmla="*/ 2 h 2"/>
                <a:gd name="T6" fmla="*/ 0 w 3"/>
                <a:gd name="T7" fmla="*/ 2 h 2"/>
                <a:gd name="T8" fmla="*/ 0 w 3"/>
                <a:gd name="T9" fmla="*/ 2 h 2"/>
                <a:gd name="T10" fmla="*/ 0 w 3"/>
                <a:gd name="T11" fmla="*/ 2 h 2"/>
                <a:gd name="T12" fmla="*/ 0 w 3"/>
                <a:gd name="T13" fmla="*/ 2 h 2"/>
                <a:gd name="T14" fmla="*/ 0 w 3"/>
                <a:gd name="T15" fmla="*/ 2 h 2"/>
                <a:gd name="T16" fmla="*/ 3 w 3"/>
                <a:gd name="T17" fmla="*/ 2 h 2"/>
                <a:gd name="T18" fmla="*/ 3 w 3"/>
                <a:gd name="T19" fmla="*/ 2 h 2"/>
                <a:gd name="T20" fmla="*/ 3 w 3"/>
                <a:gd name="T21" fmla="*/ 2 h 2"/>
                <a:gd name="T22" fmla="*/ 3 w 3"/>
                <a:gd name="T23" fmla="*/ 2 h 2"/>
                <a:gd name="T24" fmla="*/ 3 w 3"/>
                <a:gd name="T25" fmla="*/ 2 h 2"/>
                <a:gd name="T26" fmla="*/ 3 w 3"/>
                <a:gd name="T27" fmla="*/ 0 h 2"/>
                <a:gd name="T28" fmla="*/ 3 w 3"/>
                <a:gd name="T29" fmla="*/ 0 h 2"/>
                <a:gd name="T30" fmla="*/ 3 w 3"/>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3" y="0"/>
                  </a:moveTo>
                  <a:lnTo>
                    <a:pt x="3" y="0"/>
                  </a:lnTo>
                  <a:lnTo>
                    <a:pt x="0" y="2"/>
                  </a:lnTo>
                  <a:lnTo>
                    <a:pt x="0" y="2"/>
                  </a:lnTo>
                  <a:lnTo>
                    <a:pt x="0" y="2"/>
                  </a:lnTo>
                  <a:lnTo>
                    <a:pt x="0" y="2"/>
                  </a:lnTo>
                  <a:lnTo>
                    <a:pt x="0" y="2"/>
                  </a:lnTo>
                  <a:lnTo>
                    <a:pt x="0" y="2"/>
                  </a:lnTo>
                  <a:lnTo>
                    <a:pt x="3" y="2"/>
                  </a:lnTo>
                  <a:lnTo>
                    <a:pt x="3" y="2"/>
                  </a:lnTo>
                  <a:lnTo>
                    <a:pt x="3" y="2"/>
                  </a:lnTo>
                  <a:lnTo>
                    <a:pt x="3" y="2"/>
                  </a:lnTo>
                  <a:lnTo>
                    <a:pt x="3" y="2"/>
                  </a:lnTo>
                  <a:lnTo>
                    <a:pt x="3" y="0"/>
                  </a:lnTo>
                  <a:lnTo>
                    <a:pt x="3"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6" name="Freeform 936">
              <a:extLst>
                <a:ext uri="{FF2B5EF4-FFF2-40B4-BE49-F238E27FC236}">
                  <a16:creationId xmlns:a16="http://schemas.microsoft.com/office/drawing/2014/main" id="{1A94897D-CCDF-41EB-957B-9D5A4126E46C}"/>
                </a:ext>
              </a:extLst>
            </p:cNvPr>
            <p:cNvSpPr>
              <a:spLocks/>
            </p:cNvSpPr>
            <p:nvPr/>
          </p:nvSpPr>
          <p:spPr bwMode="auto">
            <a:xfrm>
              <a:off x="7163969" y="3995444"/>
              <a:ext cx="4964" cy="3309"/>
            </a:xfrm>
            <a:custGeom>
              <a:avLst/>
              <a:gdLst>
                <a:gd name="T0" fmla="*/ 3 w 3"/>
                <a:gd name="T1" fmla="*/ 0 h 2"/>
                <a:gd name="T2" fmla="*/ 3 w 3"/>
                <a:gd name="T3" fmla="*/ 0 h 2"/>
                <a:gd name="T4" fmla="*/ 0 w 3"/>
                <a:gd name="T5" fmla="*/ 2 h 2"/>
                <a:gd name="T6" fmla="*/ 0 w 3"/>
                <a:gd name="T7" fmla="*/ 2 h 2"/>
                <a:gd name="T8" fmla="*/ 0 w 3"/>
                <a:gd name="T9" fmla="*/ 2 h 2"/>
                <a:gd name="T10" fmla="*/ 0 w 3"/>
                <a:gd name="T11" fmla="*/ 2 h 2"/>
                <a:gd name="T12" fmla="*/ 0 w 3"/>
                <a:gd name="T13" fmla="*/ 2 h 2"/>
                <a:gd name="T14" fmla="*/ 0 w 3"/>
                <a:gd name="T15" fmla="*/ 2 h 2"/>
                <a:gd name="T16" fmla="*/ 3 w 3"/>
                <a:gd name="T17" fmla="*/ 2 h 2"/>
                <a:gd name="T18" fmla="*/ 3 w 3"/>
                <a:gd name="T19" fmla="*/ 2 h 2"/>
                <a:gd name="T20" fmla="*/ 3 w 3"/>
                <a:gd name="T21" fmla="*/ 2 h 2"/>
                <a:gd name="T22" fmla="*/ 3 w 3"/>
                <a:gd name="T23" fmla="*/ 2 h 2"/>
                <a:gd name="T24" fmla="*/ 3 w 3"/>
                <a:gd name="T25" fmla="*/ 2 h 2"/>
                <a:gd name="T26" fmla="*/ 3 w 3"/>
                <a:gd name="T27" fmla="*/ 0 h 2"/>
                <a:gd name="T28" fmla="*/ 3 w 3"/>
                <a:gd name="T29" fmla="*/ 0 h 2"/>
                <a:gd name="T30" fmla="*/ 3 w 3"/>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3" y="0"/>
                  </a:moveTo>
                  <a:lnTo>
                    <a:pt x="3" y="0"/>
                  </a:lnTo>
                  <a:lnTo>
                    <a:pt x="0" y="2"/>
                  </a:lnTo>
                  <a:lnTo>
                    <a:pt x="0" y="2"/>
                  </a:lnTo>
                  <a:lnTo>
                    <a:pt x="0" y="2"/>
                  </a:lnTo>
                  <a:lnTo>
                    <a:pt x="0" y="2"/>
                  </a:lnTo>
                  <a:lnTo>
                    <a:pt x="0" y="2"/>
                  </a:lnTo>
                  <a:lnTo>
                    <a:pt x="0" y="2"/>
                  </a:lnTo>
                  <a:lnTo>
                    <a:pt x="3" y="2"/>
                  </a:lnTo>
                  <a:lnTo>
                    <a:pt x="3" y="2"/>
                  </a:lnTo>
                  <a:lnTo>
                    <a:pt x="3" y="2"/>
                  </a:lnTo>
                  <a:lnTo>
                    <a:pt x="3" y="2"/>
                  </a:lnTo>
                  <a:lnTo>
                    <a:pt x="3" y="2"/>
                  </a:lnTo>
                  <a:lnTo>
                    <a:pt x="3" y="0"/>
                  </a:lnTo>
                  <a:lnTo>
                    <a:pt x="3"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7" name="Freeform 937">
              <a:extLst>
                <a:ext uri="{FF2B5EF4-FFF2-40B4-BE49-F238E27FC236}">
                  <a16:creationId xmlns:a16="http://schemas.microsoft.com/office/drawing/2014/main" id="{F14078C6-16F5-4ED8-A25E-32C344ED8677}"/>
                </a:ext>
              </a:extLst>
            </p:cNvPr>
            <p:cNvSpPr>
              <a:spLocks/>
            </p:cNvSpPr>
            <p:nvPr/>
          </p:nvSpPr>
          <p:spPr bwMode="auto">
            <a:xfrm>
              <a:off x="7172242" y="3995444"/>
              <a:ext cx="3309" cy="3309"/>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2 h 2"/>
                <a:gd name="T12" fmla="*/ 2 w 2"/>
                <a:gd name="T13" fmla="*/ 2 h 2"/>
                <a:gd name="T14" fmla="*/ 2 w 2"/>
                <a:gd name="T15" fmla="*/ 2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0" y="0"/>
                  </a:lnTo>
                  <a:lnTo>
                    <a:pt x="0" y="2"/>
                  </a:lnTo>
                  <a:lnTo>
                    <a:pt x="2" y="2"/>
                  </a:lnTo>
                  <a:lnTo>
                    <a:pt x="2" y="2"/>
                  </a:lnTo>
                  <a:lnTo>
                    <a:pt x="2" y="2"/>
                  </a:lnTo>
                  <a:lnTo>
                    <a:pt x="2" y="2"/>
                  </a:lnTo>
                  <a:lnTo>
                    <a:pt x="2" y="2"/>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8" name="Freeform 938">
              <a:extLst>
                <a:ext uri="{FF2B5EF4-FFF2-40B4-BE49-F238E27FC236}">
                  <a16:creationId xmlns:a16="http://schemas.microsoft.com/office/drawing/2014/main" id="{0BE25FEB-35DD-4755-89C5-7D0898BE7A5E}"/>
                </a:ext>
              </a:extLst>
            </p:cNvPr>
            <p:cNvSpPr>
              <a:spLocks/>
            </p:cNvSpPr>
            <p:nvPr/>
          </p:nvSpPr>
          <p:spPr bwMode="auto">
            <a:xfrm>
              <a:off x="7172242" y="3995444"/>
              <a:ext cx="3309" cy="3309"/>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2 h 2"/>
                <a:gd name="T12" fmla="*/ 2 w 2"/>
                <a:gd name="T13" fmla="*/ 2 h 2"/>
                <a:gd name="T14" fmla="*/ 2 w 2"/>
                <a:gd name="T15" fmla="*/ 2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0" y="0"/>
                  </a:lnTo>
                  <a:lnTo>
                    <a:pt x="0" y="2"/>
                  </a:lnTo>
                  <a:lnTo>
                    <a:pt x="2" y="2"/>
                  </a:lnTo>
                  <a:lnTo>
                    <a:pt x="2" y="2"/>
                  </a:lnTo>
                  <a:lnTo>
                    <a:pt x="2" y="2"/>
                  </a:lnTo>
                  <a:lnTo>
                    <a:pt x="2" y="2"/>
                  </a:lnTo>
                  <a:lnTo>
                    <a:pt x="2" y="2"/>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49" name="Freeform 941">
              <a:extLst>
                <a:ext uri="{FF2B5EF4-FFF2-40B4-BE49-F238E27FC236}">
                  <a16:creationId xmlns:a16="http://schemas.microsoft.com/office/drawing/2014/main" id="{D299C571-C27D-40C0-AA43-A4E7D3224088}"/>
                </a:ext>
              </a:extLst>
            </p:cNvPr>
            <p:cNvSpPr>
              <a:spLocks/>
            </p:cNvSpPr>
            <p:nvPr/>
          </p:nvSpPr>
          <p:spPr bwMode="auto">
            <a:xfrm>
              <a:off x="7015070" y="4061622"/>
              <a:ext cx="67833" cy="57904"/>
            </a:xfrm>
            <a:custGeom>
              <a:avLst/>
              <a:gdLst>
                <a:gd name="T0" fmla="*/ 31 w 41"/>
                <a:gd name="T1" fmla="*/ 2 h 35"/>
                <a:gd name="T2" fmla="*/ 31 w 41"/>
                <a:gd name="T3" fmla="*/ 2 h 35"/>
                <a:gd name="T4" fmla="*/ 34 w 41"/>
                <a:gd name="T5" fmla="*/ 0 h 35"/>
                <a:gd name="T6" fmla="*/ 36 w 41"/>
                <a:gd name="T7" fmla="*/ 2 h 35"/>
                <a:gd name="T8" fmla="*/ 38 w 41"/>
                <a:gd name="T9" fmla="*/ 2 h 35"/>
                <a:gd name="T10" fmla="*/ 41 w 41"/>
                <a:gd name="T11" fmla="*/ 7 h 35"/>
                <a:gd name="T12" fmla="*/ 41 w 41"/>
                <a:gd name="T13" fmla="*/ 9 h 35"/>
                <a:gd name="T14" fmla="*/ 36 w 41"/>
                <a:gd name="T15" fmla="*/ 12 h 35"/>
                <a:gd name="T16" fmla="*/ 34 w 41"/>
                <a:gd name="T17" fmla="*/ 19 h 35"/>
                <a:gd name="T18" fmla="*/ 31 w 41"/>
                <a:gd name="T19" fmla="*/ 26 h 35"/>
                <a:gd name="T20" fmla="*/ 29 w 41"/>
                <a:gd name="T21" fmla="*/ 28 h 35"/>
                <a:gd name="T22" fmla="*/ 24 w 41"/>
                <a:gd name="T23" fmla="*/ 31 h 35"/>
                <a:gd name="T24" fmla="*/ 19 w 41"/>
                <a:gd name="T25" fmla="*/ 33 h 35"/>
                <a:gd name="T26" fmla="*/ 17 w 41"/>
                <a:gd name="T27" fmla="*/ 35 h 35"/>
                <a:gd name="T28" fmla="*/ 17 w 41"/>
                <a:gd name="T29" fmla="*/ 35 h 35"/>
                <a:gd name="T30" fmla="*/ 15 w 41"/>
                <a:gd name="T31" fmla="*/ 35 h 35"/>
                <a:gd name="T32" fmla="*/ 3 w 41"/>
                <a:gd name="T33" fmla="*/ 31 h 35"/>
                <a:gd name="T34" fmla="*/ 0 w 41"/>
                <a:gd name="T35" fmla="*/ 28 h 35"/>
                <a:gd name="T36" fmla="*/ 0 w 41"/>
                <a:gd name="T37" fmla="*/ 16 h 35"/>
                <a:gd name="T38" fmla="*/ 0 w 41"/>
                <a:gd name="T39" fmla="*/ 14 h 35"/>
                <a:gd name="T40" fmla="*/ 5 w 41"/>
                <a:gd name="T41" fmla="*/ 9 h 35"/>
                <a:gd name="T42" fmla="*/ 8 w 41"/>
                <a:gd name="T43" fmla="*/ 7 h 35"/>
                <a:gd name="T44" fmla="*/ 10 w 41"/>
                <a:gd name="T45" fmla="*/ 7 h 35"/>
                <a:gd name="T46" fmla="*/ 12 w 41"/>
                <a:gd name="T47" fmla="*/ 5 h 35"/>
                <a:gd name="T48" fmla="*/ 15 w 41"/>
                <a:gd name="T49" fmla="*/ 5 h 35"/>
                <a:gd name="T50" fmla="*/ 24 w 41"/>
                <a:gd name="T51" fmla="*/ 2 h 35"/>
                <a:gd name="T52" fmla="*/ 26 w 41"/>
                <a:gd name="T53" fmla="*/ 2 h 35"/>
                <a:gd name="T54" fmla="*/ 29 w 41"/>
                <a:gd name="T55" fmla="*/ 2 h 35"/>
                <a:gd name="T56" fmla="*/ 31 w 41"/>
                <a:gd name="T57" fmla="*/ 2 h 35"/>
                <a:gd name="T58" fmla="*/ 31 w 41"/>
                <a:gd name="T5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35">
                  <a:moveTo>
                    <a:pt x="31" y="2"/>
                  </a:moveTo>
                  <a:lnTo>
                    <a:pt x="31" y="2"/>
                  </a:lnTo>
                  <a:lnTo>
                    <a:pt x="34" y="0"/>
                  </a:lnTo>
                  <a:lnTo>
                    <a:pt x="36" y="2"/>
                  </a:lnTo>
                  <a:lnTo>
                    <a:pt x="38" y="2"/>
                  </a:lnTo>
                  <a:lnTo>
                    <a:pt x="41" y="7"/>
                  </a:lnTo>
                  <a:lnTo>
                    <a:pt x="41" y="9"/>
                  </a:lnTo>
                  <a:lnTo>
                    <a:pt x="36" y="12"/>
                  </a:lnTo>
                  <a:lnTo>
                    <a:pt x="34" y="19"/>
                  </a:lnTo>
                  <a:lnTo>
                    <a:pt x="31" y="26"/>
                  </a:lnTo>
                  <a:lnTo>
                    <a:pt x="29" y="28"/>
                  </a:lnTo>
                  <a:lnTo>
                    <a:pt x="24" y="31"/>
                  </a:lnTo>
                  <a:lnTo>
                    <a:pt x="19" y="33"/>
                  </a:lnTo>
                  <a:lnTo>
                    <a:pt x="17" y="35"/>
                  </a:lnTo>
                  <a:lnTo>
                    <a:pt x="17" y="35"/>
                  </a:lnTo>
                  <a:lnTo>
                    <a:pt x="15" y="35"/>
                  </a:lnTo>
                  <a:lnTo>
                    <a:pt x="3" y="31"/>
                  </a:lnTo>
                  <a:lnTo>
                    <a:pt x="0" y="28"/>
                  </a:lnTo>
                  <a:lnTo>
                    <a:pt x="0" y="16"/>
                  </a:lnTo>
                  <a:lnTo>
                    <a:pt x="0" y="14"/>
                  </a:lnTo>
                  <a:lnTo>
                    <a:pt x="5" y="9"/>
                  </a:lnTo>
                  <a:lnTo>
                    <a:pt x="8" y="7"/>
                  </a:lnTo>
                  <a:lnTo>
                    <a:pt x="10" y="7"/>
                  </a:lnTo>
                  <a:lnTo>
                    <a:pt x="12" y="5"/>
                  </a:lnTo>
                  <a:lnTo>
                    <a:pt x="15" y="5"/>
                  </a:lnTo>
                  <a:lnTo>
                    <a:pt x="24" y="2"/>
                  </a:lnTo>
                  <a:lnTo>
                    <a:pt x="26" y="2"/>
                  </a:lnTo>
                  <a:lnTo>
                    <a:pt x="29" y="2"/>
                  </a:lnTo>
                  <a:lnTo>
                    <a:pt x="31" y="2"/>
                  </a:lnTo>
                  <a:lnTo>
                    <a:pt x="31"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0" name="Freeform 942">
              <a:extLst>
                <a:ext uri="{FF2B5EF4-FFF2-40B4-BE49-F238E27FC236}">
                  <a16:creationId xmlns:a16="http://schemas.microsoft.com/office/drawing/2014/main" id="{7533FE3C-A918-407B-8651-8FB62CB040A8}"/>
                </a:ext>
              </a:extLst>
            </p:cNvPr>
            <p:cNvSpPr>
              <a:spLocks/>
            </p:cNvSpPr>
            <p:nvPr/>
          </p:nvSpPr>
          <p:spPr bwMode="auto">
            <a:xfrm>
              <a:off x="7015070" y="4061622"/>
              <a:ext cx="67833" cy="57904"/>
            </a:xfrm>
            <a:custGeom>
              <a:avLst/>
              <a:gdLst>
                <a:gd name="T0" fmla="*/ 31 w 41"/>
                <a:gd name="T1" fmla="*/ 2 h 35"/>
                <a:gd name="T2" fmla="*/ 31 w 41"/>
                <a:gd name="T3" fmla="*/ 2 h 35"/>
                <a:gd name="T4" fmla="*/ 34 w 41"/>
                <a:gd name="T5" fmla="*/ 0 h 35"/>
                <a:gd name="T6" fmla="*/ 36 w 41"/>
                <a:gd name="T7" fmla="*/ 2 h 35"/>
                <a:gd name="T8" fmla="*/ 38 w 41"/>
                <a:gd name="T9" fmla="*/ 2 h 35"/>
                <a:gd name="T10" fmla="*/ 41 w 41"/>
                <a:gd name="T11" fmla="*/ 7 h 35"/>
                <a:gd name="T12" fmla="*/ 41 w 41"/>
                <a:gd name="T13" fmla="*/ 9 h 35"/>
                <a:gd name="T14" fmla="*/ 36 w 41"/>
                <a:gd name="T15" fmla="*/ 12 h 35"/>
                <a:gd name="T16" fmla="*/ 34 w 41"/>
                <a:gd name="T17" fmla="*/ 19 h 35"/>
                <a:gd name="T18" fmla="*/ 31 w 41"/>
                <a:gd name="T19" fmla="*/ 26 h 35"/>
                <a:gd name="T20" fmla="*/ 29 w 41"/>
                <a:gd name="T21" fmla="*/ 28 h 35"/>
                <a:gd name="T22" fmla="*/ 24 w 41"/>
                <a:gd name="T23" fmla="*/ 31 h 35"/>
                <a:gd name="T24" fmla="*/ 19 w 41"/>
                <a:gd name="T25" fmla="*/ 33 h 35"/>
                <a:gd name="T26" fmla="*/ 17 w 41"/>
                <a:gd name="T27" fmla="*/ 35 h 35"/>
                <a:gd name="T28" fmla="*/ 17 w 41"/>
                <a:gd name="T29" fmla="*/ 35 h 35"/>
                <a:gd name="T30" fmla="*/ 15 w 41"/>
                <a:gd name="T31" fmla="*/ 35 h 35"/>
                <a:gd name="T32" fmla="*/ 3 w 41"/>
                <a:gd name="T33" fmla="*/ 31 h 35"/>
                <a:gd name="T34" fmla="*/ 0 w 41"/>
                <a:gd name="T35" fmla="*/ 28 h 35"/>
                <a:gd name="T36" fmla="*/ 0 w 41"/>
                <a:gd name="T37" fmla="*/ 16 h 35"/>
                <a:gd name="T38" fmla="*/ 0 w 41"/>
                <a:gd name="T39" fmla="*/ 14 h 35"/>
                <a:gd name="T40" fmla="*/ 5 w 41"/>
                <a:gd name="T41" fmla="*/ 9 h 35"/>
                <a:gd name="T42" fmla="*/ 8 w 41"/>
                <a:gd name="T43" fmla="*/ 7 h 35"/>
                <a:gd name="T44" fmla="*/ 10 w 41"/>
                <a:gd name="T45" fmla="*/ 7 h 35"/>
                <a:gd name="T46" fmla="*/ 12 w 41"/>
                <a:gd name="T47" fmla="*/ 5 h 35"/>
                <a:gd name="T48" fmla="*/ 15 w 41"/>
                <a:gd name="T49" fmla="*/ 5 h 35"/>
                <a:gd name="T50" fmla="*/ 24 w 41"/>
                <a:gd name="T51" fmla="*/ 2 h 35"/>
                <a:gd name="T52" fmla="*/ 26 w 41"/>
                <a:gd name="T53" fmla="*/ 2 h 35"/>
                <a:gd name="T54" fmla="*/ 29 w 41"/>
                <a:gd name="T55" fmla="*/ 2 h 35"/>
                <a:gd name="T56" fmla="*/ 31 w 41"/>
                <a:gd name="T57" fmla="*/ 2 h 35"/>
                <a:gd name="T58" fmla="*/ 31 w 41"/>
                <a:gd name="T5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35">
                  <a:moveTo>
                    <a:pt x="31" y="2"/>
                  </a:moveTo>
                  <a:lnTo>
                    <a:pt x="31" y="2"/>
                  </a:lnTo>
                  <a:lnTo>
                    <a:pt x="34" y="0"/>
                  </a:lnTo>
                  <a:lnTo>
                    <a:pt x="36" y="2"/>
                  </a:lnTo>
                  <a:lnTo>
                    <a:pt x="38" y="2"/>
                  </a:lnTo>
                  <a:lnTo>
                    <a:pt x="41" y="7"/>
                  </a:lnTo>
                  <a:lnTo>
                    <a:pt x="41" y="9"/>
                  </a:lnTo>
                  <a:lnTo>
                    <a:pt x="36" y="12"/>
                  </a:lnTo>
                  <a:lnTo>
                    <a:pt x="34" y="19"/>
                  </a:lnTo>
                  <a:lnTo>
                    <a:pt x="31" y="26"/>
                  </a:lnTo>
                  <a:lnTo>
                    <a:pt x="29" y="28"/>
                  </a:lnTo>
                  <a:lnTo>
                    <a:pt x="24" y="31"/>
                  </a:lnTo>
                  <a:lnTo>
                    <a:pt x="19" y="33"/>
                  </a:lnTo>
                  <a:lnTo>
                    <a:pt x="17" y="35"/>
                  </a:lnTo>
                  <a:lnTo>
                    <a:pt x="17" y="35"/>
                  </a:lnTo>
                  <a:lnTo>
                    <a:pt x="15" y="35"/>
                  </a:lnTo>
                  <a:lnTo>
                    <a:pt x="3" y="31"/>
                  </a:lnTo>
                  <a:lnTo>
                    <a:pt x="0" y="28"/>
                  </a:lnTo>
                  <a:lnTo>
                    <a:pt x="0" y="16"/>
                  </a:lnTo>
                  <a:lnTo>
                    <a:pt x="0" y="14"/>
                  </a:lnTo>
                  <a:lnTo>
                    <a:pt x="5" y="9"/>
                  </a:lnTo>
                  <a:lnTo>
                    <a:pt x="8" y="7"/>
                  </a:lnTo>
                  <a:lnTo>
                    <a:pt x="10" y="7"/>
                  </a:lnTo>
                  <a:lnTo>
                    <a:pt x="12" y="5"/>
                  </a:lnTo>
                  <a:lnTo>
                    <a:pt x="15" y="5"/>
                  </a:lnTo>
                  <a:lnTo>
                    <a:pt x="24" y="2"/>
                  </a:lnTo>
                  <a:lnTo>
                    <a:pt x="26" y="2"/>
                  </a:lnTo>
                  <a:lnTo>
                    <a:pt x="29" y="2"/>
                  </a:lnTo>
                  <a:lnTo>
                    <a:pt x="31" y="2"/>
                  </a:lnTo>
                  <a:lnTo>
                    <a:pt x="31"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1" name="Freeform 975">
              <a:extLst>
                <a:ext uri="{FF2B5EF4-FFF2-40B4-BE49-F238E27FC236}">
                  <a16:creationId xmlns:a16="http://schemas.microsoft.com/office/drawing/2014/main" id="{0554C58A-FA73-440A-B2FB-1956EC601110}"/>
                </a:ext>
              </a:extLst>
            </p:cNvPr>
            <p:cNvSpPr>
              <a:spLocks/>
            </p:cNvSpPr>
            <p:nvPr/>
          </p:nvSpPr>
          <p:spPr bwMode="auto">
            <a:xfrm>
              <a:off x="6715619" y="4417325"/>
              <a:ext cx="6618" cy="8272"/>
            </a:xfrm>
            <a:custGeom>
              <a:avLst/>
              <a:gdLst>
                <a:gd name="T0" fmla="*/ 2 w 4"/>
                <a:gd name="T1" fmla="*/ 0 h 5"/>
                <a:gd name="T2" fmla="*/ 0 w 4"/>
                <a:gd name="T3" fmla="*/ 2 h 5"/>
                <a:gd name="T4" fmla="*/ 0 w 4"/>
                <a:gd name="T5" fmla="*/ 5 h 5"/>
                <a:gd name="T6" fmla="*/ 2 w 4"/>
                <a:gd name="T7" fmla="*/ 5 h 5"/>
                <a:gd name="T8" fmla="*/ 4 w 4"/>
                <a:gd name="T9" fmla="*/ 5 h 5"/>
                <a:gd name="T10" fmla="*/ 4 w 4"/>
                <a:gd name="T11" fmla="*/ 2 h 5"/>
                <a:gd name="T12" fmla="*/ 2 w 4"/>
                <a:gd name="T13" fmla="*/ 0 h 5"/>
                <a:gd name="T14" fmla="*/ 2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0"/>
                  </a:moveTo>
                  <a:lnTo>
                    <a:pt x="0" y="2"/>
                  </a:lnTo>
                  <a:lnTo>
                    <a:pt x="0" y="5"/>
                  </a:lnTo>
                  <a:lnTo>
                    <a:pt x="2" y="5"/>
                  </a:lnTo>
                  <a:lnTo>
                    <a:pt x="4" y="5"/>
                  </a:lnTo>
                  <a:lnTo>
                    <a:pt x="4" y="2"/>
                  </a:lnTo>
                  <a:lnTo>
                    <a:pt x="2"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2" name="Freeform 976">
              <a:extLst>
                <a:ext uri="{FF2B5EF4-FFF2-40B4-BE49-F238E27FC236}">
                  <a16:creationId xmlns:a16="http://schemas.microsoft.com/office/drawing/2014/main" id="{C8C75600-48AF-41B4-83AB-7AB78092645E}"/>
                </a:ext>
              </a:extLst>
            </p:cNvPr>
            <p:cNvSpPr>
              <a:spLocks/>
            </p:cNvSpPr>
            <p:nvPr/>
          </p:nvSpPr>
          <p:spPr bwMode="auto">
            <a:xfrm>
              <a:off x="6715619" y="4417325"/>
              <a:ext cx="6618" cy="8272"/>
            </a:xfrm>
            <a:custGeom>
              <a:avLst/>
              <a:gdLst>
                <a:gd name="T0" fmla="*/ 2 w 4"/>
                <a:gd name="T1" fmla="*/ 0 h 5"/>
                <a:gd name="T2" fmla="*/ 0 w 4"/>
                <a:gd name="T3" fmla="*/ 2 h 5"/>
                <a:gd name="T4" fmla="*/ 0 w 4"/>
                <a:gd name="T5" fmla="*/ 5 h 5"/>
                <a:gd name="T6" fmla="*/ 2 w 4"/>
                <a:gd name="T7" fmla="*/ 5 h 5"/>
                <a:gd name="T8" fmla="*/ 4 w 4"/>
                <a:gd name="T9" fmla="*/ 5 h 5"/>
                <a:gd name="T10" fmla="*/ 4 w 4"/>
                <a:gd name="T11" fmla="*/ 2 h 5"/>
                <a:gd name="T12" fmla="*/ 2 w 4"/>
                <a:gd name="T13" fmla="*/ 0 h 5"/>
                <a:gd name="T14" fmla="*/ 2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0"/>
                  </a:moveTo>
                  <a:lnTo>
                    <a:pt x="0" y="2"/>
                  </a:lnTo>
                  <a:lnTo>
                    <a:pt x="0" y="5"/>
                  </a:lnTo>
                  <a:lnTo>
                    <a:pt x="2" y="5"/>
                  </a:lnTo>
                  <a:lnTo>
                    <a:pt x="4" y="5"/>
                  </a:lnTo>
                  <a:lnTo>
                    <a:pt x="4" y="2"/>
                  </a:lnTo>
                  <a:lnTo>
                    <a:pt x="2"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3" name="Freeform 977">
              <a:extLst>
                <a:ext uri="{FF2B5EF4-FFF2-40B4-BE49-F238E27FC236}">
                  <a16:creationId xmlns:a16="http://schemas.microsoft.com/office/drawing/2014/main" id="{1E9A207E-F148-4F5F-9552-8B77B2349373}"/>
                </a:ext>
              </a:extLst>
            </p:cNvPr>
            <p:cNvSpPr>
              <a:spLocks/>
            </p:cNvSpPr>
            <p:nvPr/>
          </p:nvSpPr>
          <p:spPr bwMode="auto">
            <a:xfrm>
              <a:off x="6695765" y="4045078"/>
              <a:ext cx="226658" cy="441733"/>
            </a:xfrm>
            <a:custGeom>
              <a:avLst/>
              <a:gdLst>
                <a:gd name="T0" fmla="*/ 40 w 137"/>
                <a:gd name="T1" fmla="*/ 8 h 267"/>
                <a:gd name="T2" fmla="*/ 26 w 137"/>
                <a:gd name="T3" fmla="*/ 15 h 267"/>
                <a:gd name="T4" fmla="*/ 9 w 137"/>
                <a:gd name="T5" fmla="*/ 22 h 267"/>
                <a:gd name="T6" fmla="*/ 0 w 137"/>
                <a:gd name="T7" fmla="*/ 43 h 267"/>
                <a:gd name="T8" fmla="*/ 14 w 137"/>
                <a:gd name="T9" fmla="*/ 64 h 267"/>
                <a:gd name="T10" fmla="*/ 16 w 137"/>
                <a:gd name="T11" fmla="*/ 81 h 267"/>
                <a:gd name="T12" fmla="*/ 19 w 137"/>
                <a:gd name="T13" fmla="*/ 90 h 267"/>
                <a:gd name="T14" fmla="*/ 12 w 137"/>
                <a:gd name="T15" fmla="*/ 100 h 267"/>
                <a:gd name="T16" fmla="*/ 19 w 137"/>
                <a:gd name="T17" fmla="*/ 116 h 267"/>
                <a:gd name="T18" fmla="*/ 28 w 137"/>
                <a:gd name="T19" fmla="*/ 137 h 267"/>
                <a:gd name="T20" fmla="*/ 35 w 137"/>
                <a:gd name="T21" fmla="*/ 159 h 267"/>
                <a:gd name="T22" fmla="*/ 23 w 137"/>
                <a:gd name="T23" fmla="*/ 178 h 267"/>
                <a:gd name="T24" fmla="*/ 19 w 137"/>
                <a:gd name="T25" fmla="*/ 189 h 267"/>
                <a:gd name="T26" fmla="*/ 12 w 137"/>
                <a:gd name="T27" fmla="*/ 215 h 267"/>
                <a:gd name="T28" fmla="*/ 26 w 137"/>
                <a:gd name="T29" fmla="*/ 230 h 267"/>
                <a:gd name="T30" fmla="*/ 38 w 137"/>
                <a:gd name="T31" fmla="*/ 246 h 267"/>
                <a:gd name="T32" fmla="*/ 52 w 137"/>
                <a:gd name="T33" fmla="*/ 253 h 267"/>
                <a:gd name="T34" fmla="*/ 64 w 137"/>
                <a:gd name="T35" fmla="*/ 265 h 267"/>
                <a:gd name="T36" fmla="*/ 78 w 137"/>
                <a:gd name="T37" fmla="*/ 263 h 267"/>
                <a:gd name="T38" fmla="*/ 68 w 137"/>
                <a:gd name="T39" fmla="*/ 246 h 267"/>
                <a:gd name="T40" fmla="*/ 52 w 137"/>
                <a:gd name="T41" fmla="*/ 237 h 267"/>
                <a:gd name="T42" fmla="*/ 42 w 137"/>
                <a:gd name="T43" fmla="*/ 215 h 267"/>
                <a:gd name="T44" fmla="*/ 33 w 137"/>
                <a:gd name="T45" fmla="*/ 206 h 267"/>
                <a:gd name="T46" fmla="*/ 28 w 137"/>
                <a:gd name="T47" fmla="*/ 192 h 267"/>
                <a:gd name="T48" fmla="*/ 30 w 137"/>
                <a:gd name="T49" fmla="*/ 180 h 267"/>
                <a:gd name="T50" fmla="*/ 35 w 137"/>
                <a:gd name="T51" fmla="*/ 163 h 267"/>
                <a:gd name="T52" fmla="*/ 42 w 137"/>
                <a:gd name="T53" fmla="*/ 140 h 267"/>
                <a:gd name="T54" fmla="*/ 52 w 137"/>
                <a:gd name="T55" fmla="*/ 130 h 267"/>
                <a:gd name="T56" fmla="*/ 59 w 137"/>
                <a:gd name="T57" fmla="*/ 145 h 267"/>
                <a:gd name="T58" fmla="*/ 61 w 137"/>
                <a:gd name="T59" fmla="*/ 145 h 267"/>
                <a:gd name="T60" fmla="*/ 80 w 137"/>
                <a:gd name="T61" fmla="*/ 152 h 267"/>
                <a:gd name="T62" fmla="*/ 87 w 137"/>
                <a:gd name="T63" fmla="*/ 156 h 267"/>
                <a:gd name="T64" fmla="*/ 94 w 137"/>
                <a:gd name="T65" fmla="*/ 161 h 267"/>
                <a:gd name="T66" fmla="*/ 85 w 137"/>
                <a:gd name="T67" fmla="*/ 147 h 267"/>
                <a:gd name="T68" fmla="*/ 85 w 137"/>
                <a:gd name="T69" fmla="*/ 128 h 267"/>
                <a:gd name="T70" fmla="*/ 97 w 137"/>
                <a:gd name="T71" fmla="*/ 116 h 267"/>
                <a:gd name="T72" fmla="*/ 118 w 137"/>
                <a:gd name="T73" fmla="*/ 116 h 267"/>
                <a:gd name="T74" fmla="*/ 132 w 137"/>
                <a:gd name="T75" fmla="*/ 116 h 267"/>
                <a:gd name="T76" fmla="*/ 137 w 137"/>
                <a:gd name="T77" fmla="*/ 95 h 267"/>
                <a:gd name="T78" fmla="*/ 132 w 137"/>
                <a:gd name="T79" fmla="*/ 88 h 267"/>
                <a:gd name="T80" fmla="*/ 125 w 137"/>
                <a:gd name="T81" fmla="*/ 81 h 267"/>
                <a:gd name="T82" fmla="*/ 123 w 137"/>
                <a:gd name="T83" fmla="*/ 59 h 267"/>
                <a:gd name="T84" fmla="*/ 115 w 137"/>
                <a:gd name="T85" fmla="*/ 52 h 267"/>
                <a:gd name="T86" fmla="*/ 104 w 137"/>
                <a:gd name="T87" fmla="*/ 43 h 267"/>
                <a:gd name="T88" fmla="*/ 94 w 137"/>
                <a:gd name="T89" fmla="*/ 48 h 267"/>
                <a:gd name="T90" fmla="*/ 82 w 137"/>
                <a:gd name="T91" fmla="*/ 50 h 267"/>
                <a:gd name="T92" fmla="*/ 71 w 137"/>
                <a:gd name="T93" fmla="*/ 48 h 267"/>
                <a:gd name="T94" fmla="*/ 59 w 137"/>
                <a:gd name="T95" fmla="*/ 57 h 267"/>
                <a:gd name="T96" fmla="*/ 61 w 137"/>
                <a:gd name="T97" fmla="*/ 41 h 267"/>
                <a:gd name="T98" fmla="*/ 61 w 137"/>
                <a:gd name="T99" fmla="*/ 26 h 267"/>
                <a:gd name="T100" fmla="*/ 52 w 137"/>
                <a:gd name="T101" fmla="*/ 19 h 267"/>
                <a:gd name="T102" fmla="*/ 49 w 137"/>
                <a:gd name="T103" fmla="*/ 5 h 267"/>
                <a:gd name="T104" fmla="*/ 45 w 137"/>
                <a:gd name="T10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267">
                  <a:moveTo>
                    <a:pt x="47" y="0"/>
                  </a:moveTo>
                  <a:lnTo>
                    <a:pt x="45" y="0"/>
                  </a:lnTo>
                  <a:lnTo>
                    <a:pt x="42" y="3"/>
                  </a:lnTo>
                  <a:lnTo>
                    <a:pt x="40" y="8"/>
                  </a:lnTo>
                  <a:lnTo>
                    <a:pt x="35" y="8"/>
                  </a:lnTo>
                  <a:lnTo>
                    <a:pt x="33" y="10"/>
                  </a:lnTo>
                  <a:lnTo>
                    <a:pt x="28" y="15"/>
                  </a:lnTo>
                  <a:lnTo>
                    <a:pt x="26" y="15"/>
                  </a:lnTo>
                  <a:lnTo>
                    <a:pt x="21" y="19"/>
                  </a:lnTo>
                  <a:lnTo>
                    <a:pt x="19" y="19"/>
                  </a:lnTo>
                  <a:lnTo>
                    <a:pt x="12" y="19"/>
                  </a:lnTo>
                  <a:lnTo>
                    <a:pt x="9" y="22"/>
                  </a:lnTo>
                  <a:lnTo>
                    <a:pt x="4" y="33"/>
                  </a:lnTo>
                  <a:lnTo>
                    <a:pt x="2" y="38"/>
                  </a:lnTo>
                  <a:lnTo>
                    <a:pt x="4" y="41"/>
                  </a:lnTo>
                  <a:lnTo>
                    <a:pt x="0" y="43"/>
                  </a:lnTo>
                  <a:lnTo>
                    <a:pt x="2" y="45"/>
                  </a:lnTo>
                  <a:lnTo>
                    <a:pt x="2" y="50"/>
                  </a:lnTo>
                  <a:lnTo>
                    <a:pt x="7" y="57"/>
                  </a:lnTo>
                  <a:lnTo>
                    <a:pt x="14" y="64"/>
                  </a:lnTo>
                  <a:lnTo>
                    <a:pt x="16" y="67"/>
                  </a:lnTo>
                  <a:lnTo>
                    <a:pt x="16" y="71"/>
                  </a:lnTo>
                  <a:lnTo>
                    <a:pt x="16" y="76"/>
                  </a:lnTo>
                  <a:lnTo>
                    <a:pt x="16" y="81"/>
                  </a:lnTo>
                  <a:lnTo>
                    <a:pt x="21" y="81"/>
                  </a:lnTo>
                  <a:lnTo>
                    <a:pt x="21" y="83"/>
                  </a:lnTo>
                  <a:lnTo>
                    <a:pt x="19" y="85"/>
                  </a:lnTo>
                  <a:lnTo>
                    <a:pt x="19" y="90"/>
                  </a:lnTo>
                  <a:lnTo>
                    <a:pt x="16" y="93"/>
                  </a:lnTo>
                  <a:lnTo>
                    <a:pt x="16" y="97"/>
                  </a:lnTo>
                  <a:lnTo>
                    <a:pt x="16" y="97"/>
                  </a:lnTo>
                  <a:lnTo>
                    <a:pt x="12" y="100"/>
                  </a:lnTo>
                  <a:lnTo>
                    <a:pt x="12" y="102"/>
                  </a:lnTo>
                  <a:lnTo>
                    <a:pt x="12" y="107"/>
                  </a:lnTo>
                  <a:lnTo>
                    <a:pt x="14" y="111"/>
                  </a:lnTo>
                  <a:lnTo>
                    <a:pt x="19" y="116"/>
                  </a:lnTo>
                  <a:lnTo>
                    <a:pt x="26" y="123"/>
                  </a:lnTo>
                  <a:lnTo>
                    <a:pt x="26" y="123"/>
                  </a:lnTo>
                  <a:lnTo>
                    <a:pt x="26" y="128"/>
                  </a:lnTo>
                  <a:lnTo>
                    <a:pt x="28" y="137"/>
                  </a:lnTo>
                  <a:lnTo>
                    <a:pt x="28" y="145"/>
                  </a:lnTo>
                  <a:lnTo>
                    <a:pt x="30" y="145"/>
                  </a:lnTo>
                  <a:lnTo>
                    <a:pt x="30" y="149"/>
                  </a:lnTo>
                  <a:lnTo>
                    <a:pt x="35" y="159"/>
                  </a:lnTo>
                  <a:lnTo>
                    <a:pt x="35" y="161"/>
                  </a:lnTo>
                  <a:lnTo>
                    <a:pt x="30" y="170"/>
                  </a:lnTo>
                  <a:lnTo>
                    <a:pt x="26" y="173"/>
                  </a:lnTo>
                  <a:lnTo>
                    <a:pt x="23" y="178"/>
                  </a:lnTo>
                  <a:lnTo>
                    <a:pt x="23" y="182"/>
                  </a:lnTo>
                  <a:lnTo>
                    <a:pt x="21" y="187"/>
                  </a:lnTo>
                  <a:lnTo>
                    <a:pt x="21" y="189"/>
                  </a:lnTo>
                  <a:lnTo>
                    <a:pt x="19" y="189"/>
                  </a:lnTo>
                  <a:lnTo>
                    <a:pt x="19" y="194"/>
                  </a:lnTo>
                  <a:lnTo>
                    <a:pt x="19" y="196"/>
                  </a:lnTo>
                  <a:lnTo>
                    <a:pt x="14" y="211"/>
                  </a:lnTo>
                  <a:lnTo>
                    <a:pt x="12" y="215"/>
                  </a:lnTo>
                  <a:lnTo>
                    <a:pt x="12" y="220"/>
                  </a:lnTo>
                  <a:lnTo>
                    <a:pt x="14" y="225"/>
                  </a:lnTo>
                  <a:lnTo>
                    <a:pt x="19" y="222"/>
                  </a:lnTo>
                  <a:lnTo>
                    <a:pt x="26" y="230"/>
                  </a:lnTo>
                  <a:lnTo>
                    <a:pt x="28" y="232"/>
                  </a:lnTo>
                  <a:lnTo>
                    <a:pt x="33" y="239"/>
                  </a:lnTo>
                  <a:lnTo>
                    <a:pt x="35" y="241"/>
                  </a:lnTo>
                  <a:lnTo>
                    <a:pt x="38" y="246"/>
                  </a:lnTo>
                  <a:lnTo>
                    <a:pt x="47" y="256"/>
                  </a:lnTo>
                  <a:lnTo>
                    <a:pt x="45" y="251"/>
                  </a:lnTo>
                  <a:lnTo>
                    <a:pt x="49" y="251"/>
                  </a:lnTo>
                  <a:lnTo>
                    <a:pt x="52" y="253"/>
                  </a:lnTo>
                  <a:lnTo>
                    <a:pt x="56" y="253"/>
                  </a:lnTo>
                  <a:lnTo>
                    <a:pt x="59" y="256"/>
                  </a:lnTo>
                  <a:lnTo>
                    <a:pt x="64" y="260"/>
                  </a:lnTo>
                  <a:lnTo>
                    <a:pt x="64" y="265"/>
                  </a:lnTo>
                  <a:lnTo>
                    <a:pt x="64" y="267"/>
                  </a:lnTo>
                  <a:lnTo>
                    <a:pt x="71" y="263"/>
                  </a:lnTo>
                  <a:lnTo>
                    <a:pt x="75" y="265"/>
                  </a:lnTo>
                  <a:lnTo>
                    <a:pt x="78" y="263"/>
                  </a:lnTo>
                  <a:lnTo>
                    <a:pt x="80" y="260"/>
                  </a:lnTo>
                  <a:lnTo>
                    <a:pt x="78" y="256"/>
                  </a:lnTo>
                  <a:lnTo>
                    <a:pt x="73" y="251"/>
                  </a:lnTo>
                  <a:lnTo>
                    <a:pt x="68" y="246"/>
                  </a:lnTo>
                  <a:lnTo>
                    <a:pt x="59" y="246"/>
                  </a:lnTo>
                  <a:lnTo>
                    <a:pt x="54" y="241"/>
                  </a:lnTo>
                  <a:lnTo>
                    <a:pt x="52" y="239"/>
                  </a:lnTo>
                  <a:lnTo>
                    <a:pt x="52" y="237"/>
                  </a:lnTo>
                  <a:lnTo>
                    <a:pt x="49" y="225"/>
                  </a:lnTo>
                  <a:lnTo>
                    <a:pt x="47" y="222"/>
                  </a:lnTo>
                  <a:lnTo>
                    <a:pt x="45" y="220"/>
                  </a:lnTo>
                  <a:lnTo>
                    <a:pt x="42" y="215"/>
                  </a:lnTo>
                  <a:lnTo>
                    <a:pt x="42" y="208"/>
                  </a:lnTo>
                  <a:lnTo>
                    <a:pt x="40" y="206"/>
                  </a:lnTo>
                  <a:lnTo>
                    <a:pt x="38" y="206"/>
                  </a:lnTo>
                  <a:lnTo>
                    <a:pt x="33" y="206"/>
                  </a:lnTo>
                  <a:lnTo>
                    <a:pt x="30" y="206"/>
                  </a:lnTo>
                  <a:lnTo>
                    <a:pt x="28" y="204"/>
                  </a:lnTo>
                  <a:lnTo>
                    <a:pt x="28" y="199"/>
                  </a:lnTo>
                  <a:lnTo>
                    <a:pt x="28" y="192"/>
                  </a:lnTo>
                  <a:lnTo>
                    <a:pt x="28" y="189"/>
                  </a:lnTo>
                  <a:lnTo>
                    <a:pt x="28" y="187"/>
                  </a:lnTo>
                  <a:lnTo>
                    <a:pt x="30" y="182"/>
                  </a:lnTo>
                  <a:lnTo>
                    <a:pt x="30" y="180"/>
                  </a:lnTo>
                  <a:lnTo>
                    <a:pt x="33" y="180"/>
                  </a:lnTo>
                  <a:lnTo>
                    <a:pt x="33" y="175"/>
                  </a:lnTo>
                  <a:lnTo>
                    <a:pt x="33" y="173"/>
                  </a:lnTo>
                  <a:lnTo>
                    <a:pt x="35" y="163"/>
                  </a:lnTo>
                  <a:lnTo>
                    <a:pt x="38" y="159"/>
                  </a:lnTo>
                  <a:lnTo>
                    <a:pt x="40" y="154"/>
                  </a:lnTo>
                  <a:lnTo>
                    <a:pt x="42" y="149"/>
                  </a:lnTo>
                  <a:lnTo>
                    <a:pt x="42" y="140"/>
                  </a:lnTo>
                  <a:lnTo>
                    <a:pt x="42" y="133"/>
                  </a:lnTo>
                  <a:lnTo>
                    <a:pt x="47" y="130"/>
                  </a:lnTo>
                  <a:lnTo>
                    <a:pt x="52" y="130"/>
                  </a:lnTo>
                  <a:lnTo>
                    <a:pt x="52" y="130"/>
                  </a:lnTo>
                  <a:lnTo>
                    <a:pt x="54" y="130"/>
                  </a:lnTo>
                  <a:lnTo>
                    <a:pt x="56" y="130"/>
                  </a:lnTo>
                  <a:lnTo>
                    <a:pt x="59" y="133"/>
                  </a:lnTo>
                  <a:lnTo>
                    <a:pt x="59" y="145"/>
                  </a:lnTo>
                  <a:lnTo>
                    <a:pt x="59" y="147"/>
                  </a:lnTo>
                  <a:lnTo>
                    <a:pt x="61" y="147"/>
                  </a:lnTo>
                  <a:lnTo>
                    <a:pt x="59" y="145"/>
                  </a:lnTo>
                  <a:lnTo>
                    <a:pt x="61" y="145"/>
                  </a:lnTo>
                  <a:lnTo>
                    <a:pt x="68" y="147"/>
                  </a:lnTo>
                  <a:lnTo>
                    <a:pt x="71" y="145"/>
                  </a:lnTo>
                  <a:lnTo>
                    <a:pt x="75" y="147"/>
                  </a:lnTo>
                  <a:lnTo>
                    <a:pt x="80" y="152"/>
                  </a:lnTo>
                  <a:lnTo>
                    <a:pt x="82" y="154"/>
                  </a:lnTo>
                  <a:lnTo>
                    <a:pt x="85" y="154"/>
                  </a:lnTo>
                  <a:lnTo>
                    <a:pt x="87" y="156"/>
                  </a:lnTo>
                  <a:lnTo>
                    <a:pt x="87" y="156"/>
                  </a:lnTo>
                  <a:lnTo>
                    <a:pt x="89" y="156"/>
                  </a:lnTo>
                  <a:lnTo>
                    <a:pt x="92" y="163"/>
                  </a:lnTo>
                  <a:lnTo>
                    <a:pt x="94" y="163"/>
                  </a:lnTo>
                  <a:lnTo>
                    <a:pt x="94" y="161"/>
                  </a:lnTo>
                  <a:lnTo>
                    <a:pt x="94" y="159"/>
                  </a:lnTo>
                  <a:lnTo>
                    <a:pt x="92" y="154"/>
                  </a:lnTo>
                  <a:lnTo>
                    <a:pt x="89" y="149"/>
                  </a:lnTo>
                  <a:lnTo>
                    <a:pt x="85" y="147"/>
                  </a:lnTo>
                  <a:lnTo>
                    <a:pt x="82" y="140"/>
                  </a:lnTo>
                  <a:lnTo>
                    <a:pt x="82" y="135"/>
                  </a:lnTo>
                  <a:lnTo>
                    <a:pt x="82" y="130"/>
                  </a:lnTo>
                  <a:lnTo>
                    <a:pt x="85" y="128"/>
                  </a:lnTo>
                  <a:lnTo>
                    <a:pt x="87" y="126"/>
                  </a:lnTo>
                  <a:lnTo>
                    <a:pt x="89" y="126"/>
                  </a:lnTo>
                  <a:lnTo>
                    <a:pt x="94" y="119"/>
                  </a:lnTo>
                  <a:lnTo>
                    <a:pt x="97" y="116"/>
                  </a:lnTo>
                  <a:lnTo>
                    <a:pt x="99" y="116"/>
                  </a:lnTo>
                  <a:lnTo>
                    <a:pt x="106" y="116"/>
                  </a:lnTo>
                  <a:lnTo>
                    <a:pt x="113" y="116"/>
                  </a:lnTo>
                  <a:lnTo>
                    <a:pt x="118" y="116"/>
                  </a:lnTo>
                  <a:lnTo>
                    <a:pt x="127" y="116"/>
                  </a:lnTo>
                  <a:lnTo>
                    <a:pt x="130" y="119"/>
                  </a:lnTo>
                  <a:lnTo>
                    <a:pt x="132" y="116"/>
                  </a:lnTo>
                  <a:lnTo>
                    <a:pt x="132" y="116"/>
                  </a:lnTo>
                  <a:lnTo>
                    <a:pt x="134" y="116"/>
                  </a:lnTo>
                  <a:lnTo>
                    <a:pt x="137" y="111"/>
                  </a:lnTo>
                  <a:lnTo>
                    <a:pt x="137" y="100"/>
                  </a:lnTo>
                  <a:lnTo>
                    <a:pt x="137" y="95"/>
                  </a:lnTo>
                  <a:lnTo>
                    <a:pt x="137" y="93"/>
                  </a:lnTo>
                  <a:lnTo>
                    <a:pt x="137" y="90"/>
                  </a:lnTo>
                  <a:lnTo>
                    <a:pt x="134" y="88"/>
                  </a:lnTo>
                  <a:lnTo>
                    <a:pt x="132" y="88"/>
                  </a:lnTo>
                  <a:lnTo>
                    <a:pt x="132" y="85"/>
                  </a:lnTo>
                  <a:lnTo>
                    <a:pt x="130" y="85"/>
                  </a:lnTo>
                  <a:lnTo>
                    <a:pt x="127" y="83"/>
                  </a:lnTo>
                  <a:lnTo>
                    <a:pt x="125" y="81"/>
                  </a:lnTo>
                  <a:lnTo>
                    <a:pt x="123" y="76"/>
                  </a:lnTo>
                  <a:lnTo>
                    <a:pt x="123" y="69"/>
                  </a:lnTo>
                  <a:lnTo>
                    <a:pt x="123" y="64"/>
                  </a:lnTo>
                  <a:lnTo>
                    <a:pt x="123" y="59"/>
                  </a:lnTo>
                  <a:lnTo>
                    <a:pt x="120" y="57"/>
                  </a:lnTo>
                  <a:lnTo>
                    <a:pt x="118" y="55"/>
                  </a:lnTo>
                  <a:lnTo>
                    <a:pt x="118" y="52"/>
                  </a:lnTo>
                  <a:lnTo>
                    <a:pt x="115" y="52"/>
                  </a:lnTo>
                  <a:lnTo>
                    <a:pt x="113" y="50"/>
                  </a:lnTo>
                  <a:lnTo>
                    <a:pt x="111" y="48"/>
                  </a:lnTo>
                  <a:lnTo>
                    <a:pt x="108" y="43"/>
                  </a:lnTo>
                  <a:lnTo>
                    <a:pt x="104" y="43"/>
                  </a:lnTo>
                  <a:lnTo>
                    <a:pt x="99" y="43"/>
                  </a:lnTo>
                  <a:lnTo>
                    <a:pt x="97" y="43"/>
                  </a:lnTo>
                  <a:lnTo>
                    <a:pt x="94" y="48"/>
                  </a:lnTo>
                  <a:lnTo>
                    <a:pt x="94" y="48"/>
                  </a:lnTo>
                  <a:lnTo>
                    <a:pt x="92" y="50"/>
                  </a:lnTo>
                  <a:lnTo>
                    <a:pt x="87" y="52"/>
                  </a:lnTo>
                  <a:lnTo>
                    <a:pt x="85" y="52"/>
                  </a:lnTo>
                  <a:lnTo>
                    <a:pt x="82" y="50"/>
                  </a:lnTo>
                  <a:lnTo>
                    <a:pt x="80" y="45"/>
                  </a:lnTo>
                  <a:lnTo>
                    <a:pt x="78" y="45"/>
                  </a:lnTo>
                  <a:lnTo>
                    <a:pt x="75" y="45"/>
                  </a:lnTo>
                  <a:lnTo>
                    <a:pt x="71" y="48"/>
                  </a:lnTo>
                  <a:lnTo>
                    <a:pt x="66" y="52"/>
                  </a:lnTo>
                  <a:lnTo>
                    <a:pt x="64" y="52"/>
                  </a:lnTo>
                  <a:lnTo>
                    <a:pt x="61" y="57"/>
                  </a:lnTo>
                  <a:lnTo>
                    <a:pt x="59" y="57"/>
                  </a:lnTo>
                  <a:lnTo>
                    <a:pt x="59" y="57"/>
                  </a:lnTo>
                  <a:lnTo>
                    <a:pt x="59" y="52"/>
                  </a:lnTo>
                  <a:lnTo>
                    <a:pt x="59" y="48"/>
                  </a:lnTo>
                  <a:lnTo>
                    <a:pt x="61" y="41"/>
                  </a:lnTo>
                  <a:lnTo>
                    <a:pt x="61" y="36"/>
                  </a:lnTo>
                  <a:lnTo>
                    <a:pt x="61" y="33"/>
                  </a:lnTo>
                  <a:lnTo>
                    <a:pt x="61" y="31"/>
                  </a:lnTo>
                  <a:lnTo>
                    <a:pt x="61" y="26"/>
                  </a:lnTo>
                  <a:lnTo>
                    <a:pt x="61" y="19"/>
                  </a:lnTo>
                  <a:lnTo>
                    <a:pt x="61" y="19"/>
                  </a:lnTo>
                  <a:lnTo>
                    <a:pt x="54" y="19"/>
                  </a:lnTo>
                  <a:lnTo>
                    <a:pt x="52" y="19"/>
                  </a:lnTo>
                  <a:lnTo>
                    <a:pt x="52" y="17"/>
                  </a:lnTo>
                  <a:lnTo>
                    <a:pt x="52" y="12"/>
                  </a:lnTo>
                  <a:lnTo>
                    <a:pt x="52" y="8"/>
                  </a:lnTo>
                  <a:lnTo>
                    <a:pt x="49" y="5"/>
                  </a:lnTo>
                  <a:lnTo>
                    <a:pt x="47" y="3"/>
                  </a:lnTo>
                  <a:lnTo>
                    <a:pt x="47" y="3"/>
                  </a:lnTo>
                  <a:lnTo>
                    <a:pt x="45" y="3"/>
                  </a:lnTo>
                  <a:lnTo>
                    <a:pt x="45" y="0"/>
                  </a:lnTo>
                  <a:lnTo>
                    <a:pt x="4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4" name="Freeform 978">
              <a:extLst>
                <a:ext uri="{FF2B5EF4-FFF2-40B4-BE49-F238E27FC236}">
                  <a16:creationId xmlns:a16="http://schemas.microsoft.com/office/drawing/2014/main" id="{02C42D97-7E93-41BD-9DBB-424B6F124C60}"/>
                </a:ext>
              </a:extLst>
            </p:cNvPr>
            <p:cNvSpPr>
              <a:spLocks/>
            </p:cNvSpPr>
            <p:nvPr/>
          </p:nvSpPr>
          <p:spPr bwMode="auto">
            <a:xfrm>
              <a:off x="6695765" y="4045078"/>
              <a:ext cx="226658" cy="441733"/>
            </a:xfrm>
            <a:custGeom>
              <a:avLst/>
              <a:gdLst>
                <a:gd name="T0" fmla="*/ 40 w 137"/>
                <a:gd name="T1" fmla="*/ 8 h 267"/>
                <a:gd name="T2" fmla="*/ 26 w 137"/>
                <a:gd name="T3" fmla="*/ 15 h 267"/>
                <a:gd name="T4" fmla="*/ 9 w 137"/>
                <a:gd name="T5" fmla="*/ 22 h 267"/>
                <a:gd name="T6" fmla="*/ 0 w 137"/>
                <a:gd name="T7" fmla="*/ 43 h 267"/>
                <a:gd name="T8" fmla="*/ 14 w 137"/>
                <a:gd name="T9" fmla="*/ 64 h 267"/>
                <a:gd name="T10" fmla="*/ 16 w 137"/>
                <a:gd name="T11" fmla="*/ 81 h 267"/>
                <a:gd name="T12" fmla="*/ 19 w 137"/>
                <a:gd name="T13" fmla="*/ 90 h 267"/>
                <a:gd name="T14" fmla="*/ 12 w 137"/>
                <a:gd name="T15" fmla="*/ 100 h 267"/>
                <a:gd name="T16" fmla="*/ 19 w 137"/>
                <a:gd name="T17" fmla="*/ 116 h 267"/>
                <a:gd name="T18" fmla="*/ 28 w 137"/>
                <a:gd name="T19" fmla="*/ 137 h 267"/>
                <a:gd name="T20" fmla="*/ 35 w 137"/>
                <a:gd name="T21" fmla="*/ 159 h 267"/>
                <a:gd name="T22" fmla="*/ 23 w 137"/>
                <a:gd name="T23" fmla="*/ 178 h 267"/>
                <a:gd name="T24" fmla="*/ 19 w 137"/>
                <a:gd name="T25" fmla="*/ 189 h 267"/>
                <a:gd name="T26" fmla="*/ 12 w 137"/>
                <a:gd name="T27" fmla="*/ 215 h 267"/>
                <a:gd name="T28" fmla="*/ 26 w 137"/>
                <a:gd name="T29" fmla="*/ 230 h 267"/>
                <a:gd name="T30" fmla="*/ 38 w 137"/>
                <a:gd name="T31" fmla="*/ 246 h 267"/>
                <a:gd name="T32" fmla="*/ 52 w 137"/>
                <a:gd name="T33" fmla="*/ 253 h 267"/>
                <a:gd name="T34" fmla="*/ 64 w 137"/>
                <a:gd name="T35" fmla="*/ 265 h 267"/>
                <a:gd name="T36" fmla="*/ 78 w 137"/>
                <a:gd name="T37" fmla="*/ 263 h 267"/>
                <a:gd name="T38" fmla="*/ 68 w 137"/>
                <a:gd name="T39" fmla="*/ 246 h 267"/>
                <a:gd name="T40" fmla="*/ 52 w 137"/>
                <a:gd name="T41" fmla="*/ 237 h 267"/>
                <a:gd name="T42" fmla="*/ 42 w 137"/>
                <a:gd name="T43" fmla="*/ 215 h 267"/>
                <a:gd name="T44" fmla="*/ 33 w 137"/>
                <a:gd name="T45" fmla="*/ 206 h 267"/>
                <a:gd name="T46" fmla="*/ 28 w 137"/>
                <a:gd name="T47" fmla="*/ 192 h 267"/>
                <a:gd name="T48" fmla="*/ 30 w 137"/>
                <a:gd name="T49" fmla="*/ 180 h 267"/>
                <a:gd name="T50" fmla="*/ 35 w 137"/>
                <a:gd name="T51" fmla="*/ 163 h 267"/>
                <a:gd name="T52" fmla="*/ 42 w 137"/>
                <a:gd name="T53" fmla="*/ 140 h 267"/>
                <a:gd name="T54" fmla="*/ 52 w 137"/>
                <a:gd name="T55" fmla="*/ 130 h 267"/>
                <a:gd name="T56" fmla="*/ 59 w 137"/>
                <a:gd name="T57" fmla="*/ 145 h 267"/>
                <a:gd name="T58" fmla="*/ 61 w 137"/>
                <a:gd name="T59" fmla="*/ 145 h 267"/>
                <a:gd name="T60" fmla="*/ 80 w 137"/>
                <a:gd name="T61" fmla="*/ 152 h 267"/>
                <a:gd name="T62" fmla="*/ 87 w 137"/>
                <a:gd name="T63" fmla="*/ 156 h 267"/>
                <a:gd name="T64" fmla="*/ 94 w 137"/>
                <a:gd name="T65" fmla="*/ 161 h 267"/>
                <a:gd name="T66" fmla="*/ 85 w 137"/>
                <a:gd name="T67" fmla="*/ 147 h 267"/>
                <a:gd name="T68" fmla="*/ 85 w 137"/>
                <a:gd name="T69" fmla="*/ 128 h 267"/>
                <a:gd name="T70" fmla="*/ 97 w 137"/>
                <a:gd name="T71" fmla="*/ 116 h 267"/>
                <a:gd name="T72" fmla="*/ 118 w 137"/>
                <a:gd name="T73" fmla="*/ 116 h 267"/>
                <a:gd name="T74" fmla="*/ 132 w 137"/>
                <a:gd name="T75" fmla="*/ 116 h 267"/>
                <a:gd name="T76" fmla="*/ 137 w 137"/>
                <a:gd name="T77" fmla="*/ 95 h 267"/>
                <a:gd name="T78" fmla="*/ 132 w 137"/>
                <a:gd name="T79" fmla="*/ 88 h 267"/>
                <a:gd name="T80" fmla="*/ 125 w 137"/>
                <a:gd name="T81" fmla="*/ 81 h 267"/>
                <a:gd name="T82" fmla="*/ 123 w 137"/>
                <a:gd name="T83" fmla="*/ 59 h 267"/>
                <a:gd name="T84" fmla="*/ 115 w 137"/>
                <a:gd name="T85" fmla="*/ 52 h 267"/>
                <a:gd name="T86" fmla="*/ 104 w 137"/>
                <a:gd name="T87" fmla="*/ 43 h 267"/>
                <a:gd name="T88" fmla="*/ 94 w 137"/>
                <a:gd name="T89" fmla="*/ 48 h 267"/>
                <a:gd name="T90" fmla="*/ 82 w 137"/>
                <a:gd name="T91" fmla="*/ 50 h 267"/>
                <a:gd name="T92" fmla="*/ 71 w 137"/>
                <a:gd name="T93" fmla="*/ 48 h 267"/>
                <a:gd name="T94" fmla="*/ 59 w 137"/>
                <a:gd name="T95" fmla="*/ 57 h 267"/>
                <a:gd name="T96" fmla="*/ 61 w 137"/>
                <a:gd name="T97" fmla="*/ 41 h 267"/>
                <a:gd name="T98" fmla="*/ 61 w 137"/>
                <a:gd name="T99" fmla="*/ 26 h 267"/>
                <a:gd name="T100" fmla="*/ 52 w 137"/>
                <a:gd name="T101" fmla="*/ 19 h 267"/>
                <a:gd name="T102" fmla="*/ 49 w 137"/>
                <a:gd name="T103" fmla="*/ 5 h 267"/>
                <a:gd name="T104" fmla="*/ 45 w 137"/>
                <a:gd name="T105"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267">
                  <a:moveTo>
                    <a:pt x="47" y="0"/>
                  </a:moveTo>
                  <a:lnTo>
                    <a:pt x="45" y="0"/>
                  </a:lnTo>
                  <a:lnTo>
                    <a:pt x="42" y="3"/>
                  </a:lnTo>
                  <a:lnTo>
                    <a:pt x="40" y="8"/>
                  </a:lnTo>
                  <a:lnTo>
                    <a:pt x="35" y="8"/>
                  </a:lnTo>
                  <a:lnTo>
                    <a:pt x="33" y="10"/>
                  </a:lnTo>
                  <a:lnTo>
                    <a:pt x="28" y="15"/>
                  </a:lnTo>
                  <a:lnTo>
                    <a:pt x="26" y="15"/>
                  </a:lnTo>
                  <a:lnTo>
                    <a:pt x="21" y="19"/>
                  </a:lnTo>
                  <a:lnTo>
                    <a:pt x="19" y="19"/>
                  </a:lnTo>
                  <a:lnTo>
                    <a:pt x="12" y="19"/>
                  </a:lnTo>
                  <a:lnTo>
                    <a:pt x="9" y="22"/>
                  </a:lnTo>
                  <a:lnTo>
                    <a:pt x="4" y="33"/>
                  </a:lnTo>
                  <a:lnTo>
                    <a:pt x="2" y="38"/>
                  </a:lnTo>
                  <a:lnTo>
                    <a:pt x="4" y="41"/>
                  </a:lnTo>
                  <a:lnTo>
                    <a:pt x="0" y="43"/>
                  </a:lnTo>
                  <a:lnTo>
                    <a:pt x="2" y="45"/>
                  </a:lnTo>
                  <a:lnTo>
                    <a:pt x="2" y="50"/>
                  </a:lnTo>
                  <a:lnTo>
                    <a:pt x="7" y="57"/>
                  </a:lnTo>
                  <a:lnTo>
                    <a:pt x="14" y="64"/>
                  </a:lnTo>
                  <a:lnTo>
                    <a:pt x="16" y="67"/>
                  </a:lnTo>
                  <a:lnTo>
                    <a:pt x="16" y="71"/>
                  </a:lnTo>
                  <a:lnTo>
                    <a:pt x="16" y="76"/>
                  </a:lnTo>
                  <a:lnTo>
                    <a:pt x="16" y="81"/>
                  </a:lnTo>
                  <a:lnTo>
                    <a:pt x="21" y="81"/>
                  </a:lnTo>
                  <a:lnTo>
                    <a:pt x="21" y="83"/>
                  </a:lnTo>
                  <a:lnTo>
                    <a:pt x="19" y="85"/>
                  </a:lnTo>
                  <a:lnTo>
                    <a:pt x="19" y="90"/>
                  </a:lnTo>
                  <a:lnTo>
                    <a:pt x="16" y="93"/>
                  </a:lnTo>
                  <a:lnTo>
                    <a:pt x="16" y="97"/>
                  </a:lnTo>
                  <a:lnTo>
                    <a:pt x="16" y="97"/>
                  </a:lnTo>
                  <a:lnTo>
                    <a:pt x="12" y="100"/>
                  </a:lnTo>
                  <a:lnTo>
                    <a:pt x="12" y="102"/>
                  </a:lnTo>
                  <a:lnTo>
                    <a:pt x="12" y="107"/>
                  </a:lnTo>
                  <a:lnTo>
                    <a:pt x="14" y="111"/>
                  </a:lnTo>
                  <a:lnTo>
                    <a:pt x="19" y="116"/>
                  </a:lnTo>
                  <a:lnTo>
                    <a:pt x="26" y="123"/>
                  </a:lnTo>
                  <a:lnTo>
                    <a:pt x="26" y="123"/>
                  </a:lnTo>
                  <a:lnTo>
                    <a:pt x="26" y="128"/>
                  </a:lnTo>
                  <a:lnTo>
                    <a:pt x="28" y="137"/>
                  </a:lnTo>
                  <a:lnTo>
                    <a:pt x="28" y="145"/>
                  </a:lnTo>
                  <a:lnTo>
                    <a:pt x="30" y="145"/>
                  </a:lnTo>
                  <a:lnTo>
                    <a:pt x="30" y="149"/>
                  </a:lnTo>
                  <a:lnTo>
                    <a:pt x="35" y="159"/>
                  </a:lnTo>
                  <a:lnTo>
                    <a:pt x="35" y="161"/>
                  </a:lnTo>
                  <a:lnTo>
                    <a:pt x="30" y="170"/>
                  </a:lnTo>
                  <a:lnTo>
                    <a:pt x="26" y="173"/>
                  </a:lnTo>
                  <a:lnTo>
                    <a:pt x="23" y="178"/>
                  </a:lnTo>
                  <a:lnTo>
                    <a:pt x="23" y="182"/>
                  </a:lnTo>
                  <a:lnTo>
                    <a:pt x="21" y="187"/>
                  </a:lnTo>
                  <a:lnTo>
                    <a:pt x="21" y="189"/>
                  </a:lnTo>
                  <a:lnTo>
                    <a:pt x="19" y="189"/>
                  </a:lnTo>
                  <a:lnTo>
                    <a:pt x="19" y="194"/>
                  </a:lnTo>
                  <a:lnTo>
                    <a:pt x="19" y="196"/>
                  </a:lnTo>
                  <a:lnTo>
                    <a:pt x="14" y="211"/>
                  </a:lnTo>
                  <a:lnTo>
                    <a:pt x="12" y="215"/>
                  </a:lnTo>
                  <a:lnTo>
                    <a:pt x="12" y="220"/>
                  </a:lnTo>
                  <a:lnTo>
                    <a:pt x="14" y="225"/>
                  </a:lnTo>
                  <a:lnTo>
                    <a:pt x="19" y="222"/>
                  </a:lnTo>
                  <a:lnTo>
                    <a:pt x="26" y="230"/>
                  </a:lnTo>
                  <a:lnTo>
                    <a:pt x="28" y="232"/>
                  </a:lnTo>
                  <a:lnTo>
                    <a:pt x="33" y="239"/>
                  </a:lnTo>
                  <a:lnTo>
                    <a:pt x="35" y="241"/>
                  </a:lnTo>
                  <a:lnTo>
                    <a:pt x="38" y="246"/>
                  </a:lnTo>
                  <a:lnTo>
                    <a:pt x="47" y="256"/>
                  </a:lnTo>
                  <a:lnTo>
                    <a:pt x="45" y="251"/>
                  </a:lnTo>
                  <a:lnTo>
                    <a:pt x="49" y="251"/>
                  </a:lnTo>
                  <a:lnTo>
                    <a:pt x="52" y="253"/>
                  </a:lnTo>
                  <a:lnTo>
                    <a:pt x="56" y="253"/>
                  </a:lnTo>
                  <a:lnTo>
                    <a:pt x="59" y="256"/>
                  </a:lnTo>
                  <a:lnTo>
                    <a:pt x="64" y="260"/>
                  </a:lnTo>
                  <a:lnTo>
                    <a:pt x="64" y="265"/>
                  </a:lnTo>
                  <a:lnTo>
                    <a:pt x="64" y="267"/>
                  </a:lnTo>
                  <a:lnTo>
                    <a:pt x="71" y="263"/>
                  </a:lnTo>
                  <a:lnTo>
                    <a:pt x="75" y="265"/>
                  </a:lnTo>
                  <a:lnTo>
                    <a:pt x="78" y="263"/>
                  </a:lnTo>
                  <a:lnTo>
                    <a:pt x="80" y="260"/>
                  </a:lnTo>
                  <a:lnTo>
                    <a:pt x="78" y="256"/>
                  </a:lnTo>
                  <a:lnTo>
                    <a:pt x="73" y="251"/>
                  </a:lnTo>
                  <a:lnTo>
                    <a:pt x="68" y="246"/>
                  </a:lnTo>
                  <a:lnTo>
                    <a:pt x="59" y="246"/>
                  </a:lnTo>
                  <a:lnTo>
                    <a:pt x="54" y="241"/>
                  </a:lnTo>
                  <a:lnTo>
                    <a:pt x="52" y="239"/>
                  </a:lnTo>
                  <a:lnTo>
                    <a:pt x="52" y="237"/>
                  </a:lnTo>
                  <a:lnTo>
                    <a:pt x="49" y="225"/>
                  </a:lnTo>
                  <a:lnTo>
                    <a:pt x="47" y="222"/>
                  </a:lnTo>
                  <a:lnTo>
                    <a:pt x="45" y="220"/>
                  </a:lnTo>
                  <a:lnTo>
                    <a:pt x="42" y="215"/>
                  </a:lnTo>
                  <a:lnTo>
                    <a:pt x="42" y="208"/>
                  </a:lnTo>
                  <a:lnTo>
                    <a:pt x="40" y="206"/>
                  </a:lnTo>
                  <a:lnTo>
                    <a:pt x="38" y="206"/>
                  </a:lnTo>
                  <a:lnTo>
                    <a:pt x="33" y="206"/>
                  </a:lnTo>
                  <a:lnTo>
                    <a:pt x="30" y="206"/>
                  </a:lnTo>
                  <a:lnTo>
                    <a:pt x="28" y="204"/>
                  </a:lnTo>
                  <a:lnTo>
                    <a:pt x="28" y="199"/>
                  </a:lnTo>
                  <a:lnTo>
                    <a:pt x="28" y="192"/>
                  </a:lnTo>
                  <a:lnTo>
                    <a:pt x="28" y="189"/>
                  </a:lnTo>
                  <a:lnTo>
                    <a:pt x="28" y="187"/>
                  </a:lnTo>
                  <a:lnTo>
                    <a:pt x="30" y="182"/>
                  </a:lnTo>
                  <a:lnTo>
                    <a:pt x="30" y="180"/>
                  </a:lnTo>
                  <a:lnTo>
                    <a:pt x="33" y="180"/>
                  </a:lnTo>
                  <a:lnTo>
                    <a:pt x="33" y="175"/>
                  </a:lnTo>
                  <a:lnTo>
                    <a:pt x="33" y="173"/>
                  </a:lnTo>
                  <a:lnTo>
                    <a:pt x="35" y="163"/>
                  </a:lnTo>
                  <a:lnTo>
                    <a:pt x="38" y="159"/>
                  </a:lnTo>
                  <a:lnTo>
                    <a:pt x="40" y="154"/>
                  </a:lnTo>
                  <a:lnTo>
                    <a:pt x="42" y="149"/>
                  </a:lnTo>
                  <a:lnTo>
                    <a:pt x="42" y="140"/>
                  </a:lnTo>
                  <a:lnTo>
                    <a:pt x="42" y="133"/>
                  </a:lnTo>
                  <a:lnTo>
                    <a:pt x="47" y="130"/>
                  </a:lnTo>
                  <a:lnTo>
                    <a:pt x="52" y="130"/>
                  </a:lnTo>
                  <a:lnTo>
                    <a:pt x="52" y="130"/>
                  </a:lnTo>
                  <a:lnTo>
                    <a:pt x="54" y="130"/>
                  </a:lnTo>
                  <a:lnTo>
                    <a:pt x="56" y="130"/>
                  </a:lnTo>
                  <a:lnTo>
                    <a:pt x="59" y="133"/>
                  </a:lnTo>
                  <a:lnTo>
                    <a:pt x="59" y="145"/>
                  </a:lnTo>
                  <a:lnTo>
                    <a:pt x="59" y="147"/>
                  </a:lnTo>
                  <a:lnTo>
                    <a:pt x="61" y="147"/>
                  </a:lnTo>
                  <a:lnTo>
                    <a:pt x="59" y="145"/>
                  </a:lnTo>
                  <a:lnTo>
                    <a:pt x="61" y="145"/>
                  </a:lnTo>
                  <a:lnTo>
                    <a:pt x="68" y="147"/>
                  </a:lnTo>
                  <a:lnTo>
                    <a:pt x="71" y="145"/>
                  </a:lnTo>
                  <a:lnTo>
                    <a:pt x="75" y="147"/>
                  </a:lnTo>
                  <a:lnTo>
                    <a:pt x="80" y="152"/>
                  </a:lnTo>
                  <a:lnTo>
                    <a:pt x="82" y="154"/>
                  </a:lnTo>
                  <a:lnTo>
                    <a:pt x="85" y="154"/>
                  </a:lnTo>
                  <a:lnTo>
                    <a:pt x="87" y="156"/>
                  </a:lnTo>
                  <a:lnTo>
                    <a:pt x="87" y="156"/>
                  </a:lnTo>
                  <a:lnTo>
                    <a:pt x="89" y="156"/>
                  </a:lnTo>
                  <a:lnTo>
                    <a:pt x="92" y="163"/>
                  </a:lnTo>
                  <a:lnTo>
                    <a:pt x="94" y="163"/>
                  </a:lnTo>
                  <a:lnTo>
                    <a:pt x="94" y="161"/>
                  </a:lnTo>
                  <a:lnTo>
                    <a:pt x="94" y="159"/>
                  </a:lnTo>
                  <a:lnTo>
                    <a:pt x="92" y="154"/>
                  </a:lnTo>
                  <a:lnTo>
                    <a:pt x="89" y="149"/>
                  </a:lnTo>
                  <a:lnTo>
                    <a:pt x="85" y="147"/>
                  </a:lnTo>
                  <a:lnTo>
                    <a:pt x="82" y="140"/>
                  </a:lnTo>
                  <a:lnTo>
                    <a:pt x="82" y="135"/>
                  </a:lnTo>
                  <a:lnTo>
                    <a:pt x="82" y="130"/>
                  </a:lnTo>
                  <a:lnTo>
                    <a:pt x="85" y="128"/>
                  </a:lnTo>
                  <a:lnTo>
                    <a:pt x="87" y="126"/>
                  </a:lnTo>
                  <a:lnTo>
                    <a:pt x="89" y="126"/>
                  </a:lnTo>
                  <a:lnTo>
                    <a:pt x="94" y="119"/>
                  </a:lnTo>
                  <a:lnTo>
                    <a:pt x="97" y="116"/>
                  </a:lnTo>
                  <a:lnTo>
                    <a:pt x="99" y="116"/>
                  </a:lnTo>
                  <a:lnTo>
                    <a:pt x="106" y="116"/>
                  </a:lnTo>
                  <a:lnTo>
                    <a:pt x="113" y="116"/>
                  </a:lnTo>
                  <a:lnTo>
                    <a:pt x="118" y="116"/>
                  </a:lnTo>
                  <a:lnTo>
                    <a:pt x="127" y="116"/>
                  </a:lnTo>
                  <a:lnTo>
                    <a:pt x="130" y="119"/>
                  </a:lnTo>
                  <a:lnTo>
                    <a:pt x="132" y="116"/>
                  </a:lnTo>
                  <a:lnTo>
                    <a:pt x="132" y="116"/>
                  </a:lnTo>
                  <a:lnTo>
                    <a:pt x="134" y="116"/>
                  </a:lnTo>
                  <a:lnTo>
                    <a:pt x="137" y="111"/>
                  </a:lnTo>
                  <a:lnTo>
                    <a:pt x="137" y="100"/>
                  </a:lnTo>
                  <a:lnTo>
                    <a:pt x="137" y="95"/>
                  </a:lnTo>
                  <a:lnTo>
                    <a:pt x="137" y="93"/>
                  </a:lnTo>
                  <a:lnTo>
                    <a:pt x="137" y="90"/>
                  </a:lnTo>
                  <a:lnTo>
                    <a:pt x="134" y="88"/>
                  </a:lnTo>
                  <a:lnTo>
                    <a:pt x="132" y="88"/>
                  </a:lnTo>
                  <a:lnTo>
                    <a:pt x="132" y="85"/>
                  </a:lnTo>
                  <a:lnTo>
                    <a:pt x="130" y="85"/>
                  </a:lnTo>
                  <a:lnTo>
                    <a:pt x="127" y="83"/>
                  </a:lnTo>
                  <a:lnTo>
                    <a:pt x="125" y="81"/>
                  </a:lnTo>
                  <a:lnTo>
                    <a:pt x="123" y="76"/>
                  </a:lnTo>
                  <a:lnTo>
                    <a:pt x="123" y="69"/>
                  </a:lnTo>
                  <a:lnTo>
                    <a:pt x="123" y="64"/>
                  </a:lnTo>
                  <a:lnTo>
                    <a:pt x="123" y="59"/>
                  </a:lnTo>
                  <a:lnTo>
                    <a:pt x="120" y="57"/>
                  </a:lnTo>
                  <a:lnTo>
                    <a:pt x="118" y="55"/>
                  </a:lnTo>
                  <a:lnTo>
                    <a:pt x="118" y="52"/>
                  </a:lnTo>
                  <a:lnTo>
                    <a:pt x="115" y="52"/>
                  </a:lnTo>
                  <a:lnTo>
                    <a:pt x="113" y="50"/>
                  </a:lnTo>
                  <a:lnTo>
                    <a:pt x="111" y="48"/>
                  </a:lnTo>
                  <a:lnTo>
                    <a:pt x="108" y="43"/>
                  </a:lnTo>
                  <a:lnTo>
                    <a:pt x="104" y="43"/>
                  </a:lnTo>
                  <a:lnTo>
                    <a:pt x="99" y="43"/>
                  </a:lnTo>
                  <a:lnTo>
                    <a:pt x="97" y="43"/>
                  </a:lnTo>
                  <a:lnTo>
                    <a:pt x="94" y="48"/>
                  </a:lnTo>
                  <a:lnTo>
                    <a:pt x="94" y="48"/>
                  </a:lnTo>
                  <a:lnTo>
                    <a:pt x="92" y="50"/>
                  </a:lnTo>
                  <a:lnTo>
                    <a:pt x="87" y="52"/>
                  </a:lnTo>
                  <a:lnTo>
                    <a:pt x="85" y="52"/>
                  </a:lnTo>
                  <a:lnTo>
                    <a:pt x="82" y="50"/>
                  </a:lnTo>
                  <a:lnTo>
                    <a:pt x="80" y="45"/>
                  </a:lnTo>
                  <a:lnTo>
                    <a:pt x="78" y="45"/>
                  </a:lnTo>
                  <a:lnTo>
                    <a:pt x="75" y="45"/>
                  </a:lnTo>
                  <a:lnTo>
                    <a:pt x="71" y="48"/>
                  </a:lnTo>
                  <a:lnTo>
                    <a:pt x="66" y="52"/>
                  </a:lnTo>
                  <a:lnTo>
                    <a:pt x="64" y="52"/>
                  </a:lnTo>
                  <a:lnTo>
                    <a:pt x="61" y="57"/>
                  </a:lnTo>
                  <a:lnTo>
                    <a:pt x="59" y="57"/>
                  </a:lnTo>
                  <a:lnTo>
                    <a:pt x="59" y="57"/>
                  </a:lnTo>
                  <a:lnTo>
                    <a:pt x="59" y="52"/>
                  </a:lnTo>
                  <a:lnTo>
                    <a:pt x="59" y="48"/>
                  </a:lnTo>
                  <a:lnTo>
                    <a:pt x="61" y="41"/>
                  </a:lnTo>
                  <a:lnTo>
                    <a:pt x="61" y="36"/>
                  </a:lnTo>
                  <a:lnTo>
                    <a:pt x="61" y="33"/>
                  </a:lnTo>
                  <a:lnTo>
                    <a:pt x="61" y="31"/>
                  </a:lnTo>
                  <a:lnTo>
                    <a:pt x="61" y="26"/>
                  </a:lnTo>
                  <a:lnTo>
                    <a:pt x="61" y="19"/>
                  </a:lnTo>
                  <a:lnTo>
                    <a:pt x="61" y="19"/>
                  </a:lnTo>
                  <a:lnTo>
                    <a:pt x="54" y="19"/>
                  </a:lnTo>
                  <a:lnTo>
                    <a:pt x="52" y="19"/>
                  </a:lnTo>
                  <a:lnTo>
                    <a:pt x="52" y="17"/>
                  </a:lnTo>
                  <a:lnTo>
                    <a:pt x="52" y="12"/>
                  </a:lnTo>
                  <a:lnTo>
                    <a:pt x="52" y="8"/>
                  </a:lnTo>
                  <a:lnTo>
                    <a:pt x="49" y="5"/>
                  </a:lnTo>
                  <a:lnTo>
                    <a:pt x="47" y="3"/>
                  </a:lnTo>
                  <a:lnTo>
                    <a:pt x="47" y="3"/>
                  </a:lnTo>
                  <a:lnTo>
                    <a:pt x="45" y="3"/>
                  </a:lnTo>
                  <a:lnTo>
                    <a:pt x="45" y="0"/>
                  </a:lnTo>
                  <a:lnTo>
                    <a:pt x="4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5" name="Freeform 1080">
              <a:extLst>
                <a:ext uri="{FF2B5EF4-FFF2-40B4-BE49-F238E27FC236}">
                  <a16:creationId xmlns:a16="http://schemas.microsoft.com/office/drawing/2014/main" id="{477A5A1F-AFC6-4102-88C5-BD7B51464A0C}"/>
                </a:ext>
              </a:extLst>
            </p:cNvPr>
            <p:cNvSpPr>
              <a:spLocks/>
            </p:cNvSpPr>
            <p:nvPr/>
          </p:nvSpPr>
          <p:spPr bwMode="auto">
            <a:xfrm>
              <a:off x="6492271" y="3983864"/>
              <a:ext cx="8273" cy="11582"/>
            </a:xfrm>
            <a:custGeom>
              <a:avLst/>
              <a:gdLst>
                <a:gd name="T0" fmla="*/ 0 w 5"/>
                <a:gd name="T1" fmla="*/ 0 h 7"/>
                <a:gd name="T2" fmla="*/ 2 w 5"/>
                <a:gd name="T3" fmla="*/ 7 h 7"/>
                <a:gd name="T4" fmla="*/ 5 w 5"/>
                <a:gd name="T5" fmla="*/ 7 h 7"/>
                <a:gd name="T6" fmla="*/ 5 w 5"/>
                <a:gd name="T7" fmla="*/ 4 h 7"/>
                <a:gd name="T8" fmla="*/ 5 w 5"/>
                <a:gd name="T9" fmla="*/ 2 h 7"/>
                <a:gd name="T10" fmla="*/ 5 w 5"/>
                <a:gd name="T11" fmla="*/ 0 h 7"/>
                <a:gd name="T12" fmla="*/ 2 w 5"/>
                <a:gd name="T13" fmla="*/ 0 h 7"/>
                <a:gd name="T14" fmla="*/ 0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0"/>
                  </a:moveTo>
                  <a:lnTo>
                    <a:pt x="2" y="7"/>
                  </a:lnTo>
                  <a:lnTo>
                    <a:pt x="5" y="7"/>
                  </a:lnTo>
                  <a:lnTo>
                    <a:pt x="5" y="4"/>
                  </a:lnTo>
                  <a:lnTo>
                    <a:pt x="5" y="2"/>
                  </a:lnTo>
                  <a:lnTo>
                    <a:pt x="5" y="0"/>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6" name="Freeform 1081">
              <a:extLst>
                <a:ext uri="{FF2B5EF4-FFF2-40B4-BE49-F238E27FC236}">
                  <a16:creationId xmlns:a16="http://schemas.microsoft.com/office/drawing/2014/main" id="{37404F18-F2C8-40D5-BF6B-DC0B62BA3ADE}"/>
                </a:ext>
              </a:extLst>
            </p:cNvPr>
            <p:cNvSpPr>
              <a:spLocks/>
            </p:cNvSpPr>
            <p:nvPr/>
          </p:nvSpPr>
          <p:spPr bwMode="auto">
            <a:xfrm>
              <a:off x="6492271" y="3983864"/>
              <a:ext cx="8273" cy="11582"/>
            </a:xfrm>
            <a:custGeom>
              <a:avLst/>
              <a:gdLst>
                <a:gd name="T0" fmla="*/ 0 w 5"/>
                <a:gd name="T1" fmla="*/ 0 h 7"/>
                <a:gd name="T2" fmla="*/ 2 w 5"/>
                <a:gd name="T3" fmla="*/ 7 h 7"/>
                <a:gd name="T4" fmla="*/ 5 w 5"/>
                <a:gd name="T5" fmla="*/ 7 h 7"/>
                <a:gd name="T6" fmla="*/ 5 w 5"/>
                <a:gd name="T7" fmla="*/ 4 h 7"/>
                <a:gd name="T8" fmla="*/ 5 w 5"/>
                <a:gd name="T9" fmla="*/ 2 h 7"/>
                <a:gd name="T10" fmla="*/ 5 w 5"/>
                <a:gd name="T11" fmla="*/ 0 h 7"/>
                <a:gd name="T12" fmla="*/ 2 w 5"/>
                <a:gd name="T13" fmla="*/ 0 h 7"/>
                <a:gd name="T14" fmla="*/ 0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0"/>
                  </a:moveTo>
                  <a:lnTo>
                    <a:pt x="2" y="7"/>
                  </a:lnTo>
                  <a:lnTo>
                    <a:pt x="5" y="7"/>
                  </a:lnTo>
                  <a:lnTo>
                    <a:pt x="5" y="4"/>
                  </a:lnTo>
                  <a:lnTo>
                    <a:pt x="5" y="2"/>
                  </a:lnTo>
                  <a:lnTo>
                    <a:pt x="5" y="0"/>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7" name="Freeform 1112">
              <a:extLst>
                <a:ext uri="{FF2B5EF4-FFF2-40B4-BE49-F238E27FC236}">
                  <a16:creationId xmlns:a16="http://schemas.microsoft.com/office/drawing/2014/main" id="{ACC71ACE-CF39-4FAD-BAF7-80A3F853B841}"/>
                </a:ext>
              </a:extLst>
            </p:cNvPr>
            <p:cNvSpPr>
              <a:spLocks/>
            </p:cNvSpPr>
            <p:nvPr/>
          </p:nvSpPr>
          <p:spPr bwMode="auto">
            <a:xfrm>
              <a:off x="6414513" y="3861436"/>
              <a:ext cx="135663" cy="180333"/>
            </a:xfrm>
            <a:custGeom>
              <a:avLst/>
              <a:gdLst>
                <a:gd name="T0" fmla="*/ 75 w 82"/>
                <a:gd name="T1" fmla="*/ 109 h 109"/>
                <a:gd name="T2" fmla="*/ 71 w 82"/>
                <a:gd name="T3" fmla="*/ 93 h 109"/>
                <a:gd name="T4" fmla="*/ 71 w 82"/>
                <a:gd name="T5" fmla="*/ 83 h 109"/>
                <a:gd name="T6" fmla="*/ 63 w 82"/>
                <a:gd name="T7" fmla="*/ 74 h 109"/>
                <a:gd name="T8" fmla="*/ 54 w 82"/>
                <a:gd name="T9" fmla="*/ 74 h 109"/>
                <a:gd name="T10" fmla="*/ 52 w 82"/>
                <a:gd name="T11" fmla="*/ 69 h 109"/>
                <a:gd name="T12" fmla="*/ 49 w 82"/>
                <a:gd name="T13" fmla="*/ 74 h 109"/>
                <a:gd name="T14" fmla="*/ 47 w 82"/>
                <a:gd name="T15" fmla="*/ 78 h 109"/>
                <a:gd name="T16" fmla="*/ 40 w 82"/>
                <a:gd name="T17" fmla="*/ 90 h 109"/>
                <a:gd name="T18" fmla="*/ 35 w 82"/>
                <a:gd name="T19" fmla="*/ 85 h 109"/>
                <a:gd name="T20" fmla="*/ 35 w 82"/>
                <a:gd name="T21" fmla="*/ 90 h 109"/>
                <a:gd name="T22" fmla="*/ 30 w 82"/>
                <a:gd name="T23" fmla="*/ 90 h 109"/>
                <a:gd name="T24" fmla="*/ 26 w 82"/>
                <a:gd name="T25" fmla="*/ 90 h 109"/>
                <a:gd name="T26" fmla="*/ 23 w 82"/>
                <a:gd name="T27" fmla="*/ 93 h 109"/>
                <a:gd name="T28" fmla="*/ 21 w 82"/>
                <a:gd name="T29" fmla="*/ 95 h 109"/>
                <a:gd name="T30" fmla="*/ 19 w 82"/>
                <a:gd name="T31" fmla="*/ 95 h 109"/>
                <a:gd name="T32" fmla="*/ 16 w 82"/>
                <a:gd name="T33" fmla="*/ 88 h 109"/>
                <a:gd name="T34" fmla="*/ 16 w 82"/>
                <a:gd name="T35" fmla="*/ 83 h 109"/>
                <a:gd name="T36" fmla="*/ 14 w 82"/>
                <a:gd name="T37" fmla="*/ 78 h 109"/>
                <a:gd name="T38" fmla="*/ 11 w 82"/>
                <a:gd name="T39" fmla="*/ 74 h 109"/>
                <a:gd name="T40" fmla="*/ 14 w 82"/>
                <a:gd name="T41" fmla="*/ 69 h 109"/>
                <a:gd name="T42" fmla="*/ 14 w 82"/>
                <a:gd name="T43" fmla="*/ 64 h 109"/>
                <a:gd name="T44" fmla="*/ 11 w 82"/>
                <a:gd name="T45" fmla="*/ 57 h 109"/>
                <a:gd name="T46" fmla="*/ 9 w 82"/>
                <a:gd name="T47" fmla="*/ 52 h 109"/>
                <a:gd name="T48" fmla="*/ 11 w 82"/>
                <a:gd name="T49" fmla="*/ 43 h 109"/>
                <a:gd name="T50" fmla="*/ 7 w 82"/>
                <a:gd name="T51" fmla="*/ 38 h 109"/>
                <a:gd name="T52" fmla="*/ 0 w 82"/>
                <a:gd name="T53" fmla="*/ 36 h 109"/>
                <a:gd name="T54" fmla="*/ 0 w 82"/>
                <a:gd name="T55" fmla="*/ 31 h 109"/>
                <a:gd name="T56" fmla="*/ 4 w 82"/>
                <a:gd name="T57" fmla="*/ 29 h 109"/>
                <a:gd name="T58" fmla="*/ 7 w 82"/>
                <a:gd name="T59" fmla="*/ 26 h 109"/>
                <a:gd name="T60" fmla="*/ 14 w 82"/>
                <a:gd name="T61" fmla="*/ 22 h 109"/>
                <a:gd name="T62" fmla="*/ 11 w 82"/>
                <a:gd name="T63" fmla="*/ 19 h 109"/>
                <a:gd name="T64" fmla="*/ 4 w 82"/>
                <a:gd name="T65" fmla="*/ 19 h 109"/>
                <a:gd name="T66" fmla="*/ 2 w 82"/>
                <a:gd name="T67" fmla="*/ 15 h 109"/>
                <a:gd name="T68" fmla="*/ 9 w 82"/>
                <a:gd name="T69" fmla="*/ 3 h 109"/>
                <a:gd name="T70" fmla="*/ 14 w 82"/>
                <a:gd name="T71" fmla="*/ 7 h 109"/>
                <a:gd name="T72" fmla="*/ 16 w 82"/>
                <a:gd name="T73" fmla="*/ 7 h 109"/>
                <a:gd name="T74" fmla="*/ 19 w 82"/>
                <a:gd name="T75" fmla="*/ 3 h 109"/>
                <a:gd name="T76" fmla="*/ 21 w 82"/>
                <a:gd name="T77" fmla="*/ 10 h 109"/>
                <a:gd name="T78" fmla="*/ 26 w 82"/>
                <a:gd name="T79" fmla="*/ 12 h 109"/>
                <a:gd name="T80" fmla="*/ 28 w 82"/>
                <a:gd name="T81" fmla="*/ 7 h 109"/>
                <a:gd name="T82" fmla="*/ 33 w 82"/>
                <a:gd name="T83" fmla="*/ 19 h 109"/>
                <a:gd name="T84" fmla="*/ 37 w 82"/>
                <a:gd name="T85" fmla="*/ 24 h 109"/>
                <a:gd name="T86" fmla="*/ 52 w 82"/>
                <a:gd name="T87" fmla="*/ 24 h 109"/>
                <a:gd name="T88" fmla="*/ 63 w 82"/>
                <a:gd name="T89" fmla="*/ 24 h 109"/>
                <a:gd name="T90" fmla="*/ 78 w 82"/>
                <a:gd name="T91" fmla="*/ 29 h 109"/>
                <a:gd name="T92" fmla="*/ 73 w 82"/>
                <a:gd name="T93" fmla="*/ 31 h 109"/>
                <a:gd name="T94" fmla="*/ 68 w 82"/>
                <a:gd name="T95" fmla="*/ 41 h 109"/>
                <a:gd name="T96" fmla="*/ 61 w 82"/>
                <a:gd name="T97" fmla="*/ 45 h 109"/>
                <a:gd name="T98" fmla="*/ 56 w 82"/>
                <a:gd name="T99" fmla="*/ 50 h 109"/>
                <a:gd name="T100" fmla="*/ 59 w 82"/>
                <a:gd name="T101" fmla="*/ 62 h 109"/>
                <a:gd name="T102" fmla="*/ 63 w 82"/>
                <a:gd name="T103" fmla="*/ 67 h 109"/>
                <a:gd name="T104" fmla="*/ 66 w 82"/>
                <a:gd name="T105" fmla="*/ 64 h 109"/>
                <a:gd name="T106" fmla="*/ 73 w 82"/>
                <a:gd name="T107" fmla="*/ 55 h 109"/>
                <a:gd name="T108" fmla="*/ 75 w 82"/>
                <a:gd name="T109" fmla="*/ 59 h 109"/>
                <a:gd name="T110" fmla="*/ 80 w 82"/>
                <a:gd name="T111" fmla="*/ 67 h 109"/>
                <a:gd name="T112" fmla="*/ 82 w 82"/>
                <a:gd name="T113" fmla="*/ 78 h 109"/>
                <a:gd name="T114" fmla="*/ 82 w 82"/>
                <a:gd name="T115" fmla="*/ 90 h 109"/>
                <a:gd name="T116" fmla="*/ 80 w 82"/>
                <a:gd name="T117" fmla="*/ 97 h 109"/>
                <a:gd name="T118" fmla="*/ 78 w 82"/>
                <a:gd name="T119" fmla="*/ 10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109">
                  <a:moveTo>
                    <a:pt x="78" y="107"/>
                  </a:moveTo>
                  <a:lnTo>
                    <a:pt x="75" y="109"/>
                  </a:lnTo>
                  <a:lnTo>
                    <a:pt x="73" y="102"/>
                  </a:lnTo>
                  <a:lnTo>
                    <a:pt x="71" y="93"/>
                  </a:lnTo>
                  <a:lnTo>
                    <a:pt x="71" y="90"/>
                  </a:lnTo>
                  <a:lnTo>
                    <a:pt x="71" y="83"/>
                  </a:lnTo>
                  <a:lnTo>
                    <a:pt x="63" y="74"/>
                  </a:lnTo>
                  <a:lnTo>
                    <a:pt x="63" y="74"/>
                  </a:lnTo>
                  <a:lnTo>
                    <a:pt x="59" y="74"/>
                  </a:lnTo>
                  <a:lnTo>
                    <a:pt x="54" y="74"/>
                  </a:lnTo>
                  <a:lnTo>
                    <a:pt x="52" y="74"/>
                  </a:lnTo>
                  <a:lnTo>
                    <a:pt x="52" y="69"/>
                  </a:lnTo>
                  <a:lnTo>
                    <a:pt x="49" y="71"/>
                  </a:lnTo>
                  <a:lnTo>
                    <a:pt x="49" y="74"/>
                  </a:lnTo>
                  <a:lnTo>
                    <a:pt x="47" y="76"/>
                  </a:lnTo>
                  <a:lnTo>
                    <a:pt x="47" y="78"/>
                  </a:lnTo>
                  <a:lnTo>
                    <a:pt x="47" y="83"/>
                  </a:lnTo>
                  <a:lnTo>
                    <a:pt x="40" y="90"/>
                  </a:lnTo>
                  <a:lnTo>
                    <a:pt x="40" y="90"/>
                  </a:lnTo>
                  <a:lnTo>
                    <a:pt x="35" y="85"/>
                  </a:lnTo>
                  <a:lnTo>
                    <a:pt x="35" y="88"/>
                  </a:lnTo>
                  <a:lnTo>
                    <a:pt x="35" y="90"/>
                  </a:lnTo>
                  <a:lnTo>
                    <a:pt x="30" y="93"/>
                  </a:lnTo>
                  <a:lnTo>
                    <a:pt x="30" y="90"/>
                  </a:lnTo>
                  <a:lnTo>
                    <a:pt x="28" y="93"/>
                  </a:lnTo>
                  <a:lnTo>
                    <a:pt x="26" y="90"/>
                  </a:lnTo>
                  <a:lnTo>
                    <a:pt x="26" y="93"/>
                  </a:lnTo>
                  <a:lnTo>
                    <a:pt x="23" y="93"/>
                  </a:lnTo>
                  <a:lnTo>
                    <a:pt x="23" y="93"/>
                  </a:lnTo>
                  <a:lnTo>
                    <a:pt x="21" y="95"/>
                  </a:lnTo>
                  <a:lnTo>
                    <a:pt x="21" y="95"/>
                  </a:lnTo>
                  <a:lnTo>
                    <a:pt x="19" y="95"/>
                  </a:lnTo>
                  <a:lnTo>
                    <a:pt x="16" y="90"/>
                  </a:lnTo>
                  <a:lnTo>
                    <a:pt x="16" y="88"/>
                  </a:lnTo>
                  <a:lnTo>
                    <a:pt x="16" y="85"/>
                  </a:lnTo>
                  <a:lnTo>
                    <a:pt x="16" y="83"/>
                  </a:lnTo>
                  <a:lnTo>
                    <a:pt x="16" y="81"/>
                  </a:lnTo>
                  <a:lnTo>
                    <a:pt x="14" y="78"/>
                  </a:lnTo>
                  <a:lnTo>
                    <a:pt x="14" y="76"/>
                  </a:lnTo>
                  <a:lnTo>
                    <a:pt x="11" y="74"/>
                  </a:lnTo>
                  <a:lnTo>
                    <a:pt x="11" y="69"/>
                  </a:lnTo>
                  <a:lnTo>
                    <a:pt x="14" y="69"/>
                  </a:lnTo>
                  <a:lnTo>
                    <a:pt x="14" y="64"/>
                  </a:lnTo>
                  <a:lnTo>
                    <a:pt x="14" y="64"/>
                  </a:lnTo>
                  <a:lnTo>
                    <a:pt x="11" y="62"/>
                  </a:lnTo>
                  <a:lnTo>
                    <a:pt x="11" y="57"/>
                  </a:lnTo>
                  <a:lnTo>
                    <a:pt x="9" y="57"/>
                  </a:lnTo>
                  <a:lnTo>
                    <a:pt x="9" y="52"/>
                  </a:lnTo>
                  <a:lnTo>
                    <a:pt x="11" y="50"/>
                  </a:lnTo>
                  <a:lnTo>
                    <a:pt x="11" y="43"/>
                  </a:lnTo>
                  <a:lnTo>
                    <a:pt x="9" y="41"/>
                  </a:lnTo>
                  <a:lnTo>
                    <a:pt x="7" y="38"/>
                  </a:lnTo>
                  <a:lnTo>
                    <a:pt x="2" y="38"/>
                  </a:lnTo>
                  <a:lnTo>
                    <a:pt x="0" y="36"/>
                  </a:lnTo>
                  <a:lnTo>
                    <a:pt x="0" y="33"/>
                  </a:lnTo>
                  <a:lnTo>
                    <a:pt x="0" y="31"/>
                  </a:lnTo>
                  <a:lnTo>
                    <a:pt x="2" y="29"/>
                  </a:lnTo>
                  <a:lnTo>
                    <a:pt x="4" y="29"/>
                  </a:lnTo>
                  <a:lnTo>
                    <a:pt x="7" y="29"/>
                  </a:lnTo>
                  <a:lnTo>
                    <a:pt x="7" y="26"/>
                  </a:lnTo>
                  <a:lnTo>
                    <a:pt x="14" y="24"/>
                  </a:lnTo>
                  <a:lnTo>
                    <a:pt x="14" y="22"/>
                  </a:lnTo>
                  <a:lnTo>
                    <a:pt x="11" y="22"/>
                  </a:lnTo>
                  <a:lnTo>
                    <a:pt x="11" y="19"/>
                  </a:lnTo>
                  <a:lnTo>
                    <a:pt x="7" y="19"/>
                  </a:lnTo>
                  <a:lnTo>
                    <a:pt x="4" y="19"/>
                  </a:lnTo>
                  <a:lnTo>
                    <a:pt x="4" y="15"/>
                  </a:lnTo>
                  <a:lnTo>
                    <a:pt x="2" y="15"/>
                  </a:lnTo>
                  <a:lnTo>
                    <a:pt x="7" y="5"/>
                  </a:lnTo>
                  <a:lnTo>
                    <a:pt x="9" y="3"/>
                  </a:lnTo>
                  <a:lnTo>
                    <a:pt x="9" y="0"/>
                  </a:lnTo>
                  <a:lnTo>
                    <a:pt x="14" y="7"/>
                  </a:lnTo>
                  <a:lnTo>
                    <a:pt x="14" y="10"/>
                  </a:lnTo>
                  <a:lnTo>
                    <a:pt x="16" y="7"/>
                  </a:lnTo>
                  <a:lnTo>
                    <a:pt x="16" y="3"/>
                  </a:lnTo>
                  <a:lnTo>
                    <a:pt x="19" y="3"/>
                  </a:lnTo>
                  <a:lnTo>
                    <a:pt x="19" y="7"/>
                  </a:lnTo>
                  <a:lnTo>
                    <a:pt x="21" y="10"/>
                  </a:lnTo>
                  <a:lnTo>
                    <a:pt x="23" y="10"/>
                  </a:lnTo>
                  <a:lnTo>
                    <a:pt x="26" y="12"/>
                  </a:lnTo>
                  <a:lnTo>
                    <a:pt x="28" y="7"/>
                  </a:lnTo>
                  <a:lnTo>
                    <a:pt x="28" y="7"/>
                  </a:lnTo>
                  <a:lnTo>
                    <a:pt x="30" y="15"/>
                  </a:lnTo>
                  <a:lnTo>
                    <a:pt x="33" y="19"/>
                  </a:lnTo>
                  <a:lnTo>
                    <a:pt x="33" y="24"/>
                  </a:lnTo>
                  <a:lnTo>
                    <a:pt x="37" y="24"/>
                  </a:lnTo>
                  <a:lnTo>
                    <a:pt x="52" y="26"/>
                  </a:lnTo>
                  <a:lnTo>
                    <a:pt x="52" y="24"/>
                  </a:lnTo>
                  <a:lnTo>
                    <a:pt x="56" y="24"/>
                  </a:lnTo>
                  <a:lnTo>
                    <a:pt x="63" y="24"/>
                  </a:lnTo>
                  <a:lnTo>
                    <a:pt x="71" y="26"/>
                  </a:lnTo>
                  <a:lnTo>
                    <a:pt x="78" y="29"/>
                  </a:lnTo>
                  <a:lnTo>
                    <a:pt x="75" y="31"/>
                  </a:lnTo>
                  <a:lnTo>
                    <a:pt x="73" y="31"/>
                  </a:lnTo>
                  <a:lnTo>
                    <a:pt x="71" y="36"/>
                  </a:lnTo>
                  <a:lnTo>
                    <a:pt x="68" y="41"/>
                  </a:lnTo>
                  <a:lnTo>
                    <a:pt x="63" y="43"/>
                  </a:lnTo>
                  <a:lnTo>
                    <a:pt x="61" y="45"/>
                  </a:lnTo>
                  <a:lnTo>
                    <a:pt x="56" y="48"/>
                  </a:lnTo>
                  <a:lnTo>
                    <a:pt x="56" y="50"/>
                  </a:lnTo>
                  <a:lnTo>
                    <a:pt x="56" y="57"/>
                  </a:lnTo>
                  <a:lnTo>
                    <a:pt x="59" y="62"/>
                  </a:lnTo>
                  <a:lnTo>
                    <a:pt x="61" y="62"/>
                  </a:lnTo>
                  <a:lnTo>
                    <a:pt x="63" y="67"/>
                  </a:lnTo>
                  <a:lnTo>
                    <a:pt x="66" y="67"/>
                  </a:lnTo>
                  <a:lnTo>
                    <a:pt x="66" y="64"/>
                  </a:lnTo>
                  <a:lnTo>
                    <a:pt x="68" y="59"/>
                  </a:lnTo>
                  <a:lnTo>
                    <a:pt x="73" y="55"/>
                  </a:lnTo>
                  <a:lnTo>
                    <a:pt x="73" y="55"/>
                  </a:lnTo>
                  <a:lnTo>
                    <a:pt x="75" y="59"/>
                  </a:lnTo>
                  <a:lnTo>
                    <a:pt x="78" y="64"/>
                  </a:lnTo>
                  <a:lnTo>
                    <a:pt x="80" y="67"/>
                  </a:lnTo>
                  <a:lnTo>
                    <a:pt x="80" y="69"/>
                  </a:lnTo>
                  <a:lnTo>
                    <a:pt x="82" y="78"/>
                  </a:lnTo>
                  <a:lnTo>
                    <a:pt x="82" y="88"/>
                  </a:lnTo>
                  <a:lnTo>
                    <a:pt x="82" y="90"/>
                  </a:lnTo>
                  <a:lnTo>
                    <a:pt x="82" y="100"/>
                  </a:lnTo>
                  <a:lnTo>
                    <a:pt x="80" y="97"/>
                  </a:lnTo>
                  <a:lnTo>
                    <a:pt x="78" y="100"/>
                  </a:lnTo>
                  <a:lnTo>
                    <a:pt x="78" y="102"/>
                  </a:lnTo>
                  <a:lnTo>
                    <a:pt x="78" y="10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8" name="Freeform 1113">
              <a:extLst>
                <a:ext uri="{FF2B5EF4-FFF2-40B4-BE49-F238E27FC236}">
                  <a16:creationId xmlns:a16="http://schemas.microsoft.com/office/drawing/2014/main" id="{8A66342C-8090-4C76-BFCD-79E53C5C7AB0}"/>
                </a:ext>
              </a:extLst>
            </p:cNvPr>
            <p:cNvSpPr>
              <a:spLocks/>
            </p:cNvSpPr>
            <p:nvPr/>
          </p:nvSpPr>
          <p:spPr bwMode="auto">
            <a:xfrm>
              <a:off x="6414513" y="3861436"/>
              <a:ext cx="135663" cy="180333"/>
            </a:xfrm>
            <a:custGeom>
              <a:avLst/>
              <a:gdLst>
                <a:gd name="T0" fmla="*/ 75 w 82"/>
                <a:gd name="T1" fmla="*/ 109 h 109"/>
                <a:gd name="T2" fmla="*/ 71 w 82"/>
                <a:gd name="T3" fmla="*/ 93 h 109"/>
                <a:gd name="T4" fmla="*/ 71 w 82"/>
                <a:gd name="T5" fmla="*/ 83 h 109"/>
                <a:gd name="T6" fmla="*/ 63 w 82"/>
                <a:gd name="T7" fmla="*/ 74 h 109"/>
                <a:gd name="T8" fmla="*/ 54 w 82"/>
                <a:gd name="T9" fmla="*/ 74 h 109"/>
                <a:gd name="T10" fmla="*/ 52 w 82"/>
                <a:gd name="T11" fmla="*/ 69 h 109"/>
                <a:gd name="T12" fmla="*/ 49 w 82"/>
                <a:gd name="T13" fmla="*/ 74 h 109"/>
                <a:gd name="T14" fmla="*/ 47 w 82"/>
                <a:gd name="T15" fmla="*/ 78 h 109"/>
                <a:gd name="T16" fmla="*/ 40 w 82"/>
                <a:gd name="T17" fmla="*/ 90 h 109"/>
                <a:gd name="T18" fmla="*/ 35 w 82"/>
                <a:gd name="T19" fmla="*/ 85 h 109"/>
                <a:gd name="T20" fmla="*/ 35 w 82"/>
                <a:gd name="T21" fmla="*/ 90 h 109"/>
                <a:gd name="T22" fmla="*/ 30 w 82"/>
                <a:gd name="T23" fmla="*/ 90 h 109"/>
                <a:gd name="T24" fmla="*/ 26 w 82"/>
                <a:gd name="T25" fmla="*/ 90 h 109"/>
                <a:gd name="T26" fmla="*/ 23 w 82"/>
                <a:gd name="T27" fmla="*/ 93 h 109"/>
                <a:gd name="T28" fmla="*/ 21 w 82"/>
                <a:gd name="T29" fmla="*/ 95 h 109"/>
                <a:gd name="T30" fmla="*/ 19 w 82"/>
                <a:gd name="T31" fmla="*/ 95 h 109"/>
                <a:gd name="T32" fmla="*/ 16 w 82"/>
                <a:gd name="T33" fmla="*/ 88 h 109"/>
                <a:gd name="T34" fmla="*/ 16 w 82"/>
                <a:gd name="T35" fmla="*/ 83 h 109"/>
                <a:gd name="T36" fmla="*/ 14 w 82"/>
                <a:gd name="T37" fmla="*/ 78 h 109"/>
                <a:gd name="T38" fmla="*/ 11 w 82"/>
                <a:gd name="T39" fmla="*/ 74 h 109"/>
                <a:gd name="T40" fmla="*/ 14 w 82"/>
                <a:gd name="T41" fmla="*/ 69 h 109"/>
                <a:gd name="T42" fmla="*/ 14 w 82"/>
                <a:gd name="T43" fmla="*/ 64 h 109"/>
                <a:gd name="T44" fmla="*/ 11 w 82"/>
                <a:gd name="T45" fmla="*/ 57 h 109"/>
                <a:gd name="T46" fmla="*/ 9 w 82"/>
                <a:gd name="T47" fmla="*/ 52 h 109"/>
                <a:gd name="T48" fmla="*/ 11 w 82"/>
                <a:gd name="T49" fmla="*/ 43 h 109"/>
                <a:gd name="T50" fmla="*/ 7 w 82"/>
                <a:gd name="T51" fmla="*/ 38 h 109"/>
                <a:gd name="T52" fmla="*/ 0 w 82"/>
                <a:gd name="T53" fmla="*/ 36 h 109"/>
                <a:gd name="T54" fmla="*/ 0 w 82"/>
                <a:gd name="T55" fmla="*/ 31 h 109"/>
                <a:gd name="T56" fmla="*/ 4 w 82"/>
                <a:gd name="T57" fmla="*/ 29 h 109"/>
                <a:gd name="T58" fmla="*/ 7 w 82"/>
                <a:gd name="T59" fmla="*/ 26 h 109"/>
                <a:gd name="T60" fmla="*/ 14 w 82"/>
                <a:gd name="T61" fmla="*/ 22 h 109"/>
                <a:gd name="T62" fmla="*/ 11 w 82"/>
                <a:gd name="T63" fmla="*/ 19 h 109"/>
                <a:gd name="T64" fmla="*/ 4 w 82"/>
                <a:gd name="T65" fmla="*/ 19 h 109"/>
                <a:gd name="T66" fmla="*/ 2 w 82"/>
                <a:gd name="T67" fmla="*/ 15 h 109"/>
                <a:gd name="T68" fmla="*/ 9 w 82"/>
                <a:gd name="T69" fmla="*/ 3 h 109"/>
                <a:gd name="T70" fmla="*/ 14 w 82"/>
                <a:gd name="T71" fmla="*/ 7 h 109"/>
                <a:gd name="T72" fmla="*/ 16 w 82"/>
                <a:gd name="T73" fmla="*/ 7 h 109"/>
                <a:gd name="T74" fmla="*/ 19 w 82"/>
                <a:gd name="T75" fmla="*/ 3 h 109"/>
                <a:gd name="T76" fmla="*/ 21 w 82"/>
                <a:gd name="T77" fmla="*/ 10 h 109"/>
                <a:gd name="T78" fmla="*/ 26 w 82"/>
                <a:gd name="T79" fmla="*/ 12 h 109"/>
                <a:gd name="T80" fmla="*/ 28 w 82"/>
                <a:gd name="T81" fmla="*/ 7 h 109"/>
                <a:gd name="T82" fmla="*/ 33 w 82"/>
                <a:gd name="T83" fmla="*/ 19 h 109"/>
                <a:gd name="T84" fmla="*/ 37 w 82"/>
                <a:gd name="T85" fmla="*/ 24 h 109"/>
                <a:gd name="T86" fmla="*/ 52 w 82"/>
                <a:gd name="T87" fmla="*/ 24 h 109"/>
                <a:gd name="T88" fmla="*/ 63 w 82"/>
                <a:gd name="T89" fmla="*/ 24 h 109"/>
                <a:gd name="T90" fmla="*/ 78 w 82"/>
                <a:gd name="T91" fmla="*/ 29 h 109"/>
                <a:gd name="T92" fmla="*/ 73 w 82"/>
                <a:gd name="T93" fmla="*/ 31 h 109"/>
                <a:gd name="T94" fmla="*/ 68 w 82"/>
                <a:gd name="T95" fmla="*/ 41 h 109"/>
                <a:gd name="T96" fmla="*/ 61 w 82"/>
                <a:gd name="T97" fmla="*/ 45 h 109"/>
                <a:gd name="T98" fmla="*/ 56 w 82"/>
                <a:gd name="T99" fmla="*/ 50 h 109"/>
                <a:gd name="T100" fmla="*/ 59 w 82"/>
                <a:gd name="T101" fmla="*/ 62 h 109"/>
                <a:gd name="T102" fmla="*/ 63 w 82"/>
                <a:gd name="T103" fmla="*/ 67 h 109"/>
                <a:gd name="T104" fmla="*/ 66 w 82"/>
                <a:gd name="T105" fmla="*/ 64 h 109"/>
                <a:gd name="T106" fmla="*/ 73 w 82"/>
                <a:gd name="T107" fmla="*/ 55 h 109"/>
                <a:gd name="T108" fmla="*/ 75 w 82"/>
                <a:gd name="T109" fmla="*/ 59 h 109"/>
                <a:gd name="T110" fmla="*/ 80 w 82"/>
                <a:gd name="T111" fmla="*/ 67 h 109"/>
                <a:gd name="T112" fmla="*/ 82 w 82"/>
                <a:gd name="T113" fmla="*/ 78 h 109"/>
                <a:gd name="T114" fmla="*/ 82 w 82"/>
                <a:gd name="T115" fmla="*/ 90 h 109"/>
                <a:gd name="T116" fmla="*/ 80 w 82"/>
                <a:gd name="T117" fmla="*/ 97 h 109"/>
                <a:gd name="T118" fmla="*/ 78 w 82"/>
                <a:gd name="T119" fmla="*/ 10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109">
                  <a:moveTo>
                    <a:pt x="78" y="107"/>
                  </a:moveTo>
                  <a:lnTo>
                    <a:pt x="75" y="109"/>
                  </a:lnTo>
                  <a:lnTo>
                    <a:pt x="73" y="102"/>
                  </a:lnTo>
                  <a:lnTo>
                    <a:pt x="71" y="93"/>
                  </a:lnTo>
                  <a:lnTo>
                    <a:pt x="71" y="90"/>
                  </a:lnTo>
                  <a:lnTo>
                    <a:pt x="71" y="83"/>
                  </a:lnTo>
                  <a:lnTo>
                    <a:pt x="63" y="74"/>
                  </a:lnTo>
                  <a:lnTo>
                    <a:pt x="63" y="74"/>
                  </a:lnTo>
                  <a:lnTo>
                    <a:pt x="59" y="74"/>
                  </a:lnTo>
                  <a:lnTo>
                    <a:pt x="54" y="74"/>
                  </a:lnTo>
                  <a:lnTo>
                    <a:pt x="52" y="74"/>
                  </a:lnTo>
                  <a:lnTo>
                    <a:pt x="52" y="69"/>
                  </a:lnTo>
                  <a:lnTo>
                    <a:pt x="49" y="71"/>
                  </a:lnTo>
                  <a:lnTo>
                    <a:pt x="49" y="74"/>
                  </a:lnTo>
                  <a:lnTo>
                    <a:pt x="47" y="76"/>
                  </a:lnTo>
                  <a:lnTo>
                    <a:pt x="47" y="78"/>
                  </a:lnTo>
                  <a:lnTo>
                    <a:pt x="47" y="83"/>
                  </a:lnTo>
                  <a:lnTo>
                    <a:pt x="40" y="90"/>
                  </a:lnTo>
                  <a:lnTo>
                    <a:pt x="40" y="90"/>
                  </a:lnTo>
                  <a:lnTo>
                    <a:pt x="35" y="85"/>
                  </a:lnTo>
                  <a:lnTo>
                    <a:pt x="35" y="88"/>
                  </a:lnTo>
                  <a:lnTo>
                    <a:pt x="35" y="90"/>
                  </a:lnTo>
                  <a:lnTo>
                    <a:pt x="30" y="93"/>
                  </a:lnTo>
                  <a:lnTo>
                    <a:pt x="30" y="90"/>
                  </a:lnTo>
                  <a:lnTo>
                    <a:pt x="28" y="93"/>
                  </a:lnTo>
                  <a:lnTo>
                    <a:pt x="26" y="90"/>
                  </a:lnTo>
                  <a:lnTo>
                    <a:pt x="26" y="93"/>
                  </a:lnTo>
                  <a:lnTo>
                    <a:pt x="23" y="93"/>
                  </a:lnTo>
                  <a:lnTo>
                    <a:pt x="23" y="93"/>
                  </a:lnTo>
                  <a:lnTo>
                    <a:pt x="21" y="95"/>
                  </a:lnTo>
                  <a:lnTo>
                    <a:pt x="21" y="95"/>
                  </a:lnTo>
                  <a:lnTo>
                    <a:pt x="19" y="95"/>
                  </a:lnTo>
                  <a:lnTo>
                    <a:pt x="16" y="90"/>
                  </a:lnTo>
                  <a:lnTo>
                    <a:pt x="16" y="88"/>
                  </a:lnTo>
                  <a:lnTo>
                    <a:pt x="16" y="85"/>
                  </a:lnTo>
                  <a:lnTo>
                    <a:pt x="16" y="83"/>
                  </a:lnTo>
                  <a:lnTo>
                    <a:pt x="16" y="81"/>
                  </a:lnTo>
                  <a:lnTo>
                    <a:pt x="14" y="78"/>
                  </a:lnTo>
                  <a:lnTo>
                    <a:pt x="14" y="76"/>
                  </a:lnTo>
                  <a:lnTo>
                    <a:pt x="11" y="74"/>
                  </a:lnTo>
                  <a:lnTo>
                    <a:pt x="11" y="69"/>
                  </a:lnTo>
                  <a:lnTo>
                    <a:pt x="14" y="69"/>
                  </a:lnTo>
                  <a:lnTo>
                    <a:pt x="14" y="64"/>
                  </a:lnTo>
                  <a:lnTo>
                    <a:pt x="14" y="64"/>
                  </a:lnTo>
                  <a:lnTo>
                    <a:pt x="11" y="62"/>
                  </a:lnTo>
                  <a:lnTo>
                    <a:pt x="11" y="57"/>
                  </a:lnTo>
                  <a:lnTo>
                    <a:pt x="9" y="57"/>
                  </a:lnTo>
                  <a:lnTo>
                    <a:pt x="9" y="52"/>
                  </a:lnTo>
                  <a:lnTo>
                    <a:pt x="11" y="50"/>
                  </a:lnTo>
                  <a:lnTo>
                    <a:pt x="11" y="43"/>
                  </a:lnTo>
                  <a:lnTo>
                    <a:pt x="9" y="41"/>
                  </a:lnTo>
                  <a:lnTo>
                    <a:pt x="7" y="38"/>
                  </a:lnTo>
                  <a:lnTo>
                    <a:pt x="2" y="38"/>
                  </a:lnTo>
                  <a:lnTo>
                    <a:pt x="0" y="36"/>
                  </a:lnTo>
                  <a:lnTo>
                    <a:pt x="0" y="33"/>
                  </a:lnTo>
                  <a:lnTo>
                    <a:pt x="0" y="31"/>
                  </a:lnTo>
                  <a:lnTo>
                    <a:pt x="2" y="29"/>
                  </a:lnTo>
                  <a:lnTo>
                    <a:pt x="4" y="29"/>
                  </a:lnTo>
                  <a:lnTo>
                    <a:pt x="7" y="29"/>
                  </a:lnTo>
                  <a:lnTo>
                    <a:pt x="7" y="26"/>
                  </a:lnTo>
                  <a:lnTo>
                    <a:pt x="14" y="24"/>
                  </a:lnTo>
                  <a:lnTo>
                    <a:pt x="14" y="22"/>
                  </a:lnTo>
                  <a:lnTo>
                    <a:pt x="11" y="22"/>
                  </a:lnTo>
                  <a:lnTo>
                    <a:pt x="11" y="19"/>
                  </a:lnTo>
                  <a:lnTo>
                    <a:pt x="7" y="19"/>
                  </a:lnTo>
                  <a:lnTo>
                    <a:pt x="4" y="19"/>
                  </a:lnTo>
                  <a:lnTo>
                    <a:pt x="4" y="15"/>
                  </a:lnTo>
                  <a:lnTo>
                    <a:pt x="2" y="15"/>
                  </a:lnTo>
                  <a:lnTo>
                    <a:pt x="7" y="5"/>
                  </a:lnTo>
                  <a:lnTo>
                    <a:pt x="9" y="3"/>
                  </a:lnTo>
                  <a:lnTo>
                    <a:pt x="9" y="0"/>
                  </a:lnTo>
                  <a:lnTo>
                    <a:pt x="14" y="7"/>
                  </a:lnTo>
                  <a:lnTo>
                    <a:pt x="14" y="10"/>
                  </a:lnTo>
                  <a:lnTo>
                    <a:pt x="16" y="7"/>
                  </a:lnTo>
                  <a:lnTo>
                    <a:pt x="16" y="3"/>
                  </a:lnTo>
                  <a:lnTo>
                    <a:pt x="19" y="3"/>
                  </a:lnTo>
                  <a:lnTo>
                    <a:pt x="19" y="7"/>
                  </a:lnTo>
                  <a:lnTo>
                    <a:pt x="21" y="10"/>
                  </a:lnTo>
                  <a:lnTo>
                    <a:pt x="23" y="10"/>
                  </a:lnTo>
                  <a:lnTo>
                    <a:pt x="26" y="12"/>
                  </a:lnTo>
                  <a:lnTo>
                    <a:pt x="28" y="7"/>
                  </a:lnTo>
                  <a:lnTo>
                    <a:pt x="28" y="7"/>
                  </a:lnTo>
                  <a:lnTo>
                    <a:pt x="30" y="15"/>
                  </a:lnTo>
                  <a:lnTo>
                    <a:pt x="33" y="19"/>
                  </a:lnTo>
                  <a:lnTo>
                    <a:pt x="33" y="24"/>
                  </a:lnTo>
                  <a:lnTo>
                    <a:pt x="37" y="24"/>
                  </a:lnTo>
                  <a:lnTo>
                    <a:pt x="52" y="26"/>
                  </a:lnTo>
                  <a:lnTo>
                    <a:pt x="52" y="24"/>
                  </a:lnTo>
                  <a:lnTo>
                    <a:pt x="56" y="24"/>
                  </a:lnTo>
                  <a:lnTo>
                    <a:pt x="63" y="24"/>
                  </a:lnTo>
                  <a:lnTo>
                    <a:pt x="71" y="26"/>
                  </a:lnTo>
                  <a:lnTo>
                    <a:pt x="78" y="29"/>
                  </a:lnTo>
                  <a:lnTo>
                    <a:pt x="75" y="31"/>
                  </a:lnTo>
                  <a:lnTo>
                    <a:pt x="73" y="31"/>
                  </a:lnTo>
                  <a:lnTo>
                    <a:pt x="71" y="36"/>
                  </a:lnTo>
                  <a:lnTo>
                    <a:pt x="68" y="41"/>
                  </a:lnTo>
                  <a:lnTo>
                    <a:pt x="63" y="43"/>
                  </a:lnTo>
                  <a:lnTo>
                    <a:pt x="61" y="45"/>
                  </a:lnTo>
                  <a:lnTo>
                    <a:pt x="56" y="48"/>
                  </a:lnTo>
                  <a:lnTo>
                    <a:pt x="56" y="50"/>
                  </a:lnTo>
                  <a:lnTo>
                    <a:pt x="56" y="57"/>
                  </a:lnTo>
                  <a:lnTo>
                    <a:pt x="59" y="62"/>
                  </a:lnTo>
                  <a:lnTo>
                    <a:pt x="61" y="62"/>
                  </a:lnTo>
                  <a:lnTo>
                    <a:pt x="63" y="67"/>
                  </a:lnTo>
                  <a:lnTo>
                    <a:pt x="66" y="67"/>
                  </a:lnTo>
                  <a:lnTo>
                    <a:pt x="66" y="64"/>
                  </a:lnTo>
                  <a:lnTo>
                    <a:pt x="68" y="59"/>
                  </a:lnTo>
                  <a:lnTo>
                    <a:pt x="73" y="55"/>
                  </a:lnTo>
                  <a:lnTo>
                    <a:pt x="73" y="55"/>
                  </a:lnTo>
                  <a:lnTo>
                    <a:pt x="75" y="59"/>
                  </a:lnTo>
                  <a:lnTo>
                    <a:pt x="78" y="64"/>
                  </a:lnTo>
                  <a:lnTo>
                    <a:pt x="80" y="67"/>
                  </a:lnTo>
                  <a:lnTo>
                    <a:pt x="80" y="69"/>
                  </a:lnTo>
                  <a:lnTo>
                    <a:pt x="82" y="78"/>
                  </a:lnTo>
                  <a:lnTo>
                    <a:pt x="82" y="88"/>
                  </a:lnTo>
                  <a:lnTo>
                    <a:pt x="82" y="90"/>
                  </a:lnTo>
                  <a:lnTo>
                    <a:pt x="82" y="100"/>
                  </a:lnTo>
                  <a:lnTo>
                    <a:pt x="80" y="97"/>
                  </a:lnTo>
                  <a:lnTo>
                    <a:pt x="78" y="100"/>
                  </a:lnTo>
                  <a:lnTo>
                    <a:pt x="78" y="102"/>
                  </a:lnTo>
                  <a:lnTo>
                    <a:pt x="78" y="10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59" name="Freeform 1136">
              <a:extLst>
                <a:ext uri="{FF2B5EF4-FFF2-40B4-BE49-F238E27FC236}">
                  <a16:creationId xmlns:a16="http://schemas.microsoft.com/office/drawing/2014/main" id="{06F2740C-5B61-4BE6-BB44-05683703EFA8}"/>
                </a:ext>
              </a:extLst>
            </p:cNvPr>
            <p:cNvSpPr>
              <a:spLocks/>
            </p:cNvSpPr>
            <p:nvPr/>
          </p:nvSpPr>
          <p:spPr bwMode="auto">
            <a:xfrm>
              <a:off x="6890989" y="4615857"/>
              <a:ext cx="11582" cy="11582"/>
            </a:xfrm>
            <a:custGeom>
              <a:avLst/>
              <a:gdLst>
                <a:gd name="T0" fmla="*/ 5 w 7"/>
                <a:gd name="T1" fmla="*/ 3 h 7"/>
                <a:gd name="T2" fmla="*/ 7 w 7"/>
                <a:gd name="T3" fmla="*/ 3 h 7"/>
                <a:gd name="T4" fmla="*/ 7 w 7"/>
                <a:gd name="T5" fmla="*/ 5 h 7"/>
                <a:gd name="T6" fmla="*/ 7 w 7"/>
                <a:gd name="T7" fmla="*/ 7 h 7"/>
                <a:gd name="T8" fmla="*/ 5 w 7"/>
                <a:gd name="T9" fmla="*/ 7 h 7"/>
                <a:gd name="T10" fmla="*/ 5 w 7"/>
                <a:gd name="T11" fmla="*/ 5 h 7"/>
                <a:gd name="T12" fmla="*/ 2 w 7"/>
                <a:gd name="T13" fmla="*/ 3 h 7"/>
                <a:gd name="T14" fmla="*/ 2 w 7"/>
                <a:gd name="T15" fmla="*/ 3 h 7"/>
                <a:gd name="T16" fmla="*/ 0 w 7"/>
                <a:gd name="T17" fmla="*/ 3 h 7"/>
                <a:gd name="T18" fmla="*/ 2 w 7"/>
                <a:gd name="T19" fmla="*/ 0 h 7"/>
                <a:gd name="T20" fmla="*/ 2 w 7"/>
                <a:gd name="T21" fmla="*/ 0 h 7"/>
                <a:gd name="T22" fmla="*/ 5 w 7"/>
                <a:gd name="T23" fmla="*/ 0 h 7"/>
                <a:gd name="T24" fmla="*/ 5 w 7"/>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5" y="3"/>
                  </a:moveTo>
                  <a:lnTo>
                    <a:pt x="7" y="3"/>
                  </a:lnTo>
                  <a:lnTo>
                    <a:pt x="7" y="5"/>
                  </a:lnTo>
                  <a:lnTo>
                    <a:pt x="7" y="7"/>
                  </a:lnTo>
                  <a:lnTo>
                    <a:pt x="5" y="7"/>
                  </a:lnTo>
                  <a:lnTo>
                    <a:pt x="5" y="5"/>
                  </a:lnTo>
                  <a:lnTo>
                    <a:pt x="2" y="3"/>
                  </a:lnTo>
                  <a:lnTo>
                    <a:pt x="2" y="3"/>
                  </a:lnTo>
                  <a:lnTo>
                    <a:pt x="0" y="3"/>
                  </a:lnTo>
                  <a:lnTo>
                    <a:pt x="2" y="0"/>
                  </a:lnTo>
                  <a:lnTo>
                    <a:pt x="2" y="0"/>
                  </a:lnTo>
                  <a:lnTo>
                    <a:pt x="5" y="0"/>
                  </a:lnTo>
                  <a:lnTo>
                    <a:pt x="5"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0" name="Freeform 1137">
              <a:extLst>
                <a:ext uri="{FF2B5EF4-FFF2-40B4-BE49-F238E27FC236}">
                  <a16:creationId xmlns:a16="http://schemas.microsoft.com/office/drawing/2014/main" id="{D5B8A6FD-63A1-4A24-A945-8E6344F5992D}"/>
                </a:ext>
              </a:extLst>
            </p:cNvPr>
            <p:cNvSpPr>
              <a:spLocks/>
            </p:cNvSpPr>
            <p:nvPr/>
          </p:nvSpPr>
          <p:spPr bwMode="auto">
            <a:xfrm>
              <a:off x="6890989" y="4615857"/>
              <a:ext cx="11582" cy="11582"/>
            </a:xfrm>
            <a:custGeom>
              <a:avLst/>
              <a:gdLst>
                <a:gd name="T0" fmla="*/ 5 w 7"/>
                <a:gd name="T1" fmla="*/ 3 h 7"/>
                <a:gd name="T2" fmla="*/ 7 w 7"/>
                <a:gd name="T3" fmla="*/ 3 h 7"/>
                <a:gd name="T4" fmla="*/ 7 w 7"/>
                <a:gd name="T5" fmla="*/ 5 h 7"/>
                <a:gd name="T6" fmla="*/ 7 w 7"/>
                <a:gd name="T7" fmla="*/ 7 h 7"/>
                <a:gd name="T8" fmla="*/ 5 w 7"/>
                <a:gd name="T9" fmla="*/ 7 h 7"/>
                <a:gd name="T10" fmla="*/ 5 w 7"/>
                <a:gd name="T11" fmla="*/ 5 h 7"/>
                <a:gd name="T12" fmla="*/ 2 w 7"/>
                <a:gd name="T13" fmla="*/ 3 h 7"/>
                <a:gd name="T14" fmla="*/ 2 w 7"/>
                <a:gd name="T15" fmla="*/ 3 h 7"/>
                <a:gd name="T16" fmla="*/ 0 w 7"/>
                <a:gd name="T17" fmla="*/ 3 h 7"/>
                <a:gd name="T18" fmla="*/ 2 w 7"/>
                <a:gd name="T19" fmla="*/ 0 h 7"/>
                <a:gd name="T20" fmla="*/ 2 w 7"/>
                <a:gd name="T21" fmla="*/ 0 h 7"/>
                <a:gd name="T22" fmla="*/ 5 w 7"/>
                <a:gd name="T23" fmla="*/ 0 h 7"/>
                <a:gd name="T24" fmla="*/ 5 w 7"/>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5" y="3"/>
                  </a:moveTo>
                  <a:lnTo>
                    <a:pt x="7" y="3"/>
                  </a:lnTo>
                  <a:lnTo>
                    <a:pt x="7" y="5"/>
                  </a:lnTo>
                  <a:lnTo>
                    <a:pt x="7" y="7"/>
                  </a:lnTo>
                  <a:lnTo>
                    <a:pt x="5" y="7"/>
                  </a:lnTo>
                  <a:lnTo>
                    <a:pt x="5" y="5"/>
                  </a:lnTo>
                  <a:lnTo>
                    <a:pt x="2" y="3"/>
                  </a:lnTo>
                  <a:lnTo>
                    <a:pt x="2" y="3"/>
                  </a:lnTo>
                  <a:lnTo>
                    <a:pt x="0" y="3"/>
                  </a:lnTo>
                  <a:lnTo>
                    <a:pt x="2" y="0"/>
                  </a:lnTo>
                  <a:lnTo>
                    <a:pt x="2" y="0"/>
                  </a:lnTo>
                  <a:lnTo>
                    <a:pt x="5" y="0"/>
                  </a:lnTo>
                  <a:lnTo>
                    <a:pt x="5"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1" name="Freeform 1138">
              <a:extLst>
                <a:ext uri="{FF2B5EF4-FFF2-40B4-BE49-F238E27FC236}">
                  <a16:creationId xmlns:a16="http://schemas.microsoft.com/office/drawing/2014/main" id="{5DD35053-401A-4FDE-AA39-79B179131FAA}"/>
                </a:ext>
              </a:extLst>
            </p:cNvPr>
            <p:cNvSpPr>
              <a:spLocks/>
            </p:cNvSpPr>
            <p:nvPr/>
          </p:nvSpPr>
          <p:spPr bwMode="auto">
            <a:xfrm>
              <a:off x="6629589" y="4491775"/>
              <a:ext cx="312688" cy="327578"/>
            </a:xfrm>
            <a:custGeom>
              <a:avLst/>
              <a:gdLst>
                <a:gd name="T0" fmla="*/ 2 w 189"/>
                <a:gd name="T1" fmla="*/ 0 h 198"/>
                <a:gd name="T2" fmla="*/ 11 w 189"/>
                <a:gd name="T3" fmla="*/ 0 h 198"/>
                <a:gd name="T4" fmla="*/ 18 w 189"/>
                <a:gd name="T5" fmla="*/ 7 h 198"/>
                <a:gd name="T6" fmla="*/ 33 w 189"/>
                <a:gd name="T7" fmla="*/ 4 h 198"/>
                <a:gd name="T8" fmla="*/ 42 w 189"/>
                <a:gd name="T9" fmla="*/ 7 h 198"/>
                <a:gd name="T10" fmla="*/ 47 w 189"/>
                <a:gd name="T11" fmla="*/ 16 h 198"/>
                <a:gd name="T12" fmla="*/ 54 w 189"/>
                <a:gd name="T13" fmla="*/ 23 h 198"/>
                <a:gd name="T14" fmla="*/ 61 w 189"/>
                <a:gd name="T15" fmla="*/ 33 h 198"/>
                <a:gd name="T16" fmla="*/ 80 w 189"/>
                <a:gd name="T17" fmla="*/ 42 h 198"/>
                <a:gd name="T18" fmla="*/ 87 w 189"/>
                <a:gd name="T19" fmla="*/ 49 h 198"/>
                <a:gd name="T20" fmla="*/ 96 w 189"/>
                <a:gd name="T21" fmla="*/ 61 h 198"/>
                <a:gd name="T22" fmla="*/ 99 w 189"/>
                <a:gd name="T23" fmla="*/ 59 h 198"/>
                <a:gd name="T24" fmla="*/ 108 w 189"/>
                <a:gd name="T25" fmla="*/ 66 h 198"/>
                <a:gd name="T26" fmla="*/ 113 w 189"/>
                <a:gd name="T27" fmla="*/ 68 h 198"/>
                <a:gd name="T28" fmla="*/ 122 w 189"/>
                <a:gd name="T29" fmla="*/ 75 h 198"/>
                <a:gd name="T30" fmla="*/ 125 w 189"/>
                <a:gd name="T31" fmla="*/ 75 h 198"/>
                <a:gd name="T32" fmla="*/ 134 w 189"/>
                <a:gd name="T33" fmla="*/ 78 h 198"/>
                <a:gd name="T34" fmla="*/ 137 w 189"/>
                <a:gd name="T35" fmla="*/ 82 h 198"/>
                <a:gd name="T36" fmla="*/ 134 w 189"/>
                <a:gd name="T37" fmla="*/ 85 h 198"/>
                <a:gd name="T38" fmla="*/ 132 w 189"/>
                <a:gd name="T39" fmla="*/ 92 h 198"/>
                <a:gd name="T40" fmla="*/ 137 w 189"/>
                <a:gd name="T41" fmla="*/ 92 h 198"/>
                <a:gd name="T42" fmla="*/ 144 w 189"/>
                <a:gd name="T43" fmla="*/ 89 h 198"/>
                <a:gd name="T44" fmla="*/ 148 w 189"/>
                <a:gd name="T45" fmla="*/ 97 h 198"/>
                <a:gd name="T46" fmla="*/ 148 w 189"/>
                <a:gd name="T47" fmla="*/ 101 h 198"/>
                <a:gd name="T48" fmla="*/ 144 w 189"/>
                <a:gd name="T49" fmla="*/ 108 h 198"/>
                <a:gd name="T50" fmla="*/ 151 w 189"/>
                <a:gd name="T51" fmla="*/ 115 h 198"/>
                <a:gd name="T52" fmla="*/ 155 w 189"/>
                <a:gd name="T53" fmla="*/ 115 h 198"/>
                <a:gd name="T54" fmla="*/ 163 w 189"/>
                <a:gd name="T55" fmla="*/ 123 h 198"/>
                <a:gd name="T56" fmla="*/ 163 w 189"/>
                <a:gd name="T57" fmla="*/ 130 h 198"/>
                <a:gd name="T58" fmla="*/ 170 w 189"/>
                <a:gd name="T59" fmla="*/ 132 h 198"/>
                <a:gd name="T60" fmla="*/ 172 w 189"/>
                <a:gd name="T61" fmla="*/ 137 h 198"/>
                <a:gd name="T62" fmla="*/ 181 w 189"/>
                <a:gd name="T63" fmla="*/ 139 h 198"/>
                <a:gd name="T64" fmla="*/ 186 w 189"/>
                <a:gd name="T65" fmla="*/ 146 h 198"/>
                <a:gd name="T66" fmla="*/ 189 w 189"/>
                <a:gd name="T67" fmla="*/ 153 h 198"/>
                <a:gd name="T68" fmla="*/ 186 w 189"/>
                <a:gd name="T69" fmla="*/ 163 h 198"/>
                <a:gd name="T70" fmla="*/ 186 w 189"/>
                <a:gd name="T71" fmla="*/ 174 h 198"/>
                <a:gd name="T72" fmla="*/ 184 w 189"/>
                <a:gd name="T73" fmla="*/ 193 h 198"/>
                <a:gd name="T74" fmla="*/ 179 w 189"/>
                <a:gd name="T75" fmla="*/ 193 h 198"/>
                <a:gd name="T76" fmla="*/ 174 w 189"/>
                <a:gd name="T77" fmla="*/ 196 h 198"/>
                <a:gd name="T78" fmla="*/ 165 w 189"/>
                <a:gd name="T79" fmla="*/ 193 h 198"/>
                <a:gd name="T80" fmla="*/ 163 w 189"/>
                <a:gd name="T81" fmla="*/ 196 h 198"/>
                <a:gd name="T82" fmla="*/ 151 w 189"/>
                <a:gd name="T83" fmla="*/ 186 h 198"/>
                <a:gd name="T84" fmla="*/ 144 w 189"/>
                <a:gd name="T85" fmla="*/ 182 h 198"/>
                <a:gd name="T86" fmla="*/ 129 w 189"/>
                <a:gd name="T87" fmla="*/ 170 h 198"/>
                <a:gd name="T88" fmla="*/ 122 w 189"/>
                <a:gd name="T89" fmla="*/ 160 h 198"/>
                <a:gd name="T90" fmla="*/ 115 w 189"/>
                <a:gd name="T91" fmla="*/ 153 h 198"/>
                <a:gd name="T92" fmla="*/ 99 w 189"/>
                <a:gd name="T93" fmla="*/ 134 h 198"/>
                <a:gd name="T94" fmla="*/ 92 w 189"/>
                <a:gd name="T95" fmla="*/ 113 h 198"/>
                <a:gd name="T96" fmla="*/ 85 w 189"/>
                <a:gd name="T97" fmla="*/ 104 h 198"/>
                <a:gd name="T98" fmla="*/ 73 w 189"/>
                <a:gd name="T99" fmla="*/ 92 h 198"/>
                <a:gd name="T100" fmla="*/ 70 w 189"/>
                <a:gd name="T101" fmla="*/ 92 h 198"/>
                <a:gd name="T102" fmla="*/ 66 w 189"/>
                <a:gd name="T103" fmla="*/ 75 h 198"/>
                <a:gd name="T104" fmla="*/ 61 w 189"/>
                <a:gd name="T105" fmla="*/ 63 h 198"/>
                <a:gd name="T106" fmla="*/ 49 w 189"/>
                <a:gd name="T107" fmla="*/ 56 h 198"/>
                <a:gd name="T108" fmla="*/ 40 w 189"/>
                <a:gd name="T109" fmla="*/ 47 h 198"/>
                <a:gd name="T110" fmla="*/ 33 w 189"/>
                <a:gd name="T111" fmla="*/ 37 h 198"/>
                <a:gd name="T112" fmla="*/ 23 w 189"/>
                <a:gd name="T113" fmla="*/ 33 h 198"/>
                <a:gd name="T114" fmla="*/ 16 w 189"/>
                <a:gd name="T115" fmla="*/ 23 h 198"/>
                <a:gd name="T116" fmla="*/ 4 w 189"/>
                <a:gd name="T117" fmla="*/ 12 h 198"/>
                <a:gd name="T118" fmla="*/ 0 w 189"/>
                <a:gd name="T11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9" h="198">
                  <a:moveTo>
                    <a:pt x="0" y="0"/>
                  </a:moveTo>
                  <a:lnTo>
                    <a:pt x="2" y="0"/>
                  </a:lnTo>
                  <a:lnTo>
                    <a:pt x="2" y="0"/>
                  </a:lnTo>
                  <a:lnTo>
                    <a:pt x="7" y="0"/>
                  </a:lnTo>
                  <a:lnTo>
                    <a:pt x="9" y="0"/>
                  </a:lnTo>
                  <a:lnTo>
                    <a:pt x="11" y="0"/>
                  </a:lnTo>
                  <a:lnTo>
                    <a:pt x="14" y="4"/>
                  </a:lnTo>
                  <a:lnTo>
                    <a:pt x="18" y="4"/>
                  </a:lnTo>
                  <a:lnTo>
                    <a:pt x="18" y="7"/>
                  </a:lnTo>
                  <a:lnTo>
                    <a:pt x="23" y="7"/>
                  </a:lnTo>
                  <a:lnTo>
                    <a:pt x="28" y="4"/>
                  </a:lnTo>
                  <a:lnTo>
                    <a:pt x="33" y="4"/>
                  </a:lnTo>
                  <a:lnTo>
                    <a:pt x="35" y="7"/>
                  </a:lnTo>
                  <a:lnTo>
                    <a:pt x="40" y="7"/>
                  </a:lnTo>
                  <a:lnTo>
                    <a:pt x="42" y="7"/>
                  </a:lnTo>
                  <a:lnTo>
                    <a:pt x="47" y="12"/>
                  </a:lnTo>
                  <a:lnTo>
                    <a:pt x="47" y="14"/>
                  </a:lnTo>
                  <a:lnTo>
                    <a:pt x="47" y="16"/>
                  </a:lnTo>
                  <a:lnTo>
                    <a:pt x="49" y="16"/>
                  </a:lnTo>
                  <a:lnTo>
                    <a:pt x="52" y="19"/>
                  </a:lnTo>
                  <a:lnTo>
                    <a:pt x="54" y="23"/>
                  </a:lnTo>
                  <a:lnTo>
                    <a:pt x="54" y="26"/>
                  </a:lnTo>
                  <a:lnTo>
                    <a:pt x="59" y="28"/>
                  </a:lnTo>
                  <a:lnTo>
                    <a:pt x="61" y="33"/>
                  </a:lnTo>
                  <a:lnTo>
                    <a:pt x="73" y="37"/>
                  </a:lnTo>
                  <a:lnTo>
                    <a:pt x="75" y="40"/>
                  </a:lnTo>
                  <a:lnTo>
                    <a:pt x="80" y="42"/>
                  </a:lnTo>
                  <a:lnTo>
                    <a:pt x="82" y="47"/>
                  </a:lnTo>
                  <a:lnTo>
                    <a:pt x="85" y="49"/>
                  </a:lnTo>
                  <a:lnTo>
                    <a:pt x="87" y="49"/>
                  </a:lnTo>
                  <a:lnTo>
                    <a:pt x="89" y="54"/>
                  </a:lnTo>
                  <a:lnTo>
                    <a:pt x="94" y="59"/>
                  </a:lnTo>
                  <a:lnTo>
                    <a:pt x="96" y="61"/>
                  </a:lnTo>
                  <a:lnTo>
                    <a:pt x="99" y="61"/>
                  </a:lnTo>
                  <a:lnTo>
                    <a:pt x="99" y="59"/>
                  </a:lnTo>
                  <a:lnTo>
                    <a:pt x="99" y="59"/>
                  </a:lnTo>
                  <a:lnTo>
                    <a:pt x="101" y="59"/>
                  </a:lnTo>
                  <a:lnTo>
                    <a:pt x="104" y="59"/>
                  </a:lnTo>
                  <a:lnTo>
                    <a:pt x="108" y="66"/>
                  </a:lnTo>
                  <a:lnTo>
                    <a:pt x="111" y="68"/>
                  </a:lnTo>
                  <a:lnTo>
                    <a:pt x="111" y="68"/>
                  </a:lnTo>
                  <a:lnTo>
                    <a:pt x="113" y="68"/>
                  </a:lnTo>
                  <a:lnTo>
                    <a:pt x="118" y="71"/>
                  </a:lnTo>
                  <a:lnTo>
                    <a:pt x="120" y="73"/>
                  </a:lnTo>
                  <a:lnTo>
                    <a:pt x="122" y="75"/>
                  </a:lnTo>
                  <a:lnTo>
                    <a:pt x="122" y="78"/>
                  </a:lnTo>
                  <a:lnTo>
                    <a:pt x="122" y="73"/>
                  </a:lnTo>
                  <a:lnTo>
                    <a:pt x="125" y="75"/>
                  </a:lnTo>
                  <a:lnTo>
                    <a:pt x="125" y="78"/>
                  </a:lnTo>
                  <a:lnTo>
                    <a:pt x="127" y="78"/>
                  </a:lnTo>
                  <a:lnTo>
                    <a:pt x="134" y="78"/>
                  </a:lnTo>
                  <a:lnTo>
                    <a:pt x="137" y="80"/>
                  </a:lnTo>
                  <a:lnTo>
                    <a:pt x="137" y="80"/>
                  </a:lnTo>
                  <a:lnTo>
                    <a:pt x="137" y="82"/>
                  </a:lnTo>
                  <a:lnTo>
                    <a:pt x="137" y="82"/>
                  </a:lnTo>
                  <a:lnTo>
                    <a:pt x="134" y="82"/>
                  </a:lnTo>
                  <a:lnTo>
                    <a:pt x="134" y="85"/>
                  </a:lnTo>
                  <a:lnTo>
                    <a:pt x="137" y="87"/>
                  </a:lnTo>
                  <a:lnTo>
                    <a:pt x="137" y="89"/>
                  </a:lnTo>
                  <a:lnTo>
                    <a:pt x="132" y="92"/>
                  </a:lnTo>
                  <a:lnTo>
                    <a:pt x="132" y="92"/>
                  </a:lnTo>
                  <a:lnTo>
                    <a:pt x="132" y="92"/>
                  </a:lnTo>
                  <a:lnTo>
                    <a:pt x="137" y="92"/>
                  </a:lnTo>
                  <a:lnTo>
                    <a:pt x="139" y="89"/>
                  </a:lnTo>
                  <a:lnTo>
                    <a:pt x="144" y="87"/>
                  </a:lnTo>
                  <a:lnTo>
                    <a:pt x="144" y="89"/>
                  </a:lnTo>
                  <a:lnTo>
                    <a:pt x="146" y="92"/>
                  </a:lnTo>
                  <a:lnTo>
                    <a:pt x="148" y="94"/>
                  </a:lnTo>
                  <a:lnTo>
                    <a:pt x="148" y="97"/>
                  </a:lnTo>
                  <a:lnTo>
                    <a:pt x="144" y="99"/>
                  </a:lnTo>
                  <a:lnTo>
                    <a:pt x="146" y="101"/>
                  </a:lnTo>
                  <a:lnTo>
                    <a:pt x="148" y="101"/>
                  </a:lnTo>
                  <a:lnTo>
                    <a:pt x="146" y="104"/>
                  </a:lnTo>
                  <a:lnTo>
                    <a:pt x="144" y="106"/>
                  </a:lnTo>
                  <a:lnTo>
                    <a:pt x="144" y="108"/>
                  </a:lnTo>
                  <a:lnTo>
                    <a:pt x="144" y="111"/>
                  </a:lnTo>
                  <a:lnTo>
                    <a:pt x="148" y="113"/>
                  </a:lnTo>
                  <a:lnTo>
                    <a:pt x="151" y="115"/>
                  </a:lnTo>
                  <a:lnTo>
                    <a:pt x="153" y="113"/>
                  </a:lnTo>
                  <a:lnTo>
                    <a:pt x="155" y="115"/>
                  </a:lnTo>
                  <a:lnTo>
                    <a:pt x="155" y="115"/>
                  </a:lnTo>
                  <a:lnTo>
                    <a:pt x="160" y="115"/>
                  </a:lnTo>
                  <a:lnTo>
                    <a:pt x="160" y="118"/>
                  </a:lnTo>
                  <a:lnTo>
                    <a:pt x="163" y="123"/>
                  </a:lnTo>
                  <a:lnTo>
                    <a:pt x="163" y="125"/>
                  </a:lnTo>
                  <a:lnTo>
                    <a:pt x="163" y="127"/>
                  </a:lnTo>
                  <a:lnTo>
                    <a:pt x="163" y="130"/>
                  </a:lnTo>
                  <a:lnTo>
                    <a:pt x="165" y="130"/>
                  </a:lnTo>
                  <a:lnTo>
                    <a:pt x="167" y="132"/>
                  </a:lnTo>
                  <a:lnTo>
                    <a:pt x="170" y="132"/>
                  </a:lnTo>
                  <a:lnTo>
                    <a:pt x="167" y="137"/>
                  </a:lnTo>
                  <a:lnTo>
                    <a:pt x="170" y="137"/>
                  </a:lnTo>
                  <a:lnTo>
                    <a:pt x="172" y="137"/>
                  </a:lnTo>
                  <a:lnTo>
                    <a:pt x="174" y="137"/>
                  </a:lnTo>
                  <a:lnTo>
                    <a:pt x="179" y="139"/>
                  </a:lnTo>
                  <a:lnTo>
                    <a:pt x="181" y="139"/>
                  </a:lnTo>
                  <a:lnTo>
                    <a:pt x="181" y="141"/>
                  </a:lnTo>
                  <a:lnTo>
                    <a:pt x="184" y="144"/>
                  </a:lnTo>
                  <a:lnTo>
                    <a:pt x="186" y="146"/>
                  </a:lnTo>
                  <a:lnTo>
                    <a:pt x="189" y="148"/>
                  </a:lnTo>
                  <a:lnTo>
                    <a:pt x="189" y="151"/>
                  </a:lnTo>
                  <a:lnTo>
                    <a:pt x="189" y="153"/>
                  </a:lnTo>
                  <a:lnTo>
                    <a:pt x="186" y="158"/>
                  </a:lnTo>
                  <a:lnTo>
                    <a:pt x="186" y="163"/>
                  </a:lnTo>
                  <a:lnTo>
                    <a:pt x="186" y="163"/>
                  </a:lnTo>
                  <a:lnTo>
                    <a:pt x="186" y="165"/>
                  </a:lnTo>
                  <a:lnTo>
                    <a:pt x="186" y="167"/>
                  </a:lnTo>
                  <a:lnTo>
                    <a:pt x="186" y="174"/>
                  </a:lnTo>
                  <a:lnTo>
                    <a:pt x="186" y="177"/>
                  </a:lnTo>
                  <a:lnTo>
                    <a:pt x="186" y="189"/>
                  </a:lnTo>
                  <a:lnTo>
                    <a:pt x="184" y="193"/>
                  </a:lnTo>
                  <a:lnTo>
                    <a:pt x="184" y="198"/>
                  </a:lnTo>
                  <a:lnTo>
                    <a:pt x="181" y="198"/>
                  </a:lnTo>
                  <a:lnTo>
                    <a:pt x="179" y="193"/>
                  </a:lnTo>
                  <a:lnTo>
                    <a:pt x="177" y="193"/>
                  </a:lnTo>
                  <a:lnTo>
                    <a:pt x="174" y="193"/>
                  </a:lnTo>
                  <a:lnTo>
                    <a:pt x="174" y="196"/>
                  </a:lnTo>
                  <a:lnTo>
                    <a:pt x="172" y="196"/>
                  </a:lnTo>
                  <a:lnTo>
                    <a:pt x="167" y="193"/>
                  </a:lnTo>
                  <a:lnTo>
                    <a:pt x="165" y="193"/>
                  </a:lnTo>
                  <a:lnTo>
                    <a:pt x="167" y="198"/>
                  </a:lnTo>
                  <a:lnTo>
                    <a:pt x="165" y="198"/>
                  </a:lnTo>
                  <a:lnTo>
                    <a:pt x="163" y="196"/>
                  </a:lnTo>
                  <a:lnTo>
                    <a:pt x="160" y="193"/>
                  </a:lnTo>
                  <a:lnTo>
                    <a:pt x="153" y="189"/>
                  </a:lnTo>
                  <a:lnTo>
                    <a:pt x="151" y="186"/>
                  </a:lnTo>
                  <a:lnTo>
                    <a:pt x="148" y="184"/>
                  </a:lnTo>
                  <a:lnTo>
                    <a:pt x="146" y="182"/>
                  </a:lnTo>
                  <a:lnTo>
                    <a:pt x="144" y="182"/>
                  </a:lnTo>
                  <a:lnTo>
                    <a:pt x="139" y="174"/>
                  </a:lnTo>
                  <a:lnTo>
                    <a:pt x="134" y="172"/>
                  </a:lnTo>
                  <a:lnTo>
                    <a:pt x="129" y="170"/>
                  </a:lnTo>
                  <a:lnTo>
                    <a:pt x="127" y="167"/>
                  </a:lnTo>
                  <a:lnTo>
                    <a:pt x="125" y="165"/>
                  </a:lnTo>
                  <a:lnTo>
                    <a:pt x="122" y="160"/>
                  </a:lnTo>
                  <a:lnTo>
                    <a:pt x="122" y="158"/>
                  </a:lnTo>
                  <a:lnTo>
                    <a:pt x="118" y="156"/>
                  </a:lnTo>
                  <a:lnTo>
                    <a:pt x="115" y="153"/>
                  </a:lnTo>
                  <a:lnTo>
                    <a:pt x="108" y="144"/>
                  </a:lnTo>
                  <a:lnTo>
                    <a:pt x="101" y="137"/>
                  </a:lnTo>
                  <a:lnTo>
                    <a:pt x="99" y="134"/>
                  </a:lnTo>
                  <a:lnTo>
                    <a:pt x="99" y="130"/>
                  </a:lnTo>
                  <a:lnTo>
                    <a:pt x="92" y="115"/>
                  </a:lnTo>
                  <a:lnTo>
                    <a:pt x="92" y="113"/>
                  </a:lnTo>
                  <a:lnTo>
                    <a:pt x="87" y="108"/>
                  </a:lnTo>
                  <a:lnTo>
                    <a:pt x="87" y="106"/>
                  </a:lnTo>
                  <a:lnTo>
                    <a:pt x="85" y="104"/>
                  </a:lnTo>
                  <a:lnTo>
                    <a:pt x="82" y="101"/>
                  </a:lnTo>
                  <a:lnTo>
                    <a:pt x="80" y="97"/>
                  </a:lnTo>
                  <a:lnTo>
                    <a:pt x="73" y="92"/>
                  </a:lnTo>
                  <a:lnTo>
                    <a:pt x="70" y="92"/>
                  </a:lnTo>
                  <a:lnTo>
                    <a:pt x="70" y="92"/>
                  </a:lnTo>
                  <a:lnTo>
                    <a:pt x="70" y="92"/>
                  </a:lnTo>
                  <a:lnTo>
                    <a:pt x="68" y="85"/>
                  </a:lnTo>
                  <a:lnTo>
                    <a:pt x="66" y="78"/>
                  </a:lnTo>
                  <a:lnTo>
                    <a:pt x="66" y="75"/>
                  </a:lnTo>
                  <a:lnTo>
                    <a:pt x="63" y="71"/>
                  </a:lnTo>
                  <a:lnTo>
                    <a:pt x="63" y="68"/>
                  </a:lnTo>
                  <a:lnTo>
                    <a:pt x="61" y="63"/>
                  </a:lnTo>
                  <a:lnTo>
                    <a:pt x="56" y="61"/>
                  </a:lnTo>
                  <a:lnTo>
                    <a:pt x="52" y="59"/>
                  </a:lnTo>
                  <a:lnTo>
                    <a:pt x="49" y="56"/>
                  </a:lnTo>
                  <a:lnTo>
                    <a:pt x="44" y="56"/>
                  </a:lnTo>
                  <a:lnTo>
                    <a:pt x="42" y="47"/>
                  </a:lnTo>
                  <a:lnTo>
                    <a:pt x="40" y="47"/>
                  </a:lnTo>
                  <a:lnTo>
                    <a:pt x="37" y="45"/>
                  </a:lnTo>
                  <a:lnTo>
                    <a:pt x="37" y="42"/>
                  </a:lnTo>
                  <a:lnTo>
                    <a:pt x="33" y="37"/>
                  </a:lnTo>
                  <a:lnTo>
                    <a:pt x="30" y="33"/>
                  </a:lnTo>
                  <a:lnTo>
                    <a:pt x="28" y="33"/>
                  </a:lnTo>
                  <a:lnTo>
                    <a:pt x="23" y="33"/>
                  </a:lnTo>
                  <a:lnTo>
                    <a:pt x="21" y="28"/>
                  </a:lnTo>
                  <a:lnTo>
                    <a:pt x="18" y="26"/>
                  </a:lnTo>
                  <a:lnTo>
                    <a:pt x="16" y="23"/>
                  </a:lnTo>
                  <a:lnTo>
                    <a:pt x="14" y="21"/>
                  </a:lnTo>
                  <a:lnTo>
                    <a:pt x="7" y="14"/>
                  </a:lnTo>
                  <a:lnTo>
                    <a:pt x="4" y="12"/>
                  </a:lnTo>
                  <a:lnTo>
                    <a:pt x="2" y="7"/>
                  </a:lnTo>
                  <a:lnTo>
                    <a:pt x="2"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2" name="Freeform 1139">
              <a:extLst>
                <a:ext uri="{FF2B5EF4-FFF2-40B4-BE49-F238E27FC236}">
                  <a16:creationId xmlns:a16="http://schemas.microsoft.com/office/drawing/2014/main" id="{BEE5CEC5-F805-45F4-BCC9-A6DFB92204F5}"/>
                </a:ext>
              </a:extLst>
            </p:cNvPr>
            <p:cNvSpPr>
              <a:spLocks/>
            </p:cNvSpPr>
            <p:nvPr/>
          </p:nvSpPr>
          <p:spPr bwMode="auto">
            <a:xfrm>
              <a:off x="6629589" y="4491775"/>
              <a:ext cx="312688" cy="327578"/>
            </a:xfrm>
            <a:custGeom>
              <a:avLst/>
              <a:gdLst>
                <a:gd name="T0" fmla="*/ 2 w 189"/>
                <a:gd name="T1" fmla="*/ 0 h 198"/>
                <a:gd name="T2" fmla="*/ 11 w 189"/>
                <a:gd name="T3" fmla="*/ 0 h 198"/>
                <a:gd name="T4" fmla="*/ 18 w 189"/>
                <a:gd name="T5" fmla="*/ 7 h 198"/>
                <a:gd name="T6" fmla="*/ 33 w 189"/>
                <a:gd name="T7" fmla="*/ 4 h 198"/>
                <a:gd name="T8" fmla="*/ 42 w 189"/>
                <a:gd name="T9" fmla="*/ 7 h 198"/>
                <a:gd name="T10" fmla="*/ 47 w 189"/>
                <a:gd name="T11" fmla="*/ 16 h 198"/>
                <a:gd name="T12" fmla="*/ 54 w 189"/>
                <a:gd name="T13" fmla="*/ 23 h 198"/>
                <a:gd name="T14" fmla="*/ 61 w 189"/>
                <a:gd name="T15" fmla="*/ 33 h 198"/>
                <a:gd name="T16" fmla="*/ 80 w 189"/>
                <a:gd name="T17" fmla="*/ 42 h 198"/>
                <a:gd name="T18" fmla="*/ 87 w 189"/>
                <a:gd name="T19" fmla="*/ 49 h 198"/>
                <a:gd name="T20" fmla="*/ 96 w 189"/>
                <a:gd name="T21" fmla="*/ 61 h 198"/>
                <a:gd name="T22" fmla="*/ 99 w 189"/>
                <a:gd name="T23" fmla="*/ 59 h 198"/>
                <a:gd name="T24" fmla="*/ 108 w 189"/>
                <a:gd name="T25" fmla="*/ 66 h 198"/>
                <a:gd name="T26" fmla="*/ 113 w 189"/>
                <a:gd name="T27" fmla="*/ 68 h 198"/>
                <a:gd name="T28" fmla="*/ 122 w 189"/>
                <a:gd name="T29" fmla="*/ 75 h 198"/>
                <a:gd name="T30" fmla="*/ 125 w 189"/>
                <a:gd name="T31" fmla="*/ 75 h 198"/>
                <a:gd name="T32" fmla="*/ 134 w 189"/>
                <a:gd name="T33" fmla="*/ 78 h 198"/>
                <a:gd name="T34" fmla="*/ 137 w 189"/>
                <a:gd name="T35" fmla="*/ 82 h 198"/>
                <a:gd name="T36" fmla="*/ 134 w 189"/>
                <a:gd name="T37" fmla="*/ 85 h 198"/>
                <a:gd name="T38" fmla="*/ 132 w 189"/>
                <a:gd name="T39" fmla="*/ 92 h 198"/>
                <a:gd name="T40" fmla="*/ 137 w 189"/>
                <a:gd name="T41" fmla="*/ 92 h 198"/>
                <a:gd name="T42" fmla="*/ 144 w 189"/>
                <a:gd name="T43" fmla="*/ 89 h 198"/>
                <a:gd name="T44" fmla="*/ 148 w 189"/>
                <a:gd name="T45" fmla="*/ 97 h 198"/>
                <a:gd name="T46" fmla="*/ 148 w 189"/>
                <a:gd name="T47" fmla="*/ 101 h 198"/>
                <a:gd name="T48" fmla="*/ 144 w 189"/>
                <a:gd name="T49" fmla="*/ 108 h 198"/>
                <a:gd name="T50" fmla="*/ 151 w 189"/>
                <a:gd name="T51" fmla="*/ 115 h 198"/>
                <a:gd name="T52" fmla="*/ 155 w 189"/>
                <a:gd name="T53" fmla="*/ 115 h 198"/>
                <a:gd name="T54" fmla="*/ 163 w 189"/>
                <a:gd name="T55" fmla="*/ 123 h 198"/>
                <a:gd name="T56" fmla="*/ 163 w 189"/>
                <a:gd name="T57" fmla="*/ 130 h 198"/>
                <a:gd name="T58" fmla="*/ 170 w 189"/>
                <a:gd name="T59" fmla="*/ 132 h 198"/>
                <a:gd name="T60" fmla="*/ 172 w 189"/>
                <a:gd name="T61" fmla="*/ 137 h 198"/>
                <a:gd name="T62" fmla="*/ 181 w 189"/>
                <a:gd name="T63" fmla="*/ 139 h 198"/>
                <a:gd name="T64" fmla="*/ 186 w 189"/>
                <a:gd name="T65" fmla="*/ 146 h 198"/>
                <a:gd name="T66" fmla="*/ 189 w 189"/>
                <a:gd name="T67" fmla="*/ 153 h 198"/>
                <a:gd name="T68" fmla="*/ 186 w 189"/>
                <a:gd name="T69" fmla="*/ 163 h 198"/>
                <a:gd name="T70" fmla="*/ 186 w 189"/>
                <a:gd name="T71" fmla="*/ 174 h 198"/>
                <a:gd name="T72" fmla="*/ 184 w 189"/>
                <a:gd name="T73" fmla="*/ 193 h 198"/>
                <a:gd name="T74" fmla="*/ 179 w 189"/>
                <a:gd name="T75" fmla="*/ 193 h 198"/>
                <a:gd name="T76" fmla="*/ 174 w 189"/>
                <a:gd name="T77" fmla="*/ 196 h 198"/>
                <a:gd name="T78" fmla="*/ 165 w 189"/>
                <a:gd name="T79" fmla="*/ 193 h 198"/>
                <a:gd name="T80" fmla="*/ 163 w 189"/>
                <a:gd name="T81" fmla="*/ 196 h 198"/>
                <a:gd name="T82" fmla="*/ 151 w 189"/>
                <a:gd name="T83" fmla="*/ 186 h 198"/>
                <a:gd name="T84" fmla="*/ 144 w 189"/>
                <a:gd name="T85" fmla="*/ 182 h 198"/>
                <a:gd name="T86" fmla="*/ 129 w 189"/>
                <a:gd name="T87" fmla="*/ 170 h 198"/>
                <a:gd name="T88" fmla="*/ 122 w 189"/>
                <a:gd name="T89" fmla="*/ 160 h 198"/>
                <a:gd name="T90" fmla="*/ 115 w 189"/>
                <a:gd name="T91" fmla="*/ 153 h 198"/>
                <a:gd name="T92" fmla="*/ 99 w 189"/>
                <a:gd name="T93" fmla="*/ 134 h 198"/>
                <a:gd name="T94" fmla="*/ 92 w 189"/>
                <a:gd name="T95" fmla="*/ 113 h 198"/>
                <a:gd name="T96" fmla="*/ 85 w 189"/>
                <a:gd name="T97" fmla="*/ 104 h 198"/>
                <a:gd name="T98" fmla="*/ 73 w 189"/>
                <a:gd name="T99" fmla="*/ 92 h 198"/>
                <a:gd name="T100" fmla="*/ 70 w 189"/>
                <a:gd name="T101" fmla="*/ 92 h 198"/>
                <a:gd name="T102" fmla="*/ 66 w 189"/>
                <a:gd name="T103" fmla="*/ 75 h 198"/>
                <a:gd name="T104" fmla="*/ 61 w 189"/>
                <a:gd name="T105" fmla="*/ 63 h 198"/>
                <a:gd name="T106" fmla="*/ 49 w 189"/>
                <a:gd name="T107" fmla="*/ 56 h 198"/>
                <a:gd name="T108" fmla="*/ 40 w 189"/>
                <a:gd name="T109" fmla="*/ 47 h 198"/>
                <a:gd name="T110" fmla="*/ 33 w 189"/>
                <a:gd name="T111" fmla="*/ 37 h 198"/>
                <a:gd name="T112" fmla="*/ 23 w 189"/>
                <a:gd name="T113" fmla="*/ 33 h 198"/>
                <a:gd name="T114" fmla="*/ 16 w 189"/>
                <a:gd name="T115" fmla="*/ 23 h 198"/>
                <a:gd name="T116" fmla="*/ 4 w 189"/>
                <a:gd name="T117" fmla="*/ 12 h 198"/>
                <a:gd name="T118" fmla="*/ 0 w 189"/>
                <a:gd name="T11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9" h="198">
                  <a:moveTo>
                    <a:pt x="0" y="0"/>
                  </a:moveTo>
                  <a:lnTo>
                    <a:pt x="2" y="0"/>
                  </a:lnTo>
                  <a:lnTo>
                    <a:pt x="2" y="0"/>
                  </a:lnTo>
                  <a:lnTo>
                    <a:pt x="7" y="0"/>
                  </a:lnTo>
                  <a:lnTo>
                    <a:pt x="9" y="0"/>
                  </a:lnTo>
                  <a:lnTo>
                    <a:pt x="11" y="0"/>
                  </a:lnTo>
                  <a:lnTo>
                    <a:pt x="14" y="4"/>
                  </a:lnTo>
                  <a:lnTo>
                    <a:pt x="18" y="4"/>
                  </a:lnTo>
                  <a:lnTo>
                    <a:pt x="18" y="7"/>
                  </a:lnTo>
                  <a:lnTo>
                    <a:pt x="23" y="7"/>
                  </a:lnTo>
                  <a:lnTo>
                    <a:pt x="28" y="4"/>
                  </a:lnTo>
                  <a:lnTo>
                    <a:pt x="33" y="4"/>
                  </a:lnTo>
                  <a:lnTo>
                    <a:pt x="35" y="7"/>
                  </a:lnTo>
                  <a:lnTo>
                    <a:pt x="40" y="7"/>
                  </a:lnTo>
                  <a:lnTo>
                    <a:pt x="42" y="7"/>
                  </a:lnTo>
                  <a:lnTo>
                    <a:pt x="47" y="12"/>
                  </a:lnTo>
                  <a:lnTo>
                    <a:pt x="47" y="14"/>
                  </a:lnTo>
                  <a:lnTo>
                    <a:pt x="47" y="16"/>
                  </a:lnTo>
                  <a:lnTo>
                    <a:pt x="49" y="16"/>
                  </a:lnTo>
                  <a:lnTo>
                    <a:pt x="52" y="19"/>
                  </a:lnTo>
                  <a:lnTo>
                    <a:pt x="54" y="23"/>
                  </a:lnTo>
                  <a:lnTo>
                    <a:pt x="54" y="26"/>
                  </a:lnTo>
                  <a:lnTo>
                    <a:pt x="59" y="28"/>
                  </a:lnTo>
                  <a:lnTo>
                    <a:pt x="61" y="33"/>
                  </a:lnTo>
                  <a:lnTo>
                    <a:pt x="73" y="37"/>
                  </a:lnTo>
                  <a:lnTo>
                    <a:pt x="75" y="40"/>
                  </a:lnTo>
                  <a:lnTo>
                    <a:pt x="80" y="42"/>
                  </a:lnTo>
                  <a:lnTo>
                    <a:pt x="82" y="47"/>
                  </a:lnTo>
                  <a:lnTo>
                    <a:pt x="85" y="49"/>
                  </a:lnTo>
                  <a:lnTo>
                    <a:pt x="87" y="49"/>
                  </a:lnTo>
                  <a:lnTo>
                    <a:pt x="89" y="54"/>
                  </a:lnTo>
                  <a:lnTo>
                    <a:pt x="94" y="59"/>
                  </a:lnTo>
                  <a:lnTo>
                    <a:pt x="96" y="61"/>
                  </a:lnTo>
                  <a:lnTo>
                    <a:pt x="99" y="61"/>
                  </a:lnTo>
                  <a:lnTo>
                    <a:pt x="99" y="59"/>
                  </a:lnTo>
                  <a:lnTo>
                    <a:pt x="99" y="59"/>
                  </a:lnTo>
                  <a:lnTo>
                    <a:pt x="101" y="59"/>
                  </a:lnTo>
                  <a:lnTo>
                    <a:pt x="104" y="59"/>
                  </a:lnTo>
                  <a:lnTo>
                    <a:pt x="108" y="66"/>
                  </a:lnTo>
                  <a:lnTo>
                    <a:pt x="111" y="68"/>
                  </a:lnTo>
                  <a:lnTo>
                    <a:pt x="111" y="68"/>
                  </a:lnTo>
                  <a:lnTo>
                    <a:pt x="113" y="68"/>
                  </a:lnTo>
                  <a:lnTo>
                    <a:pt x="118" y="71"/>
                  </a:lnTo>
                  <a:lnTo>
                    <a:pt x="120" y="73"/>
                  </a:lnTo>
                  <a:lnTo>
                    <a:pt x="122" y="75"/>
                  </a:lnTo>
                  <a:lnTo>
                    <a:pt x="122" y="78"/>
                  </a:lnTo>
                  <a:lnTo>
                    <a:pt x="122" y="73"/>
                  </a:lnTo>
                  <a:lnTo>
                    <a:pt x="125" y="75"/>
                  </a:lnTo>
                  <a:lnTo>
                    <a:pt x="125" y="78"/>
                  </a:lnTo>
                  <a:lnTo>
                    <a:pt x="127" y="78"/>
                  </a:lnTo>
                  <a:lnTo>
                    <a:pt x="134" y="78"/>
                  </a:lnTo>
                  <a:lnTo>
                    <a:pt x="137" y="80"/>
                  </a:lnTo>
                  <a:lnTo>
                    <a:pt x="137" y="80"/>
                  </a:lnTo>
                  <a:lnTo>
                    <a:pt x="137" y="82"/>
                  </a:lnTo>
                  <a:lnTo>
                    <a:pt x="137" y="82"/>
                  </a:lnTo>
                  <a:lnTo>
                    <a:pt x="134" y="82"/>
                  </a:lnTo>
                  <a:lnTo>
                    <a:pt x="134" y="85"/>
                  </a:lnTo>
                  <a:lnTo>
                    <a:pt x="137" y="87"/>
                  </a:lnTo>
                  <a:lnTo>
                    <a:pt x="137" y="89"/>
                  </a:lnTo>
                  <a:lnTo>
                    <a:pt x="132" y="92"/>
                  </a:lnTo>
                  <a:lnTo>
                    <a:pt x="132" y="92"/>
                  </a:lnTo>
                  <a:lnTo>
                    <a:pt x="132" y="92"/>
                  </a:lnTo>
                  <a:lnTo>
                    <a:pt x="137" y="92"/>
                  </a:lnTo>
                  <a:lnTo>
                    <a:pt x="139" y="89"/>
                  </a:lnTo>
                  <a:lnTo>
                    <a:pt x="144" y="87"/>
                  </a:lnTo>
                  <a:lnTo>
                    <a:pt x="144" y="89"/>
                  </a:lnTo>
                  <a:lnTo>
                    <a:pt x="146" y="92"/>
                  </a:lnTo>
                  <a:lnTo>
                    <a:pt x="148" y="94"/>
                  </a:lnTo>
                  <a:lnTo>
                    <a:pt x="148" y="97"/>
                  </a:lnTo>
                  <a:lnTo>
                    <a:pt x="144" y="99"/>
                  </a:lnTo>
                  <a:lnTo>
                    <a:pt x="146" y="101"/>
                  </a:lnTo>
                  <a:lnTo>
                    <a:pt x="148" y="101"/>
                  </a:lnTo>
                  <a:lnTo>
                    <a:pt x="146" y="104"/>
                  </a:lnTo>
                  <a:lnTo>
                    <a:pt x="144" y="106"/>
                  </a:lnTo>
                  <a:lnTo>
                    <a:pt x="144" y="108"/>
                  </a:lnTo>
                  <a:lnTo>
                    <a:pt x="144" y="111"/>
                  </a:lnTo>
                  <a:lnTo>
                    <a:pt x="148" y="113"/>
                  </a:lnTo>
                  <a:lnTo>
                    <a:pt x="151" y="115"/>
                  </a:lnTo>
                  <a:lnTo>
                    <a:pt x="153" y="113"/>
                  </a:lnTo>
                  <a:lnTo>
                    <a:pt x="155" y="115"/>
                  </a:lnTo>
                  <a:lnTo>
                    <a:pt x="155" y="115"/>
                  </a:lnTo>
                  <a:lnTo>
                    <a:pt x="160" y="115"/>
                  </a:lnTo>
                  <a:lnTo>
                    <a:pt x="160" y="118"/>
                  </a:lnTo>
                  <a:lnTo>
                    <a:pt x="163" y="123"/>
                  </a:lnTo>
                  <a:lnTo>
                    <a:pt x="163" y="125"/>
                  </a:lnTo>
                  <a:lnTo>
                    <a:pt x="163" y="127"/>
                  </a:lnTo>
                  <a:lnTo>
                    <a:pt x="163" y="130"/>
                  </a:lnTo>
                  <a:lnTo>
                    <a:pt x="165" y="130"/>
                  </a:lnTo>
                  <a:lnTo>
                    <a:pt x="167" y="132"/>
                  </a:lnTo>
                  <a:lnTo>
                    <a:pt x="170" y="132"/>
                  </a:lnTo>
                  <a:lnTo>
                    <a:pt x="167" y="137"/>
                  </a:lnTo>
                  <a:lnTo>
                    <a:pt x="170" y="137"/>
                  </a:lnTo>
                  <a:lnTo>
                    <a:pt x="172" y="137"/>
                  </a:lnTo>
                  <a:lnTo>
                    <a:pt x="174" y="137"/>
                  </a:lnTo>
                  <a:lnTo>
                    <a:pt x="179" y="139"/>
                  </a:lnTo>
                  <a:lnTo>
                    <a:pt x="181" y="139"/>
                  </a:lnTo>
                  <a:lnTo>
                    <a:pt x="181" y="141"/>
                  </a:lnTo>
                  <a:lnTo>
                    <a:pt x="184" y="144"/>
                  </a:lnTo>
                  <a:lnTo>
                    <a:pt x="186" y="146"/>
                  </a:lnTo>
                  <a:lnTo>
                    <a:pt x="189" y="148"/>
                  </a:lnTo>
                  <a:lnTo>
                    <a:pt x="189" y="151"/>
                  </a:lnTo>
                  <a:lnTo>
                    <a:pt x="189" y="153"/>
                  </a:lnTo>
                  <a:lnTo>
                    <a:pt x="186" y="158"/>
                  </a:lnTo>
                  <a:lnTo>
                    <a:pt x="186" y="163"/>
                  </a:lnTo>
                  <a:lnTo>
                    <a:pt x="186" y="163"/>
                  </a:lnTo>
                  <a:lnTo>
                    <a:pt x="186" y="165"/>
                  </a:lnTo>
                  <a:lnTo>
                    <a:pt x="186" y="167"/>
                  </a:lnTo>
                  <a:lnTo>
                    <a:pt x="186" y="174"/>
                  </a:lnTo>
                  <a:lnTo>
                    <a:pt x="186" y="177"/>
                  </a:lnTo>
                  <a:lnTo>
                    <a:pt x="186" y="189"/>
                  </a:lnTo>
                  <a:lnTo>
                    <a:pt x="184" y="193"/>
                  </a:lnTo>
                  <a:lnTo>
                    <a:pt x="184" y="198"/>
                  </a:lnTo>
                  <a:lnTo>
                    <a:pt x="181" y="198"/>
                  </a:lnTo>
                  <a:lnTo>
                    <a:pt x="179" y="193"/>
                  </a:lnTo>
                  <a:lnTo>
                    <a:pt x="177" y="193"/>
                  </a:lnTo>
                  <a:lnTo>
                    <a:pt x="174" y="193"/>
                  </a:lnTo>
                  <a:lnTo>
                    <a:pt x="174" y="196"/>
                  </a:lnTo>
                  <a:lnTo>
                    <a:pt x="172" y="196"/>
                  </a:lnTo>
                  <a:lnTo>
                    <a:pt x="167" y="193"/>
                  </a:lnTo>
                  <a:lnTo>
                    <a:pt x="165" y="193"/>
                  </a:lnTo>
                  <a:lnTo>
                    <a:pt x="167" y="198"/>
                  </a:lnTo>
                  <a:lnTo>
                    <a:pt x="165" y="198"/>
                  </a:lnTo>
                  <a:lnTo>
                    <a:pt x="163" y="196"/>
                  </a:lnTo>
                  <a:lnTo>
                    <a:pt x="160" y="193"/>
                  </a:lnTo>
                  <a:lnTo>
                    <a:pt x="153" y="189"/>
                  </a:lnTo>
                  <a:lnTo>
                    <a:pt x="151" y="186"/>
                  </a:lnTo>
                  <a:lnTo>
                    <a:pt x="148" y="184"/>
                  </a:lnTo>
                  <a:lnTo>
                    <a:pt x="146" y="182"/>
                  </a:lnTo>
                  <a:lnTo>
                    <a:pt x="144" y="182"/>
                  </a:lnTo>
                  <a:lnTo>
                    <a:pt x="139" y="174"/>
                  </a:lnTo>
                  <a:lnTo>
                    <a:pt x="134" y="172"/>
                  </a:lnTo>
                  <a:lnTo>
                    <a:pt x="129" y="170"/>
                  </a:lnTo>
                  <a:lnTo>
                    <a:pt x="127" y="167"/>
                  </a:lnTo>
                  <a:lnTo>
                    <a:pt x="125" y="165"/>
                  </a:lnTo>
                  <a:lnTo>
                    <a:pt x="122" y="160"/>
                  </a:lnTo>
                  <a:lnTo>
                    <a:pt x="122" y="158"/>
                  </a:lnTo>
                  <a:lnTo>
                    <a:pt x="118" y="156"/>
                  </a:lnTo>
                  <a:lnTo>
                    <a:pt x="115" y="153"/>
                  </a:lnTo>
                  <a:lnTo>
                    <a:pt x="108" y="144"/>
                  </a:lnTo>
                  <a:lnTo>
                    <a:pt x="101" y="137"/>
                  </a:lnTo>
                  <a:lnTo>
                    <a:pt x="99" y="134"/>
                  </a:lnTo>
                  <a:lnTo>
                    <a:pt x="99" y="130"/>
                  </a:lnTo>
                  <a:lnTo>
                    <a:pt x="92" y="115"/>
                  </a:lnTo>
                  <a:lnTo>
                    <a:pt x="92" y="113"/>
                  </a:lnTo>
                  <a:lnTo>
                    <a:pt x="87" y="108"/>
                  </a:lnTo>
                  <a:lnTo>
                    <a:pt x="87" y="106"/>
                  </a:lnTo>
                  <a:lnTo>
                    <a:pt x="85" y="104"/>
                  </a:lnTo>
                  <a:lnTo>
                    <a:pt x="82" y="101"/>
                  </a:lnTo>
                  <a:lnTo>
                    <a:pt x="80" y="97"/>
                  </a:lnTo>
                  <a:lnTo>
                    <a:pt x="73" y="92"/>
                  </a:lnTo>
                  <a:lnTo>
                    <a:pt x="70" y="92"/>
                  </a:lnTo>
                  <a:lnTo>
                    <a:pt x="70" y="92"/>
                  </a:lnTo>
                  <a:lnTo>
                    <a:pt x="70" y="92"/>
                  </a:lnTo>
                  <a:lnTo>
                    <a:pt x="68" y="85"/>
                  </a:lnTo>
                  <a:lnTo>
                    <a:pt x="66" y="78"/>
                  </a:lnTo>
                  <a:lnTo>
                    <a:pt x="66" y="75"/>
                  </a:lnTo>
                  <a:lnTo>
                    <a:pt x="63" y="71"/>
                  </a:lnTo>
                  <a:lnTo>
                    <a:pt x="63" y="68"/>
                  </a:lnTo>
                  <a:lnTo>
                    <a:pt x="61" y="63"/>
                  </a:lnTo>
                  <a:lnTo>
                    <a:pt x="56" y="61"/>
                  </a:lnTo>
                  <a:lnTo>
                    <a:pt x="52" y="59"/>
                  </a:lnTo>
                  <a:lnTo>
                    <a:pt x="49" y="56"/>
                  </a:lnTo>
                  <a:lnTo>
                    <a:pt x="44" y="56"/>
                  </a:lnTo>
                  <a:lnTo>
                    <a:pt x="42" y="47"/>
                  </a:lnTo>
                  <a:lnTo>
                    <a:pt x="40" y="47"/>
                  </a:lnTo>
                  <a:lnTo>
                    <a:pt x="37" y="45"/>
                  </a:lnTo>
                  <a:lnTo>
                    <a:pt x="37" y="42"/>
                  </a:lnTo>
                  <a:lnTo>
                    <a:pt x="33" y="37"/>
                  </a:lnTo>
                  <a:lnTo>
                    <a:pt x="30" y="33"/>
                  </a:lnTo>
                  <a:lnTo>
                    <a:pt x="28" y="33"/>
                  </a:lnTo>
                  <a:lnTo>
                    <a:pt x="23" y="33"/>
                  </a:lnTo>
                  <a:lnTo>
                    <a:pt x="21" y="28"/>
                  </a:lnTo>
                  <a:lnTo>
                    <a:pt x="18" y="26"/>
                  </a:lnTo>
                  <a:lnTo>
                    <a:pt x="16" y="23"/>
                  </a:lnTo>
                  <a:lnTo>
                    <a:pt x="14" y="21"/>
                  </a:lnTo>
                  <a:lnTo>
                    <a:pt x="7" y="14"/>
                  </a:lnTo>
                  <a:lnTo>
                    <a:pt x="4" y="12"/>
                  </a:lnTo>
                  <a:lnTo>
                    <a:pt x="2" y="7"/>
                  </a:lnTo>
                  <a:lnTo>
                    <a:pt x="2"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3" name="Freeform 1140">
              <a:extLst>
                <a:ext uri="{FF2B5EF4-FFF2-40B4-BE49-F238E27FC236}">
                  <a16:creationId xmlns:a16="http://schemas.microsoft.com/office/drawing/2014/main" id="{3487EC2F-167F-4535-AF66-545FD4F3BCAB}"/>
                </a:ext>
              </a:extLst>
            </p:cNvPr>
            <p:cNvSpPr>
              <a:spLocks/>
            </p:cNvSpPr>
            <p:nvPr/>
          </p:nvSpPr>
          <p:spPr bwMode="auto">
            <a:xfrm>
              <a:off x="6644479" y="4569533"/>
              <a:ext cx="19854" cy="14890"/>
            </a:xfrm>
            <a:custGeom>
              <a:avLst/>
              <a:gdLst>
                <a:gd name="T0" fmla="*/ 0 w 12"/>
                <a:gd name="T1" fmla="*/ 2 h 9"/>
                <a:gd name="T2" fmla="*/ 0 w 12"/>
                <a:gd name="T3" fmla="*/ 0 h 9"/>
                <a:gd name="T4" fmla="*/ 2 w 12"/>
                <a:gd name="T5" fmla="*/ 0 h 9"/>
                <a:gd name="T6" fmla="*/ 12 w 12"/>
                <a:gd name="T7" fmla="*/ 7 h 9"/>
                <a:gd name="T8" fmla="*/ 12 w 12"/>
                <a:gd name="T9" fmla="*/ 9 h 9"/>
                <a:gd name="T10" fmla="*/ 12 w 12"/>
                <a:gd name="T11" fmla="*/ 9 h 9"/>
                <a:gd name="T12" fmla="*/ 9 w 12"/>
                <a:gd name="T13" fmla="*/ 7 h 9"/>
                <a:gd name="T14" fmla="*/ 7 w 12"/>
                <a:gd name="T15" fmla="*/ 7 h 9"/>
                <a:gd name="T16" fmla="*/ 2 w 12"/>
                <a:gd name="T17" fmla="*/ 2 h 9"/>
                <a:gd name="T18" fmla="*/ 0 w 12"/>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0" y="2"/>
                  </a:moveTo>
                  <a:lnTo>
                    <a:pt x="0" y="0"/>
                  </a:lnTo>
                  <a:lnTo>
                    <a:pt x="2" y="0"/>
                  </a:lnTo>
                  <a:lnTo>
                    <a:pt x="12" y="7"/>
                  </a:lnTo>
                  <a:lnTo>
                    <a:pt x="12" y="9"/>
                  </a:lnTo>
                  <a:lnTo>
                    <a:pt x="12" y="9"/>
                  </a:lnTo>
                  <a:lnTo>
                    <a:pt x="9" y="7"/>
                  </a:lnTo>
                  <a:lnTo>
                    <a:pt x="7" y="7"/>
                  </a:lnTo>
                  <a:lnTo>
                    <a:pt x="2"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4" name="Freeform 1141">
              <a:extLst>
                <a:ext uri="{FF2B5EF4-FFF2-40B4-BE49-F238E27FC236}">
                  <a16:creationId xmlns:a16="http://schemas.microsoft.com/office/drawing/2014/main" id="{8F6022DE-851E-43DE-8D14-D27F008987CF}"/>
                </a:ext>
              </a:extLst>
            </p:cNvPr>
            <p:cNvSpPr>
              <a:spLocks/>
            </p:cNvSpPr>
            <p:nvPr/>
          </p:nvSpPr>
          <p:spPr bwMode="auto">
            <a:xfrm>
              <a:off x="6644479" y="4569533"/>
              <a:ext cx="19854" cy="14890"/>
            </a:xfrm>
            <a:custGeom>
              <a:avLst/>
              <a:gdLst>
                <a:gd name="T0" fmla="*/ 0 w 12"/>
                <a:gd name="T1" fmla="*/ 2 h 9"/>
                <a:gd name="T2" fmla="*/ 0 w 12"/>
                <a:gd name="T3" fmla="*/ 0 h 9"/>
                <a:gd name="T4" fmla="*/ 2 w 12"/>
                <a:gd name="T5" fmla="*/ 0 h 9"/>
                <a:gd name="T6" fmla="*/ 12 w 12"/>
                <a:gd name="T7" fmla="*/ 7 h 9"/>
                <a:gd name="T8" fmla="*/ 12 w 12"/>
                <a:gd name="T9" fmla="*/ 9 h 9"/>
                <a:gd name="T10" fmla="*/ 12 w 12"/>
                <a:gd name="T11" fmla="*/ 9 h 9"/>
                <a:gd name="T12" fmla="*/ 9 w 12"/>
                <a:gd name="T13" fmla="*/ 7 h 9"/>
                <a:gd name="T14" fmla="*/ 7 w 12"/>
                <a:gd name="T15" fmla="*/ 7 h 9"/>
                <a:gd name="T16" fmla="*/ 2 w 12"/>
                <a:gd name="T17" fmla="*/ 2 h 9"/>
                <a:gd name="T18" fmla="*/ 0 w 12"/>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0" y="2"/>
                  </a:moveTo>
                  <a:lnTo>
                    <a:pt x="0" y="0"/>
                  </a:lnTo>
                  <a:lnTo>
                    <a:pt x="2" y="0"/>
                  </a:lnTo>
                  <a:lnTo>
                    <a:pt x="12" y="7"/>
                  </a:lnTo>
                  <a:lnTo>
                    <a:pt x="12" y="9"/>
                  </a:lnTo>
                  <a:lnTo>
                    <a:pt x="12" y="9"/>
                  </a:lnTo>
                  <a:lnTo>
                    <a:pt x="9" y="7"/>
                  </a:lnTo>
                  <a:lnTo>
                    <a:pt x="7" y="7"/>
                  </a:lnTo>
                  <a:lnTo>
                    <a:pt x="2"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5" name="Freeform 1142">
              <a:extLst>
                <a:ext uri="{FF2B5EF4-FFF2-40B4-BE49-F238E27FC236}">
                  <a16:creationId xmlns:a16="http://schemas.microsoft.com/office/drawing/2014/main" id="{0A2F70ED-CF17-40DF-98C7-A012EE0A0EF6}"/>
                </a:ext>
              </a:extLst>
            </p:cNvPr>
            <p:cNvSpPr>
              <a:spLocks/>
            </p:cNvSpPr>
            <p:nvPr/>
          </p:nvSpPr>
          <p:spPr bwMode="auto">
            <a:xfrm>
              <a:off x="6687494" y="4609239"/>
              <a:ext cx="19854" cy="26470"/>
            </a:xfrm>
            <a:custGeom>
              <a:avLst/>
              <a:gdLst>
                <a:gd name="T0" fmla="*/ 0 w 12"/>
                <a:gd name="T1" fmla="*/ 2 h 16"/>
                <a:gd name="T2" fmla="*/ 0 w 12"/>
                <a:gd name="T3" fmla="*/ 0 h 16"/>
                <a:gd name="T4" fmla="*/ 2 w 12"/>
                <a:gd name="T5" fmla="*/ 0 h 16"/>
                <a:gd name="T6" fmla="*/ 5 w 12"/>
                <a:gd name="T7" fmla="*/ 2 h 16"/>
                <a:gd name="T8" fmla="*/ 7 w 12"/>
                <a:gd name="T9" fmla="*/ 4 h 16"/>
                <a:gd name="T10" fmla="*/ 12 w 12"/>
                <a:gd name="T11" fmla="*/ 9 h 16"/>
                <a:gd name="T12" fmla="*/ 12 w 12"/>
                <a:gd name="T13" fmla="*/ 14 h 16"/>
                <a:gd name="T14" fmla="*/ 12 w 12"/>
                <a:gd name="T15" fmla="*/ 16 h 16"/>
                <a:gd name="T16" fmla="*/ 9 w 12"/>
                <a:gd name="T17" fmla="*/ 16 h 16"/>
                <a:gd name="T18" fmla="*/ 9 w 12"/>
                <a:gd name="T19" fmla="*/ 11 h 16"/>
                <a:gd name="T20" fmla="*/ 7 w 12"/>
                <a:gd name="T21" fmla="*/ 11 h 16"/>
                <a:gd name="T22" fmla="*/ 5 w 12"/>
                <a:gd name="T23" fmla="*/ 7 h 16"/>
                <a:gd name="T24" fmla="*/ 0 w 12"/>
                <a:gd name="T25"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6">
                  <a:moveTo>
                    <a:pt x="0" y="2"/>
                  </a:moveTo>
                  <a:lnTo>
                    <a:pt x="0" y="0"/>
                  </a:lnTo>
                  <a:lnTo>
                    <a:pt x="2" y="0"/>
                  </a:lnTo>
                  <a:lnTo>
                    <a:pt x="5" y="2"/>
                  </a:lnTo>
                  <a:lnTo>
                    <a:pt x="7" y="4"/>
                  </a:lnTo>
                  <a:lnTo>
                    <a:pt x="12" y="9"/>
                  </a:lnTo>
                  <a:lnTo>
                    <a:pt x="12" y="14"/>
                  </a:lnTo>
                  <a:lnTo>
                    <a:pt x="12" y="16"/>
                  </a:lnTo>
                  <a:lnTo>
                    <a:pt x="9" y="16"/>
                  </a:lnTo>
                  <a:lnTo>
                    <a:pt x="9" y="11"/>
                  </a:lnTo>
                  <a:lnTo>
                    <a:pt x="7" y="11"/>
                  </a:lnTo>
                  <a:lnTo>
                    <a:pt x="5" y="7"/>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6" name="Freeform 1143">
              <a:extLst>
                <a:ext uri="{FF2B5EF4-FFF2-40B4-BE49-F238E27FC236}">
                  <a16:creationId xmlns:a16="http://schemas.microsoft.com/office/drawing/2014/main" id="{F8636499-47A5-405B-9854-766DD0E04669}"/>
                </a:ext>
              </a:extLst>
            </p:cNvPr>
            <p:cNvSpPr>
              <a:spLocks/>
            </p:cNvSpPr>
            <p:nvPr/>
          </p:nvSpPr>
          <p:spPr bwMode="auto">
            <a:xfrm>
              <a:off x="6687494" y="4609239"/>
              <a:ext cx="19854" cy="26470"/>
            </a:xfrm>
            <a:custGeom>
              <a:avLst/>
              <a:gdLst>
                <a:gd name="T0" fmla="*/ 0 w 12"/>
                <a:gd name="T1" fmla="*/ 2 h 16"/>
                <a:gd name="T2" fmla="*/ 0 w 12"/>
                <a:gd name="T3" fmla="*/ 0 h 16"/>
                <a:gd name="T4" fmla="*/ 2 w 12"/>
                <a:gd name="T5" fmla="*/ 0 h 16"/>
                <a:gd name="T6" fmla="*/ 5 w 12"/>
                <a:gd name="T7" fmla="*/ 2 h 16"/>
                <a:gd name="T8" fmla="*/ 7 w 12"/>
                <a:gd name="T9" fmla="*/ 4 h 16"/>
                <a:gd name="T10" fmla="*/ 12 w 12"/>
                <a:gd name="T11" fmla="*/ 9 h 16"/>
                <a:gd name="T12" fmla="*/ 12 w 12"/>
                <a:gd name="T13" fmla="*/ 14 h 16"/>
                <a:gd name="T14" fmla="*/ 12 w 12"/>
                <a:gd name="T15" fmla="*/ 16 h 16"/>
                <a:gd name="T16" fmla="*/ 9 w 12"/>
                <a:gd name="T17" fmla="*/ 16 h 16"/>
                <a:gd name="T18" fmla="*/ 9 w 12"/>
                <a:gd name="T19" fmla="*/ 11 h 16"/>
                <a:gd name="T20" fmla="*/ 7 w 12"/>
                <a:gd name="T21" fmla="*/ 11 h 16"/>
                <a:gd name="T22" fmla="*/ 5 w 12"/>
                <a:gd name="T23" fmla="*/ 7 h 16"/>
                <a:gd name="T24" fmla="*/ 0 w 12"/>
                <a:gd name="T25"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6">
                  <a:moveTo>
                    <a:pt x="0" y="2"/>
                  </a:moveTo>
                  <a:lnTo>
                    <a:pt x="0" y="0"/>
                  </a:lnTo>
                  <a:lnTo>
                    <a:pt x="2" y="0"/>
                  </a:lnTo>
                  <a:lnTo>
                    <a:pt x="5" y="2"/>
                  </a:lnTo>
                  <a:lnTo>
                    <a:pt x="7" y="4"/>
                  </a:lnTo>
                  <a:lnTo>
                    <a:pt x="12" y="9"/>
                  </a:lnTo>
                  <a:lnTo>
                    <a:pt x="12" y="14"/>
                  </a:lnTo>
                  <a:lnTo>
                    <a:pt x="12" y="16"/>
                  </a:lnTo>
                  <a:lnTo>
                    <a:pt x="9" y="16"/>
                  </a:lnTo>
                  <a:lnTo>
                    <a:pt x="9" y="11"/>
                  </a:lnTo>
                  <a:lnTo>
                    <a:pt x="7" y="11"/>
                  </a:lnTo>
                  <a:lnTo>
                    <a:pt x="5" y="7"/>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7" name="Freeform 1144">
              <a:extLst>
                <a:ext uri="{FF2B5EF4-FFF2-40B4-BE49-F238E27FC236}">
                  <a16:creationId xmlns:a16="http://schemas.microsoft.com/office/drawing/2014/main" id="{6C5F20E8-AE96-4E6D-8354-92D02F7C4B45}"/>
                </a:ext>
              </a:extLst>
            </p:cNvPr>
            <p:cNvSpPr>
              <a:spLocks/>
            </p:cNvSpPr>
            <p:nvPr/>
          </p:nvSpPr>
          <p:spPr bwMode="auto">
            <a:xfrm>
              <a:off x="6808267" y="4592695"/>
              <a:ext cx="11582" cy="8273"/>
            </a:xfrm>
            <a:custGeom>
              <a:avLst/>
              <a:gdLst>
                <a:gd name="T0" fmla="*/ 5 w 7"/>
                <a:gd name="T1" fmla="*/ 5 h 5"/>
                <a:gd name="T2" fmla="*/ 3 w 7"/>
                <a:gd name="T3" fmla="*/ 5 h 5"/>
                <a:gd name="T4" fmla="*/ 3 w 7"/>
                <a:gd name="T5" fmla="*/ 5 h 5"/>
                <a:gd name="T6" fmla="*/ 0 w 7"/>
                <a:gd name="T7" fmla="*/ 2 h 5"/>
                <a:gd name="T8" fmla="*/ 0 w 7"/>
                <a:gd name="T9" fmla="*/ 0 h 5"/>
                <a:gd name="T10" fmla="*/ 3 w 7"/>
                <a:gd name="T11" fmla="*/ 0 h 5"/>
                <a:gd name="T12" fmla="*/ 3 w 7"/>
                <a:gd name="T13" fmla="*/ 0 h 5"/>
                <a:gd name="T14" fmla="*/ 5 w 7"/>
                <a:gd name="T15" fmla="*/ 0 h 5"/>
                <a:gd name="T16" fmla="*/ 7 w 7"/>
                <a:gd name="T17" fmla="*/ 0 h 5"/>
                <a:gd name="T18" fmla="*/ 7 w 7"/>
                <a:gd name="T19" fmla="*/ 2 h 5"/>
                <a:gd name="T20" fmla="*/ 7 w 7"/>
                <a:gd name="T21" fmla="*/ 5 h 5"/>
                <a:gd name="T22" fmla="*/ 5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5"/>
                  </a:moveTo>
                  <a:lnTo>
                    <a:pt x="3" y="5"/>
                  </a:lnTo>
                  <a:lnTo>
                    <a:pt x="3" y="5"/>
                  </a:lnTo>
                  <a:lnTo>
                    <a:pt x="0" y="2"/>
                  </a:lnTo>
                  <a:lnTo>
                    <a:pt x="0" y="0"/>
                  </a:lnTo>
                  <a:lnTo>
                    <a:pt x="3" y="0"/>
                  </a:lnTo>
                  <a:lnTo>
                    <a:pt x="3" y="0"/>
                  </a:lnTo>
                  <a:lnTo>
                    <a:pt x="5" y="0"/>
                  </a:lnTo>
                  <a:lnTo>
                    <a:pt x="7" y="0"/>
                  </a:lnTo>
                  <a:lnTo>
                    <a:pt x="7" y="2"/>
                  </a:lnTo>
                  <a:lnTo>
                    <a:pt x="7" y="5"/>
                  </a:lnTo>
                  <a:lnTo>
                    <a:pt x="5"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8" name="Freeform 1145">
              <a:extLst>
                <a:ext uri="{FF2B5EF4-FFF2-40B4-BE49-F238E27FC236}">
                  <a16:creationId xmlns:a16="http://schemas.microsoft.com/office/drawing/2014/main" id="{BFDC654E-2A3C-4559-B002-6D754CEB51A3}"/>
                </a:ext>
              </a:extLst>
            </p:cNvPr>
            <p:cNvSpPr>
              <a:spLocks/>
            </p:cNvSpPr>
            <p:nvPr/>
          </p:nvSpPr>
          <p:spPr bwMode="auto">
            <a:xfrm>
              <a:off x="6808267" y="4592695"/>
              <a:ext cx="11582" cy="8273"/>
            </a:xfrm>
            <a:custGeom>
              <a:avLst/>
              <a:gdLst>
                <a:gd name="T0" fmla="*/ 5 w 7"/>
                <a:gd name="T1" fmla="*/ 5 h 5"/>
                <a:gd name="T2" fmla="*/ 3 w 7"/>
                <a:gd name="T3" fmla="*/ 5 h 5"/>
                <a:gd name="T4" fmla="*/ 3 w 7"/>
                <a:gd name="T5" fmla="*/ 5 h 5"/>
                <a:gd name="T6" fmla="*/ 0 w 7"/>
                <a:gd name="T7" fmla="*/ 2 h 5"/>
                <a:gd name="T8" fmla="*/ 0 w 7"/>
                <a:gd name="T9" fmla="*/ 0 h 5"/>
                <a:gd name="T10" fmla="*/ 3 w 7"/>
                <a:gd name="T11" fmla="*/ 0 h 5"/>
                <a:gd name="T12" fmla="*/ 3 w 7"/>
                <a:gd name="T13" fmla="*/ 0 h 5"/>
                <a:gd name="T14" fmla="*/ 5 w 7"/>
                <a:gd name="T15" fmla="*/ 0 h 5"/>
                <a:gd name="T16" fmla="*/ 7 w 7"/>
                <a:gd name="T17" fmla="*/ 0 h 5"/>
                <a:gd name="T18" fmla="*/ 7 w 7"/>
                <a:gd name="T19" fmla="*/ 2 h 5"/>
                <a:gd name="T20" fmla="*/ 7 w 7"/>
                <a:gd name="T21" fmla="*/ 5 h 5"/>
                <a:gd name="T22" fmla="*/ 5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5"/>
                  </a:moveTo>
                  <a:lnTo>
                    <a:pt x="3" y="5"/>
                  </a:lnTo>
                  <a:lnTo>
                    <a:pt x="3" y="5"/>
                  </a:lnTo>
                  <a:lnTo>
                    <a:pt x="0" y="2"/>
                  </a:lnTo>
                  <a:lnTo>
                    <a:pt x="0" y="0"/>
                  </a:lnTo>
                  <a:lnTo>
                    <a:pt x="3" y="0"/>
                  </a:lnTo>
                  <a:lnTo>
                    <a:pt x="3" y="0"/>
                  </a:lnTo>
                  <a:lnTo>
                    <a:pt x="5" y="0"/>
                  </a:lnTo>
                  <a:lnTo>
                    <a:pt x="7" y="0"/>
                  </a:lnTo>
                  <a:lnTo>
                    <a:pt x="7" y="2"/>
                  </a:lnTo>
                  <a:lnTo>
                    <a:pt x="7" y="5"/>
                  </a:lnTo>
                  <a:lnTo>
                    <a:pt x="5"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69" name="Freeform 1146">
              <a:extLst>
                <a:ext uri="{FF2B5EF4-FFF2-40B4-BE49-F238E27FC236}">
                  <a16:creationId xmlns:a16="http://schemas.microsoft.com/office/drawing/2014/main" id="{687A4EB4-2B0E-47C3-B3D3-B1757795759F}"/>
                </a:ext>
              </a:extLst>
            </p:cNvPr>
            <p:cNvSpPr>
              <a:spLocks/>
            </p:cNvSpPr>
            <p:nvPr/>
          </p:nvSpPr>
          <p:spPr bwMode="auto">
            <a:xfrm>
              <a:off x="6828120" y="4604277"/>
              <a:ext cx="11582" cy="8273"/>
            </a:xfrm>
            <a:custGeom>
              <a:avLst/>
              <a:gdLst>
                <a:gd name="T0" fmla="*/ 0 w 7"/>
                <a:gd name="T1" fmla="*/ 0 h 5"/>
                <a:gd name="T2" fmla="*/ 0 w 7"/>
                <a:gd name="T3" fmla="*/ 0 h 5"/>
                <a:gd name="T4" fmla="*/ 2 w 7"/>
                <a:gd name="T5" fmla="*/ 0 h 5"/>
                <a:gd name="T6" fmla="*/ 2 w 7"/>
                <a:gd name="T7" fmla="*/ 0 h 5"/>
                <a:gd name="T8" fmla="*/ 5 w 7"/>
                <a:gd name="T9" fmla="*/ 0 h 5"/>
                <a:gd name="T10" fmla="*/ 7 w 7"/>
                <a:gd name="T11" fmla="*/ 5 h 5"/>
                <a:gd name="T12" fmla="*/ 7 w 7"/>
                <a:gd name="T13" fmla="*/ 5 h 5"/>
                <a:gd name="T14" fmla="*/ 5 w 7"/>
                <a:gd name="T15" fmla="*/ 5 h 5"/>
                <a:gd name="T16" fmla="*/ 0 w 7"/>
                <a:gd name="T17" fmla="*/ 3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0" y="0"/>
                  </a:lnTo>
                  <a:lnTo>
                    <a:pt x="2" y="0"/>
                  </a:lnTo>
                  <a:lnTo>
                    <a:pt x="2" y="0"/>
                  </a:lnTo>
                  <a:lnTo>
                    <a:pt x="5" y="0"/>
                  </a:lnTo>
                  <a:lnTo>
                    <a:pt x="7" y="5"/>
                  </a:lnTo>
                  <a:lnTo>
                    <a:pt x="7" y="5"/>
                  </a:lnTo>
                  <a:lnTo>
                    <a:pt x="5" y="5"/>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0" name="Freeform 1147">
              <a:extLst>
                <a:ext uri="{FF2B5EF4-FFF2-40B4-BE49-F238E27FC236}">
                  <a16:creationId xmlns:a16="http://schemas.microsoft.com/office/drawing/2014/main" id="{153793B3-C11D-44C5-88C1-0D02CF522805}"/>
                </a:ext>
              </a:extLst>
            </p:cNvPr>
            <p:cNvSpPr>
              <a:spLocks/>
            </p:cNvSpPr>
            <p:nvPr/>
          </p:nvSpPr>
          <p:spPr bwMode="auto">
            <a:xfrm>
              <a:off x="6828120" y="4604277"/>
              <a:ext cx="11582" cy="8273"/>
            </a:xfrm>
            <a:custGeom>
              <a:avLst/>
              <a:gdLst>
                <a:gd name="T0" fmla="*/ 0 w 7"/>
                <a:gd name="T1" fmla="*/ 0 h 5"/>
                <a:gd name="T2" fmla="*/ 0 w 7"/>
                <a:gd name="T3" fmla="*/ 0 h 5"/>
                <a:gd name="T4" fmla="*/ 2 w 7"/>
                <a:gd name="T5" fmla="*/ 0 h 5"/>
                <a:gd name="T6" fmla="*/ 2 w 7"/>
                <a:gd name="T7" fmla="*/ 0 h 5"/>
                <a:gd name="T8" fmla="*/ 5 w 7"/>
                <a:gd name="T9" fmla="*/ 0 h 5"/>
                <a:gd name="T10" fmla="*/ 7 w 7"/>
                <a:gd name="T11" fmla="*/ 5 h 5"/>
                <a:gd name="T12" fmla="*/ 7 w 7"/>
                <a:gd name="T13" fmla="*/ 5 h 5"/>
                <a:gd name="T14" fmla="*/ 5 w 7"/>
                <a:gd name="T15" fmla="*/ 5 h 5"/>
                <a:gd name="T16" fmla="*/ 0 w 7"/>
                <a:gd name="T17" fmla="*/ 3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0" y="0"/>
                  </a:lnTo>
                  <a:lnTo>
                    <a:pt x="2" y="0"/>
                  </a:lnTo>
                  <a:lnTo>
                    <a:pt x="2" y="0"/>
                  </a:lnTo>
                  <a:lnTo>
                    <a:pt x="5" y="0"/>
                  </a:lnTo>
                  <a:lnTo>
                    <a:pt x="7" y="5"/>
                  </a:lnTo>
                  <a:lnTo>
                    <a:pt x="7" y="5"/>
                  </a:lnTo>
                  <a:lnTo>
                    <a:pt x="5" y="5"/>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1" name="Freeform 1148">
              <a:extLst>
                <a:ext uri="{FF2B5EF4-FFF2-40B4-BE49-F238E27FC236}">
                  <a16:creationId xmlns:a16="http://schemas.microsoft.com/office/drawing/2014/main" id="{FE9D0AD4-A902-4091-B10B-8669D4378174}"/>
                </a:ext>
              </a:extLst>
            </p:cNvPr>
            <p:cNvSpPr>
              <a:spLocks/>
            </p:cNvSpPr>
            <p:nvPr/>
          </p:nvSpPr>
          <p:spPr bwMode="auto">
            <a:xfrm>
              <a:off x="6730509" y="4678725"/>
              <a:ext cx="14890" cy="23161"/>
            </a:xfrm>
            <a:custGeom>
              <a:avLst/>
              <a:gdLst>
                <a:gd name="T0" fmla="*/ 0 w 9"/>
                <a:gd name="T1" fmla="*/ 0 h 14"/>
                <a:gd name="T2" fmla="*/ 5 w 9"/>
                <a:gd name="T3" fmla="*/ 0 h 14"/>
                <a:gd name="T4" fmla="*/ 5 w 9"/>
                <a:gd name="T5" fmla="*/ 0 h 14"/>
                <a:gd name="T6" fmla="*/ 5 w 9"/>
                <a:gd name="T7" fmla="*/ 2 h 14"/>
                <a:gd name="T8" fmla="*/ 7 w 9"/>
                <a:gd name="T9" fmla="*/ 7 h 14"/>
                <a:gd name="T10" fmla="*/ 9 w 9"/>
                <a:gd name="T11" fmla="*/ 12 h 14"/>
                <a:gd name="T12" fmla="*/ 9 w 9"/>
                <a:gd name="T13" fmla="*/ 14 h 14"/>
                <a:gd name="T14" fmla="*/ 7 w 9"/>
                <a:gd name="T15" fmla="*/ 14 h 14"/>
                <a:gd name="T16" fmla="*/ 5 w 9"/>
                <a:gd name="T17" fmla="*/ 14 h 14"/>
                <a:gd name="T18" fmla="*/ 2 w 9"/>
                <a:gd name="T19" fmla="*/ 12 h 14"/>
                <a:gd name="T20" fmla="*/ 2 w 9"/>
                <a:gd name="T21" fmla="*/ 10 h 14"/>
                <a:gd name="T22" fmla="*/ 0 w 9"/>
                <a:gd name="T23" fmla="*/ 5 h 14"/>
                <a:gd name="T24" fmla="*/ 0 w 9"/>
                <a:gd name="T25" fmla="*/ 2 h 14"/>
                <a:gd name="T26" fmla="*/ 0 w 9"/>
                <a:gd name="T27" fmla="*/ 2 h 14"/>
                <a:gd name="T28" fmla="*/ 0 w 9"/>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0" y="0"/>
                  </a:moveTo>
                  <a:lnTo>
                    <a:pt x="5" y="0"/>
                  </a:lnTo>
                  <a:lnTo>
                    <a:pt x="5" y="0"/>
                  </a:lnTo>
                  <a:lnTo>
                    <a:pt x="5" y="2"/>
                  </a:lnTo>
                  <a:lnTo>
                    <a:pt x="7" y="7"/>
                  </a:lnTo>
                  <a:lnTo>
                    <a:pt x="9" y="12"/>
                  </a:lnTo>
                  <a:lnTo>
                    <a:pt x="9" y="14"/>
                  </a:lnTo>
                  <a:lnTo>
                    <a:pt x="7" y="14"/>
                  </a:lnTo>
                  <a:lnTo>
                    <a:pt x="5" y="14"/>
                  </a:lnTo>
                  <a:lnTo>
                    <a:pt x="2" y="12"/>
                  </a:lnTo>
                  <a:lnTo>
                    <a:pt x="2" y="10"/>
                  </a:lnTo>
                  <a:lnTo>
                    <a:pt x="0" y="5"/>
                  </a:lnTo>
                  <a:lnTo>
                    <a:pt x="0" y="2"/>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2" name="Freeform 1149">
              <a:extLst>
                <a:ext uri="{FF2B5EF4-FFF2-40B4-BE49-F238E27FC236}">
                  <a16:creationId xmlns:a16="http://schemas.microsoft.com/office/drawing/2014/main" id="{A79BC690-192E-4229-B148-1EEB09EB2521}"/>
                </a:ext>
              </a:extLst>
            </p:cNvPr>
            <p:cNvSpPr>
              <a:spLocks/>
            </p:cNvSpPr>
            <p:nvPr/>
          </p:nvSpPr>
          <p:spPr bwMode="auto">
            <a:xfrm>
              <a:off x="6730509" y="4678725"/>
              <a:ext cx="14890" cy="23161"/>
            </a:xfrm>
            <a:custGeom>
              <a:avLst/>
              <a:gdLst>
                <a:gd name="T0" fmla="*/ 0 w 9"/>
                <a:gd name="T1" fmla="*/ 0 h 14"/>
                <a:gd name="T2" fmla="*/ 5 w 9"/>
                <a:gd name="T3" fmla="*/ 0 h 14"/>
                <a:gd name="T4" fmla="*/ 5 w 9"/>
                <a:gd name="T5" fmla="*/ 0 h 14"/>
                <a:gd name="T6" fmla="*/ 5 w 9"/>
                <a:gd name="T7" fmla="*/ 2 h 14"/>
                <a:gd name="T8" fmla="*/ 7 w 9"/>
                <a:gd name="T9" fmla="*/ 7 h 14"/>
                <a:gd name="T10" fmla="*/ 9 w 9"/>
                <a:gd name="T11" fmla="*/ 12 h 14"/>
                <a:gd name="T12" fmla="*/ 9 w 9"/>
                <a:gd name="T13" fmla="*/ 14 h 14"/>
                <a:gd name="T14" fmla="*/ 7 w 9"/>
                <a:gd name="T15" fmla="*/ 14 h 14"/>
                <a:gd name="T16" fmla="*/ 5 w 9"/>
                <a:gd name="T17" fmla="*/ 14 h 14"/>
                <a:gd name="T18" fmla="*/ 2 w 9"/>
                <a:gd name="T19" fmla="*/ 12 h 14"/>
                <a:gd name="T20" fmla="*/ 2 w 9"/>
                <a:gd name="T21" fmla="*/ 10 h 14"/>
                <a:gd name="T22" fmla="*/ 0 w 9"/>
                <a:gd name="T23" fmla="*/ 5 h 14"/>
                <a:gd name="T24" fmla="*/ 0 w 9"/>
                <a:gd name="T25" fmla="*/ 2 h 14"/>
                <a:gd name="T26" fmla="*/ 0 w 9"/>
                <a:gd name="T27" fmla="*/ 2 h 14"/>
                <a:gd name="T28" fmla="*/ 0 w 9"/>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0" y="0"/>
                  </a:moveTo>
                  <a:lnTo>
                    <a:pt x="5" y="0"/>
                  </a:lnTo>
                  <a:lnTo>
                    <a:pt x="5" y="0"/>
                  </a:lnTo>
                  <a:lnTo>
                    <a:pt x="5" y="2"/>
                  </a:lnTo>
                  <a:lnTo>
                    <a:pt x="7" y="7"/>
                  </a:lnTo>
                  <a:lnTo>
                    <a:pt x="9" y="12"/>
                  </a:lnTo>
                  <a:lnTo>
                    <a:pt x="9" y="14"/>
                  </a:lnTo>
                  <a:lnTo>
                    <a:pt x="7" y="14"/>
                  </a:lnTo>
                  <a:lnTo>
                    <a:pt x="5" y="14"/>
                  </a:lnTo>
                  <a:lnTo>
                    <a:pt x="2" y="12"/>
                  </a:lnTo>
                  <a:lnTo>
                    <a:pt x="2" y="10"/>
                  </a:lnTo>
                  <a:lnTo>
                    <a:pt x="0" y="5"/>
                  </a:lnTo>
                  <a:lnTo>
                    <a:pt x="0" y="2"/>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3" name="Freeform 1150">
              <a:extLst>
                <a:ext uri="{FF2B5EF4-FFF2-40B4-BE49-F238E27FC236}">
                  <a16:creationId xmlns:a16="http://schemas.microsoft.com/office/drawing/2014/main" id="{BB8C0780-A687-45B3-A803-029B966EFF8F}"/>
                </a:ext>
              </a:extLst>
            </p:cNvPr>
            <p:cNvSpPr>
              <a:spLocks/>
            </p:cNvSpPr>
            <p:nvPr/>
          </p:nvSpPr>
          <p:spPr bwMode="auto">
            <a:xfrm>
              <a:off x="6890989" y="4663836"/>
              <a:ext cx="8273" cy="6618"/>
            </a:xfrm>
            <a:custGeom>
              <a:avLst/>
              <a:gdLst>
                <a:gd name="T0" fmla="*/ 2 w 5"/>
                <a:gd name="T1" fmla="*/ 2 h 4"/>
                <a:gd name="T2" fmla="*/ 0 w 5"/>
                <a:gd name="T3" fmla="*/ 0 h 4"/>
                <a:gd name="T4" fmla="*/ 2 w 5"/>
                <a:gd name="T5" fmla="*/ 0 h 4"/>
                <a:gd name="T6" fmla="*/ 2 w 5"/>
                <a:gd name="T7" fmla="*/ 0 h 4"/>
                <a:gd name="T8" fmla="*/ 5 w 5"/>
                <a:gd name="T9" fmla="*/ 2 h 4"/>
                <a:gd name="T10" fmla="*/ 5 w 5"/>
                <a:gd name="T11" fmla="*/ 4 h 4"/>
                <a:gd name="T12" fmla="*/ 2 w 5"/>
                <a:gd name="T13" fmla="*/ 4 h 4"/>
                <a:gd name="T14" fmla="*/ 2 w 5"/>
                <a:gd name="T15" fmla="*/ 2 h 4"/>
                <a:gd name="T16" fmla="*/ 2 w 5"/>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2"/>
                  </a:moveTo>
                  <a:lnTo>
                    <a:pt x="0" y="0"/>
                  </a:lnTo>
                  <a:lnTo>
                    <a:pt x="2" y="0"/>
                  </a:lnTo>
                  <a:lnTo>
                    <a:pt x="2" y="0"/>
                  </a:lnTo>
                  <a:lnTo>
                    <a:pt x="5" y="2"/>
                  </a:lnTo>
                  <a:lnTo>
                    <a:pt x="5" y="4"/>
                  </a:lnTo>
                  <a:lnTo>
                    <a:pt x="2" y="4"/>
                  </a:lnTo>
                  <a:lnTo>
                    <a:pt x="2" y="2"/>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4" name="Freeform 1151">
              <a:extLst>
                <a:ext uri="{FF2B5EF4-FFF2-40B4-BE49-F238E27FC236}">
                  <a16:creationId xmlns:a16="http://schemas.microsoft.com/office/drawing/2014/main" id="{7533FA4A-0097-4D13-A188-C73DCFAE29F8}"/>
                </a:ext>
              </a:extLst>
            </p:cNvPr>
            <p:cNvSpPr>
              <a:spLocks/>
            </p:cNvSpPr>
            <p:nvPr/>
          </p:nvSpPr>
          <p:spPr bwMode="auto">
            <a:xfrm>
              <a:off x="6890989" y="4663836"/>
              <a:ext cx="8273" cy="6618"/>
            </a:xfrm>
            <a:custGeom>
              <a:avLst/>
              <a:gdLst>
                <a:gd name="T0" fmla="*/ 2 w 5"/>
                <a:gd name="T1" fmla="*/ 2 h 4"/>
                <a:gd name="T2" fmla="*/ 0 w 5"/>
                <a:gd name="T3" fmla="*/ 0 h 4"/>
                <a:gd name="T4" fmla="*/ 2 w 5"/>
                <a:gd name="T5" fmla="*/ 0 h 4"/>
                <a:gd name="T6" fmla="*/ 2 w 5"/>
                <a:gd name="T7" fmla="*/ 0 h 4"/>
                <a:gd name="T8" fmla="*/ 5 w 5"/>
                <a:gd name="T9" fmla="*/ 2 h 4"/>
                <a:gd name="T10" fmla="*/ 5 w 5"/>
                <a:gd name="T11" fmla="*/ 4 h 4"/>
                <a:gd name="T12" fmla="*/ 2 w 5"/>
                <a:gd name="T13" fmla="*/ 4 h 4"/>
                <a:gd name="T14" fmla="*/ 2 w 5"/>
                <a:gd name="T15" fmla="*/ 2 h 4"/>
                <a:gd name="T16" fmla="*/ 2 w 5"/>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2"/>
                  </a:moveTo>
                  <a:lnTo>
                    <a:pt x="0" y="0"/>
                  </a:lnTo>
                  <a:lnTo>
                    <a:pt x="2" y="0"/>
                  </a:lnTo>
                  <a:lnTo>
                    <a:pt x="2" y="0"/>
                  </a:lnTo>
                  <a:lnTo>
                    <a:pt x="5" y="2"/>
                  </a:lnTo>
                  <a:lnTo>
                    <a:pt x="5" y="4"/>
                  </a:lnTo>
                  <a:lnTo>
                    <a:pt x="2" y="4"/>
                  </a:lnTo>
                  <a:lnTo>
                    <a:pt x="2" y="2"/>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5" name="Freeform 1152">
              <a:extLst>
                <a:ext uri="{FF2B5EF4-FFF2-40B4-BE49-F238E27FC236}">
                  <a16:creationId xmlns:a16="http://schemas.microsoft.com/office/drawing/2014/main" id="{4BCA378B-8F1B-4E8F-924F-5BD21C15E335}"/>
                </a:ext>
              </a:extLst>
            </p:cNvPr>
            <p:cNvSpPr>
              <a:spLocks/>
            </p:cNvSpPr>
            <p:nvPr/>
          </p:nvSpPr>
          <p:spPr bwMode="auto">
            <a:xfrm>
              <a:off x="6917459" y="4695270"/>
              <a:ext cx="43015" cy="46324"/>
            </a:xfrm>
            <a:custGeom>
              <a:avLst/>
              <a:gdLst>
                <a:gd name="T0" fmla="*/ 0 w 26"/>
                <a:gd name="T1" fmla="*/ 7 h 28"/>
                <a:gd name="T2" fmla="*/ 3 w 26"/>
                <a:gd name="T3" fmla="*/ 2 h 28"/>
                <a:gd name="T4" fmla="*/ 3 w 26"/>
                <a:gd name="T5" fmla="*/ 2 h 28"/>
                <a:gd name="T6" fmla="*/ 5 w 26"/>
                <a:gd name="T7" fmla="*/ 0 h 28"/>
                <a:gd name="T8" fmla="*/ 7 w 26"/>
                <a:gd name="T9" fmla="*/ 2 h 28"/>
                <a:gd name="T10" fmla="*/ 7 w 26"/>
                <a:gd name="T11" fmla="*/ 4 h 28"/>
                <a:gd name="T12" fmla="*/ 10 w 26"/>
                <a:gd name="T13" fmla="*/ 4 h 28"/>
                <a:gd name="T14" fmla="*/ 10 w 26"/>
                <a:gd name="T15" fmla="*/ 4 h 28"/>
                <a:gd name="T16" fmla="*/ 10 w 26"/>
                <a:gd name="T17" fmla="*/ 2 h 28"/>
                <a:gd name="T18" fmla="*/ 10 w 26"/>
                <a:gd name="T19" fmla="*/ 0 h 28"/>
                <a:gd name="T20" fmla="*/ 12 w 26"/>
                <a:gd name="T21" fmla="*/ 0 h 28"/>
                <a:gd name="T22" fmla="*/ 15 w 26"/>
                <a:gd name="T23" fmla="*/ 2 h 28"/>
                <a:gd name="T24" fmla="*/ 15 w 26"/>
                <a:gd name="T25" fmla="*/ 4 h 28"/>
                <a:gd name="T26" fmla="*/ 17 w 26"/>
                <a:gd name="T27" fmla="*/ 9 h 28"/>
                <a:gd name="T28" fmla="*/ 17 w 26"/>
                <a:gd name="T29" fmla="*/ 14 h 28"/>
                <a:gd name="T30" fmla="*/ 19 w 26"/>
                <a:gd name="T31" fmla="*/ 16 h 28"/>
                <a:gd name="T32" fmla="*/ 24 w 26"/>
                <a:gd name="T33" fmla="*/ 18 h 28"/>
                <a:gd name="T34" fmla="*/ 26 w 26"/>
                <a:gd name="T35" fmla="*/ 18 h 28"/>
                <a:gd name="T36" fmla="*/ 24 w 26"/>
                <a:gd name="T37" fmla="*/ 25 h 28"/>
                <a:gd name="T38" fmla="*/ 26 w 26"/>
                <a:gd name="T39" fmla="*/ 25 h 28"/>
                <a:gd name="T40" fmla="*/ 24 w 26"/>
                <a:gd name="T41" fmla="*/ 28 h 28"/>
                <a:gd name="T42" fmla="*/ 22 w 26"/>
                <a:gd name="T43" fmla="*/ 25 h 28"/>
                <a:gd name="T44" fmla="*/ 17 w 26"/>
                <a:gd name="T45" fmla="*/ 23 h 28"/>
                <a:gd name="T46" fmla="*/ 15 w 26"/>
                <a:gd name="T47" fmla="*/ 21 h 28"/>
                <a:gd name="T48" fmla="*/ 12 w 26"/>
                <a:gd name="T49" fmla="*/ 18 h 28"/>
                <a:gd name="T50" fmla="*/ 12 w 26"/>
                <a:gd name="T51" fmla="*/ 16 h 28"/>
                <a:gd name="T52" fmla="*/ 12 w 26"/>
                <a:gd name="T53" fmla="*/ 14 h 28"/>
                <a:gd name="T54" fmla="*/ 10 w 26"/>
                <a:gd name="T55" fmla="*/ 11 h 28"/>
                <a:gd name="T56" fmla="*/ 5 w 26"/>
                <a:gd name="T57" fmla="*/ 9 h 28"/>
                <a:gd name="T58" fmla="*/ 5 w 26"/>
                <a:gd name="T59" fmla="*/ 9 h 28"/>
                <a:gd name="T60" fmla="*/ 0 w 26"/>
                <a:gd name="T61" fmla="*/ 9 h 28"/>
                <a:gd name="T62" fmla="*/ 0 w 26"/>
                <a:gd name="T6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8">
                  <a:moveTo>
                    <a:pt x="0" y="7"/>
                  </a:moveTo>
                  <a:lnTo>
                    <a:pt x="3" y="2"/>
                  </a:lnTo>
                  <a:lnTo>
                    <a:pt x="3" y="2"/>
                  </a:lnTo>
                  <a:lnTo>
                    <a:pt x="5" y="0"/>
                  </a:lnTo>
                  <a:lnTo>
                    <a:pt x="7" y="2"/>
                  </a:lnTo>
                  <a:lnTo>
                    <a:pt x="7" y="4"/>
                  </a:lnTo>
                  <a:lnTo>
                    <a:pt x="10" y="4"/>
                  </a:lnTo>
                  <a:lnTo>
                    <a:pt x="10" y="4"/>
                  </a:lnTo>
                  <a:lnTo>
                    <a:pt x="10" y="2"/>
                  </a:lnTo>
                  <a:lnTo>
                    <a:pt x="10" y="0"/>
                  </a:lnTo>
                  <a:lnTo>
                    <a:pt x="12" y="0"/>
                  </a:lnTo>
                  <a:lnTo>
                    <a:pt x="15" y="2"/>
                  </a:lnTo>
                  <a:lnTo>
                    <a:pt x="15" y="4"/>
                  </a:lnTo>
                  <a:lnTo>
                    <a:pt x="17" y="9"/>
                  </a:lnTo>
                  <a:lnTo>
                    <a:pt x="17" y="14"/>
                  </a:lnTo>
                  <a:lnTo>
                    <a:pt x="19" y="16"/>
                  </a:lnTo>
                  <a:lnTo>
                    <a:pt x="24" y="18"/>
                  </a:lnTo>
                  <a:lnTo>
                    <a:pt x="26" y="18"/>
                  </a:lnTo>
                  <a:lnTo>
                    <a:pt x="24" y="25"/>
                  </a:lnTo>
                  <a:lnTo>
                    <a:pt x="26" y="25"/>
                  </a:lnTo>
                  <a:lnTo>
                    <a:pt x="24" y="28"/>
                  </a:lnTo>
                  <a:lnTo>
                    <a:pt x="22" y="25"/>
                  </a:lnTo>
                  <a:lnTo>
                    <a:pt x="17" y="23"/>
                  </a:lnTo>
                  <a:lnTo>
                    <a:pt x="15" y="21"/>
                  </a:lnTo>
                  <a:lnTo>
                    <a:pt x="12" y="18"/>
                  </a:lnTo>
                  <a:lnTo>
                    <a:pt x="12" y="16"/>
                  </a:lnTo>
                  <a:lnTo>
                    <a:pt x="12" y="14"/>
                  </a:lnTo>
                  <a:lnTo>
                    <a:pt x="10" y="11"/>
                  </a:lnTo>
                  <a:lnTo>
                    <a:pt x="5" y="9"/>
                  </a:lnTo>
                  <a:lnTo>
                    <a:pt x="5" y="9"/>
                  </a:lnTo>
                  <a:lnTo>
                    <a:pt x="0" y="9"/>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6" name="Freeform 1153">
              <a:extLst>
                <a:ext uri="{FF2B5EF4-FFF2-40B4-BE49-F238E27FC236}">
                  <a16:creationId xmlns:a16="http://schemas.microsoft.com/office/drawing/2014/main" id="{845CB8B8-A0AA-41BC-8CA1-3650D4A480CE}"/>
                </a:ext>
              </a:extLst>
            </p:cNvPr>
            <p:cNvSpPr>
              <a:spLocks/>
            </p:cNvSpPr>
            <p:nvPr/>
          </p:nvSpPr>
          <p:spPr bwMode="auto">
            <a:xfrm>
              <a:off x="6917459" y="4695270"/>
              <a:ext cx="43015" cy="46324"/>
            </a:xfrm>
            <a:custGeom>
              <a:avLst/>
              <a:gdLst>
                <a:gd name="T0" fmla="*/ 0 w 26"/>
                <a:gd name="T1" fmla="*/ 7 h 28"/>
                <a:gd name="T2" fmla="*/ 3 w 26"/>
                <a:gd name="T3" fmla="*/ 2 h 28"/>
                <a:gd name="T4" fmla="*/ 3 w 26"/>
                <a:gd name="T5" fmla="*/ 2 h 28"/>
                <a:gd name="T6" fmla="*/ 5 w 26"/>
                <a:gd name="T7" fmla="*/ 0 h 28"/>
                <a:gd name="T8" fmla="*/ 7 w 26"/>
                <a:gd name="T9" fmla="*/ 2 h 28"/>
                <a:gd name="T10" fmla="*/ 7 w 26"/>
                <a:gd name="T11" fmla="*/ 4 h 28"/>
                <a:gd name="T12" fmla="*/ 10 w 26"/>
                <a:gd name="T13" fmla="*/ 4 h 28"/>
                <a:gd name="T14" fmla="*/ 10 w 26"/>
                <a:gd name="T15" fmla="*/ 4 h 28"/>
                <a:gd name="T16" fmla="*/ 10 w 26"/>
                <a:gd name="T17" fmla="*/ 2 h 28"/>
                <a:gd name="T18" fmla="*/ 10 w 26"/>
                <a:gd name="T19" fmla="*/ 0 h 28"/>
                <a:gd name="T20" fmla="*/ 12 w 26"/>
                <a:gd name="T21" fmla="*/ 0 h 28"/>
                <a:gd name="T22" fmla="*/ 15 w 26"/>
                <a:gd name="T23" fmla="*/ 2 h 28"/>
                <a:gd name="T24" fmla="*/ 15 w 26"/>
                <a:gd name="T25" fmla="*/ 4 h 28"/>
                <a:gd name="T26" fmla="*/ 17 w 26"/>
                <a:gd name="T27" fmla="*/ 9 h 28"/>
                <a:gd name="T28" fmla="*/ 17 w 26"/>
                <a:gd name="T29" fmla="*/ 14 h 28"/>
                <a:gd name="T30" fmla="*/ 19 w 26"/>
                <a:gd name="T31" fmla="*/ 16 h 28"/>
                <a:gd name="T32" fmla="*/ 24 w 26"/>
                <a:gd name="T33" fmla="*/ 18 h 28"/>
                <a:gd name="T34" fmla="*/ 26 w 26"/>
                <a:gd name="T35" fmla="*/ 18 h 28"/>
                <a:gd name="T36" fmla="*/ 24 w 26"/>
                <a:gd name="T37" fmla="*/ 25 h 28"/>
                <a:gd name="T38" fmla="*/ 26 w 26"/>
                <a:gd name="T39" fmla="*/ 25 h 28"/>
                <a:gd name="T40" fmla="*/ 24 w 26"/>
                <a:gd name="T41" fmla="*/ 28 h 28"/>
                <a:gd name="T42" fmla="*/ 22 w 26"/>
                <a:gd name="T43" fmla="*/ 25 h 28"/>
                <a:gd name="T44" fmla="*/ 17 w 26"/>
                <a:gd name="T45" fmla="*/ 23 h 28"/>
                <a:gd name="T46" fmla="*/ 15 w 26"/>
                <a:gd name="T47" fmla="*/ 21 h 28"/>
                <a:gd name="T48" fmla="*/ 12 w 26"/>
                <a:gd name="T49" fmla="*/ 18 h 28"/>
                <a:gd name="T50" fmla="*/ 12 w 26"/>
                <a:gd name="T51" fmla="*/ 16 h 28"/>
                <a:gd name="T52" fmla="*/ 12 w 26"/>
                <a:gd name="T53" fmla="*/ 14 h 28"/>
                <a:gd name="T54" fmla="*/ 10 w 26"/>
                <a:gd name="T55" fmla="*/ 11 h 28"/>
                <a:gd name="T56" fmla="*/ 5 w 26"/>
                <a:gd name="T57" fmla="*/ 9 h 28"/>
                <a:gd name="T58" fmla="*/ 5 w 26"/>
                <a:gd name="T59" fmla="*/ 9 h 28"/>
                <a:gd name="T60" fmla="*/ 0 w 26"/>
                <a:gd name="T61" fmla="*/ 9 h 28"/>
                <a:gd name="T62" fmla="*/ 0 w 26"/>
                <a:gd name="T63"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8">
                  <a:moveTo>
                    <a:pt x="0" y="7"/>
                  </a:moveTo>
                  <a:lnTo>
                    <a:pt x="3" y="2"/>
                  </a:lnTo>
                  <a:lnTo>
                    <a:pt x="3" y="2"/>
                  </a:lnTo>
                  <a:lnTo>
                    <a:pt x="5" y="0"/>
                  </a:lnTo>
                  <a:lnTo>
                    <a:pt x="7" y="2"/>
                  </a:lnTo>
                  <a:lnTo>
                    <a:pt x="7" y="4"/>
                  </a:lnTo>
                  <a:lnTo>
                    <a:pt x="10" y="4"/>
                  </a:lnTo>
                  <a:lnTo>
                    <a:pt x="10" y="4"/>
                  </a:lnTo>
                  <a:lnTo>
                    <a:pt x="10" y="2"/>
                  </a:lnTo>
                  <a:lnTo>
                    <a:pt x="10" y="0"/>
                  </a:lnTo>
                  <a:lnTo>
                    <a:pt x="12" y="0"/>
                  </a:lnTo>
                  <a:lnTo>
                    <a:pt x="15" y="2"/>
                  </a:lnTo>
                  <a:lnTo>
                    <a:pt x="15" y="4"/>
                  </a:lnTo>
                  <a:lnTo>
                    <a:pt x="17" y="9"/>
                  </a:lnTo>
                  <a:lnTo>
                    <a:pt x="17" y="14"/>
                  </a:lnTo>
                  <a:lnTo>
                    <a:pt x="19" y="16"/>
                  </a:lnTo>
                  <a:lnTo>
                    <a:pt x="24" y="18"/>
                  </a:lnTo>
                  <a:lnTo>
                    <a:pt x="26" y="18"/>
                  </a:lnTo>
                  <a:lnTo>
                    <a:pt x="24" y="25"/>
                  </a:lnTo>
                  <a:lnTo>
                    <a:pt x="26" y="25"/>
                  </a:lnTo>
                  <a:lnTo>
                    <a:pt x="24" y="28"/>
                  </a:lnTo>
                  <a:lnTo>
                    <a:pt x="22" y="25"/>
                  </a:lnTo>
                  <a:lnTo>
                    <a:pt x="17" y="23"/>
                  </a:lnTo>
                  <a:lnTo>
                    <a:pt x="15" y="21"/>
                  </a:lnTo>
                  <a:lnTo>
                    <a:pt x="12" y="18"/>
                  </a:lnTo>
                  <a:lnTo>
                    <a:pt x="12" y="16"/>
                  </a:lnTo>
                  <a:lnTo>
                    <a:pt x="12" y="14"/>
                  </a:lnTo>
                  <a:lnTo>
                    <a:pt x="10" y="11"/>
                  </a:lnTo>
                  <a:lnTo>
                    <a:pt x="5" y="9"/>
                  </a:lnTo>
                  <a:lnTo>
                    <a:pt x="5" y="9"/>
                  </a:lnTo>
                  <a:lnTo>
                    <a:pt x="0" y="9"/>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7" name="Freeform 1154">
              <a:extLst>
                <a:ext uri="{FF2B5EF4-FFF2-40B4-BE49-F238E27FC236}">
                  <a16:creationId xmlns:a16="http://schemas.microsoft.com/office/drawing/2014/main" id="{966FD355-309F-48F3-B5B0-2929F52BDFBF}"/>
                </a:ext>
              </a:extLst>
            </p:cNvPr>
            <p:cNvSpPr>
              <a:spLocks/>
            </p:cNvSpPr>
            <p:nvPr/>
          </p:nvSpPr>
          <p:spPr bwMode="auto">
            <a:xfrm>
              <a:off x="6985292" y="4725050"/>
              <a:ext cx="18200" cy="19854"/>
            </a:xfrm>
            <a:custGeom>
              <a:avLst/>
              <a:gdLst>
                <a:gd name="T0" fmla="*/ 2 w 11"/>
                <a:gd name="T1" fmla="*/ 0 h 12"/>
                <a:gd name="T2" fmla="*/ 2 w 11"/>
                <a:gd name="T3" fmla="*/ 0 h 12"/>
                <a:gd name="T4" fmla="*/ 7 w 11"/>
                <a:gd name="T5" fmla="*/ 0 h 12"/>
                <a:gd name="T6" fmla="*/ 9 w 11"/>
                <a:gd name="T7" fmla="*/ 0 h 12"/>
                <a:gd name="T8" fmla="*/ 11 w 11"/>
                <a:gd name="T9" fmla="*/ 3 h 12"/>
                <a:gd name="T10" fmla="*/ 11 w 11"/>
                <a:gd name="T11" fmla="*/ 3 h 12"/>
                <a:gd name="T12" fmla="*/ 11 w 11"/>
                <a:gd name="T13" fmla="*/ 7 h 12"/>
                <a:gd name="T14" fmla="*/ 11 w 11"/>
                <a:gd name="T15" fmla="*/ 7 h 12"/>
                <a:gd name="T16" fmla="*/ 9 w 11"/>
                <a:gd name="T17" fmla="*/ 10 h 12"/>
                <a:gd name="T18" fmla="*/ 9 w 11"/>
                <a:gd name="T19" fmla="*/ 12 h 12"/>
                <a:gd name="T20" fmla="*/ 7 w 11"/>
                <a:gd name="T21" fmla="*/ 10 h 12"/>
                <a:gd name="T22" fmla="*/ 4 w 11"/>
                <a:gd name="T23" fmla="*/ 10 h 12"/>
                <a:gd name="T24" fmla="*/ 2 w 11"/>
                <a:gd name="T25" fmla="*/ 10 h 12"/>
                <a:gd name="T26" fmla="*/ 2 w 11"/>
                <a:gd name="T27" fmla="*/ 10 h 12"/>
                <a:gd name="T28" fmla="*/ 2 w 11"/>
                <a:gd name="T29" fmla="*/ 7 h 12"/>
                <a:gd name="T30" fmla="*/ 0 w 11"/>
                <a:gd name="T31" fmla="*/ 5 h 12"/>
                <a:gd name="T32" fmla="*/ 2 w 11"/>
                <a:gd name="T33" fmla="*/ 3 h 12"/>
                <a:gd name="T34" fmla="*/ 2 w 11"/>
                <a:gd name="T35" fmla="*/ 0 h 12"/>
                <a:gd name="T36" fmla="*/ 2 w 11"/>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2">
                  <a:moveTo>
                    <a:pt x="2" y="0"/>
                  </a:moveTo>
                  <a:lnTo>
                    <a:pt x="2" y="0"/>
                  </a:lnTo>
                  <a:lnTo>
                    <a:pt x="7" y="0"/>
                  </a:lnTo>
                  <a:lnTo>
                    <a:pt x="9" y="0"/>
                  </a:lnTo>
                  <a:lnTo>
                    <a:pt x="11" y="3"/>
                  </a:lnTo>
                  <a:lnTo>
                    <a:pt x="11" y="3"/>
                  </a:lnTo>
                  <a:lnTo>
                    <a:pt x="11" y="7"/>
                  </a:lnTo>
                  <a:lnTo>
                    <a:pt x="11" y="7"/>
                  </a:lnTo>
                  <a:lnTo>
                    <a:pt x="9" y="10"/>
                  </a:lnTo>
                  <a:lnTo>
                    <a:pt x="9" y="12"/>
                  </a:lnTo>
                  <a:lnTo>
                    <a:pt x="7" y="10"/>
                  </a:lnTo>
                  <a:lnTo>
                    <a:pt x="4" y="10"/>
                  </a:lnTo>
                  <a:lnTo>
                    <a:pt x="2" y="10"/>
                  </a:lnTo>
                  <a:lnTo>
                    <a:pt x="2" y="10"/>
                  </a:lnTo>
                  <a:lnTo>
                    <a:pt x="2" y="7"/>
                  </a:lnTo>
                  <a:lnTo>
                    <a:pt x="0" y="5"/>
                  </a:lnTo>
                  <a:lnTo>
                    <a:pt x="2" y="3"/>
                  </a:lnTo>
                  <a:lnTo>
                    <a:pt x="2" y="0"/>
                  </a:lnTo>
                  <a:lnTo>
                    <a:pt x="2"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8" name="Freeform 1155">
              <a:extLst>
                <a:ext uri="{FF2B5EF4-FFF2-40B4-BE49-F238E27FC236}">
                  <a16:creationId xmlns:a16="http://schemas.microsoft.com/office/drawing/2014/main" id="{FE672D57-6518-4619-AB24-F2724D5900FB}"/>
                </a:ext>
              </a:extLst>
            </p:cNvPr>
            <p:cNvSpPr>
              <a:spLocks/>
            </p:cNvSpPr>
            <p:nvPr/>
          </p:nvSpPr>
          <p:spPr bwMode="auto">
            <a:xfrm>
              <a:off x="6985292" y="4725050"/>
              <a:ext cx="18200" cy="19854"/>
            </a:xfrm>
            <a:custGeom>
              <a:avLst/>
              <a:gdLst>
                <a:gd name="T0" fmla="*/ 2 w 11"/>
                <a:gd name="T1" fmla="*/ 0 h 12"/>
                <a:gd name="T2" fmla="*/ 2 w 11"/>
                <a:gd name="T3" fmla="*/ 0 h 12"/>
                <a:gd name="T4" fmla="*/ 7 w 11"/>
                <a:gd name="T5" fmla="*/ 0 h 12"/>
                <a:gd name="T6" fmla="*/ 9 w 11"/>
                <a:gd name="T7" fmla="*/ 0 h 12"/>
                <a:gd name="T8" fmla="*/ 11 w 11"/>
                <a:gd name="T9" fmla="*/ 3 h 12"/>
                <a:gd name="T10" fmla="*/ 11 w 11"/>
                <a:gd name="T11" fmla="*/ 3 h 12"/>
                <a:gd name="T12" fmla="*/ 11 w 11"/>
                <a:gd name="T13" fmla="*/ 7 h 12"/>
                <a:gd name="T14" fmla="*/ 11 w 11"/>
                <a:gd name="T15" fmla="*/ 7 h 12"/>
                <a:gd name="T16" fmla="*/ 9 w 11"/>
                <a:gd name="T17" fmla="*/ 10 h 12"/>
                <a:gd name="T18" fmla="*/ 9 w 11"/>
                <a:gd name="T19" fmla="*/ 12 h 12"/>
                <a:gd name="T20" fmla="*/ 7 w 11"/>
                <a:gd name="T21" fmla="*/ 10 h 12"/>
                <a:gd name="T22" fmla="*/ 4 w 11"/>
                <a:gd name="T23" fmla="*/ 10 h 12"/>
                <a:gd name="T24" fmla="*/ 2 w 11"/>
                <a:gd name="T25" fmla="*/ 10 h 12"/>
                <a:gd name="T26" fmla="*/ 2 w 11"/>
                <a:gd name="T27" fmla="*/ 10 h 12"/>
                <a:gd name="T28" fmla="*/ 2 w 11"/>
                <a:gd name="T29" fmla="*/ 7 h 12"/>
                <a:gd name="T30" fmla="*/ 0 w 11"/>
                <a:gd name="T31" fmla="*/ 5 h 12"/>
                <a:gd name="T32" fmla="*/ 2 w 11"/>
                <a:gd name="T33" fmla="*/ 3 h 12"/>
                <a:gd name="T34" fmla="*/ 2 w 11"/>
                <a:gd name="T35" fmla="*/ 0 h 12"/>
                <a:gd name="T36" fmla="*/ 2 w 11"/>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2">
                  <a:moveTo>
                    <a:pt x="2" y="0"/>
                  </a:moveTo>
                  <a:lnTo>
                    <a:pt x="2" y="0"/>
                  </a:lnTo>
                  <a:lnTo>
                    <a:pt x="7" y="0"/>
                  </a:lnTo>
                  <a:lnTo>
                    <a:pt x="9" y="0"/>
                  </a:lnTo>
                  <a:lnTo>
                    <a:pt x="11" y="3"/>
                  </a:lnTo>
                  <a:lnTo>
                    <a:pt x="11" y="3"/>
                  </a:lnTo>
                  <a:lnTo>
                    <a:pt x="11" y="7"/>
                  </a:lnTo>
                  <a:lnTo>
                    <a:pt x="11" y="7"/>
                  </a:lnTo>
                  <a:lnTo>
                    <a:pt x="9" y="10"/>
                  </a:lnTo>
                  <a:lnTo>
                    <a:pt x="9" y="12"/>
                  </a:lnTo>
                  <a:lnTo>
                    <a:pt x="7" y="10"/>
                  </a:lnTo>
                  <a:lnTo>
                    <a:pt x="4" y="10"/>
                  </a:lnTo>
                  <a:lnTo>
                    <a:pt x="2" y="10"/>
                  </a:lnTo>
                  <a:lnTo>
                    <a:pt x="2" y="10"/>
                  </a:lnTo>
                  <a:lnTo>
                    <a:pt x="2" y="7"/>
                  </a:lnTo>
                  <a:lnTo>
                    <a:pt x="0" y="5"/>
                  </a:lnTo>
                  <a:lnTo>
                    <a:pt x="2" y="3"/>
                  </a:lnTo>
                  <a:lnTo>
                    <a:pt x="2" y="0"/>
                  </a:lnTo>
                  <a:lnTo>
                    <a:pt x="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79" name="Freeform 1156">
              <a:extLst>
                <a:ext uri="{FF2B5EF4-FFF2-40B4-BE49-F238E27FC236}">
                  <a16:creationId xmlns:a16="http://schemas.microsoft.com/office/drawing/2014/main" id="{7E72D85E-9F2F-4B5A-839C-2B12753AE926}"/>
                </a:ext>
              </a:extLst>
            </p:cNvPr>
            <p:cNvSpPr>
              <a:spLocks/>
            </p:cNvSpPr>
            <p:nvPr/>
          </p:nvSpPr>
          <p:spPr bwMode="auto">
            <a:xfrm>
              <a:off x="6917459" y="4822662"/>
              <a:ext cx="266363" cy="82721"/>
            </a:xfrm>
            <a:custGeom>
              <a:avLst/>
              <a:gdLst>
                <a:gd name="T0" fmla="*/ 116 w 161"/>
                <a:gd name="T1" fmla="*/ 41 h 50"/>
                <a:gd name="T2" fmla="*/ 107 w 161"/>
                <a:gd name="T3" fmla="*/ 41 h 50"/>
                <a:gd name="T4" fmla="*/ 104 w 161"/>
                <a:gd name="T5" fmla="*/ 38 h 50"/>
                <a:gd name="T6" fmla="*/ 100 w 161"/>
                <a:gd name="T7" fmla="*/ 41 h 50"/>
                <a:gd name="T8" fmla="*/ 93 w 161"/>
                <a:gd name="T9" fmla="*/ 38 h 50"/>
                <a:gd name="T10" fmla="*/ 88 w 161"/>
                <a:gd name="T11" fmla="*/ 34 h 50"/>
                <a:gd name="T12" fmla="*/ 83 w 161"/>
                <a:gd name="T13" fmla="*/ 31 h 50"/>
                <a:gd name="T14" fmla="*/ 74 w 161"/>
                <a:gd name="T15" fmla="*/ 31 h 50"/>
                <a:gd name="T16" fmla="*/ 69 w 161"/>
                <a:gd name="T17" fmla="*/ 31 h 50"/>
                <a:gd name="T18" fmla="*/ 64 w 161"/>
                <a:gd name="T19" fmla="*/ 31 h 50"/>
                <a:gd name="T20" fmla="*/ 62 w 161"/>
                <a:gd name="T21" fmla="*/ 29 h 50"/>
                <a:gd name="T22" fmla="*/ 57 w 161"/>
                <a:gd name="T23" fmla="*/ 31 h 50"/>
                <a:gd name="T24" fmla="*/ 45 w 161"/>
                <a:gd name="T25" fmla="*/ 29 h 50"/>
                <a:gd name="T26" fmla="*/ 38 w 161"/>
                <a:gd name="T27" fmla="*/ 26 h 50"/>
                <a:gd name="T28" fmla="*/ 26 w 161"/>
                <a:gd name="T29" fmla="*/ 26 h 50"/>
                <a:gd name="T30" fmla="*/ 22 w 161"/>
                <a:gd name="T31" fmla="*/ 24 h 50"/>
                <a:gd name="T32" fmla="*/ 24 w 161"/>
                <a:gd name="T33" fmla="*/ 19 h 50"/>
                <a:gd name="T34" fmla="*/ 19 w 161"/>
                <a:gd name="T35" fmla="*/ 17 h 50"/>
                <a:gd name="T36" fmla="*/ 7 w 161"/>
                <a:gd name="T37" fmla="*/ 15 h 50"/>
                <a:gd name="T38" fmla="*/ 3 w 161"/>
                <a:gd name="T39" fmla="*/ 15 h 50"/>
                <a:gd name="T40" fmla="*/ 0 w 161"/>
                <a:gd name="T41" fmla="*/ 12 h 50"/>
                <a:gd name="T42" fmla="*/ 3 w 161"/>
                <a:gd name="T43" fmla="*/ 12 h 50"/>
                <a:gd name="T44" fmla="*/ 7 w 161"/>
                <a:gd name="T45" fmla="*/ 12 h 50"/>
                <a:gd name="T46" fmla="*/ 10 w 161"/>
                <a:gd name="T47" fmla="*/ 10 h 50"/>
                <a:gd name="T48" fmla="*/ 12 w 161"/>
                <a:gd name="T49" fmla="*/ 3 h 50"/>
                <a:gd name="T50" fmla="*/ 17 w 161"/>
                <a:gd name="T51" fmla="*/ 0 h 50"/>
                <a:gd name="T52" fmla="*/ 33 w 161"/>
                <a:gd name="T53" fmla="*/ 0 h 50"/>
                <a:gd name="T54" fmla="*/ 38 w 161"/>
                <a:gd name="T55" fmla="*/ 0 h 50"/>
                <a:gd name="T56" fmla="*/ 43 w 161"/>
                <a:gd name="T57" fmla="*/ 5 h 50"/>
                <a:gd name="T58" fmla="*/ 50 w 161"/>
                <a:gd name="T59" fmla="*/ 5 h 50"/>
                <a:gd name="T60" fmla="*/ 57 w 161"/>
                <a:gd name="T61" fmla="*/ 10 h 50"/>
                <a:gd name="T62" fmla="*/ 62 w 161"/>
                <a:gd name="T63" fmla="*/ 15 h 50"/>
                <a:gd name="T64" fmla="*/ 74 w 161"/>
                <a:gd name="T65" fmla="*/ 15 h 50"/>
                <a:gd name="T66" fmla="*/ 83 w 161"/>
                <a:gd name="T67" fmla="*/ 17 h 50"/>
                <a:gd name="T68" fmla="*/ 90 w 161"/>
                <a:gd name="T69" fmla="*/ 17 h 50"/>
                <a:gd name="T70" fmla="*/ 95 w 161"/>
                <a:gd name="T71" fmla="*/ 12 h 50"/>
                <a:gd name="T72" fmla="*/ 97 w 161"/>
                <a:gd name="T73" fmla="*/ 8 h 50"/>
                <a:gd name="T74" fmla="*/ 102 w 161"/>
                <a:gd name="T75" fmla="*/ 10 h 50"/>
                <a:gd name="T76" fmla="*/ 107 w 161"/>
                <a:gd name="T77" fmla="*/ 12 h 50"/>
                <a:gd name="T78" fmla="*/ 111 w 161"/>
                <a:gd name="T79" fmla="*/ 12 h 50"/>
                <a:gd name="T80" fmla="*/ 114 w 161"/>
                <a:gd name="T81" fmla="*/ 15 h 50"/>
                <a:gd name="T82" fmla="*/ 118 w 161"/>
                <a:gd name="T83" fmla="*/ 15 h 50"/>
                <a:gd name="T84" fmla="*/ 128 w 161"/>
                <a:gd name="T85" fmla="*/ 17 h 50"/>
                <a:gd name="T86" fmla="*/ 133 w 161"/>
                <a:gd name="T87" fmla="*/ 24 h 50"/>
                <a:gd name="T88" fmla="*/ 135 w 161"/>
                <a:gd name="T89" fmla="*/ 29 h 50"/>
                <a:gd name="T90" fmla="*/ 144 w 161"/>
                <a:gd name="T91" fmla="*/ 31 h 50"/>
                <a:gd name="T92" fmla="*/ 154 w 161"/>
                <a:gd name="T93" fmla="*/ 29 h 50"/>
                <a:gd name="T94" fmla="*/ 159 w 161"/>
                <a:gd name="T95" fmla="*/ 31 h 50"/>
                <a:gd name="T96" fmla="*/ 159 w 161"/>
                <a:gd name="T97" fmla="*/ 43 h 50"/>
                <a:gd name="T98" fmla="*/ 161 w 161"/>
                <a:gd name="T99" fmla="*/ 48 h 50"/>
                <a:gd name="T100" fmla="*/ 161 w 161"/>
                <a:gd name="T101" fmla="*/ 50 h 50"/>
                <a:gd name="T102" fmla="*/ 147 w 161"/>
                <a:gd name="T103" fmla="*/ 45 h 50"/>
                <a:gd name="T104" fmla="*/ 137 w 161"/>
                <a:gd name="T105" fmla="*/ 41 h 50"/>
                <a:gd name="T106" fmla="*/ 126 w 161"/>
                <a:gd name="T107" fmla="*/ 43 h 50"/>
                <a:gd name="T108" fmla="*/ 118 w 161"/>
                <a:gd name="T109"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 h="50">
                  <a:moveTo>
                    <a:pt x="118" y="41"/>
                  </a:moveTo>
                  <a:lnTo>
                    <a:pt x="116" y="41"/>
                  </a:lnTo>
                  <a:lnTo>
                    <a:pt x="111" y="43"/>
                  </a:lnTo>
                  <a:lnTo>
                    <a:pt x="107" y="41"/>
                  </a:lnTo>
                  <a:lnTo>
                    <a:pt x="104" y="41"/>
                  </a:lnTo>
                  <a:lnTo>
                    <a:pt x="104" y="38"/>
                  </a:lnTo>
                  <a:lnTo>
                    <a:pt x="104" y="41"/>
                  </a:lnTo>
                  <a:lnTo>
                    <a:pt x="100" y="41"/>
                  </a:lnTo>
                  <a:lnTo>
                    <a:pt x="97" y="38"/>
                  </a:lnTo>
                  <a:lnTo>
                    <a:pt x="93" y="38"/>
                  </a:lnTo>
                  <a:lnTo>
                    <a:pt x="90" y="36"/>
                  </a:lnTo>
                  <a:lnTo>
                    <a:pt x="88" y="34"/>
                  </a:lnTo>
                  <a:lnTo>
                    <a:pt x="85" y="34"/>
                  </a:lnTo>
                  <a:lnTo>
                    <a:pt x="83" y="31"/>
                  </a:lnTo>
                  <a:lnTo>
                    <a:pt x="78" y="31"/>
                  </a:lnTo>
                  <a:lnTo>
                    <a:pt x="74" y="31"/>
                  </a:lnTo>
                  <a:lnTo>
                    <a:pt x="69" y="29"/>
                  </a:lnTo>
                  <a:lnTo>
                    <a:pt x="69" y="31"/>
                  </a:lnTo>
                  <a:lnTo>
                    <a:pt x="67" y="31"/>
                  </a:lnTo>
                  <a:lnTo>
                    <a:pt x="64" y="31"/>
                  </a:lnTo>
                  <a:lnTo>
                    <a:pt x="64" y="29"/>
                  </a:lnTo>
                  <a:lnTo>
                    <a:pt x="62" y="29"/>
                  </a:lnTo>
                  <a:lnTo>
                    <a:pt x="59" y="31"/>
                  </a:lnTo>
                  <a:lnTo>
                    <a:pt x="57" y="31"/>
                  </a:lnTo>
                  <a:lnTo>
                    <a:pt x="57" y="31"/>
                  </a:lnTo>
                  <a:lnTo>
                    <a:pt x="45" y="29"/>
                  </a:lnTo>
                  <a:lnTo>
                    <a:pt x="43" y="29"/>
                  </a:lnTo>
                  <a:lnTo>
                    <a:pt x="38" y="26"/>
                  </a:lnTo>
                  <a:lnTo>
                    <a:pt x="31" y="26"/>
                  </a:lnTo>
                  <a:lnTo>
                    <a:pt x="26" y="26"/>
                  </a:lnTo>
                  <a:lnTo>
                    <a:pt x="26" y="24"/>
                  </a:lnTo>
                  <a:lnTo>
                    <a:pt x="22" y="24"/>
                  </a:lnTo>
                  <a:lnTo>
                    <a:pt x="22" y="22"/>
                  </a:lnTo>
                  <a:lnTo>
                    <a:pt x="24" y="19"/>
                  </a:lnTo>
                  <a:lnTo>
                    <a:pt x="24" y="19"/>
                  </a:lnTo>
                  <a:lnTo>
                    <a:pt x="19" y="17"/>
                  </a:lnTo>
                  <a:lnTo>
                    <a:pt x="15" y="15"/>
                  </a:lnTo>
                  <a:lnTo>
                    <a:pt x="7" y="15"/>
                  </a:lnTo>
                  <a:lnTo>
                    <a:pt x="5" y="15"/>
                  </a:lnTo>
                  <a:lnTo>
                    <a:pt x="3" y="15"/>
                  </a:lnTo>
                  <a:lnTo>
                    <a:pt x="0" y="12"/>
                  </a:lnTo>
                  <a:lnTo>
                    <a:pt x="0" y="12"/>
                  </a:lnTo>
                  <a:lnTo>
                    <a:pt x="3" y="12"/>
                  </a:lnTo>
                  <a:lnTo>
                    <a:pt x="3" y="12"/>
                  </a:lnTo>
                  <a:lnTo>
                    <a:pt x="5" y="12"/>
                  </a:lnTo>
                  <a:lnTo>
                    <a:pt x="7" y="12"/>
                  </a:lnTo>
                  <a:lnTo>
                    <a:pt x="7" y="10"/>
                  </a:lnTo>
                  <a:lnTo>
                    <a:pt x="10" y="10"/>
                  </a:lnTo>
                  <a:lnTo>
                    <a:pt x="12" y="8"/>
                  </a:lnTo>
                  <a:lnTo>
                    <a:pt x="12" y="3"/>
                  </a:lnTo>
                  <a:lnTo>
                    <a:pt x="15" y="0"/>
                  </a:lnTo>
                  <a:lnTo>
                    <a:pt x="17" y="0"/>
                  </a:lnTo>
                  <a:lnTo>
                    <a:pt x="29" y="0"/>
                  </a:lnTo>
                  <a:lnTo>
                    <a:pt x="33" y="0"/>
                  </a:lnTo>
                  <a:lnTo>
                    <a:pt x="36" y="0"/>
                  </a:lnTo>
                  <a:lnTo>
                    <a:pt x="38" y="0"/>
                  </a:lnTo>
                  <a:lnTo>
                    <a:pt x="41" y="3"/>
                  </a:lnTo>
                  <a:lnTo>
                    <a:pt x="43" y="5"/>
                  </a:lnTo>
                  <a:lnTo>
                    <a:pt x="45" y="3"/>
                  </a:lnTo>
                  <a:lnTo>
                    <a:pt x="50" y="5"/>
                  </a:lnTo>
                  <a:lnTo>
                    <a:pt x="52" y="5"/>
                  </a:lnTo>
                  <a:lnTo>
                    <a:pt x="57" y="10"/>
                  </a:lnTo>
                  <a:lnTo>
                    <a:pt x="59" y="15"/>
                  </a:lnTo>
                  <a:lnTo>
                    <a:pt x="62" y="15"/>
                  </a:lnTo>
                  <a:lnTo>
                    <a:pt x="67" y="15"/>
                  </a:lnTo>
                  <a:lnTo>
                    <a:pt x="74" y="15"/>
                  </a:lnTo>
                  <a:lnTo>
                    <a:pt x="76" y="15"/>
                  </a:lnTo>
                  <a:lnTo>
                    <a:pt x="83" y="17"/>
                  </a:lnTo>
                  <a:lnTo>
                    <a:pt x="85" y="17"/>
                  </a:lnTo>
                  <a:lnTo>
                    <a:pt x="90" y="17"/>
                  </a:lnTo>
                  <a:lnTo>
                    <a:pt x="93" y="17"/>
                  </a:lnTo>
                  <a:lnTo>
                    <a:pt x="95" y="12"/>
                  </a:lnTo>
                  <a:lnTo>
                    <a:pt x="95" y="10"/>
                  </a:lnTo>
                  <a:lnTo>
                    <a:pt x="97" y="8"/>
                  </a:lnTo>
                  <a:lnTo>
                    <a:pt x="100" y="8"/>
                  </a:lnTo>
                  <a:lnTo>
                    <a:pt x="102" y="10"/>
                  </a:lnTo>
                  <a:lnTo>
                    <a:pt x="104" y="12"/>
                  </a:lnTo>
                  <a:lnTo>
                    <a:pt x="107" y="12"/>
                  </a:lnTo>
                  <a:lnTo>
                    <a:pt x="109" y="10"/>
                  </a:lnTo>
                  <a:lnTo>
                    <a:pt x="111" y="12"/>
                  </a:lnTo>
                  <a:lnTo>
                    <a:pt x="111" y="12"/>
                  </a:lnTo>
                  <a:lnTo>
                    <a:pt x="114" y="15"/>
                  </a:lnTo>
                  <a:lnTo>
                    <a:pt x="116" y="15"/>
                  </a:lnTo>
                  <a:lnTo>
                    <a:pt x="118" y="15"/>
                  </a:lnTo>
                  <a:lnTo>
                    <a:pt x="123" y="15"/>
                  </a:lnTo>
                  <a:lnTo>
                    <a:pt x="128" y="17"/>
                  </a:lnTo>
                  <a:lnTo>
                    <a:pt x="130" y="22"/>
                  </a:lnTo>
                  <a:lnTo>
                    <a:pt x="133" y="24"/>
                  </a:lnTo>
                  <a:lnTo>
                    <a:pt x="133" y="29"/>
                  </a:lnTo>
                  <a:lnTo>
                    <a:pt x="135" y="29"/>
                  </a:lnTo>
                  <a:lnTo>
                    <a:pt x="140" y="31"/>
                  </a:lnTo>
                  <a:lnTo>
                    <a:pt x="144" y="31"/>
                  </a:lnTo>
                  <a:lnTo>
                    <a:pt x="149" y="31"/>
                  </a:lnTo>
                  <a:lnTo>
                    <a:pt x="154" y="29"/>
                  </a:lnTo>
                  <a:lnTo>
                    <a:pt x="156" y="31"/>
                  </a:lnTo>
                  <a:lnTo>
                    <a:pt x="159" y="31"/>
                  </a:lnTo>
                  <a:lnTo>
                    <a:pt x="159" y="36"/>
                  </a:lnTo>
                  <a:lnTo>
                    <a:pt x="159" y="43"/>
                  </a:lnTo>
                  <a:lnTo>
                    <a:pt x="159" y="45"/>
                  </a:lnTo>
                  <a:lnTo>
                    <a:pt x="161" y="48"/>
                  </a:lnTo>
                  <a:lnTo>
                    <a:pt x="161" y="50"/>
                  </a:lnTo>
                  <a:lnTo>
                    <a:pt x="161" y="50"/>
                  </a:lnTo>
                  <a:lnTo>
                    <a:pt x="159" y="48"/>
                  </a:lnTo>
                  <a:lnTo>
                    <a:pt x="147" y="45"/>
                  </a:lnTo>
                  <a:lnTo>
                    <a:pt x="142" y="43"/>
                  </a:lnTo>
                  <a:lnTo>
                    <a:pt x="137" y="41"/>
                  </a:lnTo>
                  <a:lnTo>
                    <a:pt x="130" y="43"/>
                  </a:lnTo>
                  <a:lnTo>
                    <a:pt x="126" y="43"/>
                  </a:lnTo>
                  <a:lnTo>
                    <a:pt x="121" y="41"/>
                  </a:lnTo>
                  <a:lnTo>
                    <a:pt x="118" y="41"/>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0" name="Freeform 1157">
              <a:extLst>
                <a:ext uri="{FF2B5EF4-FFF2-40B4-BE49-F238E27FC236}">
                  <a16:creationId xmlns:a16="http://schemas.microsoft.com/office/drawing/2014/main" id="{41FE208D-0B59-4AEE-AECE-B58FBF744145}"/>
                </a:ext>
              </a:extLst>
            </p:cNvPr>
            <p:cNvSpPr>
              <a:spLocks/>
            </p:cNvSpPr>
            <p:nvPr/>
          </p:nvSpPr>
          <p:spPr bwMode="auto">
            <a:xfrm>
              <a:off x="6917459" y="4822662"/>
              <a:ext cx="266363" cy="82721"/>
            </a:xfrm>
            <a:custGeom>
              <a:avLst/>
              <a:gdLst>
                <a:gd name="T0" fmla="*/ 116 w 161"/>
                <a:gd name="T1" fmla="*/ 41 h 50"/>
                <a:gd name="T2" fmla="*/ 107 w 161"/>
                <a:gd name="T3" fmla="*/ 41 h 50"/>
                <a:gd name="T4" fmla="*/ 104 w 161"/>
                <a:gd name="T5" fmla="*/ 38 h 50"/>
                <a:gd name="T6" fmla="*/ 100 w 161"/>
                <a:gd name="T7" fmla="*/ 41 h 50"/>
                <a:gd name="T8" fmla="*/ 93 w 161"/>
                <a:gd name="T9" fmla="*/ 38 h 50"/>
                <a:gd name="T10" fmla="*/ 88 w 161"/>
                <a:gd name="T11" fmla="*/ 34 h 50"/>
                <a:gd name="T12" fmla="*/ 83 w 161"/>
                <a:gd name="T13" fmla="*/ 31 h 50"/>
                <a:gd name="T14" fmla="*/ 74 w 161"/>
                <a:gd name="T15" fmla="*/ 31 h 50"/>
                <a:gd name="T16" fmla="*/ 69 w 161"/>
                <a:gd name="T17" fmla="*/ 31 h 50"/>
                <a:gd name="T18" fmla="*/ 64 w 161"/>
                <a:gd name="T19" fmla="*/ 31 h 50"/>
                <a:gd name="T20" fmla="*/ 62 w 161"/>
                <a:gd name="T21" fmla="*/ 29 h 50"/>
                <a:gd name="T22" fmla="*/ 57 w 161"/>
                <a:gd name="T23" fmla="*/ 31 h 50"/>
                <a:gd name="T24" fmla="*/ 45 w 161"/>
                <a:gd name="T25" fmla="*/ 29 h 50"/>
                <a:gd name="T26" fmla="*/ 38 w 161"/>
                <a:gd name="T27" fmla="*/ 26 h 50"/>
                <a:gd name="T28" fmla="*/ 26 w 161"/>
                <a:gd name="T29" fmla="*/ 26 h 50"/>
                <a:gd name="T30" fmla="*/ 22 w 161"/>
                <a:gd name="T31" fmla="*/ 24 h 50"/>
                <a:gd name="T32" fmla="*/ 24 w 161"/>
                <a:gd name="T33" fmla="*/ 19 h 50"/>
                <a:gd name="T34" fmla="*/ 19 w 161"/>
                <a:gd name="T35" fmla="*/ 17 h 50"/>
                <a:gd name="T36" fmla="*/ 7 w 161"/>
                <a:gd name="T37" fmla="*/ 15 h 50"/>
                <a:gd name="T38" fmla="*/ 3 w 161"/>
                <a:gd name="T39" fmla="*/ 15 h 50"/>
                <a:gd name="T40" fmla="*/ 0 w 161"/>
                <a:gd name="T41" fmla="*/ 12 h 50"/>
                <a:gd name="T42" fmla="*/ 3 w 161"/>
                <a:gd name="T43" fmla="*/ 12 h 50"/>
                <a:gd name="T44" fmla="*/ 7 w 161"/>
                <a:gd name="T45" fmla="*/ 12 h 50"/>
                <a:gd name="T46" fmla="*/ 10 w 161"/>
                <a:gd name="T47" fmla="*/ 10 h 50"/>
                <a:gd name="T48" fmla="*/ 12 w 161"/>
                <a:gd name="T49" fmla="*/ 3 h 50"/>
                <a:gd name="T50" fmla="*/ 17 w 161"/>
                <a:gd name="T51" fmla="*/ 0 h 50"/>
                <a:gd name="T52" fmla="*/ 33 w 161"/>
                <a:gd name="T53" fmla="*/ 0 h 50"/>
                <a:gd name="T54" fmla="*/ 38 w 161"/>
                <a:gd name="T55" fmla="*/ 0 h 50"/>
                <a:gd name="T56" fmla="*/ 43 w 161"/>
                <a:gd name="T57" fmla="*/ 5 h 50"/>
                <a:gd name="T58" fmla="*/ 50 w 161"/>
                <a:gd name="T59" fmla="*/ 5 h 50"/>
                <a:gd name="T60" fmla="*/ 57 w 161"/>
                <a:gd name="T61" fmla="*/ 10 h 50"/>
                <a:gd name="T62" fmla="*/ 62 w 161"/>
                <a:gd name="T63" fmla="*/ 15 h 50"/>
                <a:gd name="T64" fmla="*/ 74 w 161"/>
                <a:gd name="T65" fmla="*/ 15 h 50"/>
                <a:gd name="T66" fmla="*/ 83 w 161"/>
                <a:gd name="T67" fmla="*/ 17 h 50"/>
                <a:gd name="T68" fmla="*/ 90 w 161"/>
                <a:gd name="T69" fmla="*/ 17 h 50"/>
                <a:gd name="T70" fmla="*/ 95 w 161"/>
                <a:gd name="T71" fmla="*/ 12 h 50"/>
                <a:gd name="T72" fmla="*/ 97 w 161"/>
                <a:gd name="T73" fmla="*/ 8 h 50"/>
                <a:gd name="T74" fmla="*/ 102 w 161"/>
                <a:gd name="T75" fmla="*/ 10 h 50"/>
                <a:gd name="T76" fmla="*/ 107 w 161"/>
                <a:gd name="T77" fmla="*/ 12 h 50"/>
                <a:gd name="T78" fmla="*/ 111 w 161"/>
                <a:gd name="T79" fmla="*/ 12 h 50"/>
                <a:gd name="T80" fmla="*/ 114 w 161"/>
                <a:gd name="T81" fmla="*/ 15 h 50"/>
                <a:gd name="T82" fmla="*/ 118 w 161"/>
                <a:gd name="T83" fmla="*/ 15 h 50"/>
                <a:gd name="T84" fmla="*/ 128 w 161"/>
                <a:gd name="T85" fmla="*/ 17 h 50"/>
                <a:gd name="T86" fmla="*/ 133 w 161"/>
                <a:gd name="T87" fmla="*/ 24 h 50"/>
                <a:gd name="T88" fmla="*/ 135 w 161"/>
                <a:gd name="T89" fmla="*/ 29 h 50"/>
                <a:gd name="T90" fmla="*/ 144 w 161"/>
                <a:gd name="T91" fmla="*/ 31 h 50"/>
                <a:gd name="T92" fmla="*/ 154 w 161"/>
                <a:gd name="T93" fmla="*/ 29 h 50"/>
                <a:gd name="T94" fmla="*/ 159 w 161"/>
                <a:gd name="T95" fmla="*/ 31 h 50"/>
                <a:gd name="T96" fmla="*/ 159 w 161"/>
                <a:gd name="T97" fmla="*/ 43 h 50"/>
                <a:gd name="T98" fmla="*/ 161 w 161"/>
                <a:gd name="T99" fmla="*/ 48 h 50"/>
                <a:gd name="T100" fmla="*/ 161 w 161"/>
                <a:gd name="T101" fmla="*/ 50 h 50"/>
                <a:gd name="T102" fmla="*/ 147 w 161"/>
                <a:gd name="T103" fmla="*/ 45 h 50"/>
                <a:gd name="T104" fmla="*/ 137 w 161"/>
                <a:gd name="T105" fmla="*/ 41 h 50"/>
                <a:gd name="T106" fmla="*/ 126 w 161"/>
                <a:gd name="T107" fmla="*/ 43 h 50"/>
                <a:gd name="T108" fmla="*/ 118 w 161"/>
                <a:gd name="T109"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 h="50">
                  <a:moveTo>
                    <a:pt x="118" y="41"/>
                  </a:moveTo>
                  <a:lnTo>
                    <a:pt x="116" y="41"/>
                  </a:lnTo>
                  <a:lnTo>
                    <a:pt x="111" y="43"/>
                  </a:lnTo>
                  <a:lnTo>
                    <a:pt x="107" y="41"/>
                  </a:lnTo>
                  <a:lnTo>
                    <a:pt x="104" y="41"/>
                  </a:lnTo>
                  <a:lnTo>
                    <a:pt x="104" y="38"/>
                  </a:lnTo>
                  <a:lnTo>
                    <a:pt x="104" y="41"/>
                  </a:lnTo>
                  <a:lnTo>
                    <a:pt x="100" y="41"/>
                  </a:lnTo>
                  <a:lnTo>
                    <a:pt x="97" y="38"/>
                  </a:lnTo>
                  <a:lnTo>
                    <a:pt x="93" y="38"/>
                  </a:lnTo>
                  <a:lnTo>
                    <a:pt x="90" y="36"/>
                  </a:lnTo>
                  <a:lnTo>
                    <a:pt x="88" y="34"/>
                  </a:lnTo>
                  <a:lnTo>
                    <a:pt x="85" y="34"/>
                  </a:lnTo>
                  <a:lnTo>
                    <a:pt x="83" y="31"/>
                  </a:lnTo>
                  <a:lnTo>
                    <a:pt x="78" y="31"/>
                  </a:lnTo>
                  <a:lnTo>
                    <a:pt x="74" y="31"/>
                  </a:lnTo>
                  <a:lnTo>
                    <a:pt x="69" y="29"/>
                  </a:lnTo>
                  <a:lnTo>
                    <a:pt x="69" y="31"/>
                  </a:lnTo>
                  <a:lnTo>
                    <a:pt x="67" y="31"/>
                  </a:lnTo>
                  <a:lnTo>
                    <a:pt x="64" y="31"/>
                  </a:lnTo>
                  <a:lnTo>
                    <a:pt x="64" y="29"/>
                  </a:lnTo>
                  <a:lnTo>
                    <a:pt x="62" y="29"/>
                  </a:lnTo>
                  <a:lnTo>
                    <a:pt x="59" y="31"/>
                  </a:lnTo>
                  <a:lnTo>
                    <a:pt x="57" y="31"/>
                  </a:lnTo>
                  <a:lnTo>
                    <a:pt x="57" y="31"/>
                  </a:lnTo>
                  <a:lnTo>
                    <a:pt x="45" y="29"/>
                  </a:lnTo>
                  <a:lnTo>
                    <a:pt x="43" y="29"/>
                  </a:lnTo>
                  <a:lnTo>
                    <a:pt x="38" y="26"/>
                  </a:lnTo>
                  <a:lnTo>
                    <a:pt x="31" y="26"/>
                  </a:lnTo>
                  <a:lnTo>
                    <a:pt x="26" y="26"/>
                  </a:lnTo>
                  <a:lnTo>
                    <a:pt x="26" y="24"/>
                  </a:lnTo>
                  <a:lnTo>
                    <a:pt x="22" y="24"/>
                  </a:lnTo>
                  <a:lnTo>
                    <a:pt x="22" y="22"/>
                  </a:lnTo>
                  <a:lnTo>
                    <a:pt x="24" y="19"/>
                  </a:lnTo>
                  <a:lnTo>
                    <a:pt x="24" y="19"/>
                  </a:lnTo>
                  <a:lnTo>
                    <a:pt x="19" y="17"/>
                  </a:lnTo>
                  <a:lnTo>
                    <a:pt x="15" y="15"/>
                  </a:lnTo>
                  <a:lnTo>
                    <a:pt x="7" y="15"/>
                  </a:lnTo>
                  <a:lnTo>
                    <a:pt x="5" y="15"/>
                  </a:lnTo>
                  <a:lnTo>
                    <a:pt x="3" y="15"/>
                  </a:lnTo>
                  <a:lnTo>
                    <a:pt x="0" y="12"/>
                  </a:lnTo>
                  <a:lnTo>
                    <a:pt x="0" y="12"/>
                  </a:lnTo>
                  <a:lnTo>
                    <a:pt x="3" y="12"/>
                  </a:lnTo>
                  <a:lnTo>
                    <a:pt x="3" y="12"/>
                  </a:lnTo>
                  <a:lnTo>
                    <a:pt x="5" y="12"/>
                  </a:lnTo>
                  <a:lnTo>
                    <a:pt x="7" y="12"/>
                  </a:lnTo>
                  <a:lnTo>
                    <a:pt x="7" y="10"/>
                  </a:lnTo>
                  <a:lnTo>
                    <a:pt x="10" y="10"/>
                  </a:lnTo>
                  <a:lnTo>
                    <a:pt x="12" y="8"/>
                  </a:lnTo>
                  <a:lnTo>
                    <a:pt x="12" y="3"/>
                  </a:lnTo>
                  <a:lnTo>
                    <a:pt x="15" y="0"/>
                  </a:lnTo>
                  <a:lnTo>
                    <a:pt x="17" y="0"/>
                  </a:lnTo>
                  <a:lnTo>
                    <a:pt x="29" y="0"/>
                  </a:lnTo>
                  <a:lnTo>
                    <a:pt x="33" y="0"/>
                  </a:lnTo>
                  <a:lnTo>
                    <a:pt x="36" y="0"/>
                  </a:lnTo>
                  <a:lnTo>
                    <a:pt x="38" y="0"/>
                  </a:lnTo>
                  <a:lnTo>
                    <a:pt x="41" y="3"/>
                  </a:lnTo>
                  <a:lnTo>
                    <a:pt x="43" y="5"/>
                  </a:lnTo>
                  <a:lnTo>
                    <a:pt x="45" y="3"/>
                  </a:lnTo>
                  <a:lnTo>
                    <a:pt x="50" y="5"/>
                  </a:lnTo>
                  <a:lnTo>
                    <a:pt x="52" y="5"/>
                  </a:lnTo>
                  <a:lnTo>
                    <a:pt x="57" y="10"/>
                  </a:lnTo>
                  <a:lnTo>
                    <a:pt x="59" y="15"/>
                  </a:lnTo>
                  <a:lnTo>
                    <a:pt x="62" y="15"/>
                  </a:lnTo>
                  <a:lnTo>
                    <a:pt x="67" y="15"/>
                  </a:lnTo>
                  <a:lnTo>
                    <a:pt x="74" y="15"/>
                  </a:lnTo>
                  <a:lnTo>
                    <a:pt x="76" y="15"/>
                  </a:lnTo>
                  <a:lnTo>
                    <a:pt x="83" y="17"/>
                  </a:lnTo>
                  <a:lnTo>
                    <a:pt x="85" y="17"/>
                  </a:lnTo>
                  <a:lnTo>
                    <a:pt x="90" y="17"/>
                  </a:lnTo>
                  <a:lnTo>
                    <a:pt x="93" y="17"/>
                  </a:lnTo>
                  <a:lnTo>
                    <a:pt x="95" y="12"/>
                  </a:lnTo>
                  <a:lnTo>
                    <a:pt x="95" y="10"/>
                  </a:lnTo>
                  <a:lnTo>
                    <a:pt x="97" y="8"/>
                  </a:lnTo>
                  <a:lnTo>
                    <a:pt x="100" y="8"/>
                  </a:lnTo>
                  <a:lnTo>
                    <a:pt x="102" y="10"/>
                  </a:lnTo>
                  <a:lnTo>
                    <a:pt x="104" y="12"/>
                  </a:lnTo>
                  <a:lnTo>
                    <a:pt x="107" y="12"/>
                  </a:lnTo>
                  <a:lnTo>
                    <a:pt x="109" y="10"/>
                  </a:lnTo>
                  <a:lnTo>
                    <a:pt x="111" y="12"/>
                  </a:lnTo>
                  <a:lnTo>
                    <a:pt x="111" y="12"/>
                  </a:lnTo>
                  <a:lnTo>
                    <a:pt x="114" y="15"/>
                  </a:lnTo>
                  <a:lnTo>
                    <a:pt x="116" y="15"/>
                  </a:lnTo>
                  <a:lnTo>
                    <a:pt x="118" y="15"/>
                  </a:lnTo>
                  <a:lnTo>
                    <a:pt x="123" y="15"/>
                  </a:lnTo>
                  <a:lnTo>
                    <a:pt x="128" y="17"/>
                  </a:lnTo>
                  <a:lnTo>
                    <a:pt x="130" y="22"/>
                  </a:lnTo>
                  <a:lnTo>
                    <a:pt x="133" y="24"/>
                  </a:lnTo>
                  <a:lnTo>
                    <a:pt x="133" y="29"/>
                  </a:lnTo>
                  <a:lnTo>
                    <a:pt x="135" y="29"/>
                  </a:lnTo>
                  <a:lnTo>
                    <a:pt x="140" y="31"/>
                  </a:lnTo>
                  <a:lnTo>
                    <a:pt x="144" y="31"/>
                  </a:lnTo>
                  <a:lnTo>
                    <a:pt x="149" y="31"/>
                  </a:lnTo>
                  <a:lnTo>
                    <a:pt x="154" y="29"/>
                  </a:lnTo>
                  <a:lnTo>
                    <a:pt x="156" y="31"/>
                  </a:lnTo>
                  <a:lnTo>
                    <a:pt x="159" y="31"/>
                  </a:lnTo>
                  <a:lnTo>
                    <a:pt x="159" y="36"/>
                  </a:lnTo>
                  <a:lnTo>
                    <a:pt x="159" y="43"/>
                  </a:lnTo>
                  <a:lnTo>
                    <a:pt x="159" y="45"/>
                  </a:lnTo>
                  <a:lnTo>
                    <a:pt x="161" y="48"/>
                  </a:lnTo>
                  <a:lnTo>
                    <a:pt x="161" y="50"/>
                  </a:lnTo>
                  <a:lnTo>
                    <a:pt x="161" y="50"/>
                  </a:lnTo>
                  <a:lnTo>
                    <a:pt x="159" y="48"/>
                  </a:lnTo>
                  <a:lnTo>
                    <a:pt x="147" y="45"/>
                  </a:lnTo>
                  <a:lnTo>
                    <a:pt x="142" y="43"/>
                  </a:lnTo>
                  <a:lnTo>
                    <a:pt x="137" y="41"/>
                  </a:lnTo>
                  <a:lnTo>
                    <a:pt x="130" y="43"/>
                  </a:lnTo>
                  <a:lnTo>
                    <a:pt x="126" y="43"/>
                  </a:lnTo>
                  <a:lnTo>
                    <a:pt x="121" y="41"/>
                  </a:lnTo>
                  <a:lnTo>
                    <a:pt x="118" y="41"/>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1" name="Freeform 1158">
              <a:extLst>
                <a:ext uri="{FF2B5EF4-FFF2-40B4-BE49-F238E27FC236}">
                  <a16:creationId xmlns:a16="http://schemas.microsoft.com/office/drawing/2014/main" id="{3180F753-5F4F-4E80-8673-21D0260578AF}"/>
                </a:ext>
              </a:extLst>
            </p:cNvPr>
            <p:cNvSpPr>
              <a:spLocks/>
            </p:cNvSpPr>
            <p:nvPr/>
          </p:nvSpPr>
          <p:spPr bwMode="auto">
            <a:xfrm>
              <a:off x="7230148" y="4744903"/>
              <a:ext cx="8273" cy="23161"/>
            </a:xfrm>
            <a:custGeom>
              <a:avLst/>
              <a:gdLst>
                <a:gd name="T0" fmla="*/ 3 w 5"/>
                <a:gd name="T1" fmla="*/ 0 h 14"/>
                <a:gd name="T2" fmla="*/ 3 w 5"/>
                <a:gd name="T3" fmla="*/ 0 h 14"/>
                <a:gd name="T4" fmla="*/ 3 w 5"/>
                <a:gd name="T5" fmla="*/ 3 h 14"/>
                <a:gd name="T6" fmla="*/ 3 w 5"/>
                <a:gd name="T7" fmla="*/ 10 h 14"/>
                <a:gd name="T8" fmla="*/ 5 w 5"/>
                <a:gd name="T9" fmla="*/ 12 h 14"/>
                <a:gd name="T10" fmla="*/ 3 w 5"/>
                <a:gd name="T11" fmla="*/ 14 h 14"/>
                <a:gd name="T12" fmla="*/ 0 w 5"/>
                <a:gd name="T13" fmla="*/ 14 h 14"/>
                <a:gd name="T14" fmla="*/ 0 w 5"/>
                <a:gd name="T15" fmla="*/ 10 h 14"/>
                <a:gd name="T16" fmla="*/ 0 w 5"/>
                <a:gd name="T17" fmla="*/ 5 h 14"/>
                <a:gd name="T18" fmla="*/ 0 w 5"/>
                <a:gd name="T19" fmla="*/ 3 h 14"/>
                <a:gd name="T20" fmla="*/ 3 w 5"/>
                <a:gd name="T21" fmla="*/ 0 h 14"/>
                <a:gd name="T22" fmla="*/ 3 w 5"/>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4">
                  <a:moveTo>
                    <a:pt x="3" y="0"/>
                  </a:moveTo>
                  <a:lnTo>
                    <a:pt x="3" y="0"/>
                  </a:lnTo>
                  <a:lnTo>
                    <a:pt x="3" y="3"/>
                  </a:lnTo>
                  <a:lnTo>
                    <a:pt x="3" y="10"/>
                  </a:lnTo>
                  <a:lnTo>
                    <a:pt x="5" y="12"/>
                  </a:lnTo>
                  <a:lnTo>
                    <a:pt x="3" y="14"/>
                  </a:lnTo>
                  <a:lnTo>
                    <a:pt x="0" y="14"/>
                  </a:lnTo>
                  <a:lnTo>
                    <a:pt x="0" y="10"/>
                  </a:lnTo>
                  <a:lnTo>
                    <a:pt x="0" y="5"/>
                  </a:lnTo>
                  <a:lnTo>
                    <a:pt x="0" y="3"/>
                  </a:lnTo>
                  <a:lnTo>
                    <a:pt x="3" y="0"/>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2" name="Freeform 1159">
              <a:extLst>
                <a:ext uri="{FF2B5EF4-FFF2-40B4-BE49-F238E27FC236}">
                  <a16:creationId xmlns:a16="http://schemas.microsoft.com/office/drawing/2014/main" id="{E879C920-E07A-4315-89F6-C465437B60E1}"/>
                </a:ext>
              </a:extLst>
            </p:cNvPr>
            <p:cNvSpPr>
              <a:spLocks/>
            </p:cNvSpPr>
            <p:nvPr/>
          </p:nvSpPr>
          <p:spPr bwMode="auto">
            <a:xfrm>
              <a:off x="7230148" y="4744903"/>
              <a:ext cx="8273" cy="23161"/>
            </a:xfrm>
            <a:custGeom>
              <a:avLst/>
              <a:gdLst>
                <a:gd name="T0" fmla="*/ 3 w 5"/>
                <a:gd name="T1" fmla="*/ 0 h 14"/>
                <a:gd name="T2" fmla="*/ 3 w 5"/>
                <a:gd name="T3" fmla="*/ 0 h 14"/>
                <a:gd name="T4" fmla="*/ 3 w 5"/>
                <a:gd name="T5" fmla="*/ 3 h 14"/>
                <a:gd name="T6" fmla="*/ 3 w 5"/>
                <a:gd name="T7" fmla="*/ 10 h 14"/>
                <a:gd name="T8" fmla="*/ 5 w 5"/>
                <a:gd name="T9" fmla="*/ 12 h 14"/>
                <a:gd name="T10" fmla="*/ 3 w 5"/>
                <a:gd name="T11" fmla="*/ 14 h 14"/>
                <a:gd name="T12" fmla="*/ 0 w 5"/>
                <a:gd name="T13" fmla="*/ 14 h 14"/>
                <a:gd name="T14" fmla="*/ 0 w 5"/>
                <a:gd name="T15" fmla="*/ 10 h 14"/>
                <a:gd name="T16" fmla="*/ 0 w 5"/>
                <a:gd name="T17" fmla="*/ 5 h 14"/>
                <a:gd name="T18" fmla="*/ 0 w 5"/>
                <a:gd name="T19" fmla="*/ 3 h 14"/>
                <a:gd name="T20" fmla="*/ 3 w 5"/>
                <a:gd name="T21" fmla="*/ 0 h 14"/>
                <a:gd name="T22" fmla="*/ 3 w 5"/>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4">
                  <a:moveTo>
                    <a:pt x="3" y="0"/>
                  </a:moveTo>
                  <a:lnTo>
                    <a:pt x="3" y="0"/>
                  </a:lnTo>
                  <a:lnTo>
                    <a:pt x="3" y="3"/>
                  </a:lnTo>
                  <a:lnTo>
                    <a:pt x="3" y="10"/>
                  </a:lnTo>
                  <a:lnTo>
                    <a:pt x="5" y="12"/>
                  </a:lnTo>
                  <a:lnTo>
                    <a:pt x="3" y="14"/>
                  </a:lnTo>
                  <a:lnTo>
                    <a:pt x="0" y="14"/>
                  </a:lnTo>
                  <a:lnTo>
                    <a:pt x="0" y="10"/>
                  </a:lnTo>
                  <a:lnTo>
                    <a:pt x="0" y="5"/>
                  </a:lnTo>
                  <a:lnTo>
                    <a:pt x="0" y="3"/>
                  </a:lnTo>
                  <a:lnTo>
                    <a:pt x="3" y="0"/>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3" name="Freeform 1160">
              <a:extLst>
                <a:ext uri="{FF2B5EF4-FFF2-40B4-BE49-F238E27FC236}">
                  <a16:creationId xmlns:a16="http://schemas.microsoft.com/office/drawing/2014/main" id="{72168368-B745-49CA-9D25-8C8734520024}"/>
                </a:ext>
              </a:extLst>
            </p:cNvPr>
            <p:cNvSpPr>
              <a:spLocks/>
            </p:cNvSpPr>
            <p:nvPr/>
          </p:nvSpPr>
          <p:spPr bwMode="auto">
            <a:xfrm>
              <a:off x="7508092" y="4870640"/>
              <a:ext cx="31435" cy="11582"/>
            </a:xfrm>
            <a:custGeom>
              <a:avLst/>
              <a:gdLst>
                <a:gd name="T0" fmla="*/ 2 w 19"/>
                <a:gd name="T1" fmla="*/ 7 h 7"/>
                <a:gd name="T2" fmla="*/ 0 w 19"/>
                <a:gd name="T3" fmla="*/ 5 h 7"/>
                <a:gd name="T4" fmla="*/ 2 w 19"/>
                <a:gd name="T5" fmla="*/ 2 h 7"/>
                <a:gd name="T6" fmla="*/ 2 w 19"/>
                <a:gd name="T7" fmla="*/ 2 h 7"/>
                <a:gd name="T8" fmla="*/ 10 w 19"/>
                <a:gd name="T9" fmla="*/ 2 h 7"/>
                <a:gd name="T10" fmla="*/ 12 w 19"/>
                <a:gd name="T11" fmla="*/ 2 h 7"/>
                <a:gd name="T12" fmla="*/ 14 w 19"/>
                <a:gd name="T13" fmla="*/ 0 h 7"/>
                <a:gd name="T14" fmla="*/ 17 w 19"/>
                <a:gd name="T15" fmla="*/ 0 h 7"/>
                <a:gd name="T16" fmla="*/ 19 w 19"/>
                <a:gd name="T17" fmla="*/ 2 h 7"/>
                <a:gd name="T18" fmla="*/ 17 w 19"/>
                <a:gd name="T19" fmla="*/ 5 h 7"/>
                <a:gd name="T20" fmla="*/ 12 w 19"/>
                <a:gd name="T21" fmla="*/ 7 h 7"/>
                <a:gd name="T22" fmla="*/ 10 w 19"/>
                <a:gd name="T23" fmla="*/ 7 h 7"/>
                <a:gd name="T24" fmla="*/ 7 w 19"/>
                <a:gd name="T25" fmla="*/ 7 h 7"/>
                <a:gd name="T26" fmla="*/ 5 w 19"/>
                <a:gd name="T27" fmla="*/ 7 h 7"/>
                <a:gd name="T28" fmla="*/ 2 w 19"/>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2" y="7"/>
                  </a:moveTo>
                  <a:lnTo>
                    <a:pt x="0" y="5"/>
                  </a:lnTo>
                  <a:lnTo>
                    <a:pt x="2" y="2"/>
                  </a:lnTo>
                  <a:lnTo>
                    <a:pt x="2" y="2"/>
                  </a:lnTo>
                  <a:lnTo>
                    <a:pt x="10" y="2"/>
                  </a:lnTo>
                  <a:lnTo>
                    <a:pt x="12" y="2"/>
                  </a:lnTo>
                  <a:lnTo>
                    <a:pt x="14" y="0"/>
                  </a:lnTo>
                  <a:lnTo>
                    <a:pt x="17" y="0"/>
                  </a:lnTo>
                  <a:lnTo>
                    <a:pt x="19" y="2"/>
                  </a:lnTo>
                  <a:lnTo>
                    <a:pt x="17" y="5"/>
                  </a:lnTo>
                  <a:lnTo>
                    <a:pt x="12" y="7"/>
                  </a:lnTo>
                  <a:lnTo>
                    <a:pt x="10" y="7"/>
                  </a:lnTo>
                  <a:lnTo>
                    <a:pt x="7" y="7"/>
                  </a:lnTo>
                  <a:lnTo>
                    <a:pt x="5" y="7"/>
                  </a:lnTo>
                  <a:lnTo>
                    <a:pt x="2"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4" name="Freeform 1161">
              <a:extLst>
                <a:ext uri="{FF2B5EF4-FFF2-40B4-BE49-F238E27FC236}">
                  <a16:creationId xmlns:a16="http://schemas.microsoft.com/office/drawing/2014/main" id="{46BFA783-0483-4F66-8F12-21E6A7264D4C}"/>
                </a:ext>
              </a:extLst>
            </p:cNvPr>
            <p:cNvSpPr>
              <a:spLocks/>
            </p:cNvSpPr>
            <p:nvPr/>
          </p:nvSpPr>
          <p:spPr bwMode="auto">
            <a:xfrm>
              <a:off x="7508092" y="4870640"/>
              <a:ext cx="31435" cy="11582"/>
            </a:xfrm>
            <a:custGeom>
              <a:avLst/>
              <a:gdLst>
                <a:gd name="T0" fmla="*/ 2 w 19"/>
                <a:gd name="T1" fmla="*/ 7 h 7"/>
                <a:gd name="T2" fmla="*/ 0 w 19"/>
                <a:gd name="T3" fmla="*/ 5 h 7"/>
                <a:gd name="T4" fmla="*/ 2 w 19"/>
                <a:gd name="T5" fmla="*/ 2 h 7"/>
                <a:gd name="T6" fmla="*/ 2 w 19"/>
                <a:gd name="T7" fmla="*/ 2 h 7"/>
                <a:gd name="T8" fmla="*/ 10 w 19"/>
                <a:gd name="T9" fmla="*/ 2 h 7"/>
                <a:gd name="T10" fmla="*/ 12 w 19"/>
                <a:gd name="T11" fmla="*/ 2 h 7"/>
                <a:gd name="T12" fmla="*/ 14 w 19"/>
                <a:gd name="T13" fmla="*/ 0 h 7"/>
                <a:gd name="T14" fmla="*/ 17 w 19"/>
                <a:gd name="T15" fmla="*/ 0 h 7"/>
                <a:gd name="T16" fmla="*/ 19 w 19"/>
                <a:gd name="T17" fmla="*/ 2 h 7"/>
                <a:gd name="T18" fmla="*/ 17 w 19"/>
                <a:gd name="T19" fmla="*/ 5 h 7"/>
                <a:gd name="T20" fmla="*/ 12 w 19"/>
                <a:gd name="T21" fmla="*/ 7 h 7"/>
                <a:gd name="T22" fmla="*/ 10 w 19"/>
                <a:gd name="T23" fmla="*/ 7 h 7"/>
                <a:gd name="T24" fmla="*/ 7 w 19"/>
                <a:gd name="T25" fmla="*/ 7 h 7"/>
                <a:gd name="T26" fmla="*/ 5 w 19"/>
                <a:gd name="T27" fmla="*/ 7 h 7"/>
                <a:gd name="T28" fmla="*/ 2 w 19"/>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2" y="7"/>
                  </a:moveTo>
                  <a:lnTo>
                    <a:pt x="0" y="5"/>
                  </a:lnTo>
                  <a:lnTo>
                    <a:pt x="2" y="2"/>
                  </a:lnTo>
                  <a:lnTo>
                    <a:pt x="2" y="2"/>
                  </a:lnTo>
                  <a:lnTo>
                    <a:pt x="10" y="2"/>
                  </a:lnTo>
                  <a:lnTo>
                    <a:pt x="12" y="2"/>
                  </a:lnTo>
                  <a:lnTo>
                    <a:pt x="14" y="0"/>
                  </a:lnTo>
                  <a:lnTo>
                    <a:pt x="17" y="0"/>
                  </a:lnTo>
                  <a:lnTo>
                    <a:pt x="19" y="2"/>
                  </a:lnTo>
                  <a:lnTo>
                    <a:pt x="17" y="5"/>
                  </a:lnTo>
                  <a:lnTo>
                    <a:pt x="12" y="7"/>
                  </a:lnTo>
                  <a:lnTo>
                    <a:pt x="10" y="7"/>
                  </a:lnTo>
                  <a:lnTo>
                    <a:pt x="7" y="7"/>
                  </a:lnTo>
                  <a:lnTo>
                    <a:pt x="5" y="7"/>
                  </a:lnTo>
                  <a:lnTo>
                    <a:pt x="2"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5" name="Freeform 1162">
              <a:extLst>
                <a:ext uri="{FF2B5EF4-FFF2-40B4-BE49-F238E27FC236}">
                  <a16:creationId xmlns:a16="http://schemas.microsoft.com/office/drawing/2014/main" id="{7AF1405C-A918-4B43-88F6-CFE97CA56149}"/>
                </a:ext>
              </a:extLst>
            </p:cNvPr>
            <p:cNvSpPr>
              <a:spLocks/>
            </p:cNvSpPr>
            <p:nvPr/>
          </p:nvSpPr>
          <p:spPr bwMode="auto">
            <a:xfrm>
              <a:off x="7481621" y="4893801"/>
              <a:ext cx="69486" cy="31435"/>
            </a:xfrm>
            <a:custGeom>
              <a:avLst/>
              <a:gdLst>
                <a:gd name="T0" fmla="*/ 0 w 42"/>
                <a:gd name="T1" fmla="*/ 12 h 19"/>
                <a:gd name="T2" fmla="*/ 0 w 42"/>
                <a:gd name="T3" fmla="*/ 12 h 19"/>
                <a:gd name="T4" fmla="*/ 2 w 42"/>
                <a:gd name="T5" fmla="*/ 9 h 19"/>
                <a:gd name="T6" fmla="*/ 4 w 42"/>
                <a:gd name="T7" fmla="*/ 5 h 19"/>
                <a:gd name="T8" fmla="*/ 7 w 42"/>
                <a:gd name="T9" fmla="*/ 5 h 19"/>
                <a:gd name="T10" fmla="*/ 16 w 42"/>
                <a:gd name="T11" fmla="*/ 2 h 19"/>
                <a:gd name="T12" fmla="*/ 18 w 42"/>
                <a:gd name="T13" fmla="*/ 2 h 19"/>
                <a:gd name="T14" fmla="*/ 21 w 42"/>
                <a:gd name="T15" fmla="*/ 2 h 19"/>
                <a:gd name="T16" fmla="*/ 30 w 42"/>
                <a:gd name="T17" fmla="*/ 2 h 19"/>
                <a:gd name="T18" fmla="*/ 33 w 42"/>
                <a:gd name="T19" fmla="*/ 0 h 19"/>
                <a:gd name="T20" fmla="*/ 37 w 42"/>
                <a:gd name="T21" fmla="*/ 0 h 19"/>
                <a:gd name="T22" fmla="*/ 37 w 42"/>
                <a:gd name="T23" fmla="*/ 0 h 19"/>
                <a:gd name="T24" fmla="*/ 42 w 42"/>
                <a:gd name="T25" fmla="*/ 0 h 19"/>
                <a:gd name="T26" fmla="*/ 42 w 42"/>
                <a:gd name="T27" fmla="*/ 2 h 19"/>
                <a:gd name="T28" fmla="*/ 40 w 42"/>
                <a:gd name="T29" fmla="*/ 5 h 19"/>
                <a:gd name="T30" fmla="*/ 35 w 42"/>
                <a:gd name="T31" fmla="*/ 7 h 19"/>
                <a:gd name="T32" fmla="*/ 28 w 42"/>
                <a:gd name="T33" fmla="*/ 12 h 19"/>
                <a:gd name="T34" fmla="*/ 23 w 42"/>
                <a:gd name="T35" fmla="*/ 12 h 19"/>
                <a:gd name="T36" fmla="*/ 18 w 42"/>
                <a:gd name="T37" fmla="*/ 14 h 19"/>
                <a:gd name="T38" fmla="*/ 11 w 42"/>
                <a:gd name="T39" fmla="*/ 17 h 19"/>
                <a:gd name="T40" fmla="*/ 7 w 42"/>
                <a:gd name="T41" fmla="*/ 19 h 19"/>
                <a:gd name="T42" fmla="*/ 4 w 42"/>
                <a:gd name="T43" fmla="*/ 19 h 19"/>
                <a:gd name="T44" fmla="*/ 0 w 42"/>
                <a:gd name="T45"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19">
                  <a:moveTo>
                    <a:pt x="0" y="12"/>
                  </a:moveTo>
                  <a:lnTo>
                    <a:pt x="0" y="12"/>
                  </a:lnTo>
                  <a:lnTo>
                    <a:pt x="2" y="9"/>
                  </a:lnTo>
                  <a:lnTo>
                    <a:pt x="4" y="5"/>
                  </a:lnTo>
                  <a:lnTo>
                    <a:pt x="7" y="5"/>
                  </a:lnTo>
                  <a:lnTo>
                    <a:pt x="16" y="2"/>
                  </a:lnTo>
                  <a:lnTo>
                    <a:pt x="18" y="2"/>
                  </a:lnTo>
                  <a:lnTo>
                    <a:pt x="21" y="2"/>
                  </a:lnTo>
                  <a:lnTo>
                    <a:pt x="30" y="2"/>
                  </a:lnTo>
                  <a:lnTo>
                    <a:pt x="33" y="0"/>
                  </a:lnTo>
                  <a:lnTo>
                    <a:pt x="37" y="0"/>
                  </a:lnTo>
                  <a:lnTo>
                    <a:pt x="37" y="0"/>
                  </a:lnTo>
                  <a:lnTo>
                    <a:pt x="42" y="0"/>
                  </a:lnTo>
                  <a:lnTo>
                    <a:pt x="42" y="2"/>
                  </a:lnTo>
                  <a:lnTo>
                    <a:pt x="40" y="5"/>
                  </a:lnTo>
                  <a:lnTo>
                    <a:pt x="35" y="7"/>
                  </a:lnTo>
                  <a:lnTo>
                    <a:pt x="28" y="12"/>
                  </a:lnTo>
                  <a:lnTo>
                    <a:pt x="23" y="12"/>
                  </a:lnTo>
                  <a:lnTo>
                    <a:pt x="18" y="14"/>
                  </a:lnTo>
                  <a:lnTo>
                    <a:pt x="11" y="17"/>
                  </a:lnTo>
                  <a:lnTo>
                    <a:pt x="7" y="19"/>
                  </a:lnTo>
                  <a:lnTo>
                    <a:pt x="4" y="19"/>
                  </a:lnTo>
                  <a:lnTo>
                    <a:pt x="0"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6" name="Freeform 1163">
              <a:extLst>
                <a:ext uri="{FF2B5EF4-FFF2-40B4-BE49-F238E27FC236}">
                  <a16:creationId xmlns:a16="http://schemas.microsoft.com/office/drawing/2014/main" id="{86018905-92CD-48B5-93B8-7F7FCB1C07D9}"/>
                </a:ext>
              </a:extLst>
            </p:cNvPr>
            <p:cNvSpPr>
              <a:spLocks/>
            </p:cNvSpPr>
            <p:nvPr/>
          </p:nvSpPr>
          <p:spPr bwMode="auto">
            <a:xfrm>
              <a:off x="7481621" y="4893801"/>
              <a:ext cx="69486" cy="31435"/>
            </a:xfrm>
            <a:custGeom>
              <a:avLst/>
              <a:gdLst>
                <a:gd name="T0" fmla="*/ 0 w 42"/>
                <a:gd name="T1" fmla="*/ 12 h 19"/>
                <a:gd name="T2" fmla="*/ 0 w 42"/>
                <a:gd name="T3" fmla="*/ 12 h 19"/>
                <a:gd name="T4" fmla="*/ 2 w 42"/>
                <a:gd name="T5" fmla="*/ 9 h 19"/>
                <a:gd name="T6" fmla="*/ 4 w 42"/>
                <a:gd name="T7" fmla="*/ 5 h 19"/>
                <a:gd name="T8" fmla="*/ 7 w 42"/>
                <a:gd name="T9" fmla="*/ 5 h 19"/>
                <a:gd name="T10" fmla="*/ 16 w 42"/>
                <a:gd name="T11" fmla="*/ 2 h 19"/>
                <a:gd name="T12" fmla="*/ 18 w 42"/>
                <a:gd name="T13" fmla="*/ 2 h 19"/>
                <a:gd name="T14" fmla="*/ 21 w 42"/>
                <a:gd name="T15" fmla="*/ 2 h 19"/>
                <a:gd name="T16" fmla="*/ 30 w 42"/>
                <a:gd name="T17" fmla="*/ 2 h 19"/>
                <a:gd name="T18" fmla="*/ 33 w 42"/>
                <a:gd name="T19" fmla="*/ 0 h 19"/>
                <a:gd name="T20" fmla="*/ 37 w 42"/>
                <a:gd name="T21" fmla="*/ 0 h 19"/>
                <a:gd name="T22" fmla="*/ 37 w 42"/>
                <a:gd name="T23" fmla="*/ 0 h 19"/>
                <a:gd name="T24" fmla="*/ 42 w 42"/>
                <a:gd name="T25" fmla="*/ 0 h 19"/>
                <a:gd name="T26" fmla="*/ 42 w 42"/>
                <a:gd name="T27" fmla="*/ 2 h 19"/>
                <a:gd name="T28" fmla="*/ 40 w 42"/>
                <a:gd name="T29" fmla="*/ 5 h 19"/>
                <a:gd name="T30" fmla="*/ 35 w 42"/>
                <a:gd name="T31" fmla="*/ 7 h 19"/>
                <a:gd name="T32" fmla="*/ 28 w 42"/>
                <a:gd name="T33" fmla="*/ 12 h 19"/>
                <a:gd name="T34" fmla="*/ 23 w 42"/>
                <a:gd name="T35" fmla="*/ 12 h 19"/>
                <a:gd name="T36" fmla="*/ 18 w 42"/>
                <a:gd name="T37" fmla="*/ 14 h 19"/>
                <a:gd name="T38" fmla="*/ 11 w 42"/>
                <a:gd name="T39" fmla="*/ 17 h 19"/>
                <a:gd name="T40" fmla="*/ 7 w 42"/>
                <a:gd name="T41" fmla="*/ 19 h 19"/>
                <a:gd name="T42" fmla="*/ 4 w 42"/>
                <a:gd name="T4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9">
                  <a:moveTo>
                    <a:pt x="0" y="12"/>
                  </a:moveTo>
                  <a:lnTo>
                    <a:pt x="0" y="12"/>
                  </a:lnTo>
                  <a:lnTo>
                    <a:pt x="2" y="9"/>
                  </a:lnTo>
                  <a:lnTo>
                    <a:pt x="4" y="5"/>
                  </a:lnTo>
                  <a:lnTo>
                    <a:pt x="7" y="5"/>
                  </a:lnTo>
                  <a:lnTo>
                    <a:pt x="16" y="2"/>
                  </a:lnTo>
                  <a:lnTo>
                    <a:pt x="18" y="2"/>
                  </a:lnTo>
                  <a:lnTo>
                    <a:pt x="21" y="2"/>
                  </a:lnTo>
                  <a:lnTo>
                    <a:pt x="30" y="2"/>
                  </a:lnTo>
                  <a:lnTo>
                    <a:pt x="33" y="0"/>
                  </a:lnTo>
                  <a:lnTo>
                    <a:pt x="37" y="0"/>
                  </a:lnTo>
                  <a:lnTo>
                    <a:pt x="37" y="0"/>
                  </a:lnTo>
                  <a:lnTo>
                    <a:pt x="42" y="0"/>
                  </a:lnTo>
                  <a:lnTo>
                    <a:pt x="42" y="2"/>
                  </a:lnTo>
                  <a:lnTo>
                    <a:pt x="40" y="5"/>
                  </a:lnTo>
                  <a:lnTo>
                    <a:pt x="35" y="7"/>
                  </a:lnTo>
                  <a:lnTo>
                    <a:pt x="28" y="12"/>
                  </a:lnTo>
                  <a:lnTo>
                    <a:pt x="23" y="12"/>
                  </a:lnTo>
                  <a:lnTo>
                    <a:pt x="18" y="14"/>
                  </a:lnTo>
                  <a:lnTo>
                    <a:pt x="11" y="17"/>
                  </a:lnTo>
                  <a:lnTo>
                    <a:pt x="7" y="19"/>
                  </a:lnTo>
                  <a:lnTo>
                    <a:pt x="4" y="1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7" name="Freeform 1164">
              <a:extLst>
                <a:ext uri="{FF2B5EF4-FFF2-40B4-BE49-F238E27FC236}">
                  <a16:creationId xmlns:a16="http://schemas.microsoft.com/office/drawing/2014/main" id="{22F0430A-AA74-4485-91F0-21D51FE083E1}"/>
                </a:ext>
              </a:extLst>
            </p:cNvPr>
            <p:cNvSpPr>
              <a:spLocks/>
            </p:cNvSpPr>
            <p:nvPr/>
          </p:nvSpPr>
          <p:spPr bwMode="auto">
            <a:xfrm>
              <a:off x="7445223" y="4913655"/>
              <a:ext cx="43015" cy="38052"/>
            </a:xfrm>
            <a:custGeom>
              <a:avLst/>
              <a:gdLst>
                <a:gd name="T0" fmla="*/ 26 w 26"/>
                <a:gd name="T1" fmla="*/ 7 h 23"/>
                <a:gd name="T2" fmla="*/ 26 w 26"/>
                <a:gd name="T3" fmla="*/ 7 h 23"/>
                <a:gd name="T4" fmla="*/ 24 w 26"/>
                <a:gd name="T5" fmla="*/ 12 h 23"/>
                <a:gd name="T6" fmla="*/ 22 w 26"/>
                <a:gd name="T7" fmla="*/ 14 h 23"/>
                <a:gd name="T8" fmla="*/ 19 w 26"/>
                <a:gd name="T9" fmla="*/ 16 h 23"/>
                <a:gd name="T10" fmla="*/ 17 w 26"/>
                <a:gd name="T11" fmla="*/ 19 h 23"/>
                <a:gd name="T12" fmla="*/ 14 w 26"/>
                <a:gd name="T13" fmla="*/ 19 h 23"/>
                <a:gd name="T14" fmla="*/ 12 w 26"/>
                <a:gd name="T15" fmla="*/ 19 h 23"/>
                <a:gd name="T16" fmla="*/ 10 w 26"/>
                <a:gd name="T17" fmla="*/ 21 h 23"/>
                <a:gd name="T18" fmla="*/ 7 w 26"/>
                <a:gd name="T19" fmla="*/ 21 h 23"/>
                <a:gd name="T20" fmla="*/ 5 w 26"/>
                <a:gd name="T21" fmla="*/ 23 h 23"/>
                <a:gd name="T22" fmla="*/ 0 w 26"/>
                <a:gd name="T23" fmla="*/ 23 h 23"/>
                <a:gd name="T24" fmla="*/ 0 w 26"/>
                <a:gd name="T25" fmla="*/ 21 h 23"/>
                <a:gd name="T26" fmla="*/ 3 w 26"/>
                <a:gd name="T27" fmla="*/ 19 h 23"/>
                <a:gd name="T28" fmla="*/ 3 w 26"/>
                <a:gd name="T29" fmla="*/ 16 h 23"/>
                <a:gd name="T30" fmla="*/ 3 w 26"/>
                <a:gd name="T31" fmla="*/ 14 h 23"/>
                <a:gd name="T32" fmla="*/ 3 w 26"/>
                <a:gd name="T33" fmla="*/ 9 h 23"/>
                <a:gd name="T34" fmla="*/ 5 w 26"/>
                <a:gd name="T35" fmla="*/ 7 h 23"/>
                <a:gd name="T36" fmla="*/ 7 w 26"/>
                <a:gd name="T37" fmla="*/ 5 h 23"/>
                <a:gd name="T38" fmla="*/ 10 w 26"/>
                <a:gd name="T39" fmla="*/ 5 h 23"/>
                <a:gd name="T40" fmla="*/ 12 w 26"/>
                <a:gd name="T41" fmla="*/ 2 h 23"/>
                <a:gd name="T42" fmla="*/ 14 w 26"/>
                <a:gd name="T43" fmla="*/ 2 h 23"/>
                <a:gd name="T44" fmla="*/ 17 w 26"/>
                <a:gd name="T45" fmla="*/ 0 h 23"/>
                <a:gd name="T46" fmla="*/ 19 w 26"/>
                <a:gd name="T47" fmla="*/ 0 h 23"/>
                <a:gd name="T48" fmla="*/ 22 w 26"/>
                <a:gd name="T49" fmla="*/ 0 h 23"/>
                <a:gd name="T50" fmla="*/ 26 w 26"/>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3">
                  <a:moveTo>
                    <a:pt x="26" y="7"/>
                  </a:moveTo>
                  <a:lnTo>
                    <a:pt x="26" y="7"/>
                  </a:lnTo>
                  <a:lnTo>
                    <a:pt x="24" y="12"/>
                  </a:lnTo>
                  <a:lnTo>
                    <a:pt x="22" y="14"/>
                  </a:lnTo>
                  <a:lnTo>
                    <a:pt x="19" y="16"/>
                  </a:lnTo>
                  <a:lnTo>
                    <a:pt x="17" y="19"/>
                  </a:lnTo>
                  <a:lnTo>
                    <a:pt x="14" y="19"/>
                  </a:lnTo>
                  <a:lnTo>
                    <a:pt x="12" y="19"/>
                  </a:lnTo>
                  <a:lnTo>
                    <a:pt x="10" y="21"/>
                  </a:lnTo>
                  <a:lnTo>
                    <a:pt x="7" y="21"/>
                  </a:lnTo>
                  <a:lnTo>
                    <a:pt x="5" y="23"/>
                  </a:lnTo>
                  <a:lnTo>
                    <a:pt x="0" y="23"/>
                  </a:lnTo>
                  <a:lnTo>
                    <a:pt x="0" y="21"/>
                  </a:lnTo>
                  <a:lnTo>
                    <a:pt x="3" y="19"/>
                  </a:lnTo>
                  <a:lnTo>
                    <a:pt x="3" y="16"/>
                  </a:lnTo>
                  <a:lnTo>
                    <a:pt x="3" y="14"/>
                  </a:lnTo>
                  <a:lnTo>
                    <a:pt x="3" y="9"/>
                  </a:lnTo>
                  <a:lnTo>
                    <a:pt x="5" y="7"/>
                  </a:lnTo>
                  <a:lnTo>
                    <a:pt x="7" y="5"/>
                  </a:lnTo>
                  <a:lnTo>
                    <a:pt x="10" y="5"/>
                  </a:lnTo>
                  <a:lnTo>
                    <a:pt x="12" y="2"/>
                  </a:lnTo>
                  <a:lnTo>
                    <a:pt x="14" y="2"/>
                  </a:lnTo>
                  <a:lnTo>
                    <a:pt x="17" y="0"/>
                  </a:lnTo>
                  <a:lnTo>
                    <a:pt x="19" y="0"/>
                  </a:lnTo>
                  <a:lnTo>
                    <a:pt x="22" y="0"/>
                  </a:lnTo>
                  <a:lnTo>
                    <a:pt x="26"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8" name="Freeform 1165">
              <a:extLst>
                <a:ext uri="{FF2B5EF4-FFF2-40B4-BE49-F238E27FC236}">
                  <a16:creationId xmlns:a16="http://schemas.microsoft.com/office/drawing/2014/main" id="{D7B48124-7B94-4E21-807F-EECCA0BE5EA8}"/>
                </a:ext>
              </a:extLst>
            </p:cNvPr>
            <p:cNvSpPr>
              <a:spLocks/>
            </p:cNvSpPr>
            <p:nvPr/>
          </p:nvSpPr>
          <p:spPr bwMode="auto">
            <a:xfrm>
              <a:off x="7445223" y="4913655"/>
              <a:ext cx="43015" cy="38052"/>
            </a:xfrm>
            <a:custGeom>
              <a:avLst/>
              <a:gdLst>
                <a:gd name="T0" fmla="*/ 26 w 26"/>
                <a:gd name="T1" fmla="*/ 7 h 23"/>
                <a:gd name="T2" fmla="*/ 26 w 26"/>
                <a:gd name="T3" fmla="*/ 7 h 23"/>
                <a:gd name="T4" fmla="*/ 24 w 26"/>
                <a:gd name="T5" fmla="*/ 12 h 23"/>
                <a:gd name="T6" fmla="*/ 22 w 26"/>
                <a:gd name="T7" fmla="*/ 14 h 23"/>
                <a:gd name="T8" fmla="*/ 19 w 26"/>
                <a:gd name="T9" fmla="*/ 16 h 23"/>
                <a:gd name="T10" fmla="*/ 17 w 26"/>
                <a:gd name="T11" fmla="*/ 19 h 23"/>
                <a:gd name="T12" fmla="*/ 14 w 26"/>
                <a:gd name="T13" fmla="*/ 19 h 23"/>
                <a:gd name="T14" fmla="*/ 12 w 26"/>
                <a:gd name="T15" fmla="*/ 19 h 23"/>
                <a:gd name="T16" fmla="*/ 10 w 26"/>
                <a:gd name="T17" fmla="*/ 21 h 23"/>
                <a:gd name="T18" fmla="*/ 7 w 26"/>
                <a:gd name="T19" fmla="*/ 21 h 23"/>
                <a:gd name="T20" fmla="*/ 5 w 26"/>
                <a:gd name="T21" fmla="*/ 23 h 23"/>
                <a:gd name="T22" fmla="*/ 0 w 26"/>
                <a:gd name="T23" fmla="*/ 23 h 23"/>
                <a:gd name="T24" fmla="*/ 0 w 26"/>
                <a:gd name="T25" fmla="*/ 21 h 23"/>
                <a:gd name="T26" fmla="*/ 3 w 26"/>
                <a:gd name="T27" fmla="*/ 19 h 23"/>
                <a:gd name="T28" fmla="*/ 3 w 26"/>
                <a:gd name="T29" fmla="*/ 16 h 23"/>
                <a:gd name="T30" fmla="*/ 3 w 26"/>
                <a:gd name="T31" fmla="*/ 14 h 23"/>
                <a:gd name="T32" fmla="*/ 3 w 26"/>
                <a:gd name="T33" fmla="*/ 9 h 23"/>
                <a:gd name="T34" fmla="*/ 5 w 26"/>
                <a:gd name="T35" fmla="*/ 7 h 23"/>
                <a:gd name="T36" fmla="*/ 7 w 26"/>
                <a:gd name="T37" fmla="*/ 5 h 23"/>
                <a:gd name="T38" fmla="*/ 10 w 26"/>
                <a:gd name="T39" fmla="*/ 5 h 23"/>
                <a:gd name="T40" fmla="*/ 12 w 26"/>
                <a:gd name="T41" fmla="*/ 2 h 23"/>
                <a:gd name="T42" fmla="*/ 14 w 26"/>
                <a:gd name="T43" fmla="*/ 2 h 23"/>
                <a:gd name="T44" fmla="*/ 17 w 26"/>
                <a:gd name="T45" fmla="*/ 0 h 23"/>
                <a:gd name="T46" fmla="*/ 19 w 26"/>
                <a:gd name="T47" fmla="*/ 0 h 23"/>
                <a:gd name="T48" fmla="*/ 22 w 26"/>
                <a:gd name="T4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23">
                  <a:moveTo>
                    <a:pt x="26" y="7"/>
                  </a:moveTo>
                  <a:lnTo>
                    <a:pt x="26" y="7"/>
                  </a:lnTo>
                  <a:lnTo>
                    <a:pt x="24" y="12"/>
                  </a:lnTo>
                  <a:lnTo>
                    <a:pt x="22" y="14"/>
                  </a:lnTo>
                  <a:lnTo>
                    <a:pt x="19" y="16"/>
                  </a:lnTo>
                  <a:lnTo>
                    <a:pt x="17" y="19"/>
                  </a:lnTo>
                  <a:lnTo>
                    <a:pt x="14" y="19"/>
                  </a:lnTo>
                  <a:lnTo>
                    <a:pt x="12" y="19"/>
                  </a:lnTo>
                  <a:lnTo>
                    <a:pt x="10" y="21"/>
                  </a:lnTo>
                  <a:lnTo>
                    <a:pt x="7" y="21"/>
                  </a:lnTo>
                  <a:lnTo>
                    <a:pt x="5" y="23"/>
                  </a:lnTo>
                  <a:lnTo>
                    <a:pt x="0" y="23"/>
                  </a:lnTo>
                  <a:lnTo>
                    <a:pt x="0" y="21"/>
                  </a:lnTo>
                  <a:lnTo>
                    <a:pt x="3" y="19"/>
                  </a:lnTo>
                  <a:lnTo>
                    <a:pt x="3" y="16"/>
                  </a:lnTo>
                  <a:lnTo>
                    <a:pt x="3" y="14"/>
                  </a:lnTo>
                  <a:lnTo>
                    <a:pt x="3" y="9"/>
                  </a:lnTo>
                  <a:lnTo>
                    <a:pt x="5" y="7"/>
                  </a:lnTo>
                  <a:lnTo>
                    <a:pt x="7" y="5"/>
                  </a:lnTo>
                  <a:lnTo>
                    <a:pt x="10" y="5"/>
                  </a:lnTo>
                  <a:lnTo>
                    <a:pt x="12" y="2"/>
                  </a:lnTo>
                  <a:lnTo>
                    <a:pt x="14" y="2"/>
                  </a:lnTo>
                  <a:lnTo>
                    <a:pt x="17" y="0"/>
                  </a:lnTo>
                  <a:lnTo>
                    <a:pt x="19" y="0"/>
                  </a:lnTo>
                  <a:lnTo>
                    <a:pt x="22"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89" name="Freeform 1168">
              <a:extLst>
                <a:ext uri="{FF2B5EF4-FFF2-40B4-BE49-F238E27FC236}">
                  <a16:creationId xmlns:a16="http://schemas.microsoft.com/office/drawing/2014/main" id="{BF50496B-15B1-472F-9FEE-C0E3C91AF8F4}"/>
                </a:ext>
              </a:extLst>
            </p:cNvPr>
            <p:cNvSpPr>
              <a:spLocks/>
            </p:cNvSpPr>
            <p:nvPr/>
          </p:nvSpPr>
          <p:spPr bwMode="auto">
            <a:xfrm>
              <a:off x="7468386" y="4885530"/>
              <a:ext cx="19854" cy="8273"/>
            </a:xfrm>
            <a:custGeom>
              <a:avLst/>
              <a:gdLst>
                <a:gd name="T0" fmla="*/ 3 w 12"/>
                <a:gd name="T1" fmla="*/ 0 h 5"/>
                <a:gd name="T2" fmla="*/ 3 w 12"/>
                <a:gd name="T3" fmla="*/ 0 h 5"/>
                <a:gd name="T4" fmla="*/ 5 w 12"/>
                <a:gd name="T5" fmla="*/ 0 h 5"/>
                <a:gd name="T6" fmla="*/ 10 w 12"/>
                <a:gd name="T7" fmla="*/ 0 h 5"/>
                <a:gd name="T8" fmla="*/ 12 w 12"/>
                <a:gd name="T9" fmla="*/ 3 h 5"/>
                <a:gd name="T10" fmla="*/ 12 w 12"/>
                <a:gd name="T11" fmla="*/ 5 h 5"/>
                <a:gd name="T12" fmla="*/ 10 w 12"/>
                <a:gd name="T13" fmla="*/ 5 h 5"/>
                <a:gd name="T14" fmla="*/ 3 w 12"/>
                <a:gd name="T15" fmla="*/ 5 h 5"/>
                <a:gd name="T16" fmla="*/ 0 w 12"/>
                <a:gd name="T17" fmla="*/ 5 h 5"/>
                <a:gd name="T18" fmla="*/ 3 w 12"/>
                <a:gd name="T19" fmla="*/ 3 h 5"/>
                <a:gd name="T20" fmla="*/ 3 w 12"/>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5">
                  <a:moveTo>
                    <a:pt x="3" y="0"/>
                  </a:moveTo>
                  <a:lnTo>
                    <a:pt x="3" y="0"/>
                  </a:lnTo>
                  <a:lnTo>
                    <a:pt x="5" y="0"/>
                  </a:lnTo>
                  <a:lnTo>
                    <a:pt x="10" y="0"/>
                  </a:lnTo>
                  <a:lnTo>
                    <a:pt x="12" y="3"/>
                  </a:lnTo>
                  <a:lnTo>
                    <a:pt x="12" y="5"/>
                  </a:lnTo>
                  <a:lnTo>
                    <a:pt x="10" y="5"/>
                  </a:lnTo>
                  <a:lnTo>
                    <a:pt x="3" y="5"/>
                  </a:lnTo>
                  <a:lnTo>
                    <a:pt x="0" y="5"/>
                  </a:lnTo>
                  <a:lnTo>
                    <a:pt x="3" y="3"/>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0" name="Freeform 1169">
              <a:extLst>
                <a:ext uri="{FF2B5EF4-FFF2-40B4-BE49-F238E27FC236}">
                  <a16:creationId xmlns:a16="http://schemas.microsoft.com/office/drawing/2014/main" id="{87F1F74E-24B5-4104-BE9E-391729B4ADB5}"/>
                </a:ext>
              </a:extLst>
            </p:cNvPr>
            <p:cNvSpPr>
              <a:spLocks/>
            </p:cNvSpPr>
            <p:nvPr/>
          </p:nvSpPr>
          <p:spPr bwMode="auto">
            <a:xfrm>
              <a:off x="7468386" y="4885530"/>
              <a:ext cx="19854" cy="8273"/>
            </a:xfrm>
            <a:custGeom>
              <a:avLst/>
              <a:gdLst>
                <a:gd name="T0" fmla="*/ 3 w 12"/>
                <a:gd name="T1" fmla="*/ 0 h 5"/>
                <a:gd name="T2" fmla="*/ 3 w 12"/>
                <a:gd name="T3" fmla="*/ 0 h 5"/>
                <a:gd name="T4" fmla="*/ 5 w 12"/>
                <a:gd name="T5" fmla="*/ 0 h 5"/>
                <a:gd name="T6" fmla="*/ 10 w 12"/>
                <a:gd name="T7" fmla="*/ 0 h 5"/>
                <a:gd name="T8" fmla="*/ 12 w 12"/>
                <a:gd name="T9" fmla="*/ 3 h 5"/>
                <a:gd name="T10" fmla="*/ 12 w 12"/>
                <a:gd name="T11" fmla="*/ 5 h 5"/>
                <a:gd name="T12" fmla="*/ 10 w 12"/>
                <a:gd name="T13" fmla="*/ 5 h 5"/>
                <a:gd name="T14" fmla="*/ 3 w 12"/>
                <a:gd name="T15" fmla="*/ 5 h 5"/>
                <a:gd name="T16" fmla="*/ 0 w 12"/>
                <a:gd name="T17" fmla="*/ 5 h 5"/>
                <a:gd name="T18" fmla="*/ 3 w 12"/>
                <a:gd name="T19" fmla="*/ 3 h 5"/>
                <a:gd name="T20" fmla="*/ 3 w 12"/>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5">
                  <a:moveTo>
                    <a:pt x="3" y="0"/>
                  </a:moveTo>
                  <a:lnTo>
                    <a:pt x="3" y="0"/>
                  </a:lnTo>
                  <a:lnTo>
                    <a:pt x="5" y="0"/>
                  </a:lnTo>
                  <a:lnTo>
                    <a:pt x="10" y="0"/>
                  </a:lnTo>
                  <a:lnTo>
                    <a:pt x="12" y="3"/>
                  </a:lnTo>
                  <a:lnTo>
                    <a:pt x="12" y="5"/>
                  </a:lnTo>
                  <a:lnTo>
                    <a:pt x="10" y="5"/>
                  </a:lnTo>
                  <a:lnTo>
                    <a:pt x="3" y="5"/>
                  </a:lnTo>
                  <a:lnTo>
                    <a:pt x="0" y="5"/>
                  </a:lnTo>
                  <a:lnTo>
                    <a:pt x="3" y="3"/>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1" name="Freeform 1170">
              <a:extLst>
                <a:ext uri="{FF2B5EF4-FFF2-40B4-BE49-F238E27FC236}">
                  <a16:creationId xmlns:a16="http://schemas.microsoft.com/office/drawing/2014/main" id="{FCFF71FF-A8F5-43F3-B142-8DC9C211D49A}"/>
                </a:ext>
              </a:extLst>
            </p:cNvPr>
            <p:cNvSpPr>
              <a:spLocks/>
            </p:cNvSpPr>
            <p:nvPr/>
          </p:nvSpPr>
          <p:spPr bwMode="auto">
            <a:xfrm>
              <a:off x="7456804" y="4890493"/>
              <a:ext cx="8273" cy="6618"/>
            </a:xfrm>
            <a:custGeom>
              <a:avLst/>
              <a:gdLst>
                <a:gd name="T0" fmla="*/ 0 w 5"/>
                <a:gd name="T1" fmla="*/ 2 h 4"/>
                <a:gd name="T2" fmla="*/ 0 w 5"/>
                <a:gd name="T3" fmla="*/ 2 h 4"/>
                <a:gd name="T4" fmla="*/ 3 w 5"/>
                <a:gd name="T5" fmla="*/ 0 h 4"/>
                <a:gd name="T6" fmla="*/ 5 w 5"/>
                <a:gd name="T7" fmla="*/ 0 h 4"/>
                <a:gd name="T8" fmla="*/ 5 w 5"/>
                <a:gd name="T9" fmla="*/ 2 h 4"/>
                <a:gd name="T10" fmla="*/ 3 w 5"/>
                <a:gd name="T11" fmla="*/ 4 h 4"/>
                <a:gd name="T12" fmla="*/ 3 w 5"/>
                <a:gd name="T13" fmla="*/ 4 h 4"/>
                <a:gd name="T14" fmla="*/ 0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2"/>
                  </a:moveTo>
                  <a:lnTo>
                    <a:pt x="0" y="2"/>
                  </a:lnTo>
                  <a:lnTo>
                    <a:pt x="3" y="0"/>
                  </a:lnTo>
                  <a:lnTo>
                    <a:pt x="5" y="0"/>
                  </a:lnTo>
                  <a:lnTo>
                    <a:pt x="5" y="2"/>
                  </a:lnTo>
                  <a:lnTo>
                    <a:pt x="3" y="4"/>
                  </a:lnTo>
                  <a:lnTo>
                    <a:pt x="3" y="4"/>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2" name="Freeform 1171">
              <a:extLst>
                <a:ext uri="{FF2B5EF4-FFF2-40B4-BE49-F238E27FC236}">
                  <a16:creationId xmlns:a16="http://schemas.microsoft.com/office/drawing/2014/main" id="{D5DCF204-1D24-4D25-B3F6-7DEFE6242A2E}"/>
                </a:ext>
              </a:extLst>
            </p:cNvPr>
            <p:cNvSpPr>
              <a:spLocks/>
            </p:cNvSpPr>
            <p:nvPr/>
          </p:nvSpPr>
          <p:spPr bwMode="auto">
            <a:xfrm>
              <a:off x="7456804" y="4890493"/>
              <a:ext cx="8273" cy="6618"/>
            </a:xfrm>
            <a:custGeom>
              <a:avLst/>
              <a:gdLst>
                <a:gd name="T0" fmla="*/ 0 w 5"/>
                <a:gd name="T1" fmla="*/ 2 h 4"/>
                <a:gd name="T2" fmla="*/ 0 w 5"/>
                <a:gd name="T3" fmla="*/ 2 h 4"/>
                <a:gd name="T4" fmla="*/ 3 w 5"/>
                <a:gd name="T5" fmla="*/ 0 h 4"/>
                <a:gd name="T6" fmla="*/ 5 w 5"/>
                <a:gd name="T7" fmla="*/ 0 h 4"/>
                <a:gd name="T8" fmla="*/ 5 w 5"/>
                <a:gd name="T9" fmla="*/ 2 h 4"/>
                <a:gd name="T10" fmla="*/ 3 w 5"/>
                <a:gd name="T11" fmla="*/ 4 h 4"/>
                <a:gd name="T12" fmla="*/ 3 w 5"/>
                <a:gd name="T13" fmla="*/ 4 h 4"/>
                <a:gd name="T14" fmla="*/ 0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2"/>
                  </a:moveTo>
                  <a:lnTo>
                    <a:pt x="0" y="2"/>
                  </a:lnTo>
                  <a:lnTo>
                    <a:pt x="3" y="0"/>
                  </a:lnTo>
                  <a:lnTo>
                    <a:pt x="5" y="0"/>
                  </a:lnTo>
                  <a:lnTo>
                    <a:pt x="5" y="2"/>
                  </a:lnTo>
                  <a:lnTo>
                    <a:pt x="3" y="4"/>
                  </a:lnTo>
                  <a:lnTo>
                    <a:pt x="3" y="4"/>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3" name="Freeform 1172">
              <a:extLst>
                <a:ext uri="{FF2B5EF4-FFF2-40B4-BE49-F238E27FC236}">
                  <a16:creationId xmlns:a16="http://schemas.microsoft.com/office/drawing/2014/main" id="{936AC904-27DB-4339-A317-B5D89EE93289}"/>
                </a:ext>
              </a:extLst>
            </p:cNvPr>
            <p:cNvSpPr>
              <a:spLocks/>
            </p:cNvSpPr>
            <p:nvPr/>
          </p:nvSpPr>
          <p:spPr bwMode="auto">
            <a:xfrm>
              <a:off x="7438605" y="4885530"/>
              <a:ext cx="14890" cy="11582"/>
            </a:xfrm>
            <a:custGeom>
              <a:avLst/>
              <a:gdLst>
                <a:gd name="T0" fmla="*/ 0 w 9"/>
                <a:gd name="T1" fmla="*/ 7 h 7"/>
                <a:gd name="T2" fmla="*/ 0 w 9"/>
                <a:gd name="T3" fmla="*/ 3 h 7"/>
                <a:gd name="T4" fmla="*/ 2 w 9"/>
                <a:gd name="T5" fmla="*/ 3 h 7"/>
                <a:gd name="T6" fmla="*/ 2 w 9"/>
                <a:gd name="T7" fmla="*/ 3 h 7"/>
                <a:gd name="T8" fmla="*/ 4 w 9"/>
                <a:gd name="T9" fmla="*/ 5 h 7"/>
                <a:gd name="T10" fmla="*/ 4 w 9"/>
                <a:gd name="T11" fmla="*/ 3 h 7"/>
                <a:gd name="T12" fmla="*/ 7 w 9"/>
                <a:gd name="T13" fmla="*/ 0 h 7"/>
                <a:gd name="T14" fmla="*/ 9 w 9"/>
                <a:gd name="T15" fmla="*/ 3 h 7"/>
                <a:gd name="T16" fmla="*/ 7 w 9"/>
                <a:gd name="T17" fmla="*/ 5 h 7"/>
                <a:gd name="T18" fmla="*/ 4 w 9"/>
                <a:gd name="T19" fmla="*/ 7 h 7"/>
                <a:gd name="T20" fmla="*/ 2 w 9"/>
                <a:gd name="T21" fmla="*/ 7 h 7"/>
                <a:gd name="T22" fmla="*/ 2 w 9"/>
                <a:gd name="T23" fmla="*/ 7 h 7"/>
                <a:gd name="T24" fmla="*/ 0 w 9"/>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0" y="7"/>
                  </a:moveTo>
                  <a:lnTo>
                    <a:pt x="0" y="3"/>
                  </a:lnTo>
                  <a:lnTo>
                    <a:pt x="2" y="3"/>
                  </a:lnTo>
                  <a:lnTo>
                    <a:pt x="2" y="3"/>
                  </a:lnTo>
                  <a:lnTo>
                    <a:pt x="4" y="5"/>
                  </a:lnTo>
                  <a:lnTo>
                    <a:pt x="4" y="3"/>
                  </a:lnTo>
                  <a:lnTo>
                    <a:pt x="7" y="0"/>
                  </a:lnTo>
                  <a:lnTo>
                    <a:pt x="9" y="3"/>
                  </a:lnTo>
                  <a:lnTo>
                    <a:pt x="7" y="5"/>
                  </a:lnTo>
                  <a:lnTo>
                    <a:pt x="4" y="7"/>
                  </a:lnTo>
                  <a:lnTo>
                    <a:pt x="2" y="7"/>
                  </a:lnTo>
                  <a:lnTo>
                    <a:pt x="2" y="7"/>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4" name="Freeform 1173">
              <a:extLst>
                <a:ext uri="{FF2B5EF4-FFF2-40B4-BE49-F238E27FC236}">
                  <a16:creationId xmlns:a16="http://schemas.microsoft.com/office/drawing/2014/main" id="{C8A15327-680A-4990-9178-1D8957473E1F}"/>
                </a:ext>
              </a:extLst>
            </p:cNvPr>
            <p:cNvSpPr>
              <a:spLocks/>
            </p:cNvSpPr>
            <p:nvPr/>
          </p:nvSpPr>
          <p:spPr bwMode="auto">
            <a:xfrm>
              <a:off x="7438605" y="4885530"/>
              <a:ext cx="14890" cy="11582"/>
            </a:xfrm>
            <a:custGeom>
              <a:avLst/>
              <a:gdLst>
                <a:gd name="T0" fmla="*/ 0 w 9"/>
                <a:gd name="T1" fmla="*/ 7 h 7"/>
                <a:gd name="T2" fmla="*/ 0 w 9"/>
                <a:gd name="T3" fmla="*/ 3 h 7"/>
                <a:gd name="T4" fmla="*/ 2 w 9"/>
                <a:gd name="T5" fmla="*/ 3 h 7"/>
                <a:gd name="T6" fmla="*/ 2 w 9"/>
                <a:gd name="T7" fmla="*/ 3 h 7"/>
                <a:gd name="T8" fmla="*/ 4 w 9"/>
                <a:gd name="T9" fmla="*/ 5 h 7"/>
                <a:gd name="T10" fmla="*/ 4 w 9"/>
                <a:gd name="T11" fmla="*/ 3 h 7"/>
                <a:gd name="T12" fmla="*/ 7 w 9"/>
                <a:gd name="T13" fmla="*/ 0 h 7"/>
                <a:gd name="T14" fmla="*/ 9 w 9"/>
                <a:gd name="T15" fmla="*/ 3 h 7"/>
                <a:gd name="T16" fmla="*/ 7 w 9"/>
                <a:gd name="T17" fmla="*/ 5 h 7"/>
                <a:gd name="T18" fmla="*/ 4 w 9"/>
                <a:gd name="T19" fmla="*/ 7 h 7"/>
                <a:gd name="T20" fmla="*/ 2 w 9"/>
                <a:gd name="T21" fmla="*/ 7 h 7"/>
                <a:gd name="T22" fmla="*/ 2 w 9"/>
                <a:gd name="T23" fmla="*/ 7 h 7"/>
                <a:gd name="T24" fmla="*/ 0 w 9"/>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0" y="7"/>
                  </a:moveTo>
                  <a:lnTo>
                    <a:pt x="0" y="3"/>
                  </a:lnTo>
                  <a:lnTo>
                    <a:pt x="2" y="3"/>
                  </a:lnTo>
                  <a:lnTo>
                    <a:pt x="2" y="3"/>
                  </a:lnTo>
                  <a:lnTo>
                    <a:pt x="4" y="5"/>
                  </a:lnTo>
                  <a:lnTo>
                    <a:pt x="4" y="3"/>
                  </a:lnTo>
                  <a:lnTo>
                    <a:pt x="7" y="0"/>
                  </a:lnTo>
                  <a:lnTo>
                    <a:pt x="9" y="3"/>
                  </a:lnTo>
                  <a:lnTo>
                    <a:pt x="7" y="5"/>
                  </a:lnTo>
                  <a:lnTo>
                    <a:pt x="4" y="7"/>
                  </a:lnTo>
                  <a:lnTo>
                    <a:pt x="2" y="7"/>
                  </a:lnTo>
                  <a:lnTo>
                    <a:pt x="2" y="7"/>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5" name="Freeform 1174">
              <a:extLst>
                <a:ext uri="{FF2B5EF4-FFF2-40B4-BE49-F238E27FC236}">
                  <a16:creationId xmlns:a16="http://schemas.microsoft.com/office/drawing/2014/main" id="{FBBD34C5-15C4-4CA8-8625-B040C622914C}"/>
                </a:ext>
              </a:extLst>
            </p:cNvPr>
            <p:cNvSpPr>
              <a:spLocks/>
            </p:cNvSpPr>
            <p:nvPr/>
          </p:nvSpPr>
          <p:spPr bwMode="auto">
            <a:xfrm>
              <a:off x="7336031" y="4882221"/>
              <a:ext cx="94303" cy="26470"/>
            </a:xfrm>
            <a:custGeom>
              <a:avLst/>
              <a:gdLst>
                <a:gd name="T0" fmla="*/ 3 w 57"/>
                <a:gd name="T1" fmla="*/ 7 h 16"/>
                <a:gd name="T2" fmla="*/ 5 w 57"/>
                <a:gd name="T3" fmla="*/ 7 h 16"/>
                <a:gd name="T4" fmla="*/ 5 w 57"/>
                <a:gd name="T5" fmla="*/ 7 h 16"/>
                <a:gd name="T6" fmla="*/ 10 w 57"/>
                <a:gd name="T7" fmla="*/ 5 h 16"/>
                <a:gd name="T8" fmla="*/ 14 w 57"/>
                <a:gd name="T9" fmla="*/ 5 h 16"/>
                <a:gd name="T10" fmla="*/ 17 w 57"/>
                <a:gd name="T11" fmla="*/ 5 h 16"/>
                <a:gd name="T12" fmla="*/ 19 w 57"/>
                <a:gd name="T13" fmla="*/ 5 h 16"/>
                <a:gd name="T14" fmla="*/ 24 w 57"/>
                <a:gd name="T15" fmla="*/ 7 h 16"/>
                <a:gd name="T16" fmla="*/ 24 w 57"/>
                <a:gd name="T17" fmla="*/ 7 h 16"/>
                <a:gd name="T18" fmla="*/ 28 w 57"/>
                <a:gd name="T19" fmla="*/ 9 h 16"/>
                <a:gd name="T20" fmla="*/ 31 w 57"/>
                <a:gd name="T21" fmla="*/ 9 h 16"/>
                <a:gd name="T22" fmla="*/ 40 w 57"/>
                <a:gd name="T23" fmla="*/ 7 h 16"/>
                <a:gd name="T24" fmla="*/ 40 w 57"/>
                <a:gd name="T25" fmla="*/ 9 h 16"/>
                <a:gd name="T26" fmla="*/ 43 w 57"/>
                <a:gd name="T27" fmla="*/ 9 h 16"/>
                <a:gd name="T28" fmla="*/ 45 w 57"/>
                <a:gd name="T29" fmla="*/ 9 h 16"/>
                <a:gd name="T30" fmla="*/ 47 w 57"/>
                <a:gd name="T31" fmla="*/ 9 h 16"/>
                <a:gd name="T32" fmla="*/ 50 w 57"/>
                <a:gd name="T33" fmla="*/ 7 h 16"/>
                <a:gd name="T34" fmla="*/ 50 w 57"/>
                <a:gd name="T35" fmla="*/ 7 h 16"/>
                <a:gd name="T36" fmla="*/ 52 w 57"/>
                <a:gd name="T37" fmla="*/ 7 h 16"/>
                <a:gd name="T38" fmla="*/ 54 w 57"/>
                <a:gd name="T39" fmla="*/ 5 h 16"/>
                <a:gd name="T40" fmla="*/ 54 w 57"/>
                <a:gd name="T41" fmla="*/ 5 h 16"/>
                <a:gd name="T42" fmla="*/ 52 w 57"/>
                <a:gd name="T43" fmla="*/ 5 h 16"/>
                <a:gd name="T44" fmla="*/ 54 w 57"/>
                <a:gd name="T45" fmla="*/ 0 h 16"/>
                <a:gd name="T46" fmla="*/ 54 w 57"/>
                <a:gd name="T47" fmla="*/ 2 h 16"/>
                <a:gd name="T48" fmla="*/ 57 w 57"/>
                <a:gd name="T49" fmla="*/ 5 h 16"/>
                <a:gd name="T50" fmla="*/ 54 w 57"/>
                <a:gd name="T51" fmla="*/ 9 h 16"/>
                <a:gd name="T52" fmla="*/ 52 w 57"/>
                <a:gd name="T53" fmla="*/ 12 h 16"/>
                <a:gd name="T54" fmla="*/ 47 w 57"/>
                <a:gd name="T55" fmla="*/ 12 h 16"/>
                <a:gd name="T56" fmla="*/ 45 w 57"/>
                <a:gd name="T57" fmla="*/ 14 h 16"/>
                <a:gd name="T58" fmla="*/ 43 w 57"/>
                <a:gd name="T59" fmla="*/ 14 h 16"/>
                <a:gd name="T60" fmla="*/ 38 w 57"/>
                <a:gd name="T61" fmla="*/ 14 h 16"/>
                <a:gd name="T62" fmla="*/ 33 w 57"/>
                <a:gd name="T63" fmla="*/ 14 h 16"/>
                <a:gd name="T64" fmla="*/ 31 w 57"/>
                <a:gd name="T65" fmla="*/ 14 h 16"/>
                <a:gd name="T66" fmla="*/ 26 w 57"/>
                <a:gd name="T67" fmla="*/ 16 h 16"/>
                <a:gd name="T68" fmla="*/ 24 w 57"/>
                <a:gd name="T69" fmla="*/ 16 h 16"/>
                <a:gd name="T70" fmla="*/ 19 w 57"/>
                <a:gd name="T71" fmla="*/ 14 h 16"/>
                <a:gd name="T72" fmla="*/ 14 w 57"/>
                <a:gd name="T73" fmla="*/ 14 h 16"/>
                <a:gd name="T74" fmla="*/ 5 w 57"/>
                <a:gd name="T75" fmla="*/ 14 h 16"/>
                <a:gd name="T76" fmla="*/ 3 w 57"/>
                <a:gd name="T77" fmla="*/ 14 h 16"/>
                <a:gd name="T78" fmla="*/ 0 w 57"/>
                <a:gd name="T79" fmla="*/ 14 h 16"/>
                <a:gd name="T80" fmla="*/ 0 w 57"/>
                <a:gd name="T81" fmla="*/ 9 h 16"/>
                <a:gd name="T82" fmla="*/ 0 w 57"/>
                <a:gd name="T83" fmla="*/ 9 h 16"/>
                <a:gd name="T84" fmla="*/ 3 w 57"/>
                <a:gd name="T85"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16">
                  <a:moveTo>
                    <a:pt x="3" y="7"/>
                  </a:moveTo>
                  <a:lnTo>
                    <a:pt x="5" y="7"/>
                  </a:lnTo>
                  <a:lnTo>
                    <a:pt x="5" y="7"/>
                  </a:lnTo>
                  <a:lnTo>
                    <a:pt x="10" y="5"/>
                  </a:lnTo>
                  <a:lnTo>
                    <a:pt x="14" y="5"/>
                  </a:lnTo>
                  <a:lnTo>
                    <a:pt x="17" y="5"/>
                  </a:lnTo>
                  <a:lnTo>
                    <a:pt x="19" y="5"/>
                  </a:lnTo>
                  <a:lnTo>
                    <a:pt x="24" y="7"/>
                  </a:lnTo>
                  <a:lnTo>
                    <a:pt x="24" y="7"/>
                  </a:lnTo>
                  <a:lnTo>
                    <a:pt x="28" y="9"/>
                  </a:lnTo>
                  <a:lnTo>
                    <a:pt x="31" y="9"/>
                  </a:lnTo>
                  <a:lnTo>
                    <a:pt x="40" y="7"/>
                  </a:lnTo>
                  <a:lnTo>
                    <a:pt x="40" y="9"/>
                  </a:lnTo>
                  <a:lnTo>
                    <a:pt x="43" y="9"/>
                  </a:lnTo>
                  <a:lnTo>
                    <a:pt x="45" y="9"/>
                  </a:lnTo>
                  <a:lnTo>
                    <a:pt x="47" y="9"/>
                  </a:lnTo>
                  <a:lnTo>
                    <a:pt x="50" y="7"/>
                  </a:lnTo>
                  <a:lnTo>
                    <a:pt x="50" y="7"/>
                  </a:lnTo>
                  <a:lnTo>
                    <a:pt x="52" y="7"/>
                  </a:lnTo>
                  <a:lnTo>
                    <a:pt x="54" y="5"/>
                  </a:lnTo>
                  <a:lnTo>
                    <a:pt x="54" y="5"/>
                  </a:lnTo>
                  <a:lnTo>
                    <a:pt x="52" y="5"/>
                  </a:lnTo>
                  <a:lnTo>
                    <a:pt x="54" y="0"/>
                  </a:lnTo>
                  <a:lnTo>
                    <a:pt x="54" y="2"/>
                  </a:lnTo>
                  <a:lnTo>
                    <a:pt x="57" y="5"/>
                  </a:lnTo>
                  <a:lnTo>
                    <a:pt x="54" y="9"/>
                  </a:lnTo>
                  <a:lnTo>
                    <a:pt x="52" y="12"/>
                  </a:lnTo>
                  <a:lnTo>
                    <a:pt x="47" y="12"/>
                  </a:lnTo>
                  <a:lnTo>
                    <a:pt x="45" y="14"/>
                  </a:lnTo>
                  <a:lnTo>
                    <a:pt x="43" y="14"/>
                  </a:lnTo>
                  <a:lnTo>
                    <a:pt x="38" y="14"/>
                  </a:lnTo>
                  <a:lnTo>
                    <a:pt x="33" y="14"/>
                  </a:lnTo>
                  <a:lnTo>
                    <a:pt x="31" y="14"/>
                  </a:lnTo>
                  <a:lnTo>
                    <a:pt x="26" y="16"/>
                  </a:lnTo>
                  <a:lnTo>
                    <a:pt x="24" y="16"/>
                  </a:lnTo>
                  <a:lnTo>
                    <a:pt x="19" y="14"/>
                  </a:lnTo>
                  <a:lnTo>
                    <a:pt x="14" y="14"/>
                  </a:lnTo>
                  <a:lnTo>
                    <a:pt x="5" y="14"/>
                  </a:lnTo>
                  <a:lnTo>
                    <a:pt x="3" y="14"/>
                  </a:lnTo>
                  <a:lnTo>
                    <a:pt x="0" y="14"/>
                  </a:lnTo>
                  <a:lnTo>
                    <a:pt x="0" y="9"/>
                  </a:lnTo>
                  <a:lnTo>
                    <a:pt x="0" y="9"/>
                  </a:lnTo>
                  <a:lnTo>
                    <a:pt x="3"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6" name="Freeform 1175">
              <a:extLst>
                <a:ext uri="{FF2B5EF4-FFF2-40B4-BE49-F238E27FC236}">
                  <a16:creationId xmlns:a16="http://schemas.microsoft.com/office/drawing/2014/main" id="{AF6F8507-610A-41C0-B648-E91B0A1ACB46}"/>
                </a:ext>
              </a:extLst>
            </p:cNvPr>
            <p:cNvSpPr>
              <a:spLocks/>
            </p:cNvSpPr>
            <p:nvPr/>
          </p:nvSpPr>
          <p:spPr bwMode="auto">
            <a:xfrm>
              <a:off x="7336031" y="4882221"/>
              <a:ext cx="94303" cy="26470"/>
            </a:xfrm>
            <a:custGeom>
              <a:avLst/>
              <a:gdLst>
                <a:gd name="T0" fmla="*/ 3 w 57"/>
                <a:gd name="T1" fmla="*/ 7 h 16"/>
                <a:gd name="T2" fmla="*/ 5 w 57"/>
                <a:gd name="T3" fmla="*/ 7 h 16"/>
                <a:gd name="T4" fmla="*/ 5 w 57"/>
                <a:gd name="T5" fmla="*/ 7 h 16"/>
                <a:gd name="T6" fmla="*/ 10 w 57"/>
                <a:gd name="T7" fmla="*/ 5 h 16"/>
                <a:gd name="T8" fmla="*/ 14 w 57"/>
                <a:gd name="T9" fmla="*/ 5 h 16"/>
                <a:gd name="T10" fmla="*/ 17 w 57"/>
                <a:gd name="T11" fmla="*/ 5 h 16"/>
                <a:gd name="T12" fmla="*/ 19 w 57"/>
                <a:gd name="T13" fmla="*/ 5 h 16"/>
                <a:gd name="T14" fmla="*/ 24 w 57"/>
                <a:gd name="T15" fmla="*/ 7 h 16"/>
                <a:gd name="T16" fmla="*/ 24 w 57"/>
                <a:gd name="T17" fmla="*/ 7 h 16"/>
                <a:gd name="T18" fmla="*/ 28 w 57"/>
                <a:gd name="T19" fmla="*/ 9 h 16"/>
                <a:gd name="T20" fmla="*/ 31 w 57"/>
                <a:gd name="T21" fmla="*/ 9 h 16"/>
                <a:gd name="T22" fmla="*/ 40 w 57"/>
                <a:gd name="T23" fmla="*/ 7 h 16"/>
                <a:gd name="T24" fmla="*/ 40 w 57"/>
                <a:gd name="T25" fmla="*/ 9 h 16"/>
                <a:gd name="T26" fmla="*/ 43 w 57"/>
                <a:gd name="T27" fmla="*/ 9 h 16"/>
                <a:gd name="T28" fmla="*/ 45 w 57"/>
                <a:gd name="T29" fmla="*/ 9 h 16"/>
                <a:gd name="T30" fmla="*/ 47 w 57"/>
                <a:gd name="T31" fmla="*/ 9 h 16"/>
                <a:gd name="T32" fmla="*/ 50 w 57"/>
                <a:gd name="T33" fmla="*/ 7 h 16"/>
                <a:gd name="T34" fmla="*/ 50 w 57"/>
                <a:gd name="T35" fmla="*/ 7 h 16"/>
                <a:gd name="T36" fmla="*/ 52 w 57"/>
                <a:gd name="T37" fmla="*/ 7 h 16"/>
                <a:gd name="T38" fmla="*/ 54 w 57"/>
                <a:gd name="T39" fmla="*/ 5 h 16"/>
                <a:gd name="T40" fmla="*/ 54 w 57"/>
                <a:gd name="T41" fmla="*/ 5 h 16"/>
                <a:gd name="T42" fmla="*/ 52 w 57"/>
                <a:gd name="T43" fmla="*/ 5 h 16"/>
                <a:gd name="T44" fmla="*/ 54 w 57"/>
                <a:gd name="T45" fmla="*/ 0 h 16"/>
                <a:gd name="T46" fmla="*/ 54 w 57"/>
                <a:gd name="T47" fmla="*/ 2 h 16"/>
                <a:gd name="T48" fmla="*/ 57 w 57"/>
                <a:gd name="T49" fmla="*/ 5 h 16"/>
                <a:gd name="T50" fmla="*/ 54 w 57"/>
                <a:gd name="T51" fmla="*/ 9 h 16"/>
                <a:gd name="T52" fmla="*/ 52 w 57"/>
                <a:gd name="T53" fmla="*/ 12 h 16"/>
                <a:gd name="T54" fmla="*/ 47 w 57"/>
                <a:gd name="T55" fmla="*/ 12 h 16"/>
                <a:gd name="T56" fmla="*/ 45 w 57"/>
                <a:gd name="T57" fmla="*/ 14 h 16"/>
                <a:gd name="T58" fmla="*/ 43 w 57"/>
                <a:gd name="T59" fmla="*/ 14 h 16"/>
                <a:gd name="T60" fmla="*/ 38 w 57"/>
                <a:gd name="T61" fmla="*/ 14 h 16"/>
                <a:gd name="T62" fmla="*/ 33 w 57"/>
                <a:gd name="T63" fmla="*/ 14 h 16"/>
                <a:gd name="T64" fmla="*/ 31 w 57"/>
                <a:gd name="T65" fmla="*/ 14 h 16"/>
                <a:gd name="T66" fmla="*/ 26 w 57"/>
                <a:gd name="T67" fmla="*/ 16 h 16"/>
                <a:gd name="T68" fmla="*/ 24 w 57"/>
                <a:gd name="T69" fmla="*/ 16 h 16"/>
                <a:gd name="T70" fmla="*/ 19 w 57"/>
                <a:gd name="T71" fmla="*/ 14 h 16"/>
                <a:gd name="T72" fmla="*/ 14 w 57"/>
                <a:gd name="T73" fmla="*/ 14 h 16"/>
                <a:gd name="T74" fmla="*/ 5 w 57"/>
                <a:gd name="T75" fmla="*/ 14 h 16"/>
                <a:gd name="T76" fmla="*/ 3 w 57"/>
                <a:gd name="T77" fmla="*/ 14 h 16"/>
                <a:gd name="T78" fmla="*/ 0 w 57"/>
                <a:gd name="T79" fmla="*/ 14 h 16"/>
                <a:gd name="T80" fmla="*/ 0 w 57"/>
                <a:gd name="T81" fmla="*/ 9 h 16"/>
                <a:gd name="T82" fmla="*/ 0 w 57"/>
                <a:gd name="T83" fmla="*/ 9 h 16"/>
                <a:gd name="T84" fmla="*/ 3 w 57"/>
                <a:gd name="T85"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16">
                  <a:moveTo>
                    <a:pt x="3" y="7"/>
                  </a:moveTo>
                  <a:lnTo>
                    <a:pt x="5" y="7"/>
                  </a:lnTo>
                  <a:lnTo>
                    <a:pt x="5" y="7"/>
                  </a:lnTo>
                  <a:lnTo>
                    <a:pt x="10" y="5"/>
                  </a:lnTo>
                  <a:lnTo>
                    <a:pt x="14" y="5"/>
                  </a:lnTo>
                  <a:lnTo>
                    <a:pt x="17" y="5"/>
                  </a:lnTo>
                  <a:lnTo>
                    <a:pt x="19" y="5"/>
                  </a:lnTo>
                  <a:lnTo>
                    <a:pt x="24" y="7"/>
                  </a:lnTo>
                  <a:lnTo>
                    <a:pt x="24" y="7"/>
                  </a:lnTo>
                  <a:lnTo>
                    <a:pt x="28" y="9"/>
                  </a:lnTo>
                  <a:lnTo>
                    <a:pt x="31" y="9"/>
                  </a:lnTo>
                  <a:lnTo>
                    <a:pt x="40" y="7"/>
                  </a:lnTo>
                  <a:lnTo>
                    <a:pt x="40" y="9"/>
                  </a:lnTo>
                  <a:lnTo>
                    <a:pt x="43" y="9"/>
                  </a:lnTo>
                  <a:lnTo>
                    <a:pt x="45" y="9"/>
                  </a:lnTo>
                  <a:lnTo>
                    <a:pt x="47" y="9"/>
                  </a:lnTo>
                  <a:lnTo>
                    <a:pt x="50" y="7"/>
                  </a:lnTo>
                  <a:lnTo>
                    <a:pt x="50" y="7"/>
                  </a:lnTo>
                  <a:lnTo>
                    <a:pt x="52" y="7"/>
                  </a:lnTo>
                  <a:lnTo>
                    <a:pt x="54" y="5"/>
                  </a:lnTo>
                  <a:lnTo>
                    <a:pt x="54" y="5"/>
                  </a:lnTo>
                  <a:lnTo>
                    <a:pt x="52" y="5"/>
                  </a:lnTo>
                  <a:lnTo>
                    <a:pt x="54" y="0"/>
                  </a:lnTo>
                  <a:lnTo>
                    <a:pt x="54" y="2"/>
                  </a:lnTo>
                  <a:lnTo>
                    <a:pt x="57" y="5"/>
                  </a:lnTo>
                  <a:lnTo>
                    <a:pt x="54" y="9"/>
                  </a:lnTo>
                  <a:lnTo>
                    <a:pt x="52" y="12"/>
                  </a:lnTo>
                  <a:lnTo>
                    <a:pt x="47" y="12"/>
                  </a:lnTo>
                  <a:lnTo>
                    <a:pt x="45" y="14"/>
                  </a:lnTo>
                  <a:lnTo>
                    <a:pt x="43" y="14"/>
                  </a:lnTo>
                  <a:lnTo>
                    <a:pt x="38" y="14"/>
                  </a:lnTo>
                  <a:lnTo>
                    <a:pt x="33" y="14"/>
                  </a:lnTo>
                  <a:lnTo>
                    <a:pt x="31" y="14"/>
                  </a:lnTo>
                  <a:lnTo>
                    <a:pt x="26" y="16"/>
                  </a:lnTo>
                  <a:lnTo>
                    <a:pt x="24" y="16"/>
                  </a:lnTo>
                  <a:lnTo>
                    <a:pt x="19" y="14"/>
                  </a:lnTo>
                  <a:lnTo>
                    <a:pt x="14" y="14"/>
                  </a:lnTo>
                  <a:lnTo>
                    <a:pt x="5" y="14"/>
                  </a:lnTo>
                  <a:lnTo>
                    <a:pt x="3" y="14"/>
                  </a:lnTo>
                  <a:lnTo>
                    <a:pt x="0" y="14"/>
                  </a:lnTo>
                  <a:lnTo>
                    <a:pt x="0" y="9"/>
                  </a:lnTo>
                  <a:lnTo>
                    <a:pt x="0" y="9"/>
                  </a:lnTo>
                  <a:lnTo>
                    <a:pt x="3"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7" name="Freeform 1176">
              <a:extLst>
                <a:ext uri="{FF2B5EF4-FFF2-40B4-BE49-F238E27FC236}">
                  <a16:creationId xmlns:a16="http://schemas.microsoft.com/office/drawing/2014/main" id="{6DBB2BAD-B567-4A4E-B999-F5A0B8DD3C64}"/>
                </a:ext>
              </a:extLst>
            </p:cNvPr>
            <p:cNvSpPr>
              <a:spLocks/>
            </p:cNvSpPr>
            <p:nvPr/>
          </p:nvSpPr>
          <p:spPr bwMode="auto">
            <a:xfrm>
              <a:off x="7316178" y="4921928"/>
              <a:ext cx="51288" cy="26470"/>
            </a:xfrm>
            <a:custGeom>
              <a:avLst/>
              <a:gdLst>
                <a:gd name="T0" fmla="*/ 15 w 31"/>
                <a:gd name="T1" fmla="*/ 0 h 16"/>
                <a:gd name="T2" fmla="*/ 17 w 31"/>
                <a:gd name="T3" fmla="*/ 2 h 16"/>
                <a:gd name="T4" fmla="*/ 19 w 31"/>
                <a:gd name="T5" fmla="*/ 2 h 16"/>
                <a:gd name="T6" fmla="*/ 22 w 31"/>
                <a:gd name="T7" fmla="*/ 2 h 16"/>
                <a:gd name="T8" fmla="*/ 22 w 31"/>
                <a:gd name="T9" fmla="*/ 4 h 16"/>
                <a:gd name="T10" fmla="*/ 26 w 31"/>
                <a:gd name="T11" fmla="*/ 7 h 16"/>
                <a:gd name="T12" fmla="*/ 29 w 31"/>
                <a:gd name="T13" fmla="*/ 9 h 16"/>
                <a:gd name="T14" fmla="*/ 31 w 31"/>
                <a:gd name="T15" fmla="*/ 14 h 16"/>
                <a:gd name="T16" fmla="*/ 29 w 31"/>
                <a:gd name="T17" fmla="*/ 16 h 16"/>
                <a:gd name="T18" fmla="*/ 24 w 31"/>
                <a:gd name="T19" fmla="*/ 16 h 16"/>
                <a:gd name="T20" fmla="*/ 22 w 31"/>
                <a:gd name="T21" fmla="*/ 16 h 16"/>
                <a:gd name="T22" fmla="*/ 17 w 31"/>
                <a:gd name="T23" fmla="*/ 11 h 16"/>
                <a:gd name="T24" fmla="*/ 15 w 31"/>
                <a:gd name="T25" fmla="*/ 9 h 16"/>
                <a:gd name="T26" fmla="*/ 10 w 31"/>
                <a:gd name="T27" fmla="*/ 7 h 16"/>
                <a:gd name="T28" fmla="*/ 5 w 31"/>
                <a:gd name="T29" fmla="*/ 7 h 16"/>
                <a:gd name="T30" fmla="*/ 3 w 31"/>
                <a:gd name="T31" fmla="*/ 7 h 16"/>
                <a:gd name="T32" fmla="*/ 0 w 31"/>
                <a:gd name="T33" fmla="*/ 4 h 16"/>
                <a:gd name="T34" fmla="*/ 0 w 31"/>
                <a:gd name="T35" fmla="*/ 2 h 16"/>
                <a:gd name="T36" fmla="*/ 3 w 31"/>
                <a:gd name="T37" fmla="*/ 0 h 16"/>
                <a:gd name="T38" fmla="*/ 5 w 31"/>
                <a:gd name="T39" fmla="*/ 0 h 16"/>
                <a:gd name="T40" fmla="*/ 10 w 31"/>
                <a:gd name="T41" fmla="*/ 0 h 16"/>
                <a:gd name="T42" fmla="*/ 12 w 31"/>
                <a:gd name="T43" fmla="*/ 0 h 16"/>
                <a:gd name="T44" fmla="*/ 15 w 31"/>
                <a:gd name="T45" fmla="*/ 0 h 16"/>
                <a:gd name="T46" fmla="*/ 15 w 31"/>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16">
                  <a:moveTo>
                    <a:pt x="15" y="0"/>
                  </a:moveTo>
                  <a:lnTo>
                    <a:pt x="17" y="2"/>
                  </a:lnTo>
                  <a:lnTo>
                    <a:pt x="19" y="2"/>
                  </a:lnTo>
                  <a:lnTo>
                    <a:pt x="22" y="2"/>
                  </a:lnTo>
                  <a:lnTo>
                    <a:pt x="22" y="4"/>
                  </a:lnTo>
                  <a:lnTo>
                    <a:pt x="26" y="7"/>
                  </a:lnTo>
                  <a:lnTo>
                    <a:pt x="29" y="9"/>
                  </a:lnTo>
                  <a:lnTo>
                    <a:pt x="31" y="14"/>
                  </a:lnTo>
                  <a:lnTo>
                    <a:pt x="29" y="16"/>
                  </a:lnTo>
                  <a:lnTo>
                    <a:pt x="24" y="16"/>
                  </a:lnTo>
                  <a:lnTo>
                    <a:pt x="22" y="16"/>
                  </a:lnTo>
                  <a:lnTo>
                    <a:pt x="17" y="11"/>
                  </a:lnTo>
                  <a:lnTo>
                    <a:pt x="15" y="9"/>
                  </a:lnTo>
                  <a:lnTo>
                    <a:pt x="10" y="7"/>
                  </a:lnTo>
                  <a:lnTo>
                    <a:pt x="5" y="7"/>
                  </a:lnTo>
                  <a:lnTo>
                    <a:pt x="3" y="7"/>
                  </a:lnTo>
                  <a:lnTo>
                    <a:pt x="0" y="4"/>
                  </a:lnTo>
                  <a:lnTo>
                    <a:pt x="0" y="2"/>
                  </a:lnTo>
                  <a:lnTo>
                    <a:pt x="3" y="0"/>
                  </a:lnTo>
                  <a:lnTo>
                    <a:pt x="5" y="0"/>
                  </a:lnTo>
                  <a:lnTo>
                    <a:pt x="10" y="0"/>
                  </a:lnTo>
                  <a:lnTo>
                    <a:pt x="12" y="0"/>
                  </a:lnTo>
                  <a:lnTo>
                    <a:pt x="15" y="0"/>
                  </a:lnTo>
                  <a:lnTo>
                    <a:pt x="1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8" name="Freeform 1177">
              <a:extLst>
                <a:ext uri="{FF2B5EF4-FFF2-40B4-BE49-F238E27FC236}">
                  <a16:creationId xmlns:a16="http://schemas.microsoft.com/office/drawing/2014/main" id="{A0524FC3-59E4-4BB5-8681-14A997C4DBDE}"/>
                </a:ext>
              </a:extLst>
            </p:cNvPr>
            <p:cNvSpPr>
              <a:spLocks/>
            </p:cNvSpPr>
            <p:nvPr/>
          </p:nvSpPr>
          <p:spPr bwMode="auto">
            <a:xfrm>
              <a:off x="7316178" y="4921928"/>
              <a:ext cx="51288" cy="26470"/>
            </a:xfrm>
            <a:custGeom>
              <a:avLst/>
              <a:gdLst>
                <a:gd name="T0" fmla="*/ 15 w 31"/>
                <a:gd name="T1" fmla="*/ 0 h 16"/>
                <a:gd name="T2" fmla="*/ 17 w 31"/>
                <a:gd name="T3" fmla="*/ 2 h 16"/>
                <a:gd name="T4" fmla="*/ 19 w 31"/>
                <a:gd name="T5" fmla="*/ 2 h 16"/>
                <a:gd name="T6" fmla="*/ 22 w 31"/>
                <a:gd name="T7" fmla="*/ 2 h 16"/>
                <a:gd name="T8" fmla="*/ 22 w 31"/>
                <a:gd name="T9" fmla="*/ 4 h 16"/>
                <a:gd name="T10" fmla="*/ 26 w 31"/>
                <a:gd name="T11" fmla="*/ 7 h 16"/>
                <a:gd name="T12" fmla="*/ 29 w 31"/>
                <a:gd name="T13" fmla="*/ 9 h 16"/>
                <a:gd name="T14" fmla="*/ 31 w 31"/>
                <a:gd name="T15" fmla="*/ 14 h 16"/>
                <a:gd name="T16" fmla="*/ 29 w 31"/>
                <a:gd name="T17" fmla="*/ 16 h 16"/>
                <a:gd name="T18" fmla="*/ 24 w 31"/>
                <a:gd name="T19" fmla="*/ 16 h 16"/>
                <a:gd name="T20" fmla="*/ 22 w 31"/>
                <a:gd name="T21" fmla="*/ 16 h 16"/>
                <a:gd name="T22" fmla="*/ 17 w 31"/>
                <a:gd name="T23" fmla="*/ 11 h 16"/>
                <a:gd name="T24" fmla="*/ 15 w 31"/>
                <a:gd name="T25" fmla="*/ 9 h 16"/>
                <a:gd name="T26" fmla="*/ 10 w 31"/>
                <a:gd name="T27" fmla="*/ 7 h 16"/>
                <a:gd name="T28" fmla="*/ 5 w 31"/>
                <a:gd name="T29" fmla="*/ 7 h 16"/>
                <a:gd name="T30" fmla="*/ 3 w 31"/>
                <a:gd name="T31" fmla="*/ 7 h 16"/>
                <a:gd name="T32" fmla="*/ 0 w 31"/>
                <a:gd name="T33" fmla="*/ 4 h 16"/>
                <a:gd name="T34" fmla="*/ 0 w 31"/>
                <a:gd name="T35" fmla="*/ 2 h 16"/>
                <a:gd name="T36" fmla="*/ 3 w 31"/>
                <a:gd name="T37" fmla="*/ 0 h 16"/>
                <a:gd name="T38" fmla="*/ 5 w 31"/>
                <a:gd name="T39" fmla="*/ 0 h 16"/>
                <a:gd name="T40" fmla="*/ 10 w 31"/>
                <a:gd name="T41" fmla="*/ 0 h 16"/>
                <a:gd name="T42" fmla="*/ 12 w 31"/>
                <a:gd name="T43" fmla="*/ 0 h 16"/>
                <a:gd name="T44" fmla="*/ 15 w 31"/>
                <a:gd name="T45" fmla="*/ 0 h 16"/>
                <a:gd name="T46" fmla="*/ 15 w 31"/>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16">
                  <a:moveTo>
                    <a:pt x="15" y="0"/>
                  </a:moveTo>
                  <a:lnTo>
                    <a:pt x="17" y="2"/>
                  </a:lnTo>
                  <a:lnTo>
                    <a:pt x="19" y="2"/>
                  </a:lnTo>
                  <a:lnTo>
                    <a:pt x="22" y="2"/>
                  </a:lnTo>
                  <a:lnTo>
                    <a:pt x="22" y="4"/>
                  </a:lnTo>
                  <a:lnTo>
                    <a:pt x="26" y="7"/>
                  </a:lnTo>
                  <a:lnTo>
                    <a:pt x="29" y="9"/>
                  </a:lnTo>
                  <a:lnTo>
                    <a:pt x="31" y="14"/>
                  </a:lnTo>
                  <a:lnTo>
                    <a:pt x="29" y="16"/>
                  </a:lnTo>
                  <a:lnTo>
                    <a:pt x="24" y="16"/>
                  </a:lnTo>
                  <a:lnTo>
                    <a:pt x="22" y="16"/>
                  </a:lnTo>
                  <a:lnTo>
                    <a:pt x="17" y="11"/>
                  </a:lnTo>
                  <a:lnTo>
                    <a:pt x="15" y="9"/>
                  </a:lnTo>
                  <a:lnTo>
                    <a:pt x="10" y="7"/>
                  </a:lnTo>
                  <a:lnTo>
                    <a:pt x="5" y="7"/>
                  </a:lnTo>
                  <a:lnTo>
                    <a:pt x="3" y="7"/>
                  </a:lnTo>
                  <a:lnTo>
                    <a:pt x="0" y="4"/>
                  </a:lnTo>
                  <a:lnTo>
                    <a:pt x="0" y="2"/>
                  </a:lnTo>
                  <a:lnTo>
                    <a:pt x="3" y="0"/>
                  </a:lnTo>
                  <a:lnTo>
                    <a:pt x="5" y="0"/>
                  </a:lnTo>
                  <a:lnTo>
                    <a:pt x="10" y="0"/>
                  </a:lnTo>
                  <a:lnTo>
                    <a:pt x="12" y="0"/>
                  </a:lnTo>
                  <a:lnTo>
                    <a:pt x="15" y="0"/>
                  </a:lnTo>
                  <a:lnTo>
                    <a:pt x="1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399" name="Freeform 1178">
              <a:extLst>
                <a:ext uri="{FF2B5EF4-FFF2-40B4-BE49-F238E27FC236}">
                  <a16:creationId xmlns:a16="http://schemas.microsoft.com/office/drawing/2014/main" id="{0A4B7D94-90DD-4EFF-A2DF-51984BDF7F15}"/>
                </a:ext>
              </a:extLst>
            </p:cNvPr>
            <p:cNvSpPr>
              <a:spLocks/>
            </p:cNvSpPr>
            <p:nvPr/>
          </p:nvSpPr>
          <p:spPr bwMode="auto">
            <a:xfrm>
              <a:off x="7250001" y="4885530"/>
              <a:ext cx="66176" cy="28126"/>
            </a:xfrm>
            <a:custGeom>
              <a:avLst/>
              <a:gdLst>
                <a:gd name="T0" fmla="*/ 5 w 40"/>
                <a:gd name="T1" fmla="*/ 5 h 17"/>
                <a:gd name="T2" fmla="*/ 7 w 40"/>
                <a:gd name="T3" fmla="*/ 5 h 17"/>
                <a:gd name="T4" fmla="*/ 14 w 40"/>
                <a:gd name="T5" fmla="*/ 5 h 17"/>
                <a:gd name="T6" fmla="*/ 17 w 40"/>
                <a:gd name="T7" fmla="*/ 7 h 17"/>
                <a:gd name="T8" fmla="*/ 17 w 40"/>
                <a:gd name="T9" fmla="*/ 10 h 17"/>
                <a:gd name="T10" fmla="*/ 19 w 40"/>
                <a:gd name="T11" fmla="*/ 10 h 17"/>
                <a:gd name="T12" fmla="*/ 21 w 40"/>
                <a:gd name="T13" fmla="*/ 10 h 17"/>
                <a:gd name="T14" fmla="*/ 21 w 40"/>
                <a:gd name="T15" fmla="*/ 10 h 17"/>
                <a:gd name="T16" fmla="*/ 24 w 40"/>
                <a:gd name="T17" fmla="*/ 10 h 17"/>
                <a:gd name="T18" fmla="*/ 24 w 40"/>
                <a:gd name="T19" fmla="*/ 7 h 17"/>
                <a:gd name="T20" fmla="*/ 21 w 40"/>
                <a:gd name="T21" fmla="*/ 5 h 17"/>
                <a:gd name="T22" fmla="*/ 19 w 40"/>
                <a:gd name="T23" fmla="*/ 3 h 17"/>
                <a:gd name="T24" fmla="*/ 17 w 40"/>
                <a:gd name="T25" fmla="*/ 0 h 17"/>
                <a:gd name="T26" fmla="*/ 19 w 40"/>
                <a:gd name="T27" fmla="*/ 0 h 17"/>
                <a:gd name="T28" fmla="*/ 24 w 40"/>
                <a:gd name="T29" fmla="*/ 0 h 17"/>
                <a:gd name="T30" fmla="*/ 26 w 40"/>
                <a:gd name="T31" fmla="*/ 3 h 17"/>
                <a:gd name="T32" fmla="*/ 29 w 40"/>
                <a:gd name="T33" fmla="*/ 3 h 17"/>
                <a:gd name="T34" fmla="*/ 31 w 40"/>
                <a:gd name="T35" fmla="*/ 3 h 17"/>
                <a:gd name="T36" fmla="*/ 33 w 40"/>
                <a:gd name="T37" fmla="*/ 5 h 17"/>
                <a:gd name="T38" fmla="*/ 33 w 40"/>
                <a:gd name="T39" fmla="*/ 7 h 17"/>
                <a:gd name="T40" fmla="*/ 36 w 40"/>
                <a:gd name="T41" fmla="*/ 3 h 17"/>
                <a:gd name="T42" fmla="*/ 38 w 40"/>
                <a:gd name="T43" fmla="*/ 5 h 17"/>
                <a:gd name="T44" fmla="*/ 40 w 40"/>
                <a:gd name="T45" fmla="*/ 7 h 17"/>
                <a:gd name="T46" fmla="*/ 40 w 40"/>
                <a:gd name="T47" fmla="*/ 10 h 17"/>
                <a:gd name="T48" fmla="*/ 40 w 40"/>
                <a:gd name="T49" fmla="*/ 10 h 17"/>
                <a:gd name="T50" fmla="*/ 40 w 40"/>
                <a:gd name="T51" fmla="*/ 10 h 17"/>
                <a:gd name="T52" fmla="*/ 38 w 40"/>
                <a:gd name="T53" fmla="*/ 10 h 17"/>
                <a:gd name="T54" fmla="*/ 36 w 40"/>
                <a:gd name="T55" fmla="*/ 10 h 17"/>
                <a:gd name="T56" fmla="*/ 36 w 40"/>
                <a:gd name="T57" fmla="*/ 12 h 17"/>
                <a:gd name="T58" fmla="*/ 33 w 40"/>
                <a:gd name="T59" fmla="*/ 12 h 17"/>
                <a:gd name="T60" fmla="*/ 29 w 40"/>
                <a:gd name="T61" fmla="*/ 12 h 17"/>
                <a:gd name="T62" fmla="*/ 29 w 40"/>
                <a:gd name="T63" fmla="*/ 10 h 17"/>
                <a:gd name="T64" fmla="*/ 24 w 40"/>
                <a:gd name="T65" fmla="*/ 12 h 17"/>
                <a:gd name="T66" fmla="*/ 19 w 40"/>
                <a:gd name="T67" fmla="*/ 14 h 17"/>
                <a:gd name="T68" fmla="*/ 14 w 40"/>
                <a:gd name="T69" fmla="*/ 14 h 17"/>
                <a:gd name="T70" fmla="*/ 7 w 40"/>
                <a:gd name="T71" fmla="*/ 17 h 17"/>
                <a:gd name="T72" fmla="*/ 5 w 40"/>
                <a:gd name="T73" fmla="*/ 17 h 17"/>
                <a:gd name="T74" fmla="*/ 3 w 40"/>
                <a:gd name="T75" fmla="*/ 14 h 17"/>
                <a:gd name="T76" fmla="*/ 0 w 40"/>
                <a:gd name="T77" fmla="*/ 14 h 17"/>
                <a:gd name="T78" fmla="*/ 0 w 40"/>
                <a:gd name="T79" fmla="*/ 12 h 17"/>
                <a:gd name="T80" fmla="*/ 0 w 40"/>
                <a:gd name="T81" fmla="*/ 10 h 17"/>
                <a:gd name="T82" fmla="*/ 5 w 40"/>
                <a:gd name="T83" fmla="*/ 7 h 17"/>
                <a:gd name="T84" fmla="*/ 5 w 40"/>
                <a:gd name="T8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17">
                  <a:moveTo>
                    <a:pt x="5" y="5"/>
                  </a:moveTo>
                  <a:lnTo>
                    <a:pt x="7" y="5"/>
                  </a:lnTo>
                  <a:lnTo>
                    <a:pt x="14" y="5"/>
                  </a:lnTo>
                  <a:lnTo>
                    <a:pt x="17" y="7"/>
                  </a:lnTo>
                  <a:lnTo>
                    <a:pt x="17" y="10"/>
                  </a:lnTo>
                  <a:lnTo>
                    <a:pt x="19" y="10"/>
                  </a:lnTo>
                  <a:lnTo>
                    <a:pt x="21" y="10"/>
                  </a:lnTo>
                  <a:lnTo>
                    <a:pt x="21" y="10"/>
                  </a:lnTo>
                  <a:lnTo>
                    <a:pt x="24" y="10"/>
                  </a:lnTo>
                  <a:lnTo>
                    <a:pt x="24" y="7"/>
                  </a:lnTo>
                  <a:lnTo>
                    <a:pt x="21" y="5"/>
                  </a:lnTo>
                  <a:lnTo>
                    <a:pt x="19" y="3"/>
                  </a:lnTo>
                  <a:lnTo>
                    <a:pt x="17" y="0"/>
                  </a:lnTo>
                  <a:lnTo>
                    <a:pt x="19" y="0"/>
                  </a:lnTo>
                  <a:lnTo>
                    <a:pt x="24" y="0"/>
                  </a:lnTo>
                  <a:lnTo>
                    <a:pt x="26" y="3"/>
                  </a:lnTo>
                  <a:lnTo>
                    <a:pt x="29" y="3"/>
                  </a:lnTo>
                  <a:lnTo>
                    <a:pt x="31" y="3"/>
                  </a:lnTo>
                  <a:lnTo>
                    <a:pt x="33" y="5"/>
                  </a:lnTo>
                  <a:lnTo>
                    <a:pt x="33" y="7"/>
                  </a:lnTo>
                  <a:lnTo>
                    <a:pt x="36" y="3"/>
                  </a:lnTo>
                  <a:lnTo>
                    <a:pt x="38" y="5"/>
                  </a:lnTo>
                  <a:lnTo>
                    <a:pt x="40" y="7"/>
                  </a:lnTo>
                  <a:lnTo>
                    <a:pt x="40" y="10"/>
                  </a:lnTo>
                  <a:lnTo>
                    <a:pt x="40" y="10"/>
                  </a:lnTo>
                  <a:lnTo>
                    <a:pt x="40" y="10"/>
                  </a:lnTo>
                  <a:lnTo>
                    <a:pt x="38" y="10"/>
                  </a:lnTo>
                  <a:lnTo>
                    <a:pt x="36" y="10"/>
                  </a:lnTo>
                  <a:lnTo>
                    <a:pt x="36" y="12"/>
                  </a:lnTo>
                  <a:lnTo>
                    <a:pt x="33" y="12"/>
                  </a:lnTo>
                  <a:lnTo>
                    <a:pt x="29" y="12"/>
                  </a:lnTo>
                  <a:lnTo>
                    <a:pt x="29" y="10"/>
                  </a:lnTo>
                  <a:lnTo>
                    <a:pt x="24" y="12"/>
                  </a:lnTo>
                  <a:lnTo>
                    <a:pt x="19" y="14"/>
                  </a:lnTo>
                  <a:lnTo>
                    <a:pt x="14" y="14"/>
                  </a:lnTo>
                  <a:lnTo>
                    <a:pt x="7" y="17"/>
                  </a:lnTo>
                  <a:lnTo>
                    <a:pt x="5" y="17"/>
                  </a:lnTo>
                  <a:lnTo>
                    <a:pt x="3" y="14"/>
                  </a:lnTo>
                  <a:lnTo>
                    <a:pt x="0" y="14"/>
                  </a:lnTo>
                  <a:lnTo>
                    <a:pt x="0" y="12"/>
                  </a:lnTo>
                  <a:lnTo>
                    <a:pt x="0" y="10"/>
                  </a:lnTo>
                  <a:lnTo>
                    <a:pt x="5" y="7"/>
                  </a:lnTo>
                  <a:lnTo>
                    <a:pt x="5"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0" name="Freeform 1179">
              <a:extLst>
                <a:ext uri="{FF2B5EF4-FFF2-40B4-BE49-F238E27FC236}">
                  <a16:creationId xmlns:a16="http://schemas.microsoft.com/office/drawing/2014/main" id="{F96F4AC1-1CCB-4811-9453-2640DBDC55FD}"/>
                </a:ext>
              </a:extLst>
            </p:cNvPr>
            <p:cNvSpPr>
              <a:spLocks/>
            </p:cNvSpPr>
            <p:nvPr/>
          </p:nvSpPr>
          <p:spPr bwMode="auto">
            <a:xfrm>
              <a:off x="7250001" y="4885530"/>
              <a:ext cx="66176" cy="28126"/>
            </a:xfrm>
            <a:custGeom>
              <a:avLst/>
              <a:gdLst>
                <a:gd name="T0" fmla="*/ 5 w 40"/>
                <a:gd name="T1" fmla="*/ 5 h 17"/>
                <a:gd name="T2" fmla="*/ 7 w 40"/>
                <a:gd name="T3" fmla="*/ 5 h 17"/>
                <a:gd name="T4" fmla="*/ 14 w 40"/>
                <a:gd name="T5" fmla="*/ 5 h 17"/>
                <a:gd name="T6" fmla="*/ 17 w 40"/>
                <a:gd name="T7" fmla="*/ 7 h 17"/>
                <a:gd name="T8" fmla="*/ 17 w 40"/>
                <a:gd name="T9" fmla="*/ 10 h 17"/>
                <a:gd name="T10" fmla="*/ 19 w 40"/>
                <a:gd name="T11" fmla="*/ 10 h 17"/>
                <a:gd name="T12" fmla="*/ 21 w 40"/>
                <a:gd name="T13" fmla="*/ 10 h 17"/>
                <a:gd name="T14" fmla="*/ 21 w 40"/>
                <a:gd name="T15" fmla="*/ 10 h 17"/>
                <a:gd name="T16" fmla="*/ 24 w 40"/>
                <a:gd name="T17" fmla="*/ 10 h 17"/>
                <a:gd name="T18" fmla="*/ 24 w 40"/>
                <a:gd name="T19" fmla="*/ 7 h 17"/>
                <a:gd name="T20" fmla="*/ 21 w 40"/>
                <a:gd name="T21" fmla="*/ 5 h 17"/>
                <a:gd name="T22" fmla="*/ 19 w 40"/>
                <a:gd name="T23" fmla="*/ 3 h 17"/>
                <a:gd name="T24" fmla="*/ 17 w 40"/>
                <a:gd name="T25" fmla="*/ 0 h 17"/>
                <a:gd name="T26" fmla="*/ 19 w 40"/>
                <a:gd name="T27" fmla="*/ 0 h 17"/>
                <a:gd name="T28" fmla="*/ 24 w 40"/>
                <a:gd name="T29" fmla="*/ 0 h 17"/>
                <a:gd name="T30" fmla="*/ 26 w 40"/>
                <a:gd name="T31" fmla="*/ 3 h 17"/>
                <a:gd name="T32" fmla="*/ 29 w 40"/>
                <a:gd name="T33" fmla="*/ 3 h 17"/>
                <a:gd name="T34" fmla="*/ 31 w 40"/>
                <a:gd name="T35" fmla="*/ 3 h 17"/>
                <a:gd name="T36" fmla="*/ 33 w 40"/>
                <a:gd name="T37" fmla="*/ 5 h 17"/>
                <a:gd name="T38" fmla="*/ 33 w 40"/>
                <a:gd name="T39" fmla="*/ 7 h 17"/>
                <a:gd name="T40" fmla="*/ 36 w 40"/>
                <a:gd name="T41" fmla="*/ 3 h 17"/>
                <a:gd name="T42" fmla="*/ 38 w 40"/>
                <a:gd name="T43" fmla="*/ 5 h 17"/>
                <a:gd name="T44" fmla="*/ 40 w 40"/>
                <a:gd name="T45" fmla="*/ 7 h 17"/>
                <a:gd name="T46" fmla="*/ 40 w 40"/>
                <a:gd name="T47" fmla="*/ 10 h 17"/>
                <a:gd name="T48" fmla="*/ 40 w 40"/>
                <a:gd name="T49" fmla="*/ 10 h 17"/>
                <a:gd name="T50" fmla="*/ 40 w 40"/>
                <a:gd name="T51" fmla="*/ 10 h 17"/>
                <a:gd name="T52" fmla="*/ 38 w 40"/>
                <a:gd name="T53" fmla="*/ 10 h 17"/>
                <a:gd name="T54" fmla="*/ 36 w 40"/>
                <a:gd name="T55" fmla="*/ 10 h 17"/>
                <a:gd name="T56" fmla="*/ 36 w 40"/>
                <a:gd name="T57" fmla="*/ 12 h 17"/>
                <a:gd name="T58" fmla="*/ 33 w 40"/>
                <a:gd name="T59" fmla="*/ 12 h 17"/>
                <a:gd name="T60" fmla="*/ 29 w 40"/>
                <a:gd name="T61" fmla="*/ 12 h 17"/>
                <a:gd name="T62" fmla="*/ 29 w 40"/>
                <a:gd name="T63" fmla="*/ 10 h 17"/>
                <a:gd name="T64" fmla="*/ 24 w 40"/>
                <a:gd name="T65" fmla="*/ 12 h 17"/>
                <a:gd name="T66" fmla="*/ 19 w 40"/>
                <a:gd name="T67" fmla="*/ 14 h 17"/>
                <a:gd name="T68" fmla="*/ 14 w 40"/>
                <a:gd name="T69" fmla="*/ 14 h 17"/>
                <a:gd name="T70" fmla="*/ 7 w 40"/>
                <a:gd name="T71" fmla="*/ 17 h 17"/>
                <a:gd name="T72" fmla="*/ 5 w 40"/>
                <a:gd name="T73" fmla="*/ 17 h 17"/>
                <a:gd name="T74" fmla="*/ 3 w 40"/>
                <a:gd name="T75" fmla="*/ 14 h 17"/>
                <a:gd name="T76" fmla="*/ 0 w 40"/>
                <a:gd name="T77" fmla="*/ 14 h 17"/>
                <a:gd name="T78" fmla="*/ 0 w 40"/>
                <a:gd name="T79" fmla="*/ 12 h 17"/>
                <a:gd name="T80" fmla="*/ 0 w 40"/>
                <a:gd name="T81" fmla="*/ 10 h 17"/>
                <a:gd name="T82" fmla="*/ 5 w 40"/>
                <a:gd name="T83" fmla="*/ 7 h 17"/>
                <a:gd name="T84" fmla="*/ 5 w 40"/>
                <a:gd name="T8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17">
                  <a:moveTo>
                    <a:pt x="5" y="5"/>
                  </a:moveTo>
                  <a:lnTo>
                    <a:pt x="7" y="5"/>
                  </a:lnTo>
                  <a:lnTo>
                    <a:pt x="14" y="5"/>
                  </a:lnTo>
                  <a:lnTo>
                    <a:pt x="17" y="7"/>
                  </a:lnTo>
                  <a:lnTo>
                    <a:pt x="17" y="10"/>
                  </a:lnTo>
                  <a:lnTo>
                    <a:pt x="19" y="10"/>
                  </a:lnTo>
                  <a:lnTo>
                    <a:pt x="21" y="10"/>
                  </a:lnTo>
                  <a:lnTo>
                    <a:pt x="21" y="10"/>
                  </a:lnTo>
                  <a:lnTo>
                    <a:pt x="24" y="10"/>
                  </a:lnTo>
                  <a:lnTo>
                    <a:pt x="24" y="7"/>
                  </a:lnTo>
                  <a:lnTo>
                    <a:pt x="21" y="5"/>
                  </a:lnTo>
                  <a:lnTo>
                    <a:pt x="19" y="3"/>
                  </a:lnTo>
                  <a:lnTo>
                    <a:pt x="17" y="0"/>
                  </a:lnTo>
                  <a:lnTo>
                    <a:pt x="19" y="0"/>
                  </a:lnTo>
                  <a:lnTo>
                    <a:pt x="24" y="0"/>
                  </a:lnTo>
                  <a:lnTo>
                    <a:pt x="26" y="3"/>
                  </a:lnTo>
                  <a:lnTo>
                    <a:pt x="29" y="3"/>
                  </a:lnTo>
                  <a:lnTo>
                    <a:pt x="31" y="3"/>
                  </a:lnTo>
                  <a:lnTo>
                    <a:pt x="33" y="5"/>
                  </a:lnTo>
                  <a:lnTo>
                    <a:pt x="33" y="7"/>
                  </a:lnTo>
                  <a:lnTo>
                    <a:pt x="36" y="3"/>
                  </a:lnTo>
                  <a:lnTo>
                    <a:pt x="38" y="5"/>
                  </a:lnTo>
                  <a:lnTo>
                    <a:pt x="40" y="7"/>
                  </a:lnTo>
                  <a:lnTo>
                    <a:pt x="40" y="10"/>
                  </a:lnTo>
                  <a:lnTo>
                    <a:pt x="40" y="10"/>
                  </a:lnTo>
                  <a:lnTo>
                    <a:pt x="40" y="10"/>
                  </a:lnTo>
                  <a:lnTo>
                    <a:pt x="38" y="10"/>
                  </a:lnTo>
                  <a:lnTo>
                    <a:pt x="36" y="10"/>
                  </a:lnTo>
                  <a:lnTo>
                    <a:pt x="36" y="12"/>
                  </a:lnTo>
                  <a:lnTo>
                    <a:pt x="33" y="12"/>
                  </a:lnTo>
                  <a:lnTo>
                    <a:pt x="29" y="12"/>
                  </a:lnTo>
                  <a:lnTo>
                    <a:pt x="29" y="10"/>
                  </a:lnTo>
                  <a:lnTo>
                    <a:pt x="24" y="12"/>
                  </a:lnTo>
                  <a:lnTo>
                    <a:pt x="19" y="14"/>
                  </a:lnTo>
                  <a:lnTo>
                    <a:pt x="14" y="14"/>
                  </a:lnTo>
                  <a:lnTo>
                    <a:pt x="7" y="17"/>
                  </a:lnTo>
                  <a:lnTo>
                    <a:pt x="5" y="17"/>
                  </a:lnTo>
                  <a:lnTo>
                    <a:pt x="3" y="14"/>
                  </a:lnTo>
                  <a:lnTo>
                    <a:pt x="0" y="14"/>
                  </a:lnTo>
                  <a:lnTo>
                    <a:pt x="0" y="12"/>
                  </a:lnTo>
                  <a:lnTo>
                    <a:pt x="0" y="10"/>
                  </a:lnTo>
                  <a:lnTo>
                    <a:pt x="5" y="7"/>
                  </a:lnTo>
                  <a:lnTo>
                    <a:pt x="5"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1" name="Freeform 1180">
              <a:extLst>
                <a:ext uri="{FF2B5EF4-FFF2-40B4-BE49-F238E27FC236}">
                  <a16:creationId xmlns:a16="http://schemas.microsoft.com/office/drawing/2014/main" id="{785AF4C9-AB05-4F67-B618-3065B14669C3}"/>
                </a:ext>
              </a:extLst>
            </p:cNvPr>
            <p:cNvSpPr>
              <a:spLocks/>
            </p:cNvSpPr>
            <p:nvPr/>
          </p:nvSpPr>
          <p:spPr bwMode="auto">
            <a:xfrm>
              <a:off x="7226838" y="4890493"/>
              <a:ext cx="19854" cy="18200"/>
            </a:xfrm>
            <a:custGeom>
              <a:avLst/>
              <a:gdLst>
                <a:gd name="T0" fmla="*/ 2 w 12"/>
                <a:gd name="T1" fmla="*/ 2 h 11"/>
                <a:gd name="T2" fmla="*/ 2 w 12"/>
                <a:gd name="T3" fmla="*/ 2 h 11"/>
                <a:gd name="T4" fmla="*/ 5 w 12"/>
                <a:gd name="T5" fmla="*/ 2 h 11"/>
                <a:gd name="T6" fmla="*/ 7 w 12"/>
                <a:gd name="T7" fmla="*/ 0 h 11"/>
                <a:gd name="T8" fmla="*/ 9 w 12"/>
                <a:gd name="T9" fmla="*/ 0 h 11"/>
                <a:gd name="T10" fmla="*/ 12 w 12"/>
                <a:gd name="T11" fmla="*/ 0 h 11"/>
                <a:gd name="T12" fmla="*/ 12 w 12"/>
                <a:gd name="T13" fmla="*/ 4 h 11"/>
                <a:gd name="T14" fmla="*/ 12 w 12"/>
                <a:gd name="T15" fmla="*/ 7 h 11"/>
                <a:gd name="T16" fmla="*/ 12 w 12"/>
                <a:gd name="T17" fmla="*/ 11 h 11"/>
                <a:gd name="T18" fmla="*/ 9 w 12"/>
                <a:gd name="T19" fmla="*/ 11 h 11"/>
                <a:gd name="T20" fmla="*/ 2 w 12"/>
                <a:gd name="T21" fmla="*/ 11 h 11"/>
                <a:gd name="T22" fmla="*/ 0 w 12"/>
                <a:gd name="T23" fmla="*/ 11 h 11"/>
                <a:gd name="T24" fmla="*/ 0 w 12"/>
                <a:gd name="T25" fmla="*/ 9 h 11"/>
                <a:gd name="T26" fmla="*/ 0 w 12"/>
                <a:gd name="T27" fmla="*/ 7 h 11"/>
                <a:gd name="T28" fmla="*/ 2 w 12"/>
                <a:gd name="T29" fmla="*/ 4 h 11"/>
                <a:gd name="T30" fmla="*/ 2 w 12"/>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2" y="2"/>
                  </a:moveTo>
                  <a:lnTo>
                    <a:pt x="2" y="2"/>
                  </a:lnTo>
                  <a:lnTo>
                    <a:pt x="5" y="2"/>
                  </a:lnTo>
                  <a:lnTo>
                    <a:pt x="7" y="0"/>
                  </a:lnTo>
                  <a:lnTo>
                    <a:pt x="9" y="0"/>
                  </a:lnTo>
                  <a:lnTo>
                    <a:pt x="12" y="0"/>
                  </a:lnTo>
                  <a:lnTo>
                    <a:pt x="12" y="4"/>
                  </a:lnTo>
                  <a:lnTo>
                    <a:pt x="12" y="7"/>
                  </a:lnTo>
                  <a:lnTo>
                    <a:pt x="12" y="11"/>
                  </a:lnTo>
                  <a:lnTo>
                    <a:pt x="9" y="11"/>
                  </a:lnTo>
                  <a:lnTo>
                    <a:pt x="2" y="11"/>
                  </a:lnTo>
                  <a:lnTo>
                    <a:pt x="0" y="11"/>
                  </a:lnTo>
                  <a:lnTo>
                    <a:pt x="0" y="9"/>
                  </a:lnTo>
                  <a:lnTo>
                    <a:pt x="0" y="7"/>
                  </a:lnTo>
                  <a:lnTo>
                    <a:pt x="2" y="4"/>
                  </a:lnTo>
                  <a:lnTo>
                    <a:pt x="2"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2" name="Freeform 1181">
              <a:extLst>
                <a:ext uri="{FF2B5EF4-FFF2-40B4-BE49-F238E27FC236}">
                  <a16:creationId xmlns:a16="http://schemas.microsoft.com/office/drawing/2014/main" id="{D3B8D597-61FA-42BC-8DC0-6A88B710630B}"/>
                </a:ext>
              </a:extLst>
            </p:cNvPr>
            <p:cNvSpPr>
              <a:spLocks/>
            </p:cNvSpPr>
            <p:nvPr/>
          </p:nvSpPr>
          <p:spPr bwMode="auto">
            <a:xfrm>
              <a:off x="7226838" y="4890493"/>
              <a:ext cx="19854" cy="18200"/>
            </a:xfrm>
            <a:custGeom>
              <a:avLst/>
              <a:gdLst>
                <a:gd name="T0" fmla="*/ 2 w 12"/>
                <a:gd name="T1" fmla="*/ 2 h 11"/>
                <a:gd name="T2" fmla="*/ 2 w 12"/>
                <a:gd name="T3" fmla="*/ 2 h 11"/>
                <a:gd name="T4" fmla="*/ 5 w 12"/>
                <a:gd name="T5" fmla="*/ 2 h 11"/>
                <a:gd name="T6" fmla="*/ 7 w 12"/>
                <a:gd name="T7" fmla="*/ 0 h 11"/>
                <a:gd name="T8" fmla="*/ 9 w 12"/>
                <a:gd name="T9" fmla="*/ 0 h 11"/>
                <a:gd name="T10" fmla="*/ 12 w 12"/>
                <a:gd name="T11" fmla="*/ 0 h 11"/>
                <a:gd name="T12" fmla="*/ 12 w 12"/>
                <a:gd name="T13" fmla="*/ 4 h 11"/>
                <a:gd name="T14" fmla="*/ 12 w 12"/>
                <a:gd name="T15" fmla="*/ 7 h 11"/>
                <a:gd name="T16" fmla="*/ 12 w 12"/>
                <a:gd name="T17" fmla="*/ 11 h 11"/>
                <a:gd name="T18" fmla="*/ 9 w 12"/>
                <a:gd name="T19" fmla="*/ 11 h 11"/>
                <a:gd name="T20" fmla="*/ 2 w 12"/>
                <a:gd name="T21" fmla="*/ 11 h 11"/>
                <a:gd name="T22" fmla="*/ 0 w 12"/>
                <a:gd name="T23" fmla="*/ 11 h 11"/>
                <a:gd name="T24" fmla="*/ 0 w 12"/>
                <a:gd name="T25" fmla="*/ 9 h 11"/>
                <a:gd name="T26" fmla="*/ 0 w 12"/>
                <a:gd name="T27" fmla="*/ 7 h 11"/>
                <a:gd name="T28" fmla="*/ 2 w 12"/>
                <a:gd name="T29" fmla="*/ 4 h 11"/>
                <a:gd name="T30" fmla="*/ 2 w 12"/>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2" y="2"/>
                  </a:moveTo>
                  <a:lnTo>
                    <a:pt x="2" y="2"/>
                  </a:lnTo>
                  <a:lnTo>
                    <a:pt x="5" y="2"/>
                  </a:lnTo>
                  <a:lnTo>
                    <a:pt x="7" y="0"/>
                  </a:lnTo>
                  <a:lnTo>
                    <a:pt x="9" y="0"/>
                  </a:lnTo>
                  <a:lnTo>
                    <a:pt x="12" y="0"/>
                  </a:lnTo>
                  <a:lnTo>
                    <a:pt x="12" y="4"/>
                  </a:lnTo>
                  <a:lnTo>
                    <a:pt x="12" y="7"/>
                  </a:lnTo>
                  <a:lnTo>
                    <a:pt x="12" y="11"/>
                  </a:lnTo>
                  <a:lnTo>
                    <a:pt x="9" y="11"/>
                  </a:lnTo>
                  <a:lnTo>
                    <a:pt x="2" y="11"/>
                  </a:lnTo>
                  <a:lnTo>
                    <a:pt x="0" y="11"/>
                  </a:lnTo>
                  <a:lnTo>
                    <a:pt x="0" y="9"/>
                  </a:lnTo>
                  <a:lnTo>
                    <a:pt x="0" y="7"/>
                  </a:lnTo>
                  <a:lnTo>
                    <a:pt x="2" y="4"/>
                  </a:lnTo>
                  <a:lnTo>
                    <a:pt x="2"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3" name="Freeform 1182">
              <a:extLst>
                <a:ext uri="{FF2B5EF4-FFF2-40B4-BE49-F238E27FC236}">
                  <a16:creationId xmlns:a16="http://schemas.microsoft.com/office/drawing/2014/main" id="{B385149A-6BAA-4464-9E4E-1FEFAEFC20F2}"/>
                </a:ext>
              </a:extLst>
            </p:cNvPr>
            <p:cNvSpPr>
              <a:spLocks/>
            </p:cNvSpPr>
            <p:nvPr/>
          </p:nvSpPr>
          <p:spPr bwMode="auto">
            <a:xfrm>
              <a:off x="7183823" y="4882221"/>
              <a:ext cx="31435" cy="23161"/>
            </a:xfrm>
            <a:custGeom>
              <a:avLst/>
              <a:gdLst>
                <a:gd name="T0" fmla="*/ 9 w 19"/>
                <a:gd name="T1" fmla="*/ 2 h 14"/>
                <a:gd name="T2" fmla="*/ 9 w 19"/>
                <a:gd name="T3" fmla="*/ 2 h 14"/>
                <a:gd name="T4" fmla="*/ 12 w 19"/>
                <a:gd name="T5" fmla="*/ 0 h 14"/>
                <a:gd name="T6" fmla="*/ 14 w 19"/>
                <a:gd name="T7" fmla="*/ 2 h 14"/>
                <a:gd name="T8" fmla="*/ 19 w 19"/>
                <a:gd name="T9" fmla="*/ 2 h 14"/>
                <a:gd name="T10" fmla="*/ 19 w 19"/>
                <a:gd name="T11" fmla="*/ 5 h 14"/>
                <a:gd name="T12" fmla="*/ 19 w 19"/>
                <a:gd name="T13" fmla="*/ 7 h 14"/>
                <a:gd name="T14" fmla="*/ 14 w 19"/>
                <a:gd name="T15" fmla="*/ 12 h 14"/>
                <a:gd name="T16" fmla="*/ 12 w 19"/>
                <a:gd name="T17" fmla="*/ 14 h 14"/>
                <a:gd name="T18" fmla="*/ 12 w 19"/>
                <a:gd name="T19" fmla="*/ 12 h 14"/>
                <a:gd name="T20" fmla="*/ 9 w 19"/>
                <a:gd name="T21" fmla="*/ 9 h 14"/>
                <a:gd name="T22" fmla="*/ 7 w 19"/>
                <a:gd name="T23" fmla="*/ 7 h 14"/>
                <a:gd name="T24" fmla="*/ 2 w 19"/>
                <a:gd name="T25" fmla="*/ 7 h 14"/>
                <a:gd name="T26" fmla="*/ 0 w 19"/>
                <a:gd name="T27" fmla="*/ 5 h 14"/>
                <a:gd name="T28" fmla="*/ 0 w 19"/>
                <a:gd name="T29" fmla="*/ 2 h 14"/>
                <a:gd name="T30" fmla="*/ 2 w 19"/>
                <a:gd name="T31" fmla="*/ 0 h 14"/>
                <a:gd name="T32" fmla="*/ 9 w 19"/>
                <a:gd name="T3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4">
                  <a:moveTo>
                    <a:pt x="9" y="2"/>
                  </a:moveTo>
                  <a:lnTo>
                    <a:pt x="9" y="2"/>
                  </a:lnTo>
                  <a:lnTo>
                    <a:pt x="12" y="0"/>
                  </a:lnTo>
                  <a:lnTo>
                    <a:pt x="14" y="2"/>
                  </a:lnTo>
                  <a:lnTo>
                    <a:pt x="19" y="2"/>
                  </a:lnTo>
                  <a:lnTo>
                    <a:pt x="19" y="5"/>
                  </a:lnTo>
                  <a:lnTo>
                    <a:pt x="19" y="7"/>
                  </a:lnTo>
                  <a:lnTo>
                    <a:pt x="14" y="12"/>
                  </a:lnTo>
                  <a:lnTo>
                    <a:pt x="12" y="14"/>
                  </a:lnTo>
                  <a:lnTo>
                    <a:pt x="12" y="12"/>
                  </a:lnTo>
                  <a:lnTo>
                    <a:pt x="9" y="9"/>
                  </a:lnTo>
                  <a:lnTo>
                    <a:pt x="7" y="7"/>
                  </a:lnTo>
                  <a:lnTo>
                    <a:pt x="2" y="7"/>
                  </a:lnTo>
                  <a:lnTo>
                    <a:pt x="0" y="5"/>
                  </a:lnTo>
                  <a:lnTo>
                    <a:pt x="0" y="2"/>
                  </a:lnTo>
                  <a:lnTo>
                    <a:pt x="2" y="0"/>
                  </a:lnTo>
                  <a:lnTo>
                    <a:pt x="9"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4" name="Freeform 1183">
              <a:extLst>
                <a:ext uri="{FF2B5EF4-FFF2-40B4-BE49-F238E27FC236}">
                  <a16:creationId xmlns:a16="http://schemas.microsoft.com/office/drawing/2014/main" id="{99B624BC-2F15-4323-A3D8-FA66241F0239}"/>
                </a:ext>
              </a:extLst>
            </p:cNvPr>
            <p:cNvSpPr>
              <a:spLocks/>
            </p:cNvSpPr>
            <p:nvPr/>
          </p:nvSpPr>
          <p:spPr bwMode="auto">
            <a:xfrm>
              <a:off x="7183823" y="4882221"/>
              <a:ext cx="31435" cy="23161"/>
            </a:xfrm>
            <a:custGeom>
              <a:avLst/>
              <a:gdLst>
                <a:gd name="T0" fmla="*/ 9 w 19"/>
                <a:gd name="T1" fmla="*/ 2 h 14"/>
                <a:gd name="T2" fmla="*/ 9 w 19"/>
                <a:gd name="T3" fmla="*/ 2 h 14"/>
                <a:gd name="T4" fmla="*/ 12 w 19"/>
                <a:gd name="T5" fmla="*/ 0 h 14"/>
                <a:gd name="T6" fmla="*/ 14 w 19"/>
                <a:gd name="T7" fmla="*/ 2 h 14"/>
                <a:gd name="T8" fmla="*/ 19 w 19"/>
                <a:gd name="T9" fmla="*/ 2 h 14"/>
                <a:gd name="T10" fmla="*/ 19 w 19"/>
                <a:gd name="T11" fmla="*/ 5 h 14"/>
                <a:gd name="T12" fmla="*/ 19 w 19"/>
                <a:gd name="T13" fmla="*/ 7 h 14"/>
                <a:gd name="T14" fmla="*/ 14 w 19"/>
                <a:gd name="T15" fmla="*/ 12 h 14"/>
                <a:gd name="T16" fmla="*/ 12 w 19"/>
                <a:gd name="T17" fmla="*/ 14 h 14"/>
                <a:gd name="T18" fmla="*/ 12 w 19"/>
                <a:gd name="T19" fmla="*/ 12 h 14"/>
                <a:gd name="T20" fmla="*/ 9 w 19"/>
                <a:gd name="T21" fmla="*/ 9 h 14"/>
                <a:gd name="T22" fmla="*/ 7 w 19"/>
                <a:gd name="T23" fmla="*/ 7 h 14"/>
                <a:gd name="T24" fmla="*/ 2 w 19"/>
                <a:gd name="T25" fmla="*/ 7 h 14"/>
                <a:gd name="T26" fmla="*/ 0 w 19"/>
                <a:gd name="T27" fmla="*/ 5 h 14"/>
                <a:gd name="T28" fmla="*/ 0 w 19"/>
                <a:gd name="T29" fmla="*/ 2 h 14"/>
                <a:gd name="T30" fmla="*/ 2 w 19"/>
                <a:gd name="T31" fmla="*/ 0 h 14"/>
                <a:gd name="T32" fmla="*/ 9 w 19"/>
                <a:gd name="T3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4">
                  <a:moveTo>
                    <a:pt x="9" y="2"/>
                  </a:moveTo>
                  <a:lnTo>
                    <a:pt x="9" y="2"/>
                  </a:lnTo>
                  <a:lnTo>
                    <a:pt x="12" y="0"/>
                  </a:lnTo>
                  <a:lnTo>
                    <a:pt x="14" y="2"/>
                  </a:lnTo>
                  <a:lnTo>
                    <a:pt x="19" y="2"/>
                  </a:lnTo>
                  <a:lnTo>
                    <a:pt x="19" y="5"/>
                  </a:lnTo>
                  <a:lnTo>
                    <a:pt x="19" y="7"/>
                  </a:lnTo>
                  <a:lnTo>
                    <a:pt x="14" y="12"/>
                  </a:lnTo>
                  <a:lnTo>
                    <a:pt x="12" y="14"/>
                  </a:lnTo>
                  <a:lnTo>
                    <a:pt x="12" y="12"/>
                  </a:lnTo>
                  <a:lnTo>
                    <a:pt x="9" y="9"/>
                  </a:lnTo>
                  <a:lnTo>
                    <a:pt x="7" y="7"/>
                  </a:lnTo>
                  <a:lnTo>
                    <a:pt x="2" y="7"/>
                  </a:lnTo>
                  <a:lnTo>
                    <a:pt x="0" y="5"/>
                  </a:lnTo>
                  <a:lnTo>
                    <a:pt x="0" y="2"/>
                  </a:lnTo>
                  <a:lnTo>
                    <a:pt x="2" y="0"/>
                  </a:lnTo>
                  <a:lnTo>
                    <a:pt x="9"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5" name="Freeform 1184">
              <a:extLst>
                <a:ext uri="{FF2B5EF4-FFF2-40B4-BE49-F238E27FC236}">
                  <a16:creationId xmlns:a16="http://schemas.microsoft.com/office/drawing/2014/main" id="{E0C8CDDB-B336-473E-915D-FF0BF5D27FCF}"/>
                </a:ext>
              </a:extLst>
            </p:cNvPr>
            <p:cNvSpPr>
              <a:spLocks/>
            </p:cNvSpPr>
            <p:nvPr/>
          </p:nvSpPr>
          <p:spPr bwMode="auto">
            <a:xfrm>
              <a:off x="7132535" y="4850786"/>
              <a:ext cx="39706" cy="8273"/>
            </a:xfrm>
            <a:custGeom>
              <a:avLst/>
              <a:gdLst>
                <a:gd name="T0" fmla="*/ 0 w 24"/>
                <a:gd name="T1" fmla="*/ 0 h 5"/>
                <a:gd name="T2" fmla="*/ 3 w 24"/>
                <a:gd name="T3" fmla="*/ 0 h 5"/>
                <a:gd name="T4" fmla="*/ 5 w 24"/>
                <a:gd name="T5" fmla="*/ 0 h 5"/>
                <a:gd name="T6" fmla="*/ 7 w 24"/>
                <a:gd name="T7" fmla="*/ 0 h 5"/>
                <a:gd name="T8" fmla="*/ 19 w 24"/>
                <a:gd name="T9" fmla="*/ 0 h 5"/>
                <a:gd name="T10" fmla="*/ 22 w 24"/>
                <a:gd name="T11" fmla="*/ 0 h 5"/>
                <a:gd name="T12" fmla="*/ 24 w 24"/>
                <a:gd name="T13" fmla="*/ 2 h 5"/>
                <a:gd name="T14" fmla="*/ 22 w 24"/>
                <a:gd name="T15" fmla="*/ 2 h 5"/>
                <a:gd name="T16" fmla="*/ 17 w 24"/>
                <a:gd name="T17" fmla="*/ 5 h 5"/>
                <a:gd name="T18" fmla="*/ 12 w 24"/>
                <a:gd name="T19" fmla="*/ 5 h 5"/>
                <a:gd name="T20" fmla="*/ 3 w 24"/>
                <a:gd name="T21" fmla="*/ 5 h 5"/>
                <a:gd name="T22" fmla="*/ 0 w 24"/>
                <a:gd name="T23" fmla="*/ 2 h 5"/>
                <a:gd name="T24" fmla="*/ 0 w 24"/>
                <a:gd name="T25" fmla="*/ 2 h 5"/>
                <a:gd name="T26" fmla="*/ 0 w 24"/>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5">
                  <a:moveTo>
                    <a:pt x="0" y="0"/>
                  </a:moveTo>
                  <a:lnTo>
                    <a:pt x="3" y="0"/>
                  </a:lnTo>
                  <a:lnTo>
                    <a:pt x="5" y="0"/>
                  </a:lnTo>
                  <a:lnTo>
                    <a:pt x="7" y="0"/>
                  </a:lnTo>
                  <a:lnTo>
                    <a:pt x="19" y="0"/>
                  </a:lnTo>
                  <a:lnTo>
                    <a:pt x="22" y="0"/>
                  </a:lnTo>
                  <a:lnTo>
                    <a:pt x="24" y="2"/>
                  </a:lnTo>
                  <a:lnTo>
                    <a:pt x="22" y="2"/>
                  </a:lnTo>
                  <a:lnTo>
                    <a:pt x="17" y="5"/>
                  </a:lnTo>
                  <a:lnTo>
                    <a:pt x="12" y="5"/>
                  </a:lnTo>
                  <a:lnTo>
                    <a:pt x="3" y="5"/>
                  </a:lnTo>
                  <a:lnTo>
                    <a:pt x="0" y="2"/>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6" name="Freeform 1185">
              <a:extLst>
                <a:ext uri="{FF2B5EF4-FFF2-40B4-BE49-F238E27FC236}">
                  <a16:creationId xmlns:a16="http://schemas.microsoft.com/office/drawing/2014/main" id="{24A03AC0-B728-4C88-9869-9D5C80522897}"/>
                </a:ext>
              </a:extLst>
            </p:cNvPr>
            <p:cNvSpPr>
              <a:spLocks/>
            </p:cNvSpPr>
            <p:nvPr/>
          </p:nvSpPr>
          <p:spPr bwMode="auto">
            <a:xfrm>
              <a:off x="7132535" y="4850786"/>
              <a:ext cx="39706" cy="8273"/>
            </a:xfrm>
            <a:custGeom>
              <a:avLst/>
              <a:gdLst>
                <a:gd name="T0" fmla="*/ 0 w 24"/>
                <a:gd name="T1" fmla="*/ 0 h 5"/>
                <a:gd name="T2" fmla="*/ 3 w 24"/>
                <a:gd name="T3" fmla="*/ 0 h 5"/>
                <a:gd name="T4" fmla="*/ 5 w 24"/>
                <a:gd name="T5" fmla="*/ 0 h 5"/>
                <a:gd name="T6" fmla="*/ 7 w 24"/>
                <a:gd name="T7" fmla="*/ 0 h 5"/>
                <a:gd name="T8" fmla="*/ 19 w 24"/>
                <a:gd name="T9" fmla="*/ 0 h 5"/>
                <a:gd name="T10" fmla="*/ 22 w 24"/>
                <a:gd name="T11" fmla="*/ 0 h 5"/>
                <a:gd name="T12" fmla="*/ 24 w 24"/>
                <a:gd name="T13" fmla="*/ 2 h 5"/>
                <a:gd name="T14" fmla="*/ 22 w 24"/>
                <a:gd name="T15" fmla="*/ 2 h 5"/>
                <a:gd name="T16" fmla="*/ 17 w 24"/>
                <a:gd name="T17" fmla="*/ 5 h 5"/>
                <a:gd name="T18" fmla="*/ 12 w 24"/>
                <a:gd name="T19" fmla="*/ 5 h 5"/>
                <a:gd name="T20" fmla="*/ 3 w 24"/>
                <a:gd name="T21" fmla="*/ 5 h 5"/>
                <a:gd name="T22" fmla="*/ 0 w 24"/>
                <a:gd name="T23" fmla="*/ 2 h 5"/>
                <a:gd name="T24" fmla="*/ 0 w 24"/>
                <a:gd name="T25" fmla="*/ 2 h 5"/>
                <a:gd name="T26" fmla="*/ 0 w 24"/>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5">
                  <a:moveTo>
                    <a:pt x="0" y="0"/>
                  </a:moveTo>
                  <a:lnTo>
                    <a:pt x="3" y="0"/>
                  </a:lnTo>
                  <a:lnTo>
                    <a:pt x="5" y="0"/>
                  </a:lnTo>
                  <a:lnTo>
                    <a:pt x="7" y="0"/>
                  </a:lnTo>
                  <a:lnTo>
                    <a:pt x="19" y="0"/>
                  </a:lnTo>
                  <a:lnTo>
                    <a:pt x="22" y="0"/>
                  </a:lnTo>
                  <a:lnTo>
                    <a:pt x="24" y="2"/>
                  </a:lnTo>
                  <a:lnTo>
                    <a:pt x="22" y="2"/>
                  </a:lnTo>
                  <a:lnTo>
                    <a:pt x="17" y="5"/>
                  </a:lnTo>
                  <a:lnTo>
                    <a:pt x="12" y="5"/>
                  </a:lnTo>
                  <a:lnTo>
                    <a:pt x="3" y="5"/>
                  </a:lnTo>
                  <a:lnTo>
                    <a:pt x="0" y="2"/>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7" name="Freeform 1186">
              <a:extLst>
                <a:ext uri="{FF2B5EF4-FFF2-40B4-BE49-F238E27FC236}">
                  <a16:creationId xmlns:a16="http://schemas.microsoft.com/office/drawing/2014/main" id="{8DDE9CE5-AD97-4ED3-A710-CEF71B5D099D}"/>
                </a:ext>
              </a:extLst>
            </p:cNvPr>
            <p:cNvSpPr>
              <a:spLocks/>
            </p:cNvSpPr>
            <p:nvPr/>
          </p:nvSpPr>
          <p:spPr bwMode="auto">
            <a:xfrm>
              <a:off x="7206985" y="4847478"/>
              <a:ext cx="8273" cy="6618"/>
            </a:xfrm>
            <a:custGeom>
              <a:avLst/>
              <a:gdLst>
                <a:gd name="T0" fmla="*/ 0 w 5"/>
                <a:gd name="T1" fmla="*/ 0 h 4"/>
                <a:gd name="T2" fmla="*/ 3 w 5"/>
                <a:gd name="T3" fmla="*/ 0 h 4"/>
                <a:gd name="T4" fmla="*/ 5 w 5"/>
                <a:gd name="T5" fmla="*/ 0 h 4"/>
                <a:gd name="T6" fmla="*/ 5 w 5"/>
                <a:gd name="T7" fmla="*/ 2 h 4"/>
                <a:gd name="T8" fmla="*/ 0 w 5"/>
                <a:gd name="T9" fmla="*/ 4 h 4"/>
                <a:gd name="T10" fmla="*/ 0 w 5"/>
                <a:gd name="T11" fmla="*/ 2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3" y="0"/>
                  </a:lnTo>
                  <a:lnTo>
                    <a:pt x="5" y="0"/>
                  </a:lnTo>
                  <a:lnTo>
                    <a:pt x="5" y="2"/>
                  </a:lnTo>
                  <a:lnTo>
                    <a:pt x="0" y="4"/>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8" name="Freeform 1187">
              <a:extLst>
                <a:ext uri="{FF2B5EF4-FFF2-40B4-BE49-F238E27FC236}">
                  <a16:creationId xmlns:a16="http://schemas.microsoft.com/office/drawing/2014/main" id="{6466058C-06F3-4536-A18A-C2E03FA3F78B}"/>
                </a:ext>
              </a:extLst>
            </p:cNvPr>
            <p:cNvSpPr>
              <a:spLocks/>
            </p:cNvSpPr>
            <p:nvPr/>
          </p:nvSpPr>
          <p:spPr bwMode="auto">
            <a:xfrm>
              <a:off x="7206985" y="4847478"/>
              <a:ext cx="8273" cy="6618"/>
            </a:xfrm>
            <a:custGeom>
              <a:avLst/>
              <a:gdLst>
                <a:gd name="T0" fmla="*/ 0 w 5"/>
                <a:gd name="T1" fmla="*/ 0 h 4"/>
                <a:gd name="T2" fmla="*/ 3 w 5"/>
                <a:gd name="T3" fmla="*/ 0 h 4"/>
                <a:gd name="T4" fmla="*/ 5 w 5"/>
                <a:gd name="T5" fmla="*/ 0 h 4"/>
                <a:gd name="T6" fmla="*/ 5 w 5"/>
                <a:gd name="T7" fmla="*/ 2 h 4"/>
                <a:gd name="T8" fmla="*/ 0 w 5"/>
                <a:gd name="T9" fmla="*/ 4 h 4"/>
                <a:gd name="T10" fmla="*/ 0 w 5"/>
                <a:gd name="T11" fmla="*/ 2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3" y="0"/>
                  </a:lnTo>
                  <a:lnTo>
                    <a:pt x="5" y="0"/>
                  </a:lnTo>
                  <a:lnTo>
                    <a:pt x="5" y="2"/>
                  </a:lnTo>
                  <a:lnTo>
                    <a:pt x="0" y="4"/>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09" name="Freeform 1188">
              <a:extLst>
                <a:ext uri="{FF2B5EF4-FFF2-40B4-BE49-F238E27FC236}">
                  <a16:creationId xmlns:a16="http://schemas.microsoft.com/office/drawing/2014/main" id="{9818155F-A6C9-4B32-B17D-7FAA0A0AA92D}"/>
                </a:ext>
              </a:extLst>
            </p:cNvPr>
            <p:cNvSpPr>
              <a:spLocks/>
            </p:cNvSpPr>
            <p:nvPr/>
          </p:nvSpPr>
          <p:spPr bwMode="auto">
            <a:xfrm>
              <a:off x="7640446" y="4655564"/>
              <a:ext cx="24818" cy="8273"/>
            </a:xfrm>
            <a:custGeom>
              <a:avLst/>
              <a:gdLst>
                <a:gd name="T0" fmla="*/ 0 w 15"/>
                <a:gd name="T1" fmla="*/ 0 h 5"/>
                <a:gd name="T2" fmla="*/ 0 w 15"/>
                <a:gd name="T3" fmla="*/ 0 h 5"/>
                <a:gd name="T4" fmla="*/ 3 w 15"/>
                <a:gd name="T5" fmla="*/ 0 h 5"/>
                <a:gd name="T6" fmla="*/ 5 w 15"/>
                <a:gd name="T7" fmla="*/ 0 h 5"/>
                <a:gd name="T8" fmla="*/ 15 w 15"/>
                <a:gd name="T9" fmla="*/ 5 h 5"/>
                <a:gd name="T10" fmla="*/ 10 w 15"/>
                <a:gd name="T11" fmla="*/ 5 h 5"/>
                <a:gd name="T12" fmla="*/ 7 w 15"/>
                <a:gd name="T13" fmla="*/ 5 h 5"/>
                <a:gd name="T14" fmla="*/ 5 w 15"/>
                <a:gd name="T15" fmla="*/ 5 h 5"/>
                <a:gd name="T16" fmla="*/ 3 w 15"/>
                <a:gd name="T17" fmla="*/ 2 h 5"/>
                <a:gd name="T18" fmla="*/ 3 w 15"/>
                <a:gd name="T19" fmla="*/ 2 h 5"/>
                <a:gd name="T20" fmla="*/ 0 w 15"/>
                <a:gd name="T21" fmla="*/ 2 h 5"/>
                <a:gd name="T22" fmla="*/ 0 w 15"/>
                <a:gd name="T23" fmla="*/ 0 h 5"/>
                <a:gd name="T24" fmla="*/ 0 w 1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5">
                  <a:moveTo>
                    <a:pt x="0" y="0"/>
                  </a:moveTo>
                  <a:lnTo>
                    <a:pt x="0" y="0"/>
                  </a:lnTo>
                  <a:lnTo>
                    <a:pt x="3" y="0"/>
                  </a:lnTo>
                  <a:lnTo>
                    <a:pt x="5" y="0"/>
                  </a:lnTo>
                  <a:lnTo>
                    <a:pt x="15" y="5"/>
                  </a:lnTo>
                  <a:lnTo>
                    <a:pt x="10" y="5"/>
                  </a:lnTo>
                  <a:lnTo>
                    <a:pt x="7" y="5"/>
                  </a:lnTo>
                  <a:lnTo>
                    <a:pt x="5" y="5"/>
                  </a:lnTo>
                  <a:lnTo>
                    <a:pt x="3" y="2"/>
                  </a:lnTo>
                  <a:lnTo>
                    <a:pt x="3" y="2"/>
                  </a:lnTo>
                  <a:lnTo>
                    <a:pt x="0" y="2"/>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0" name="Freeform 1189">
              <a:extLst>
                <a:ext uri="{FF2B5EF4-FFF2-40B4-BE49-F238E27FC236}">
                  <a16:creationId xmlns:a16="http://schemas.microsoft.com/office/drawing/2014/main" id="{D087607C-79C1-44AD-873B-5A42C463501A}"/>
                </a:ext>
              </a:extLst>
            </p:cNvPr>
            <p:cNvSpPr>
              <a:spLocks/>
            </p:cNvSpPr>
            <p:nvPr/>
          </p:nvSpPr>
          <p:spPr bwMode="auto">
            <a:xfrm>
              <a:off x="7640446" y="4655564"/>
              <a:ext cx="24818" cy="8273"/>
            </a:xfrm>
            <a:custGeom>
              <a:avLst/>
              <a:gdLst>
                <a:gd name="T0" fmla="*/ 0 w 15"/>
                <a:gd name="T1" fmla="*/ 0 h 5"/>
                <a:gd name="T2" fmla="*/ 0 w 15"/>
                <a:gd name="T3" fmla="*/ 0 h 5"/>
                <a:gd name="T4" fmla="*/ 3 w 15"/>
                <a:gd name="T5" fmla="*/ 0 h 5"/>
                <a:gd name="T6" fmla="*/ 5 w 15"/>
                <a:gd name="T7" fmla="*/ 0 h 5"/>
                <a:gd name="T8" fmla="*/ 15 w 15"/>
                <a:gd name="T9" fmla="*/ 5 h 5"/>
                <a:gd name="T10" fmla="*/ 10 w 15"/>
                <a:gd name="T11" fmla="*/ 5 h 5"/>
                <a:gd name="T12" fmla="*/ 7 w 15"/>
                <a:gd name="T13" fmla="*/ 5 h 5"/>
                <a:gd name="T14" fmla="*/ 5 w 15"/>
                <a:gd name="T15" fmla="*/ 5 h 5"/>
                <a:gd name="T16" fmla="*/ 3 w 15"/>
                <a:gd name="T17" fmla="*/ 2 h 5"/>
                <a:gd name="T18" fmla="*/ 3 w 15"/>
                <a:gd name="T19" fmla="*/ 2 h 5"/>
                <a:gd name="T20" fmla="*/ 0 w 15"/>
                <a:gd name="T21" fmla="*/ 2 h 5"/>
                <a:gd name="T22" fmla="*/ 0 w 15"/>
                <a:gd name="T23" fmla="*/ 0 h 5"/>
                <a:gd name="T24" fmla="*/ 0 w 1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5">
                  <a:moveTo>
                    <a:pt x="0" y="0"/>
                  </a:moveTo>
                  <a:lnTo>
                    <a:pt x="0" y="0"/>
                  </a:lnTo>
                  <a:lnTo>
                    <a:pt x="3" y="0"/>
                  </a:lnTo>
                  <a:lnTo>
                    <a:pt x="5" y="0"/>
                  </a:lnTo>
                  <a:lnTo>
                    <a:pt x="15" y="5"/>
                  </a:lnTo>
                  <a:lnTo>
                    <a:pt x="10" y="5"/>
                  </a:lnTo>
                  <a:lnTo>
                    <a:pt x="7" y="5"/>
                  </a:lnTo>
                  <a:lnTo>
                    <a:pt x="5" y="5"/>
                  </a:lnTo>
                  <a:lnTo>
                    <a:pt x="3" y="2"/>
                  </a:lnTo>
                  <a:lnTo>
                    <a:pt x="3" y="2"/>
                  </a:lnTo>
                  <a:lnTo>
                    <a:pt x="0" y="2"/>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1" name="Freeform 1190">
              <a:extLst>
                <a:ext uri="{FF2B5EF4-FFF2-40B4-BE49-F238E27FC236}">
                  <a16:creationId xmlns:a16="http://schemas.microsoft.com/office/drawing/2014/main" id="{1F08EB2D-66D4-4EC9-B95E-692C84F0EA8B}"/>
                </a:ext>
              </a:extLst>
            </p:cNvPr>
            <p:cNvSpPr>
              <a:spLocks/>
            </p:cNvSpPr>
            <p:nvPr/>
          </p:nvSpPr>
          <p:spPr bwMode="auto">
            <a:xfrm>
              <a:off x="7648718" y="4678725"/>
              <a:ext cx="11582" cy="11582"/>
            </a:xfrm>
            <a:custGeom>
              <a:avLst/>
              <a:gdLst>
                <a:gd name="T0" fmla="*/ 0 w 7"/>
                <a:gd name="T1" fmla="*/ 0 h 7"/>
                <a:gd name="T2" fmla="*/ 5 w 7"/>
                <a:gd name="T3" fmla="*/ 0 h 7"/>
                <a:gd name="T4" fmla="*/ 7 w 7"/>
                <a:gd name="T5" fmla="*/ 0 h 7"/>
                <a:gd name="T6" fmla="*/ 7 w 7"/>
                <a:gd name="T7" fmla="*/ 5 h 7"/>
                <a:gd name="T8" fmla="*/ 5 w 7"/>
                <a:gd name="T9" fmla="*/ 7 h 7"/>
                <a:gd name="T10" fmla="*/ 2 w 7"/>
                <a:gd name="T11" fmla="*/ 5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5" y="0"/>
                  </a:lnTo>
                  <a:lnTo>
                    <a:pt x="7" y="0"/>
                  </a:lnTo>
                  <a:lnTo>
                    <a:pt x="7" y="5"/>
                  </a:lnTo>
                  <a:lnTo>
                    <a:pt x="5" y="7"/>
                  </a:lnTo>
                  <a:lnTo>
                    <a:pt x="2" y="5"/>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2" name="Freeform 1191">
              <a:extLst>
                <a:ext uri="{FF2B5EF4-FFF2-40B4-BE49-F238E27FC236}">
                  <a16:creationId xmlns:a16="http://schemas.microsoft.com/office/drawing/2014/main" id="{44442E85-A1BF-448D-8D2C-3BF483071A2B}"/>
                </a:ext>
              </a:extLst>
            </p:cNvPr>
            <p:cNvSpPr>
              <a:spLocks/>
            </p:cNvSpPr>
            <p:nvPr/>
          </p:nvSpPr>
          <p:spPr bwMode="auto">
            <a:xfrm>
              <a:off x="7648718" y="4678725"/>
              <a:ext cx="11582" cy="11582"/>
            </a:xfrm>
            <a:custGeom>
              <a:avLst/>
              <a:gdLst>
                <a:gd name="T0" fmla="*/ 0 w 7"/>
                <a:gd name="T1" fmla="*/ 0 h 7"/>
                <a:gd name="T2" fmla="*/ 5 w 7"/>
                <a:gd name="T3" fmla="*/ 0 h 7"/>
                <a:gd name="T4" fmla="*/ 7 w 7"/>
                <a:gd name="T5" fmla="*/ 0 h 7"/>
                <a:gd name="T6" fmla="*/ 7 w 7"/>
                <a:gd name="T7" fmla="*/ 5 h 7"/>
                <a:gd name="T8" fmla="*/ 5 w 7"/>
                <a:gd name="T9" fmla="*/ 7 h 7"/>
                <a:gd name="T10" fmla="*/ 2 w 7"/>
                <a:gd name="T11" fmla="*/ 5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5" y="0"/>
                  </a:lnTo>
                  <a:lnTo>
                    <a:pt x="7" y="0"/>
                  </a:lnTo>
                  <a:lnTo>
                    <a:pt x="7" y="5"/>
                  </a:lnTo>
                  <a:lnTo>
                    <a:pt x="5" y="7"/>
                  </a:lnTo>
                  <a:lnTo>
                    <a:pt x="2" y="5"/>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3" name="Freeform 1192">
              <a:extLst>
                <a:ext uri="{FF2B5EF4-FFF2-40B4-BE49-F238E27FC236}">
                  <a16:creationId xmlns:a16="http://schemas.microsoft.com/office/drawing/2014/main" id="{4A5255F4-16DF-4505-A8F8-E7854C691637}"/>
                </a:ext>
              </a:extLst>
            </p:cNvPr>
            <p:cNvSpPr>
              <a:spLocks/>
            </p:cNvSpPr>
            <p:nvPr/>
          </p:nvSpPr>
          <p:spPr bwMode="auto">
            <a:xfrm>
              <a:off x="7625557" y="4701888"/>
              <a:ext cx="14890" cy="8273"/>
            </a:xfrm>
            <a:custGeom>
              <a:avLst/>
              <a:gdLst>
                <a:gd name="T0" fmla="*/ 0 w 9"/>
                <a:gd name="T1" fmla="*/ 3 h 5"/>
                <a:gd name="T2" fmla="*/ 0 w 9"/>
                <a:gd name="T3" fmla="*/ 3 h 5"/>
                <a:gd name="T4" fmla="*/ 2 w 9"/>
                <a:gd name="T5" fmla="*/ 0 h 5"/>
                <a:gd name="T6" fmla="*/ 5 w 9"/>
                <a:gd name="T7" fmla="*/ 0 h 5"/>
                <a:gd name="T8" fmla="*/ 5 w 9"/>
                <a:gd name="T9" fmla="*/ 0 h 5"/>
                <a:gd name="T10" fmla="*/ 7 w 9"/>
                <a:gd name="T11" fmla="*/ 0 h 5"/>
                <a:gd name="T12" fmla="*/ 9 w 9"/>
                <a:gd name="T13" fmla="*/ 3 h 5"/>
                <a:gd name="T14" fmla="*/ 9 w 9"/>
                <a:gd name="T15" fmla="*/ 3 h 5"/>
                <a:gd name="T16" fmla="*/ 9 w 9"/>
                <a:gd name="T17" fmla="*/ 5 h 5"/>
                <a:gd name="T18" fmla="*/ 7 w 9"/>
                <a:gd name="T19" fmla="*/ 5 h 5"/>
                <a:gd name="T20" fmla="*/ 5 w 9"/>
                <a:gd name="T21" fmla="*/ 5 h 5"/>
                <a:gd name="T22" fmla="*/ 0 w 9"/>
                <a:gd name="T23" fmla="*/ 3 h 5"/>
                <a:gd name="T24" fmla="*/ 0 w 9"/>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0" y="3"/>
                  </a:moveTo>
                  <a:lnTo>
                    <a:pt x="0" y="3"/>
                  </a:lnTo>
                  <a:lnTo>
                    <a:pt x="2" y="0"/>
                  </a:lnTo>
                  <a:lnTo>
                    <a:pt x="5" y="0"/>
                  </a:lnTo>
                  <a:lnTo>
                    <a:pt x="5" y="0"/>
                  </a:lnTo>
                  <a:lnTo>
                    <a:pt x="7" y="0"/>
                  </a:lnTo>
                  <a:lnTo>
                    <a:pt x="9" y="3"/>
                  </a:lnTo>
                  <a:lnTo>
                    <a:pt x="9" y="3"/>
                  </a:lnTo>
                  <a:lnTo>
                    <a:pt x="9" y="5"/>
                  </a:lnTo>
                  <a:lnTo>
                    <a:pt x="7" y="5"/>
                  </a:lnTo>
                  <a:lnTo>
                    <a:pt x="5" y="5"/>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4" name="Freeform 1193">
              <a:extLst>
                <a:ext uri="{FF2B5EF4-FFF2-40B4-BE49-F238E27FC236}">
                  <a16:creationId xmlns:a16="http://schemas.microsoft.com/office/drawing/2014/main" id="{4A30EBFF-ABDE-4858-999B-EEBB858EA15E}"/>
                </a:ext>
              </a:extLst>
            </p:cNvPr>
            <p:cNvSpPr>
              <a:spLocks/>
            </p:cNvSpPr>
            <p:nvPr/>
          </p:nvSpPr>
          <p:spPr bwMode="auto">
            <a:xfrm>
              <a:off x="7625557" y="4701888"/>
              <a:ext cx="14890" cy="8273"/>
            </a:xfrm>
            <a:custGeom>
              <a:avLst/>
              <a:gdLst>
                <a:gd name="T0" fmla="*/ 0 w 9"/>
                <a:gd name="T1" fmla="*/ 3 h 5"/>
                <a:gd name="T2" fmla="*/ 0 w 9"/>
                <a:gd name="T3" fmla="*/ 3 h 5"/>
                <a:gd name="T4" fmla="*/ 2 w 9"/>
                <a:gd name="T5" fmla="*/ 0 h 5"/>
                <a:gd name="T6" fmla="*/ 5 w 9"/>
                <a:gd name="T7" fmla="*/ 0 h 5"/>
                <a:gd name="T8" fmla="*/ 5 w 9"/>
                <a:gd name="T9" fmla="*/ 0 h 5"/>
                <a:gd name="T10" fmla="*/ 7 w 9"/>
                <a:gd name="T11" fmla="*/ 0 h 5"/>
                <a:gd name="T12" fmla="*/ 9 w 9"/>
                <a:gd name="T13" fmla="*/ 3 h 5"/>
                <a:gd name="T14" fmla="*/ 9 w 9"/>
                <a:gd name="T15" fmla="*/ 3 h 5"/>
                <a:gd name="T16" fmla="*/ 9 w 9"/>
                <a:gd name="T17" fmla="*/ 5 h 5"/>
                <a:gd name="T18" fmla="*/ 7 w 9"/>
                <a:gd name="T19" fmla="*/ 5 h 5"/>
                <a:gd name="T20" fmla="*/ 5 w 9"/>
                <a:gd name="T21" fmla="*/ 5 h 5"/>
                <a:gd name="T22" fmla="*/ 0 w 9"/>
                <a:gd name="T23" fmla="*/ 3 h 5"/>
                <a:gd name="T24" fmla="*/ 0 w 9"/>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0" y="3"/>
                  </a:moveTo>
                  <a:lnTo>
                    <a:pt x="0" y="3"/>
                  </a:lnTo>
                  <a:lnTo>
                    <a:pt x="2" y="0"/>
                  </a:lnTo>
                  <a:lnTo>
                    <a:pt x="5" y="0"/>
                  </a:lnTo>
                  <a:lnTo>
                    <a:pt x="5" y="0"/>
                  </a:lnTo>
                  <a:lnTo>
                    <a:pt x="7" y="0"/>
                  </a:lnTo>
                  <a:lnTo>
                    <a:pt x="9" y="3"/>
                  </a:lnTo>
                  <a:lnTo>
                    <a:pt x="9" y="3"/>
                  </a:lnTo>
                  <a:lnTo>
                    <a:pt x="9" y="5"/>
                  </a:lnTo>
                  <a:lnTo>
                    <a:pt x="7" y="5"/>
                  </a:lnTo>
                  <a:lnTo>
                    <a:pt x="5" y="5"/>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5" name="Freeform 1194">
              <a:extLst>
                <a:ext uri="{FF2B5EF4-FFF2-40B4-BE49-F238E27FC236}">
                  <a16:creationId xmlns:a16="http://schemas.microsoft.com/office/drawing/2014/main" id="{3928F758-91D3-474A-B2EA-5D7D2BB881B4}"/>
                </a:ext>
              </a:extLst>
            </p:cNvPr>
            <p:cNvSpPr>
              <a:spLocks/>
            </p:cNvSpPr>
            <p:nvPr/>
          </p:nvSpPr>
          <p:spPr bwMode="auto">
            <a:xfrm>
              <a:off x="7570960" y="4733322"/>
              <a:ext cx="86030" cy="31435"/>
            </a:xfrm>
            <a:custGeom>
              <a:avLst/>
              <a:gdLst>
                <a:gd name="T0" fmla="*/ 0 w 52"/>
                <a:gd name="T1" fmla="*/ 12 h 19"/>
                <a:gd name="T2" fmla="*/ 0 w 52"/>
                <a:gd name="T3" fmla="*/ 12 h 19"/>
                <a:gd name="T4" fmla="*/ 0 w 52"/>
                <a:gd name="T5" fmla="*/ 7 h 19"/>
                <a:gd name="T6" fmla="*/ 0 w 52"/>
                <a:gd name="T7" fmla="*/ 5 h 19"/>
                <a:gd name="T8" fmla="*/ 2 w 52"/>
                <a:gd name="T9" fmla="*/ 5 h 19"/>
                <a:gd name="T10" fmla="*/ 2 w 52"/>
                <a:gd name="T11" fmla="*/ 2 h 19"/>
                <a:gd name="T12" fmla="*/ 5 w 52"/>
                <a:gd name="T13" fmla="*/ 0 h 19"/>
                <a:gd name="T14" fmla="*/ 14 w 52"/>
                <a:gd name="T15" fmla="*/ 2 h 19"/>
                <a:gd name="T16" fmla="*/ 16 w 52"/>
                <a:gd name="T17" fmla="*/ 0 h 19"/>
                <a:gd name="T18" fmla="*/ 19 w 52"/>
                <a:gd name="T19" fmla="*/ 0 h 19"/>
                <a:gd name="T20" fmla="*/ 21 w 52"/>
                <a:gd name="T21" fmla="*/ 2 h 19"/>
                <a:gd name="T22" fmla="*/ 28 w 52"/>
                <a:gd name="T23" fmla="*/ 0 h 19"/>
                <a:gd name="T24" fmla="*/ 31 w 52"/>
                <a:gd name="T25" fmla="*/ 0 h 19"/>
                <a:gd name="T26" fmla="*/ 33 w 52"/>
                <a:gd name="T27" fmla="*/ 2 h 19"/>
                <a:gd name="T28" fmla="*/ 35 w 52"/>
                <a:gd name="T29" fmla="*/ 2 h 19"/>
                <a:gd name="T30" fmla="*/ 40 w 52"/>
                <a:gd name="T31" fmla="*/ 2 h 19"/>
                <a:gd name="T32" fmla="*/ 42 w 52"/>
                <a:gd name="T33" fmla="*/ 2 h 19"/>
                <a:gd name="T34" fmla="*/ 45 w 52"/>
                <a:gd name="T35" fmla="*/ 5 h 19"/>
                <a:gd name="T36" fmla="*/ 47 w 52"/>
                <a:gd name="T37" fmla="*/ 10 h 19"/>
                <a:gd name="T38" fmla="*/ 47 w 52"/>
                <a:gd name="T39" fmla="*/ 10 h 19"/>
                <a:gd name="T40" fmla="*/ 49 w 52"/>
                <a:gd name="T41" fmla="*/ 12 h 19"/>
                <a:gd name="T42" fmla="*/ 52 w 52"/>
                <a:gd name="T43" fmla="*/ 17 h 19"/>
                <a:gd name="T44" fmla="*/ 49 w 52"/>
                <a:gd name="T45" fmla="*/ 19 h 19"/>
                <a:gd name="T46" fmla="*/ 47 w 52"/>
                <a:gd name="T47" fmla="*/ 17 h 19"/>
                <a:gd name="T48" fmla="*/ 33 w 52"/>
                <a:gd name="T49" fmla="*/ 10 h 19"/>
                <a:gd name="T50" fmla="*/ 31 w 52"/>
                <a:gd name="T51" fmla="*/ 10 h 19"/>
                <a:gd name="T52" fmla="*/ 28 w 52"/>
                <a:gd name="T53" fmla="*/ 10 h 19"/>
                <a:gd name="T54" fmla="*/ 28 w 52"/>
                <a:gd name="T55" fmla="*/ 10 h 19"/>
                <a:gd name="T56" fmla="*/ 26 w 52"/>
                <a:gd name="T57" fmla="*/ 12 h 19"/>
                <a:gd name="T58" fmla="*/ 24 w 52"/>
                <a:gd name="T59" fmla="*/ 10 h 19"/>
                <a:gd name="T60" fmla="*/ 19 w 52"/>
                <a:gd name="T61" fmla="*/ 10 h 19"/>
                <a:gd name="T62" fmla="*/ 16 w 52"/>
                <a:gd name="T63" fmla="*/ 7 h 19"/>
                <a:gd name="T64" fmla="*/ 14 w 52"/>
                <a:gd name="T65" fmla="*/ 10 h 19"/>
                <a:gd name="T66" fmla="*/ 12 w 52"/>
                <a:gd name="T67" fmla="*/ 10 h 19"/>
                <a:gd name="T68" fmla="*/ 9 w 52"/>
                <a:gd name="T69" fmla="*/ 12 h 19"/>
                <a:gd name="T70" fmla="*/ 7 w 52"/>
                <a:gd name="T71" fmla="*/ 10 h 19"/>
                <a:gd name="T72" fmla="*/ 5 w 52"/>
                <a:gd name="T73" fmla="*/ 7 h 19"/>
                <a:gd name="T74" fmla="*/ 2 w 52"/>
                <a:gd name="T75" fmla="*/ 7 h 19"/>
                <a:gd name="T76" fmla="*/ 0 w 52"/>
                <a:gd name="T7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19">
                  <a:moveTo>
                    <a:pt x="0" y="12"/>
                  </a:moveTo>
                  <a:lnTo>
                    <a:pt x="0" y="12"/>
                  </a:lnTo>
                  <a:lnTo>
                    <a:pt x="0" y="7"/>
                  </a:lnTo>
                  <a:lnTo>
                    <a:pt x="0" y="5"/>
                  </a:lnTo>
                  <a:lnTo>
                    <a:pt x="2" y="5"/>
                  </a:lnTo>
                  <a:lnTo>
                    <a:pt x="2" y="2"/>
                  </a:lnTo>
                  <a:lnTo>
                    <a:pt x="5" y="0"/>
                  </a:lnTo>
                  <a:lnTo>
                    <a:pt x="14" y="2"/>
                  </a:lnTo>
                  <a:lnTo>
                    <a:pt x="16" y="0"/>
                  </a:lnTo>
                  <a:lnTo>
                    <a:pt x="19" y="0"/>
                  </a:lnTo>
                  <a:lnTo>
                    <a:pt x="21" y="2"/>
                  </a:lnTo>
                  <a:lnTo>
                    <a:pt x="28" y="0"/>
                  </a:lnTo>
                  <a:lnTo>
                    <a:pt x="31" y="0"/>
                  </a:lnTo>
                  <a:lnTo>
                    <a:pt x="33" y="2"/>
                  </a:lnTo>
                  <a:lnTo>
                    <a:pt x="35" y="2"/>
                  </a:lnTo>
                  <a:lnTo>
                    <a:pt x="40" y="2"/>
                  </a:lnTo>
                  <a:lnTo>
                    <a:pt x="42" y="2"/>
                  </a:lnTo>
                  <a:lnTo>
                    <a:pt x="45" y="5"/>
                  </a:lnTo>
                  <a:lnTo>
                    <a:pt x="47" y="10"/>
                  </a:lnTo>
                  <a:lnTo>
                    <a:pt x="47" y="10"/>
                  </a:lnTo>
                  <a:lnTo>
                    <a:pt x="49" y="12"/>
                  </a:lnTo>
                  <a:lnTo>
                    <a:pt x="52" y="17"/>
                  </a:lnTo>
                  <a:lnTo>
                    <a:pt x="49" y="19"/>
                  </a:lnTo>
                  <a:lnTo>
                    <a:pt x="47" y="17"/>
                  </a:lnTo>
                  <a:lnTo>
                    <a:pt x="33" y="10"/>
                  </a:lnTo>
                  <a:lnTo>
                    <a:pt x="31" y="10"/>
                  </a:lnTo>
                  <a:lnTo>
                    <a:pt x="28" y="10"/>
                  </a:lnTo>
                  <a:lnTo>
                    <a:pt x="28" y="10"/>
                  </a:lnTo>
                  <a:lnTo>
                    <a:pt x="26" y="12"/>
                  </a:lnTo>
                  <a:lnTo>
                    <a:pt x="24" y="10"/>
                  </a:lnTo>
                  <a:lnTo>
                    <a:pt x="19" y="10"/>
                  </a:lnTo>
                  <a:lnTo>
                    <a:pt x="16" y="7"/>
                  </a:lnTo>
                  <a:lnTo>
                    <a:pt x="14" y="10"/>
                  </a:lnTo>
                  <a:lnTo>
                    <a:pt x="12" y="10"/>
                  </a:lnTo>
                  <a:lnTo>
                    <a:pt x="9" y="12"/>
                  </a:lnTo>
                  <a:lnTo>
                    <a:pt x="7" y="10"/>
                  </a:lnTo>
                  <a:lnTo>
                    <a:pt x="5" y="7"/>
                  </a:lnTo>
                  <a:lnTo>
                    <a:pt x="2" y="7"/>
                  </a:lnTo>
                  <a:lnTo>
                    <a:pt x="0"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6" name="Freeform 1195">
              <a:extLst>
                <a:ext uri="{FF2B5EF4-FFF2-40B4-BE49-F238E27FC236}">
                  <a16:creationId xmlns:a16="http://schemas.microsoft.com/office/drawing/2014/main" id="{3D821A00-0225-4308-981D-C5EC2CF92DA8}"/>
                </a:ext>
              </a:extLst>
            </p:cNvPr>
            <p:cNvSpPr>
              <a:spLocks/>
            </p:cNvSpPr>
            <p:nvPr/>
          </p:nvSpPr>
          <p:spPr bwMode="auto">
            <a:xfrm>
              <a:off x="7570960" y="4733322"/>
              <a:ext cx="86030" cy="31435"/>
            </a:xfrm>
            <a:custGeom>
              <a:avLst/>
              <a:gdLst>
                <a:gd name="T0" fmla="*/ 0 w 52"/>
                <a:gd name="T1" fmla="*/ 12 h 19"/>
                <a:gd name="T2" fmla="*/ 0 w 52"/>
                <a:gd name="T3" fmla="*/ 12 h 19"/>
                <a:gd name="T4" fmla="*/ 0 w 52"/>
                <a:gd name="T5" fmla="*/ 7 h 19"/>
                <a:gd name="T6" fmla="*/ 0 w 52"/>
                <a:gd name="T7" fmla="*/ 5 h 19"/>
                <a:gd name="T8" fmla="*/ 2 w 52"/>
                <a:gd name="T9" fmla="*/ 5 h 19"/>
                <a:gd name="T10" fmla="*/ 2 w 52"/>
                <a:gd name="T11" fmla="*/ 2 h 19"/>
                <a:gd name="T12" fmla="*/ 5 w 52"/>
                <a:gd name="T13" fmla="*/ 0 h 19"/>
                <a:gd name="T14" fmla="*/ 14 w 52"/>
                <a:gd name="T15" fmla="*/ 2 h 19"/>
                <a:gd name="T16" fmla="*/ 16 w 52"/>
                <a:gd name="T17" fmla="*/ 0 h 19"/>
                <a:gd name="T18" fmla="*/ 19 w 52"/>
                <a:gd name="T19" fmla="*/ 0 h 19"/>
                <a:gd name="T20" fmla="*/ 21 w 52"/>
                <a:gd name="T21" fmla="*/ 2 h 19"/>
                <a:gd name="T22" fmla="*/ 28 w 52"/>
                <a:gd name="T23" fmla="*/ 0 h 19"/>
                <a:gd name="T24" fmla="*/ 31 w 52"/>
                <a:gd name="T25" fmla="*/ 0 h 19"/>
                <a:gd name="T26" fmla="*/ 33 w 52"/>
                <a:gd name="T27" fmla="*/ 2 h 19"/>
                <a:gd name="T28" fmla="*/ 35 w 52"/>
                <a:gd name="T29" fmla="*/ 2 h 19"/>
                <a:gd name="T30" fmla="*/ 40 w 52"/>
                <a:gd name="T31" fmla="*/ 2 h 19"/>
                <a:gd name="T32" fmla="*/ 42 w 52"/>
                <a:gd name="T33" fmla="*/ 2 h 19"/>
                <a:gd name="T34" fmla="*/ 45 w 52"/>
                <a:gd name="T35" fmla="*/ 5 h 19"/>
                <a:gd name="T36" fmla="*/ 47 w 52"/>
                <a:gd name="T37" fmla="*/ 10 h 19"/>
                <a:gd name="T38" fmla="*/ 47 w 52"/>
                <a:gd name="T39" fmla="*/ 10 h 19"/>
                <a:gd name="T40" fmla="*/ 49 w 52"/>
                <a:gd name="T41" fmla="*/ 12 h 19"/>
                <a:gd name="T42" fmla="*/ 52 w 52"/>
                <a:gd name="T43" fmla="*/ 17 h 19"/>
                <a:gd name="T44" fmla="*/ 49 w 52"/>
                <a:gd name="T45" fmla="*/ 19 h 19"/>
                <a:gd name="T46" fmla="*/ 47 w 52"/>
                <a:gd name="T47" fmla="*/ 17 h 19"/>
                <a:gd name="T48" fmla="*/ 33 w 52"/>
                <a:gd name="T49" fmla="*/ 10 h 19"/>
                <a:gd name="T50" fmla="*/ 31 w 52"/>
                <a:gd name="T51" fmla="*/ 10 h 19"/>
                <a:gd name="T52" fmla="*/ 28 w 52"/>
                <a:gd name="T53" fmla="*/ 10 h 19"/>
                <a:gd name="T54" fmla="*/ 28 w 52"/>
                <a:gd name="T55" fmla="*/ 10 h 19"/>
                <a:gd name="T56" fmla="*/ 26 w 52"/>
                <a:gd name="T57" fmla="*/ 12 h 19"/>
                <a:gd name="T58" fmla="*/ 24 w 52"/>
                <a:gd name="T59" fmla="*/ 10 h 19"/>
                <a:gd name="T60" fmla="*/ 19 w 52"/>
                <a:gd name="T61" fmla="*/ 10 h 19"/>
                <a:gd name="T62" fmla="*/ 16 w 52"/>
                <a:gd name="T63" fmla="*/ 7 h 19"/>
                <a:gd name="T64" fmla="*/ 14 w 52"/>
                <a:gd name="T65" fmla="*/ 10 h 19"/>
                <a:gd name="T66" fmla="*/ 12 w 52"/>
                <a:gd name="T67" fmla="*/ 10 h 19"/>
                <a:gd name="T68" fmla="*/ 9 w 52"/>
                <a:gd name="T69" fmla="*/ 12 h 19"/>
                <a:gd name="T70" fmla="*/ 7 w 52"/>
                <a:gd name="T71" fmla="*/ 10 h 19"/>
                <a:gd name="T72" fmla="*/ 5 w 52"/>
                <a:gd name="T73" fmla="*/ 7 h 19"/>
                <a:gd name="T74" fmla="*/ 2 w 52"/>
                <a:gd name="T75" fmla="*/ 7 h 19"/>
                <a:gd name="T76" fmla="*/ 0 w 52"/>
                <a:gd name="T7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19">
                  <a:moveTo>
                    <a:pt x="0" y="12"/>
                  </a:moveTo>
                  <a:lnTo>
                    <a:pt x="0" y="12"/>
                  </a:lnTo>
                  <a:lnTo>
                    <a:pt x="0" y="7"/>
                  </a:lnTo>
                  <a:lnTo>
                    <a:pt x="0" y="5"/>
                  </a:lnTo>
                  <a:lnTo>
                    <a:pt x="2" y="5"/>
                  </a:lnTo>
                  <a:lnTo>
                    <a:pt x="2" y="2"/>
                  </a:lnTo>
                  <a:lnTo>
                    <a:pt x="5" y="0"/>
                  </a:lnTo>
                  <a:lnTo>
                    <a:pt x="14" y="2"/>
                  </a:lnTo>
                  <a:lnTo>
                    <a:pt x="16" y="0"/>
                  </a:lnTo>
                  <a:lnTo>
                    <a:pt x="19" y="0"/>
                  </a:lnTo>
                  <a:lnTo>
                    <a:pt x="21" y="2"/>
                  </a:lnTo>
                  <a:lnTo>
                    <a:pt x="28" y="0"/>
                  </a:lnTo>
                  <a:lnTo>
                    <a:pt x="31" y="0"/>
                  </a:lnTo>
                  <a:lnTo>
                    <a:pt x="33" y="2"/>
                  </a:lnTo>
                  <a:lnTo>
                    <a:pt x="35" y="2"/>
                  </a:lnTo>
                  <a:lnTo>
                    <a:pt x="40" y="2"/>
                  </a:lnTo>
                  <a:lnTo>
                    <a:pt x="42" y="2"/>
                  </a:lnTo>
                  <a:lnTo>
                    <a:pt x="45" y="5"/>
                  </a:lnTo>
                  <a:lnTo>
                    <a:pt x="47" y="10"/>
                  </a:lnTo>
                  <a:lnTo>
                    <a:pt x="47" y="10"/>
                  </a:lnTo>
                  <a:lnTo>
                    <a:pt x="49" y="12"/>
                  </a:lnTo>
                  <a:lnTo>
                    <a:pt x="52" y="17"/>
                  </a:lnTo>
                  <a:lnTo>
                    <a:pt x="49" y="19"/>
                  </a:lnTo>
                  <a:lnTo>
                    <a:pt x="47" y="17"/>
                  </a:lnTo>
                  <a:lnTo>
                    <a:pt x="33" y="10"/>
                  </a:lnTo>
                  <a:lnTo>
                    <a:pt x="31" y="10"/>
                  </a:lnTo>
                  <a:lnTo>
                    <a:pt x="28" y="10"/>
                  </a:lnTo>
                  <a:lnTo>
                    <a:pt x="28" y="10"/>
                  </a:lnTo>
                  <a:lnTo>
                    <a:pt x="26" y="12"/>
                  </a:lnTo>
                  <a:lnTo>
                    <a:pt x="24" y="10"/>
                  </a:lnTo>
                  <a:lnTo>
                    <a:pt x="19" y="10"/>
                  </a:lnTo>
                  <a:lnTo>
                    <a:pt x="16" y="7"/>
                  </a:lnTo>
                  <a:lnTo>
                    <a:pt x="14" y="10"/>
                  </a:lnTo>
                  <a:lnTo>
                    <a:pt x="12" y="10"/>
                  </a:lnTo>
                  <a:lnTo>
                    <a:pt x="9" y="12"/>
                  </a:lnTo>
                  <a:lnTo>
                    <a:pt x="7" y="10"/>
                  </a:lnTo>
                  <a:lnTo>
                    <a:pt x="5" y="7"/>
                  </a:lnTo>
                  <a:lnTo>
                    <a:pt x="2" y="7"/>
                  </a:lnTo>
                  <a:lnTo>
                    <a:pt x="0" y="1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7" name="Freeform 1196">
              <a:extLst>
                <a:ext uri="{FF2B5EF4-FFF2-40B4-BE49-F238E27FC236}">
                  <a16:creationId xmlns:a16="http://schemas.microsoft.com/office/drawing/2014/main" id="{A56BB8F8-F2C9-4C59-84CB-08D68C76355F}"/>
                </a:ext>
              </a:extLst>
            </p:cNvPr>
            <p:cNvSpPr>
              <a:spLocks/>
            </p:cNvSpPr>
            <p:nvPr/>
          </p:nvSpPr>
          <p:spPr bwMode="auto">
            <a:xfrm>
              <a:off x="7309560" y="4604277"/>
              <a:ext cx="183642" cy="211768"/>
            </a:xfrm>
            <a:custGeom>
              <a:avLst/>
              <a:gdLst>
                <a:gd name="T0" fmla="*/ 44 w 111"/>
                <a:gd name="T1" fmla="*/ 7 h 128"/>
                <a:gd name="T2" fmla="*/ 52 w 111"/>
                <a:gd name="T3" fmla="*/ 10 h 128"/>
                <a:gd name="T4" fmla="*/ 59 w 111"/>
                <a:gd name="T5" fmla="*/ 10 h 128"/>
                <a:gd name="T6" fmla="*/ 66 w 111"/>
                <a:gd name="T7" fmla="*/ 12 h 128"/>
                <a:gd name="T8" fmla="*/ 73 w 111"/>
                <a:gd name="T9" fmla="*/ 12 h 128"/>
                <a:gd name="T10" fmla="*/ 92 w 111"/>
                <a:gd name="T11" fmla="*/ 12 h 128"/>
                <a:gd name="T12" fmla="*/ 104 w 111"/>
                <a:gd name="T13" fmla="*/ 0 h 128"/>
                <a:gd name="T14" fmla="*/ 111 w 111"/>
                <a:gd name="T15" fmla="*/ 0 h 128"/>
                <a:gd name="T16" fmla="*/ 108 w 111"/>
                <a:gd name="T17" fmla="*/ 7 h 128"/>
                <a:gd name="T18" fmla="*/ 96 w 111"/>
                <a:gd name="T19" fmla="*/ 21 h 128"/>
                <a:gd name="T20" fmla="*/ 85 w 111"/>
                <a:gd name="T21" fmla="*/ 24 h 128"/>
                <a:gd name="T22" fmla="*/ 70 w 111"/>
                <a:gd name="T23" fmla="*/ 21 h 128"/>
                <a:gd name="T24" fmla="*/ 54 w 111"/>
                <a:gd name="T25" fmla="*/ 21 h 128"/>
                <a:gd name="T26" fmla="*/ 47 w 111"/>
                <a:gd name="T27" fmla="*/ 21 h 128"/>
                <a:gd name="T28" fmla="*/ 40 w 111"/>
                <a:gd name="T29" fmla="*/ 21 h 128"/>
                <a:gd name="T30" fmla="*/ 28 w 111"/>
                <a:gd name="T31" fmla="*/ 21 h 128"/>
                <a:gd name="T32" fmla="*/ 21 w 111"/>
                <a:gd name="T33" fmla="*/ 33 h 128"/>
                <a:gd name="T34" fmla="*/ 28 w 111"/>
                <a:gd name="T35" fmla="*/ 45 h 128"/>
                <a:gd name="T36" fmla="*/ 40 w 111"/>
                <a:gd name="T37" fmla="*/ 50 h 128"/>
                <a:gd name="T38" fmla="*/ 49 w 111"/>
                <a:gd name="T39" fmla="*/ 45 h 128"/>
                <a:gd name="T40" fmla="*/ 56 w 111"/>
                <a:gd name="T41" fmla="*/ 45 h 128"/>
                <a:gd name="T42" fmla="*/ 68 w 111"/>
                <a:gd name="T43" fmla="*/ 43 h 128"/>
                <a:gd name="T44" fmla="*/ 78 w 111"/>
                <a:gd name="T45" fmla="*/ 38 h 128"/>
                <a:gd name="T46" fmla="*/ 78 w 111"/>
                <a:gd name="T47" fmla="*/ 47 h 128"/>
                <a:gd name="T48" fmla="*/ 63 w 111"/>
                <a:gd name="T49" fmla="*/ 55 h 128"/>
                <a:gd name="T50" fmla="*/ 54 w 111"/>
                <a:gd name="T51" fmla="*/ 59 h 128"/>
                <a:gd name="T52" fmla="*/ 44 w 111"/>
                <a:gd name="T53" fmla="*/ 59 h 128"/>
                <a:gd name="T54" fmla="*/ 59 w 111"/>
                <a:gd name="T55" fmla="*/ 78 h 128"/>
                <a:gd name="T56" fmla="*/ 63 w 111"/>
                <a:gd name="T57" fmla="*/ 85 h 128"/>
                <a:gd name="T58" fmla="*/ 59 w 111"/>
                <a:gd name="T59" fmla="*/ 90 h 128"/>
                <a:gd name="T60" fmla="*/ 66 w 111"/>
                <a:gd name="T61" fmla="*/ 97 h 128"/>
                <a:gd name="T62" fmla="*/ 68 w 111"/>
                <a:gd name="T63" fmla="*/ 99 h 128"/>
                <a:gd name="T64" fmla="*/ 68 w 111"/>
                <a:gd name="T65" fmla="*/ 106 h 128"/>
                <a:gd name="T66" fmla="*/ 56 w 111"/>
                <a:gd name="T67" fmla="*/ 111 h 128"/>
                <a:gd name="T68" fmla="*/ 47 w 111"/>
                <a:gd name="T69" fmla="*/ 109 h 128"/>
                <a:gd name="T70" fmla="*/ 47 w 111"/>
                <a:gd name="T71" fmla="*/ 99 h 128"/>
                <a:gd name="T72" fmla="*/ 37 w 111"/>
                <a:gd name="T73" fmla="*/ 88 h 128"/>
                <a:gd name="T74" fmla="*/ 37 w 111"/>
                <a:gd name="T75" fmla="*/ 76 h 128"/>
                <a:gd name="T76" fmla="*/ 30 w 111"/>
                <a:gd name="T77" fmla="*/ 76 h 128"/>
                <a:gd name="T78" fmla="*/ 28 w 111"/>
                <a:gd name="T79" fmla="*/ 88 h 128"/>
                <a:gd name="T80" fmla="*/ 28 w 111"/>
                <a:gd name="T81" fmla="*/ 111 h 128"/>
                <a:gd name="T82" fmla="*/ 28 w 111"/>
                <a:gd name="T83" fmla="*/ 125 h 128"/>
                <a:gd name="T84" fmla="*/ 19 w 111"/>
                <a:gd name="T85" fmla="*/ 128 h 128"/>
                <a:gd name="T86" fmla="*/ 9 w 111"/>
                <a:gd name="T87" fmla="*/ 121 h 128"/>
                <a:gd name="T88" fmla="*/ 14 w 111"/>
                <a:gd name="T89" fmla="*/ 99 h 128"/>
                <a:gd name="T90" fmla="*/ 7 w 111"/>
                <a:gd name="T91" fmla="*/ 90 h 128"/>
                <a:gd name="T92" fmla="*/ 0 w 111"/>
                <a:gd name="T93" fmla="*/ 80 h 128"/>
                <a:gd name="T94" fmla="*/ 7 w 111"/>
                <a:gd name="T95" fmla="*/ 66 h 128"/>
                <a:gd name="T96" fmla="*/ 11 w 111"/>
                <a:gd name="T97" fmla="*/ 45 h 128"/>
                <a:gd name="T98" fmla="*/ 16 w 111"/>
                <a:gd name="T99" fmla="*/ 43 h 128"/>
                <a:gd name="T100" fmla="*/ 14 w 111"/>
                <a:gd name="T101" fmla="*/ 29 h 128"/>
                <a:gd name="T102" fmla="*/ 19 w 111"/>
                <a:gd name="T103" fmla="*/ 24 h 128"/>
                <a:gd name="T104" fmla="*/ 23 w 111"/>
                <a:gd name="T105" fmla="*/ 14 h 128"/>
                <a:gd name="T106" fmla="*/ 30 w 111"/>
                <a:gd name="T107" fmla="*/ 14 h 128"/>
                <a:gd name="T108" fmla="*/ 35 w 111"/>
                <a:gd name="T109" fmla="*/ 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 h="128">
                  <a:moveTo>
                    <a:pt x="40" y="5"/>
                  </a:moveTo>
                  <a:lnTo>
                    <a:pt x="44" y="7"/>
                  </a:lnTo>
                  <a:lnTo>
                    <a:pt x="44" y="7"/>
                  </a:lnTo>
                  <a:lnTo>
                    <a:pt x="47" y="10"/>
                  </a:lnTo>
                  <a:lnTo>
                    <a:pt x="49" y="10"/>
                  </a:lnTo>
                  <a:lnTo>
                    <a:pt x="52" y="10"/>
                  </a:lnTo>
                  <a:lnTo>
                    <a:pt x="54" y="10"/>
                  </a:lnTo>
                  <a:lnTo>
                    <a:pt x="56" y="10"/>
                  </a:lnTo>
                  <a:lnTo>
                    <a:pt x="59" y="10"/>
                  </a:lnTo>
                  <a:lnTo>
                    <a:pt x="61" y="10"/>
                  </a:lnTo>
                  <a:lnTo>
                    <a:pt x="63" y="12"/>
                  </a:lnTo>
                  <a:lnTo>
                    <a:pt x="66" y="12"/>
                  </a:lnTo>
                  <a:lnTo>
                    <a:pt x="68" y="14"/>
                  </a:lnTo>
                  <a:lnTo>
                    <a:pt x="70" y="14"/>
                  </a:lnTo>
                  <a:lnTo>
                    <a:pt x="73" y="12"/>
                  </a:lnTo>
                  <a:lnTo>
                    <a:pt x="75" y="12"/>
                  </a:lnTo>
                  <a:lnTo>
                    <a:pt x="87" y="14"/>
                  </a:lnTo>
                  <a:lnTo>
                    <a:pt x="92" y="12"/>
                  </a:lnTo>
                  <a:lnTo>
                    <a:pt x="99" y="5"/>
                  </a:lnTo>
                  <a:lnTo>
                    <a:pt x="101" y="5"/>
                  </a:lnTo>
                  <a:lnTo>
                    <a:pt x="104" y="0"/>
                  </a:lnTo>
                  <a:lnTo>
                    <a:pt x="106" y="0"/>
                  </a:lnTo>
                  <a:lnTo>
                    <a:pt x="108" y="0"/>
                  </a:lnTo>
                  <a:lnTo>
                    <a:pt x="111" y="0"/>
                  </a:lnTo>
                  <a:lnTo>
                    <a:pt x="111" y="3"/>
                  </a:lnTo>
                  <a:lnTo>
                    <a:pt x="111" y="5"/>
                  </a:lnTo>
                  <a:lnTo>
                    <a:pt x="108" y="7"/>
                  </a:lnTo>
                  <a:lnTo>
                    <a:pt x="104" y="14"/>
                  </a:lnTo>
                  <a:lnTo>
                    <a:pt x="101" y="19"/>
                  </a:lnTo>
                  <a:lnTo>
                    <a:pt x="96" y="21"/>
                  </a:lnTo>
                  <a:lnTo>
                    <a:pt x="94" y="24"/>
                  </a:lnTo>
                  <a:lnTo>
                    <a:pt x="89" y="24"/>
                  </a:lnTo>
                  <a:lnTo>
                    <a:pt x="85" y="24"/>
                  </a:lnTo>
                  <a:lnTo>
                    <a:pt x="78" y="24"/>
                  </a:lnTo>
                  <a:lnTo>
                    <a:pt x="75" y="21"/>
                  </a:lnTo>
                  <a:lnTo>
                    <a:pt x="70" y="21"/>
                  </a:lnTo>
                  <a:lnTo>
                    <a:pt x="63" y="19"/>
                  </a:lnTo>
                  <a:lnTo>
                    <a:pt x="56" y="21"/>
                  </a:lnTo>
                  <a:lnTo>
                    <a:pt x="54" y="21"/>
                  </a:lnTo>
                  <a:lnTo>
                    <a:pt x="49" y="21"/>
                  </a:lnTo>
                  <a:lnTo>
                    <a:pt x="47" y="19"/>
                  </a:lnTo>
                  <a:lnTo>
                    <a:pt x="47" y="21"/>
                  </a:lnTo>
                  <a:lnTo>
                    <a:pt x="42" y="19"/>
                  </a:lnTo>
                  <a:lnTo>
                    <a:pt x="42" y="19"/>
                  </a:lnTo>
                  <a:lnTo>
                    <a:pt x="40" y="21"/>
                  </a:lnTo>
                  <a:lnTo>
                    <a:pt x="35" y="21"/>
                  </a:lnTo>
                  <a:lnTo>
                    <a:pt x="30" y="21"/>
                  </a:lnTo>
                  <a:lnTo>
                    <a:pt x="28" y="21"/>
                  </a:lnTo>
                  <a:lnTo>
                    <a:pt x="26" y="24"/>
                  </a:lnTo>
                  <a:lnTo>
                    <a:pt x="23" y="29"/>
                  </a:lnTo>
                  <a:lnTo>
                    <a:pt x="21" y="33"/>
                  </a:lnTo>
                  <a:lnTo>
                    <a:pt x="21" y="43"/>
                  </a:lnTo>
                  <a:lnTo>
                    <a:pt x="23" y="45"/>
                  </a:lnTo>
                  <a:lnTo>
                    <a:pt x="28" y="45"/>
                  </a:lnTo>
                  <a:lnTo>
                    <a:pt x="33" y="52"/>
                  </a:lnTo>
                  <a:lnTo>
                    <a:pt x="40" y="52"/>
                  </a:lnTo>
                  <a:lnTo>
                    <a:pt x="40" y="50"/>
                  </a:lnTo>
                  <a:lnTo>
                    <a:pt x="42" y="47"/>
                  </a:lnTo>
                  <a:lnTo>
                    <a:pt x="44" y="45"/>
                  </a:lnTo>
                  <a:lnTo>
                    <a:pt x="49" y="45"/>
                  </a:lnTo>
                  <a:lnTo>
                    <a:pt x="52" y="45"/>
                  </a:lnTo>
                  <a:lnTo>
                    <a:pt x="52" y="45"/>
                  </a:lnTo>
                  <a:lnTo>
                    <a:pt x="56" y="45"/>
                  </a:lnTo>
                  <a:lnTo>
                    <a:pt x="56" y="43"/>
                  </a:lnTo>
                  <a:lnTo>
                    <a:pt x="61" y="43"/>
                  </a:lnTo>
                  <a:lnTo>
                    <a:pt x="68" y="43"/>
                  </a:lnTo>
                  <a:lnTo>
                    <a:pt x="70" y="40"/>
                  </a:lnTo>
                  <a:lnTo>
                    <a:pt x="75" y="38"/>
                  </a:lnTo>
                  <a:lnTo>
                    <a:pt x="78" y="38"/>
                  </a:lnTo>
                  <a:lnTo>
                    <a:pt x="80" y="40"/>
                  </a:lnTo>
                  <a:lnTo>
                    <a:pt x="80" y="45"/>
                  </a:lnTo>
                  <a:lnTo>
                    <a:pt x="78" y="47"/>
                  </a:lnTo>
                  <a:lnTo>
                    <a:pt x="73" y="45"/>
                  </a:lnTo>
                  <a:lnTo>
                    <a:pt x="70" y="45"/>
                  </a:lnTo>
                  <a:lnTo>
                    <a:pt x="63" y="55"/>
                  </a:lnTo>
                  <a:lnTo>
                    <a:pt x="61" y="57"/>
                  </a:lnTo>
                  <a:lnTo>
                    <a:pt x="56" y="59"/>
                  </a:lnTo>
                  <a:lnTo>
                    <a:pt x="54" y="59"/>
                  </a:lnTo>
                  <a:lnTo>
                    <a:pt x="49" y="62"/>
                  </a:lnTo>
                  <a:lnTo>
                    <a:pt x="47" y="62"/>
                  </a:lnTo>
                  <a:lnTo>
                    <a:pt x="44" y="59"/>
                  </a:lnTo>
                  <a:lnTo>
                    <a:pt x="44" y="64"/>
                  </a:lnTo>
                  <a:lnTo>
                    <a:pt x="49" y="66"/>
                  </a:lnTo>
                  <a:lnTo>
                    <a:pt x="59" y="78"/>
                  </a:lnTo>
                  <a:lnTo>
                    <a:pt x="59" y="78"/>
                  </a:lnTo>
                  <a:lnTo>
                    <a:pt x="61" y="83"/>
                  </a:lnTo>
                  <a:lnTo>
                    <a:pt x="63" y="85"/>
                  </a:lnTo>
                  <a:lnTo>
                    <a:pt x="61" y="88"/>
                  </a:lnTo>
                  <a:lnTo>
                    <a:pt x="59" y="88"/>
                  </a:lnTo>
                  <a:lnTo>
                    <a:pt x="59" y="90"/>
                  </a:lnTo>
                  <a:lnTo>
                    <a:pt x="59" y="92"/>
                  </a:lnTo>
                  <a:lnTo>
                    <a:pt x="63" y="95"/>
                  </a:lnTo>
                  <a:lnTo>
                    <a:pt x="66" y="97"/>
                  </a:lnTo>
                  <a:lnTo>
                    <a:pt x="66" y="99"/>
                  </a:lnTo>
                  <a:lnTo>
                    <a:pt x="66" y="102"/>
                  </a:lnTo>
                  <a:lnTo>
                    <a:pt x="68" y="99"/>
                  </a:lnTo>
                  <a:lnTo>
                    <a:pt x="70" y="104"/>
                  </a:lnTo>
                  <a:lnTo>
                    <a:pt x="68" y="104"/>
                  </a:lnTo>
                  <a:lnTo>
                    <a:pt x="68" y="106"/>
                  </a:lnTo>
                  <a:lnTo>
                    <a:pt x="63" y="106"/>
                  </a:lnTo>
                  <a:lnTo>
                    <a:pt x="59" y="106"/>
                  </a:lnTo>
                  <a:lnTo>
                    <a:pt x="56" y="111"/>
                  </a:lnTo>
                  <a:lnTo>
                    <a:pt x="54" y="114"/>
                  </a:lnTo>
                  <a:lnTo>
                    <a:pt x="49" y="114"/>
                  </a:lnTo>
                  <a:lnTo>
                    <a:pt x="47" y="109"/>
                  </a:lnTo>
                  <a:lnTo>
                    <a:pt x="47" y="104"/>
                  </a:lnTo>
                  <a:lnTo>
                    <a:pt x="47" y="102"/>
                  </a:lnTo>
                  <a:lnTo>
                    <a:pt x="47" y="99"/>
                  </a:lnTo>
                  <a:lnTo>
                    <a:pt x="42" y="97"/>
                  </a:lnTo>
                  <a:lnTo>
                    <a:pt x="37" y="92"/>
                  </a:lnTo>
                  <a:lnTo>
                    <a:pt x="37" y="88"/>
                  </a:lnTo>
                  <a:lnTo>
                    <a:pt x="40" y="83"/>
                  </a:lnTo>
                  <a:lnTo>
                    <a:pt x="40" y="80"/>
                  </a:lnTo>
                  <a:lnTo>
                    <a:pt x="37" y="76"/>
                  </a:lnTo>
                  <a:lnTo>
                    <a:pt x="37" y="76"/>
                  </a:lnTo>
                  <a:lnTo>
                    <a:pt x="33" y="73"/>
                  </a:lnTo>
                  <a:lnTo>
                    <a:pt x="30" y="76"/>
                  </a:lnTo>
                  <a:lnTo>
                    <a:pt x="26" y="80"/>
                  </a:lnTo>
                  <a:lnTo>
                    <a:pt x="26" y="83"/>
                  </a:lnTo>
                  <a:lnTo>
                    <a:pt x="28" y="88"/>
                  </a:lnTo>
                  <a:lnTo>
                    <a:pt x="28" y="92"/>
                  </a:lnTo>
                  <a:lnTo>
                    <a:pt x="26" y="109"/>
                  </a:lnTo>
                  <a:lnTo>
                    <a:pt x="28" y="111"/>
                  </a:lnTo>
                  <a:lnTo>
                    <a:pt x="26" y="116"/>
                  </a:lnTo>
                  <a:lnTo>
                    <a:pt x="26" y="121"/>
                  </a:lnTo>
                  <a:lnTo>
                    <a:pt x="28" y="125"/>
                  </a:lnTo>
                  <a:lnTo>
                    <a:pt x="26" y="125"/>
                  </a:lnTo>
                  <a:lnTo>
                    <a:pt x="21" y="125"/>
                  </a:lnTo>
                  <a:lnTo>
                    <a:pt x="19" y="128"/>
                  </a:lnTo>
                  <a:lnTo>
                    <a:pt x="14" y="128"/>
                  </a:lnTo>
                  <a:lnTo>
                    <a:pt x="11" y="125"/>
                  </a:lnTo>
                  <a:lnTo>
                    <a:pt x="9" y="121"/>
                  </a:lnTo>
                  <a:lnTo>
                    <a:pt x="11" y="114"/>
                  </a:lnTo>
                  <a:lnTo>
                    <a:pt x="11" y="111"/>
                  </a:lnTo>
                  <a:lnTo>
                    <a:pt x="14" y="99"/>
                  </a:lnTo>
                  <a:lnTo>
                    <a:pt x="14" y="97"/>
                  </a:lnTo>
                  <a:lnTo>
                    <a:pt x="11" y="90"/>
                  </a:lnTo>
                  <a:lnTo>
                    <a:pt x="7" y="90"/>
                  </a:lnTo>
                  <a:lnTo>
                    <a:pt x="4" y="90"/>
                  </a:lnTo>
                  <a:lnTo>
                    <a:pt x="2" y="85"/>
                  </a:lnTo>
                  <a:lnTo>
                    <a:pt x="0" y="80"/>
                  </a:lnTo>
                  <a:lnTo>
                    <a:pt x="0" y="76"/>
                  </a:lnTo>
                  <a:lnTo>
                    <a:pt x="4" y="71"/>
                  </a:lnTo>
                  <a:lnTo>
                    <a:pt x="7" y="66"/>
                  </a:lnTo>
                  <a:lnTo>
                    <a:pt x="9" y="62"/>
                  </a:lnTo>
                  <a:lnTo>
                    <a:pt x="9" y="52"/>
                  </a:lnTo>
                  <a:lnTo>
                    <a:pt x="11" y="45"/>
                  </a:lnTo>
                  <a:lnTo>
                    <a:pt x="14" y="43"/>
                  </a:lnTo>
                  <a:lnTo>
                    <a:pt x="16" y="40"/>
                  </a:lnTo>
                  <a:lnTo>
                    <a:pt x="16" y="43"/>
                  </a:lnTo>
                  <a:lnTo>
                    <a:pt x="19" y="38"/>
                  </a:lnTo>
                  <a:lnTo>
                    <a:pt x="16" y="31"/>
                  </a:lnTo>
                  <a:lnTo>
                    <a:pt x="14" y="29"/>
                  </a:lnTo>
                  <a:lnTo>
                    <a:pt x="16" y="31"/>
                  </a:lnTo>
                  <a:lnTo>
                    <a:pt x="19" y="26"/>
                  </a:lnTo>
                  <a:lnTo>
                    <a:pt x="19" y="24"/>
                  </a:lnTo>
                  <a:lnTo>
                    <a:pt x="19" y="21"/>
                  </a:lnTo>
                  <a:lnTo>
                    <a:pt x="21" y="17"/>
                  </a:lnTo>
                  <a:lnTo>
                    <a:pt x="23" y="14"/>
                  </a:lnTo>
                  <a:lnTo>
                    <a:pt x="26" y="14"/>
                  </a:lnTo>
                  <a:lnTo>
                    <a:pt x="28" y="14"/>
                  </a:lnTo>
                  <a:lnTo>
                    <a:pt x="30" y="14"/>
                  </a:lnTo>
                  <a:lnTo>
                    <a:pt x="33" y="12"/>
                  </a:lnTo>
                  <a:lnTo>
                    <a:pt x="33" y="7"/>
                  </a:lnTo>
                  <a:lnTo>
                    <a:pt x="35" y="7"/>
                  </a:lnTo>
                  <a:lnTo>
                    <a:pt x="40"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8" name="Freeform 1197">
              <a:extLst>
                <a:ext uri="{FF2B5EF4-FFF2-40B4-BE49-F238E27FC236}">
                  <a16:creationId xmlns:a16="http://schemas.microsoft.com/office/drawing/2014/main" id="{A6653AB3-CBD6-4222-9553-3127B3692E48}"/>
                </a:ext>
              </a:extLst>
            </p:cNvPr>
            <p:cNvSpPr>
              <a:spLocks/>
            </p:cNvSpPr>
            <p:nvPr/>
          </p:nvSpPr>
          <p:spPr bwMode="auto">
            <a:xfrm>
              <a:off x="7309560" y="4604277"/>
              <a:ext cx="183642" cy="211768"/>
            </a:xfrm>
            <a:custGeom>
              <a:avLst/>
              <a:gdLst>
                <a:gd name="T0" fmla="*/ 44 w 111"/>
                <a:gd name="T1" fmla="*/ 7 h 128"/>
                <a:gd name="T2" fmla="*/ 52 w 111"/>
                <a:gd name="T3" fmla="*/ 10 h 128"/>
                <a:gd name="T4" fmla="*/ 59 w 111"/>
                <a:gd name="T5" fmla="*/ 10 h 128"/>
                <a:gd name="T6" fmla="*/ 66 w 111"/>
                <a:gd name="T7" fmla="*/ 12 h 128"/>
                <a:gd name="T8" fmla="*/ 73 w 111"/>
                <a:gd name="T9" fmla="*/ 12 h 128"/>
                <a:gd name="T10" fmla="*/ 92 w 111"/>
                <a:gd name="T11" fmla="*/ 12 h 128"/>
                <a:gd name="T12" fmla="*/ 104 w 111"/>
                <a:gd name="T13" fmla="*/ 0 h 128"/>
                <a:gd name="T14" fmla="*/ 111 w 111"/>
                <a:gd name="T15" fmla="*/ 0 h 128"/>
                <a:gd name="T16" fmla="*/ 108 w 111"/>
                <a:gd name="T17" fmla="*/ 7 h 128"/>
                <a:gd name="T18" fmla="*/ 96 w 111"/>
                <a:gd name="T19" fmla="*/ 21 h 128"/>
                <a:gd name="T20" fmla="*/ 85 w 111"/>
                <a:gd name="T21" fmla="*/ 24 h 128"/>
                <a:gd name="T22" fmla="*/ 70 w 111"/>
                <a:gd name="T23" fmla="*/ 21 h 128"/>
                <a:gd name="T24" fmla="*/ 54 w 111"/>
                <a:gd name="T25" fmla="*/ 21 h 128"/>
                <a:gd name="T26" fmla="*/ 47 w 111"/>
                <a:gd name="T27" fmla="*/ 21 h 128"/>
                <a:gd name="T28" fmla="*/ 40 w 111"/>
                <a:gd name="T29" fmla="*/ 21 h 128"/>
                <a:gd name="T30" fmla="*/ 28 w 111"/>
                <a:gd name="T31" fmla="*/ 21 h 128"/>
                <a:gd name="T32" fmla="*/ 21 w 111"/>
                <a:gd name="T33" fmla="*/ 33 h 128"/>
                <a:gd name="T34" fmla="*/ 28 w 111"/>
                <a:gd name="T35" fmla="*/ 45 h 128"/>
                <a:gd name="T36" fmla="*/ 40 w 111"/>
                <a:gd name="T37" fmla="*/ 50 h 128"/>
                <a:gd name="T38" fmla="*/ 49 w 111"/>
                <a:gd name="T39" fmla="*/ 45 h 128"/>
                <a:gd name="T40" fmla="*/ 56 w 111"/>
                <a:gd name="T41" fmla="*/ 45 h 128"/>
                <a:gd name="T42" fmla="*/ 68 w 111"/>
                <a:gd name="T43" fmla="*/ 43 h 128"/>
                <a:gd name="T44" fmla="*/ 78 w 111"/>
                <a:gd name="T45" fmla="*/ 38 h 128"/>
                <a:gd name="T46" fmla="*/ 78 w 111"/>
                <a:gd name="T47" fmla="*/ 47 h 128"/>
                <a:gd name="T48" fmla="*/ 63 w 111"/>
                <a:gd name="T49" fmla="*/ 55 h 128"/>
                <a:gd name="T50" fmla="*/ 54 w 111"/>
                <a:gd name="T51" fmla="*/ 59 h 128"/>
                <a:gd name="T52" fmla="*/ 44 w 111"/>
                <a:gd name="T53" fmla="*/ 59 h 128"/>
                <a:gd name="T54" fmla="*/ 59 w 111"/>
                <a:gd name="T55" fmla="*/ 78 h 128"/>
                <a:gd name="T56" fmla="*/ 63 w 111"/>
                <a:gd name="T57" fmla="*/ 85 h 128"/>
                <a:gd name="T58" fmla="*/ 59 w 111"/>
                <a:gd name="T59" fmla="*/ 90 h 128"/>
                <a:gd name="T60" fmla="*/ 66 w 111"/>
                <a:gd name="T61" fmla="*/ 97 h 128"/>
                <a:gd name="T62" fmla="*/ 68 w 111"/>
                <a:gd name="T63" fmla="*/ 99 h 128"/>
                <a:gd name="T64" fmla="*/ 68 w 111"/>
                <a:gd name="T65" fmla="*/ 106 h 128"/>
                <a:gd name="T66" fmla="*/ 56 w 111"/>
                <a:gd name="T67" fmla="*/ 111 h 128"/>
                <a:gd name="T68" fmla="*/ 47 w 111"/>
                <a:gd name="T69" fmla="*/ 109 h 128"/>
                <a:gd name="T70" fmla="*/ 47 w 111"/>
                <a:gd name="T71" fmla="*/ 99 h 128"/>
                <a:gd name="T72" fmla="*/ 37 w 111"/>
                <a:gd name="T73" fmla="*/ 88 h 128"/>
                <a:gd name="T74" fmla="*/ 37 w 111"/>
                <a:gd name="T75" fmla="*/ 76 h 128"/>
                <a:gd name="T76" fmla="*/ 30 w 111"/>
                <a:gd name="T77" fmla="*/ 76 h 128"/>
                <a:gd name="T78" fmla="*/ 28 w 111"/>
                <a:gd name="T79" fmla="*/ 88 h 128"/>
                <a:gd name="T80" fmla="*/ 28 w 111"/>
                <a:gd name="T81" fmla="*/ 111 h 128"/>
                <a:gd name="T82" fmla="*/ 28 w 111"/>
                <a:gd name="T83" fmla="*/ 125 h 128"/>
                <a:gd name="T84" fmla="*/ 19 w 111"/>
                <a:gd name="T85" fmla="*/ 128 h 128"/>
                <a:gd name="T86" fmla="*/ 9 w 111"/>
                <a:gd name="T87" fmla="*/ 121 h 128"/>
                <a:gd name="T88" fmla="*/ 14 w 111"/>
                <a:gd name="T89" fmla="*/ 99 h 128"/>
                <a:gd name="T90" fmla="*/ 7 w 111"/>
                <a:gd name="T91" fmla="*/ 90 h 128"/>
                <a:gd name="T92" fmla="*/ 0 w 111"/>
                <a:gd name="T93" fmla="*/ 80 h 128"/>
                <a:gd name="T94" fmla="*/ 7 w 111"/>
                <a:gd name="T95" fmla="*/ 66 h 128"/>
                <a:gd name="T96" fmla="*/ 11 w 111"/>
                <a:gd name="T97" fmla="*/ 45 h 128"/>
                <a:gd name="T98" fmla="*/ 16 w 111"/>
                <a:gd name="T99" fmla="*/ 43 h 128"/>
                <a:gd name="T100" fmla="*/ 14 w 111"/>
                <a:gd name="T101" fmla="*/ 29 h 128"/>
                <a:gd name="T102" fmla="*/ 19 w 111"/>
                <a:gd name="T103" fmla="*/ 24 h 128"/>
                <a:gd name="T104" fmla="*/ 23 w 111"/>
                <a:gd name="T105" fmla="*/ 14 h 128"/>
                <a:gd name="T106" fmla="*/ 30 w 111"/>
                <a:gd name="T107" fmla="*/ 14 h 128"/>
                <a:gd name="T108" fmla="*/ 35 w 111"/>
                <a:gd name="T109" fmla="*/ 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 h="128">
                  <a:moveTo>
                    <a:pt x="40" y="5"/>
                  </a:moveTo>
                  <a:lnTo>
                    <a:pt x="44" y="7"/>
                  </a:lnTo>
                  <a:lnTo>
                    <a:pt x="44" y="7"/>
                  </a:lnTo>
                  <a:lnTo>
                    <a:pt x="47" y="10"/>
                  </a:lnTo>
                  <a:lnTo>
                    <a:pt x="49" y="10"/>
                  </a:lnTo>
                  <a:lnTo>
                    <a:pt x="52" y="10"/>
                  </a:lnTo>
                  <a:lnTo>
                    <a:pt x="54" y="10"/>
                  </a:lnTo>
                  <a:lnTo>
                    <a:pt x="56" y="10"/>
                  </a:lnTo>
                  <a:lnTo>
                    <a:pt x="59" y="10"/>
                  </a:lnTo>
                  <a:lnTo>
                    <a:pt x="61" y="10"/>
                  </a:lnTo>
                  <a:lnTo>
                    <a:pt x="63" y="12"/>
                  </a:lnTo>
                  <a:lnTo>
                    <a:pt x="66" y="12"/>
                  </a:lnTo>
                  <a:lnTo>
                    <a:pt x="68" y="14"/>
                  </a:lnTo>
                  <a:lnTo>
                    <a:pt x="70" y="14"/>
                  </a:lnTo>
                  <a:lnTo>
                    <a:pt x="73" y="12"/>
                  </a:lnTo>
                  <a:lnTo>
                    <a:pt x="75" y="12"/>
                  </a:lnTo>
                  <a:lnTo>
                    <a:pt x="87" y="14"/>
                  </a:lnTo>
                  <a:lnTo>
                    <a:pt x="92" y="12"/>
                  </a:lnTo>
                  <a:lnTo>
                    <a:pt x="99" y="5"/>
                  </a:lnTo>
                  <a:lnTo>
                    <a:pt x="101" y="5"/>
                  </a:lnTo>
                  <a:lnTo>
                    <a:pt x="104" y="0"/>
                  </a:lnTo>
                  <a:lnTo>
                    <a:pt x="106" y="0"/>
                  </a:lnTo>
                  <a:lnTo>
                    <a:pt x="108" y="0"/>
                  </a:lnTo>
                  <a:lnTo>
                    <a:pt x="111" y="0"/>
                  </a:lnTo>
                  <a:lnTo>
                    <a:pt x="111" y="3"/>
                  </a:lnTo>
                  <a:lnTo>
                    <a:pt x="111" y="5"/>
                  </a:lnTo>
                  <a:lnTo>
                    <a:pt x="108" y="7"/>
                  </a:lnTo>
                  <a:lnTo>
                    <a:pt x="104" y="14"/>
                  </a:lnTo>
                  <a:lnTo>
                    <a:pt x="101" y="19"/>
                  </a:lnTo>
                  <a:lnTo>
                    <a:pt x="96" y="21"/>
                  </a:lnTo>
                  <a:lnTo>
                    <a:pt x="94" y="24"/>
                  </a:lnTo>
                  <a:lnTo>
                    <a:pt x="89" y="24"/>
                  </a:lnTo>
                  <a:lnTo>
                    <a:pt x="85" y="24"/>
                  </a:lnTo>
                  <a:lnTo>
                    <a:pt x="78" y="24"/>
                  </a:lnTo>
                  <a:lnTo>
                    <a:pt x="75" y="21"/>
                  </a:lnTo>
                  <a:lnTo>
                    <a:pt x="70" y="21"/>
                  </a:lnTo>
                  <a:lnTo>
                    <a:pt x="63" y="19"/>
                  </a:lnTo>
                  <a:lnTo>
                    <a:pt x="56" y="21"/>
                  </a:lnTo>
                  <a:lnTo>
                    <a:pt x="54" y="21"/>
                  </a:lnTo>
                  <a:lnTo>
                    <a:pt x="49" y="21"/>
                  </a:lnTo>
                  <a:lnTo>
                    <a:pt x="47" y="19"/>
                  </a:lnTo>
                  <a:lnTo>
                    <a:pt x="47" y="21"/>
                  </a:lnTo>
                  <a:lnTo>
                    <a:pt x="42" y="19"/>
                  </a:lnTo>
                  <a:lnTo>
                    <a:pt x="42" y="19"/>
                  </a:lnTo>
                  <a:lnTo>
                    <a:pt x="40" y="21"/>
                  </a:lnTo>
                  <a:lnTo>
                    <a:pt x="35" y="21"/>
                  </a:lnTo>
                  <a:lnTo>
                    <a:pt x="30" y="21"/>
                  </a:lnTo>
                  <a:lnTo>
                    <a:pt x="28" y="21"/>
                  </a:lnTo>
                  <a:lnTo>
                    <a:pt x="26" y="24"/>
                  </a:lnTo>
                  <a:lnTo>
                    <a:pt x="23" y="29"/>
                  </a:lnTo>
                  <a:lnTo>
                    <a:pt x="21" y="33"/>
                  </a:lnTo>
                  <a:lnTo>
                    <a:pt x="21" y="43"/>
                  </a:lnTo>
                  <a:lnTo>
                    <a:pt x="23" y="45"/>
                  </a:lnTo>
                  <a:lnTo>
                    <a:pt x="28" y="45"/>
                  </a:lnTo>
                  <a:lnTo>
                    <a:pt x="33" y="52"/>
                  </a:lnTo>
                  <a:lnTo>
                    <a:pt x="40" y="52"/>
                  </a:lnTo>
                  <a:lnTo>
                    <a:pt x="40" y="50"/>
                  </a:lnTo>
                  <a:lnTo>
                    <a:pt x="42" y="47"/>
                  </a:lnTo>
                  <a:lnTo>
                    <a:pt x="44" y="45"/>
                  </a:lnTo>
                  <a:lnTo>
                    <a:pt x="49" y="45"/>
                  </a:lnTo>
                  <a:lnTo>
                    <a:pt x="52" y="45"/>
                  </a:lnTo>
                  <a:lnTo>
                    <a:pt x="52" y="45"/>
                  </a:lnTo>
                  <a:lnTo>
                    <a:pt x="56" y="45"/>
                  </a:lnTo>
                  <a:lnTo>
                    <a:pt x="56" y="43"/>
                  </a:lnTo>
                  <a:lnTo>
                    <a:pt x="61" y="43"/>
                  </a:lnTo>
                  <a:lnTo>
                    <a:pt x="68" y="43"/>
                  </a:lnTo>
                  <a:lnTo>
                    <a:pt x="70" y="40"/>
                  </a:lnTo>
                  <a:lnTo>
                    <a:pt x="75" y="38"/>
                  </a:lnTo>
                  <a:lnTo>
                    <a:pt x="78" y="38"/>
                  </a:lnTo>
                  <a:lnTo>
                    <a:pt x="80" y="40"/>
                  </a:lnTo>
                  <a:lnTo>
                    <a:pt x="80" y="45"/>
                  </a:lnTo>
                  <a:lnTo>
                    <a:pt x="78" y="47"/>
                  </a:lnTo>
                  <a:lnTo>
                    <a:pt x="73" y="45"/>
                  </a:lnTo>
                  <a:lnTo>
                    <a:pt x="70" y="45"/>
                  </a:lnTo>
                  <a:lnTo>
                    <a:pt x="63" y="55"/>
                  </a:lnTo>
                  <a:lnTo>
                    <a:pt x="61" y="57"/>
                  </a:lnTo>
                  <a:lnTo>
                    <a:pt x="56" y="59"/>
                  </a:lnTo>
                  <a:lnTo>
                    <a:pt x="54" y="59"/>
                  </a:lnTo>
                  <a:lnTo>
                    <a:pt x="49" y="62"/>
                  </a:lnTo>
                  <a:lnTo>
                    <a:pt x="47" y="62"/>
                  </a:lnTo>
                  <a:lnTo>
                    <a:pt x="44" y="59"/>
                  </a:lnTo>
                  <a:lnTo>
                    <a:pt x="44" y="64"/>
                  </a:lnTo>
                  <a:lnTo>
                    <a:pt x="49" y="66"/>
                  </a:lnTo>
                  <a:lnTo>
                    <a:pt x="59" y="78"/>
                  </a:lnTo>
                  <a:lnTo>
                    <a:pt x="59" y="78"/>
                  </a:lnTo>
                  <a:lnTo>
                    <a:pt x="61" y="83"/>
                  </a:lnTo>
                  <a:lnTo>
                    <a:pt x="63" y="85"/>
                  </a:lnTo>
                  <a:lnTo>
                    <a:pt x="61" y="88"/>
                  </a:lnTo>
                  <a:lnTo>
                    <a:pt x="59" y="88"/>
                  </a:lnTo>
                  <a:lnTo>
                    <a:pt x="59" y="90"/>
                  </a:lnTo>
                  <a:lnTo>
                    <a:pt x="59" y="92"/>
                  </a:lnTo>
                  <a:lnTo>
                    <a:pt x="63" y="95"/>
                  </a:lnTo>
                  <a:lnTo>
                    <a:pt x="66" y="97"/>
                  </a:lnTo>
                  <a:lnTo>
                    <a:pt x="66" y="99"/>
                  </a:lnTo>
                  <a:lnTo>
                    <a:pt x="66" y="102"/>
                  </a:lnTo>
                  <a:lnTo>
                    <a:pt x="68" y="99"/>
                  </a:lnTo>
                  <a:lnTo>
                    <a:pt x="70" y="104"/>
                  </a:lnTo>
                  <a:lnTo>
                    <a:pt x="68" y="104"/>
                  </a:lnTo>
                  <a:lnTo>
                    <a:pt x="68" y="106"/>
                  </a:lnTo>
                  <a:lnTo>
                    <a:pt x="63" y="106"/>
                  </a:lnTo>
                  <a:lnTo>
                    <a:pt x="59" y="106"/>
                  </a:lnTo>
                  <a:lnTo>
                    <a:pt x="56" y="111"/>
                  </a:lnTo>
                  <a:lnTo>
                    <a:pt x="54" y="114"/>
                  </a:lnTo>
                  <a:lnTo>
                    <a:pt x="49" y="114"/>
                  </a:lnTo>
                  <a:lnTo>
                    <a:pt x="47" y="109"/>
                  </a:lnTo>
                  <a:lnTo>
                    <a:pt x="47" y="104"/>
                  </a:lnTo>
                  <a:lnTo>
                    <a:pt x="47" y="102"/>
                  </a:lnTo>
                  <a:lnTo>
                    <a:pt x="47" y="99"/>
                  </a:lnTo>
                  <a:lnTo>
                    <a:pt x="42" y="97"/>
                  </a:lnTo>
                  <a:lnTo>
                    <a:pt x="37" y="92"/>
                  </a:lnTo>
                  <a:lnTo>
                    <a:pt x="37" y="88"/>
                  </a:lnTo>
                  <a:lnTo>
                    <a:pt x="40" y="83"/>
                  </a:lnTo>
                  <a:lnTo>
                    <a:pt x="40" y="80"/>
                  </a:lnTo>
                  <a:lnTo>
                    <a:pt x="37" y="76"/>
                  </a:lnTo>
                  <a:lnTo>
                    <a:pt x="37" y="76"/>
                  </a:lnTo>
                  <a:lnTo>
                    <a:pt x="33" y="73"/>
                  </a:lnTo>
                  <a:lnTo>
                    <a:pt x="30" y="76"/>
                  </a:lnTo>
                  <a:lnTo>
                    <a:pt x="26" y="80"/>
                  </a:lnTo>
                  <a:lnTo>
                    <a:pt x="26" y="83"/>
                  </a:lnTo>
                  <a:lnTo>
                    <a:pt x="28" y="88"/>
                  </a:lnTo>
                  <a:lnTo>
                    <a:pt x="28" y="92"/>
                  </a:lnTo>
                  <a:lnTo>
                    <a:pt x="26" y="109"/>
                  </a:lnTo>
                  <a:lnTo>
                    <a:pt x="28" y="111"/>
                  </a:lnTo>
                  <a:lnTo>
                    <a:pt x="26" y="116"/>
                  </a:lnTo>
                  <a:lnTo>
                    <a:pt x="26" y="121"/>
                  </a:lnTo>
                  <a:lnTo>
                    <a:pt x="28" y="125"/>
                  </a:lnTo>
                  <a:lnTo>
                    <a:pt x="26" y="125"/>
                  </a:lnTo>
                  <a:lnTo>
                    <a:pt x="21" y="125"/>
                  </a:lnTo>
                  <a:lnTo>
                    <a:pt x="19" y="128"/>
                  </a:lnTo>
                  <a:lnTo>
                    <a:pt x="14" y="128"/>
                  </a:lnTo>
                  <a:lnTo>
                    <a:pt x="11" y="125"/>
                  </a:lnTo>
                  <a:lnTo>
                    <a:pt x="9" y="121"/>
                  </a:lnTo>
                  <a:lnTo>
                    <a:pt x="11" y="114"/>
                  </a:lnTo>
                  <a:lnTo>
                    <a:pt x="11" y="111"/>
                  </a:lnTo>
                  <a:lnTo>
                    <a:pt x="14" y="99"/>
                  </a:lnTo>
                  <a:lnTo>
                    <a:pt x="14" y="97"/>
                  </a:lnTo>
                  <a:lnTo>
                    <a:pt x="11" y="90"/>
                  </a:lnTo>
                  <a:lnTo>
                    <a:pt x="7" y="90"/>
                  </a:lnTo>
                  <a:lnTo>
                    <a:pt x="4" y="90"/>
                  </a:lnTo>
                  <a:lnTo>
                    <a:pt x="2" y="85"/>
                  </a:lnTo>
                  <a:lnTo>
                    <a:pt x="0" y="80"/>
                  </a:lnTo>
                  <a:lnTo>
                    <a:pt x="0" y="76"/>
                  </a:lnTo>
                  <a:lnTo>
                    <a:pt x="4" y="71"/>
                  </a:lnTo>
                  <a:lnTo>
                    <a:pt x="7" y="66"/>
                  </a:lnTo>
                  <a:lnTo>
                    <a:pt x="9" y="62"/>
                  </a:lnTo>
                  <a:lnTo>
                    <a:pt x="9" y="52"/>
                  </a:lnTo>
                  <a:lnTo>
                    <a:pt x="11" y="45"/>
                  </a:lnTo>
                  <a:lnTo>
                    <a:pt x="14" y="43"/>
                  </a:lnTo>
                  <a:lnTo>
                    <a:pt x="16" y="40"/>
                  </a:lnTo>
                  <a:lnTo>
                    <a:pt x="16" y="43"/>
                  </a:lnTo>
                  <a:lnTo>
                    <a:pt x="19" y="38"/>
                  </a:lnTo>
                  <a:lnTo>
                    <a:pt x="16" y="31"/>
                  </a:lnTo>
                  <a:lnTo>
                    <a:pt x="14" y="29"/>
                  </a:lnTo>
                  <a:lnTo>
                    <a:pt x="16" y="31"/>
                  </a:lnTo>
                  <a:lnTo>
                    <a:pt x="19" y="26"/>
                  </a:lnTo>
                  <a:lnTo>
                    <a:pt x="19" y="24"/>
                  </a:lnTo>
                  <a:lnTo>
                    <a:pt x="19" y="21"/>
                  </a:lnTo>
                  <a:lnTo>
                    <a:pt x="21" y="17"/>
                  </a:lnTo>
                  <a:lnTo>
                    <a:pt x="23" y="14"/>
                  </a:lnTo>
                  <a:lnTo>
                    <a:pt x="26" y="14"/>
                  </a:lnTo>
                  <a:lnTo>
                    <a:pt x="28" y="14"/>
                  </a:lnTo>
                  <a:lnTo>
                    <a:pt x="30" y="14"/>
                  </a:lnTo>
                  <a:lnTo>
                    <a:pt x="33" y="12"/>
                  </a:lnTo>
                  <a:lnTo>
                    <a:pt x="33" y="7"/>
                  </a:lnTo>
                  <a:lnTo>
                    <a:pt x="35" y="7"/>
                  </a:lnTo>
                  <a:lnTo>
                    <a:pt x="40"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19" name="Freeform 1198">
              <a:extLst>
                <a:ext uri="{FF2B5EF4-FFF2-40B4-BE49-F238E27FC236}">
                  <a16:creationId xmlns:a16="http://schemas.microsoft.com/office/drawing/2014/main" id="{16D1EFC5-0B16-4E69-9B54-0744057DAA69}"/>
                </a:ext>
              </a:extLst>
            </p:cNvPr>
            <p:cNvSpPr>
              <a:spLocks/>
            </p:cNvSpPr>
            <p:nvPr/>
          </p:nvSpPr>
          <p:spPr bwMode="auto">
            <a:xfrm>
              <a:off x="7395590" y="4799500"/>
              <a:ext cx="6618" cy="8273"/>
            </a:xfrm>
            <a:custGeom>
              <a:avLst/>
              <a:gdLst>
                <a:gd name="T0" fmla="*/ 0 w 4"/>
                <a:gd name="T1" fmla="*/ 0 h 5"/>
                <a:gd name="T2" fmla="*/ 0 w 4"/>
                <a:gd name="T3" fmla="*/ 0 h 5"/>
                <a:gd name="T4" fmla="*/ 2 w 4"/>
                <a:gd name="T5" fmla="*/ 0 h 5"/>
                <a:gd name="T6" fmla="*/ 2 w 4"/>
                <a:gd name="T7" fmla="*/ 0 h 5"/>
                <a:gd name="T8" fmla="*/ 4 w 4"/>
                <a:gd name="T9" fmla="*/ 3 h 5"/>
                <a:gd name="T10" fmla="*/ 4 w 4"/>
                <a:gd name="T11" fmla="*/ 5 h 5"/>
                <a:gd name="T12" fmla="*/ 2 w 4"/>
                <a:gd name="T13" fmla="*/ 5 h 5"/>
                <a:gd name="T14" fmla="*/ 0 w 4"/>
                <a:gd name="T15" fmla="*/ 3 h 5"/>
                <a:gd name="T16" fmla="*/ 0 w 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0"/>
                  </a:moveTo>
                  <a:lnTo>
                    <a:pt x="0" y="0"/>
                  </a:lnTo>
                  <a:lnTo>
                    <a:pt x="2" y="0"/>
                  </a:lnTo>
                  <a:lnTo>
                    <a:pt x="2" y="0"/>
                  </a:lnTo>
                  <a:lnTo>
                    <a:pt x="4" y="3"/>
                  </a:lnTo>
                  <a:lnTo>
                    <a:pt x="4" y="5"/>
                  </a:lnTo>
                  <a:lnTo>
                    <a:pt x="2" y="5"/>
                  </a:lnTo>
                  <a:lnTo>
                    <a:pt x="0" y="3"/>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0" name="Freeform 1199">
              <a:extLst>
                <a:ext uri="{FF2B5EF4-FFF2-40B4-BE49-F238E27FC236}">
                  <a16:creationId xmlns:a16="http://schemas.microsoft.com/office/drawing/2014/main" id="{D6324AA5-8659-45CB-BB82-3B8B16F1C233}"/>
                </a:ext>
              </a:extLst>
            </p:cNvPr>
            <p:cNvSpPr>
              <a:spLocks/>
            </p:cNvSpPr>
            <p:nvPr/>
          </p:nvSpPr>
          <p:spPr bwMode="auto">
            <a:xfrm>
              <a:off x="7395590" y="4799500"/>
              <a:ext cx="6618" cy="8273"/>
            </a:xfrm>
            <a:custGeom>
              <a:avLst/>
              <a:gdLst>
                <a:gd name="T0" fmla="*/ 0 w 4"/>
                <a:gd name="T1" fmla="*/ 0 h 5"/>
                <a:gd name="T2" fmla="*/ 0 w 4"/>
                <a:gd name="T3" fmla="*/ 0 h 5"/>
                <a:gd name="T4" fmla="*/ 2 w 4"/>
                <a:gd name="T5" fmla="*/ 0 h 5"/>
                <a:gd name="T6" fmla="*/ 2 w 4"/>
                <a:gd name="T7" fmla="*/ 0 h 5"/>
                <a:gd name="T8" fmla="*/ 4 w 4"/>
                <a:gd name="T9" fmla="*/ 3 h 5"/>
                <a:gd name="T10" fmla="*/ 4 w 4"/>
                <a:gd name="T11" fmla="*/ 5 h 5"/>
                <a:gd name="T12" fmla="*/ 2 w 4"/>
                <a:gd name="T13" fmla="*/ 5 h 5"/>
                <a:gd name="T14" fmla="*/ 0 w 4"/>
                <a:gd name="T15" fmla="*/ 3 h 5"/>
                <a:gd name="T16" fmla="*/ 0 w 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0"/>
                  </a:moveTo>
                  <a:lnTo>
                    <a:pt x="0" y="0"/>
                  </a:lnTo>
                  <a:lnTo>
                    <a:pt x="2" y="0"/>
                  </a:lnTo>
                  <a:lnTo>
                    <a:pt x="2" y="0"/>
                  </a:lnTo>
                  <a:lnTo>
                    <a:pt x="4" y="3"/>
                  </a:lnTo>
                  <a:lnTo>
                    <a:pt x="4" y="5"/>
                  </a:lnTo>
                  <a:lnTo>
                    <a:pt x="2" y="5"/>
                  </a:lnTo>
                  <a:lnTo>
                    <a:pt x="0" y="3"/>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1" name="Freeform 1200">
              <a:extLst>
                <a:ext uri="{FF2B5EF4-FFF2-40B4-BE49-F238E27FC236}">
                  <a16:creationId xmlns:a16="http://schemas.microsoft.com/office/drawing/2014/main" id="{7D800E9A-071F-4D28-A24B-60293E1748BE}"/>
                </a:ext>
              </a:extLst>
            </p:cNvPr>
            <p:cNvSpPr>
              <a:spLocks/>
            </p:cNvSpPr>
            <p:nvPr/>
          </p:nvSpPr>
          <p:spPr bwMode="auto">
            <a:xfrm>
              <a:off x="7410480" y="4784609"/>
              <a:ext cx="11582" cy="23161"/>
            </a:xfrm>
            <a:custGeom>
              <a:avLst/>
              <a:gdLst>
                <a:gd name="T0" fmla="*/ 0 w 7"/>
                <a:gd name="T1" fmla="*/ 2 h 14"/>
                <a:gd name="T2" fmla="*/ 2 w 7"/>
                <a:gd name="T3" fmla="*/ 2 h 14"/>
                <a:gd name="T4" fmla="*/ 5 w 7"/>
                <a:gd name="T5" fmla="*/ 0 h 14"/>
                <a:gd name="T6" fmla="*/ 5 w 7"/>
                <a:gd name="T7" fmla="*/ 0 h 14"/>
                <a:gd name="T8" fmla="*/ 7 w 7"/>
                <a:gd name="T9" fmla="*/ 7 h 14"/>
                <a:gd name="T10" fmla="*/ 5 w 7"/>
                <a:gd name="T11" fmla="*/ 7 h 14"/>
                <a:gd name="T12" fmla="*/ 5 w 7"/>
                <a:gd name="T13" fmla="*/ 9 h 14"/>
                <a:gd name="T14" fmla="*/ 5 w 7"/>
                <a:gd name="T15" fmla="*/ 14 h 14"/>
                <a:gd name="T16" fmla="*/ 2 w 7"/>
                <a:gd name="T17" fmla="*/ 12 h 14"/>
                <a:gd name="T18" fmla="*/ 2 w 7"/>
                <a:gd name="T19" fmla="*/ 14 h 14"/>
                <a:gd name="T20" fmla="*/ 0 w 7"/>
                <a:gd name="T21" fmla="*/ 12 h 14"/>
                <a:gd name="T22" fmla="*/ 0 w 7"/>
                <a:gd name="T23" fmla="*/ 9 h 14"/>
                <a:gd name="T24" fmla="*/ 0 w 7"/>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4">
                  <a:moveTo>
                    <a:pt x="0" y="2"/>
                  </a:moveTo>
                  <a:lnTo>
                    <a:pt x="2" y="2"/>
                  </a:lnTo>
                  <a:lnTo>
                    <a:pt x="5" y="0"/>
                  </a:lnTo>
                  <a:lnTo>
                    <a:pt x="5" y="0"/>
                  </a:lnTo>
                  <a:lnTo>
                    <a:pt x="7" y="7"/>
                  </a:lnTo>
                  <a:lnTo>
                    <a:pt x="5" y="7"/>
                  </a:lnTo>
                  <a:lnTo>
                    <a:pt x="5" y="9"/>
                  </a:lnTo>
                  <a:lnTo>
                    <a:pt x="5" y="14"/>
                  </a:lnTo>
                  <a:lnTo>
                    <a:pt x="2" y="12"/>
                  </a:lnTo>
                  <a:lnTo>
                    <a:pt x="2" y="14"/>
                  </a:lnTo>
                  <a:lnTo>
                    <a:pt x="0" y="12"/>
                  </a:lnTo>
                  <a:lnTo>
                    <a:pt x="0" y="9"/>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2" name="Freeform 1201">
              <a:extLst>
                <a:ext uri="{FF2B5EF4-FFF2-40B4-BE49-F238E27FC236}">
                  <a16:creationId xmlns:a16="http://schemas.microsoft.com/office/drawing/2014/main" id="{25BFC789-2933-40E0-A16B-36AC2B3E2287}"/>
                </a:ext>
              </a:extLst>
            </p:cNvPr>
            <p:cNvSpPr>
              <a:spLocks/>
            </p:cNvSpPr>
            <p:nvPr/>
          </p:nvSpPr>
          <p:spPr bwMode="auto">
            <a:xfrm>
              <a:off x="7410480" y="4784609"/>
              <a:ext cx="11582" cy="23161"/>
            </a:xfrm>
            <a:custGeom>
              <a:avLst/>
              <a:gdLst>
                <a:gd name="T0" fmla="*/ 0 w 7"/>
                <a:gd name="T1" fmla="*/ 2 h 14"/>
                <a:gd name="T2" fmla="*/ 2 w 7"/>
                <a:gd name="T3" fmla="*/ 2 h 14"/>
                <a:gd name="T4" fmla="*/ 5 w 7"/>
                <a:gd name="T5" fmla="*/ 0 h 14"/>
                <a:gd name="T6" fmla="*/ 5 w 7"/>
                <a:gd name="T7" fmla="*/ 0 h 14"/>
                <a:gd name="T8" fmla="*/ 7 w 7"/>
                <a:gd name="T9" fmla="*/ 7 h 14"/>
                <a:gd name="T10" fmla="*/ 5 w 7"/>
                <a:gd name="T11" fmla="*/ 7 h 14"/>
                <a:gd name="T12" fmla="*/ 5 w 7"/>
                <a:gd name="T13" fmla="*/ 9 h 14"/>
                <a:gd name="T14" fmla="*/ 5 w 7"/>
                <a:gd name="T15" fmla="*/ 14 h 14"/>
                <a:gd name="T16" fmla="*/ 2 w 7"/>
                <a:gd name="T17" fmla="*/ 12 h 14"/>
                <a:gd name="T18" fmla="*/ 2 w 7"/>
                <a:gd name="T19" fmla="*/ 14 h 14"/>
                <a:gd name="T20" fmla="*/ 0 w 7"/>
                <a:gd name="T21" fmla="*/ 12 h 14"/>
                <a:gd name="T22" fmla="*/ 0 w 7"/>
                <a:gd name="T23" fmla="*/ 9 h 14"/>
                <a:gd name="T24" fmla="*/ 0 w 7"/>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4">
                  <a:moveTo>
                    <a:pt x="0" y="2"/>
                  </a:moveTo>
                  <a:lnTo>
                    <a:pt x="2" y="2"/>
                  </a:lnTo>
                  <a:lnTo>
                    <a:pt x="5" y="0"/>
                  </a:lnTo>
                  <a:lnTo>
                    <a:pt x="5" y="0"/>
                  </a:lnTo>
                  <a:lnTo>
                    <a:pt x="7" y="7"/>
                  </a:lnTo>
                  <a:lnTo>
                    <a:pt x="5" y="7"/>
                  </a:lnTo>
                  <a:lnTo>
                    <a:pt x="5" y="9"/>
                  </a:lnTo>
                  <a:lnTo>
                    <a:pt x="5" y="14"/>
                  </a:lnTo>
                  <a:lnTo>
                    <a:pt x="2" y="12"/>
                  </a:lnTo>
                  <a:lnTo>
                    <a:pt x="2" y="14"/>
                  </a:lnTo>
                  <a:lnTo>
                    <a:pt x="0" y="12"/>
                  </a:lnTo>
                  <a:lnTo>
                    <a:pt x="0" y="9"/>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3" name="Freeform 1202">
              <a:extLst>
                <a:ext uri="{FF2B5EF4-FFF2-40B4-BE49-F238E27FC236}">
                  <a16:creationId xmlns:a16="http://schemas.microsoft.com/office/drawing/2014/main" id="{4A780F0E-235D-42A6-B324-98A7F1DF3861}"/>
                </a:ext>
              </a:extLst>
            </p:cNvPr>
            <p:cNvSpPr>
              <a:spLocks/>
            </p:cNvSpPr>
            <p:nvPr/>
          </p:nvSpPr>
          <p:spPr bwMode="auto">
            <a:xfrm>
              <a:off x="7418752" y="4776338"/>
              <a:ext cx="14890" cy="39706"/>
            </a:xfrm>
            <a:custGeom>
              <a:avLst/>
              <a:gdLst>
                <a:gd name="T0" fmla="*/ 2 w 9"/>
                <a:gd name="T1" fmla="*/ 12 h 24"/>
                <a:gd name="T2" fmla="*/ 2 w 9"/>
                <a:gd name="T3" fmla="*/ 12 h 24"/>
                <a:gd name="T4" fmla="*/ 4 w 9"/>
                <a:gd name="T5" fmla="*/ 2 h 24"/>
                <a:gd name="T6" fmla="*/ 4 w 9"/>
                <a:gd name="T7" fmla="*/ 2 h 24"/>
                <a:gd name="T8" fmla="*/ 4 w 9"/>
                <a:gd name="T9" fmla="*/ 0 h 24"/>
                <a:gd name="T10" fmla="*/ 7 w 9"/>
                <a:gd name="T11" fmla="*/ 2 h 24"/>
                <a:gd name="T12" fmla="*/ 9 w 9"/>
                <a:gd name="T13" fmla="*/ 5 h 24"/>
                <a:gd name="T14" fmla="*/ 9 w 9"/>
                <a:gd name="T15" fmla="*/ 7 h 24"/>
                <a:gd name="T16" fmla="*/ 9 w 9"/>
                <a:gd name="T17" fmla="*/ 7 h 24"/>
                <a:gd name="T18" fmla="*/ 7 w 9"/>
                <a:gd name="T19" fmla="*/ 10 h 24"/>
                <a:gd name="T20" fmla="*/ 7 w 9"/>
                <a:gd name="T21" fmla="*/ 12 h 24"/>
                <a:gd name="T22" fmla="*/ 7 w 9"/>
                <a:gd name="T23" fmla="*/ 12 h 24"/>
                <a:gd name="T24" fmla="*/ 7 w 9"/>
                <a:gd name="T25" fmla="*/ 14 h 24"/>
                <a:gd name="T26" fmla="*/ 9 w 9"/>
                <a:gd name="T27" fmla="*/ 17 h 24"/>
                <a:gd name="T28" fmla="*/ 9 w 9"/>
                <a:gd name="T29" fmla="*/ 19 h 24"/>
                <a:gd name="T30" fmla="*/ 7 w 9"/>
                <a:gd name="T31" fmla="*/ 19 h 24"/>
                <a:gd name="T32" fmla="*/ 2 w 9"/>
                <a:gd name="T33" fmla="*/ 24 h 24"/>
                <a:gd name="T34" fmla="*/ 0 w 9"/>
                <a:gd name="T35" fmla="*/ 21 h 24"/>
                <a:gd name="T36" fmla="*/ 0 w 9"/>
                <a:gd name="T37" fmla="*/ 19 h 24"/>
                <a:gd name="T38" fmla="*/ 0 w 9"/>
                <a:gd name="T39" fmla="*/ 17 h 24"/>
                <a:gd name="T40" fmla="*/ 2 w 9"/>
                <a:gd name="T41" fmla="*/ 14 h 24"/>
                <a:gd name="T42" fmla="*/ 2 w 9"/>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24">
                  <a:moveTo>
                    <a:pt x="2" y="12"/>
                  </a:moveTo>
                  <a:lnTo>
                    <a:pt x="2" y="12"/>
                  </a:lnTo>
                  <a:lnTo>
                    <a:pt x="4" y="2"/>
                  </a:lnTo>
                  <a:lnTo>
                    <a:pt x="4" y="2"/>
                  </a:lnTo>
                  <a:lnTo>
                    <a:pt x="4" y="0"/>
                  </a:lnTo>
                  <a:lnTo>
                    <a:pt x="7" y="2"/>
                  </a:lnTo>
                  <a:lnTo>
                    <a:pt x="9" y="5"/>
                  </a:lnTo>
                  <a:lnTo>
                    <a:pt x="9" y="7"/>
                  </a:lnTo>
                  <a:lnTo>
                    <a:pt x="9" y="7"/>
                  </a:lnTo>
                  <a:lnTo>
                    <a:pt x="7" y="10"/>
                  </a:lnTo>
                  <a:lnTo>
                    <a:pt x="7" y="12"/>
                  </a:lnTo>
                  <a:lnTo>
                    <a:pt x="7" y="12"/>
                  </a:lnTo>
                  <a:lnTo>
                    <a:pt x="7" y="14"/>
                  </a:lnTo>
                  <a:lnTo>
                    <a:pt x="9" y="17"/>
                  </a:lnTo>
                  <a:lnTo>
                    <a:pt x="9" y="19"/>
                  </a:lnTo>
                  <a:lnTo>
                    <a:pt x="7" y="19"/>
                  </a:lnTo>
                  <a:lnTo>
                    <a:pt x="2" y="24"/>
                  </a:lnTo>
                  <a:lnTo>
                    <a:pt x="0" y="21"/>
                  </a:lnTo>
                  <a:lnTo>
                    <a:pt x="0" y="19"/>
                  </a:lnTo>
                  <a:lnTo>
                    <a:pt x="0" y="17"/>
                  </a:lnTo>
                  <a:lnTo>
                    <a:pt x="2" y="14"/>
                  </a:lnTo>
                  <a:lnTo>
                    <a:pt x="2" y="1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4" name="Freeform 1203">
              <a:extLst>
                <a:ext uri="{FF2B5EF4-FFF2-40B4-BE49-F238E27FC236}">
                  <a16:creationId xmlns:a16="http://schemas.microsoft.com/office/drawing/2014/main" id="{A693ED29-C6FB-43AA-A2AD-A53BB16FD313}"/>
                </a:ext>
              </a:extLst>
            </p:cNvPr>
            <p:cNvSpPr>
              <a:spLocks/>
            </p:cNvSpPr>
            <p:nvPr/>
          </p:nvSpPr>
          <p:spPr bwMode="auto">
            <a:xfrm>
              <a:off x="7418752" y="4776338"/>
              <a:ext cx="14890" cy="39706"/>
            </a:xfrm>
            <a:custGeom>
              <a:avLst/>
              <a:gdLst>
                <a:gd name="T0" fmla="*/ 2 w 9"/>
                <a:gd name="T1" fmla="*/ 12 h 24"/>
                <a:gd name="T2" fmla="*/ 2 w 9"/>
                <a:gd name="T3" fmla="*/ 12 h 24"/>
                <a:gd name="T4" fmla="*/ 4 w 9"/>
                <a:gd name="T5" fmla="*/ 2 h 24"/>
                <a:gd name="T6" fmla="*/ 4 w 9"/>
                <a:gd name="T7" fmla="*/ 2 h 24"/>
                <a:gd name="T8" fmla="*/ 4 w 9"/>
                <a:gd name="T9" fmla="*/ 0 h 24"/>
                <a:gd name="T10" fmla="*/ 7 w 9"/>
                <a:gd name="T11" fmla="*/ 2 h 24"/>
                <a:gd name="T12" fmla="*/ 9 w 9"/>
                <a:gd name="T13" fmla="*/ 5 h 24"/>
                <a:gd name="T14" fmla="*/ 9 w 9"/>
                <a:gd name="T15" fmla="*/ 7 h 24"/>
                <a:gd name="T16" fmla="*/ 9 w 9"/>
                <a:gd name="T17" fmla="*/ 7 h 24"/>
                <a:gd name="T18" fmla="*/ 7 w 9"/>
                <a:gd name="T19" fmla="*/ 10 h 24"/>
                <a:gd name="T20" fmla="*/ 7 w 9"/>
                <a:gd name="T21" fmla="*/ 12 h 24"/>
                <a:gd name="T22" fmla="*/ 7 w 9"/>
                <a:gd name="T23" fmla="*/ 12 h 24"/>
                <a:gd name="T24" fmla="*/ 7 w 9"/>
                <a:gd name="T25" fmla="*/ 14 h 24"/>
                <a:gd name="T26" fmla="*/ 9 w 9"/>
                <a:gd name="T27" fmla="*/ 17 h 24"/>
                <a:gd name="T28" fmla="*/ 9 w 9"/>
                <a:gd name="T29" fmla="*/ 19 h 24"/>
                <a:gd name="T30" fmla="*/ 7 w 9"/>
                <a:gd name="T31" fmla="*/ 19 h 24"/>
                <a:gd name="T32" fmla="*/ 2 w 9"/>
                <a:gd name="T33" fmla="*/ 24 h 24"/>
                <a:gd name="T34" fmla="*/ 0 w 9"/>
                <a:gd name="T35" fmla="*/ 21 h 24"/>
                <a:gd name="T36" fmla="*/ 0 w 9"/>
                <a:gd name="T37" fmla="*/ 19 h 24"/>
                <a:gd name="T38" fmla="*/ 0 w 9"/>
                <a:gd name="T39" fmla="*/ 17 h 24"/>
                <a:gd name="T40" fmla="*/ 2 w 9"/>
                <a:gd name="T41" fmla="*/ 14 h 24"/>
                <a:gd name="T42" fmla="*/ 2 w 9"/>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24">
                  <a:moveTo>
                    <a:pt x="2" y="12"/>
                  </a:moveTo>
                  <a:lnTo>
                    <a:pt x="2" y="12"/>
                  </a:lnTo>
                  <a:lnTo>
                    <a:pt x="4" y="2"/>
                  </a:lnTo>
                  <a:lnTo>
                    <a:pt x="4" y="2"/>
                  </a:lnTo>
                  <a:lnTo>
                    <a:pt x="4" y="0"/>
                  </a:lnTo>
                  <a:lnTo>
                    <a:pt x="7" y="2"/>
                  </a:lnTo>
                  <a:lnTo>
                    <a:pt x="9" y="5"/>
                  </a:lnTo>
                  <a:lnTo>
                    <a:pt x="9" y="7"/>
                  </a:lnTo>
                  <a:lnTo>
                    <a:pt x="9" y="7"/>
                  </a:lnTo>
                  <a:lnTo>
                    <a:pt x="7" y="10"/>
                  </a:lnTo>
                  <a:lnTo>
                    <a:pt x="7" y="12"/>
                  </a:lnTo>
                  <a:lnTo>
                    <a:pt x="7" y="12"/>
                  </a:lnTo>
                  <a:lnTo>
                    <a:pt x="7" y="14"/>
                  </a:lnTo>
                  <a:lnTo>
                    <a:pt x="9" y="17"/>
                  </a:lnTo>
                  <a:lnTo>
                    <a:pt x="9" y="19"/>
                  </a:lnTo>
                  <a:lnTo>
                    <a:pt x="7" y="19"/>
                  </a:lnTo>
                  <a:lnTo>
                    <a:pt x="2" y="24"/>
                  </a:lnTo>
                  <a:lnTo>
                    <a:pt x="0" y="21"/>
                  </a:lnTo>
                  <a:lnTo>
                    <a:pt x="0" y="19"/>
                  </a:lnTo>
                  <a:lnTo>
                    <a:pt x="0" y="17"/>
                  </a:lnTo>
                  <a:lnTo>
                    <a:pt x="2" y="14"/>
                  </a:lnTo>
                  <a:lnTo>
                    <a:pt x="2" y="1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5" name="Freeform 1204">
              <a:extLst>
                <a:ext uri="{FF2B5EF4-FFF2-40B4-BE49-F238E27FC236}">
                  <a16:creationId xmlns:a16="http://schemas.microsoft.com/office/drawing/2014/main" id="{6927DEF4-0EAF-4AF9-B376-D9825F689831}"/>
                </a:ext>
              </a:extLst>
            </p:cNvPr>
            <p:cNvSpPr>
              <a:spLocks/>
            </p:cNvSpPr>
            <p:nvPr/>
          </p:nvSpPr>
          <p:spPr bwMode="auto">
            <a:xfrm>
              <a:off x="7430333" y="4764756"/>
              <a:ext cx="3309" cy="8273"/>
            </a:xfrm>
            <a:custGeom>
              <a:avLst/>
              <a:gdLst>
                <a:gd name="T0" fmla="*/ 0 w 2"/>
                <a:gd name="T1" fmla="*/ 2 h 5"/>
                <a:gd name="T2" fmla="*/ 0 w 2"/>
                <a:gd name="T3" fmla="*/ 0 h 5"/>
                <a:gd name="T4" fmla="*/ 0 w 2"/>
                <a:gd name="T5" fmla="*/ 0 h 5"/>
                <a:gd name="T6" fmla="*/ 2 w 2"/>
                <a:gd name="T7" fmla="*/ 2 h 5"/>
                <a:gd name="T8" fmla="*/ 2 w 2"/>
                <a:gd name="T9" fmla="*/ 2 h 5"/>
                <a:gd name="T10" fmla="*/ 2 w 2"/>
                <a:gd name="T11" fmla="*/ 5 h 5"/>
                <a:gd name="T12" fmla="*/ 0 w 2"/>
                <a:gd name="T13" fmla="*/ 5 h 5"/>
                <a:gd name="T14" fmla="*/ 0 w 2"/>
                <a:gd name="T15" fmla="*/ 5 h 5"/>
                <a:gd name="T16" fmla="*/ 0 w 2"/>
                <a:gd name="T17" fmla="*/ 2 h 5"/>
                <a:gd name="T18" fmla="*/ 0 w 2"/>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2"/>
                  </a:moveTo>
                  <a:lnTo>
                    <a:pt x="0" y="0"/>
                  </a:lnTo>
                  <a:lnTo>
                    <a:pt x="0" y="0"/>
                  </a:lnTo>
                  <a:lnTo>
                    <a:pt x="2" y="2"/>
                  </a:lnTo>
                  <a:lnTo>
                    <a:pt x="2" y="2"/>
                  </a:lnTo>
                  <a:lnTo>
                    <a:pt x="2" y="5"/>
                  </a:lnTo>
                  <a:lnTo>
                    <a:pt x="0" y="5"/>
                  </a:lnTo>
                  <a:lnTo>
                    <a:pt x="0" y="5"/>
                  </a:lnTo>
                  <a:lnTo>
                    <a:pt x="0"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6" name="Freeform 1205">
              <a:extLst>
                <a:ext uri="{FF2B5EF4-FFF2-40B4-BE49-F238E27FC236}">
                  <a16:creationId xmlns:a16="http://schemas.microsoft.com/office/drawing/2014/main" id="{E1116578-3647-43F4-B631-382FCFB45FBB}"/>
                </a:ext>
              </a:extLst>
            </p:cNvPr>
            <p:cNvSpPr>
              <a:spLocks/>
            </p:cNvSpPr>
            <p:nvPr/>
          </p:nvSpPr>
          <p:spPr bwMode="auto">
            <a:xfrm>
              <a:off x="7430333" y="4764756"/>
              <a:ext cx="3309" cy="8273"/>
            </a:xfrm>
            <a:custGeom>
              <a:avLst/>
              <a:gdLst>
                <a:gd name="T0" fmla="*/ 0 w 2"/>
                <a:gd name="T1" fmla="*/ 2 h 5"/>
                <a:gd name="T2" fmla="*/ 0 w 2"/>
                <a:gd name="T3" fmla="*/ 0 h 5"/>
                <a:gd name="T4" fmla="*/ 0 w 2"/>
                <a:gd name="T5" fmla="*/ 0 h 5"/>
                <a:gd name="T6" fmla="*/ 2 w 2"/>
                <a:gd name="T7" fmla="*/ 2 h 5"/>
                <a:gd name="T8" fmla="*/ 2 w 2"/>
                <a:gd name="T9" fmla="*/ 2 h 5"/>
                <a:gd name="T10" fmla="*/ 2 w 2"/>
                <a:gd name="T11" fmla="*/ 5 h 5"/>
                <a:gd name="T12" fmla="*/ 0 w 2"/>
                <a:gd name="T13" fmla="*/ 5 h 5"/>
                <a:gd name="T14" fmla="*/ 0 w 2"/>
                <a:gd name="T15" fmla="*/ 5 h 5"/>
                <a:gd name="T16" fmla="*/ 0 w 2"/>
                <a:gd name="T17" fmla="*/ 2 h 5"/>
                <a:gd name="T18" fmla="*/ 0 w 2"/>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2"/>
                  </a:moveTo>
                  <a:lnTo>
                    <a:pt x="0" y="0"/>
                  </a:lnTo>
                  <a:lnTo>
                    <a:pt x="0" y="0"/>
                  </a:lnTo>
                  <a:lnTo>
                    <a:pt x="2" y="2"/>
                  </a:lnTo>
                  <a:lnTo>
                    <a:pt x="2" y="2"/>
                  </a:lnTo>
                  <a:lnTo>
                    <a:pt x="2" y="5"/>
                  </a:lnTo>
                  <a:lnTo>
                    <a:pt x="0" y="5"/>
                  </a:lnTo>
                  <a:lnTo>
                    <a:pt x="0" y="5"/>
                  </a:lnTo>
                  <a:lnTo>
                    <a:pt x="0"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7" name="Freeform 1206">
              <a:extLst>
                <a:ext uri="{FF2B5EF4-FFF2-40B4-BE49-F238E27FC236}">
                  <a16:creationId xmlns:a16="http://schemas.microsoft.com/office/drawing/2014/main" id="{C54FCA3D-D434-4C33-B042-BB289536EE36}"/>
                </a:ext>
              </a:extLst>
            </p:cNvPr>
            <p:cNvSpPr>
              <a:spLocks/>
            </p:cNvSpPr>
            <p:nvPr/>
          </p:nvSpPr>
          <p:spPr bwMode="auto">
            <a:xfrm>
              <a:off x="7422062" y="4686998"/>
              <a:ext cx="11582" cy="11582"/>
            </a:xfrm>
            <a:custGeom>
              <a:avLst/>
              <a:gdLst>
                <a:gd name="T0" fmla="*/ 5 w 7"/>
                <a:gd name="T1" fmla="*/ 0 h 7"/>
                <a:gd name="T2" fmla="*/ 7 w 7"/>
                <a:gd name="T3" fmla="*/ 0 h 7"/>
                <a:gd name="T4" fmla="*/ 7 w 7"/>
                <a:gd name="T5" fmla="*/ 0 h 7"/>
                <a:gd name="T6" fmla="*/ 7 w 7"/>
                <a:gd name="T7" fmla="*/ 2 h 7"/>
                <a:gd name="T8" fmla="*/ 5 w 7"/>
                <a:gd name="T9" fmla="*/ 7 h 7"/>
                <a:gd name="T10" fmla="*/ 0 w 7"/>
                <a:gd name="T11" fmla="*/ 7 h 7"/>
                <a:gd name="T12" fmla="*/ 0 w 7"/>
                <a:gd name="T13" fmla="*/ 2 h 7"/>
                <a:gd name="T14" fmla="*/ 0 w 7"/>
                <a:gd name="T15" fmla="*/ 2 h 7"/>
                <a:gd name="T16" fmla="*/ 2 w 7"/>
                <a:gd name="T17" fmla="*/ 0 h 7"/>
                <a:gd name="T18" fmla="*/ 5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5" y="0"/>
                  </a:moveTo>
                  <a:lnTo>
                    <a:pt x="7" y="0"/>
                  </a:lnTo>
                  <a:lnTo>
                    <a:pt x="7" y="0"/>
                  </a:lnTo>
                  <a:lnTo>
                    <a:pt x="7" y="2"/>
                  </a:lnTo>
                  <a:lnTo>
                    <a:pt x="5" y="7"/>
                  </a:lnTo>
                  <a:lnTo>
                    <a:pt x="0" y="7"/>
                  </a:lnTo>
                  <a:lnTo>
                    <a:pt x="0" y="2"/>
                  </a:lnTo>
                  <a:lnTo>
                    <a:pt x="0" y="2"/>
                  </a:lnTo>
                  <a:lnTo>
                    <a:pt x="2" y="0"/>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8" name="Freeform 1207">
              <a:extLst>
                <a:ext uri="{FF2B5EF4-FFF2-40B4-BE49-F238E27FC236}">
                  <a16:creationId xmlns:a16="http://schemas.microsoft.com/office/drawing/2014/main" id="{97CA35FE-108D-45B5-A16D-D47AF916C7FF}"/>
                </a:ext>
              </a:extLst>
            </p:cNvPr>
            <p:cNvSpPr>
              <a:spLocks/>
            </p:cNvSpPr>
            <p:nvPr/>
          </p:nvSpPr>
          <p:spPr bwMode="auto">
            <a:xfrm>
              <a:off x="7422062" y="4686998"/>
              <a:ext cx="11582" cy="11582"/>
            </a:xfrm>
            <a:custGeom>
              <a:avLst/>
              <a:gdLst>
                <a:gd name="T0" fmla="*/ 5 w 7"/>
                <a:gd name="T1" fmla="*/ 0 h 7"/>
                <a:gd name="T2" fmla="*/ 7 w 7"/>
                <a:gd name="T3" fmla="*/ 0 h 7"/>
                <a:gd name="T4" fmla="*/ 7 w 7"/>
                <a:gd name="T5" fmla="*/ 0 h 7"/>
                <a:gd name="T6" fmla="*/ 7 w 7"/>
                <a:gd name="T7" fmla="*/ 2 h 7"/>
                <a:gd name="T8" fmla="*/ 5 w 7"/>
                <a:gd name="T9" fmla="*/ 7 h 7"/>
                <a:gd name="T10" fmla="*/ 0 w 7"/>
                <a:gd name="T11" fmla="*/ 7 h 7"/>
                <a:gd name="T12" fmla="*/ 0 w 7"/>
                <a:gd name="T13" fmla="*/ 2 h 7"/>
                <a:gd name="T14" fmla="*/ 0 w 7"/>
                <a:gd name="T15" fmla="*/ 2 h 7"/>
                <a:gd name="T16" fmla="*/ 2 w 7"/>
                <a:gd name="T17" fmla="*/ 0 h 7"/>
                <a:gd name="T18" fmla="*/ 5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5" y="0"/>
                  </a:moveTo>
                  <a:lnTo>
                    <a:pt x="7" y="0"/>
                  </a:lnTo>
                  <a:lnTo>
                    <a:pt x="7" y="0"/>
                  </a:lnTo>
                  <a:lnTo>
                    <a:pt x="7" y="2"/>
                  </a:lnTo>
                  <a:lnTo>
                    <a:pt x="5" y="7"/>
                  </a:lnTo>
                  <a:lnTo>
                    <a:pt x="0" y="7"/>
                  </a:lnTo>
                  <a:lnTo>
                    <a:pt x="0" y="2"/>
                  </a:lnTo>
                  <a:lnTo>
                    <a:pt x="0" y="2"/>
                  </a:lnTo>
                  <a:lnTo>
                    <a:pt x="2"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29" name="Freeform 1208">
              <a:extLst>
                <a:ext uri="{FF2B5EF4-FFF2-40B4-BE49-F238E27FC236}">
                  <a16:creationId xmlns:a16="http://schemas.microsoft.com/office/drawing/2014/main" id="{C16525D3-E531-40CC-AE23-640D0827F9B7}"/>
                </a:ext>
              </a:extLst>
            </p:cNvPr>
            <p:cNvSpPr>
              <a:spLocks/>
            </p:cNvSpPr>
            <p:nvPr/>
          </p:nvSpPr>
          <p:spPr bwMode="auto">
            <a:xfrm>
              <a:off x="7433642" y="4686998"/>
              <a:ext cx="8273" cy="11582"/>
            </a:xfrm>
            <a:custGeom>
              <a:avLst/>
              <a:gdLst>
                <a:gd name="T0" fmla="*/ 0 w 5"/>
                <a:gd name="T1" fmla="*/ 2 h 7"/>
                <a:gd name="T2" fmla="*/ 3 w 5"/>
                <a:gd name="T3" fmla="*/ 0 h 7"/>
                <a:gd name="T4" fmla="*/ 3 w 5"/>
                <a:gd name="T5" fmla="*/ 0 h 7"/>
                <a:gd name="T6" fmla="*/ 5 w 5"/>
                <a:gd name="T7" fmla="*/ 0 h 7"/>
                <a:gd name="T8" fmla="*/ 5 w 5"/>
                <a:gd name="T9" fmla="*/ 2 h 7"/>
                <a:gd name="T10" fmla="*/ 5 w 5"/>
                <a:gd name="T11" fmla="*/ 5 h 7"/>
                <a:gd name="T12" fmla="*/ 5 w 5"/>
                <a:gd name="T13" fmla="*/ 7 h 7"/>
                <a:gd name="T14" fmla="*/ 3 w 5"/>
                <a:gd name="T15" fmla="*/ 5 h 7"/>
                <a:gd name="T16" fmla="*/ 3 w 5"/>
                <a:gd name="T17" fmla="*/ 7 h 7"/>
                <a:gd name="T18" fmla="*/ 0 w 5"/>
                <a:gd name="T19" fmla="*/ 5 h 7"/>
                <a:gd name="T20" fmla="*/ 0 w 5"/>
                <a:gd name="T21" fmla="*/ 5 h 7"/>
                <a:gd name="T22" fmla="*/ 0 w 5"/>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0" y="2"/>
                  </a:moveTo>
                  <a:lnTo>
                    <a:pt x="3" y="0"/>
                  </a:lnTo>
                  <a:lnTo>
                    <a:pt x="3" y="0"/>
                  </a:lnTo>
                  <a:lnTo>
                    <a:pt x="5" y="0"/>
                  </a:lnTo>
                  <a:lnTo>
                    <a:pt x="5" y="2"/>
                  </a:lnTo>
                  <a:lnTo>
                    <a:pt x="5" y="5"/>
                  </a:lnTo>
                  <a:lnTo>
                    <a:pt x="5" y="7"/>
                  </a:lnTo>
                  <a:lnTo>
                    <a:pt x="3" y="5"/>
                  </a:lnTo>
                  <a:lnTo>
                    <a:pt x="3" y="7"/>
                  </a:lnTo>
                  <a:lnTo>
                    <a:pt x="0" y="5"/>
                  </a:lnTo>
                  <a:lnTo>
                    <a:pt x="0" y="5"/>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0" name="Freeform 1209">
              <a:extLst>
                <a:ext uri="{FF2B5EF4-FFF2-40B4-BE49-F238E27FC236}">
                  <a16:creationId xmlns:a16="http://schemas.microsoft.com/office/drawing/2014/main" id="{4502CA74-2616-4A70-9CE5-99800263B683}"/>
                </a:ext>
              </a:extLst>
            </p:cNvPr>
            <p:cNvSpPr>
              <a:spLocks/>
            </p:cNvSpPr>
            <p:nvPr/>
          </p:nvSpPr>
          <p:spPr bwMode="auto">
            <a:xfrm>
              <a:off x="7433642" y="4686998"/>
              <a:ext cx="8273" cy="11582"/>
            </a:xfrm>
            <a:custGeom>
              <a:avLst/>
              <a:gdLst>
                <a:gd name="T0" fmla="*/ 0 w 5"/>
                <a:gd name="T1" fmla="*/ 2 h 7"/>
                <a:gd name="T2" fmla="*/ 3 w 5"/>
                <a:gd name="T3" fmla="*/ 0 h 7"/>
                <a:gd name="T4" fmla="*/ 3 w 5"/>
                <a:gd name="T5" fmla="*/ 0 h 7"/>
                <a:gd name="T6" fmla="*/ 5 w 5"/>
                <a:gd name="T7" fmla="*/ 0 h 7"/>
                <a:gd name="T8" fmla="*/ 5 w 5"/>
                <a:gd name="T9" fmla="*/ 2 h 7"/>
                <a:gd name="T10" fmla="*/ 5 w 5"/>
                <a:gd name="T11" fmla="*/ 5 h 7"/>
                <a:gd name="T12" fmla="*/ 5 w 5"/>
                <a:gd name="T13" fmla="*/ 7 h 7"/>
                <a:gd name="T14" fmla="*/ 3 w 5"/>
                <a:gd name="T15" fmla="*/ 5 h 7"/>
                <a:gd name="T16" fmla="*/ 3 w 5"/>
                <a:gd name="T17" fmla="*/ 7 h 7"/>
                <a:gd name="T18" fmla="*/ 0 w 5"/>
                <a:gd name="T19" fmla="*/ 5 h 7"/>
                <a:gd name="T20" fmla="*/ 0 w 5"/>
                <a:gd name="T21" fmla="*/ 5 h 7"/>
                <a:gd name="T22" fmla="*/ 0 w 5"/>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0" y="2"/>
                  </a:moveTo>
                  <a:lnTo>
                    <a:pt x="3" y="0"/>
                  </a:lnTo>
                  <a:lnTo>
                    <a:pt x="3" y="0"/>
                  </a:lnTo>
                  <a:lnTo>
                    <a:pt x="5" y="0"/>
                  </a:lnTo>
                  <a:lnTo>
                    <a:pt x="5" y="2"/>
                  </a:lnTo>
                  <a:lnTo>
                    <a:pt x="5" y="5"/>
                  </a:lnTo>
                  <a:lnTo>
                    <a:pt x="5" y="7"/>
                  </a:lnTo>
                  <a:lnTo>
                    <a:pt x="3" y="5"/>
                  </a:lnTo>
                  <a:lnTo>
                    <a:pt x="3" y="7"/>
                  </a:lnTo>
                  <a:lnTo>
                    <a:pt x="0" y="5"/>
                  </a:lnTo>
                  <a:lnTo>
                    <a:pt x="0" y="5"/>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1" name="Freeform 1210">
              <a:extLst>
                <a:ext uri="{FF2B5EF4-FFF2-40B4-BE49-F238E27FC236}">
                  <a16:creationId xmlns:a16="http://schemas.microsoft.com/office/drawing/2014/main" id="{304B9E20-A62F-4180-8176-005B5AAE57B5}"/>
                </a:ext>
              </a:extLst>
            </p:cNvPr>
            <p:cNvSpPr>
              <a:spLocks/>
            </p:cNvSpPr>
            <p:nvPr/>
          </p:nvSpPr>
          <p:spPr bwMode="auto">
            <a:xfrm>
              <a:off x="7468386" y="4698579"/>
              <a:ext cx="24818" cy="11582"/>
            </a:xfrm>
            <a:custGeom>
              <a:avLst/>
              <a:gdLst>
                <a:gd name="T0" fmla="*/ 0 w 15"/>
                <a:gd name="T1" fmla="*/ 0 h 7"/>
                <a:gd name="T2" fmla="*/ 8 w 15"/>
                <a:gd name="T3" fmla="*/ 0 h 7"/>
                <a:gd name="T4" fmla="*/ 10 w 15"/>
                <a:gd name="T5" fmla="*/ 2 h 7"/>
                <a:gd name="T6" fmla="*/ 15 w 15"/>
                <a:gd name="T7" fmla="*/ 2 h 7"/>
                <a:gd name="T8" fmla="*/ 15 w 15"/>
                <a:gd name="T9" fmla="*/ 2 h 7"/>
                <a:gd name="T10" fmla="*/ 15 w 15"/>
                <a:gd name="T11" fmla="*/ 2 h 7"/>
                <a:gd name="T12" fmla="*/ 15 w 15"/>
                <a:gd name="T13" fmla="*/ 5 h 7"/>
                <a:gd name="T14" fmla="*/ 12 w 15"/>
                <a:gd name="T15" fmla="*/ 5 h 7"/>
                <a:gd name="T16" fmla="*/ 8 w 15"/>
                <a:gd name="T17" fmla="*/ 5 h 7"/>
                <a:gd name="T18" fmla="*/ 3 w 15"/>
                <a:gd name="T19" fmla="*/ 7 h 7"/>
                <a:gd name="T20" fmla="*/ 3 w 15"/>
                <a:gd name="T21" fmla="*/ 7 h 7"/>
                <a:gd name="T22" fmla="*/ 0 w 15"/>
                <a:gd name="T23" fmla="*/ 2 h 7"/>
                <a:gd name="T24" fmla="*/ 0 w 15"/>
                <a:gd name="T25" fmla="*/ 2 h 7"/>
                <a:gd name="T26" fmla="*/ 0 w 15"/>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7">
                  <a:moveTo>
                    <a:pt x="0" y="0"/>
                  </a:moveTo>
                  <a:lnTo>
                    <a:pt x="8" y="0"/>
                  </a:lnTo>
                  <a:lnTo>
                    <a:pt x="10" y="2"/>
                  </a:lnTo>
                  <a:lnTo>
                    <a:pt x="15" y="2"/>
                  </a:lnTo>
                  <a:lnTo>
                    <a:pt x="15" y="2"/>
                  </a:lnTo>
                  <a:lnTo>
                    <a:pt x="15" y="2"/>
                  </a:lnTo>
                  <a:lnTo>
                    <a:pt x="15" y="5"/>
                  </a:lnTo>
                  <a:lnTo>
                    <a:pt x="12" y="5"/>
                  </a:lnTo>
                  <a:lnTo>
                    <a:pt x="8" y="5"/>
                  </a:lnTo>
                  <a:lnTo>
                    <a:pt x="3" y="7"/>
                  </a:lnTo>
                  <a:lnTo>
                    <a:pt x="3" y="7"/>
                  </a:lnTo>
                  <a:lnTo>
                    <a:pt x="0" y="2"/>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2" name="Freeform 1211">
              <a:extLst>
                <a:ext uri="{FF2B5EF4-FFF2-40B4-BE49-F238E27FC236}">
                  <a16:creationId xmlns:a16="http://schemas.microsoft.com/office/drawing/2014/main" id="{BE062646-F41A-4C1A-9677-1F5B7F463750}"/>
                </a:ext>
              </a:extLst>
            </p:cNvPr>
            <p:cNvSpPr>
              <a:spLocks/>
            </p:cNvSpPr>
            <p:nvPr/>
          </p:nvSpPr>
          <p:spPr bwMode="auto">
            <a:xfrm>
              <a:off x="7468386" y="4698579"/>
              <a:ext cx="24818" cy="11582"/>
            </a:xfrm>
            <a:custGeom>
              <a:avLst/>
              <a:gdLst>
                <a:gd name="T0" fmla="*/ 0 w 15"/>
                <a:gd name="T1" fmla="*/ 0 h 7"/>
                <a:gd name="T2" fmla="*/ 8 w 15"/>
                <a:gd name="T3" fmla="*/ 0 h 7"/>
                <a:gd name="T4" fmla="*/ 10 w 15"/>
                <a:gd name="T5" fmla="*/ 2 h 7"/>
                <a:gd name="T6" fmla="*/ 15 w 15"/>
                <a:gd name="T7" fmla="*/ 2 h 7"/>
                <a:gd name="T8" fmla="*/ 15 w 15"/>
                <a:gd name="T9" fmla="*/ 2 h 7"/>
                <a:gd name="T10" fmla="*/ 15 w 15"/>
                <a:gd name="T11" fmla="*/ 2 h 7"/>
                <a:gd name="T12" fmla="*/ 15 w 15"/>
                <a:gd name="T13" fmla="*/ 5 h 7"/>
                <a:gd name="T14" fmla="*/ 12 w 15"/>
                <a:gd name="T15" fmla="*/ 5 h 7"/>
                <a:gd name="T16" fmla="*/ 8 w 15"/>
                <a:gd name="T17" fmla="*/ 5 h 7"/>
                <a:gd name="T18" fmla="*/ 3 w 15"/>
                <a:gd name="T19" fmla="*/ 7 h 7"/>
                <a:gd name="T20" fmla="*/ 3 w 15"/>
                <a:gd name="T21" fmla="*/ 7 h 7"/>
                <a:gd name="T22" fmla="*/ 0 w 15"/>
                <a:gd name="T23" fmla="*/ 2 h 7"/>
                <a:gd name="T24" fmla="*/ 0 w 15"/>
                <a:gd name="T25" fmla="*/ 2 h 7"/>
                <a:gd name="T26" fmla="*/ 0 w 15"/>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7">
                  <a:moveTo>
                    <a:pt x="0" y="0"/>
                  </a:moveTo>
                  <a:lnTo>
                    <a:pt x="8" y="0"/>
                  </a:lnTo>
                  <a:lnTo>
                    <a:pt x="10" y="2"/>
                  </a:lnTo>
                  <a:lnTo>
                    <a:pt x="15" y="2"/>
                  </a:lnTo>
                  <a:lnTo>
                    <a:pt x="15" y="2"/>
                  </a:lnTo>
                  <a:lnTo>
                    <a:pt x="15" y="2"/>
                  </a:lnTo>
                  <a:lnTo>
                    <a:pt x="15" y="5"/>
                  </a:lnTo>
                  <a:lnTo>
                    <a:pt x="12" y="5"/>
                  </a:lnTo>
                  <a:lnTo>
                    <a:pt x="8" y="5"/>
                  </a:lnTo>
                  <a:lnTo>
                    <a:pt x="3" y="7"/>
                  </a:lnTo>
                  <a:lnTo>
                    <a:pt x="3" y="7"/>
                  </a:lnTo>
                  <a:lnTo>
                    <a:pt x="0" y="2"/>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3" name="Freeform 1212">
              <a:extLst>
                <a:ext uri="{FF2B5EF4-FFF2-40B4-BE49-F238E27FC236}">
                  <a16:creationId xmlns:a16="http://schemas.microsoft.com/office/drawing/2014/main" id="{44698054-7A40-4777-B5D2-D3840589B040}"/>
                </a:ext>
              </a:extLst>
            </p:cNvPr>
            <p:cNvSpPr>
              <a:spLocks/>
            </p:cNvSpPr>
            <p:nvPr/>
          </p:nvSpPr>
          <p:spPr bwMode="auto">
            <a:xfrm>
              <a:off x="7496511" y="4701888"/>
              <a:ext cx="28126" cy="8273"/>
            </a:xfrm>
            <a:custGeom>
              <a:avLst/>
              <a:gdLst>
                <a:gd name="T0" fmla="*/ 0 w 17"/>
                <a:gd name="T1" fmla="*/ 3 h 5"/>
                <a:gd name="T2" fmla="*/ 0 w 17"/>
                <a:gd name="T3" fmla="*/ 0 h 5"/>
                <a:gd name="T4" fmla="*/ 5 w 17"/>
                <a:gd name="T5" fmla="*/ 3 h 5"/>
                <a:gd name="T6" fmla="*/ 9 w 17"/>
                <a:gd name="T7" fmla="*/ 0 h 5"/>
                <a:gd name="T8" fmla="*/ 17 w 17"/>
                <a:gd name="T9" fmla="*/ 0 h 5"/>
                <a:gd name="T10" fmla="*/ 17 w 17"/>
                <a:gd name="T11" fmla="*/ 0 h 5"/>
                <a:gd name="T12" fmla="*/ 14 w 17"/>
                <a:gd name="T13" fmla="*/ 3 h 5"/>
                <a:gd name="T14" fmla="*/ 12 w 17"/>
                <a:gd name="T15" fmla="*/ 3 h 5"/>
                <a:gd name="T16" fmla="*/ 2 w 17"/>
                <a:gd name="T17" fmla="*/ 5 h 5"/>
                <a:gd name="T18" fmla="*/ 0 w 17"/>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5">
                  <a:moveTo>
                    <a:pt x="0" y="3"/>
                  </a:moveTo>
                  <a:lnTo>
                    <a:pt x="0" y="0"/>
                  </a:lnTo>
                  <a:lnTo>
                    <a:pt x="5" y="3"/>
                  </a:lnTo>
                  <a:lnTo>
                    <a:pt x="9" y="0"/>
                  </a:lnTo>
                  <a:lnTo>
                    <a:pt x="17" y="0"/>
                  </a:lnTo>
                  <a:lnTo>
                    <a:pt x="17" y="0"/>
                  </a:lnTo>
                  <a:lnTo>
                    <a:pt x="14" y="3"/>
                  </a:lnTo>
                  <a:lnTo>
                    <a:pt x="12" y="3"/>
                  </a:lnTo>
                  <a:lnTo>
                    <a:pt x="2" y="5"/>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4" name="Freeform 1213">
              <a:extLst>
                <a:ext uri="{FF2B5EF4-FFF2-40B4-BE49-F238E27FC236}">
                  <a16:creationId xmlns:a16="http://schemas.microsoft.com/office/drawing/2014/main" id="{43F94152-1927-4371-BC0B-F97BF0AF4A0A}"/>
                </a:ext>
              </a:extLst>
            </p:cNvPr>
            <p:cNvSpPr>
              <a:spLocks/>
            </p:cNvSpPr>
            <p:nvPr/>
          </p:nvSpPr>
          <p:spPr bwMode="auto">
            <a:xfrm>
              <a:off x="7496511" y="4701888"/>
              <a:ext cx="28126" cy="8273"/>
            </a:xfrm>
            <a:custGeom>
              <a:avLst/>
              <a:gdLst>
                <a:gd name="T0" fmla="*/ 0 w 17"/>
                <a:gd name="T1" fmla="*/ 3 h 5"/>
                <a:gd name="T2" fmla="*/ 0 w 17"/>
                <a:gd name="T3" fmla="*/ 0 h 5"/>
                <a:gd name="T4" fmla="*/ 5 w 17"/>
                <a:gd name="T5" fmla="*/ 3 h 5"/>
                <a:gd name="T6" fmla="*/ 9 w 17"/>
                <a:gd name="T7" fmla="*/ 0 h 5"/>
                <a:gd name="T8" fmla="*/ 17 w 17"/>
                <a:gd name="T9" fmla="*/ 0 h 5"/>
                <a:gd name="T10" fmla="*/ 17 w 17"/>
                <a:gd name="T11" fmla="*/ 0 h 5"/>
                <a:gd name="T12" fmla="*/ 14 w 17"/>
                <a:gd name="T13" fmla="*/ 3 h 5"/>
                <a:gd name="T14" fmla="*/ 12 w 17"/>
                <a:gd name="T15" fmla="*/ 3 h 5"/>
                <a:gd name="T16" fmla="*/ 2 w 17"/>
                <a:gd name="T17" fmla="*/ 5 h 5"/>
                <a:gd name="T18" fmla="*/ 0 w 17"/>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5">
                  <a:moveTo>
                    <a:pt x="0" y="3"/>
                  </a:moveTo>
                  <a:lnTo>
                    <a:pt x="0" y="0"/>
                  </a:lnTo>
                  <a:lnTo>
                    <a:pt x="5" y="3"/>
                  </a:lnTo>
                  <a:lnTo>
                    <a:pt x="9" y="0"/>
                  </a:lnTo>
                  <a:lnTo>
                    <a:pt x="17" y="0"/>
                  </a:lnTo>
                  <a:lnTo>
                    <a:pt x="17" y="0"/>
                  </a:lnTo>
                  <a:lnTo>
                    <a:pt x="14" y="3"/>
                  </a:lnTo>
                  <a:lnTo>
                    <a:pt x="12" y="3"/>
                  </a:lnTo>
                  <a:lnTo>
                    <a:pt x="2" y="5"/>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5" name="Freeform 1214">
              <a:extLst>
                <a:ext uri="{FF2B5EF4-FFF2-40B4-BE49-F238E27FC236}">
                  <a16:creationId xmlns:a16="http://schemas.microsoft.com/office/drawing/2014/main" id="{E34681D9-F715-4162-97F9-67C9E6CF2111}"/>
                </a:ext>
              </a:extLst>
            </p:cNvPr>
            <p:cNvSpPr>
              <a:spLocks/>
            </p:cNvSpPr>
            <p:nvPr/>
          </p:nvSpPr>
          <p:spPr bwMode="auto">
            <a:xfrm>
              <a:off x="7511401" y="4710160"/>
              <a:ext cx="4964" cy="11582"/>
            </a:xfrm>
            <a:custGeom>
              <a:avLst/>
              <a:gdLst>
                <a:gd name="T0" fmla="*/ 0 w 3"/>
                <a:gd name="T1" fmla="*/ 0 h 7"/>
                <a:gd name="T2" fmla="*/ 0 w 3"/>
                <a:gd name="T3" fmla="*/ 0 h 7"/>
                <a:gd name="T4" fmla="*/ 0 w 3"/>
                <a:gd name="T5" fmla="*/ 0 h 7"/>
                <a:gd name="T6" fmla="*/ 0 w 3"/>
                <a:gd name="T7" fmla="*/ 2 h 7"/>
                <a:gd name="T8" fmla="*/ 3 w 3"/>
                <a:gd name="T9" fmla="*/ 7 h 7"/>
                <a:gd name="T10" fmla="*/ 0 w 3"/>
                <a:gd name="T11" fmla="*/ 2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0" y="0"/>
                  </a:lnTo>
                  <a:lnTo>
                    <a:pt x="0" y="0"/>
                  </a:lnTo>
                  <a:lnTo>
                    <a:pt x="0" y="2"/>
                  </a:lnTo>
                  <a:lnTo>
                    <a:pt x="3" y="7"/>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6" name="Freeform 1216">
              <a:extLst>
                <a:ext uri="{FF2B5EF4-FFF2-40B4-BE49-F238E27FC236}">
                  <a16:creationId xmlns:a16="http://schemas.microsoft.com/office/drawing/2014/main" id="{D20E33C0-C11D-4152-9BB7-66CA029630B5}"/>
                </a:ext>
              </a:extLst>
            </p:cNvPr>
            <p:cNvSpPr>
              <a:spLocks/>
            </p:cNvSpPr>
            <p:nvPr/>
          </p:nvSpPr>
          <p:spPr bwMode="auto">
            <a:xfrm>
              <a:off x="7511401" y="4710159"/>
              <a:ext cx="4964" cy="11581"/>
            </a:xfrm>
            <a:custGeom>
              <a:avLst/>
              <a:gdLst>
                <a:gd name="T0" fmla="*/ 0 w 3"/>
                <a:gd name="T1" fmla="*/ 0 h 7"/>
                <a:gd name="T2" fmla="*/ 0 w 3"/>
                <a:gd name="T3" fmla="*/ 0 h 7"/>
                <a:gd name="T4" fmla="*/ 0 w 3"/>
                <a:gd name="T5" fmla="*/ 0 h 7"/>
                <a:gd name="T6" fmla="*/ 0 w 3"/>
                <a:gd name="T7" fmla="*/ 2 h 7"/>
                <a:gd name="T8" fmla="*/ 3 w 3"/>
                <a:gd name="T9" fmla="*/ 7 h 7"/>
                <a:gd name="T10" fmla="*/ 0 w 3"/>
                <a:gd name="T11" fmla="*/ 2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0" y="0"/>
                  </a:lnTo>
                  <a:lnTo>
                    <a:pt x="0" y="0"/>
                  </a:lnTo>
                  <a:lnTo>
                    <a:pt x="0" y="2"/>
                  </a:lnTo>
                  <a:lnTo>
                    <a:pt x="3" y="7"/>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7" name="Freeform 1217">
              <a:extLst>
                <a:ext uri="{FF2B5EF4-FFF2-40B4-BE49-F238E27FC236}">
                  <a16:creationId xmlns:a16="http://schemas.microsoft.com/office/drawing/2014/main" id="{D7D304E8-6AFB-4176-8C99-B78E47E0F8E1}"/>
                </a:ext>
              </a:extLst>
            </p:cNvPr>
            <p:cNvSpPr>
              <a:spLocks/>
            </p:cNvSpPr>
            <p:nvPr/>
          </p:nvSpPr>
          <p:spPr bwMode="auto">
            <a:xfrm>
              <a:off x="7516364" y="4736631"/>
              <a:ext cx="34743" cy="28125"/>
            </a:xfrm>
            <a:custGeom>
              <a:avLst/>
              <a:gdLst>
                <a:gd name="T0" fmla="*/ 0 w 21"/>
                <a:gd name="T1" fmla="*/ 3 h 17"/>
                <a:gd name="T2" fmla="*/ 0 w 21"/>
                <a:gd name="T3" fmla="*/ 3 h 17"/>
                <a:gd name="T4" fmla="*/ 2 w 21"/>
                <a:gd name="T5" fmla="*/ 3 h 17"/>
                <a:gd name="T6" fmla="*/ 7 w 21"/>
                <a:gd name="T7" fmla="*/ 3 h 17"/>
                <a:gd name="T8" fmla="*/ 12 w 21"/>
                <a:gd name="T9" fmla="*/ 0 h 17"/>
                <a:gd name="T10" fmla="*/ 19 w 21"/>
                <a:gd name="T11" fmla="*/ 5 h 17"/>
                <a:gd name="T12" fmla="*/ 19 w 21"/>
                <a:gd name="T13" fmla="*/ 8 h 17"/>
                <a:gd name="T14" fmla="*/ 19 w 21"/>
                <a:gd name="T15" fmla="*/ 8 h 17"/>
                <a:gd name="T16" fmla="*/ 21 w 21"/>
                <a:gd name="T17" fmla="*/ 10 h 17"/>
                <a:gd name="T18" fmla="*/ 19 w 21"/>
                <a:gd name="T19" fmla="*/ 12 h 17"/>
                <a:gd name="T20" fmla="*/ 16 w 21"/>
                <a:gd name="T21" fmla="*/ 15 h 17"/>
                <a:gd name="T22" fmla="*/ 14 w 21"/>
                <a:gd name="T23" fmla="*/ 17 h 17"/>
                <a:gd name="T24" fmla="*/ 9 w 21"/>
                <a:gd name="T25" fmla="*/ 15 h 17"/>
                <a:gd name="T26" fmla="*/ 5 w 21"/>
                <a:gd name="T27" fmla="*/ 12 h 17"/>
                <a:gd name="T28" fmla="*/ 2 w 21"/>
                <a:gd name="T29" fmla="*/ 10 h 17"/>
                <a:gd name="T30" fmla="*/ 0 w 21"/>
                <a:gd name="T31" fmla="*/ 8 h 17"/>
                <a:gd name="T32" fmla="*/ 0 w 21"/>
                <a:gd name="T33" fmla="*/ 5 h 17"/>
                <a:gd name="T34" fmla="*/ 0 w 21"/>
                <a:gd name="T35" fmla="*/ 3 h 17"/>
                <a:gd name="T36" fmla="*/ 0 w 21"/>
                <a:gd name="T3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7">
                  <a:moveTo>
                    <a:pt x="0" y="3"/>
                  </a:moveTo>
                  <a:lnTo>
                    <a:pt x="0" y="3"/>
                  </a:lnTo>
                  <a:lnTo>
                    <a:pt x="2" y="3"/>
                  </a:lnTo>
                  <a:lnTo>
                    <a:pt x="7" y="3"/>
                  </a:lnTo>
                  <a:lnTo>
                    <a:pt x="12" y="0"/>
                  </a:lnTo>
                  <a:lnTo>
                    <a:pt x="19" y="5"/>
                  </a:lnTo>
                  <a:lnTo>
                    <a:pt x="19" y="8"/>
                  </a:lnTo>
                  <a:lnTo>
                    <a:pt x="19" y="8"/>
                  </a:lnTo>
                  <a:lnTo>
                    <a:pt x="21" y="10"/>
                  </a:lnTo>
                  <a:lnTo>
                    <a:pt x="19" y="12"/>
                  </a:lnTo>
                  <a:lnTo>
                    <a:pt x="16" y="15"/>
                  </a:lnTo>
                  <a:lnTo>
                    <a:pt x="14" y="17"/>
                  </a:lnTo>
                  <a:lnTo>
                    <a:pt x="9" y="15"/>
                  </a:lnTo>
                  <a:lnTo>
                    <a:pt x="5" y="12"/>
                  </a:lnTo>
                  <a:lnTo>
                    <a:pt x="2" y="10"/>
                  </a:lnTo>
                  <a:lnTo>
                    <a:pt x="0" y="8"/>
                  </a:lnTo>
                  <a:lnTo>
                    <a:pt x="0" y="5"/>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8" name="Freeform 1218">
              <a:extLst>
                <a:ext uri="{FF2B5EF4-FFF2-40B4-BE49-F238E27FC236}">
                  <a16:creationId xmlns:a16="http://schemas.microsoft.com/office/drawing/2014/main" id="{3D800FA9-3997-4BBE-A342-F5EBDAD23E89}"/>
                </a:ext>
              </a:extLst>
            </p:cNvPr>
            <p:cNvSpPr>
              <a:spLocks/>
            </p:cNvSpPr>
            <p:nvPr/>
          </p:nvSpPr>
          <p:spPr bwMode="auto">
            <a:xfrm>
              <a:off x="7516364" y="4736631"/>
              <a:ext cx="34743" cy="28125"/>
            </a:xfrm>
            <a:custGeom>
              <a:avLst/>
              <a:gdLst>
                <a:gd name="T0" fmla="*/ 0 w 21"/>
                <a:gd name="T1" fmla="*/ 3 h 17"/>
                <a:gd name="T2" fmla="*/ 0 w 21"/>
                <a:gd name="T3" fmla="*/ 3 h 17"/>
                <a:gd name="T4" fmla="*/ 2 w 21"/>
                <a:gd name="T5" fmla="*/ 3 h 17"/>
                <a:gd name="T6" fmla="*/ 7 w 21"/>
                <a:gd name="T7" fmla="*/ 3 h 17"/>
                <a:gd name="T8" fmla="*/ 12 w 21"/>
                <a:gd name="T9" fmla="*/ 0 h 17"/>
                <a:gd name="T10" fmla="*/ 19 w 21"/>
                <a:gd name="T11" fmla="*/ 5 h 17"/>
                <a:gd name="T12" fmla="*/ 19 w 21"/>
                <a:gd name="T13" fmla="*/ 8 h 17"/>
                <a:gd name="T14" fmla="*/ 19 w 21"/>
                <a:gd name="T15" fmla="*/ 8 h 17"/>
                <a:gd name="T16" fmla="*/ 21 w 21"/>
                <a:gd name="T17" fmla="*/ 10 h 17"/>
                <a:gd name="T18" fmla="*/ 19 w 21"/>
                <a:gd name="T19" fmla="*/ 12 h 17"/>
                <a:gd name="T20" fmla="*/ 16 w 21"/>
                <a:gd name="T21" fmla="*/ 15 h 17"/>
                <a:gd name="T22" fmla="*/ 14 w 21"/>
                <a:gd name="T23" fmla="*/ 17 h 17"/>
                <a:gd name="T24" fmla="*/ 9 w 21"/>
                <a:gd name="T25" fmla="*/ 15 h 17"/>
                <a:gd name="T26" fmla="*/ 5 w 21"/>
                <a:gd name="T27" fmla="*/ 12 h 17"/>
                <a:gd name="T28" fmla="*/ 2 w 21"/>
                <a:gd name="T29" fmla="*/ 10 h 17"/>
                <a:gd name="T30" fmla="*/ 0 w 21"/>
                <a:gd name="T31" fmla="*/ 8 h 17"/>
                <a:gd name="T32" fmla="*/ 0 w 21"/>
                <a:gd name="T33" fmla="*/ 5 h 17"/>
                <a:gd name="T34" fmla="*/ 0 w 21"/>
                <a:gd name="T35" fmla="*/ 3 h 17"/>
                <a:gd name="T36" fmla="*/ 0 w 21"/>
                <a:gd name="T3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7">
                  <a:moveTo>
                    <a:pt x="0" y="3"/>
                  </a:moveTo>
                  <a:lnTo>
                    <a:pt x="0" y="3"/>
                  </a:lnTo>
                  <a:lnTo>
                    <a:pt x="2" y="3"/>
                  </a:lnTo>
                  <a:lnTo>
                    <a:pt x="7" y="3"/>
                  </a:lnTo>
                  <a:lnTo>
                    <a:pt x="12" y="0"/>
                  </a:lnTo>
                  <a:lnTo>
                    <a:pt x="19" y="5"/>
                  </a:lnTo>
                  <a:lnTo>
                    <a:pt x="19" y="8"/>
                  </a:lnTo>
                  <a:lnTo>
                    <a:pt x="19" y="8"/>
                  </a:lnTo>
                  <a:lnTo>
                    <a:pt x="21" y="10"/>
                  </a:lnTo>
                  <a:lnTo>
                    <a:pt x="19" y="12"/>
                  </a:lnTo>
                  <a:lnTo>
                    <a:pt x="16" y="15"/>
                  </a:lnTo>
                  <a:lnTo>
                    <a:pt x="14" y="17"/>
                  </a:lnTo>
                  <a:lnTo>
                    <a:pt x="9" y="15"/>
                  </a:lnTo>
                  <a:lnTo>
                    <a:pt x="5" y="12"/>
                  </a:lnTo>
                  <a:lnTo>
                    <a:pt x="2" y="10"/>
                  </a:lnTo>
                  <a:lnTo>
                    <a:pt x="0" y="8"/>
                  </a:lnTo>
                  <a:lnTo>
                    <a:pt x="0" y="5"/>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39" name="Freeform 1219">
              <a:extLst>
                <a:ext uri="{FF2B5EF4-FFF2-40B4-BE49-F238E27FC236}">
                  <a16:creationId xmlns:a16="http://schemas.microsoft.com/office/drawing/2014/main" id="{9665061D-F314-4B0F-AE1D-F25F4A24CF5E}"/>
                </a:ext>
              </a:extLst>
            </p:cNvPr>
            <p:cNvSpPr>
              <a:spLocks/>
            </p:cNvSpPr>
            <p:nvPr/>
          </p:nvSpPr>
          <p:spPr bwMode="auto">
            <a:xfrm>
              <a:off x="7496511" y="4546371"/>
              <a:ext cx="8273" cy="11581"/>
            </a:xfrm>
            <a:custGeom>
              <a:avLst/>
              <a:gdLst>
                <a:gd name="T0" fmla="*/ 0 w 5"/>
                <a:gd name="T1" fmla="*/ 0 h 7"/>
                <a:gd name="T2" fmla="*/ 2 w 5"/>
                <a:gd name="T3" fmla="*/ 0 h 7"/>
                <a:gd name="T4" fmla="*/ 2 w 5"/>
                <a:gd name="T5" fmla="*/ 0 h 7"/>
                <a:gd name="T6" fmla="*/ 5 w 5"/>
                <a:gd name="T7" fmla="*/ 7 h 7"/>
                <a:gd name="T8" fmla="*/ 0 w 5"/>
                <a:gd name="T9" fmla="*/ 0 h 7"/>
              </a:gdLst>
              <a:ahLst/>
              <a:cxnLst>
                <a:cxn ang="0">
                  <a:pos x="T0" y="T1"/>
                </a:cxn>
                <a:cxn ang="0">
                  <a:pos x="T2" y="T3"/>
                </a:cxn>
                <a:cxn ang="0">
                  <a:pos x="T4" y="T5"/>
                </a:cxn>
                <a:cxn ang="0">
                  <a:pos x="T6" y="T7"/>
                </a:cxn>
                <a:cxn ang="0">
                  <a:pos x="T8" y="T9"/>
                </a:cxn>
              </a:cxnLst>
              <a:rect l="0" t="0" r="r" b="b"/>
              <a:pathLst>
                <a:path w="5" h="7">
                  <a:moveTo>
                    <a:pt x="0" y="0"/>
                  </a:moveTo>
                  <a:lnTo>
                    <a:pt x="2" y="0"/>
                  </a:lnTo>
                  <a:lnTo>
                    <a:pt x="2" y="0"/>
                  </a:lnTo>
                  <a:lnTo>
                    <a:pt x="5" y="7"/>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0" name="Freeform 1220">
              <a:extLst>
                <a:ext uri="{FF2B5EF4-FFF2-40B4-BE49-F238E27FC236}">
                  <a16:creationId xmlns:a16="http://schemas.microsoft.com/office/drawing/2014/main" id="{C17F4E4D-0585-47D4-80D2-B98DB01E7BFD}"/>
                </a:ext>
              </a:extLst>
            </p:cNvPr>
            <p:cNvSpPr>
              <a:spLocks/>
            </p:cNvSpPr>
            <p:nvPr/>
          </p:nvSpPr>
          <p:spPr bwMode="auto">
            <a:xfrm>
              <a:off x="7496511" y="4546371"/>
              <a:ext cx="8273" cy="11581"/>
            </a:xfrm>
            <a:custGeom>
              <a:avLst/>
              <a:gdLst>
                <a:gd name="T0" fmla="*/ 0 w 5"/>
                <a:gd name="T1" fmla="*/ 0 h 7"/>
                <a:gd name="T2" fmla="*/ 2 w 5"/>
                <a:gd name="T3" fmla="*/ 0 h 7"/>
                <a:gd name="T4" fmla="*/ 2 w 5"/>
                <a:gd name="T5" fmla="*/ 0 h 7"/>
                <a:gd name="T6" fmla="*/ 5 w 5"/>
                <a:gd name="T7" fmla="*/ 7 h 7"/>
                <a:gd name="T8" fmla="*/ 0 w 5"/>
                <a:gd name="T9" fmla="*/ 0 h 7"/>
              </a:gdLst>
              <a:ahLst/>
              <a:cxnLst>
                <a:cxn ang="0">
                  <a:pos x="T0" y="T1"/>
                </a:cxn>
                <a:cxn ang="0">
                  <a:pos x="T2" y="T3"/>
                </a:cxn>
                <a:cxn ang="0">
                  <a:pos x="T4" y="T5"/>
                </a:cxn>
                <a:cxn ang="0">
                  <a:pos x="T6" y="T7"/>
                </a:cxn>
                <a:cxn ang="0">
                  <a:pos x="T8" y="T9"/>
                </a:cxn>
              </a:cxnLst>
              <a:rect l="0" t="0" r="r" b="b"/>
              <a:pathLst>
                <a:path w="5" h="7">
                  <a:moveTo>
                    <a:pt x="0" y="0"/>
                  </a:moveTo>
                  <a:lnTo>
                    <a:pt x="2" y="0"/>
                  </a:lnTo>
                  <a:lnTo>
                    <a:pt x="2" y="0"/>
                  </a:lnTo>
                  <a:lnTo>
                    <a:pt x="5" y="7"/>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1" name="Freeform 1221">
              <a:extLst>
                <a:ext uri="{FF2B5EF4-FFF2-40B4-BE49-F238E27FC236}">
                  <a16:creationId xmlns:a16="http://schemas.microsoft.com/office/drawing/2014/main" id="{DB1DC11B-3E8B-47A3-AAE1-4D50083884E0}"/>
                </a:ext>
              </a:extLst>
            </p:cNvPr>
            <p:cNvSpPr>
              <a:spLocks/>
            </p:cNvSpPr>
            <p:nvPr/>
          </p:nvSpPr>
          <p:spPr bwMode="auto">
            <a:xfrm>
              <a:off x="7536216" y="4523209"/>
              <a:ext cx="3309" cy="14889"/>
            </a:xfrm>
            <a:custGeom>
              <a:avLst/>
              <a:gdLst>
                <a:gd name="T0" fmla="*/ 0 w 2"/>
                <a:gd name="T1" fmla="*/ 0 h 9"/>
                <a:gd name="T2" fmla="*/ 2 w 2"/>
                <a:gd name="T3" fmla="*/ 0 h 9"/>
                <a:gd name="T4" fmla="*/ 2 w 2"/>
                <a:gd name="T5" fmla="*/ 2 h 9"/>
                <a:gd name="T6" fmla="*/ 2 w 2"/>
                <a:gd name="T7" fmla="*/ 4 h 9"/>
                <a:gd name="T8" fmla="*/ 2 w 2"/>
                <a:gd name="T9" fmla="*/ 7 h 9"/>
                <a:gd name="T10" fmla="*/ 2 w 2"/>
                <a:gd name="T11" fmla="*/ 9 h 9"/>
                <a:gd name="T12" fmla="*/ 0 w 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0" y="0"/>
                  </a:moveTo>
                  <a:lnTo>
                    <a:pt x="2" y="0"/>
                  </a:lnTo>
                  <a:lnTo>
                    <a:pt x="2" y="2"/>
                  </a:lnTo>
                  <a:lnTo>
                    <a:pt x="2" y="4"/>
                  </a:lnTo>
                  <a:lnTo>
                    <a:pt x="2" y="7"/>
                  </a:lnTo>
                  <a:lnTo>
                    <a:pt x="2" y="9"/>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2" name="Freeform 1222">
              <a:extLst>
                <a:ext uri="{FF2B5EF4-FFF2-40B4-BE49-F238E27FC236}">
                  <a16:creationId xmlns:a16="http://schemas.microsoft.com/office/drawing/2014/main" id="{E0720390-3969-4B40-AA77-AE29BE9A56C3}"/>
                </a:ext>
              </a:extLst>
            </p:cNvPr>
            <p:cNvSpPr>
              <a:spLocks/>
            </p:cNvSpPr>
            <p:nvPr/>
          </p:nvSpPr>
          <p:spPr bwMode="auto">
            <a:xfrm>
              <a:off x="7536216" y="4523209"/>
              <a:ext cx="3309" cy="14889"/>
            </a:xfrm>
            <a:custGeom>
              <a:avLst/>
              <a:gdLst>
                <a:gd name="T0" fmla="*/ 0 w 2"/>
                <a:gd name="T1" fmla="*/ 0 h 9"/>
                <a:gd name="T2" fmla="*/ 2 w 2"/>
                <a:gd name="T3" fmla="*/ 0 h 9"/>
                <a:gd name="T4" fmla="*/ 2 w 2"/>
                <a:gd name="T5" fmla="*/ 2 h 9"/>
                <a:gd name="T6" fmla="*/ 2 w 2"/>
                <a:gd name="T7" fmla="*/ 4 h 9"/>
                <a:gd name="T8" fmla="*/ 2 w 2"/>
                <a:gd name="T9" fmla="*/ 7 h 9"/>
                <a:gd name="T10" fmla="*/ 2 w 2"/>
                <a:gd name="T11" fmla="*/ 9 h 9"/>
                <a:gd name="T12" fmla="*/ 0 w 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0" y="0"/>
                  </a:moveTo>
                  <a:lnTo>
                    <a:pt x="2" y="0"/>
                  </a:lnTo>
                  <a:lnTo>
                    <a:pt x="2" y="2"/>
                  </a:lnTo>
                  <a:lnTo>
                    <a:pt x="2" y="4"/>
                  </a:lnTo>
                  <a:lnTo>
                    <a:pt x="2" y="7"/>
                  </a:lnTo>
                  <a:lnTo>
                    <a:pt x="2" y="9"/>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3" name="Freeform 1223">
              <a:extLst>
                <a:ext uri="{FF2B5EF4-FFF2-40B4-BE49-F238E27FC236}">
                  <a16:creationId xmlns:a16="http://schemas.microsoft.com/office/drawing/2014/main" id="{5E867D90-DBC7-44F3-93A1-6F337E32D726}"/>
                </a:ext>
              </a:extLst>
            </p:cNvPr>
            <p:cNvSpPr>
              <a:spLocks/>
            </p:cNvSpPr>
            <p:nvPr/>
          </p:nvSpPr>
          <p:spPr bwMode="auto">
            <a:xfrm>
              <a:off x="7579232" y="4577804"/>
              <a:ext cx="11582" cy="14889"/>
            </a:xfrm>
            <a:custGeom>
              <a:avLst/>
              <a:gdLst>
                <a:gd name="T0" fmla="*/ 7 w 7"/>
                <a:gd name="T1" fmla="*/ 0 h 9"/>
                <a:gd name="T2" fmla="*/ 7 w 7"/>
                <a:gd name="T3" fmla="*/ 2 h 9"/>
                <a:gd name="T4" fmla="*/ 7 w 7"/>
                <a:gd name="T5" fmla="*/ 2 h 9"/>
                <a:gd name="T6" fmla="*/ 7 w 7"/>
                <a:gd name="T7" fmla="*/ 4 h 9"/>
                <a:gd name="T8" fmla="*/ 4 w 7"/>
                <a:gd name="T9" fmla="*/ 9 h 9"/>
                <a:gd name="T10" fmla="*/ 2 w 7"/>
                <a:gd name="T11" fmla="*/ 9 h 9"/>
                <a:gd name="T12" fmla="*/ 0 w 7"/>
                <a:gd name="T13" fmla="*/ 4 h 9"/>
                <a:gd name="T14" fmla="*/ 2 w 7"/>
                <a:gd name="T15" fmla="*/ 2 h 9"/>
                <a:gd name="T16" fmla="*/ 2 w 7"/>
                <a:gd name="T17" fmla="*/ 0 h 9"/>
                <a:gd name="T18" fmla="*/ 7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0"/>
                  </a:moveTo>
                  <a:lnTo>
                    <a:pt x="7" y="2"/>
                  </a:lnTo>
                  <a:lnTo>
                    <a:pt x="7" y="2"/>
                  </a:lnTo>
                  <a:lnTo>
                    <a:pt x="7" y="4"/>
                  </a:lnTo>
                  <a:lnTo>
                    <a:pt x="4" y="9"/>
                  </a:lnTo>
                  <a:lnTo>
                    <a:pt x="2" y="9"/>
                  </a:lnTo>
                  <a:lnTo>
                    <a:pt x="0" y="4"/>
                  </a:lnTo>
                  <a:lnTo>
                    <a:pt x="2" y="2"/>
                  </a:lnTo>
                  <a:lnTo>
                    <a:pt x="2" y="0"/>
                  </a:lnTo>
                  <a:lnTo>
                    <a:pt x="7"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4" name="Freeform 1224">
              <a:extLst>
                <a:ext uri="{FF2B5EF4-FFF2-40B4-BE49-F238E27FC236}">
                  <a16:creationId xmlns:a16="http://schemas.microsoft.com/office/drawing/2014/main" id="{4016D95E-9A3C-4CCB-8682-37B4EE373E29}"/>
                </a:ext>
              </a:extLst>
            </p:cNvPr>
            <p:cNvSpPr>
              <a:spLocks/>
            </p:cNvSpPr>
            <p:nvPr/>
          </p:nvSpPr>
          <p:spPr bwMode="auto">
            <a:xfrm>
              <a:off x="7579232" y="4577804"/>
              <a:ext cx="11582" cy="14889"/>
            </a:xfrm>
            <a:custGeom>
              <a:avLst/>
              <a:gdLst>
                <a:gd name="T0" fmla="*/ 7 w 7"/>
                <a:gd name="T1" fmla="*/ 0 h 9"/>
                <a:gd name="T2" fmla="*/ 7 w 7"/>
                <a:gd name="T3" fmla="*/ 2 h 9"/>
                <a:gd name="T4" fmla="*/ 7 w 7"/>
                <a:gd name="T5" fmla="*/ 2 h 9"/>
                <a:gd name="T6" fmla="*/ 7 w 7"/>
                <a:gd name="T7" fmla="*/ 4 h 9"/>
                <a:gd name="T8" fmla="*/ 4 w 7"/>
                <a:gd name="T9" fmla="*/ 9 h 9"/>
                <a:gd name="T10" fmla="*/ 2 w 7"/>
                <a:gd name="T11" fmla="*/ 9 h 9"/>
                <a:gd name="T12" fmla="*/ 0 w 7"/>
                <a:gd name="T13" fmla="*/ 4 h 9"/>
                <a:gd name="T14" fmla="*/ 2 w 7"/>
                <a:gd name="T15" fmla="*/ 2 h 9"/>
                <a:gd name="T16" fmla="*/ 2 w 7"/>
                <a:gd name="T17" fmla="*/ 0 h 9"/>
                <a:gd name="T18" fmla="*/ 7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0"/>
                  </a:moveTo>
                  <a:lnTo>
                    <a:pt x="7" y="2"/>
                  </a:lnTo>
                  <a:lnTo>
                    <a:pt x="7" y="2"/>
                  </a:lnTo>
                  <a:lnTo>
                    <a:pt x="7" y="4"/>
                  </a:lnTo>
                  <a:lnTo>
                    <a:pt x="4" y="9"/>
                  </a:lnTo>
                  <a:lnTo>
                    <a:pt x="2" y="9"/>
                  </a:lnTo>
                  <a:lnTo>
                    <a:pt x="0" y="4"/>
                  </a:lnTo>
                  <a:lnTo>
                    <a:pt x="2" y="2"/>
                  </a:lnTo>
                  <a:lnTo>
                    <a:pt x="2" y="0"/>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5" name="Freeform 1225">
              <a:extLst>
                <a:ext uri="{FF2B5EF4-FFF2-40B4-BE49-F238E27FC236}">
                  <a16:creationId xmlns:a16="http://schemas.microsoft.com/office/drawing/2014/main" id="{F36FEE9A-D8C6-4036-AC84-B5DDEF6F3C53}"/>
                </a:ext>
              </a:extLst>
            </p:cNvPr>
            <p:cNvSpPr>
              <a:spLocks/>
            </p:cNvSpPr>
            <p:nvPr/>
          </p:nvSpPr>
          <p:spPr bwMode="auto">
            <a:xfrm>
              <a:off x="7554416" y="4589386"/>
              <a:ext cx="43015" cy="89339"/>
            </a:xfrm>
            <a:custGeom>
              <a:avLst/>
              <a:gdLst>
                <a:gd name="T0" fmla="*/ 10 w 26"/>
                <a:gd name="T1" fmla="*/ 0 h 54"/>
                <a:gd name="T2" fmla="*/ 10 w 26"/>
                <a:gd name="T3" fmla="*/ 0 h 54"/>
                <a:gd name="T4" fmla="*/ 12 w 26"/>
                <a:gd name="T5" fmla="*/ 0 h 54"/>
                <a:gd name="T6" fmla="*/ 12 w 26"/>
                <a:gd name="T7" fmla="*/ 2 h 54"/>
                <a:gd name="T8" fmla="*/ 10 w 26"/>
                <a:gd name="T9" fmla="*/ 4 h 54"/>
                <a:gd name="T10" fmla="*/ 8 w 26"/>
                <a:gd name="T11" fmla="*/ 4 h 54"/>
                <a:gd name="T12" fmla="*/ 8 w 26"/>
                <a:gd name="T13" fmla="*/ 7 h 54"/>
                <a:gd name="T14" fmla="*/ 10 w 26"/>
                <a:gd name="T15" fmla="*/ 7 h 54"/>
                <a:gd name="T16" fmla="*/ 10 w 26"/>
                <a:gd name="T17" fmla="*/ 12 h 54"/>
                <a:gd name="T18" fmla="*/ 12 w 26"/>
                <a:gd name="T19" fmla="*/ 14 h 54"/>
                <a:gd name="T20" fmla="*/ 10 w 26"/>
                <a:gd name="T21" fmla="*/ 16 h 54"/>
                <a:gd name="T22" fmla="*/ 8 w 26"/>
                <a:gd name="T23" fmla="*/ 21 h 54"/>
                <a:gd name="T24" fmla="*/ 5 w 26"/>
                <a:gd name="T25" fmla="*/ 21 h 54"/>
                <a:gd name="T26" fmla="*/ 5 w 26"/>
                <a:gd name="T27" fmla="*/ 23 h 54"/>
                <a:gd name="T28" fmla="*/ 8 w 26"/>
                <a:gd name="T29" fmla="*/ 23 h 54"/>
                <a:gd name="T30" fmla="*/ 10 w 26"/>
                <a:gd name="T31" fmla="*/ 21 h 54"/>
                <a:gd name="T32" fmla="*/ 12 w 26"/>
                <a:gd name="T33" fmla="*/ 19 h 54"/>
                <a:gd name="T34" fmla="*/ 15 w 26"/>
                <a:gd name="T35" fmla="*/ 14 h 54"/>
                <a:gd name="T36" fmla="*/ 17 w 26"/>
                <a:gd name="T37" fmla="*/ 12 h 54"/>
                <a:gd name="T38" fmla="*/ 22 w 26"/>
                <a:gd name="T39" fmla="*/ 12 h 54"/>
                <a:gd name="T40" fmla="*/ 22 w 26"/>
                <a:gd name="T41" fmla="*/ 12 h 54"/>
                <a:gd name="T42" fmla="*/ 24 w 26"/>
                <a:gd name="T43" fmla="*/ 14 h 54"/>
                <a:gd name="T44" fmla="*/ 24 w 26"/>
                <a:gd name="T45" fmla="*/ 19 h 54"/>
                <a:gd name="T46" fmla="*/ 17 w 26"/>
                <a:gd name="T47" fmla="*/ 23 h 54"/>
                <a:gd name="T48" fmla="*/ 17 w 26"/>
                <a:gd name="T49" fmla="*/ 26 h 54"/>
                <a:gd name="T50" fmla="*/ 22 w 26"/>
                <a:gd name="T51" fmla="*/ 28 h 54"/>
                <a:gd name="T52" fmla="*/ 22 w 26"/>
                <a:gd name="T53" fmla="*/ 30 h 54"/>
                <a:gd name="T54" fmla="*/ 24 w 26"/>
                <a:gd name="T55" fmla="*/ 33 h 54"/>
                <a:gd name="T56" fmla="*/ 26 w 26"/>
                <a:gd name="T57" fmla="*/ 33 h 54"/>
                <a:gd name="T58" fmla="*/ 22 w 26"/>
                <a:gd name="T59" fmla="*/ 33 h 54"/>
                <a:gd name="T60" fmla="*/ 19 w 26"/>
                <a:gd name="T61" fmla="*/ 33 h 54"/>
                <a:gd name="T62" fmla="*/ 15 w 26"/>
                <a:gd name="T63" fmla="*/ 30 h 54"/>
                <a:gd name="T64" fmla="*/ 12 w 26"/>
                <a:gd name="T65" fmla="*/ 30 h 54"/>
                <a:gd name="T66" fmla="*/ 10 w 26"/>
                <a:gd name="T67" fmla="*/ 33 h 54"/>
                <a:gd name="T68" fmla="*/ 10 w 26"/>
                <a:gd name="T69" fmla="*/ 38 h 54"/>
                <a:gd name="T70" fmla="*/ 10 w 26"/>
                <a:gd name="T71" fmla="*/ 42 h 54"/>
                <a:gd name="T72" fmla="*/ 12 w 26"/>
                <a:gd name="T73" fmla="*/ 47 h 54"/>
                <a:gd name="T74" fmla="*/ 15 w 26"/>
                <a:gd name="T75" fmla="*/ 49 h 54"/>
                <a:gd name="T76" fmla="*/ 17 w 26"/>
                <a:gd name="T77" fmla="*/ 54 h 54"/>
                <a:gd name="T78" fmla="*/ 15 w 26"/>
                <a:gd name="T79" fmla="*/ 54 h 54"/>
                <a:gd name="T80" fmla="*/ 12 w 26"/>
                <a:gd name="T81" fmla="*/ 49 h 54"/>
                <a:gd name="T82" fmla="*/ 8 w 26"/>
                <a:gd name="T83" fmla="*/ 42 h 54"/>
                <a:gd name="T84" fmla="*/ 5 w 26"/>
                <a:gd name="T85" fmla="*/ 33 h 54"/>
                <a:gd name="T86" fmla="*/ 3 w 26"/>
                <a:gd name="T87" fmla="*/ 28 h 54"/>
                <a:gd name="T88" fmla="*/ 3 w 26"/>
                <a:gd name="T89" fmla="*/ 26 h 54"/>
                <a:gd name="T90" fmla="*/ 3 w 26"/>
                <a:gd name="T91" fmla="*/ 21 h 54"/>
                <a:gd name="T92" fmla="*/ 3 w 26"/>
                <a:gd name="T93" fmla="*/ 21 h 54"/>
                <a:gd name="T94" fmla="*/ 0 w 26"/>
                <a:gd name="T95" fmla="*/ 19 h 54"/>
                <a:gd name="T96" fmla="*/ 0 w 26"/>
                <a:gd name="T97" fmla="*/ 14 h 54"/>
                <a:gd name="T98" fmla="*/ 0 w 26"/>
                <a:gd name="T99" fmla="*/ 14 h 54"/>
                <a:gd name="T100" fmla="*/ 3 w 26"/>
                <a:gd name="T101" fmla="*/ 7 h 54"/>
                <a:gd name="T102" fmla="*/ 5 w 26"/>
                <a:gd name="T103" fmla="*/ 4 h 54"/>
                <a:gd name="T104" fmla="*/ 10 w 26"/>
                <a:gd name="T10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54">
                  <a:moveTo>
                    <a:pt x="10" y="0"/>
                  </a:moveTo>
                  <a:lnTo>
                    <a:pt x="10" y="0"/>
                  </a:lnTo>
                  <a:lnTo>
                    <a:pt x="12" y="0"/>
                  </a:lnTo>
                  <a:lnTo>
                    <a:pt x="12" y="2"/>
                  </a:lnTo>
                  <a:lnTo>
                    <a:pt x="10" y="4"/>
                  </a:lnTo>
                  <a:lnTo>
                    <a:pt x="8" y="4"/>
                  </a:lnTo>
                  <a:lnTo>
                    <a:pt x="8" y="7"/>
                  </a:lnTo>
                  <a:lnTo>
                    <a:pt x="10" y="7"/>
                  </a:lnTo>
                  <a:lnTo>
                    <a:pt x="10" y="12"/>
                  </a:lnTo>
                  <a:lnTo>
                    <a:pt x="12" y="14"/>
                  </a:lnTo>
                  <a:lnTo>
                    <a:pt x="10" y="16"/>
                  </a:lnTo>
                  <a:lnTo>
                    <a:pt x="8" y="21"/>
                  </a:lnTo>
                  <a:lnTo>
                    <a:pt x="5" y="21"/>
                  </a:lnTo>
                  <a:lnTo>
                    <a:pt x="5" y="23"/>
                  </a:lnTo>
                  <a:lnTo>
                    <a:pt x="8" y="23"/>
                  </a:lnTo>
                  <a:lnTo>
                    <a:pt x="10" y="21"/>
                  </a:lnTo>
                  <a:lnTo>
                    <a:pt x="12" y="19"/>
                  </a:lnTo>
                  <a:lnTo>
                    <a:pt x="15" y="14"/>
                  </a:lnTo>
                  <a:lnTo>
                    <a:pt x="17" y="12"/>
                  </a:lnTo>
                  <a:lnTo>
                    <a:pt x="22" y="12"/>
                  </a:lnTo>
                  <a:lnTo>
                    <a:pt x="22" y="12"/>
                  </a:lnTo>
                  <a:lnTo>
                    <a:pt x="24" y="14"/>
                  </a:lnTo>
                  <a:lnTo>
                    <a:pt x="24" y="19"/>
                  </a:lnTo>
                  <a:lnTo>
                    <a:pt x="17" y="23"/>
                  </a:lnTo>
                  <a:lnTo>
                    <a:pt x="17" y="26"/>
                  </a:lnTo>
                  <a:lnTo>
                    <a:pt x="22" y="28"/>
                  </a:lnTo>
                  <a:lnTo>
                    <a:pt x="22" y="30"/>
                  </a:lnTo>
                  <a:lnTo>
                    <a:pt x="24" y="33"/>
                  </a:lnTo>
                  <a:lnTo>
                    <a:pt x="26" y="33"/>
                  </a:lnTo>
                  <a:lnTo>
                    <a:pt x="22" y="33"/>
                  </a:lnTo>
                  <a:lnTo>
                    <a:pt x="19" y="33"/>
                  </a:lnTo>
                  <a:lnTo>
                    <a:pt x="15" y="30"/>
                  </a:lnTo>
                  <a:lnTo>
                    <a:pt x="12" y="30"/>
                  </a:lnTo>
                  <a:lnTo>
                    <a:pt x="10" y="33"/>
                  </a:lnTo>
                  <a:lnTo>
                    <a:pt x="10" y="38"/>
                  </a:lnTo>
                  <a:lnTo>
                    <a:pt x="10" y="42"/>
                  </a:lnTo>
                  <a:lnTo>
                    <a:pt x="12" y="47"/>
                  </a:lnTo>
                  <a:lnTo>
                    <a:pt x="15" y="49"/>
                  </a:lnTo>
                  <a:lnTo>
                    <a:pt x="17" y="54"/>
                  </a:lnTo>
                  <a:lnTo>
                    <a:pt x="15" y="54"/>
                  </a:lnTo>
                  <a:lnTo>
                    <a:pt x="12" y="49"/>
                  </a:lnTo>
                  <a:lnTo>
                    <a:pt x="8" y="42"/>
                  </a:lnTo>
                  <a:lnTo>
                    <a:pt x="5" y="33"/>
                  </a:lnTo>
                  <a:lnTo>
                    <a:pt x="3" y="28"/>
                  </a:lnTo>
                  <a:lnTo>
                    <a:pt x="3" y="26"/>
                  </a:lnTo>
                  <a:lnTo>
                    <a:pt x="3" y="21"/>
                  </a:lnTo>
                  <a:lnTo>
                    <a:pt x="3" y="21"/>
                  </a:lnTo>
                  <a:lnTo>
                    <a:pt x="0" y="19"/>
                  </a:lnTo>
                  <a:lnTo>
                    <a:pt x="0" y="14"/>
                  </a:lnTo>
                  <a:lnTo>
                    <a:pt x="0" y="14"/>
                  </a:lnTo>
                  <a:lnTo>
                    <a:pt x="3" y="7"/>
                  </a:lnTo>
                  <a:lnTo>
                    <a:pt x="5" y="4"/>
                  </a:lnTo>
                  <a:lnTo>
                    <a:pt x="1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6" name="Freeform 1226">
              <a:extLst>
                <a:ext uri="{FF2B5EF4-FFF2-40B4-BE49-F238E27FC236}">
                  <a16:creationId xmlns:a16="http://schemas.microsoft.com/office/drawing/2014/main" id="{145262BE-A706-400D-A07A-BE13B5B5791A}"/>
                </a:ext>
              </a:extLst>
            </p:cNvPr>
            <p:cNvSpPr>
              <a:spLocks/>
            </p:cNvSpPr>
            <p:nvPr/>
          </p:nvSpPr>
          <p:spPr bwMode="auto">
            <a:xfrm>
              <a:off x="7554416" y="4589386"/>
              <a:ext cx="43015" cy="89339"/>
            </a:xfrm>
            <a:custGeom>
              <a:avLst/>
              <a:gdLst>
                <a:gd name="T0" fmla="*/ 10 w 26"/>
                <a:gd name="T1" fmla="*/ 0 h 54"/>
                <a:gd name="T2" fmla="*/ 10 w 26"/>
                <a:gd name="T3" fmla="*/ 0 h 54"/>
                <a:gd name="T4" fmla="*/ 12 w 26"/>
                <a:gd name="T5" fmla="*/ 0 h 54"/>
                <a:gd name="T6" fmla="*/ 12 w 26"/>
                <a:gd name="T7" fmla="*/ 2 h 54"/>
                <a:gd name="T8" fmla="*/ 10 w 26"/>
                <a:gd name="T9" fmla="*/ 4 h 54"/>
                <a:gd name="T10" fmla="*/ 8 w 26"/>
                <a:gd name="T11" fmla="*/ 4 h 54"/>
                <a:gd name="T12" fmla="*/ 8 w 26"/>
                <a:gd name="T13" fmla="*/ 7 h 54"/>
                <a:gd name="T14" fmla="*/ 10 w 26"/>
                <a:gd name="T15" fmla="*/ 7 h 54"/>
                <a:gd name="T16" fmla="*/ 10 w 26"/>
                <a:gd name="T17" fmla="*/ 12 h 54"/>
                <a:gd name="T18" fmla="*/ 12 w 26"/>
                <a:gd name="T19" fmla="*/ 14 h 54"/>
                <a:gd name="T20" fmla="*/ 10 w 26"/>
                <a:gd name="T21" fmla="*/ 16 h 54"/>
                <a:gd name="T22" fmla="*/ 8 w 26"/>
                <a:gd name="T23" fmla="*/ 21 h 54"/>
                <a:gd name="T24" fmla="*/ 5 w 26"/>
                <a:gd name="T25" fmla="*/ 21 h 54"/>
                <a:gd name="T26" fmla="*/ 5 w 26"/>
                <a:gd name="T27" fmla="*/ 23 h 54"/>
                <a:gd name="T28" fmla="*/ 8 w 26"/>
                <a:gd name="T29" fmla="*/ 23 h 54"/>
                <a:gd name="T30" fmla="*/ 10 w 26"/>
                <a:gd name="T31" fmla="*/ 21 h 54"/>
                <a:gd name="T32" fmla="*/ 12 w 26"/>
                <a:gd name="T33" fmla="*/ 19 h 54"/>
                <a:gd name="T34" fmla="*/ 15 w 26"/>
                <a:gd name="T35" fmla="*/ 14 h 54"/>
                <a:gd name="T36" fmla="*/ 17 w 26"/>
                <a:gd name="T37" fmla="*/ 12 h 54"/>
                <a:gd name="T38" fmla="*/ 22 w 26"/>
                <a:gd name="T39" fmla="*/ 12 h 54"/>
                <a:gd name="T40" fmla="*/ 22 w 26"/>
                <a:gd name="T41" fmla="*/ 12 h 54"/>
                <a:gd name="T42" fmla="*/ 24 w 26"/>
                <a:gd name="T43" fmla="*/ 14 h 54"/>
                <a:gd name="T44" fmla="*/ 24 w 26"/>
                <a:gd name="T45" fmla="*/ 19 h 54"/>
                <a:gd name="T46" fmla="*/ 17 w 26"/>
                <a:gd name="T47" fmla="*/ 23 h 54"/>
                <a:gd name="T48" fmla="*/ 17 w 26"/>
                <a:gd name="T49" fmla="*/ 26 h 54"/>
                <a:gd name="T50" fmla="*/ 22 w 26"/>
                <a:gd name="T51" fmla="*/ 28 h 54"/>
                <a:gd name="T52" fmla="*/ 22 w 26"/>
                <a:gd name="T53" fmla="*/ 30 h 54"/>
                <a:gd name="T54" fmla="*/ 24 w 26"/>
                <a:gd name="T55" fmla="*/ 33 h 54"/>
                <a:gd name="T56" fmla="*/ 26 w 26"/>
                <a:gd name="T57" fmla="*/ 33 h 54"/>
                <a:gd name="T58" fmla="*/ 22 w 26"/>
                <a:gd name="T59" fmla="*/ 33 h 54"/>
                <a:gd name="T60" fmla="*/ 19 w 26"/>
                <a:gd name="T61" fmla="*/ 33 h 54"/>
                <a:gd name="T62" fmla="*/ 15 w 26"/>
                <a:gd name="T63" fmla="*/ 30 h 54"/>
                <a:gd name="T64" fmla="*/ 12 w 26"/>
                <a:gd name="T65" fmla="*/ 30 h 54"/>
                <a:gd name="T66" fmla="*/ 10 w 26"/>
                <a:gd name="T67" fmla="*/ 33 h 54"/>
                <a:gd name="T68" fmla="*/ 10 w 26"/>
                <a:gd name="T69" fmla="*/ 38 h 54"/>
                <a:gd name="T70" fmla="*/ 10 w 26"/>
                <a:gd name="T71" fmla="*/ 42 h 54"/>
                <a:gd name="T72" fmla="*/ 12 w 26"/>
                <a:gd name="T73" fmla="*/ 47 h 54"/>
                <a:gd name="T74" fmla="*/ 15 w 26"/>
                <a:gd name="T75" fmla="*/ 49 h 54"/>
                <a:gd name="T76" fmla="*/ 17 w 26"/>
                <a:gd name="T77" fmla="*/ 54 h 54"/>
                <a:gd name="T78" fmla="*/ 15 w 26"/>
                <a:gd name="T79" fmla="*/ 54 h 54"/>
                <a:gd name="T80" fmla="*/ 12 w 26"/>
                <a:gd name="T81" fmla="*/ 49 h 54"/>
                <a:gd name="T82" fmla="*/ 8 w 26"/>
                <a:gd name="T83" fmla="*/ 42 h 54"/>
                <a:gd name="T84" fmla="*/ 5 w 26"/>
                <a:gd name="T85" fmla="*/ 33 h 54"/>
                <a:gd name="T86" fmla="*/ 3 w 26"/>
                <a:gd name="T87" fmla="*/ 28 h 54"/>
                <a:gd name="T88" fmla="*/ 3 w 26"/>
                <a:gd name="T89" fmla="*/ 26 h 54"/>
                <a:gd name="T90" fmla="*/ 3 w 26"/>
                <a:gd name="T91" fmla="*/ 21 h 54"/>
                <a:gd name="T92" fmla="*/ 3 w 26"/>
                <a:gd name="T93" fmla="*/ 21 h 54"/>
                <a:gd name="T94" fmla="*/ 0 w 26"/>
                <a:gd name="T95" fmla="*/ 19 h 54"/>
                <a:gd name="T96" fmla="*/ 0 w 26"/>
                <a:gd name="T97" fmla="*/ 14 h 54"/>
                <a:gd name="T98" fmla="*/ 0 w 26"/>
                <a:gd name="T99" fmla="*/ 14 h 54"/>
                <a:gd name="T100" fmla="*/ 3 w 26"/>
                <a:gd name="T101" fmla="*/ 7 h 54"/>
                <a:gd name="T102" fmla="*/ 5 w 26"/>
                <a:gd name="T103" fmla="*/ 4 h 54"/>
                <a:gd name="T104" fmla="*/ 10 w 26"/>
                <a:gd name="T10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 h="54">
                  <a:moveTo>
                    <a:pt x="10" y="0"/>
                  </a:moveTo>
                  <a:lnTo>
                    <a:pt x="10" y="0"/>
                  </a:lnTo>
                  <a:lnTo>
                    <a:pt x="12" y="0"/>
                  </a:lnTo>
                  <a:lnTo>
                    <a:pt x="12" y="2"/>
                  </a:lnTo>
                  <a:lnTo>
                    <a:pt x="10" y="4"/>
                  </a:lnTo>
                  <a:lnTo>
                    <a:pt x="8" y="4"/>
                  </a:lnTo>
                  <a:lnTo>
                    <a:pt x="8" y="7"/>
                  </a:lnTo>
                  <a:lnTo>
                    <a:pt x="10" y="7"/>
                  </a:lnTo>
                  <a:lnTo>
                    <a:pt x="10" y="12"/>
                  </a:lnTo>
                  <a:lnTo>
                    <a:pt x="12" y="14"/>
                  </a:lnTo>
                  <a:lnTo>
                    <a:pt x="10" y="16"/>
                  </a:lnTo>
                  <a:lnTo>
                    <a:pt x="8" y="21"/>
                  </a:lnTo>
                  <a:lnTo>
                    <a:pt x="5" y="21"/>
                  </a:lnTo>
                  <a:lnTo>
                    <a:pt x="5" y="23"/>
                  </a:lnTo>
                  <a:lnTo>
                    <a:pt x="8" y="23"/>
                  </a:lnTo>
                  <a:lnTo>
                    <a:pt x="10" y="21"/>
                  </a:lnTo>
                  <a:lnTo>
                    <a:pt x="12" y="19"/>
                  </a:lnTo>
                  <a:lnTo>
                    <a:pt x="15" y="14"/>
                  </a:lnTo>
                  <a:lnTo>
                    <a:pt x="17" y="12"/>
                  </a:lnTo>
                  <a:lnTo>
                    <a:pt x="22" y="12"/>
                  </a:lnTo>
                  <a:lnTo>
                    <a:pt x="22" y="12"/>
                  </a:lnTo>
                  <a:lnTo>
                    <a:pt x="24" y="14"/>
                  </a:lnTo>
                  <a:lnTo>
                    <a:pt x="24" y="19"/>
                  </a:lnTo>
                  <a:lnTo>
                    <a:pt x="17" y="23"/>
                  </a:lnTo>
                  <a:lnTo>
                    <a:pt x="17" y="26"/>
                  </a:lnTo>
                  <a:lnTo>
                    <a:pt x="22" y="28"/>
                  </a:lnTo>
                  <a:lnTo>
                    <a:pt x="22" y="30"/>
                  </a:lnTo>
                  <a:lnTo>
                    <a:pt x="24" y="33"/>
                  </a:lnTo>
                  <a:lnTo>
                    <a:pt x="26" y="33"/>
                  </a:lnTo>
                  <a:lnTo>
                    <a:pt x="22" y="33"/>
                  </a:lnTo>
                  <a:lnTo>
                    <a:pt x="19" y="33"/>
                  </a:lnTo>
                  <a:lnTo>
                    <a:pt x="15" y="30"/>
                  </a:lnTo>
                  <a:lnTo>
                    <a:pt x="12" y="30"/>
                  </a:lnTo>
                  <a:lnTo>
                    <a:pt x="10" y="33"/>
                  </a:lnTo>
                  <a:lnTo>
                    <a:pt x="10" y="38"/>
                  </a:lnTo>
                  <a:lnTo>
                    <a:pt x="10" y="42"/>
                  </a:lnTo>
                  <a:lnTo>
                    <a:pt x="12" y="47"/>
                  </a:lnTo>
                  <a:lnTo>
                    <a:pt x="15" y="49"/>
                  </a:lnTo>
                  <a:lnTo>
                    <a:pt x="17" y="54"/>
                  </a:lnTo>
                  <a:lnTo>
                    <a:pt x="15" y="54"/>
                  </a:lnTo>
                  <a:lnTo>
                    <a:pt x="12" y="49"/>
                  </a:lnTo>
                  <a:lnTo>
                    <a:pt x="8" y="42"/>
                  </a:lnTo>
                  <a:lnTo>
                    <a:pt x="5" y="33"/>
                  </a:lnTo>
                  <a:lnTo>
                    <a:pt x="3" y="28"/>
                  </a:lnTo>
                  <a:lnTo>
                    <a:pt x="3" y="26"/>
                  </a:lnTo>
                  <a:lnTo>
                    <a:pt x="3" y="21"/>
                  </a:lnTo>
                  <a:lnTo>
                    <a:pt x="3" y="21"/>
                  </a:lnTo>
                  <a:lnTo>
                    <a:pt x="0" y="19"/>
                  </a:lnTo>
                  <a:lnTo>
                    <a:pt x="0" y="14"/>
                  </a:lnTo>
                  <a:lnTo>
                    <a:pt x="0" y="14"/>
                  </a:lnTo>
                  <a:lnTo>
                    <a:pt x="3" y="7"/>
                  </a:lnTo>
                  <a:lnTo>
                    <a:pt x="5" y="4"/>
                  </a:lnTo>
                  <a:lnTo>
                    <a:pt x="1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7" name="Freeform 1227">
              <a:extLst>
                <a:ext uri="{FF2B5EF4-FFF2-40B4-BE49-F238E27FC236}">
                  <a16:creationId xmlns:a16="http://schemas.microsoft.com/office/drawing/2014/main" id="{6A2983C1-5612-49CA-BDBF-13EC3EF7F2A6}"/>
                </a:ext>
              </a:extLst>
            </p:cNvPr>
            <p:cNvSpPr>
              <a:spLocks/>
            </p:cNvSpPr>
            <p:nvPr/>
          </p:nvSpPr>
          <p:spPr bwMode="auto">
            <a:xfrm>
              <a:off x="7554416" y="4663835"/>
              <a:ext cx="13236" cy="14889"/>
            </a:xfrm>
            <a:custGeom>
              <a:avLst/>
              <a:gdLst>
                <a:gd name="T0" fmla="*/ 0 w 8"/>
                <a:gd name="T1" fmla="*/ 0 h 9"/>
                <a:gd name="T2" fmla="*/ 3 w 8"/>
                <a:gd name="T3" fmla="*/ 0 h 9"/>
                <a:gd name="T4" fmla="*/ 3 w 8"/>
                <a:gd name="T5" fmla="*/ 2 h 9"/>
                <a:gd name="T6" fmla="*/ 5 w 8"/>
                <a:gd name="T7" fmla="*/ 4 h 9"/>
                <a:gd name="T8" fmla="*/ 5 w 8"/>
                <a:gd name="T9" fmla="*/ 4 h 9"/>
                <a:gd name="T10" fmla="*/ 8 w 8"/>
                <a:gd name="T11" fmla="*/ 7 h 9"/>
                <a:gd name="T12" fmla="*/ 8 w 8"/>
                <a:gd name="T13" fmla="*/ 9 h 9"/>
                <a:gd name="T14" fmla="*/ 5 w 8"/>
                <a:gd name="T15" fmla="*/ 7 h 9"/>
                <a:gd name="T16" fmla="*/ 3 w 8"/>
                <a:gd name="T17" fmla="*/ 7 h 9"/>
                <a:gd name="T18" fmla="*/ 3 w 8"/>
                <a:gd name="T19" fmla="*/ 4 h 9"/>
                <a:gd name="T20" fmla="*/ 0 w 8"/>
                <a:gd name="T21" fmla="*/ 2 h 9"/>
                <a:gd name="T22" fmla="*/ 0 w 8"/>
                <a:gd name="T23" fmla="*/ 0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3" y="0"/>
                  </a:lnTo>
                  <a:lnTo>
                    <a:pt x="3" y="2"/>
                  </a:lnTo>
                  <a:lnTo>
                    <a:pt x="5" y="4"/>
                  </a:lnTo>
                  <a:lnTo>
                    <a:pt x="5" y="4"/>
                  </a:lnTo>
                  <a:lnTo>
                    <a:pt x="8" y="7"/>
                  </a:lnTo>
                  <a:lnTo>
                    <a:pt x="8" y="9"/>
                  </a:lnTo>
                  <a:lnTo>
                    <a:pt x="5" y="7"/>
                  </a:lnTo>
                  <a:lnTo>
                    <a:pt x="3" y="7"/>
                  </a:lnTo>
                  <a:lnTo>
                    <a:pt x="3" y="4"/>
                  </a:lnTo>
                  <a:lnTo>
                    <a:pt x="0" y="2"/>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8" name="Freeform 1228">
              <a:extLst>
                <a:ext uri="{FF2B5EF4-FFF2-40B4-BE49-F238E27FC236}">
                  <a16:creationId xmlns:a16="http://schemas.microsoft.com/office/drawing/2014/main" id="{27A54D74-B67D-4A1D-B85F-B7D1DD518A07}"/>
                </a:ext>
              </a:extLst>
            </p:cNvPr>
            <p:cNvSpPr>
              <a:spLocks/>
            </p:cNvSpPr>
            <p:nvPr/>
          </p:nvSpPr>
          <p:spPr bwMode="auto">
            <a:xfrm>
              <a:off x="7554416" y="4663835"/>
              <a:ext cx="13236" cy="14889"/>
            </a:xfrm>
            <a:custGeom>
              <a:avLst/>
              <a:gdLst>
                <a:gd name="T0" fmla="*/ 0 w 8"/>
                <a:gd name="T1" fmla="*/ 0 h 9"/>
                <a:gd name="T2" fmla="*/ 3 w 8"/>
                <a:gd name="T3" fmla="*/ 0 h 9"/>
                <a:gd name="T4" fmla="*/ 3 w 8"/>
                <a:gd name="T5" fmla="*/ 2 h 9"/>
                <a:gd name="T6" fmla="*/ 5 w 8"/>
                <a:gd name="T7" fmla="*/ 4 h 9"/>
                <a:gd name="T8" fmla="*/ 5 w 8"/>
                <a:gd name="T9" fmla="*/ 4 h 9"/>
                <a:gd name="T10" fmla="*/ 8 w 8"/>
                <a:gd name="T11" fmla="*/ 7 h 9"/>
                <a:gd name="T12" fmla="*/ 8 w 8"/>
                <a:gd name="T13" fmla="*/ 9 h 9"/>
                <a:gd name="T14" fmla="*/ 5 w 8"/>
                <a:gd name="T15" fmla="*/ 7 h 9"/>
                <a:gd name="T16" fmla="*/ 3 w 8"/>
                <a:gd name="T17" fmla="*/ 7 h 9"/>
                <a:gd name="T18" fmla="*/ 3 w 8"/>
                <a:gd name="T19" fmla="*/ 4 h 9"/>
                <a:gd name="T20" fmla="*/ 0 w 8"/>
                <a:gd name="T21" fmla="*/ 2 h 9"/>
                <a:gd name="T22" fmla="*/ 0 w 8"/>
                <a:gd name="T23" fmla="*/ 0 h 9"/>
                <a:gd name="T24" fmla="*/ 0 w 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0" y="0"/>
                  </a:moveTo>
                  <a:lnTo>
                    <a:pt x="3" y="0"/>
                  </a:lnTo>
                  <a:lnTo>
                    <a:pt x="3" y="2"/>
                  </a:lnTo>
                  <a:lnTo>
                    <a:pt x="5" y="4"/>
                  </a:lnTo>
                  <a:lnTo>
                    <a:pt x="5" y="4"/>
                  </a:lnTo>
                  <a:lnTo>
                    <a:pt x="8" y="7"/>
                  </a:lnTo>
                  <a:lnTo>
                    <a:pt x="8" y="9"/>
                  </a:lnTo>
                  <a:lnTo>
                    <a:pt x="5" y="7"/>
                  </a:lnTo>
                  <a:lnTo>
                    <a:pt x="3" y="7"/>
                  </a:lnTo>
                  <a:lnTo>
                    <a:pt x="3" y="4"/>
                  </a:lnTo>
                  <a:lnTo>
                    <a:pt x="0" y="2"/>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49" name="Freeform 1229">
              <a:extLst>
                <a:ext uri="{FF2B5EF4-FFF2-40B4-BE49-F238E27FC236}">
                  <a16:creationId xmlns:a16="http://schemas.microsoft.com/office/drawing/2014/main" id="{53200ABC-7563-4DCD-B9F5-5D8C6B62D124}"/>
                </a:ext>
              </a:extLst>
            </p:cNvPr>
            <p:cNvSpPr>
              <a:spLocks/>
            </p:cNvSpPr>
            <p:nvPr/>
          </p:nvSpPr>
          <p:spPr bwMode="auto">
            <a:xfrm>
              <a:off x="7554416" y="4690306"/>
              <a:ext cx="24818" cy="11581"/>
            </a:xfrm>
            <a:custGeom>
              <a:avLst/>
              <a:gdLst>
                <a:gd name="T0" fmla="*/ 0 w 15"/>
                <a:gd name="T1" fmla="*/ 3 h 7"/>
                <a:gd name="T2" fmla="*/ 3 w 15"/>
                <a:gd name="T3" fmla="*/ 3 h 7"/>
                <a:gd name="T4" fmla="*/ 5 w 15"/>
                <a:gd name="T5" fmla="*/ 0 h 7"/>
                <a:gd name="T6" fmla="*/ 8 w 15"/>
                <a:gd name="T7" fmla="*/ 0 h 7"/>
                <a:gd name="T8" fmla="*/ 12 w 15"/>
                <a:gd name="T9" fmla="*/ 3 h 7"/>
                <a:gd name="T10" fmla="*/ 15 w 15"/>
                <a:gd name="T11" fmla="*/ 5 h 7"/>
                <a:gd name="T12" fmla="*/ 12 w 15"/>
                <a:gd name="T13" fmla="*/ 7 h 7"/>
                <a:gd name="T14" fmla="*/ 5 w 15"/>
                <a:gd name="T15" fmla="*/ 7 h 7"/>
                <a:gd name="T16" fmla="*/ 3 w 15"/>
                <a:gd name="T17" fmla="*/ 7 h 7"/>
                <a:gd name="T18" fmla="*/ 0 w 15"/>
                <a:gd name="T19" fmla="*/ 5 h 7"/>
                <a:gd name="T20" fmla="*/ 0 w 15"/>
                <a:gd name="T21" fmla="*/ 3 h 7"/>
                <a:gd name="T22" fmla="*/ 0 w 15"/>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3"/>
                  </a:moveTo>
                  <a:lnTo>
                    <a:pt x="3" y="3"/>
                  </a:lnTo>
                  <a:lnTo>
                    <a:pt x="5" y="0"/>
                  </a:lnTo>
                  <a:lnTo>
                    <a:pt x="8" y="0"/>
                  </a:lnTo>
                  <a:lnTo>
                    <a:pt x="12" y="3"/>
                  </a:lnTo>
                  <a:lnTo>
                    <a:pt x="15" y="5"/>
                  </a:lnTo>
                  <a:lnTo>
                    <a:pt x="12" y="7"/>
                  </a:lnTo>
                  <a:lnTo>
                    <a:pt x="5" y="7"/>
                  </a:lnTo>
                  <a:lnTo>
                    <a:pt x="3" y="7"/>
                  </a:lnTo>
                  <a:lnTo>
                    <a:pt x="0" y="5"/>
                  </a:lnTo>
                  <a:lnTo>
                    <a:pt x="0" y="3"/>
                  </a:lnTo>
                  <a:lnTo>
                    <a:pt x="0"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0" name="Freeform 1230">
              <a:extLst>
                <a:ext uri="{FF2B5EF4-FFF2-40B4-BE49-F238E27FC236}">
                  <a16:creationId xmlns:a16="http://schemas.microsoft.com/office/drawing/2014/main" id="{4D082287-72B9-4EB2-B332-C89DDE5B8458}"/>
                </a:ext>
              </a:extLst>
            </p:cNvPr>
            <p:cNvSpPr>
              <a:spLocks/>
            </p:cNvSpPr>
            <p:nvPr/>
          </p:nvSpPr>
          <p:spPr bwMode="auto">
            <a:xfrm>
              <a:off x="7554416" y="4690306"/>
              <a:ext cx="24818" cy="11581"/>
            </a:xfrm>
            <a:custGeom>
              <a:avLst/>
              <a:gdLst>
                <a:gd name="T0" fmla="*/ 0 w 15"/>
                <a:gd name="T1" fmla="*/ 3 h 7"/>
                <a:gd name="T2" fmla="*/ 3 w 15"/>
                <a:gd name="T3" fmla="*/ 3 h 7"/>
                <a:gd name="T4" fmla="*/ 5 w 15"/>
                <a:gd name="T5" fmla="*/ 0 h 7"/>
                <a:gd name="T6" fmla="*/ 8 w 15"/>
                <a:gd name="T7" fmla="*/ 0 h 7"/>
                <a:gd name="T8" fmla="*/ 12 w 15"/>
                <a:gd name="T9" fmla="*/ 3 h 7"/>
                <a:gd name="T10" fmla="*/ 15 w 15"/>
                <a:gd name="T11" fmla="*/ 5 h 7"/>
                <a:gd name="T12" fmla="*/ 12 w 15"/>
                <a:gd name="T13" fmla="*/ 7 h 7"/>
                <a:gd name="T14" fmla="*/ 5 w 15"/>
                <a:gd name="T15" fmla="*/ 7 h 7"/>
                <a:gd name="T16" fmla="*/ 3 w 15"/>
                <a:gd name="T17" fmla="*/ 7 h 7"/>
                <a:gd name="T18" fmla="*/ 0 w 15"/>
                <a:gd name="T19" fmla="*/ 5 h 7"/>
                <a:gd name="T20" fmla="*/ 0 w 15"/>
                <a:gd name="T21" fmla="*/ 3 h 7"/>
                <a:gd name="T22" fmla="*/ 0 w 15"/>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3"/>
                  </a:moveTo>
                  <a:lnTo>
                    <a:pt x="3" y="3"/>
                  </a:lnTo>
                  <a:lnTo>
                    <a:pt x="5" y="0"/>
                  </a:lnTo>
                  <a:lnTo>
                    <a:pt x="8" y="0"/>
                  </a:lnTo>
                  <a:lnTo>
                    <a:pt x="12" y="3"/>
                  </a:lnTo>
                  <a:lnTo>
                    <a:pt x="15" y="5"/>
                  </a:lnTo>
                  <a:lnTo>
                    <a:pt x="12" y="7"/>
                  </a:lnTo>
                  <a:lnTo>
                    <a:pt x="5" y="7"/>
                  </a:lnTo>
                  <a:lnTo>
                    <a:pt x="3" y="7"/>
                  </a:lnTo>
                  <a:lnTo>
                    <a:pt x="0" y="5"/>
                  </a:lnTo>
                  <a:lnTo>
                    <a:pt x="0" y="3"/>
                  </a:lnTo>
                  <a:lnTo>
                    <a:pt x="0"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1" name="Freeform 1231">
              <a:extLst>
                <a:ext uri="{FF2B5EF4-FFF2-40B4-BE49-F238E27FC236}">
                  <a16:creationId xmlns:a16="http://schemas.microsoft.com/office/drawing/2014/main" id="{6CD4A6AA-FF6D-42FF-8A90-730425A810A9}"/>
                </a:ext>
              </a:extLst>
            </p:cNvPr>
            <p:cNvSpPr>
              <a:spLocks/>
            </p:cNvSpPr>
            <p:nvPr/>
          </p:nvSpPr>
          <p:spPr bwMode="auto">
            <a:xfrm>
              <a:off x="7570960" y="4753174"/>
              <a:ext cx="11582" cy="8272"/>
            </a:xfrm>
            <a:custGeom>
              <a:avLst/>
              <a:gdLst>
                <a:gd name="T0" fmla="*/ 2 w 7"/>
                <a:gd name="T1" fmla="*/ 5 h 5"/>
                <a:gd name="T2" fmla="*/ 0 w 7"/>
                <a:gd name="T3" fmla="*/ 5 h 5"/>
                <a:gd name="T4" fmla="*/ 0 w 7"/>
                <a:gd name="T5" fmla="*/ 2 h 5"/>
                <a:gd name="T6" fmla="*/ 2 w 7"/>
                <a:gd name="T7" fmla="*/ 2 h 5"/>
                <a:gd name="T8" fmla="*/ 5 w 7"/>
                <a:gd name="T9" fmla="*/ 0 h 5"/>
                <a:gd name="T10" fmla="*/ 5 w 7"/>
                <a:gd name="T11" fmla="*/ 0 h 5"/>
                <a:gd name="T12" fmla="*/ 7 w 7"/>
                <a:gd name="T13" fmla="*/ 0 h 5"/>
                <a:gd name="T14" fmla="*/ 7 w 7"/>
                <a:gd name="T15" fmla="*/ 2 h 5"/>
                <a:gd name="T16" fmla="*/ 5 w 7"/>
                <a:gd name="T17" fmla="*/ 5 h 5"/>
                <a:gd name="T18" fmla="*/ 5 w 7"/>
                <a:gd name="T19" fmla="*/ 5 h 5"/>
                <a:gd name="T20" fmla="*/ 2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2" y="5"/>
                  </a:moveTo>
                  <a:lnTo>
                    <a:pt x="0" y="5"/>
                  </a:lnTo>
                  <a:lnTo>
                    <a:pt x="0" y="2"/>
                  </a:lnTo>
                  <a:lnTo>
                    <a:pt x="2" y="2"/>
                  </a:lnTo>
                  <a:lnTo>
                    <a:pt x="5" y="0"/>
                  </a:lnTo>
                  <a:lnTo>
                    <a:pt x="5" y="0"/>
                  </a:lnTo>
                  <a:lnTo>
                    <a:pt x="7" y="0"/>
                  </a:lnTo>
                  <a:lnTo>
                    <a:pt x="7" y="2"/>
                  </a:lnTo>
                  <a:lnTo>
                    <a:pt x="5" y="5"/>
                  </a:lnTo>
                  <a:lnTo>
                    <a:pt x="5" y="5"/>
                  </a:lnTo>
                  <a:lnTo>
                    <a:pt x="2" y="5"/>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2" name="Freeform 1232">
              <a:extLst>
                <a:ext uri="{FF2B5EF4-FFF2-40B4-BE49-F238E27FC236}">
                  <a16:creationId xmlns:a16="http://schemas.microsoft.com/office/drawing/2014/main" id="{3B387E68-70F9-483C-BBBF-FC96ED2967BC}"/>
                </a:ext>
              </a:extLst>
            </p:cNvPr>
            <p:cNvSpPr>
              <a:spLocks/>
            </p:cNvSpPr>
            <p:nvPr/>
          </p:nvSpPr>
          <p:spPr bwMode="auto">
            <a:xfrm>
              <a:off x="7570960" y="4753174"/>
              <a:ext cx="11582" cy="8272"/>
            </a:xfrm>
            <a:custGeom>
              <a:avLst/>
              <a:gdLst>
                <a:gd name="T0" fmla="*/ 2 w 7"/>
                <a:gd name="T1" fmla="*/ 5 h 5"/>
                <a:gd name="T2" fmla="*/ 0 w 7"/>
                <a:gd name="T3" fmla="*/ 5 h 5"/>
                <a:gd name="T4" fmla="*/ 0 w 7"/>
                <a:gd name="T5" fmla="*/ 2 h 5"/>
                <a:gd name="T6" fmla="*/ 2 w 7"/>
                <a:gd name="T7" fmla="*/ 2 h 5"/>
                <a:gd name="T8" fmla="*/ 5 w 7"/>
                <a:gd name="T9" fmla="*/ 0 h 5"/>
                <a:gd name="T10" fmla="*/ 5 w 7"/>
                <a:gd name="T11" fmla="*/ 0 h 5"/>
                <a:gd name="T12" fmla="*/ 7 w 7"/>
                <a:gd name="T13" fmla="*/ 0 h 5"/>
                <a:gd name="T14" fmla="*/ 7 w 7"/>
                <a:gd name="T15" fmla="*/ 2 h 5"/>
                <a:gd name="T16" fmla="*/ 5 w 7"/>
                <a:gd name="T17" fmla="*/ 5 h 5"/>
                <a:gd name="T18" fmla="*/ 5 w 7"/>
                <a:gd name="T19" fmla="*/ 5 h 5"/>
                <a:gd name="T20" fmla="*/ 2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2" y="5"/>
                  </a:moveTo>
                  <a:lnTo>
                    <a:pt x="0" y="5"/>
                  </a:lnTo>
                  <a:lnTo>
                    <a:pt x="0" y="2"/>
                  </a:lnTo>
                  <a:lnTo>
                    <a:pt x="2" y="2"/>
                  </a:lnTo>
                  <a:lnTo>
                    <a:pt x="5" y="0"/>
                  </a:lnTo>
                  <a:lnTo>
                    <a:pt x="5" y="0"/>
                  </a:lnTo>
                  <a:lnTo>
                    <a:pt x="7" y="0"/>
                  </a:lnTo>
                  <a:lnTo>
                    <a:pt x="7" y="2"/>
                  </a:lnTo>
                  <a:lnTo>
                    <a:pt x="5" y="5"/>
                  </a:lnTo>
                  <a:lnTo>
                    <a:pt x="5" y="5"/>
                  </a:lnTo>
                  <a:lnTo>
                    <a:pt x="2" y="5"/>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3" name="Freeform 1233">
              <a:extLst>
                <a:ext uri="{FF2B5EF4-FFF2-40B4-BE49-F238E27FC236}">
                  <a16:creationId xmlns:a16="http://schemas.microsoft.com/office/drawing/2014/main" id="{D130C000-136B-4B95-B53F-3E14DB1A6726}"/>
                </a:ext>
              </a:extLst>
            </p:cNvPr>
            <p:cNvSpPr>
              <a:spLocks/>
            </p:cNvSpPr>
            <p:nvPr/>
          </p:nvSpPr>
          <p:spPr bwMode="auto">
            <a:xfrm>
              <a:off x="7786037" y="4670453"/>
              <a:ext cx="26470" cy="16545"/>
            </a:xfrm>
            <a:custGeom>
              <a:avLst/>
              <a:gdLst>
                <a:gd name="T0" fmla="*/ 2 w 16"/>
                <a:gd name="T1" fmla="*/ 3 h 10"/>
                <a:gd name="T2" fmla="*/ 0 w 16"/>
                <a:gd name="T3" fmla="*/ 0 h 10"/>
                <a:gd name="T4" fmla="*/ 2 w 16"/>
                <a:gd name="T5" fmla="*/ 0 h 10"/>
                <a:gd name="T6" fmla="*/ 5 w 16"/>
                <a:gd name="T7" fmla="*/ 0 h 10"/>
                <a:gd name="T8" fmla="*/ 5 w 16"/>
                <a:gd name="T9" fmla="*/ 3 h 10"/>
                <a:gd name="T10" fmla="*/ 7 w 16"/>
                <a:gd name="T11" fmla="*/ 3 h 10"/>
                <a:gd name="T12" fmla="*/ 12 w 16"/>
                <a:gd name="T13" fmla="*/ 3 h 10"/>
                <a:gd name="T14" fmla="*/ 14 w 16"/>
                <a:gd name="T15" fmla="*/ 5 h 10"/>
                <a:gd name="T16" fmla="*/ 16 w 16"/>
                <a:gd name="T17" fmla="*/ 10 h 10"/>
                <a:gd name="T18" fmla="*/ 14 w 16"/>
                <a:gd name="T19" fmla="*/ 10 h 10"/>
                <a:gd name="T20" fmla="*/ 12 w 16"/>
                <a:gd name="T21" fmla="*/ 10 h 10"/>
                <a:gd name="T22" fmla="*/ 9 w 16"/>
                <a:gd name="T23" fmla="*/ 7 h 10"/>
                <a:gd name="T24" fmla="*/ 9 w 16"/>
                <a:gd name="T25" fmla="*/ 7 h 10"/>
                <a:gd name="T26" fmla="*/ 7 w 16"/>
                <a:gd name="T27" fmla="*/ 5 h 10"/>
                <a:gd name="T28" fmla="*/ 2 w 16"/>
                <a:gd name="T29" fmla="*/ 3 h 10"/>
                <a:gd name="T30" fmla="*/ 2 w 16"/>
                <a:gd name="T3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0">
                  <a:moveTo>
                    <a:pt x="2" y="3"/>
                  </a:moveTo>
                  <a:lnTo>
                    <a:pt x="0" y="0"/>
                  </a:lnTo>
                  <a:lnTo>
                    <a:pt x="2" y="0"/>
                  </a:lnTo>
                  <a:lnTo>
                    <a:pt x="5" y="0"/>
                  </a:lnTo>
                  <a:lnTo>
                    <a:pt x="5" y="3"/>
                  </a:lnTo>
                  <a:lnTo>
                    <a:pt x="7" y="3"/>
                  </a:lnTo>
                  <a:lnTo>
                    <a:pt x="12" y="3"/>
                  </a:lnTo>
                  <a:lnTo>
                    <a:pt x="14" y="5"/>
                  </a:lnTo>
                  <a:lnTo>
                    <a:pt x="16" y="10"/>
                  </a:lnTo>
                  <a:lnTo>
                    <a:pt x="14" y="10"/>
                  </a:lnTo>
                  <a:lnTo>
                    <a:pt x="12" y="10"/>
                  </a:lnTo>
                  <a:lnTo>
                    <a:pt x="9" y="7"/>
                  </a:lnTo>
                  <a:lnTo>
                    <a:pt x="9" y="7"/>
                  </a:lnTo>
                  <a:lnTo>
                    <a:pt x="7" y="5"/>
                  </a:lnTo>
                  <a:lnTo>
                    <a:pt x="2" y="3"/>
                  </a:lnTo>
                  <a:lnTo>
                    <a:pt x="2" y="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4" name="Freeform 1234">
              <a:extLst>
                <a:ext uri="{FF2B5EF4-FFF2-40B4-BE49-F238E27FC236}">
                  <a16:creationId xmlns:a16="http://schemas.microsoft.com/office/drawing/2014/main" id="{8BDC994E-DD5C-434A-BF69-276CA7C59319}"/>
                </a:ext>
              </a:extLst>
            </p:cNvPr>
            <p:cNvSpPr>
              <a:spLocks/>
            </p:cNvSpPr>
            <p:nvPr/>
          </p:nvSpPr>
          <p:spPr bwMode="auto">
            <a:xfrm>
              <a:off x="7786037" y="4670453"/>
              <a:ext cx="26470" cy="16545"/>
            </a:xfrm>
            <a:custGeom>
              <a:avLst/>
              <a:gdLst>
                <a:gd name="T0" fmla="*/ 2 w 16"/>
                <a:gd name="T1" fmla="*/ 3 h 10"/>
                <a:gd name="T2" fmla="*/ 0 w 16"/>
                <a:gd name="T3" fmla="*/ 0 h 10"/>
                <a:gd name="T4" fmla="*/ 2 w 16"/>
                <a:gd name="T5" fmla="*/ 0 h 10"/>
                <a:gd name="T6" fmla="*/ 5 w 16"/>
                <a:gd name="T7" fmla="*/ 0 h 10"/>
                <a:gd name="T8" fmla="*/ 5 w 16"/>
                <a:gd name="T9" fmla="*/ 3 h 10"/>
                <a:gd name="T10" fmla="*/ 7 w 16"/>
                <a:gd name="T11" fmla="*/ 3 h 10"/>
                <a:gd name="T12" fmla="*/ 12 w 16"/>
                <a:gd name="T13" fmla="*/ 3 h 10"/>
                <a:gd name="T14" fmla="*/ 14 w 16"/>
                <a:gd name="T15" fmla="*/ 5 h 10"/>
                <a:gd name="T16" fmla="*/ 16 w 16"/>
                <a:gd name="T17" fmla="*/ 10 h 10"/>
                <a:gd name="T18" fmla="*/ 14 w 16"/>
                <a:gd name="T19" fmla="*/ 10 h 10"/>
                <a:gd name="T20" fmla="*/ 12 w 16"/>
                <a:gd name="T21" fmla="*/ 10 h 10"/>
                <a:gd name="T22" fmla="*/ 9 w 16"/>
                <a:gd name="T23" fmla="*/ 7 h 10"/>
                <a:gd name="T24" fmla="*/ 9 w 16"/>
                <a:gd name="T25" fmla="*/ 7 h 10"/>
                <a:gd name="T26" fmla="*/ 7 w 16"/>
                <a:gd name="T27" fmla="*/ 5 h 10"/>
                <a:gd name="T28" fmla="*/ 2 w 16"/>
                <a:gd name="T29" fmla="*/ 3 h 10"/>
                <a:gd name="T30" fmla="*/ 2 w 16"/>
                <a:gd name="T3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0">
                  <a:moveTo>
                    <a:pt x="2" y="3"/>
                  </a:moveTo>
                  <a:lnTo>
                    <a:pt x="0" y="0"/>
                  </a:lnTo>
                  <a:lnTo>
                    <a:pt x="2" y="0"/>
                  </a:lnTo>
                  <a:lnTo>
                    <a:pt x="5" y="0"/>
                  </a:lnTo>
                  <a:lnTo>
                    <a:pt x="5" y="3"/>
                  </a:lnTo>
                  <a:lnTo>
                    <a:pt x="7" y="3"/>
                  </a:lnTo>
                  <a:lnTo>
                    <a:pt x="12" y="3"/>
                  </a:lnTo>
                  <a:lnTo>
                    <a:pt x="14" y="5"/>
                  </a:lnTo>
                  <a:lnTo>
                    <a:pt x="16" y="10"/>
                  </a:lnTo>
                  <a:lnTo>
                    <a:pt x="14" y="10"/>
                  </a:lnTo>
                  <a:lnTo>
                    <a:pt x="12" y="10"/>
                  </a:lnTo>
                  <a:lnTo>
                    <a:pt x="9" y="7"/>
                  </a:lnTo>
                  <a:lnTo>
                    <a:pt x="9" y="7"/>
                  </a:lnTo>
                  <a:lnTo>
                    <a:pt x="7" y="5"/>
                  </a:lnTo>
                  <a:lnTo>
                    <a:pt x="2" y="3"/>
                  </a:lnTo>
                  <a:lnTo>
                    <a:pt x="2" y="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5" name="Freeform 1235">
              <a:extLst>
                <a:ext uri="{FF2B5EF4-FFF2-40B4-BE49-F238E27FC236}">
                  <a16:creationId xmlns:a16="http://schemas.microsoft.com/office/drawing/2014/main" id="{6A3F5DAB-6297-49B9-8D2E-B0E8358D04AF}"/>
                </a:ext>
              </a:extLst>
            </p:cNvPr>
            <p:cNvSpPr>
              <a:spLocks/>
            </p:cNvSpPr>
            <p:nvPr/>
          </p:nvSpPr>
          <p:spPr bwMode="auto">
            <a:xfrm>
              <a:off x="7794308" y="4698579"/>
              <a:ext cx="34743" cy="8272"/>
            </a:xfrm>
            <a:custGeom>
              <a:avLst/>
              <a:gdLst>
                <a:gd name="T0" fmla="*/ 0 w 21"/>
                <a:gd name="T1" fmla="*/ 0 h 5"/>
                <a:gd name="T2" fmla="*/ 0 w 21"/>
                <a:gd name="T3" fmla="*/ 0 h 5"/>
                <a:gd name="T4" fmla="*/ 2 w 21"/>
                <a:gd name="T5" fmla="*/ 0 h 5"/>
                <a:gd name="T6" fmla="*/ 9 w 21"/>
                <a:gd name="T7" fmla="*/ 2 h 5"/>
                <a:gd name="T8" fmla="*/ 18 w 21"/>
                <a:gd name="T9" fmla="*/ 2 h 5"/>
                <a:gd name="T10" fmla="*/ 21 w 21"/>
                <a:gd name="T11" fmla="*/ 2 h 5"/>
                <a:gd name="T12" fmla="*/ 21 w 21"/>
                <a:gd name="T13" fmla="*/ 5 h 5"/>
                <a:gd name="T14" fmla="*/ 16 w 21"/>
                <a:gd name="T15" fmla="*/ 5 h 5"/>
                <a:gd name="T16" fmla="*/ 9 w 21"/>
                <a:gd name="T17" fmla="*/ 5 h 5"/>
                <a:gd name="T18" fmla="*/ 0 w 21"/>
                <a:gd name="T19" fmla="*/ 0 h 5"/>
                <a:gd name="T20" fmla="*/ 0 w 21"/>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0" y="0"/>
                  </a:moveTo>
                  <a:lnTo>
                    <a:pt x="0" y="0"/>
                  </a:lnTo>
                  <a:lnTo>
                    <a:pt x="2" y="0"/>
                  </a:lnTo>
                  <a:lnTo>
                    <a:pt x="9" y="2"/>
                  </a:lnTo>
                  <a:lnTo>
                    <a:pt x="18" y="2"/>
                  </a:lnTo>
                  <a:lnTo>
                    <a:pt x="21" y="2"/>
                  </a:lnTo>
                  <a:lnTo>
                    <a:pt x="21" y="5"/>
                  </a:lnTo>
                  <a:lnTo>
                    <a:pt x="16" y="5"/>
                  </a:lnTo>
                  <a:lnTo>
                    <a:pt x="9" y="5"/>
                  </a:lnTo>
                  <a:lnTo>
                    <a:pt x="0" y="0"/>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6" name="Freeform 1236">
              <a:extLst>
                <a:ext uri="{FF2B5EF4-FFF2-40B4-BE49-F238E27FC236}">
                  <a16:creationId xmlns:a16="http://schemas.microsoft.com/office/drawing/2014/main" id="{E03F9933-0F57-446B-B4A0-2981D75BE5E1}"/>
                </a:ext>
              </a:extLst>
            </p:cNvPr>
            <p:cNvSpPr>
              <a:spLocks/>
            </p:cNvSpPr>
            <p:nvPr/>
          </p:nvSpPr>
          <p:spPr bwMode="auto">
            <a:xfrm>
              <a:off x="7794308" y="4698579"/>
              <a:ext cx="34743" cy="8272"/>
            </a:xfrm>
            <a:custGeom>
              <a:avLst/>
              <a:gdLst>
                <a:gd name="T0" fmla="*/ 0 w 21"/>
                <a:gd name="T1" fmla="*/ 0 h 5"/>
                <a:gd name="T2" fmla="*/ 0 w 21"/>
                <a:gd name="T3" fmla="*/ 0 h 5"/>
                <a:gd name="T4" fmla="*/ 2 w 21"/>
                <a:gd name="T5" fmla="*/ 0 h 5"/>
                <a:gd name="T6" fmla="*/ 9 w 21"/>
                <a:gd name="T7" fmla="*/ 2 h 5"/>
                <a:gd name="T8" fmla="*/ 18 w 21"/>
                <a:gd name="T9" fmla="*/ 2 h 5"/>
                <a:gd name="T10" fmla="*/ 21 w 21"/>
                <a:gd name="T11" fmla="*/ 2 h 5"/>
                <a:gd name="T12" fmla="*/ 21 w 21"/>
                <a:gd name="T13" fmla="*/ 5 h 5"/>
                <a:gd name="T14" fmla="*/ 16 w 21"/>
                <a:gd name="T15" fmla="*/ 5 h 5"/>
                <a:gd name="T16" fmla="*/ 9 w 21"/>
                <a:gd name="T17" fmla="*/ 5 h 5"/>
                <a:gd name="T18" fmla="*/ 0 w 21"/>
                <a:gd name="T19" fmla="*/ 0 h 5"/>
                <a:gd name="T20" fmla="*/ 0 w 21"/>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0" y="0"/>
                  </a:moveTo>
                  <a:lnTo>
                    <a:pt x="0" y="0"/>
                  </a:lnTo>
                  <a:lnTo>
                    <a:pt x="2" y="0"/>
                  </a:lnTo>
                  <a:lnTo>
                    <a:pt x="9" y="2"/>
                  </a:lnTo>
                  <a:lnTo>
                    <a:pt x="18" y="2"/>
                  </a:lnTo>
                  <a:lnTo>
                    <a:pt x="21" y="2"/>
                  </a:lnTo>
                  <a:lnTo>
                    <a:pt x="21" y="5"/>
                  </a:lnTo>
                  <a:lnTo>
                    <a:pt x="16" y="5"/>
                  </a:lnTo>
                  <a:lnTo>
                    <a:pt x="9" y="5"/>
                  </a:lnTo>
                  <a:lnTo>
                    <a:pt x="0" y="0"/>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7" name="Freeform 1237">
              <a:extLst>
                <a:ext uri="{FF2B5EF4-FFF2-40B4-BE49-F238E27FC236}">
                  <a16:creationId xmlns:a16="http://schemas.microsoft.com/office/drawing/2014/main" id="{08BA4919-1B4C-4F9F-8014-B0DA6DF8706A}"/>
                </a:ext>
              </a:extLst>
            </p:cNvPr>
            <p:cNvSpPr>
              <a:spLocks/>
            </p:cNvSpPr>
            <p:nvPr/>
          </p:nvSpPr>
          <p:spPr bwMode="auto">
            <a:xfrm>
              <a:off x="7719859" y="4804462"/>
              <a:ext cx="3309" cy="11581"/>
            </a:xfrm>
            <a:custGeom>
              <a:avLst/>
              <a:gdLst>
                <a:gd name="T0" fmla="*/ 0 w 2"/>
                <a:gd name="T1" fmla="*/ 2 h 7"/>
                <a:gd name="T2" fmla="*/ 0 w 2"/>
                <a:gd name="T3" fmla="*/ 0 h 7"/>
                <a:gd name="T4" fmla="*/ 2 w 2"/>
                <a:gd name="T5" fmla="*/ 2 h 7"/>
                <a:gd name="T6" fmla="*/ 2 w 2"/>
                <a:gd name="T7" fmla="*/ 4 h 7"/>
                <a:gd name="T8" fmla="*/ 0 w 2"/>
                <a:gd name="T9" fmla="*/ 7 h 7"/>
                <a:gd name="T10" fmla="*/ 0 w 2"/>
                <a:gd name="T11" fmla="*/ 7 h 7"/>
                <a:gd name="T12" fmla="*/ 0 w 2"/>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0" y="2"/>
                  </a:moveTo>
                  <a:lnTo>
                    <a:pt x="0" y="0"/>
                  </a:lnTo>
                  <a:lnTo>
                    <a:pt x="2" y="2"/>
                  </a:lnTo>
                  <a:lnTo>
                    <a:pt x="2" y="4"/>
                  </a:lnTo>
                  <a:lnTo>
                    <a:pt x="0" y="7"/>
                  </a:lnTo>
                  <a:lnTo>
                    <a:pt x="0" y="7"/>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8" name="Freeform 1238">
              <a:extLst>
                <a:ext uri="{FF2B5EF4-FFF2-40B4-BE49-F238E27FC236}">
                  <a16:creationId xmlns:a16="http://schemas.microsoft.com/office/drawing/2014/main" id="{288D5331-0E1F-4E48-825B-3AF77EAFD930}"/>
                </a:ext>
              </a:extLst>
            </p:cNvPr>
            <p:cNvSpPr>
              <a:spLocks/>
            </p:cNvSpPr>
            <p:nvPr/>
          </p:nvSpPr>
          <p:spPr bwMode="auto">
            <a:xfrm>
              <a:off x="7719859" y="4804462"/>
              <a:ext cx="3309" cy="11581"/>
            </a:xfrm>
            <a:custGeom>
              <a:avLst/>
              <a:gdLst>
                <a:gd name="T0" fmla="*/ 0 w 2"/>
                <a:gd name="T1" fmla="*/ 2 h 7"/>
                <a:gd name="T2" fmla="*/ 0 w 2"/>
                <a:gd name="T3" fmla="*/ 0 h 7"/>
                <a:gd name="T4" fmla="*/ 2 w 2"/>
                <a:gd name="T5" fmla="*/ 2 h 7"/>
                <a:gd name="T6" fmla="*/ 2 w 2"/>
                <a:gd name="T7" fmla="*/ 4 h 7"/>
                <a:gd name="T8" fmla="*/ 0 w 2"/>
                <a:gd name="T9" fmla="*/ 7 h 7"/>
                <a:gd name="T10" fmla="*/ 0 w 2"/>
                <a:gd name="T11" fmla="*/ 7 h 7"/>
                <a:gd name="T12" fmla="*/ 0 w 2"/>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0" y="2"/>
                  </a:moveTo>
                  <a:lnTo>
                    <a:pt x="0" y="0"/>
                  </a:lnTo>
                  <a:lnTo>
                    <a:pt x="2" y="2"/>
                  </a:lnTo>
                  <a:lnTo>
                    <a:pt x="2" y="4"/>
                  </a:lnTo>
                  <a:lnTo>
                    <a:pt x="0" y="7"/>
                  </a:lnTo>
                  <a:lnTo>
                    <a:pt x="0" y="7"/>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59" name="Freeform 1239">
              <a:extLst>
                <a:ext uri="{FF2B5EF4-FFF2-40B4-BE49-F238E27FC236}">
                  <a16:creationId xmlns:a16="http://schemas.microsoft.com/office/drawing/2014/main" id="{7F37306D-6D0D-4BFF-AB0D-15E5202D0090}"/>
                </a:ext>
              </a:extLst>
            </p:cNvPr>
            <p:cNvSpPr>
              <a:spLocks/>
            </p:cNvSpPr>
            <p:nvPr/>
          </p:nvSpPr>
          <p:spPr bwMode="auto">
            <a:xfrm>
              <a:off x="7754602" y="4807771"/>
              <a:ext cx="11582" cy="28125"/>
            </a:xfrm>
            <a:custGeom>
              <a:avLst/>
              <a:gdLst>
                <a:gd name="T0" fmla="*/ 0 w 7"/>
                <a:gd name="T1" fmla="*/ 7 h 17"/>
                <a:gd name="T2" fmla="*/ 2 w 7"/>
                <a:gd name="T3" fmla="*/ 0 h 17"/>
                <a:gd name="T4" fmla="*/ 5 w 7"/>
                <a:gd name="T5" fmla="*/ 2 h 17"/>
                <a:gd name="T6" fmla="*/ 7 w 7"/>
                <a:gd name="T7" fmla="*/ 5 h 17"/>
                <a:gd name="T8" fmla="*/ 7 w 7"/>
                <a:gd name="T9" fmla="*/ 12 h 17"/>
                <a:gd name="T10" fmla="*/ 7 w 7"/>
                <a:gd name="T11" fmla="*/ 14 h 17"/>
                <a:gd name="T12" fmla="*/ 7 w 7"/>
                <a:gd name="T13" fmla="*/ 17 h 17"/>
                <a:gd name="T14" fmla="*/ 5 w 7"/>
                <a:gd name="T15" fmla="*/ 17 h 17"/>
                <a:gd name="T16" fmla="*/ 2 w 7"/>
                <a:gd name="T17" fmla="*/ 17 h 17"/>
                <a:gd name="T18" fmla="*/ 2 w 7"/>
                <a:gd name="T19" fmla="*/ 14 h 17"/>
                <a:gd name="T20" fmla="*/ 0 w 7"/>
                <a:gd name="T21" fmla="*/ 12 h 17"/>
                <a:gd name="T22" fmla="*/ 2 w 7"/>
                <a:gd name="T23" fmla="*/ 7 h 17"/>
                <a:gd name="T24" fmla="*/ 0 w 7"/>
                <a:gd name="T25" fmla="*/ 7 h 17"/>
                <a:gd name="T26" fmla="*/ 0 w 7"/>
                <a:gd name="T2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7"/>
                  </a:moveTo>
                  <a:lnTo>
                    <a:pt x="2" y="0"/>
                  </a:lnTo>
                  <a:lnTo>
                    <a:pt x="5" y="2"/>
                  </a:lnTo>
                  <a:lnTo>
                    <a:pt x="7" y="5"/>
                  </a:lnTo>
                  <a:lnTo>
                    <a:pt x="7" y="12"/>
                  </a:lnTo>
                  <a:lnTo>
                    <a:pt x="7" y="14"/>
                  </a:lnTo>
                  <a:lnTo>
                    <a:pt x="7" y="17"/>
                  </a:lnTo>
                  <a:lnTo>
                    <a:pt x="5" y="17"/>
                  </a:lnTo>
                  <a:lnTo>
                    <a:pt x="2" y="17"/>
                  </a:lnTo>
                  <a:lnTo>
                    <a:pt x="2" y="14"/>
                  </a:lnTo>
                  <a:lnTo>
                    <a:pt x="0" y="12"/>
                  </a:lnTo>
                  <a:lnTo>
                    <a:pt x="2" y="7"/>
                  </a:lnTo>
                  <a:lnTo>
                    <a:pt x="0" y="7"/>
                  </a:lnTo>
                  <a:lnTo>
                    <a:pt x="0" y="7"/>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0" name="Freeform 1240">
              <a:extLst>
                <a:ext uri="{FF2B5EF4-FFF2-40B4-BE49-F238E27FC236}">
                  <a16:creationId xmlns:a16="http://schemas.microsoft.com/office/drawing/2014/main" id="{FCC341BF-901B-4F39-81C2-129CD344826D}"/>
                </a:ext>
              </a:extLst>
            </p:cNvPr>
            <p:cNvSpPr>
              <a:spLocks/>
            </p:cNvSpPr>
            <p:nvPr/>
          </p:nvSpPr>
          <p:spPr bwMode="auto">
            <a:xfrm>
              <a:off x="7754602" y="4807771"/>
              <a:ext cx="11582" cy="28125"/>
            </a:xfrm>
            <a:custGeom>
              <a:avLst/>
              <a:gdLst>
                <a:gd name="T0" fmla="*/ 0 w 7"/>
                <a:gd name="T1" fmla="*/ 7 h 17"/>
                <a:gd name="T2" fmla="*/ 2 w 7"/>
                <a:gd name="T3" fmla="*/ 0 h 17"/>
                <a:gd name="T4" fmla="*/ 5 w 7"/>
                <a:gd name="T5" fmla="*/ 2 h 17"/>
                <a:gd name="T6" fmla="*/ 7 w 7"/>
                <a:gd name="T7" fmla="*/ 5 h 17"/>
                <a:gd name="T8" fmla="*/ 7 w 7"/>
                <a:gd name="T9" fmla="*/ 12 h 17"/>
                <a:gd name="T10" fmla="*/ 7 w 7"/>
                <a:gd name="T11" fmla="*/ 14 h 17"/>
                <a:gd name="T12" fmla="*/ 7 w 7"/>
                <a:gd name="T13" fmla="*/ 17 h 17"/>
                <a:gd name="T14" fmla="*/ 5 w 7"/>
                <a:gd name="T15" fmla="*/ 17 h 17"/>
                <a:gd name="T16" fmla="*/ 2 w 7"/>
                <a:gd name="T17" fmla="*/ 17 h 17"/>
                <a:gd name="T18" fmla="*/ 2 w 7"/>
                <a:gd name="T19" fmla="*/ 14 h 17"/>
                <a:gd name="T20" fmla="*/ 0 w 7"/>
                <a:gd name="T21" fmla="*/ 12 h 17"/>
                <a:gd name="T22" fmla="*/ 2 w 7"/>
                <a:gd name="T23" fmla="*/ 7 h 17"/>
                <a:gd name="T24" fmla="*/ 0 w 7"/>
                <a:gd name="T25" fmla="*/ 7 h 17"/>
                <a:gd name="T26" fmla="*/ 0 w 7"/>
                <a:gd name="T2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7"/>
                  </a:moveTo>
                  <a:lnTo>
                    <a:pt x="2" y="0"/>
                  </a:lnTo>
                  <a:lnTo>
                    <a:pt x="5" y="2"/>
                  </a:lnTo>
                  <a:lnTo>
                    <a:pt x="7" y="5"/>
                  </a:lnTo>
                  <a:lnTo>
                    <a:pt x="7" y="12"/>
                  </a:lnTo>
                  <a:lnTo>
                    <a:pt x="7" y="14"/>
                  </a:lnTo>
                  <a:lnTo>
                    <a:pt x="7" y="17"/>
                  </a:lnTo>
                  <a:lnTo>
                    <a:pt x="5" y="17"/>
                  </a:lnTo>
                  <a:lnTo>
                    <a:pt x="2" y="17"/>
                  </a:lnTo>
                  <a:lnTo>
                    <a:pt x="2" y="14"/>
                  </a:lnTo>
                  <a:lnTo>
                    <a:pt x="0" y="12"/>
                  </a:lnTo>
                  <a:lnTo>
                    <a:pt x="2" y="7"/>
                  </a:lnTo>
                  <a:lnTo>
                    <a:pt x="0" y="7"/>
                  </a:lnTo>
                  <a:lnTo>
                    <a:pt x="0" y="7"/>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1" name="Freeform 1241">
              <a:extLst>
                <a:ext uri="{FF2B5EF4-FFF2-40B4-BE49-F238E27FC236}">
                  <a16:creationId xmlns:a16="http://schemas.microsoft.com/office/drawing/2014/main" id="{A5A3A4F0-4B65-46A7-8252-E644D99F226C}"/>
                </a:ext>
              </a:extLst>
            </p:cNvPr>
            <p:cNvSpPr>
              <a:spLocks/>
            </p:cNvSpPr>
            <p:nvPr/>
          </p:nvSpPr>
          <p:spPr bwMode="auto">
            <a:xfrm>
              <a:off x="7751293" y="4827625"/>
              <a:ext cx="11582" cy="11581"/>
            </a:xfrm>
            <a:custGeom>
              <a:avLst/>
              <a:gdLst>
                <a:gd name="T0" fmla="*/ 0 w 7"/>
                <a:gd name="T1" fmla="*/ 2 h 7"/>
                <a:gd name="T2" fmla="*/ 0 w 7"/>
                <a:gd name="T3" fmla="*/ 0 h 7"/>
                <a:gd name="T4" fmla="*/ 0 w 7"/>
                <a:gd name="T5" fmla="*/ 0 h 7"/>
                <a:gd name="T6" fmla="*/ 2 w 7"/>
                <a:gd name="T7" fmla="*/ 2 h 7"/>
                <a:gd name="T8" fmla="*/ 7 w 7"/>
                <a:gd name="T9" fmla="*/ 5 h 7"/>
                <a:gd name="T10" fmla="*/ 7 w 7"/>
                <a:gd name="T11" fmla="*/ 5 h 7"/>
                <a:gd name="T12" fmla="*/ 7 w 7"/>
                <a:gd name="T13" fmla="*/ 7 h 7"/>
                <a:gd name="T14" fmla="*/ 7 w 7"/>
                <a:gd name="T15" fmla="*/ 7 h 7"/>
                <a:gd name="T16" fmla="*/ 7 w 7"/>
                <a:gd name="T17" fmla="*/ 7 h 7"/>
                <a:gd name="T18" fmla="*/ 4 w 7"/>
                <a:gd name="T19" fmla="*/ 5 h 7"/>
                <a:gd name="T20" fmla="*/ 2 w 7"/>
                <a:gd name="T21" fmla="*/ 2 h 7"/>
                <a:gd name="T22" fmla="*/ 0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2"/>
                  </a:moveTo>
                  <a:lnTo>
                    <a:pt x="0" y="0"/>
                  </a:lnTo>
                  <a:lnTo>
                    <a:pt x="0" y="0"/>
                  </a:lnTo>
                  <a:lnTo>
                    <a:pt x="2" y="2"/>
                  </a:lnTo>
                  <a:lnTo>
                    <a:pt x="7" y="5"/>
                  </a:lnTo>
                  <a:lnTo>
                    <a:pt x="7" y="5"/>
                  </a:lnTo>
                  <a:lnTo>
                    <a:pt x="7" y="7"/>
                  </a:lnTo>
                  <a:lnTo>
                    <a:pt x="7" y="7"/>
                  </a:lnTo>
                  <a:lnTo>
                    <a:pt x="7" y="7"/>
                  </a:lnTo>
                  <a:lnTo>
                    <a:pt x="4" y="5"/>
                  </a:lnTo>
                  <a:lnTo>
                    <a:pt x="2" y="2"/>
                  </a:lnTo>
                  <a:lnTo>
                    <a:pt x="0"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2" name="Freeform 1242">
              <a:extLst>
                <a:ext uri="{FF2B5EF4-FFF2-40B4-BE49-F238E27FC236}">
                  <a16:creationId xmlns:a16="http://schemas.microsoft.com/office/drawing/2014/main" id="{3686BB09-99BD-4CF5-A160-BEC85895F0FA}"/>
                </a:ext>
              </a:extLst>
            </p:cNvPr>
            <p:cNvSpPr>
              <a:spLocks/>
            </p:cNvSpPr>
            <p:nvPr/>
          </p:nvSpPr>
          <p:spPr bwMode="auto">
            <a:xfrm>
              <a:off x="7751293" y="4827625"/>
              <a:ext cx="11582" cy="11581"/>
            </a:xfrm>
            <a:custGeom>
              <a:avLst/>
              <a:gdLst>
                <a:gd name="T0" fmla="*/ 0 w 7"/>
                <a:gd name="T1" fmla="*/ 2 h 7"/>
                <a:gd name="T2" fmla="*/ 0 w 7"/>
                <a:gd name="T3" fmla="*/ 0 h 7"/>
                <a:gd name="T4" fmla="*/ 0 w 7"/>
                <a:gd name="T5" fmla="*/ 0 h 7"/>
                <a:gd name="T6" fmla="*/ 2 w 7"/>
                <a:gd name="T7" fmla="*/ 2 h 7"/>
                <a:gd name="T8" fmla="*/ 7 w 7"/>
                <a:gd name="T9" fmla="*/ 5 h 7"/>
                <a:gd name="T10" fmla="*/ 7 w 7"/>
                <a:gd name="T11" fmla="*/ 5 h 7"/>
                <a:gd name="T12" fmla="*/ 7 w 7"/>
                <a:gd name="T13" fmla="*/ 7 h 7"/>
                <a:gd name="T14" fmla="*/ 7 w 7"/>
                <a:gd name="T15" fmla="*/ 7 h 7"/>
                <a:gd name="T16" fmla="*/ 7 w 7"/>
                <a:gd name="T17" fmla="*/ 7 h 7"/>
                <a:gd name="T18" fmla="*/ 4 w 7"/>
                <a:gd name="T19" fmla="*/ 5 h 7"/>
                <a:gd name="T20" fmla="*/ 2 w 7"/>
                <a:gd name="T21" fmla="*/ 2 h 7"/>
                <a:gd name="T22" fmla="*/ 0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2"/>
                  </a:moveTo>
                  <a:lnTo>
                    <a:pt x="0" y="0"/>
                  </a:lnTo>
                  <a:lnTo>
                    <a:pt x="0" y="0"/>
                  </a:lnTo>
                  <a:lnTo>
                    <a:pt x="2" y="2"/>
                  </a:lnTo>
                  <a:lnTo>
                    <a:pt x="7" y="5"/>
                  </a:lnTo>
                  <a:lnTo>
                    <a:pt x="7" y="5"/>
                  </a:lnTo>
                  <a:lnTo>
                    <a:pt x="7" y="7"/>
                  </a:lnTo>
                  <a:lnTo>
                    <a:pt x="7" y="7"/>
                  </a:lnTo>
                  <a:lnTo>
                    <a:pt x="7" y="7"/>
                  </a:lnTo>
                  <a:lnTo>
                    <a:pt x="4" y="5"/>
                  </a:lnTo>
                  <a:lnTo>
                    <a:pt x="2" y="2"/>
                  </a:lnTo>
                  <a:lnTo>
                    <a:pt x="0"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3" name="Freeform 1243">
              <a:extLst>
                <a:ext uri="{FF2B5EF4-FFF2-40B4-BE49-F238E27FC236}">
                  <a16:creationId xmlns:a16="http://schemas.microsoft.com/office/drawing/2014/main" id="{0F42B884-7277-43F0-B375-D6084778CA7E}"/>
                </a:ext>
              </a:extLst>
            </p:cNvPr>
            <p:cNvSpPr>
              <a:spLocks/>
            </p:cNvSpPr>
            <p:nvPr/>
          </p:nvSpPr>
          <p:spPr bwMode="auto">
            <a:xfrm>
              <a:off x="7746330" y="4830934"/>
              <a:ext cx="11582" cy="19854"/>
            </a:xfrm>
            <a:custGeom>
              <a:avLst/>
              <a:gdLst>
                <a:gd name="T0" fmla="*/ 3 w 7"/>
                <a:gd name="T1" fmla="*/ 0 h 12"/>
                <a:gd name="T2" fmla="*/ 3 w 7"/>
                <a:gd name="T3" fmla="*/ 0 h 12"/>
                <a:gd name="T4" fmla="*/ 7 w 7"/>
                <a:gd name="T5" fmla="*/ 5 h 12"/>
                <a:gd name="T6" fmla="*/ 7 w 7"/>
                <a:gd name="T7" fmla="*/ 7 h 12"/>
                <a:gd name="T8" fmla="*/ 7 w 7"/>
                <a:gd name="T9" fmla="*/ 10 h 12"/>
                <a:gd name="T10" fmla="*/ 7 w 7"/>
                <a:gd name="T11" fmla="*/ 12 h 12"/>
                <a:gd name="T12" fmla="*/ 5 w 7"/>
                <a:gd name="T13" fmla="*/ 12 h 12"/>
                <a:gd name="T14" fmla="*/ 3 w 7"/>
                <a:gd name="T15" fmla="*/ 12 h 12"/>
                <a:gd name="T16" fmla="*/ 3 w 7"/>
                <a:gd name="T17" fmla="*/ 10 h 12"/>
                <a:gd name="T18" fmla="*/ 0 w 7"/>
                <a:gd name="T19" fmla="*/ 7 h 12"/>
                <a:gd name="T20" fmla="*/ 3 w 7"/>
                <a:gd name="T21" fmla="*/ 5 h 12"/>
                <a:gd name="T22" fmla="*/ 3 w 7"/>
                <a:gd name="T23" fmla="*/ 10 h 12"/>
                <a:gd name="T24" fmla="*/ 3 w 7"/>
                <a:gd name="T25" fmla="*/ 7 h 12"/>
                <a:gd name="T26" fmla="*/ 5 w 7"/>
                <a:gd name="T27" fmla="*/ 5 h 12"/>
                <a:gd name="T28" fmla="*/ 3 w 7"/>
                <a:gd name="T29" fmla="*/ 5 h 12"/>
                <a:gd name="T30" fmla="*/ 3 w 7"/>
                <a:gd name="T31" fmla="*/ 3 h 12"/>
                <a:gd name="T32" fmla="*/ 3 w 7"/>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2">
                  <a:moveTo>
                    <a:pt x="3" y="0"/>
                  </a:moveTo>
                  <a:lnTo>
                    <a:pt x="3" y="0"/>
                  </a:lnTo>
                  <a:lnTo>
                    <a:pt x="7" y="5"/>
                  </a:lnTo>
                  <a:lnTo>
                    <a:pt x="7" y="7"/>
                  </a:lnTo>
                  <a:lnTo>
                    <a:pt x="7" y="10"/>
                  </a:lnTo>
                  <a:lnTo>
                    <a:pt x="7" y="12"/>
                  </a:lnTo>
                  <a:lnTo>
                    <a:pt x="5" y="12"/>
                  </a:lnTo>
                  <a:lnTo>
                    <a:pt x="3" y="12"/>
                  </a:lnTo>
                  <a:lnTo>
                    <a:pt x="3" y="10"/>
                  </a:lnTo>
                  <a:lnTo>
                    <a:pt x="0" y="7"/>
                  </a:lnTo>
                  <a:lnTo>
                    <a:pt x="3" y="5"/>
                  </a:lnTo>
                  <a:lnTo>
                    <a:pt x="3" y="10"/>
                  </a:lnTo>
                  <a:lnTo>
                    <a:pt x="3" y="7"/>
                  </a:lnTo>
                  <a:lnTo>
                    <a:pt x="5" y="5"/>
                  </a:lnTo>
                  <a:lnTo>
                    <a:pt x="3" y="5"/>
                  </a:lnTo>
                  <a:lnTo>
                    <a:pt x="3" y="3"/>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4" name="Freeform 1244">
              <a:extLst>
                <a:ext uri="{FF2B5EF4-FFF2-40B4-BE49-F238E27FC236}">
                  <a16:creationId xmlns:a16="http://schemas.microsoft.com/office/drawing/2014/main" id="{3BF28DD1-B5E5-476C-88A7-0113C18103EB}"/>
                </a:ext>
              </a:extLst>
            </p:cNvPr>
            <p:cNvSpPr>
              <a:spLocks/>
            </p:cNvSpPr>
            <p:nvPr/>
          </p:nvSpPr>
          <p:spPr bwMode="auto">
            <a:xfrm>
              <a:off x="7746330" y="4830934"/>
              <a:ext cx="11582" cy="19854"/>
            </a:xfrm>
            <a:custGeom>
              <a:avLst/>
              <a:gdLst>
                <a:gd name="T0" fmla="*/ 3 w 7"/>
                <a:gd name="T1" fmla="*/ 0 h 12"/>
                <a:gd name="T2" fmla="*/ 3 w 7"/>
                <a:gd name="T3" fmla="*/ 0 h 12"/>
                <a:gd name="T4" fmla="*/ 7 w 7"/>
                <a:gd name="T5" fmla="*/ 5 h 12"/>
                <a:gd name="T6" fmla="*/ 7 w 7"/>
                <a:gd name="T7" fmla="*/ 7 h 12"/>
                <a:gd name="T8" fmla="*/ 7 w 7"/>
                <a:gd name="T9" fmla="*/ 10 h 12"/>
                <a:gd name="T10" fmla="*/ 7 w 7"/>
                <a:gd name="T11" fmla="*/ 12 h 12"/>
                <a:gd name="T12" fmla="*/ 5 w 7"/>
                <a:gd name="T13" fmla="*/ 12 h 12"/>
                <a:gd name="T14" fmla="*/ 3 w 7"/>
                <a:gd name="T15" fmla="*/ 12 h 12"/>
                <a:gd name="T16" fmla="*/ 3 w 7"/>
                <a:gd name="T17" fmla="*/ 10 h 12"/>
                <a:gd name="T18" fmla="*/ 0 w 7"/>
                <a:gd name="T19" fmla="*/ 7 h 12"/>
                <a:gd name="T20" fmla="*/ 3 w 7"/>
                <a:gd name="T21" fmla="*/ 5 h 12"/>
                <a:gd name="T22" fmla="*/ 3 w 7"/>
                <a:gd name="T23" fmla="*/ 10 h 12"/>
                <a:gd name="T24" fmla="*/ 3 w 7"/>
                <a:gd name="T25" fmla="*/ 7 h 12"/>
                <a:gd name="T26" fmla="*/ 5 w 7"/>
                <a:gd name="T27" fmla="*/ 5 h 12"/>
                <a:gd name="T28" fmla="*/ 3 w 7"/>
                <a:gd name="T29" fmla="*/ 5 h 12"/>
                <a:gd name="T30" fmla="*/ 3 w 7"/>
                <a:gd name="T31" fmla="*/ 3 h 12"/>
                <a:gd name="T32" fmla="*/ 3 w 7"/>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2">
                  <a:moveTo>
                    <a:pt x="3" y="0"/>
                  </a:moveTo>
                  <a:lnTo>
                    <a:pt x="3" y="0"/>
                  </a:lnTo>
                  <a:lnTo>
                    <a:pt x="7" y="5"/>
                  </a:lnTo>
                  <a:lnTo>
                    <a:pt x="7" y="7"/>
                  </a:lnTo>
                  <a:lnTo>
                    <a:pt x="7" y="10"/>
                  </a:lnTo>
                  <a:lnTo>
                    <a:pt x="7" y="12"/>
                  </a:lnTo>
                  <a:lnTo>
                    <a:pt x="5" y="12"/>
                  </a:lnTo>
                  <a:lnTo>
                    <a:pt x="3" y="12"/>
                  </a:lnTo>
                  <a:lnTo>
                    <a:pt x="3" y="10"/>
                  </a:lnTo>
                  <a:lnTo>
                    <a:pt x="0" y="7"/>
                  </a:lnTo>
                  <a:lnTo>
                    <a:pt x="3" y="5"/>
                  </a:lnTo>
                  <a:lnTo>
                    <a:pt x="3" y="10"/>
                  </a:lnTo>
                  <a:lnTo>
                    <a:pt x="3" y="7"/>
                  </a:lnTo>
                  <a:lnTo>
                    <a:pt x="5" y="5"/>
                  </a:lnTo>
                  <a:lnTo>
                    <a:pt x="3" y="5"/>
                  </a:lnTo>
                  <a:lnTo>
                    <a:pt x="3" y="3"/>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5" name="Freeform 1245">
              <a:extLst>
                <a:ext uri="{FF2B5EF4-FFF2-40B4-BE49-F238E27FC236}">
                  <a16:creationId xmlns:a16="http://schemas.microsoft.com/office/drawing/2014/main" id="{0B3153EA-8450-42DD-AD23-661CFC0D462D}"/>
                </a:ext>
              </a:extLst>
            </p:cNvPr>
            <p:cNvSpPr>
              <a:spLocks/>
            </p:cNvSpPr>
            <p:nvPr/>
          </p:nvSpPr>
          <p:spPr bwMode="auto">
            <a:xfrm>
              <a:off x="7665263" y="4859058"/>
              <a:ext cx="14890" cy="23161"/>
            </a:xfrm>
            <a:custGeom>
              <a:avLst/>
              <a:gdLst>
                <a:gd name="T0" fmla="*/ 0 w 9"/>
                <a:gd name="T1" fmla="*/ 9 h 14"/>
                <a:gd name="T2" fmla="*/ 0 w 9"/>
                <a:gd name="T3" fmla="*/ 9 h 14"/>
                <a:gd name="T4" fmla="*/ 0 w 9"/>
                <a:gd name="T5" fmla="*/ 9 h 14"/>
                <a:gd name="T6" fmla="*/ 0 w 9"/>
                <a:gd name="T7" fmla="*/ 4 h 14"/>
                <a:gd name="T8" fmla="*/ 4 w 9"/>
                <a:gd name="T9" fmla="*/ 2 h 14"/>
                <a:gd name="T10" fmla="*/ 7 w 9"/>
                <a:gd name="T11" fmla="*/ 0 h 14"/>
                <a:gd name="T12" fmla="*/ 7 w 9"/>
                <a:gd name="T13" fmla="*/ 0 h 14"/>
                <a:gd name="T14" fmla="*/ 9 w 9"/>
                <a:gd name="T15" fmla="*/ 0 h 14"/>
                <a:gd name="T16" fmla="*/ 9 w 9"/>
                <a:gd name="T17" fmla="*/ 7 h 14"/>
                <a:gd name="T18" fmla="*/ 2 w 9"/>
                <a:gd name="T19" fmla="*/ 14 h 14"/>
                <a:gd name="T20" fmla="*/ 0 w 9"/>
                <a:gd name="T21" fmla="*/ 12 h 14"/>
                <a:gd name="T22" fmla="*/ 0 w 9"/>
                <a:gd name="T2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4">
                  <a:moveTo>
                    <a:pt x="0" y="9"/>
                  </a:moveTo>
                  <a:lnTo>
                    <a:pt x="0" y="9"/>
                  </a:lnTo>
                  <a:lnTo>
                    <a:pt x="0" y="9"/>
                  </a:lnTo>
                  <a:lnTo>
                    <a:pt x="0" y="4"/>
                  </a:lnTo>
                  <a:lnTo>
                    <a:pt x="4" y="2"/>
                  </a:lnTo>
                  <a:lnTo>
                    <a:pt x="7" y="0"/>
                  </a:lnTo>
                  <a:lnTo>
                    <a:pt x="7" y="0"/>
                  </a:lnTo>
                  <a:lnTo>
                    <a:pt x="9" y="0"/>
                  </a:lnTo>
                  <a:lnTo>
                    <a:pt x="9" y="7"/>
                  </a:lnTo>
                  <a:lnTo>
                    <a:pt x="2" y="14"/>
                  </a:lnTo>
                  <a:lnTo>
                    <a:pt x="0" y="12"/>
                  </a:lnTo>
                  <a:lnTo>
                    <a:pt x="0" y="9"/>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6" name="Freeform 1246">
              <a:extLst>
                <a:ext uri="{FF2B5EF4-FFF2-40B4-BE49-F238E27FC236}">
                  <a16:creationId xmlns:a16="http://schemas.microsoft.com/office/drawing/2014/main" id="{29C17209-5D89-4132-83EF-FD037785C093}"/>
                </a:ext>
              </a:extLst>
            </p:cNvPr>
            <p:cNvSpPr>
              <a:spLocks/>
            </p:cNvSpPr>
            <p:nvPr/>
          </p:nvSpPr>
          <p:spPr bwMode="auto">
            <a:xfrm>
              <a:off x="7665263" y="4859058"/>
              <a:ext cx="14890" cy="23161"/>
            </a:xfrm>
            <a:custGeom>
              <a:avLst/>
              <a:gdLst>
                <a:gd name="T0" fmla="*/ 0 w 9"/>
                <a:gd name="T1" fmla="*/ 9 h 14"/>
                <a:gd name="T2" fmla="*/ 0 w 9"/>
                <a:gd name="T3" fmla="*/ 9 h 14"/>
                <a:gd name="T4" fmla="*/ 0 w 9"/>
                <a:gd name="T5" fmla="*/ 9 h 14"/>
                <a:gd name="T6" fmla="*/ 0 w 9"/>
                <a:gd name="T7" fmla="*/ 4 h 14"/>
                <a:gd name="T8" fmla="*/ 4 w 9"/>
                <a:gd name="T9" fmla="*/ 2 h 14"/>
                <a:gd name="T10" fmla="*/ 7 w 9"/>
                <a:gd name="T11" fmla="*/ 0 h 14"/>
                <a:gd name="T12" fmla="*/ 7 w 9"/>
                <a:gd name="T13" fmla="*/ 0 h 14"/>
                <a:gd name="T14" fmla="*/ 9 w 9"/>
                <a:gd name="T15" fmla="*/ 0 h 14"/>
                <a:gd name="T16" fmla="*/ 9 w 9"/>
                <a:gd name="T17" fmla="*/ 7 h 14"/>
                <a:gd name="T18" fmla="*/ 2 w 9"/>
                <a:gd name="T19" fmla="*/ 14 h 14"/>
                <a:gd name="T20" fmla="*/ 0 w 9"/>
                <a:gd name="T21" fmla="*/ 12 h 14"/>
                <a:gd name="T22" fmla="*/ 0 w 9"/>
                <a:gd name="T2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4">
                  <a:moveTo>
                    <a:pt x="0" y="9"/>
                  </a:moveTo>
                  <a:lnTo>
                    <a:pt x="0" y="9"/>
                  </a:lnTo>
                  <a:lnTo>
                    <a:pt x="0" y="9"/>
                  </a:lnTo>
                  <a:lnTo>
                    <a:pt x="0" y="4"/>
                  </a:lnTo>
                  <a:lnTo>
                    <a:pt x="4" y="2"/>
                  </a:lnTo>
                  <a:lnTo>
                    <a:pt x="7" y="0"/>
                  </a:lnTo>
                  <a:lnTo>
                    <a:pt x="7" y="0"/>
                  </a:lnTo>
                  <a:lnTo>
                    <a:pt x="9" y="0"/>
                  </a:lnTo>
                  <a:lnTo>
                    <a:pt x="9" y="7"/>
                  </a:lnTo>
                  <a:lnTo>
                    <a:pt x="2" y="14"/>
                  </a:lnTo>
                  <a:lnTo>
                    <a:pt x="0" y="12"/>
                  </a:lnTo>
                  <a:lnTo>
                    <a:pt x="0" y="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7" name="Freeform 1247">
              <a:extLst>
                <a:ext uri="{FF2B5EF4-FFF2-40B4-BE49-F238E27FC236}">
                  <a16:creationId xmlns:a16="http://schemas.microsoft.com/office/drawing/2014/main" id="{03ED054E-AF29-4021-962B-9ED9D48CD5AE}"/>
                </a:ext>
              </a:extLst>
            </p:cNvPr>
            <p:cNvSpPr>
              <a:spLocks/>
            </p:cNvSpPr>
            <p:nvPr/>
          </p:nvSpPr>
          <p:spPr bwMode="auto">
            <a:xfrm>
              <a:off x="7622247" y="4878912"/>
              <a:ext cx="3309" cy="3309"/>
            </a:xfrm>
            <a:custGeom>
              <a:avLst/>
              <a:gdLst>
                <a:gd name="T0" fmla="*/ 0 w 2"/>
                <a:gd name="T1" fmla="*/ 0 h 2"/>
                <a:gd name="T2" fmla="*/ 0 w 2"/>
                <a:gd name="T3" fmla="*/ 0 h 2"/>
                <a:gd name="T4" fmla="*/ 2 w 2"/>
                <a:gd name="T5" fmla="*/ 0 h 2"/>
                <a:gd name="T6" fmla="*/ 2 w 2"/>
                <a:gd name="T7" fmla="*/ 2 h 2"/>
                <a:gd name="T8" fmla="*/ 0 w 2"/>
                <a:gd name="T9" fmla="*/ 2 h 2"/>
                <a:gd name="T10" fmla="*/ 0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0"/>
                  </a:lnTo>
                  <a:lnTo>
                    <a:pt x="2" y="2"/>
                  </a:lnTo>
                  <a:lnTo>
                    <a:pt x="0" y="2"/>
                  </a:lnTo>
                  <a:lnTo>
                    <a:pt x="0" y="2"/>
                  </a:lnTo>
                  <a:lnTo>
                    <a:pt x="0"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8" name="Freeform 1248">
              <a:extLst>
                <a:ext uri="{FF2B5EF4-FFF2-40B4-BE49-F238E27FC236}">
                  <a16:creationId xmlns:a16="http://schemas.microsoft.com/office/drawing/2014/main" id="{EBAD5D21-5CC5-4299-A66A-65BF2F8E0573}"/>
                </a:ext>
              </a:extLst>
            </p:cNvPr>
            <p:cNvSpPr>
              <a:spLocks/>
            </p:cNvSpPr>
            <p:nvPr/>
          </p:nvSpPr>
          <p:spPr bwMode="auto">
            <a:xfrm>
              <a:off x="7622247" y="4878912"/>
              <a:ext cx="3309" cy="3309"/>
            </a:xfrm>
            <a:custGeom>
              <a:avLst/>
              <a:gdLst>
                <a:gd name="T0" fmla="*/ 0 w 2"/>
                <a:gd name="T1" fmla="*/ 0 h 2"/>
                <a:gd name="T2" fmla="*/ 0 w 2"/>
                <a:gd name="T3" fmla="*/ 0 h 2"/>
                <a:gd name="T4" fmla="*/ 2 w 2"/>
                <a:gd name="T5" fmla="*/ 0 h 2"/>
                <a:gd name="T6" fmla="*/ 2 w 2"/>
                <a:gd name="T7" fmla="*/ 2 h 2"/>
                <a:gd name="T8" fmla="*/ 0 w 2"/>
                <a:gd name="T9" fmla="*/ 2 h 2"/>
                <a:gd name="T10" fmla="*/ 0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2" y="0"/>
                  </a:lnTo>
                  <a:lnTo>
                    <a:pt x="2" y="2"/>
                  </a:lnTo>
                  <a:lnTo>
                    <a:pt x="0" y="2"/>
                  </a:lnTo>
                  <a:lnTo>
                    <a:pt x="0" y="2"/>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69" name="Freeform 1249">
              <a:extLst>
                <a:ext uri="{FF2B5EF4-FFF2-40B4-BE49-F238E27FC236}">
                  <a16:creationId xmlns:a16="http://schemas.microsoft.com/office/drawing/2014/main" id="{FFD08671-D849-4E84-B020-1C35EB232315}"/>
                </a:ext>
              </a:extLst>
            </p:cNvPr>
            <p:cNvSpPr>
              <a:spLocks/>
            </p:cNvSpPr>
            <p:nvPr/>
          </p:nvSpPr>
          <p:spPr bwMode="auto">
            <a:xfrm>
              <a:off x="7585850" y="4859058"/>
              <a:ext cx="4964" cy="3309"/>
            </a:xfrm>
            <a:custGeom>
              <a:avLst/>
              <a:gdLst>
                <a:gd name="T0" fmla="*/ 3 w 3"/>
                <a:gd name="T1" fmla="*/ 0 h 2"/>
                <a:gd name="T2" fmla="*/ 0 w 3"/>
                <a:gd name="T3" fmla="*/ 0 h 2"/>
                <a:gd name="T4" fmla="*/ 3 w 3"/>
                <a:gd name="T5" fmla="*/ 0 h 2"/>
                <a:gd name="T6" fmla="*/ 3 w 3"/>
                <a:gd name="T7" fmla="*/ 0 h 2"/>
                <a:gd name="T8" fmla="*/ 3 w 3"/>
                <a:gd name="T9" fmla="*/ 0 h 2"/>
                <a:gd name="T10" fmla="*/ 3 w 3"/>
                <a:gd name="T11" fmla="*/ 2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lnTo>
                    <a:pt x="0" y="0"/>
                  </a:lnTo>
                  <a:lnTo>
                    <a:pt x="3" y="0"/>
                  </a:lnTo>
                  <a:lnTo>
                    <a:pt x="3" y="0"/>
                  </a:lnTo>
                  <a:lnTo>
                    <a:pt x="3" y="0"/>
                  </a:lnTo>
                  <a:lnTo>
                    <a:pt x="3" y="2"/>
                  </a:lnTo>
                  <a:lnTo>
                    <a:pt x="3"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0" name="Freeform 1250">
              <a:extLst>
                <a:ext uri="{FF2B5EF4-FFF2-40B4-BE49-F238E27FC236}">
                  <a16:creationId xmlns:a16="http://schemas.microsoft.com/office/drawing/2014/main" id="{0BB9893E-89A5-4364-AB02-8B864FE73A42}"/>
                </a:ext>
              </a:extLst>
            </p:cNvPr>
            <p:cNvSpPr>
              <a:spLocks/>
            </p:cNvSpPr>
            <p:nvPr/>
          </p:nvSpPr>
          <p:spPr bwMode="auto">
            <a:xfrm>
              <a:off x="7585850" y="4859058"/>
              <a:ext cx="4964" cy="3309"/>
            </a:xfrm>
            <a:custGeom>
              <a:avLst/>
              <a:gdLst>
                <a:gd name="T0" fmla="*/ 3 w 3"/>
                <a:gd name="T1" fmla="*/ 0 h 2"/>
                <a:gd name="T2" fmla="*/ 0 w 3"/>
                <a:gd name="T3" fmla="*/ 0 h 2"/>
                <a:gd name="T4" fmla="*/ 3 w 3"/>
                <a:gd name="T5" fmla="*/ 0 h 2"/>
                <a:gd name="T6" fmla="*/ 3 w 3"/>
                <a:gd name="T7" fmla="*/ 0 h 2"/>
                <a:gd name="T8" fmla="*/ 3 w 3"/>
                <a:gd name="T9" fmla="*/ 0 h 2"/>
                <a:gd name="T10" fmla="*/ 3 w 3"/>
                <a:gd name="T11" fmla="*/ 2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lnTo>
                    <a:pt x="0" y="0"/>
                  </a:lnTo>
                  <a:lnTo>
                    <a:pt x="3" y="0"/>
                  </a:lnTo>
                  <a:lnTo>
                    <a:pt x="3" y="0"/>
                  </a:lnTo>
                  <a:lnTo>
                    <a:pt x="3" y="0"/>
                  </a:lnTo>
                  <a:lnTo>
                    <a:pt x="3" y="2"/>
                  </a:lnTo>
                  <a:lnTo>
                    <a:pt x="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1" name="Freeform 1251">
              <a:extLst>
                <a:ext uri="{FF2B5EF4-FFF2-40B4-BE49-F238E27FC236}">
                  <a16:creationId xmlns:a16="http://schemas.microsoft.com/office/drawing/2014/main" id="{598CB6CF-68BE-4C4B-9406-0D29CFBA5145}"/>
                </a:ext>
              </a:extLst>
            </p:cNvPr>
            <p:cNvSpPr>
              <a:spLocks/>
            </p:cNvSpPr>
            <p:nvPr/>
          </p:nvSpPr>
          <p:spPr bwMode="auto">
            <a:xfrm>
              <a:off x="6179583" y="4369346"/>
              <a:ext cx="62869" cy="110846"/>
            </a:xfrm>
            <a:custGeom>
              <a:avLst/>
              <a:gdLst>
                <a:gd name="T0" fmla="*/ 5 w 38"/>
                <a:gd name="T1" fmla="*/ 0 h 67"/>
                <a:gd name="T2" fmla="*/ 5 w 38"/>
                <a:gd name="T3" fmla="*/ 0 h 67"/>
                <a:gd name="T4" fmla="*/ 5 w 38"/>
                <a:gd name="T5" fmla="*/ 3 h 67"/>
                <a:gd name="T6" fmla="*/ 9 w 38"/>
                <a:gd name="T7" fmla="*/ 5 h 67"/>
                <a:gd name="T8" fmla="*/ 9 w 38"/>
                <a:gd name="T9" fmla="*/ 5 h 67"/>
                <a:gd name="T10" fmla="*/ 9 w 38"/>
                <a:gd name="T11" fmla="*/ 5 h 67"/>
                <a:gd name="T12" fmla="*/ 7 w 38"/>
                <a:gd name="T13" fmla="*/ 8 h 67"/>
                <a:gd name="T14" fmla="*/ 5 w 38"/>
                <a:gd name="T15" fmla="*/ 12 h 67"/>
                <a:gd name="T16" fmla="*/ 5 w 38"/>
                <a:gd name="T17" fmla="*/ 15 h 67"/>
                <a:gd name="T18" fmla="*/ 2 w 38"/>
                <a:gd name="T19" fmla="*/ 31 h 67"/>
                <a:gd name="T20" fmla="*/ 0 w 38"/>
                <a:gd name="T21" fmla="*/ 29 h 67"/>
                <a:gd name="T22" fmla="*/ 0 w 38"/>
                <a:gd name="T23" fmla="*/ 31 h 67"/>
                <a:gd name="T24" fmla="*/ 0 w 38"/>
                <a:gd name="T25" fmla="*/ 36 h 67"/>
                <a:gd name="T26" fmla="*/ 2 w 38"/>
                <a:gd name="T27" fmla="*/ 52 h 67"/>
                <a:gd name="T28" fmla="*/ 2 w 38"/>
                <a:gd name="T29" fmla="*/ 57 h 67"/>
                <a:gd name="T30" fmla="*/ 5 w 38"/>
                <a:gd name="T31" fmla="*/ 64 h 67"/>
                <a:gd name="T32" fmla="*/ 9 w 38"/>
                <a:gd name="T33" fmla="*/ 67 h 67"/>
                <a:gd name="T34" fmla="*/ 14 w 38"/>
                <a:gd name="T35" fmla="*/ 67 h 67"/>
                <a:gd name="T36" fmla="*/ 19 w 38"/>
                <a:gd name="T37" fmla="*/ 67 h 67"/>
                <a:gd name="T38" fmla="*/ 26 w 38"/>
                <a:gd name="T39" fmla="*/ 62 h 67"/>
                <a:gd name="T40" fmla="*/ 31 w 38"/>
                <a:gd name="T41" fmla="*/ 60 h 67"/>
                <a:gd name="T42" fmla="*/ 35 w 38"/>
                <a:gd name="T43" fmla="*/ 55 h 67"/>
                <a:gd name="T44" fmla="*/ 35 w 38"/>
                <a:gd name="T45" fmla="*/ 48 h 67"/>
                <a:gd name="T46" fmla="*/ 38 w 38"/>
                <a:gd name="T47" fmla="*/ 41 h 67"/>
                <a:gd name="T48" fmla="*/ 35 w 38"/>
                <a:gd name="T49" fmla="*/ 38 h 67"/>
                <a:gd name="T50" fmla="*/ 33 w 38"/>
                <a:gd name="T51" fmla="*/ 36 h 67"/>
                <a:gd name="T52" fmla="*/ 31 w 38"/>
                <a:gd name="T53" fmla="*/ 29 h 67"/>
                <a:gd name="T54" fmla="*/ 28 w 38"/>
                <a:gd name="T55" fmla="*/ 24 h 67"/>
                <a:gd name="T56" fmla="*/ 26 w 38"/>
                <a:gd name="T57" fmla="*/ 22 h 67"/>
                <a:gd name="T58" fmla="*/ 26 w 38"/>
                <a:gd name="T59" fmla="*/ 19 h 67"/>
                <a:gd name="T60" fmla="*/ 24 w 38"/>
                <a:gd name="T61" fmla="*/ 17 h 67"/>
                <a:gd name="T62" fmla="*/ 21 w 38"/>
                <a:gd name="T63" fmla="*/ 15 h 67"/>
                <a:gd name="T64" fmla="*/ 19 w 38"/>
                <a:gd name="T65" fmla="*/ 10 h 67"/>
                <a:gd name="T66" fmla="*/ 14 w 38"/>
                <a:gd name="T67" fmla="*/ 5 h 67"/>
                <a:gd name="T68" fmla="*/ 12 w 38"/>
                <a:gd name="T69" fmla="*/ 0 h 67"/>
                <a:gd name="T70" fmla="*/ 7 w 38"/>
                <a:gd name="T71" fmla="*/ 0 h 67"/>
                <a:gd name="T72" fmla="*/ 5 w 38"/>
                <a:gd name="T7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67">
                  <a:moveTo>
                    <a:pt x="5" y="0"/>
                  </a:moveTo>
                  <a:lnTo>
                    <a:pt x="5" y="0"/>
                  </a:lnTo>
                  <a:lnTo>
                    <a:pt x="5" y="3"/>
                  </a:lnTo>
                  <a:lnTo>
                    <a:pt x="9" y="5"/>
                  </a:lnTo>
                  <a:lnTo>
                    <a:pt x="9" y="5"/>
                  </a:lnTo>
                  <a:lnTo>
                    <a:pt x="9" y="5"/>
                  </a:lnTo>
                  <a:lnTo>
                    <a:pt x="7" y="8"/>
                  </a:lnTo>
                  <a:lnTo>
                    <a:pt x="5" y="12"/>
                  </a:lnTo>
                  <a:lnTo>
                    <a:pt x="5" y="15"/>
                  </a:lnTo>
                  <a:lnTo>
                    <a:pt x="2" y="31"/>
                  </a:lnTo>
                  <a:lnTo>
                    <a:pt x="0" y="29"/>
                  </a:lnTo>
                  <a:lnTo>
                    <a:pt x="0" y="31"/>
                  </a:lnTo>
                  <a:lnTo>
                    <a:pt x="0" y="36"/>
                  </a:lnTo>
                  <a:lnTo>
                    <a:pt x="2" y="52"/>
                  </a:lnTo>
                  <a:lnTo>
                    <a:pt x="2" y="57"/>
                  </a:lnTo>
                  <a:lnTo>
                    <a:pt x="5" y="64"/>
                  </a:lnTo>
                  <a:lnTo>
                    <a:pt x="9" y="67"/>
                  </a:lnTo>
                  <a:lnTo>
                    <a:pt x="14" y="67"/>
                  </a:lnTo>
                  <a:lnTo>
                    <a:pt x="19" y="67"/>
                  </a:lnTo>
                  <a:lnTo>
                    <a:pt x="26" y="62"/>
                  </a:lnTo>
                  <a:lnTo>
                    <a:pt x="31" y="60"/>
                  </a:lnTo>
                  <a:lnTo>
                    <a:pt x="35" y="55"/>
                  </a:lnTo>
                  <a:lnTo>
                    <a:pt x="35" y="48"/>
                  </a:lnTo>
                  <a:lnTo>
                    <a:pt x="38" y="41"/>
                  </a:lnTo>
                  <a:lnTo>
                    <a:pt x="35" y="38"/>
                  </a:lnTo>
                  <a:lnTo>
                    <a:pt x="33" y="36"/>
                  </a:lnTo>
                  <a:lnTo>
                    <a:pt x="31" y="29"/>
                  </a:lnTo>
                  <a:lnTo>
                    <a:pt x="28" y="24"/>
                  </a:lnTo>
                  <a:lnTo>
                    <a:pt x="26" y="22"/>
                  </a:lnTo>
                  <a:lnTo>
                    <a:pt x="26" y="19"/>
                  </a:lnTo>
                  <a:lnTo>
                    <a:pt x="24" y="17"/>
                  </a:lnTo>
                  <a:lnTo>
                    <a:pt x="21" y="15"/>
                  </a:lnTo>
                  <a:lnTo>
                    <a:pt x="19" y="10"/>
                  </a:lnTo>
                  <a:lnTo>
                    <a:pt x="14" y="5"/>
                  </a:lnTo>
                  <a:lnTo>
                    <a:pt x="12" y="0"/>
                  </a:lnTo>
                  <a:lnTo>
                    <a:pt x="7" y="0"/>
                  </a:lnTo>
                  <a:lnTo>
                    <a:pt x="5" y="0"/>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2" name="Freeform 1252">
              <a:extLst>
                <a:ext uri="{FF2B5EF4-FFF2-40B4-BE49-F238E27FC236}">
                  <a16:creationId xmlns:a16="http://schemas.microsoft.com/office/drawing/2014/main" id="{BFED196B-EDD7-4FD6-B9D6-B19D2877D66C}"/>
                </a:ext>
              </a:extLst>
            </p:cNvPr>
            <p:cNvSpPr>
              <a:spLocks/>
            </p:cNvSpPr>
            <p:nvPr/>
          </p:nvSpPr>
          <p:spPr bwMode="auto">
            <a:xfrm>
              <a:off x="6179583" y="4369346"/>
              <a:ext cx="62869" cy="110846"/>
            </a:xfrm>
            <a:custGeom>
              <a:avLst/>
              <a:gdLst>
                <a:gd name="T0" fmla="*/ 5 w 38"/>
                <a:gd name="T1" fmla="*/ 0 h 67"/>
                <a:gd name="T2" fmla="*/ 5 w 38"/>
                <a:gd name="T3" fmla="*/ 0 h 67"/>
                <a:gd name="T4" fmla="*/ 5 w 38"/>
                <a:gd name="T5" fmla="*/ 3 h 67"/>
                <a:gd name="T6" fmla="*/ 9 w 38"/>
                <a:gd name="T7" fmla="*/ 5 h 67"/>
                <a:gd name="T8" fmla="*/ 9 w 38"/>
                <a:gd name="T9" fmla="*/ 5 h 67"/>
                <a:gd name="T10" fmla="*/ 9 w 38"/>
                <a:gd name="T11" fmla="*/ 5 h 67"/>
                <a:gd name="T12" fmla="*/ 7 w 38"/>
                <a:gd name="T13" fmla="*/ 8 h 67"/>
                <a:gd name="T14" fmla="*/ 5 w 38"/>
                <a:gd name="T15" fmla="*/ 12 h 67"/>
                <a:gd name="T16" fmla="*/ 5 w 38"/>
                <a:gd name="T17" fmla="*/ 15 h 67"/>
                <a:gd name="T18" fmla="*/ 2 w 38"/>
                <a:gd name="T19" fmla="*/ 31 h 67"/>
                <a:gd name="T20" fmla="*/ 0 w 38"/>
                <a:gd name="T21" fmla="*/ 29 h 67"/>
                <a:gd name="T22" fmla="*/ 0 w 38"/>
                <a:gd name="T23" fmla="*/ 31 h 67"/>
                <a:gd name="T24" fmla="*/ 0 w 38"/>
                <a:gd name="T25" fmla="*/ 36 h 67"/>
                <a:gd name="T26" fmla="*/ 2 w 38"/>
                <a:gd name="T27" fmla="*/ 52 h 67"/>
                <a:gd name="T28" fmla="*/ 2 w 38"/>
                <a:gd name="T29" fmla="*/ 57 h 67"/>
                <a:gd name="T30" fmla="*/ 5 w 38"/>
                <a:gd name="T31" fmla="*/ 64 h 67"/>
                <a:gd name="T32" fmla="*/ 9 w 38"/>
                <a:gd name="T33" fmla="*/ 67 h 67"/>
                <a:gd name="T34" fmla="*/ 14 w 38"/>
                <a:gd name="T35" fmla="*/ 67 h 67"/>
                <a:gd name="T36" fmla="*/ 19 w 38"/>
                <a:gd name="T37" fmla="*/ 67 h 67"/>
                <a:gd name="T38" fmla="*/ 26 w 38"/>
                <a:gd name="T39" fmla="*/ 62 h 67"/>
                <a:gd name="T40" fmla="*/ 31 w 38"/>
                <a:gd name="T41" fmla="*/ 60 h 67"/>
                <a:gd name="T42" fmla="*/ 35 w 38"/>
                <a:gd name="T43" fmla="*/ 55 h 67"/>
                <a:gd name="T44" fmla="*/ 35 w 38"/>
                <a:gd name="T45" fmla="*/ 48 h 67"/>
                <a:gd name="T46" fmla="*/ 38 w 38"/>
                <a:gd name="T47" fmla="*/ 41 h 67"/>
                <a:gd name="T48" fmla="*/ 35 w 38"/>
                <a:gd name="T49" fmla="*/ 38 h 67"/>
                <a:gd name="T50" fmla="*/ 33 w 38"/>
                <a:gd name="T51" fmla="*/ 36 h 67"/>
                <a:gd name="T52" fmla="*/ 31 w 38"/>
                <a:gd name="T53" fmla="*/ 29 h 67"/>
                <a:gd name="T54" fmla="*/ 28 w 38"/>
                <a:gd name="T55" fmla="*/ 24 h 67"/>
                <a:gd name="T56" fmla="*/ 26 w 38"/>
                <a:gd name="T57" fmla="*/ 22 h 67"/>
                <a:gd name="T58" fmla="*/ 26 w 38"/>
                <a:gd name="T59" fmla="*/ 19 h 67"/>
                <a:gd name="T60" fmla="*/ 24 w 38"/>
                <a:gd name="T61" fmla="*/ 17 h 67"/>
                <a:gd name="T62" fmla="*/ 21 w 38"/>
                <a:gd name="T63" fmla="*/ 15 h 67"/>
                <a:gd name="T64" fmla="*/ 19 w 38"/>
                <a:gd name="T65" fmla="*/ 10 h 67"/>
                <a:gd name="T66" fmla="*/ 14 w 38"/>
                <a:gd name="T67" fmla="*/ 5 h 67"/>
                <a:gd name="T68" fmla="*/ 12 w 38"/>
                <a:gd name="T69" fmla="*/ 0 h 67"/>
                <a:gd name="T70" fmla="*/ 7 w 38"/>
                <a:gd name="T71" fmla="*/ 0 h 67"/>
                <a:gd name="T72" fmla="*/ 5 w 38"/>
                <a:gd name="T7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67">
                  <a:moveTo>
                    <a:pt x="5" y="0"/>
                  </a:moveTo>
                  <a:lnTo>
                    <a:pt x="5" y="0"/>
                  </a:lnTo>
                  <a:lnTo>
                    <a:pt x="5" y="3"/>
                  </a:lnTo>
                  <a:lnTo>
                    <a:pt x="9" y="5"/>
                  </a:lnTo>
                  <a:lnTo>
                    <a:pt x="9" y="5"/>
                  </a:lnTo>
                  <a:lnTo>
                    <a:pt x="9" y="5"/>
                  </a:lnTo>
                  <a:lnTo>
                    <a:pt x="7" y="8"/>
                  </a:lnTo>
                  <a:lnTo>
                    <a:pt x="5" y="12"/>
                  </a:lnTo>
                  <a:lnTo>
                    <a:pt x="5" y="15"/>
                  </a:lnTo>
                  <a:lnTo>
                    <a:pt x="2" y="31"/>
                  </a:lnTo>
                  <a:lnTo>
                    <a:pt x="0" y="29"/>
                  </a:lnTo>
                  <a:lnTo>
                    <a:pt x="0" y="31"/>
                  </a:lnTo>
                  <a:lnTo>
                    <a:pt x="0" y="36"/>
                  </a:lnTo>
                  <a:lnTo>
                    <a:pt x="2" y="52"/>
                  </a:lnTo>
                  <a:lnTo>
                    <a:pt x="2" y="57"/>
                  </a:lnTo>
                  <a:lnTo>
                    <a:pt x="5" y="64"/>
                  </a:lnTo>
                  <a:lnTo>
                    <a:pt x="9" y="67"/>
                  </a:lnTo>
                  <a:lnTo>
                    <a:pt x="14" y="67"/>
                  </a:lnTo>
                  <a:lnTo>
                    <a:pt x="19" y="67"/>
                  </a:lnTo>
                  <a:lnTo>
                    <a:pt x="26" y="62"/>
                  </a:lnTo>
                  <a:lnTo>
                    <a:pt x="31" y="60"/>
                  </a:lnTo>
                  <a:lnTo>
                    <a:pt x="35" y="55"/>
                  </a:lnTo>
                  <a:lnTo>
                    <a:pt x="35" y="48"/>
                  </a:lnTo>
                  <a:lnTo>
                    <a:pt x="38" y="41"/>
                  </a:lnTo>
                  <a:lnTo>
                    <a:pt x="35" y="38"/>
                  </a:lnTo>
                  <a:lnTo>
                    <a:pt x="33" y="36"/>
                  </a:lnTo>
                  <a:lnTo>
                    <a:pt x="31" y="29"/>
                  </a:lnTo>
                  <a:lnTo>
                    <a:pt x="28" y="24"/>
                  </a:lnTo>
                  <a:lnTo>
                    <a:pt x="26" y="22"/>
                  </a:lnTo>
                  <a:lnTo>
                    <a:pt x="26" y="19"/>
                  </a:lnTo>
                  <a:lnTo>
                    <a:pt x="24" y="17"/>
                  </a:lnTo>
                  <a:lnTo>
                    <a:pt x="21" y="15"/>
                  </a:lnTo>
                  <a:lnTo>
                    <a:pt x="19" y="10"/>
                  </a:lnTo>
                  <a:lnTo>
                    <a:pt x="14" y="5"/>
                  </a:lnTo>
                  <a:lnTo>
                    <a:pt x="12" y="0"/>
                  </a:lnTo>
                  <a:lnTo>
                    <a:pt x="7" y="0"/>
                  </a:lnTo>
                  <a:lnTo>
                    <a:pt x="5"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3" name="Freeform 1257">
              <a:extLst>
                <a:ext uri="{FF2B5EF4-FFF2-40B4-BE49-F238E27FC236}">
                  <a16:creationId xmlns:a16="http://schemas.microsoft.com/office/drawing/2014/main" id="{562C165C-BB85-4DC7-9E0D-075DA882618C}"/>
                </a:ext>
              </a:extLst>
            </p:cNvPr>
            <p:cNvSpPr>
              <a:spLocks/>
            </p:cNvSpPr>
            <p:nvPr/>
          </p:nvSpPr>
          <p:spPr bwMode="auto">
            <a:xfrm>
              <a:off x="6770216" y="3987173"/>
              <a:ext cx="210113" cy="261400"/>
            </a:xfrm>
            <a:custGeom>
              <a:avLst/>
              <a:gdLst>
                <a:gd name="T0" fmla="*/ 42 w 127"/>
                <a:gd name="T1" fmla="*/ 14 h 158"/>
                <a:gd name="T2" fmla="*/ 47 w 127"/>
                <a:gd name="T3" fmla="*/ 24 h 158"/>
                <a:gd name="T4" fmla="*/ 59 w 127"/>
                <a:gd name="T5" fmla="*/ 33 h 158"/>
                <a:gd name="T6" fmla="*/ 73 w 127"/>
                <a:gd name="T7" fmla="*/ 35 h 158"/>
                <a:gd name="T8" fmla="*/ 78 w 127"/>
                <a:gd name="T9" fmla="*/ 43 h 158"/>
                <a:gd name="T10" fmla="*/ 80 w 127"/>
                <a:gd name="T11" fmla="*/ 50 h 158"/>
                <a:gd name="T12" fmla="*/ 70 w 127"/>
                <a:gd name="T13" fmla="*/ 54 h 158"/>
                <a:gd name="T14" fmla="*/ 66 w 127"/>
                <a:gd name="T15" fmla="*/ 59 h 158"/>
                <a:gd name="T16" fmla="*/ 70 w 127"/>
                <a:gd name="T17" fmla="*/ 64 h 158"/>
                <a:gd name="T18" fmla="*/ 87 w 127"/>
                <a:gd name="T19" fmla="*/ 78 h 158"/>
                <a:gd name="T20" fmla="*/ 99 w 127"/>
                <a:gd name="T21" fmla="*/ 92 h 158"/>
                <a:gd name="T22" fmla="*/ 108 w 127"/>
                <a:gd name="T23" fmla="*/ 102 h 158"/>
                <a:gd name="T24" fmla="*/ 111 w 127"/>
                <a:gd name="T25" fmla="*/ 106 h 158"/>
                <a:gd name="T26" fmla="*/ 118 w 127"/>
                <a:gd name="T27" fmla="*/ 113 h 158"/>
                <a:gd name="T28" fmla="*/ 127 w 127"/>
                <a:gd name="T29" fmla="*/ 132 h 158"/>
                <a:gd name="T30" fmla="*/ 125 w 127"/>
                <a:gd name="T31" fmla="*/ 146 h 158"/>
                <a:gd name="T32" fmla="*/ 115 w 127"/>
                <a:gd name="T33" fmla="*/ 151 h 158"/>
                <a:gd name="T34" fmla="*/ 108 w 127"/>
                <a:gd name="T35" fmla="*/ 149 h 158"/>
                <a:gd name="T36" fmla="*/ 99 w 127"/>
                <a:gd name="T37" fmla="*/ 158 h 158"/>
                <a:gd name="T38" fmla="*/ 87 w 127"/>
                <a:gd name="T39" fmla="*/ 151 h 158"/>
                <a:gd name="T40" fmla="*/ 92 w 127"/>
                <a:gd name="T41" fmla="*/ 146 h 158"/>
                <a:gd name="T42" fmla="*/ 92 w 127"/>
                <a:gd name="T43" fmla="*/ 128 h 158"/>
                <a:gd name="T44" fmla="*/ 87 w 127"/>
                <a:gd name="T45" fmla="*/ 123 h 158"/>
                <a:gd name="T46" fmla="*/ 82 w 127"/>
                <a:gd name="T47" fmla="*/ 118 h 158"/>
                <a:gd name="T48" fmla="*/ 78 w 127"/>
                <a:gd name="T49" fmla="*/ 104 h 158"/>
                <a:gd name="T50" fmla="*/ 75 w 127"/>
                <a:gd name="T51" fmla="*/ 92 h 158"/>
                <a:gd name="T52" fmla="*/ 70 w 127"/>
                <a:gd name="T53" fmla="*/ 87 h 158"/>
                <a:gd name="T54" fmla="*/ 63 w 127"/>
                <a:gd name="T55" fmla="*/ 78 h 158"/>
                <a:gd name="T56" fmla="*/ 52 w 127"/>
                <a:gd name="T57" fmla="*/ 78 h 158"/>
                <a:gd name="T58" fmla="*/ 47 w 127"/>
                <a:gd name="T59" fmla="*/ 85 h 158"/>
                <a:gd name="T60" fmla="*/ 37 w 127"/>
                <a:gd name="T61" fmla="*/ 85 h 158"/>
                <a:gd name="T62" fmla="*/ 30 w 127"/>
                <a:gd name="T63" fmla="*/ 80 h 158"/>
                <a:gd name="T64" fmla="*/ 19 w 127"/>
                <a:gd name="T65" fmla="*/ 87 h 158"/>
                <a:gd name="T66" fmla="*/ 14 w 127"/>
                <a:gd name="T67" fmla="*/ 92 h 158"/>
                <a:gd name="T68" fmla="*/ 16 w 127"/>
                <a:gd name="T69" fmla="*/ 76 h 158"/>
                <a:gd name="T70" fmla="*/ 16 w 127"/>
                <a:gd name="T71" fmla="*/ 66 h 158"/>
                <a:gd name="T72" fmla="*/ 16 w 127"/>
                <a:gd name="T73" fmla="*/ 54 h 158"/>
                <a:gd name="T74" fmla="*/ 7 w 127"/>
                <a:gd name="T75" fmla="*/ 52 h 158"/>
                <a:gd name="T76" fmla="*/ 4 w 127"/>
                <a:gd name="T77" fmla="*/ 40 h 158"/>
                <a:gd name="T78" fmla="*/ 0 w 127"/>
                <a:gd name="T79" fmla="*/ 38 h 158"/>
                <a:gd name="T80" fmla="*/ 2 w 127"/>
                <a:gd name="T81" fmla="*/ 33 h 158"/>
                <a:gd name="T82" fmla="*/ 7 w 127"/>
                <a:gd name="T83" fmla="*/ 31 h 158"/>
                <a:gd name="T84" fmla="*/ 16 w 127"/>
                <a:gd name="T85" fmla="*/ 21 h 158"/>
                <a:gd name="T86" fmla="*/ 19 w 127"/>
                <a:gd name="T87" fmla="*/ 26 h 158"/>
                <a:gd name="T88" fmla="*/ 28 w 127"/>
                <a:gd name="T89" fmla="*/ 19 h 158"/>
                <a:gd name="T90" fmla="*/ 26 w 127"/>
                <a:gd name="T91" fmla="*/ 5 h 158"/>
                <a:gd name="T92" fmla="*/ 35 w 127"/>
                <a:gd name="T93" fmla="*/ 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 h="158">
                  <a:moveTo>
                    <a:pt x="35" y="2"/>
                  </a:moveTo>
                  <a:lnTo>
                    <a:pt x="37" y="7"/>
                  </a:lnTo>
                  <a:lnTo>
                    <a:pt x="42" y="14"/>
                  </a:lnTo>
                  <a:lnTo>
                    <a:pt x="47" y="17"/>
                  </a:lnTo>
                  <a:lnTo>
                    <a:pt x="47" y="19"/>
                  </a:lnTo>
                  <a:lnTo>
                    <a:pt x="47" y="24"/>
                  </a:lnTo>
                  <a:lnTo>
                    <a:pt x="47" y="26"/>
                  </a:lnTo>
                  <a:lnTo>
                    <a:pt x="52" y="31"/>
                  </a:lnTo>
                  <a:lnTo>
                    <a:pt x="59" y="33"/>
                  </a:lnTo>
                  <a:lnTo>
                    <a:pt x="66" y="31"/>
                  </a:lnTo>
                  <a:lnTo>
                    <a:pt x="70" y="31"/>
                  </a:lnTo>
                  <a:lnTo>
                    <a:pt x="73" y="35"/>
                  </a:lnTo>
                  <a:lnTo>
                    <a:pt x="75" y="38"/>
                  </a:lnTo>
                  <a:lnTo>
                    <a:pt x="75" y="40"/>
                  </a:lnTo>
                  <a:lnTo>
                    <a:pt x="78" y="43"/>
                  </a:lnTo>
                  <a:lnTo>
                    <a:pt x="80" y="45"/>
                  </a:lnTo>
                  <a:lnTo>
                    <a:pt x="80" y="47"/>
                  </a:lnTo>
                  <a:lnTo>
                    <a:pt x="80" y="50"/>
                  </a:lnTo>
                  <a:lnTo>
                    <a:pt x="75" y="54"/>
                  </a:lnTo>
                  <a:lnTo>
                    <a:pt x="73" y="54"/>
                  </a:lnTo>
                  <a:lnTo>
                    <a:pt x="70" y="54"/>
                  </a:lnTo>
                  <a:lnTo>
                    <a:pt x="68" y="54"/>
                  </a:lnTo>
                  <a:lnTo>
                    <a:pt x="66" y="57"/>
                  </a:lnTo>
                  <a:lnTo>
                    <a:pt x="66" y="59"/>
                  </a:lnTo>
                  <a:lnTo>
                    <a:pt x="66" y="61"/>
                  </a:lnTo>
                  <a:lnTo>
                    <a:pt x="68" y="61"/>
                  </a:lnTo>
                  <a:lnTo>
                    <a:pt x="70" y="64"/>
                  </a:lnTo>
                  <a:lnTo>
                    <a:pt x="78" y="66"/>
                  </a:lnTo>
                  <a:lnTo>
                    <a:pt x="85" y="73"/>
                  </a:lnTo>
                  <a:lnTo>
                    <a:pt x="87" y="78"/>
                  </a:lnTo>
                  <a:lnTo>
                    <a:pt x="94" y="85"/>
                  </a:lnTo>
                  <a:lnTo>
                    <a:pt x="94" y="87"/>
                  </a:lnTo>
                  <a:lnTo>
                    <a:pt x="99" y="92"/>
                  </a:lnTo>
                  <a:lnTo>
                    <a:pt x="101" y="94"/>
                  </a:lnTo>
                  <a:lnTo>
                    <a:pt x="108" y="97"/>
                  </a:lnTo>
                  <a:lnTo>
                    <a:pt x="108" y="102"/>
                  </a:lnTo>
                  <a:lnTo>
                    <a:pt x="111" y="106"/>
                  </a:lnTo>
                  <a:lnTo>
                    <a:pt x="111" y="106"/>
                  </a:lnTo>
                  <a:lnTo>
                    <a:pt x="111" y="106"/>
                  </a:lnTo>
                  <a:lnTo>
                    <a:pt x="111" y="111"/>
                  </a:lnTo>
                  <a:lnTo>
                    <a:pt x="113" y="111"/>
                  </a:lnTo>
                  <a:lnTo>
                    <a:pt x="118" y="113"/>
                  </a:lnTo>
                  <a:lnTo>
                    <a:pt x="120" y="116"/>
                  </a:lnTo>
                  <a:lnTo>
                    <a:pt x="122" y="123"/>
                  </a:lnTo>
                  <a:lnTo>
                    <a:pt x="127" y="132"/>
                  </a:lnTo>
                  <a:lnTo>
                    <a:pt x="127" y="135"/>
                  </a:lnTo>
                  <a:lnTo>
                    <a:pt x="127" y="144"/>
                  </a:lnTo>
                  <a:lnTo>
                    <a:pt x="125" y="146"/>
                  </a:lnTo>
                  <a:lnTo>
                    <a:pt x="122" y="149"/>
                  </a:lnTo>
                  <a:lnTo>
                    <a:pt x="120" y="151"/>
                  </a:lnTo>
                  <a:lnTo>
                    <a:pt x="115" y="151"/>
                  </a:lnTo>
                  <a:lnTo>
                    <a:pt x="113" y="149"/>
                  </a:lnTo>
                  <a:lnTo>
                    <a:pt x="111" y="146"/>
                  </a:lnTo>
                  <a:lnTo>
                    <a:pt x="108" y="149"/>
                  </a:lnTo>
                  <a:lnTo>
                    <a:pt x="104" y="151"/>
                  </a:lnTo>
                  <a:lnTo>
                    <a:pt x="104" y="156"/>
                  </a:lnTo>
                  <a:lnTo>
                    <a:pt x="99" y="158"/>
                  </a:lnTo>
                  <a:lnTo>
                    <a:pt x="96" y="156"/>
                  </a:lnTo>
                  <a:lnTo>
                    <a:pt x="89" y="156"/>
                  </a:lnTo>
                  <a:lnTo>
                    <a:pt x="87" y="151"/>
                  </a:lnTo>
                  <a:lnTo>
                    <a:pt x="87" y="151"/>
                  </a:lnTo>
                  <a:lnTo>
                    <a:pt x="89" y="151"/>
                  </a:lnTo>
                  <a:lnTo>
                    <a:pt x="92" y="146"/>
                  </a:lnTo>
                  <a:lnTo>
                    <a:pt x="92" y="135"/>
                  </a:lnTo>
                  <a:lnTo>
                    <a:pt x="92" y="130"/>
                  </a:lnTo>
                  <a:lnTo>
                    <a:pt x="92" y="128"/>
                  </a:lnTo>
                  <a:lnTo>
                    <a:pt x="92" y="125"/>
                  </a:lnTo>
                  <a:lnTo>
                    <a:pt x="89" y="123"/>
                  </a:lnTo>
                  <a:lnTo>
                    <a:pt x="87" y="123"/>
                  </a:lnTo>
                  <a:lnTo>
                    <a:pt x="87" y="120"/>
                  </a:lnTo>
                  <a:lnTo>
                    <a:pt x="85" y="120"/>
                  </a:lnTo>
                  <a:lnTo>
                    <a:pt x="82" y="118"/>
                  </a:lnTo>
                  <a:lnTo>
                    <a:pt x="80" y="116"/>
                  </a:lnTo>
                  <a:lnTo>
                    <a:pt x="78" y="111"/>
                  </a:lnTo>
                  <a:lnTo>
                    <a:pt x="78" y="104"/>
                  </a:lnTo>
                  <a:lnTo>
                    <a:pt x="78" y="99"/>
                  </a:lnTo>
                  <a:lnTo>
                    <a:pt x="78" y="94"/>
                  </a:lnTo>
                  <a:lnTo>
                    <a:pt x="75" y="92"/>
                  </a:lnTo>
                  <a:lnTo>
                    <a:pt x="73" y="90"/>
                  </a:lnTo>
                  <a:lnTo>
                    <a:pt x="73" y="87"/>
                  </a:lnTo>
                  <a:lnTo>
                    <a:pt x="70" y="87"/>
                  </a:lnTo>
                  <a:lnTo>
                    <a:pt x="68" y="85"/>
                  </a:lnTo>
                  <a:lnTo>
                    <a:pt x="66" y="83"/>
                  </a:lnTo>
                  <a:lnTo>
                    <a:pt x="63" y="78"/>
                  </a:lnTo>
                  <a:lnTo>
                    <a:pt x="59" y="78"/>
                  </a:lnTo>
                  <a:lnTo>
                    <a:pt x="54" y="78"/>
                  </a:lnTo>
                  <a:lnTo>
                    <a:pt x="52" y="78"/>
                  </a:lnTo>
                  <a:lnTo>
                    <a:pt x="49" y="83"/>
                  </a:lnTo>
                  <a:lnTo>
                    <a:pt x="49" y="83"/>
                  </a:lnTo>
                  <a:lnTo>
                    <a:pt x="47" y="85"/>
                  </a:lnTo>
                  <a:lnTo>
                    <a:pt x="42" y="87"/>
                  </a:lnTo>
                  <a:lnTo>
                    <a:pt x="40" y="87"/>
                  </a:lnTo>
                  <a:lnTo>
                    <a:pt x="37" y="85"/>
                  </a:lnTo>
                  <a:lnTo>
                    <a:pt x="35" y="80"/>
                  </a:lnTo>
                  <a:lnTo>
                    <a:pt x="33" y="80"/>
                  </a:lnTo>
                  <a:lnTo>
                    <a:pt x="30" y="80"/>
                  </a:lnTo>
                  <a:lnTo>
                    <a:pt x="26" y="83"/>
                  </a:lnTo>
                  <a:lnTo>
                    <a:pt x="21" y="87"/>
                  </a:lnTo>
                  <a:lnTo>
                    <a:pt x="19" y="87"/>
                  </a:lnTo>
                  <a:lnTo>
                    <a:pt x="16" y="92"/>
                  </a:lnTo>
                  <a:lnTo>
                    <a:pt x="14" y="92"/>
                  </a:lnTo>
                  <a:lnTo>
                    <a:pt x="14" y="92"/>
                  </a:lnTo>
                  <a:lnTo>
                    <a:pt x="14" y="87"/>
                  </a:lnTo>
                  <a:lnTo>
                    <a:pt x="14" y="83"/>
                  </a:lnTo>
                  <a:lnTo>
                    <a:pt x="16" y="76"/>
                  </a:lnTo>
                  <a:lnTo>
                    <a:pt x="16" y="71"/>
                  </a:lnTo>
                  <a:lnTo>
                    <a:pt x="16" y="68"/>
                  </a:lnTo>
                  <a:lnTo>
                    <a:pt x="16" y="66"/>
                  </a:lnTo>
                  <a:lnTo>
                    <a:pt x="16" y="61"/>
                  </a:lnTo>
                  <a:lnTo>
                    <a:pt x="16" y="54"/>
                  </a:lnTo>
                  <a:lnTo>
                    <a:pt x="16" y="54"/>
                  </a:lnTo>
                  <a:lnTo>
                    <a:pt x="9" y="54"/>
                  </a:lnTo>
                  <a:lnTo>
                    <a:pt x="7" y="54"/>
                  </a:lnTo>
                  <a:lnTo>
                    <a:pt x="7" y="52"/>
                  </a:lnTo>
                  <a:lnTo>
                    <a:pt x="7" y="47"/>
                  </a:lnTo>
                  <a:lnTo>
                    <a:pt x="7" y="43"/>
                  </a:lnTo>
                  <a:lnTo>
                    <a:pt x="4" y="40"/>
                  </a:lnTo>
                  <a:lnTo>
                    <a:pt x="2" y="38"/>
                  </a:lnTo>
                  <a:lnTo>
                    <a:pt x="2" y="38"/>
                  </a:lnTo>
                  <a:lnTo>
                    <a:pt x="0" y="38"/>
                  </a:lnTo>
                  <a:lnTo>
                    <a:pt x="0" y="35"/>
                  </a:lnTo>
                  <a:lnTo>
                    <a:pt x="2" y="35"/>
                  </a:lnTo>
                  <a:lnTo>
                    <a:pt x="2" y="33"/>
                  </a:lnTo>
                  <a:lnTo>
                    <a:pt x="4" y="31"/>
                  </a:lnTo>
                  <a:lnTo>
                    <a:pt x="7" y="31"/>
                  </a:lnTo>
                  <a:lnTo>
                    <a:pt x="7" y="31"/>
                  </a:lnTo>
                  <a:lnTo>
                    <a:pt x="7" y="28"/>
                  </a:lnTo>
                  <a:lnTo>
                    <a:pt x="7" y="26"/>
                  </a:lnTo>
                  <a:lnTo>
                    <a:pt x="16" y="21"/>
                  </a:lnTo>
                  <a:lnTo>
                    <a:pt x="16" y="19"/>
                  </a:lnTo>
                  <a:lnTo>
                    <a:pt x="16" y="17"/>
                  </a:lnTo>
                  <a:lnTo>
                    <a:pt x="19" y="26"/>
                  </a:lnTo>
                  <a:lnTo>
                    <a:pt x="26" y="24"/>
                  </a:lnTo>
                  <a:lnTo>
                    <a:pt x="28" y="24"/>
                  </a:lnTo>
                  <a:lnTo>
                    <a:pt x="28" y="19"/>
                  </a:lnTo>
                  <a:lnTo>
                    <a:pt x="26" y="14"/>
                  </a:lnTo>
                  <a:lnTo>
                    <a:pt x="26" y="7"/>
                  </a:lnTo>
                  <a:lnTo>
                    <a:pt x="26" y="5"/>
                  </a:lnTo>
                  <a:lnTo>
                    <a:pt x="28" y="0"/>
                  </a:lnTo>
                  <a:lnTo>
                    <a:pt x="35" y="2"/>
                  </a:lnTo>
                  <a:lnTo>
                    <a:pt x="35"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4" name="Freeform 1258">
              <a:extLst>
                <a:ext uri="{FF2B5EF4-FFF2-40B4-BE49-F238E27FC236}">
                  <a16:creationId xmlns:a16="http://schemas.microsoft.com/office/drawing/2014/main" id="{22797D9A-DC37-4916-B22F-12627B71C3C5}"/>
                </a:ext>
              </a:extLst>
            </p:cNvPr>
            <p:cNvSpPr>
              <a:spLocks/>
            </p:cNvSpPr>
            <p:nvPr/>
          </p:nvSpPr>
          <p:spPr bwMode="auto">
            <a:xfrm>
              <a:off x="6770216" y="3987173"/>
              <a:ext cx="210113" cy="261400"/>
            </a:xfrm>
            <a:custGeom>
              <a:avLst/>
              <a:gdLst>
                <a:gd name="T0" fmla="*/ 42 w 127"/>
                <a:gd name="T1" fmla="*/ 14 h 158"/>
                <a:gd name="T2" fmla="*/ 47 w 127"/>
                <a:gd name="T3" fmla="*/ 24 h 158"/>
                <a:gd name="T4" fmla="*/ 59 w 127"/>
                <a:gd name="T5" fmla="*/ 33 h 158"/>
                <a:gd name="T6" fmla="*/ 73 w 127"/>
                <a:gd name="T7" fmla="*/ 35 h 158"/>
                <a:gd name="T8" fmla="*/ 78 w 127"/>
                <a:gd name="T9" fmla="*/ 43 h 158"/>
                <a:gd name="T10" fmla="*/ 80 w 127"/>
                <a:gd name="T11" fmla="*/ 50 h 158"/>
                <a:gd name="T12" fmla="*/ 70 w 127"/>
                <a:gd name="T13" fmla="*/ 54 h 158"/>
                <a:gd name="T14" fmla="*/ 66 w 127"/>
                <a:gd name="T15" fmla="*/ 59 h 158"/>
                <a:gd name="T16" fmla="*/ 70 w 127"/>
                <a:gd name="T17" fmla="*/ 64 h 158"/>
                <a:gd name="T18" fmla="*/ 87 w 127"/>
                <a:gd name="T19" fmla="*/ 78 h 158"/>
                <a:gd name="T20" fmla="*/ 99 w 127"/>
                <a:gd name="T21" fmla="*/ 92 h 158"/>
                <a:gd name="T22" fmla="*/ 108 w 127"/>
                <a:gd name="T23" fmla="*/ 102 h 158"/>
                <a:gd name="T24" fmla="*/ 111 w 127"/>
                <a:gd name="T25" fmla="*/ 106 h 158"/>
                <a:gd name="T26" fmla="*/ 118 w 127"/>
                <a:gd name="T27" fmla="*/ 113 h 158"/>
                <a:gd name="T28" fmla="*/ 127 w 127"/>
                <a:gd name="T29" fmla="*/ 132 h 158"/>
                <a:gd name="T30" fmla="*/ 125 w 127"/>
                <a:gd name="T31" fmla="*/ 146 h 158"/>
                <a:gd name="T32" fmla="*/ 115 w 127"/>
                <a:gd name="T33" fmla="*/ 151 h 158"/>
                <a:gd name="T34" fmla="*/ 108 w 127"/>
                <a:gd name="T35" fmla="*/ 149 h 158"/>
                <a:gd name="T36" fmla="*/ 99 w 127"/>
                <a:gd name="T37" fmla="*/ 158 h 158"/>
                <a:gd name="T38" fmla="*/ 87 w 127"/>
                <a:gd name="T39" fmla="*/ 151 h 158"/>
                <a:gd name="T40" fmla="*/ 92 w 127"/>
                <a:gd name="T41" fmla="*/ 146 h 158"/>
                <a:gd name="T42" fmla="*/ 92 w 127"/>
                <a:gd name="T43" fmla="*/ 128 h 158"/>
                <a:gd name="T44" fmla="*/ 87 w 127"/>
                <a:gd name="T45" fmla="*/ 123 h 158"/>
                <a:gd name="T46" fmla="*/ 82 w 127"/>
                <a:gd name="T47" fmla="*/ 118 h 158"/>
                <a:gd name="T48" fmla="*/ 78 w 127"/>
                <a:gd name="T49" fmla="*/ 104 h 158"/>
                <a:gd name="T50" fmla="*/ 75 w 127"/>
                <a:gd name="T51" fmla="*/ 92 h 158"/>
                <a:gd name="T52" fmla="*/ 70 w 127"/>
                <a:gd name="T53" fmla="*/ 87 h 158"/>
                <a:gd name="T54" fmla="*/ 63 w 127"/>
                <a:gd name="T55" fmla="*/ 78 h 158"/>
                <a:gd name="T56" fmla="*/ 52 w 127"/>
                <a:gd name="T57" fmla="*/ 78 h 158"/>
                <a:gd name="T58" fmla="*/ 47 w 127"/>
                <a:gd name="T59" fmla="*/ 85 h 158"/>
                <a:gd name="T60" fmla="*/ 37 w 127"/>
                <a:gd name="T61" fmla="*/ 85 h 158"/>
                <a:gd name="T62" fmla="*/ 30 w 127"/>
                <a:gd name="T63" fmla="*/ 80 h 158"/>
                <a:gd name="T64" fmla="*/ 19 w 127"/>
                <a:gd name="T65" fmla="*/ 87 h 158"/>
                <a:gd name="T66" fmla="*/ 14 w 127"/>
                <a:gd name="T67" fmla="*/ 92 h 158"/>
                <a:gd name="T68" fmla="*/ 16 w 127"/>
                <a:gd name="T69" fmla="*/ 76 h 158"/>
                <a:gd name="T70" fmla="*/ 16 w 127"/>
                <a:gd name="T71" fmla="*/ 66 h 158"/>
                <a:gd name="T72" fmla="*/ 16 w 127"/>
                <a:gd name="T73" fmla="*/ 54 h 158"/>
                <a:gd name="T74" fmla="*/ 7 w 127"/>
                <a:gd name="T75" fmla="*/ 52 h 158"/>
                <a:gd name="T76" fmla="*/ 4 w 127"/>
                <a:gd name="T77" fmla="*/ 40 h 158"/>
                <a:gd name="T78" fmla="*/ 0 w 127"/>
                <a:gd name="T79" fmla="*/ 38 h 158"/>
                <a:gd name="T80" fmla="*/ 2 w 127"/>
                <a:gd name="T81" fmla="*/ 33 h 158"/>
                <a:gd name="T82" fmla="*/ 7 w 127"/>
                <a:gd name="T83" fmla="*/ 31 h 158"/>
                <a:gd name="T84" fmla="*/ 16 w 127"/>
                <a:gd name="T85" fmla="*/ 21 h 158"/>
                <a:gd name="T86" fmla="*/ 19 w 127"/>
                <a:gd name="T87" fmla="*/ 26 h 158"/>
                <a:gd name="T88" fmla="*/ 28 w 127"/>
                <a:gd name="T89" fmla="*/ 19 h 158"/>
                <a:gd name="T90" fmla="*/ 26 w 127"/>
                <a:gd name="T91" fmla="*/ 5 h 158"/>
                <a:gd name="T92" fmla="*/ 35 w 127"/>
                <a:gd name="T93" fmla="*/ 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 h="158">
                  <a:moveTo>
                    <a:pt x="35" y="2"/>
                  </a:moveTo>
                  <a:lnTo>
                    <a:pt x="37" y="7"/>
                  </a:lnTo>
                  <a:lnTo>
                    <a:pt x="42" y="14"/>
                  </a:lnTo>
                  <a:lnTo>
                    <a:pt x="47" y="17"/>
                  </a:lnTo>
                  <a:lnTo>
                    <a:pt x="47" y="19"/>
                  </a:lnTo>
                  <a:lnTo>
                    <a:pt x="47" y="24"/>
                  </a:lnTo>
                  <a:lnTo>
                    <a:pt x="47" y="26"/>
                  </a:lnTo>
                  <a:lnTo>
                    <a:pt x="52" y="31"/>
                  </a:lnTo>
                  <a:lnTo>
                    <a:pt x="59" y="33"/>
                  </a:lnTo>
                  <a:lnTo>
                    <a:pt x="66" y="31"/>
                  </a:lnTo>
                  <a:lnTo>
                    <a:pt x="70" y="31"/>
                  </a:lnTo>
                  <a:lnTo>
                    <a:pt x="73" y="35"/>
                  </a:lnTo>
                  <a:lnTo>
                    <a:pt x="75" y="38"/>
                  </a:lnTo>
                  <a:lnTo>
                    <a:pt x="75" y="40"/>
                  </a:lnTo>
                  <a:lnTo>
                    <a:pt x="78" y="43"/>
                  </a:lnTo>
                  <a:lnTo>
                    <a:pt x="80" y="45"/>
                  </a:lnTo>
                  <a:lnTo>
                    <a:pt x="80" y="47"/>
                  </a:lnTo>
                  <a:lnTo>
                    <a:pt x="80" y="50"/>
                  </a:lnTo>
                  <a:lnTo>
                    <a:pt x="75" y="54"/>
                  </a:lnTo>
                  <a:lnTo>
                    <a:pt x="73" y="54"/>
                  </a:lnTo>
                  <a:lnTo>
                    <a:pt x="70" y="54"/>
                  </a:lnTo>
                  <a:lnTo>
                    <a:pt x="68" y="54"/>
                  </a:lnTo>
                  <a:lnTo>
                    <a:pt x="66" y="57"/>
                  </a:lnTo>
                  <a:lnTo>
                    <a:pt x="66" y="59"/>
                  </a:lnTo>
                  <a:lnTo>
                    <a:pt x="66" y="61"/>
                  </a:lnTo>
                  <a:lnTo>
                    <a:pt x="68" y="61"/>
                  </a:lnTo>
                  <a:lnTo>
                    <a:pt x="70" y="64"/>
                  </a:lnTo>
                  <a:lnTo>
                    <a:pt x="78" y="66"/>
                  </a:lnTo>
                  <a:lnTo>
                    <a:pt x="85" y="73"/>
                  </a:lnTo>
                  <a:lnTo>
                    <a:pt x="87" y="78"/>
                  </a:lnTo>
                  <a:lnTo>
                    <a:pt x="94" y="85"/>
                  </a:lnTo>
                  <a:lnTo>
                    <a:pt x="94" y="87"/>
                  </a:lnTo>
                  <a:lnTo>
                    <a:pt x="99" y="92"/>
                  </a:lnTo>
                  <a:lnTo>
                    <a:pt x="101" y="94"/>
                  </a:lnTo>
                  <a:lnTo>
                    <a:pt x="108" y="97"/>
                  </a:lnTo>
                  <a:lnTo>
                    <a:pt x="108" y="102"/>
                  </a:lnTo>
                  <a:lnTo>
                    <a:pt x="111" y="106"/>
                  </a:lnTo>
                  <a:lnTo>
                    <a:pt x="111" y="106"/>
                  </a:lnTo>
                  <a:lnTo>
                    <a:pt x="111" y="106"/>
                  </a:lnTo>
                  <a:lnTo>
                    <a:pt x="111" y="111"/>
                  </a:lnTo>
                  <a:lnTo>
                    <a:pt x="113" y="111"/>
                  </a:lnTo>
                  <a:lnTo>
                    <a:pt x="118" y="113"/>
                  </a:lnTo>
                  <a:lnTo>
                    <a:pt x="120" y="116"/>
                  </a:lnTo>
                  <a:lnTo>
                    <a:pt x="122" y="123"/>
                  </a:lnTo>
                  <a:lnTo>
                    <a:pt x="127" y="132"/>
                  </a:lnTo>
                  <a:lnTo>
                    <a:pt x="127" y="135"/>
                  </a:lnTo>
                  <a:lnTo>
                    <a:pt x="127" y="144"/>
                  </a:lnTo>
                  <a:lnTo>
                    <a:pt x="125" y="146"/>
                  </a:lnTo>
                  <a:lnTo>
                    <a:pt x="122" y="149"/>
                  </a:lnTo>
                  <a:lnTo>
                    <a:pt x="120" y="151"/>
                  </a:lnTo>
                  <a:lnTo>
                    <a:pt x="115" y="151"/>
                  </a:lnTo>
                  <a:lnTo>
                    <a:pt x="113" y="149"/>
                  </a:lnTo>
                  <a:lnTo>
                    <a:pt x="111" y="146"/>
                  </a:lnTo>
                  <a:lnTo>
                    <a:pt x="108" y="149"/>
                  </a:lnTo>
                  <a:lnTo>
                    <a:pt x="104" y="151"/>
                  </a:lnTo>
                  <a:lnTo>
                    <a:pt x="104" y="156"/>
                  </a:lnTo>
                  <a:lnTo>
                    <a:pt x="99" y="158"/>
                  </a:lnTo>
                  <a:lnTo>
                    <a:pt x="96" y="156"/>
                  </a:lnTo>
                  <a:lnTo>
                    <a:pt x="89" y="156"/>
                  </a:lnTo>
                  <a:lnTo>
                    <a:pt x="87" y="151"/>
                  </a:lnTo>
                  <a:lnTo>
                    <a:pt x="87" y="151"/>
                  </a:lnTo>
                  <a:lnTo>
                    <a:pt x="89" y="151"/>
                  </a:lnTo>
                  <a:lnTo>
                    <a:pt x="92" y="146"/>
                  </a:lnTo>
                  <a:lnTo>
                    <a:pt x="92" y="135"/>
                  </a:lnTo>
                  <a:lnTo>
                    <a:pt x="92" y="130"/>
                  </a:lnTo>
                  <a:lnTo>
                    <a:pt x="92" y="128"/>
                  </a:lnTo>
                  <a:lnTo>
                    <a:pt x="92" y="125"/>
                  </a:lnTo>
                  <a:lnTo>
                    <a:pt x="89" y="123"/>
                  </a:lnTo>
                  <a:lnTo>
                    <a:pt x="87" y="123"/>
                  </a:lnTo>
                  <a:lnTo>
                    <a:pt x="87" y="120"/>
                  </a:lnTo>
                  <a:lnTo>
                    <a:pt x="85" y="120"/>
                  </a:lnTo>
                  <a:lnTo>
                    <a:pt x="82" y="118"/>
                  </a:lnTo>
                  <a:lnTo>
                    <a:pt x="80" y="116"/>
                  </a:lnTo>
                  <a:lnTo>
                    <a:pt x="78" y="111"/>
                  </a:lnTo>
                  <a:lnTo>
                    <a:pt x="78" y="104"/>
                  </a:lnTo>
                  <a:lnTo>
                    <a:pt x="78" y="99"/>
                  </a:lnTo>
                  <a:lnTo>
                    <a:pt x="78" y="94"/>
                  </a:lnTo>
                  <a:lnTo>
                    <a:pt x="75" y="92"/>
                  </a:lnTo>
                  <a:lnTo>
                    <a:pt x="73" y="90"/>
                  </a:lnTo>
                  <a:lnTo>
                    <a:pt x="73" y="87"/>
                  </a:lnTo>
                  <a:lnTo>
                    <a:pt x="70" y="87"/>
                  </a:lnTo>
                  <a:lnTo>
                    <a:pt x="68" y="85"/>
                  </a:lnTo>
                  <a:lnTo>
                    <a:pt x="66" y="83"/>
                  </a:lnTo>
                  <a:lnTo>
                    <a:pt x="63" y="78"/>
                  </a:lnTo>
                  <a:lnTo>
                    <a:pt x="59" y="78"/>
                  </a:lnTo>
                  <a:lnTo>
                    <a:pt x="54" y="78"/>
                  </a:lnTo>
                  <a:lnTo>
                    <a:pt x="52" y="78"/>
                  </a:lnTo>
                  <a:lnTo>
                    <a:pt x="49" y="83"/>
                  </a:lnTo>
                  <a:lnTo>
                    <a:pt x="49" y="83"/>
                  </a:lnTo>
                  <a:lnTo>
                    <a:pt x="47" y="85"/>
                  </a:lnTo>
                  <a:lnTo>
                    <a:pt x="42" y="87"/>
                  </a:lnTo>
                  <a:lnTo>
                    <a:pt x="40" y="87"/>
                  </a:lnTo>
                  <a:lnTo>
                    <a:pt x="37" y="85"/>
                  </a:lnTo>
                  <a:lnTo>
                    <a:pt x="35" y="80"/>
                  </a:lnTo>
                  <a:lnTo>
                    <a:pt x="33" y="80"/>
                  </a:lnTo>
                  <a:lnTo>
                    <a:pt x="30" y="80"/>
                  </a:lnTo>
                  <a:lnTo>
                    <a:pt x="26" y="83"/>
                  </a:lnTo>
                  <a:lnTo>
                    <a:pt x="21" y="87"/>
                  </a:lnTo>
                  <a:lnTo>
                    <a:pt x="19" y="87"/>
                  </a:lnTo>
                  <a:lnTo>
                    <a:pt x="16" y="92"/>
                  </a:lnTo>
                  <a:lnTo>
                    <a:pt x="14" y="92"/>
                  </a:lnTo>
                  <a:lnTo>
                    <a:pt x="14" y="92"/>
                  </a:lnTo>
                  <a:lnTo>
                    <a:pt x="14" y="87"/>
                  </a:lnTo>
                  <a:lnTo>
                    <a:pt x="14" y="83"/>
                  </a:lnTo>
                  <a:lnTo>
                    <a:pt x="16" y="76"/>
                  </a:lnTo>
                  <a:lnTo>
                    <a:pt x="16" y="71"/>
                  </a:lnTo>
                  <a:lnTo>
                    <a:pt x="16" y="68"/>
                  </a:lnTo>
                  <a:lnTo>
                    <a:pt x="16" y="66"/>
                  </a:lnTo>
                  <a:lnTo>
                    <a:pt x="16" y="61"/>
                  </a:lnTo>
                  <a:lnTo>
                    <a:pt x="16" y="54"/>
                  </a:lnTo>
                  <a:lnTo>
                    <a:pt x="16" y="54"/>
                  </a:lnTo>
                  <a:lnTo>
                    <a:pt x="9" y="54"/>
                  </a:lnTo>
                  <a:lnTo>
                    <a:pt x="7" y="54"/>
                  </a:lnTo>
                  <a:lnTo>
                    <a:pt x="7" y="52"/>
                  </a:lnTo>
                  <a:lnTo>
                    <a:pt x="7" y="47"/>
                  </a:lnTo>
                  <a:lnTo>
                    <a:pt x="7" y="43"/>
                  </a:lnTo>
                  <a:lnTo>
                    <a:pt x="4" y="40"/>
                  </a:lnTo>
                  <a:lnTo>
                    <a:pt x="2" y="38"/>
                  </a:lnTo>
                  <a:lnTo>
                    <a:pt x="2" y="38"/>
                  </a:lnTo>
                  <a:lnTo>
                    <a:pt x="0" y="38"/>
                  </a:lnTo>
                  <a:lnTo>
                    <a:pt x="0" y="35"/>
                  </a:lnTo>
                  <a:lnTo>
                    <a:pt x="2" y="35"/>
                  </a:lnTo>
                  <a:lnTo>
                    <a:pt x="2" y="33"/>
                  </a:lnTo>
                  <a:lnTo>
                    <a:pt x="4" y="31"/>
                  </a:lnTo>
                  <a:lnTo>
                    <a:pt x="7" y="31"/>
                  </a:lnTo>
                  <a:lnTo>
                    <a:pt x="7" y="31"/>
                  </a:lnTo>
                  <a:lnTo>
                    <a:pt x="7" y="28"/>
                  </a:lnTo>
                  <a:lnTo>
                    <a:pt x="7" y="26"/>
                  </a:lnTo>
                  <a:lnTo>
                    <a:pt x="16" y="21"/>
                  </a:lnTo>
                  <a:lnTo>
                    <a:pt x="16" y="19"/>
                  </a:lnTo>
                  <a:lnTo>
                    <a:pt x="16" y="17"/>
                  </a:lnTo>
                  <a:lnTo>
                    <a:pt x="19" y="26"/>
                  </a:lnTo>
                  <a:lnTo>
                    <a:pt x="26" y="24"/>
                  </a:lnTo>
                  <a:lnTo>
                    <a:pt x="28" y="24"/>
                  </a:lnTo>
                  <a:lnTo>
                    <a:pt x="28" y="19"/>
                  </a:lnTo>
                  <a:lnTo>
                    <a:pt x="26" y="14"/>
                  </a:lnTo>
                  <a:lnTo>
                    <a:pt x="26" y="7"/>
                  </a:lnTo>
                  <a:lnTo>
                    <a:pt x="26" y="5"/>
                  </a:lnTo>
                  <a:lnTo>
                    <a:pt x="28" y="0"/>
                  </a:lnTo>
                  <a:lnTo>
                    <a:pt x="35" y="2"/>
                  </a:lnTo>
                  <a:lnTo>
                    <a:pt x="35"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5" name="Freeform 1259">
              <a:extLst>
                <a:ext uri="{FF2B5EF4-FFF2-40B4-BE49-F238E27FC236}">
                  <a16:creationId xmlns:a16="http://schemas.microsoft.com/office/drawing/2014/main" id="{27C7FD34-38F6-48F3-9A6B-5E769CCDCF94}"/>
                </a:ext>
              </a:extLst>
            </p:cNvPr>
            <p:cNvSpPr>
              <a:spLocks/>
            </p:cNvSpPr>
            <p:nvPr/>
          </p:nvSpPr>
          <p:spPr bwMode="auto">
            <a:xfrm>
              <a:off x="7468386" y="3287347"/>
              <a:ext cx="183642" cy="195223"/>
            </a:xfrm>
            <a:custGeom>
              <a:avLst/>
              <a:gdLst>
                <a:gd name="T0" fmla="*/ 69 w 111"/>
                <a:gd name="T1" fmla="*/ 97 h 118"/>
                <a:gd name="T2" fmla="*/ 57 w 111"/>
                <a:gd name="T3" fmla="*/ 88 h 118"/>
                <a:gd name="T4" fmla="*/ 52 w 111"/>
                <a:gd name="T5" fmla="*/ 83 h 118"/>
                <a:gd name="T6" fmla="*/ 55 w 111"/>
                <a:gd name="T7" fmla="*/ 83 h 118"/>
                <a:gd name="T8" fmla="*/ 55 w 111"/>
                <a:gd name="T9" fmla="*/ 73 h 118"/>
                <a:gd name="T10" fmla="*/ 60 w 111"/>
                <a:gd name="T11" fmla="*/ 71 h 118"/>
                <a:gd name="T12" fmla="*/ 62 w 111"/>
                <a:gd name="T13" fmla="*/ 66 h 118"/>
                <a:gd name="T14" fmla="*/ 74 w 111"/>
                <a:gd name="T15" fmla="*/ 64 h 118"/>
                <a:gd name="T16" fmla="*/ 81 w 111"/>
                <a:gd name="T17" fmla="*/ 57 h 118"/>
                <a:gd name="T18" fmla="*/ 93 w 111"/>
                <a:gd name="T19" fmla="*/ 47 h 118"/>
                <a:gd name="T20" fmla="*/ 95 w 111"/>
                <a:gd name="T21" fmla="*/ 38 h 118"/>
                <a:gd name="T22" fmla="*/ 93 w 111"/>
                <a:gd name="T23" fmla="*/ 31 h 118"/>
                <a:gd name="T24" fmla="*/ 97 w 111"/>
                <a:gd name="T25" fmla="*/ 24 h 118"/>
                <a:gd name="T26" fmla="*/ 109 w 111"/>
                <a:gd name="T27" fmla="*/ 14 h 118"/>
                <a:gd name="T28" fmla="*/ 109 w 111"/>
                <a:gd name="T29" fmla="*/ 12 h 118"/>
                <a:gd name="T30" fmla="*/ 109 w 111"/>
                <a:gd name="T31" fmla="*/ 7 h 118"/>
                <a:gd name="T32" fmla="*/ 104 w 111"/>
                <a:gd name="T33" fmla="*/ 3 h 118"/>
                <a:gd name="T34" fmla="*/ 97 w 111"/>
                <a:gd name="T35" fmla="*/ 3 h 118"/>
                <a:gd name="T36" fmla="*/ 90 w 111"/>
                <a:gd name="T37" fmla="*/ 14 h 118"/>
                <a:gd name="T38" fmla="*/ 74 w 111"/>
                <a:gd name="T39" fmla="*/ 24 h 118"/>
                <a:gd name="T40" fmla="*/ 67 w 111"/>
                <a:gd name="T41" fmla="*/ 26 h 118"/>
                <a:gd name="T42" fmla="*/ 55 w 111"/>
                <a:gd name="T43" fmla="*/ 36 h 118"/>
                <a:gd name="T44" fmla="*/ 43 w 111"/>
                <a:gd name="T45" fmla="*/ 33 h 118"/>
                <a:gd name="T46" fmla="*/ 31 w 111"/>
                <a:gd name="T47" fmla="*/ 45 h 118"/>
                <a:gd name="T48" fmla="*/ 15 w 111"/>
                <a:gd name="T49" fmla="*/ 57 h 118"/>
                <a:gd name="T50" fmla="*/ 0 w 111"/>
                <a:gd name="T51" fmla="*/ 69 h 118"/>
                <a:gd name="T52" fmla="*/ 3 w 111"/>
                <a:gd name="T53" fmla="*/ 73 h 118"/>
                <a:gd name="T54" fmla="*/ 10 w 111"/>
                <a:gd name="T55" fmla="*/ 76 h 118"/>
                <a:gd name="T56" fmla="*/ 17 w 111"/>
                <a:gd name="T57" fmla="*/ 78 h 118"/>
                <a:gd name="T58" fmla="*/ 19 w 111"/>
                <a:gd name="T59" fmla="*/ 81 h 118"/>
                <a:gd name="T60" fmla="*/ 15 w 111"/>
                <a:gd name="T61" fmla="*/ 95 h 118"/>
                <a:gd name="T62" fmla="*/ 19 w 111"/>
                <a:gd name="T63" fmla="*/ 97 h 118"/>
                <a:gd name="T64" fmla="*/ 12 w 111"/>
                <a:gd name="T65" fmla="*/ 102 h 118"/>
                <a:gd name="T66" fmla="*/ 10 w 111"/>
                <a:gd name="T67" fmla="*/ 106 h 118"/>
                <a:gd name="T68" fmla="*/ 12 w 111"/>
                <a:gd name="T69" fmla="*/ 111 h 118"/>
                <a:gd name="T70" fmla="*/ 15 w 111"/>
                <a:gd name="T71" fmla="*/ 111 h 118"/>
                <a:gd name="T72" fmla="*/ 12 w 111"/>
                <a:gd name="T73" fmla="*/ 114 h 118"/>
                <a:gd name="T74" fmla="*/ 15 w 111"/>
                <a:gd name="T75" fmla="*/ 116 h 118"/>
                <a:gd name="T76" fmla="*/ 17 w 111"/>
                <a:gd name="T77" fmla="*/ 118 h 118"/>
                <a:gd name="T78" fmla="*/ 19 w 111"/>
                <a:gd name="T79" fmla="*/ 118 h 118"/>
                <a:gd name="T80" fmla="*/ 24 w 111"/>
                <a:gd name="T81" fmla="*/ 114 h 118"/>
                <a:gd name="T82" fmla="*/ 24 w 111"/>
                <a:gd name="T83" fmla="*/ 114 h 118"/>
                <a:gd name="T84" fmla="*/ 29 w 111"/>
                <a:gd name="T85" fmla="*/ 116 h 118"/>
                <a:gd name="T86" fmla="*/ 31 w 111"/>
                <a:gd name="T87" fmla="*/ 116 h 118"/>
                <a:gd name="T88" fmla="*/ 38 w 111"/>
                <a:gd name="T89" fmla="*/ 118 h 118"/>
                <a:gd name="T90" fmla="*/ 50 w 111"/>
                <a:gd name="T91" fmla="*/ 109 h 118"/>
                <a:gd name="T92" fmla="*/ 60 w 111"/>
                <a:gd name="T93" fmla="*/ 106 h 118"/>
                <a:gd name="T94" fmla="*/ 71 w 111"/>
                <a:gd name="T95" fmla="*/ 10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118">
                  <a:moveTo>
                    <a:pt x="71" y="102"/>
                  </a:moveTo>
                  <a:lnTo>
                    <a:pt x="69" y="97"/>
                  </a:lnTo>
                  <a:lnTo>
                    <a:pt x="62" y="92"/>
                  </a:lnTo>
                  <a:lnTo>
                    <a:pt x="57" y="88"/>
                  </a:lnTo>
                  <a:lnTo>
                    <a:pt x="55" y="85"/>
                  </a:lnTo>
                  <a:lnTo>
                    <a:pt x="52" y="83"/>
                  </a:lnTo>
                  <a:lnTo>
                    <a:pt x="55" y="81"/>
                  </a:lnTo>
                  <a:lnTo>
                    <a:pt x="55" y="83"/>
                  </a:lnTo>
                  <a:lnTo>
                    <a:pt x="55" y="81"/>
                  </a:lnTo>
                  <a:lnTo>
                    <a:pt x="55" y="73"/>
                  </a:lnTo>
                  <a:lnTo>
                    <a:pt x="55" y="71"/>
                  </a:lnTo>
                  <a:lnTo>
                    <a:pt x="60" y="71"/>
                  </a:lnTo>
                  <a:lnTo>
                    <a:pt x="62" y="69"/>
                  </a:lnTo>
                  <a:lnTo>
                    <a:pt x="62" y="66"/>
                  </a:lnTo>
                  <a:lnTo>
                    <a:pt x="71" y="66"/>
                  </a:lnTo>
                  <a:lnTo>
                    <a:pt x="74" y="64"/>
                  </a:lnTo>
                  <a:lnTo>
                    <a:pt x="76" y="62"/>
                  </a:lnTo>
                  <a:lnTo>
                    <a:pt x="81" y="57"/>
                  </a:lnTo>
                  <a:lnTo>
                    <a:pt x="88" y="50"/>
                  </a:lnTo>
                  <a:lnTo>
                    <a:pt x="93" y="47"/>
                  </a:lnTo>
                  <a:lnTo>
                    <a:pt x="93" y="47"/>
                  </a:lnTo>
                  <a:lnTo>
                    <a:pt x="95" y="38"/>
                  </a:lnTo>
                  <a:lnTo>
                    <a:pt x="93" y="36"/>
                  </a:lnTo>
                  <a:lnTo>
                    <a:pt x="93" y="31"/>
                  </a:lnTo>
                  <a:lnTo>
                    <a:pt x="95" y="26"/>
                  </a:lnTo>
                  <a:lnTo>
                    <a:pt x="97" y="24"/>
                  </a:lnTo>
                  <a:lnTo>
                    <a:pt x="107" y="14"/>
                  </a:lnTo>
                  <a:lnTo>
                    <a:pt x="109" y="14"/>
                  </a:lnTo>
                  <a:lnTo>
                    <a:pt x="111" y="14"/>
                  </a:lnTo>
                  <a:lnTo>
                    <a:pt x="109" y="12"/>
                  </a:lnTo>
                  <a:lnTo>
                    <a:pt x="109" y="10"/>
                  </a:lnTo>
                  <a:lnTo>
                    <a:pt x="109" y="7"/>
                  </a:lnTo>
                  <a:lnTo>
                    <a:pt x="107" y="7"/>
                  </a:lnTo>
                  <a:lnTo>
                    <a:pt x="104" y="3"/>
                  </a:lnTo>
                  <a:lnTo>
                    <a:pt x="100" y="0"/>
                  </a:lnTo>
                  <a:lnTo>
                    <a:pt x="97" y="3"/>
                  </a:lnTo>
                  <a:lnTo>
                    <a:pt x="95" y="7"/>
                  </a:lnTo>
                  <a:lnTo>
                    <a:pt x="90" y="14"/>
                  </a:lnTo>
                  <a:lnTo>
                    <a:pt x="81" y="21"/>
                  </a:lnTo>
                  <a:lnTo>
                    <a:pt x="74" y="24"/>
                  </a:lnTo>
                  <a:lnTo>
                    <a:pt x="67" y="24"/>
                  </a:lnTo>
                  <a:lnTo>
                    <a:pt x="67" y="26"/>
                  </a:lnTo>
                  <a:lnTo>
                    <a:pt x="67" y="36"/>
                  </a:lnTo>
                  <a:lnTo>
                    <a:pt x="55" y="36"/>
                  </a:lnTo>
                  <a:lnTo>
                    <a:pt x="50" y="33"/>
                  </a:lnTo>
                  <a:lnTo>
                    <a:pt x="43" y="33"/>
                  </a:lnTo>
                  <a:lnTo>
                    <a:pt x="41" y="36"/>
                  </a:lnTo>
                  <a:lnTo>
                    <a:pt x="31" y="45"/>
                  </a:lnTo>
                  <a:lnTo>
                    <a:pt x="26" y="50"/>
                  </a:lnTo>
                  <a:lnTo>
                    <a:pt x="15" y="57"/>
                  </a:lnTo>
                  <a:lnTo>
                    <a:pt x="10" y="57"/>
                  </a:lnTo>
                  <a:lnTo>
                    <a:pt x="0" y="69"/>
                  </a:lnTo>
                  <a:lnTo>
                    <a:pt x="0" y="71"/>
                  </a:lnTo>
                  <a:lnTo>
                    <a:pt x="3" y="73"/>
                  </a:lnTo>
                  <a:lnTo>
                    <a:pt x="5" y="78"/>
                  </a:lnTo>
                  <a:lnTo>
                    <a:pt x="10" y="76"/>
                  </a:lnTo>
                  <a:lnTo>
                    <a:pt x="12" y="76"/>
                  </a:lnTo>
                  <a:lnTo>
                    <a:pt x="17" y="78"/>
                  </a:lnTo>
                  <a:lnTo>
                    <a:pt x="19" y="78"/>
                  </a:lnTo>
                  <a:lnTo>
                    <a:pt x="19" y="81"/>
                  </a:lnTo>
                  <a:lnTo>
                    <a:pt x="17" y="88"/>
                  </a:lnTo>
                  <a:lnTo>
                    <a:pt x="15" y="95"/>
                  </a:lnTo>
                  <a:lnTo>
                    <a:pt x="17" y="97"/>
                  </a:lnTo>
                  <a:lnTo>
                    <a:pt x="19" y="97"/>
                  </a:lnTo>
                  <a:lnTo>
                    <a:pt x="15" y="99"/>
                  </a:lnTo>
                  <a:lnTo>
                    <a:pt x="12" y="102"/>
                  </a:lnTo>
                  <a:lnTo>
                    <a:pt x="12" y="102"/>
                  </a:lnTo>
                  <a:lnTo>
                    <a:pt x="10" y="106"/>
                  </a:lnTo>
                  <a:lnTo>
                    <a:pt x="8" y="111"/>
                  </a:lnTo>
                  <a:lnTo>
                    <a:pt x="12" y="111"/>
                  </a:lnTo>
                  <a:lnTo>
                    <a:pt x="15" y="111"/>
                  </a:lnTo>
                  <a:lnTo>
                    <a:pt x="15" y="111"/>
                  </a:lnTo>
                  <a:lnTo>
                    <a:pt x="15" y="114"/>
                  </a:lnTo>
                  <a:lnTo>
                    <a:pt x="12" y="114"/>
                  </a:lnTo>
                  <a:lnTo>
                    <a:pt x="12" y="116"/>
                  </a:lnTo>
                  <a:lnTo>
                    <a:pt x="15" y="116"/>
                  </a:lnTo>
                  <a:lnTo>
                    <a:pt x="15" y="118"/>
                  </a:lnTo>
                  <a:lnTo>
                    <a:pt x="17" y="118"/>
                  </a:lnTo>
                  <a:lnTo>
                    <a:pt x="19" y="118"/>
                  </a:lnTo>
                  <a:lnTo>
                    <a:pt x="19" y="118"/>
                  </a:lnTo>
                  <a:lnTo>
                    <a:pt x="22" y="116"/>
                  </a:lnTo>
                  <a:lnTo>
                    <a:pt x="24" y="114"/>
                  </a:lnTo>
                  <a:lnTo>
                    <a:pt x="22" y="111"/>
                  </a:lnTo>
                  <a:lnTo>
                    <a:pt x="24" y="114"/>
                  </a:lnTo>
                  <a:lnTo>
                    <a:pt x="26" y="116"/>
                  </a:lnTo>
                  <a:lnTo>
                    <a:pt x="29" y="116"/>
                  </a:lnTo>
                  <a:lnTo>
                    <a:pt x="31" y="118"/>
                  </a:lnTo>
                  <a:lnTo>
                    <a:pt x="31" y="116"/>
                  </a:lnTo>
                  <a:lnTo>
                    <a:pt x="36" y="116"/>
                  </a:lnTo>
                  <a:lnTo>
                    <a:pt x="38" y="118"/>
                  </a:lnTo>
                  <a:lnTo>
                    <a:pt x="43" y="114"/>
                  </a:lnTo>
                  <a:lnTo>
                    <a:pt x="50" y="109"/>
                  </a:lnTo>
                  <a:lnTo>
                    <a:pt x="55" y="106"/>
                  </a:lnTo>
                  <a:lnTo>
                    <a:pt x="60" y="106"/>
                  </a:lnTo>
                  <a:lnTo>
                    <a:pt x="64" y="106"/>
                  </a:lnTo>
                  <a:lnTo>
                    <a:pt x="71" y="10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6" name="Freeform 1260">
              <a:extLst>
                <a:ext uri="{FF2B5EF4-FFF2-40B4-BE49-F238E27FC236}">
                  <a16:creationId xmlns:a16="http://schemas.microsoft.com/office/drawing/2014/main" id="{CA55DC25-CA98-44AD-95F4-D4928DF3B1B4}"/>
                </a:ext>
              </a:extLst>
            </p:cNvPr>
            <p:cNvSpPr>
              <a:spLocks/>
            </p:cNvSpPr>
            <p:nvPr/>
          </p:nvSpPr>
          <p:spPr bwMode="auto">
            <a:xfrm>
              <a:off x="7468386" y="3287347"/>
              <a:ext cx="183642" cy="195223"/>
            </a:xfrm>
            <a:custGeom>
              <a:avLst/>
              <a:gdLst>
                <a:gd name="T0" fmla="*/ 69 w 111"/>
                <a:gd name="T1" fmla="*/ 97 h 118"/>
                <a:gd name="T2" fmla="*/ 57 w 111"/>
                <a:gd name="T3" fmla="*/ 88 h 118"/>
                <a:gd name="T4" fmla="*/ 52 w 111"/>
                <a:gd name="T5" fmla="*/ 83 h 118"/>
                <a:gd name="T6" fmla="*/ 55 w 111"/>
                <a:gd name="T7" fmla="*/ 83 h 118"/>
                <a:gd name="T8" fmla="*/ 55 w 111"/>
                <a:gd name="T9" fmla="*/ 73 h 118"/>
                <a:gd name="T10" fmla="*/ 60 w 111"/>
                <a:gd name="T11" fmla="*/ 71 h 118"/>
                <a:gd name="T12" fmla="*/ 62 w 111"/>
                <a:gd name="T13" fmla="*/ 66 h 118"/>
                <a:gd name="T14" fmla="*/ 74 w 111"/>
                <a:gd name="T15" fmla="*/ 64 h 118"/>
                <a:gd name="T16" fmla="*/ 81 w 111"/>
                <a:gd name="T17" fmla="*/ 57 h 118"/>
                <a:gd name="T18" fmla="*/ 93 w 111"/>
                <a:gd name="T19" fmla="*/ 47 h 118"/>
                <a:gd name="T20" fmla="*/ 95 w 111"/>
                <a:gd name="T21" fmla="*/ 38 h 118"/>
                <a:gd name="T22" fmla="*/ 93 w 111"/>
                <a:gd name="T23" fmla="*/ 31 h 118"/>
                <a:gd name="T24" fmla="*/ 97 w 111"/>
                <a:gd name="T25" fmla="*/ 24 h 118"/>
                <a:gd name="T26" fmla="*/ 109 w 111"/>
                <a:gd name="T27" fmla="*/ 14 h 118"/>
                <a:gd name="T28" fmla="*/ 109 w 111"/>
                <a:gd name="T29" fmla="*/ 12 h 118"/>
                <a:gd name="T30" fmla="*/ 109 w 111"/>
                <a:gd name="T31" fmla="*/ 7 h 118"/>
                <a:gd name="T32" fmla="*/ 104 w 111"/>
                <a:gd name="T33" fmla="*/ 3 h 118"/>
                <a:gd name="T34" fmla="*/ 97 w 111"/>
                <a:gd name="T35" fmla="*/ 3 h 118"/>
                <a:gd name="T36" fmla="*/ 90 w 111"/>
                <a:gd name="T37" fmla="*/ 14 h 118"/>
                <a:gd name="T38" fmla="*/ 74 w 111"/>
                <a:gd name="T39" fmla="*/ 24 h 118"/>
                <a:gd name="T40" fmla="*/ 67 w 111"/>
                <a:gd name="T41" fmla="*/ 26 h 118"/>
                <a:gd name="T42" fmla="*/ 55 w 111"/>
                <a:gd name="T43" fmla="*/ 36 h 118"/>
                <a:gd name="T44" fmla="*/ 43 w 111"/>
                <a:gd name="T45" fmla="*/ 33 h 118"/>
                <a:gd name="T46" fmla="*/ 31 w 111"/>
                <a:gd name="T47" fmla="*/ 45 h 118"/>
                <a:gd name="T48" fmla="*/ 15 w 111"/>
                <a:gd name="T49" fmla="*/ 57 h 118"/>
                <a:gd name="T50" fmla="*/ 0 w 111"/>
                <a:gd name="T51" fmla="*/ 69 h 118"/>
                <a:gd name="T52" fmla="*/ 3 w 111"/>
                <a:gd name="T53" fmla="*/ 73 h 118"/>
                <a:gd name="T54" fmla="*/ 10 w 111"/>
                <a:gd name="T55" fmla="*/ 76 h 118"/>
                <a:gd name="T56" fmla="*/ 17 w 111"/>
                <a:gd name="T57" fmla="*/ 78 h 118"/>
                <a:gd name="T58" fmla="*/ 19 w 111"/>
                <a:gd name="T59" fmla="*/ 81 h 118"/>
                <a:gd name="T60" fmla="*/ 15 w 111"/>
                <a:gd name="T61" fmla="*/ 95 h 118"/>
                <a:gd name="T62" fmla="*/ 19 w 111"/>
                <a:gd name="T63" fmla="*/ 97 h 118"/>
                <a:gd name="T64" fmla="*/ 12 w 111"/>
                <a:gd name="T65" fmla="*/ 102 h 118"/>
                <a:gd name="T66" fmla="*/ 10 w 111"/>
                <a:gd name="T67" fmla="*/ 106 h 118"/>
                <a:gd name="T68" fmla="*/ 12 w 111"/>
                <a:gd name="T69" fmla="*/ 111 h 118"/>
                <a:gd name="T70" fmla="*/ 15 w 111"/>
                <a:gd name="T71" fmla="*/ 111 h 118"/>
                <a:gd name="T72" fmla="*/ 12 w 111"/>
                <a:gd name="T73" fmla="*/ 114 h 118"/>
                <a:gd name="T74" fmla="*/ 15 w 111"/>
                <a:gd name="T75" fmla="*/ 116 h 118"/>
                <a:gd name="T76" fmla="*/ 17 w 111"/>
                <a:gd name="T77" fmla="*/ 118 h 118"/>
                <a:gd name="T78" fmla="*/ 19 w 111"/>
                <a:gd name="T79" fmla="*/ 118 h 118"/>
                <a:gd name="T80" fmla="*/ 24 w 111"/>
                <a:gd name="T81" fmla="*/ 114 h 118"/>
                <a:gd name="T82" fmla="*/ 24 w 111"/>
                <a:gd name="T83" fmla="*/ 114 h 118"/>
                <a:gd name="T84" fmla="*/ 29 w 111"/>
                <a:gd name="T85" fmla="*/ 116 h 118"/>
                <a:gd name="T86" fmla="*/ 31 w 111"/>
                <a:gd name="T87" fmla="*/ 116 h 118"/>
                <a:gd name="T88" fmla="*/ 38 w 111"/>
                <a:gd name="T89" fmla="*/ 118 h 118"/>
                <a:gd name="T90" fmla="*/ 50 w 111"/>
                <a:gd name="T91" fmla="*/ 109 h 118"/>
                <a:gd name="T92" fmla="*/ 60 w 111"/>
                <a:gd name="T93" fmla="*/ 106 h 118"/>
                <a:gd name="T94" fmla="*/ 71 w 111"/>
                <a:gd name="T95" fmla="*/ 10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118">
                  <a:moveTo>
                    <a:pt x="71" y="102"/>
                  </a:moveTo>
                  <a:lnTo>
                    <a:pt x="69" y="97"/>
                  </a:lnTo>
                  <a:lnTo>
                    <a:pt x="62" y="92"/>
                  </a:lnTo>
                  <a:lnTo>
                    <a:pt x="57" y="88"/>
                  </a:lnTo>
                  <a:lnTo>
                    <a:pt x="55" y="85"/>
                  </a:lnTo>
                  <a:lnTo>
                    <a:pt x="52" y="83"/>
                  </a:lnTo>
                  <a:lnTo>
                    <a:pt x="55" y="81"/>
                  </a:lnTo>
                  <a:lnTo>
                    <a:pt x="55" y="83"/>
                  </a:lnTo>
                  <a:lnTo>
                    <a:pt x="55" y="81"/>
                  </a:lnTo>
                  <a:lnTo>
                    <a:pt x="55" y="73"/>
                  </a:lnTo>
                  <a:lnTo>
                    <a:pt x="55" y="71"/>
                  </a:lnTo>
                  <a:lnTo>
                    <a:pt x="60" y="71"/>
                  </a:lnTo>
                  <a:lnTo>
                    <a:pt x="62" y="69"/>
                  </a:lnTo>
                  <a:lnTo>
                    <a:pt x="62" y="66"/>
                  </a:lnTo>
                  <a:lnTo>
                    <a:pt x="71" y="66"/>
                  </a:lnTo>
                  <a:lnTo>
                    <a:pt x="74" y="64"/>
                  </a:lnTo>
                  <a:lnTo>
                    <a:pt x="76" y="62"/>
                  </a:lnTo>
                  <a:lnTo>
                    <a:pt x="81" y="57"/>
                  </a:lnTo>
                  <a:lnTo>
                    <a:pt x="88" y="50"/>
                  </a:lnTo>
                  <a:lnTo>
                    <a:pt x="93" y="47"/>
                  </a:lnTo>
                  <a:lnTo>
                    <a:pt x="93" y="47"/>
                  </a:lnTo>
                  <a:lnTo>
                    <a:pt x="95" y="38"/>
                  </a:lnTo>
                  <a:lnTo>
                    <a:pt x="93" y="36"/>
                  </a:lnTo>
                  <a:lnTo>
                    <a:pt x="93" y="31"/>
                  </a:lnTo>
                  <a:lnTo>
                    <a:pt x="95" y="26"/>
                  </a:lnTo>
                  <a:lnTo>
                    <a:pt x="97" y="24"/>
                  </a:lnTo>
                  <a:lnTo>
                    <a:pt x="107" y="14"/>
                  </a:lnTo>
                  <a:lnTo>
                    <a:pt x="109" y="14"/>
                  </a:lnTo>
                  <a:lnTo>
                    <a:pt x="111" y="14"/>
                  </a:lnTo>
                  <a:lnTo>
                    <a:pt x="109" y="12"/>
                  </a:lnTo>
                  <a:lnTo>
                    <a:pt x="109" y="10"/>
                  </a:lnTo>
                  <a:lnTo>
                    <a:pt x="109" y="7"/>
                  </a:lnTo>
                  <a:lnTo>
                    <a:pt x="107" y="7"/>
                  </a:lnTo>
                  <a:lnTo>
                    <a:pt x="104" y="3"/>
                  </a:lnTo>
                  <a:lnTo>
                    <a:pt x="100" y="0"/>
                  </a:lnTo>
                  <a:lnTo>
                    <a:pt x="97" y="3"/>
                  </a:lnTo>
                  <a:lnTo>
                    <a:pt x="95" y="7"/>
                  </a:lnTo>
                  <a:lnTo>
                    <a:pt x="90" y="14"/>
                  </a:lnTo>
                  <a:lnTo>
                    <a:pt x="81" y="21"/>
                  </a:lnTo>
                  <a:lnTo>
                    <a:pt x="74" y="24"/>
                  </a:lnTo>
                  <a:lnTo>
                    <a:pt x="67" y="24"/>
                  </a:lnTo>
                  <a:lnTo>
                    <a:pt x="67" y="26"/>
                  </a:lnTo>
                  <a:lnTo>
                    <a:pt x="67" y="36"/>
                  </a:lnTo>
                  <a:lnTo>
                    <a:pt x="55" y="36"/>
                  </a:lnTo>
                  <a:lnTo>
                    <a:pt x="50" y="33"/>
                  </a:lnTo>
                  <a:lnTo>
                    <a:pt x="43" y="33"/>
                  </a:lnTo>
                  <a:lnTo>
                    <a:pt x="41" y="36"/>
                  </a:lnTo>
                  <a:lnTo>
                    <a:pt x="31" y="45"/>
                  </a:lnTo>
                  <a:lnTo>
                    <a:pt x="26" y="50"/>
                  </a:lnTo>
                  <a:lnTo>
                    <a:pt x="15" y="57"/>
                  </a:lnTo>
                  <a:lnTo>
                    <a:pt x="10" y="57"/>
                  </a:lnTo>
                  <a:lnTo>
                    <a:pt x="0" y="69"/>
                  </a:lnTo>
                  <a:lnTo>
                    <a:pt x="0" y="71"/>
                  </a:lnTo>
                  <a:lnTo>
                    <a:pt x="3" y="73"/>
                  </a:lnTo>
                  <a:lnTo>
                    <a:pt x="5" y="78"/>
                  </a:lnTo>
                  <a:lnTo>
                    <a:pt x="10" y="76"/>
                  </a:lnTo>
                  <a:lnTo>
                    <a:pt x="12" y="76"/>
                  </a:lnTo>
                  <a:lnTo>
                    <a:pt x="17" y="78"/>
                  </a:lnTo>
                  <a:lnTo>
                    <a:pt x="19" y="78"/>
                  </a:lnTo>
                  <a:lnTo>
                    <a:pt x="19" y="81"/>
                  </a:lnTo>
                  <a:lnTo>
                    <a:pt x="17" y="88"/>
                  </a:lnTo>
                  <a:lnTo>
                    <a:pt x="15" y="95"/>
                  </a:lnTo>
                  <a:lnTo>
                    <a:pt x="17" y="97"/>
                  </a:lnTo>
                  <a:lnTo>
                    <a:pt x="19" y="97"/>
                  </a:lnTo>
                  <a:lnTo>
                    <a:pt x="15" y="99"/>
                  </a:lnTo>
                  <a:lnTo>
                    <a:pt x="12" y="102"/>
                  </a:lnTo>
                  <a:lnTo>
                    <a:pt x="12" y="102"/>
                  </a:lnTo>
                  <a:lnTo>
                    <a:pt x="10" y="106"/>
                  </a:lnTo>
                  <a:lnTo>
                    <a:pt x="8" y="111"/>
                  </a:lnTo>
                  <a:lnTo>
                    <a:pt x="12" y="111"/>
                  </a:lnTo>
                  <a:lnTo>
                    <a:pt x="15" y="111"/>
                  </a:lnTo>
                  <a:lnTo>
                    <a:pt x="15" y="111"/>
                  </a:lnTo>
                  <a:lnTo>
                    <a:pt x="15" y="114"/>
                  </a:lnTo>
                  <a:lnTo>
                    <a:pt x="12" y="114"/>
                  </a:lnTo>
                  <a:lnTo>
                    <a:pt x="12" y="116"/>
                  </a:lnTo>
                  <a:lnTo>
                    <a:pt x="15" y="116"/>
                  </a:lnTo>
                  <a:lnTo>
                    <a:pt x="15" y="118"/>
                  </a:lnTo>
                  <a:lnTo>
                    <a:pt x="17" y="118"/>
                  </a:lnTo>
                  <a:lnTo>
                    <a:pt x="19" y="118"/>
                  </a:lnTo>
                  <a:lnTo>
                    <a:pt x="19" y="118"/>
                  </a:lnTo>
                  <a:lnTo>
                    <a:pt x="22" y="116"/>
                  </a:lnTo>
                  <a:lnTo>
                    <a:pt x="24" y="114"/>
                  </a:lnTo>
                  <a:lnTo>
                    <a:pt x="22" y="111"/>
                  </a:lnTo>
                  <a:lnTo>
                    <a:pt x="24" y="114"/>
                  </a:lnTo>
                  <a:lnTo>
                    <a:pt x="26" y="116"/>
                  </a:lnTo>
                  <a:lnTo>
                    <a:pt x="29" y="116"/>
                  </a:lnTo>
                  <a:lnTo>
                    <a:pt x="31" y="118"/>
                  </a:lnTo>
                  <a:lnTo>
                    <a:pt x="31" y="116"/>
                  </a:lnTo>
                  <a:lnTo>
                    <a:pt x="36" y="116"/>
                  </a:lnTo>
                  <a:lnTo>
                    <a:pt x="38" y="118"/>
                  </a:lnTo>
                  <a:lnTo>
                    <a:pt x="43" y="114"/>
                  </a:lnTo>
                  <a:lnTo>
                    <a:pt x="50" y="109"/>
                  </a:lnTo>
                  <a:lnTo>
                    <a:pt x="55" y="106"/>
                  </a:lnTo>
                  <a:lnTo>
                    <a:pt x="60" y="106"/>
                  </a:lnTo>
                  <a:lnTo>
                    <a:pt x="64" y="106"/>
                  </a:lnTo>
                  <a:lnTo>
                    <a:pt x="71" y="10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7" name="Freeform 1261">
              <a:extLst>
                <a:ext uri="{FF2B5EF4-FFF2-40B4-BE49-F238E27FC236}">
                  <a16:creationId xmlns:a16="http://schemas.microsoft.com/office/drawing/2014/main" id="{1B21A23F-A302-4575-9734-466868293910}"/>
                </a:ext>
              </a:extLst>
            </p:cNvPr>
            <p:cNvSpPr>
              <a:spLocks/>
            </p:cNvSpPr>
            <p:nvPr/>
          </p:nvSpPr>
          <p:spPr bwMode="auto">
            <a:xfrm>
              <a:off x="7023343" y="4526518"/>
              <a:ext cx="289526" cy="246510"/>
            </a:xfrm>
            <a:custGeom>
              <a:avLst/>
              <a:gdLst>
                <a:gd name="T0" fmla="*/ 151 w 175"/>
                <a:gd name="T1" fmla="*/ 5 h 149"/>
                <a:gd name="T2" fmla="*/ 151 w 175"/>
                <a:gd name="T3" fmla="*/ 7 h 149"/>
                <a:gd name="T4" fmla="*/ 154 w 175"/>
                <a:gd name="T5" fmla="*/ 12 h 149"/>
                <a:gd name="T6" fmla="*/ 149 w 175"/>
                <a:gd name="T7" fmla="*/ 14 h 149"/>
                <a:gd name="T8" fmla="*/ 147 w 175"/>
                <a:gd name="T9" fmla="*/ 19 h 149"/>
                <a:gd name="T10" fmla="*/ 147 w 175"/>
                <a:gd name="T11" fmla="*/ 21 h 149"/>
                <a:gd name="T12" fmla="*/ 151 w 175"/>
                <a:gd name="T13" fmla="*/ 26 h 149"/>
                <a:gd name="T14" fmla="*/ 158 w 175"/>
                <a:gd name="T15" fmla="*/ 38 h 149"/>
                <a:gd name="T16" fmla="*/ 156 w 175"/>
                <a:gd name="T17" fmla="*/ 42 h 149"/>
                <a:gd name="T18" fmla="*/ 175 w 175"/>
                <a:gd name="T19" fmla="*/ 59 h 149"/>
                <a:gd name="T20" fmla="*/ 166 w 175"/>
                <a:gd name="T21" fmla="*/ 61 h 149"/>
                <a:gd name="T22" fmla="*/ 158 w 175"/>
                <a:gd name="T23" fmla="*/ 59 h 149"/>
                <a:gd name="T24" fmla="*/ 154 w 175"/>
                <a:gd name="T25" fmla="*/ 64 h 149"/>
                <a:gd name="T26" fmla="*/ 151 w 175"/>
                <a:gd name="T27" fmla="*/ 73 h 149"/>
                <a:gd name="T28" fmla="*/ 149 w 175"/>
                <a:gd name="T29" fmla="*/ 85 h 149"/>
                <a:gd name="T30" fmla="*/ 140 w 175"/>
                <a:gd name="T31" fmla="*/ 99 h 149"/>
                <a:gd name="T32" fmla="*/ 128 w 175"/>
                <a:gd name="T33" fmla="*/ 106 h 149"/>
                <a:gd name="T34" fmla="*/ 130 w 175"/>
                <a:gd name="T35" fmla="*/ 111 h 149"/>
                <a:gd name="T36" fmla="*/ 132 w 175"/>
                <a:gd name="T37" fmla="*/ 120 h 149"/>
                <a:gd name="T38" fmla="*/ 130 w 175"/>
                <a:gd name="T39" fmla="*/ 125 h 149"/>
                <a:gd name="T40" fmla="*/ 128 w 175"/>
                <a:gd name="T41" fmla="*/ 130 h 149"/>
                <a:gd name="T42" fmla="*/ 125 w 175"/>
                <a:gd name="T43" fmla="*/ 132 h 149"/>
                <a:gd name="T44" fmla="*/ 121 w 175"/>
                <a:gd name="T45" fmla="*/ 139 h 149"/>
                <a:gd name="T46" fmla="*/ 104 w 175"/>
                <a:gd name="T47" fmla="*/ 146 h 149"/>
                <a:gd name="T48" fmla="*/ 99 w 175"/>
                <a:gd name="T49" fmla="*/ 137 h 149"/>
                <a:gd name="T50" fmla="*/ 95 w 175"/>
                <a:gd name="T51" fmla="*/ 135 h 149"/>
                <a:gd name="T52" fmla="*/ 83 w 175"/>
                <a:gd name="T53" fmla="*/ 135 h 149"/>
                <a:gd name="T54" fmla="*/ 76 w 175"/>
                <a:gd name="T55" fmla="*/ 132 h 149"/>
                <a:gd name="T56" fmla="*/ 71 w 175"/>
                <a:gd name="T57" fmla="*/ 130 h 149"/>
                <a:gd name="T58" fmla="*/ 64 w 175"/>
                <a:gd name="T59" fmla="*/ 135 h 149"/>
                <a:gd name="T60" fmla="*/ 54 w 175"/>
                <a:gd name="T61" fmla="*/ 135 h 149"/>
                <a:gd name="T62" fmla="*/ 52 w 175"/>
                <a:gd name="T63" fmla="*/ 137 h 149"/>
                <a:gd name="T64" fmla="*/ 47 w 175"/>
                <a:gd name="T65" fmla="*/ 127 h 149"/>
                <a:gd name="T66" fmla="*/ 40 w 175"/>
                <a:gd name="T67" fmla="*/ 127 h 149"/>
                <a:gd name="T68" fmla="*/ 36 w 175"/>
                <a:gd name="T69" fmla="*/ 130 h 149"/>
                <a:gd name="T70" fmla="*/ 26 w 175"/>
                <a:gd name="T71" fmla="*/ 125 h 149"/>
                <a:gd name="T72" fmla="*/ 24 w 175"/>
                <a:gd name="T73" fmla="*/ 123 h 149"/>
                <a:gd name="T74" fmla="*/ 19 w 175"/>
                <a:gd name="T75" fmla="*/ 111 h 149"/>
                <a:gd name="T76" fmla="*/ 19 w 175"/>
                <a:gd name="T77" fmla="*/ 106 h 149"/>
                <a:gd name="T78" fmla="*/ 17 w 175"/>
                <a:gd name="T79" fmla="*/ 97 h 149"/>
                <a:gd name="T80" fmla="*/ 12 w 175"/>
                <a:gd name="T81" fmla="*/ 87 h 149"/>
                <a:gd name="T82" fmla="*/ 7 w 175"/>
                <a:gd name="T83" fmla="*/ 85 h 149"/>
                <a:gd name="T84" fmla="*/ 5 w 175"/>
                <a:gd name="T85" fmla="*/ 73 h 149"/>
                <a:gd name="T86" fmla="*/ 0 w 175"/>
                <a:gd name="T87" fmla="*/ 68 h 149"/>
                <a:gd name="T88" fmla="*/ 3 w 175"/>
                <a:gd name="T89" fmla="*/ 52 h 149"/>
                <a:gd name="T90" fmla="*/ 10 w 175"/>
                <a:gd name="T91" fmla="*/ 42 h 149"/>
                <a:gd name="T92" fmla="*/ 19 w 175"/>
                <a:gd name="T93" fmla="*/ 54 h 149"/>
                <a:gd name="T94" fmla="*/ 31 w 175"/>
                <a:gd name="T95" fmla="*/ 59 h 149"/>
                <a:gd name="T96" fmla="*/ 40 w 175"/>
                <a:gd name="T97" fmla="*/ 59 h 149"/>
                <a:gd name="T98" fmla="*/ 50 w 175"/>
                <a:gd name="T99" fmla="*/ 59 h 149"/>
                <a:gd name="T100" fmla="*/ 59 w 175"/>
                <a:gd name="T101" fmla="*/ 50 h 149"/>
                <a:gd name="T102" fmla="*/ 69 w 175"/>
                <a:gd name="T103" fmla="*/ 52 h 149"/>
                <a:gd name="T104" fmla="*/ 80 w 175"/>
                <a:gd name="T105" fmla="*/ 54 h 149"/>
                <a:gd name="T106" fmla="*/ 90 w 175"/>
                <a:gd name="T107" fmla="*/ 52 h 149"/>
                <a:gd name="T108" fmla="*/ 99 w 175"/>
                <a:gd name="T109" fmla="*/ 47 h 149"/>
                <a:gd name="T110" fmla="*/ 104 w 175"/>
                <a:gd name="T111" fmla="*/ 28 h 149"/>
                <a:gd name="T112" fmla="*/ 116 w 175"/>
                <a:gd name="T113" fmla="*/ 9 h 149"/>
                <a:gd name="T114" fmla="*/ 125 w 175"/>
                <a:gd name="T115" fmla="*/ 0 h 149"/>
                <a:gd name="T116" fmla="*/ 149 w 175"/>
                <a:gd name="T117"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5" h="149">
                  <a:moveTo>
                    <a:pt x="151" y="2"/>
                  </a:moveTo>
                  <a:lnTo>
                    <a:pt x="151" y="5"/>
                  </a:lnTo>
                  <a:lnTo>
                    <a:pt x="151" y="5"/>
                  </a:lnTo>
                  <a:lnTo>
                    <a:pt x="149" y="5"/>
                  </a:lnTo>
                  <a:lnTo>
                    <a:pt x="149" y="5"/>
                  </a:lnTo>
                  <a:lnTo>
                    <a:pt x="151" y="7"/>
                  </a:lnTo>
                  <a:lnTo>
                    <a:pt x="151" y="9"/>
                  </a:lnTo>
                  <a:lnTo>
                    <a:pt x="154" y="9"/>
                  </a:lnTo>
                  <a:lnTo>
                    <a:pt x="154" y="12"/>
                  </a:lnTo>
                  <a:lnTo>
                    <a:pt x="154" y="12"/>
                  </a:lnTo>
                  <a:lnTo>
                    <a:pt x="151" y="12"/>
                  </a:lnTo>
                  <a:lnTo>
                    <a:pt x="149" y="14"/>
                  </a:lnTo>
                  <a:lnTo>
                    <a:pt x="147" y="14"/>
                  </a:lnTo>
                  <a:lnTo>
                    <a:pt x="144" y="14"/>
                  </a:lnTo>
                  <a:lnTo>
                    <a:pt x="147" y="19"/>
                  </a:lnTo>
                  <a:lnTo>
                    <a:pt x="149" y="19"/>
                  </a:lnTo>
                  <a:lnTo>
                    <a:pt x="149" y="19"/>
                  </a:lnTo>
                  <a:lnTo>
                    <a:pt x="147" y="21"/>
                  </a:lnTo>
                  <a:lnTo>
                    <a:pt x="149" y="21"/>
                  </a:lnTo>
                  <a:lnTo>
                    <a:pt x="149" y="24"/>
                  </a:lnTo>
                  <a:lnTo>
                    <a:pt x="151" y="26"/>
                  </a:lnTo>
                  <a:lnTo>
                    <a:pt x="154" y="28"/>
                  </a:lnTo>
                  <a:lnTo>
                    <a:pt x="158" y="35"/>
                  </a:lnTo>
                  <a:lnTo>
                    <a:pt x="158" y="38"/>
                  </a:lnTo>
                  <a:lnTo>
                    <a:pt x="156" y="40"/>
                  </a:lnTo>
                  <a:lnTo>
                    <a:pt x="156" y="40"/>
                  </a:lnTo>
                  <a:lnTo>
                    <a:pt x="156" y="42"/>
                  </a:lnTo>
                  <a:lnTo>
                    <a:pt x="156" y="42"/>
                  </a:lnTo>
                  <a:lnTo>
                    <a:pt x="173" y="57"/>
                  </a:lnTo>
                  <a:lnTo>
                    <a:pt x="175" y="59"/>
                  </a:lnTo>
                  <a:lnTo>
                    <a:pt x="175" y="61"/>
                  </a:lnTo>
                  <a:lnTo>
                    <a:pt x="173" y="61"/>
                  </a:lnTo>
                  <a:lnTo>
                    <a:pt x="166" y="61"/>
                  </a:lnTo>
                  <a:lnTo>
                    <a:pt x="161" y="61"/>
                  </a:lnTo>
                  <a:lnTo>
                    <a:pt x="158" y="57"/>
                  </a:lnTo>
                  <a:lnTo>
                    <a:pt x="158" y="59"/>
                  </a:lnTo>
                  <a:lnTo>
                    <a:pt x="158" y="61"/>
                  </a:lnTo>
                  <a:lnTo>
                    <a:pt x="158" y="61"/>
                  </a:lnTo>
                  <a:lnTo>
                    <a:pt x="154" y="64"/>
                  </a:lnTo>
                  <a:lnTo>
                    <a:pt x="154" y="66"/>
                  </a:lnTo>
                  <a:lnTo>
                    <a:pt x="151" y="68"/>
                  </a:lnTo>
                  <a:lnTo>
                    <a:pt x="151" y="73"/>
                  </a:lnTo>
                  <a:lnTo>
                    <a:pt x="151" y="76"/>
                  </a:lnTo>
                  <a:lnTo>
                    <a:pt x="149" y="78"/>
                  </a:lnTo>
                  <a:lnTo>
                    <a:pt x="149" y="85"/>
                  </a:lnTo>
                  <a:lnTo>
                    <a:pt x="147" y="87"/>
                  </a:lnTo>
                  <a:lnTo>
                    <a:pt x="142" y="97"/>
                  </a:lnTo>
                  <a:lnTo>
                    <a:pt x="140" y="99"/>
                  </a:lnTo>
                  <a:lnTo>
                    <a:pt x="140" y="97"/>
                  </a:lnTo>
                  <a:lnTo>
                    <a:pt x="137" y="99"/>
                  </a:lnTo>
                  <a:lnTo>
                    <a:pt x="128" y="106"/>
                  </a:lnTo>
                  <a:lnTo>
                    <a:pt x="130" y="109"/>
                  </a:lnTo>
                  <a:lnTo>
                    <a:pt x="130" y="109"/>
                  </a:lnTo>
                  <a:lnTo>
                    <a:pt x="130" y="111"/>
                  </a:lnTo>
                  <a:lnTo>
                    <a:pt x="130" y="113"/>
                  </a:lnTo>
                  <a:lnTo>
                    <a:pt x="135" y="116"/>
                  </a:lnTo>
                  <a:lnTo>
                    <a:pt x="132" y="120"/>
                  </a:lnTo>
                  <a:lnTo>
                    <a:pt x="130" y="120"/>
                  </a:lnTo>
                  <a:lnTo>
                    <a:pt x="130" y="120"/>
                  </a:lnTo>
                  <a:lnTo>
                    <a:pt x="130" y="125"/>
                  </a:lnTo>
                  <a:lnTo>
                    <a:pt x="128" y="127"/>
                  </a:lnTo>
                  <a:lnTo>
                    <a:pt x="128" y="127"/>
                  </a:lnTo>
                  <a:lnTo>
                    <a:pt x="128" y="130"/>
                  </a:lnTo>
                  <a:lnTo>
                    <a:pt x="128" y="130"/>
                  </a:lnTo>
                  <a:lnTo>
                    <a:pt x="128" y="132"/>
                  </a:lnTo>
                  <a:lnTo>
                    <a:pt x="125" y="132"/>
                  </a:lnTo>
                  <a:lnTo>
                    <a:pt x="125" y="135"/>
                  </a:lnTo>
                  <a:lnTo>
                    <a:pt x="123" y="137"/>
                  </a:lnTo>
                  <a:lnTo>
                    <a:pt x="121" y="139"/>
                  </a:lnTo>
                  <a:lnTo>
                    <a:pt x="118" y="139"/>
                  </a:lnTo>
                  <a:lnTo>
                    <a:pt x="116" y="142"/>
                  </a:lnTo>
                  <a:lnTo>
                    <a:pt x="104" y="146"/>
                  </a:lnTo>
                  <a:lnTo>
                    <a:pt x="102" y="149"/>
                  </a:lnTo>
                  <a:lnTo>
                    <a:pt x="99" y="139"/>
                  </a:lnTo>
                  <a:lnTo>
                    <a:pt x="99" y="137"/>
                  </a:lnTo>
                  <a:lnTo>
                    <a:pt x="97" y="137"/>
                  </a:lnTo>
                  <a:lnTo>
                    <a:pt x="97" y="137"/>
                  </a:lnTo>
                  <a:lnTo>
                    <a:pt x="95" y="135"/>
                  </a:lnTo>
                  <a:lnTo>
                    <a:pt x="90" y="135"/>
                  </a:lnTo>
                  <a:lnTo>
                    <a:pt x="88" y="135"/>
                  </a:lnTo>
                  <a:lnTo>
                    <a:pt x="83" y="135"/>
                  </a:lnTo>
                  <a:lnTo>
                    <a:pt x="83" y="135"/>
                  </a:lnTo>
                  <a:lnTo>
                    <a:pt x="83" y="132"/>
                  </a:lnTo>
                  <a:lnTo>
                    <a:pt x="76" y="132"/>
                  </a:lnTo>
                  <a:lnTo>
                    <a:pt x="73" y="130"/>
                  </a:lnTo>
                  <a:lnTo>
                    <a:pt x="71" y="127"/>
                  </a:lnTo>
                  <a:lnTo>
                    <a:pt x="71" y="130"/>
                  </a:lnTo>
                  <a:lnTo>
                    <a:pt x="71" y="132"/>
                  </a:lnTo>
                  <a:lnTo>
                    <a:pt x="69" y="132"/>
                  </a:lnTo>
                  <a:lnTo>
                    <a:pt x="64" y="135"/>
                  </a:lnTo>
                  <a:lnTo>
                    <a:pt x="62" y="135"/>
                  </a:lnTo>
                  <a:lnTo>
                    <a:pt x="59" y="135"/>
                  </a:lnTo>
                  <a:lnTo>
                    <a:pt x="54" y="135"/>
                  </a:lnTo>
                  <a:lnTo>
                    <a:pt x="54" y="135"/>
                  </a:lnTo>
                  <a:lnTo>
                    <a:pt x="52" y="137"/>
                  </a:lnTo>
                  <a:lnTo>
                    <a:pt x="52" y="137"/>
                  </a:lnTo>
                  <a:lnTo>
                    <a:pt x="50" y="130"/>
                  </a:lnTo>
                  <a:lnTo>
                    <a:pt x="47" y="125"/>
                  </a:lnTo>
                  <a:lnTo>
                    <a:pt x="47" y="127"/>
                  </a:lnTo>
                  <a:lnTo>
                    <a:pt x="45" y="127"/>
                  </a:lnTo>
                  <a:lnTo>
                    <a:pt x="43" y="125"/>
                  </a:lnTo>
                  <a:lnTo>
                    <a:pt x="40" y="127"/>
                  </a:lnTo>
                  <a:lnTo>
                    <a:pt x="40" y="127"/>
                  </a:lnTo>
                  <a:lnTo>
                    <a:pt x="38" y="127"/>
                  </a:lnTo>
                  <a:lnTo>
                    <a:pt x="36" y="130"/>
                  </a:lnTo>
                  <a:lnTo>
                    <a:pt x="33" y="127"/>
                  </a:lnTo>
                  <a:lnTo>
                    <a:pt x="31" y="127"/>
                  </a:lnTo>
                  <a:lnTo>
                    <a:pt x="26" y="125"/>
                  </a:lnTo>
                  <a:lnTo>
                    <a:pt x="26" y="127"/>
                  </a:lnTo>
                  <a:lnTo>
                    <a:pt x="24" y="127"/>
                  </a:lnTo>
                  <a:lnTo>
                    <a:pt x="24" y="123"/>
                  </a:lnTo>
                  <a:lnTo>
                    <a:pt x="24" y="120"/>
                  </a:lnTo>
                  <a:lnTo>
                    <a:pt x="21" y="118"/>
                  </a:lnTo>
                  <a:lnTo>
                    <a:pt x="19" y="111"/>
                  </a:lnTo>
                  <a:lnTo>
                    <a:pt x="19" y="109"/>
                  </a:lnTo>
                  <a:lnTo>
                    <a:pt x="19" y="106"/>
                  </a:lnTo>
                  <a:lnTo>
                    <a:pt x="19" y="106"/>
                  </a:lnTo>
                  <a:lnTo>
                    <a:pt x="19" y="104"/>
                  </a:lnTo>
                  <a:lnTo>
                    <a:pt x="19" y="99"/>
                  </a:lnTo>
                  <a:lnTo>
                    <a:pt x="17" y="97"/>
                  </a:lnTo>
                  <a:lnTo>
                    <a:pt x="14" y="92"/>
                  </a:lnTo>
                  <a:lnTo>
                    <a:pt x="14" y="90"/>
                  </a:lnTo>
                  <a:lnTo>
                    <a:pt x="12" y="87"/>
                  </a:lnTo>
                  <a:lnTo>
                    <a:pt x="10" y="87"/>
                  </a:lnTo>
                  <a:lnTo>
                    <a:pt x="7" y="85"/>
                  </a:lnTo>
                  <a:lnTo>
                    <a:pt x="7" y="85"/>
                  </a:lnTo>
                  <a:lnTo>
                    <a:pt x="5" y="85"/>
                  </a:lnTo>
                  <a:lnTo>
                    <a:pt x="5" y="80"/>
                  </a:lnTo>
                  <a:lnTo>
                    <a:pt x="5" y="73"/>
                  </a:lnTo>
                  <a:lnTo>
                    <a:pt x="3" y="71"/>
                  </a:lnTo>
                  <a:lnTo>
                    <a:pt x="0" y="68"/>
                  </a:lnTo>
                  <a:lnTo>
                    <a:pt x="0" y="68"/>
                  </a:lnTo>
                  <a:lnTo>
                    <a:pt x="0" y="61"/>
                  </a:lnTo>
                  <a:lnTo>
                    <a:pt x="0" y="57"/>
                  </a:lnTo>
                  <a:lnTo>
                    <a:pt x="3" y="52"/>
                  </a:lnTo>
                  <a:lnTo>
                    <a:pt x="5" y="50"/>
                  </a:lnTo>
                  <a:lnTo>
                    <a:pt x="7" y="47"/>
                  </a:lnTo>
                  <a:lnTo>
                    <a:pt x="10" y="42"/>
                  </a:lnTo>
                  <a:lnTo>
                    <a:pt x="12" y="40"/>
                  </a:lnTo>
                  <a:lnTo>
                    <a:pt x="12" y="42"/>
                  </a:lnTo>
                  <a:lnTo>
                    <a:pt x="19" y="54"/>
                  </a:lnTo>
                  <a:lnTo>
                    <a:pt x="24" y="59"/>
                  </a:lnTo>
                  <a:lnTo>
                    <a:pt x="29" y="59"/>
                  </a:lnTo>
                  <a:lnTo>
                    <a:pt x="31" y="59"/>
                  </a:lnTo>
                  <a:lnTo>
                    <a:pt x="36" y="59"/>
                  </a:lnTo>
                  <a:lnTo>
                    <a:pt x="38" y="59"/>
                  </a:lnTo>
                  <a:lnTo>
                    <a:pt x="40" y="59"/>
                  </a:lnTo>
                  <a:lnTo>
                    <a:pt x="45" y="59"/>
                  </a:lnTo>
                  <a:lnTo>
                    <a:pt x="47" y="59"/>
                  </a:lnTo>
                  <a:lnTo>
                    <a:pt x="50" y="59"/>
                  </a:lnTo>
                  <a:lnTo>
                    <a:pt x="54" y="52"/>
                  </a:lnTo>
                  <a:lnTo>
                    <a:pt x="57" y="50"/>
                  </a:lnTo>
                  <a:lnTo>
                    <a:pt x="59" y="50"/>
                  </a:lnTo>
                  <a:lnTo>
                    <a:pt x="66" y="50"/>
                  </a:lnTo>
                  <a:lnTo>
                    <a:pt x="69" y="50"/>
                  </a:lnTo>
                  <a:lnTo>
                    <a:pt x="69" y="52"/>
                  </a:lnTo>
                  <a:lnTo>
                    <a:pt x="71" y="52"/>
                  </a:lnTo>
                  <a:lnTo>
                    <a:pt x="78" y="54"/>
                  </a:lnTo>
                  <a:lnTo>
                    <a:pt x="80" y="54"/>
                  </a:lnTo>
                  <a:lnTo>
                    <a:pt x="85" y="52"/>
                  </a:lnTo>
                  <a:lnTo>
                    <a:pt x="88" y="52"/>
                  </a:lnTo>
                  <a:lnTo>
                    <a:pt x="90" y="52"/>
                  </a:lnTo>
                  <a:lnTo>
                    <a:pt x="95" y="50"/>
                  </a:lnTo>
                  <a:lnTo>
                    <a:pt x="97" y="50"/>
                  </a:lnTo>
                  <a:lnTo>
                    <a:pt x="99" y="47"/>
                  </a:lnTo>
                  <a:lnTo>
                    <a:pt x="102" y="42"/>
                  </a:lnTo>
                  <a:lnTo>
                    <a:pt x="104" y="38"/>
                  </a:lnTo>
                  <a:lnTo>
                    <a:pt x="104" y="28"/>
                  </a:lnTo>
                  <a:lnTo>
                    <a:pt x="114" y="19"/>
                  </a:lnTo>
                  <a:lnTo>
                    <a:pt x="116" y="16"/>
                  </a:lnTo>
                  <a:lnTo>
                    <a:pt x="116" y="9"/>
                  </a:lnTo>
                  <a:lnTo>
                    <a:pt x="118" y="2"/>
                  </a:lnTo>
                  <a:lnTo>
                    <a:pt x="121" y="0"/>
                  </a:lnTo>
                  <a:lnTo>
                    <a:pt x="125" y="0"/>
                  </a:lnTo>
                  <a:lnTo>
                    <a:pt x="142" y="0"/>
                  </a:lnTo>
                  <a:lnTo>
                    <a:pt x="144" y="2"/>
                  </a:lnTo>
                  <a:lnTo>
                    <a:pt x="149" y="2"/>
                  </a:lnTo>
                  <a:lnTo>
                    <a:pt x="151" y="2"/>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8" name="Freeform 1262">
              <a:extLst>
                <a:ext uri="{FF2B5EF4-FFF2-40B4-BE49-F238E27FC236}">
                  <a16:creationId xmlns:a16="http://schemas.microsoft.com/office/drawing/2014/main" id="{D12ECCA8-5DC4-4424-A91B-5A4E07C5B466}"/>
                </a:ext>
              </a:extLst>
            </p:cNvPr>
            <p:cNvSpPr>
              <a:spLocks/>
            </p:cNvSpPr>
            <p:nvPr/>
          </p:nvSpPr>
          <p:spPr bwMode="auto">
            <a:xfrm>
              <a:off x="7023343" y="4526518"/>
              <a:ext cx="289526" cy="246510"/>
            </a:xfrm>
            <a:custGeom>
              <a:avLst/>
              <a:gdLst>
                <a:gd name="T0" fmla="*/ 151 w 175"/>
                <a:gd name="T1" fmla="*/ 5 h 149"/>
                <a:gd name="T2" fmla="*/ 151 w 175"/>
                <a:gd name="T3" fmla="*/ 7 h 149"/>
                <a:gd name="T4" fmla="*/ 154 w 175"/>
                <a:gd name="T5" fmla="*/ 12 h 149"/>
                <a:gd name="T6" fmla="*/ 149 w 175"/>
                <a:gd name="T7" fmla="*/ 14 h 149"/>
                <a:gd name="T8" fmla="*/ 147 w 175"/>
                <a:gd name="T9" fmla="*/ 19 h 149"/>
                <a:gd name="T10" fmla="*/ 147 w 175"/>
                <a:gd name="T11" fmla="*/ 21 h 149"/>
                <a:gd name="T12" fmla="*/ 151 w 175"/>
                <a:gd name="T13" fmla="*/ 26 h 149"/>
                <a:gd name="T14" fmla="*/ 158 w 175"/>
                <a:gd name="T15" fmla="*/ 38 h 149"/>
                <a:gd name="T16" fmla="*/ 156 w 175"/>
                <a:gd name="T17" fmla="*/ 42 h 149"/>
                <a:gd name="T18" fmla="*/ 175 w 175"/>
                <a:gd name="T19" fmla="*/ 59 h 149"/>
                <a:gd name="T20" fmla="*/ 166 w 175"/>
                <a:gd name="T21" fmla="*/ 61 h 149"/>
                <a:gd name="T22" fmla="*/ 158 w 175"/>
                <a:gd name="T23" fmla="*/ 59 h 149"/>
                <a:gd name="T24" fmla="*/ 154 w 175"/>
                <a:gd name="T25" fmla="*/ 64 h 149"/>
                <a:gd name="T26" fmla="*/ 151 w 175"/>
                <a:gd name="T27" fmla="*/ 73 h 149"/>
                <a:gd name="T28" fmla="*/ 149 w 175"/>
                <a:gd name="T29" fmla="*/ 85 h 149"/>
                <a:gd name="T30" fmla="*/ 140 w 175"/>
                <a:gd name="T31" fmla="*/ 99 h 149"/>
                <a:gd name="T32" fmla="*/ 128 w 175"/>
                <a:gd name="T33" fmla="*/ 106 h 149"/>
                <a:gd name="T34" fmla="*/ 130 w 175"/>
                <a:gd name="T35" fmla="*/ 111 h 149"/>
                <a:gd name="T36" fmla="*/ 132 w 175"/>
                <a:gd name="T37" fmla="*/ 120 h 149"/>
                <a:gd name="T38" fmla="*/ 130 w 175"/>
                <a:gd name="T39" fmla="*/ 125 h 149"/>
                <a:gd name="T40" fmla="*/ 128 w 175"/>
                <a:gd name="T41" fmla="*/ 130 h 149"/>
                <a:gd name="T42" fmla="*/ 125 w 175"/>
                <a:gd name="T43" fmla="*/ 132 h 149"/>
                <a:gd name="T44" fmla="*/ 121 w 175"/>
                <a:gd name="T45" fmla="*/ 139 h 149"/>
                <a:gd name="T46" fmla="*/ 104 w 175"/>
                <a:gd name="T47" fmla="*/ 146 h 149"/>
                <a:gd name="T48" fmla="*/ 99 w 175"/>
                <a:gd name="T49" fmla="*/ 137 h 149"/>
                <a:gd name="T50" fmla="*/ 95 w 175"/>
                <a:gd name="T51" fmla="*/ 135 h 149"/>
                <a:gd name="T52" fmla="*/ 83 w 175"/>
                <a:gd name="T53" fmla="*/ 135 h 149"/>
                <a:gd name="T54" fmla="*/ 76 w 175"/>
                <a:gd name="T55" fmla="*/ 132 h 149"/>
                <a:gd name="T56" fmla="*/ 71 w 175"/>
                <a:gd name="T57" fmla="*/ 130 h 149"/>
                <a:gd name="T58" fmla="*/ 64 w 175"/>
                <a:gd name="T59" fmla="*/ 135 h 149"/>
                <a:gd name="T60" fmla="*/ 54 w 175"/>
                <a:gd name="T61" fmla="*/ 135 h 149"/>
                <a:gd name="T62" fmla="*/ 52 w 175"/>
                <a:gd name="T63" fmla="*/ 137 h 149"/>
                <a:gd name="T64" fmla="*/ 47 w 175"/>
                <a:gd name="T65" fmla="*/ 127 h 149"/>
                <a:gd name="T66" fmla="*/ 40 w 175"/>
                <a:gd name="T67" fmla="*/ 127 h 149"/>
                <a:gd name="T68" fmla="*/ 36 w 175"/>
                <a:gd name="T69" fmla="*/ 130 h 149"/>
                <a:gd name="T70" fmla="*/ 26 w 175"/>
                <a:gd name="T71" fmla="*/ 125 h 149"/>
                <a:gd name="T72" fmla="*/ 24 w 175"/>
                <a:gd name="T73" fmla="*/ 123 h 149"/>
                <a:gd name="T74" fmla="*/ 19 w 175"/>
                <a:gd name="T75" fmla="*/ 111 h 149"/>
                <a:gd name="T76" fmla="*/ 19 w 175"/>
                <a:gd name="T77" fmla="*/ 106 h 149"/>
                <a:gd name="T78" fmla="*/ 17 w 175"/>
                <a:gd name="T79" fmla="*/ 97 h 149"/>
                <a:gd name="T80" fmla="*/ 12 w 175"/>
                <a:gd name="T81" fmla="*/ 87 h 149"/>
                <a:gd name="T82" fmla="*/ 7 w 175"/>
                <a:gd name="T83" fmla="*/ 85 h 149"/>
                <a:gd name="T84" fmla="*/ 5 w 175"/>
                <a:gd name="T85" fmla="*/ 73 h 149"/>
                <a:gd name="T86" fmla="*/ 0 w 175"/>
                <a:gd name="T87" fmla="*/ 68 h 149"/>
                <a:gd name="T88" fmla="*/ 3 w 175"/>
                <a:gd name="T89" fmla="*/ 52 h 149"/>
                <a:gd name="T90" fmla="*/ 10 w 175"/>
                <a:gd name="T91" fmla="*/ 42 h 149"/>
                <a:gd name="T92" fmla="*/ 19 w 175"/>
                <a:gd name="T93" fmla="*/ 54 h 149"/>
                <a:gd name="T94" fmla="*/ 31 w 175"/>
                <a:gd name="T95" fmla="*/ 59 h 149"/>
                <a:gd name="T96" fmla="*/ 40 w 175"/>
                <a:gd name="T97" fmla="*/ 59 h 149"/>
                <a:gd name="T98" fmla="*/ 50 w 175"/>
                <a:gd name="T99" fmla="*/ 59 h 149"/>
                <a:gd name="T100" fmla="*/ 59 w 175"/>
                <a:gd name="T101" fmla="*/ 50 h 149"/>
                <a:gd name="T102" fmla="*/ 69 w 175"/>
                <a:gd name="T103" fmla="*/ 52 h 149"/>
                <a:gd name="T104" fmla="*/ 80 w 175"/>
                <a:gd name="T105" fmla="*/ 54 h 149"/>
                <a:gd name="T106" fmla="*/ 90 w 175"/>
                <a:gd name="T107" fmla="*/ 52 h 149"/>
                <a:gd name="T108" fmla="*/ 99 w 175"/>
                <a:gd name="T109" fmla="*/ 47 h 149"/>
                <a:gd name="T110" fmla="*/ 104 w 175"/>
                <a:gd name="T111" fmla="*/ 28 h 149"/>
                <a:gd name="T112" fmla="*/ 116 w 175"/>
                <a:gd name="T113" fmla="*/ 9 h 149"/>
                <a:gd name="T114" fmla="*/ 125 w 175"/>
                <a:gd name="T115" fmla="*/ 0 h 149"/>
                <a:gd name="T116" fmla="*/ 149 w 175"/>
                <a:gd name="T117"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5" h="149">
                  <a:moveTo>
                    <a:pt x="151" y="2"/>
                  </a:moveTo>
                  <a:lnTo>
                    <a:pt x="151" y="5"/>
                  </a:lnTo>
                  <a:lnTo>
                    <a:pt x="151" y="5"/>
                  </a:lnTo>
                  <a:lnTo>
                    <a:pt x="149" y="5"/>
                  </a:lnTo>
                  <a:lnTo>
                    <a:pt x="149" y="5"/>
                  </a:lnTo>
                  <a:lnTo>
                    <a:pt x="151" y="7"/>
                  </a:lnTo>
                  <a:lnTo>
                    <a:pt x="151" y="9"/>
                  </a:lnTo>
                  <a:lnTo>
                    <a:pt x="154" y="9"/>
                  </a:lnTo>
                  <a:lnTo>
                    <a:pt x="154" y="12"/>
                  </a:lnTo>
                  <a:lnTo>
                    <a:pt x="154" y="12"/>
                  </a:lnTo>
                  <a:lnTo>
                    <a:pt x="151" y="12"/>
                  </a:lnTo>
                  <a:lnTo>
                    <a:pt x="149" y="14"/>
                  </a:lnTo>
                  <a:lnTo>
                    <a:pt x="147" y="14"/>
                  </a:lnTo>
                  <a:lnTo>
                    <a:pt x="144" y="14"/>
                  </a:lnTo>
                  <a:lnTo>
                    <a:pt x="147" y="19"/>
                  </a:lnTo>
                  <a:lnTo>
                    <a:pt x="149" y="19"/>
                  </a:lnTo>
                  <a:lnTo>
                    <a:pt x="149" y="19"/>
                  </a:lnTo>
                  <a:lnTo>
                    <a:pt x="147" y="21"/>
                  </a:lnTo>
                  <a:lnTo>
                    <a:pt x="149" y="21"/>
                  </a:lnTo>
                  <a:lnTo>
                    <a:pt x="149" y="24"/>
                  </a:lnTo>
                  <a:lnTo>
                    <a:pt x="151" y="26"/>
                  </a:lnTo>
                  <a:lnTo>
                    <a:pt x="154" y="28"/>
                  </a:lnTo>
                  <a:lnTo>
                    <a:pt x="158" y="35"/>
                  </a:lnTo>
                  <a:lnTo>
                    <a:pt x="158" y="38"/>
                  </a:lnTo>
                  <a:lnTo>
                    <a:pt x="156" y="40"/>
                  </a:lnTo>
                  <a:lnTo>
                    <a:pt x="156" y="40"/>
                  </a:lnTo>
                  <a:lnTo>
                    <a:pt x="156" y="42"/>
                  </a:lnTo>
                  <a:lnTo>
                    <a:pt x="156" y="42"/>
                  </a:lnTo>
                  <a:lnTo>
                    <a:pt x="173" y="57"/>
                  </a:lnTo>
                  <a:lnTo>
                    <a:pt x="175" y="59"/>
                  </a:lnTo>
                  <a:lnTo>
                    <a:pt x="175" y="61"/>
                  </a:lnTo>
                  <a:lnTo>
                    <a:pt x="173" y="61"/>
                  </a:lnTo>
                  <a:lnTo>
                    <a:pt x="166" y="61"/>
                  </a:lnTo>
                  <a:lnTo>
                    <a:pt x="161" y="61"/>
                  </a:lnTo>
                  <a:lnTo>
                    <a:pt x="158" y="57"/>
                  </a:lnTo>
                  <a:lnTo>
                    <a:pt x="158" y="59"/>
                  </a:lnTo>
                  <a:lnTo>
                    <a:pt x="158" y="61"/>
                  </a:lnTo>
                  <a:lnTo>
                    <a:pt x="158" y="61"/>
                  </a:lnTo>
                  <a:lnTo>
                    <a:pt x="154" y="64"/>
                  </a:lnTo>
                  <a:lnTo>
                    <a:pt x="154" y="66"/>
                  </a:lnTo>
                  <a:lnTo>
                    <a:pt x="151" y="68"/>
                  </a:lnTo>
                  <a:lnTo>
                    <a:pt x="151" y="73"/>
                  </a:lnTo>
                  <a:lnTo>
                    <a:pt x="151" y="76"/>
                  </a:lnTo>
                  <a:lnTo>
                    <a:pt x="149" y="78"/>
                  </a:lnTo>
                  <a:lnTo>
                    <a:pt x="149" y="85"/>
                  </a:lnTo>
                  <a:lnTo>
                    <a:pt x="147" y="87"/>
                  </a:lnTo>
                  <a:lnTo>
                    <a:pt x="142" y="97"/>
                  </a:lnTo>
                  <a:lnTo>
                    <a:pt x="140" y="99"/>
                  </a:lnTo>
                  <a:lnTo>
                    <a:pt x="140" y="97"/>
                  </a:lnTo>
                  <a:lnTo>
                    <a:pt x="137" y="99"/>
                  </a:lnTo>
                  <a:lnTo>
                    <a:pt x="128" y="106"/>
                  </a:lnTo>
                  <a:lnTo>
                    <a:pt x="130" y="109"/>
                  </a:lnTo>
                  <a:lnTo>
                    <a:pt x="130" y="109"/>
                  </a:lnTo>
                  <a:lnTo>
                    <a:pt x="130" y="111"/>
                  </a:lnTo>
                  <a:lnTo>
                    <a:pt x="130" y="113"/>
                  </a:lnTo>
                  <a:lnTo>
                    <a:pt x="135" y="116"/>
                  </a:lnTo>
                  <a:lnTo>
                    <a:pt x="132" y="120"/>
                  </a:lnTo>
                  <a:lnTo>
                    <a:pt x="130" y="120"/>
                  </a:lnTo>
                  <a:lnTo>
                    <a:pt x="130" y="120"/>
                  </a:lnTo>
                  <a:lnTo>
                    <a:pt x="130" y="125"/>
                  </a:lnTo>
                  <a:lnTo>
                    <a:pt x="128" y="127"/>
                  </a:lnTo>
                  <a:lnTo>
                    <a:pt x="128" y="127"/>
                  </a:lnTo>
                  <a:lnTo>
                    <a:pt x="128" y="130"/>
                  </a:lnTo>
                  <a:lnTo>
                    <a:pt x="128" y="130"/>
                  </a:lnTo>
                  <a:lnTo>
                    <a:pt x="128" y="132"/>
                  </a:lnTo>
                  <a:lnTo>
                    <a:pt x="125" y="132"/>
                  </a:lnTo>
                  <a:lnTo>
                    <a:pt x="125" y="135"/>
                  </a:lnTo>
                  <a:lnTo>
                    <a:pt x="123" y="137"/>
                  </a:lnTo>
                  <a:lnTo>
                    <a:pt x="121" y="139"/>
                  </a:lnTo>
                  <a:lnTo>
                    <a:pt x="118" y="139"/>
                  </a:lnTo>
                  <a:lnTo>
                    <a:pt x="116" y="142"/>
                  </a:lnTo>
                  <a:lnTo>
                    <a:pt x="104" y="146"/>
                  </a:lnTo>
                  <a:lnTo>
                    <a:pt x="102" y="149"/>
                  </a:lnTo>
                  <a:lnTo>
                    <a:pt x="99" y="139"/>
                  </a:lnTo>
                  <a:lnTo>
                    <a:pt x="99" y="137"/>
                  </a:lnTo>
                  <a:lnTo>
                    <a:pt x="97" y="137"/>
                  </a:lnTo>
                  <a:lnTo>
                    <a:pt x="97" y="137"/>
                  </a:lnTo>
                  <a:lnTo>
                    <a:pt x="95" y="135"/>
                  </a:lnTo>
                  <a:lnTo>
                    <a:pt x="90" y="135"/>
                  </a:lnTo>
                  <a:lnTo>
                    <a:pt x="88" y="135"/>
                  </a:lnTo>
                  <a:lnTo>
                    <a:pt x="83" y="135"/>
                  </a:lnTo>
                  <a:lnTo>
                    <a:pt x="83" y="135"/>
                  </a:lnTo>
                  <a:lnTo>
                    <a:pt x="83" y="132"/>
                  </a:lnTo>
                  <a:lnTo>
                    <a:pt x="76" y="132"/>
                  </a:lnTo>
                  <a:lnTo>
                    <a:pt x="73" y="130"/>
                  </a:lnTo>
                  <a:lnTo>
                    <a:pt x="71" y="127"/>
                  </a:lnTo>
                  <a:lnTo>
                    <a:pt x="71" y="130"/>
                  </a:lnTo>
                  <a:lnTo>
                    <a:pt x="71" y="132"/>
                  </a:lnTo>
                  <a:lnTo>
                    <a:pt x="69" y="132"/>
                  </a:lnTo>
                  <a:lnTo>
                    <a:pt x="64" y="135"/>
                  </a:lnTo>
                  <a:lnTo>
                    <a:pt x="62" y="135"/>
                  </a:lnTo>
                  <a:lnTo>
                    <a:pt x="59" y="135"/>
                  </a:lnTo>
                  <a:lnTo>
                    <a:pt x="54" y="135"/>
                  </a:lnTo>
                  <a:lnTo>
                    <a:pt x="54" y="135"/>
                  </a:lnTo>
                  <a:lnTo>
                    <a:pt x="52" y="137"/>
                  </a:lnTo>
                  <a:lnTo>
                    <a:pt x="52" y="137"/>
                  </a:lnTo>
                  <a:lnTo>
                    <a:pt x="50" y="130"/>
                  </a:lnTo>
                  <a:lnTo>
                    <a:pt x="47" y="125"/>
                  </a:lnTo>
                  <a:lnTo>
                    <a:pt x="47" y="127"/>
                  </a:lnTo>
                  <a:lnTo>
                    <a:pt x="45" y="127"/>
                  </a:lnTo>
                  <a:lnTo>
                    <a:pt x="43" y="125"/>
                  </a:lnTo>
                  <a:lnTo>
                    <a:pt x="40" y="127"/>
                  </a:lnTo>
                  <a:lnTo>
                    <a:pt x="40" y="127"/>
                  </a:lnTo>
                  <a:lnTo>
                    <a:pt x="38" y="127"/>
                  </a:lnTo>
                  <a:lnTo>
                    <a:pt x="36" y="130"/>
                  </a:lnTo>
                  <a:lnTo>
                    <a:pt x="33" y="127"/>
                  </a:lnTo>
                  <a:lnTo>
                    <a:pt x="31" y="127"/>
                  </a:lnTo>
                  <a:lnTo>
                    <a:pt x="26" y="125"/>
                  </a:lnTo>
                  <a:lnTo>
                    <a:pt x="26" y="127"/>
                  </a:lnTo>
                  <a:lnTo>
                    <a:pt x="24" y="127"/>
                  </a:lnTo>
                  <a:lnTo>
                    <a:pt x="24" y="123"/>
                  </a:lnTo>
                  <a:lnTo>
                    <a:pt x="24" y="120"/>
                  </a:lnTo>
                  <a:lnTo>
                    <a:pt x="21" y="118"/>
                  </a:lnTo>
                  <a:lnTo>
                    <a:pt x="19" y="111"/>
                  </a:lnTo>
                  <a:lnTo>
                    <a:pt x="19" y="109"/>
                  </a:lnTo>
                  <a:lnTo>
                    <a:pt x="19" y="106"/>
                  </a:lnTo>
                  <a:lnTo>
                    <a:pt x="19" y="106"/>
                  </a:lnTo>
                  <a:lnTo>
                    <a:pt x="19" y="104"/>
                  </a:lnTo>
                  <a:lnTo>
                    <a:pt x="19" y="99"/>
                  </a:lnTo>
                  <a:lnTo>
                    <a:pt x="17" y="97"/>
                  </a:lnTo>
                  <a:lnTo>
                    <a:pt x="14" y="92"/>
                  </a:lnTo>
                  <a:lnTo>
                    <a:pt x="14" y="90"/>
                  </a:lnTo>
                  <a:lnTo>
                    <a:pt x="12" y="87"/>
                  </a:lnTo>
                  <a:lnTo>
                    <a:pt x="10" y="87"/>
                  </a:lnTo>
                  <a:lnTo>
                    <a:pt x="7" y="85"/>
                  </a:lnTo>
                  <a:lnTo>
                    <a:pt x="7" y="85"/>
                  </a:lnTo>
                  <a:lnTo>
                    <a:pt x="5" y="85"/>
                  </a:lnTo>
                  <a:lnTo>
                    <a:pt x="5" y="80"/>
                  </a:lnTo>
                  <a:lnTo>
                    <a:pt x="5" y="73"/>
                  </a:lnTo>
                  <a:lnTo>
                    <a:pt x="3" y="71"/>
                  </a:lnTo>
                  <a:lnTo>
                    <a:pt x="0" y="68"/>
                  </a:lnTo>
                  <a:lnTo>
                    <a:pt x="0" y="68"/>
                  </a:lnTo>
                  <a:lnTo>
                    <a:pt x="0" y="61"/>
                  </a:lnTo>
                  <a:lnTo>
                    <a:pt x="0" y="57"/>
                  </a:lnTo>
                  <a:lnTo>
                    <a:pt x="3" y="52"/>
                  </a:lnTo>
                  <a:lnTo>
                    <a:pt x="5" y="50"/>
                  </a:lnTo>
                  <a:lnTo>
                    <a:pt x="7" y="47"/>
                  </a:lnTo>
                  <a:lnTo>
                    <a:pt x="10" y="42"/>
                  </a:lnTo>
                  <a:lnTo>
                    <a:pt x="12" y="40"/>
                  </a:lnTo>
                  <a:lnTo>
                    <a:pt x="12" y="42"/>
                  </a:lnTo>
                  <a:lnTo>
                    <a:pt x="19" y="54"/>
                  </a:lnTo>
                  <a:lnTo>
                    <a:pt x="24" y="59"/>
                  </a:lnTo>
                  <a:lnTo>
                    <a:pt x="29" y="59"/>
                  </a:lnTo>
                  <a:lnTo>
                    <a:pt x="31" y="59"/>
                  </a:lnTo>
                  <a:lnTo>
                    <a:pt x="36" y="59"/>
                  </a:lnTo>
                  <a:lnTo>
                    <a:pt x="38" y="59"/>
                  </a:lnTo>
                  <a:lnTo>
                    <a:pt x="40" y="59"/>
                  </a:lnTo>
                  <a:lnTo>
                    <a:pt x="45" y="59"/>
                  </a:lnTo>
                  <a:lnTo>
                    <a:pt x="47" y="59"/>
                  </a:lnTo>
                  <a:lnTo>
                    <a:pt x="50" y="59"/>
                  </a:lnTo>
                  <a:lnTo>
                    <a:pt x="54" y="52"/>
                  </a:lnTo>
                  <a:lnTo>
                    <a:pt x="57" y="50"/>
                  </a:lnTo>
                  <a:lnTo>
                    <a:pt x="59" y="50"/>
                  </a:lnTo>
                  <a:lnTo>
                    <a:pt x="66" y="50"/>
                  </a:lnTo>
                  <a:lnTo>
                    <a:pt x="69" y="50"/>
                  </a:lnTo>
                  <a:lnTo>
                    <a:pt x="69" y="52"/>
                  </a:lnTo>
                  <a:lnTo>
                    <a:pt x="71" y="52"/>
                  </a:lnTo>
                  <a:lnTo>
                    <a:pt x="78" y="54"/>
                  </a:lnTo>
                  <a:lnTo>
                    <a:pt x="80" y="54"/>
                  </a:lnTo>
                  <a:lnTo>
                    <a:pt x="85" y="52"/>
                  </a:lnTo>
                  <a:lnTo>
                    <a:pt x="88" y="52"/>
                  </a:lnTo>
                  <a:lnTo>
                    <a:pt x="90" y="52"/>
                  </a:lnTo>
                  <a:lnTo>
                    <a:pt x="95" y="50"/>
                  </a:lnTo>
                  <a:lnTo>
                    <a:pt x="97" y="50"/>
                  </a:lnTo>
                  <a:lnTo>
                    <a:pt x="99" y="47"/>
                  </a:lnTo>
                  <a:lnTo>
                    <a:pt x="102" y="42"/>
                  </a:lnTo>
                  <a:lnTo>
                    <a:pt x="104" y="38"/>
                  </a:lnTo>
                  <a:lnTo>
                    <a:pt x="104" y="28"/>
                  </a:lnTo>
                  <a:lnTo>
                    <a:pt x="114" y="19"/>
                  </a:lnTo>
                  <a:lnTo>
                    <a:pt x="116" y="16"/>
                  </a:lnTo>
                  <a:lnTo>
                    <a:pt x="116" y="9"/>
                  </a:lnTo>
                  <a:lnTo>
                    <a:pt x="118" y="2"/>
                  </a:lnTo>
                  <a:lnTo>
                    <a:pt x="121" y="0"/>
                  </a:lnTo>
                  <a:lnTo>
                    <a:pt x="125" y="0"/>
                  </a:lnTo>
                  <a:lnTo>
                    <a:pt x="142" y="0"/>
                  </a:lnTo>
                  <a:lnTo>
                    <a:pt x="144" y="2"/>
                  </a:lnTo>
                  <a:lnTo>
                    <a:pt x="149" y="2"/>
                  </a:lnTo>
                  <a:lnTo>
                    <a:pt x="151" y="2"/>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79" name="Freeform 1263">
              <a:extLst>
                <a:ext uri="{FF2B5EF4-FFF2-40B4-BE49-F238E27FC236}">
                  <a16:creationId xmlns:a16="http://schemas.microsoft.com/office/drawing/2014/main" id="{31BA5AF6-2A39-4072-8B1E-A2FF29E7106A}"/>
                </a:ext>
              </a:extLst>
            </p:cNvPr>
            <p:cNvSpPr>
              <a:spLocks/>
            </p:cNvSpPr>
            <p:nvPr/>
          </p:nvSpPr>
          <p:spPr bwMode="auto">
            <a:xfrm>
              <a:off x="7656990" y="4663835"/>
              <a:ext cx="301107" cy="253128"/>
            </a:xfrm>
            <a:custGeom>
              <a:avLst/>
              <a:gdLst>
                <a:gd name="T0" fmla="*/ 175 w 182"/>
                <a:gd name="T1" fmla="*/ 148 h 153"/>
                <a:gd name="T2" fmla="*/ 160 w 182"/>
                <a:gd name="T3" fmla="*/ 137 h 153"/>
                <a:gd name="T4" fmla="*/ 151 w 182"/>
                <a:gd name="T5" fmla="*/ 134 h 153"/>
                <a:gd name="T6" fmla="*/ 142 w 182"/>
                <a:gd name="T7" fmla="*/ 137 h 153"/>
                <a:gd name="T8" fmla="*/ 137 w 182"/>
                <a:gd name="T9" fmla="*/ 137 h 153"/>
                <a:gd name="T10" fmla="*/ 120 w 182"/>
                <a:gd name="T11" fmla="*/ 137 h 153"/>
                <a:gd name="T12" fmla="*/ 134 w 182"/>
                <a:gd name="T13" fmla="*/ 120 h 153"/>
                <a:gd name="T14" fmla="*/ 142 w 182"/>
                <a:gd name="T15" fmla="*/ 122 h 153"/>
                <a:gd name="T16" fmla="*/ 137 w 182"/>
                <a:gd name="T17" fmla="*/ 115 h 153"/>
                <a:gd name="T18" fmla="*/ 134 w 182"/>
                <a:gd name="T19" fmla="*/ 106 h 153"/>
                <a:gd name="T20" fmla="*/ 130 w 182"/>
                <a:gd name="T21" fmla="*/ 92 h 153"/>
                <a:gd name="T22" fmla="*/ 120 w 182"/>
                <a:gd name="T23" fmla="*/ 85 h 153"/>
                <a:gd name="T24" fmla="*/ 109 w 182"/>
                <a:gd name="T25" fmla="*/ 80 h 153"/>
                <a:gd name="T26" fmla="*/ 92 w 182"/>
                <a:gd name="T27" fmla="*/ 75 h 153"/>
                <a:gd name="T28" fmla="*/ 73 w 182"/>
                <a:gd name="T29" fmla="*/ 70 h 153"/>
                <a:gd name="T30" fmla="*/ 68 w 182"/>
                <a:gd name="T31" fmla="*/ 66 h 153"/>
                <a:gd name="T32" fmla="*/ 61 w 182"/>
                <a:gd name="T33" fmla="*/ 63 h 153"/>
                <a:gd name="T34" fmla="*/ 54 w 182"/>
                <a:gd name="T35" fmla="*/ 59 h 153"/>
                <a:gd name="T36" fmla="*/ 52 w 182"/>
                <a:gd name="T37" fmla="*/ 47 h 153"/>
                <a:gd name="T38" fmla="*/ 49 w 182"/>
                <a:gd name="T39" fmla="*/ 52 h 153"/>
                <a:gd name="T40" fmla="*/ 42 w 182"/>
                <a:gd name="T41" fmla="*/ 63 h 153"/>
                <a:gd name="T42" fmla="*/ 33 w 182"/>
                <a:gd name="T43" fmla="*/ 61 h 153"/>
                <a:gd name="T44" fmla="*/ 31 w 182"/>
                <a:gd name="T45" fmla="*/ 52 h 153"/>
                <a:gd name="T46" fmla="*/ 19 w 182"/>
                <a:gd name="T47" fmla="*/ 44 h 153"/>
                <a:gd name="T48" fmla="*/ 31 w 182"/>
                <a:gd name="T49" fmla="*/ 40 h 153"/>
                <a:gd name="T50" fmla="*/ 47 w 182"/>
                <a:gd name="T51" fmla="*/ 37 h 153"/>
                <a:gd name="T52" fmla="*/ 52 w 182"/>
                <a:gd name="T53" fmla="*/ 28 h 153"/>
                <a:gd name="T54" fmla="*/ 31 w 182"/>
                <a:gd name="T55" fmla="*/ 33 h 153"/>
                <a:gd name="T56" fmla="*/ 19 w 182"/>
                <a:gd name="T57" fmla="*/ 26 h 153"/>
                <a:gd name="T58" fmla="*/ 9 w 182"/>
                <a:gd name="T59" fmla="*/ 19 h 153"/>
                <a:gd name="T60" fmla="*/ 2 w 182"/>
                <a:gd name="T61" fmla="*/ 16 h 153"/>
                <a:gd name="T62" fmla="*/ 9 w 182"/>
                <a:gd name="T63" fmla="*/ 7 h 153"/>
                <a:gd name="T64" fmla="*/ 26 w 182"/>
                <a:gd name="T65" fmla="*/ 0 h 153"/>
                <a:gd name="T66" fmla="*/ 40 w 182"/>
                <a:gd name="T67" fmla="*/ 4 h 153"/>
                <a:gd name="T68" fmla="*/ 57 w 182"/>
                <a:gd name="T69" fmla="*/ 14 h 153"/>
                <a:gd name="T70" fmla="*/ 59 w 182"/>
                <a:gd name="T71" fmla="*/ 35 h 153"/>
                <a:gd name="T72" fmla="*/ 66 w 182"/>
                <a:gd name="T73" fmla="*/ 37 h 153"/>
                <a:gd name="T74" fmla="*/ 75 w 182"/>
                <a:gd name="T75" fmla="*/ 52 h 153"/>
                <a:gd name="T76" fmla="*/ 85 w 182"/>
                <a:gd name="T77" fmla="*/ 47 h 153"/>
                <a:gd name="T78" fmla="*/ 97 w 182"/>
                <a:gd name="T79" fmla="*/ 33 h 153"/>
                <a:gd name="T80" fmla="*/ 111 w 182"/>
                <a:gd name="T81" fmla="*/ 28 h 153"/>
                <a:gd name="T82" fmla="*/ 120 w 182"/>
                <a:gd name="T83" fmla="*/ 19 h 153"/>
                <a:gd name="T84" fmla="*/ 134 w 182"/>
                <a:gd name="T85" fmla="*/ 23 h 153"/>
                <a:gd name="T86" fmla="*/ 151 w 182"/>
                <a:gd name="T87" fmla="*/ 30 h 153"/>
                <a:gd name="T88" fmla="*/ 160 w 182"/>
                <a:gd name="T89" fmla="*/ 33 h 153"/>
                <a:gd name="T90" fmla="*/ 170 w 182"/>
                <a:gd name="T91" fmla="*/ 35 h 153"/>
                <a:gd name="T92" fmla="*/ 172 w 182"/>
                <a:gd name="T93" fmla="*/ 37 h 153"/>
                <a:gd name="T94" fmla="*/ 177 w 182"/>
                <a:gd name="T95" fmla="*/ 40 h 153"/>
                <a:gd name="T96" fmla="*/ 177 w 182"/>
                <a:gd name="T97" fmla="*/ 111 h 153"/>
                <a:gd name="T98" fmla="*/ 182 w 182"/>
                <a:gd name="T9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2" h="153">
                  <a:moveTo>
                    <a:pt x="182" y="153"/>
                  </a:moveTo>
                  <a:lnTo>
                    <a:pt x="182" y="151"/>
                  </a:lnTo>
                  <a:lnTo>
                    <a:pt x="177" y="151"/>
                  </a:lnTo>
                  <a:lnTo>
                    <a:pt x="175" y="148"/>
                  </a:lnTo>
                  <a:lnTo>
                    <a:pt x="170" y="144"/>
                  </a:lnTo>
                  <a:lnTo>
                    <a:pt x="168" y="141"/>
                  </a:lnTo>
                  <a:lnTo>
                    <a:pt x="163" y="137"/>
                  </a:lnTo>
                  <a:lnTo>
                    <a:pt x="160" y="137"/>
                  </a:lnTo>
                  <a:lnTo>
                    <a:pt x="160" y="134"/>
                  </a:lnTo>
                  <a:lnTo>
                    <a:pt x="158" y="132"/>
                  </a:lnTo>
                  <a:lnTo>
                    <a:pt x="153" y="134"/>
                  </a:lnTo>
                  <a:lnTo>
                    <a:pt x="151" y="134"/>
                  </a:lnTo>
                  <a:lnTo>
                    <a:pt x="146" y="134"/>
                  </a:lnTo>
                  <a:lnTo>
                    <a:pt x="144" y="137"/>
                  </a:lnTo>
                  <a:lnTo>
                    <a:pt x="142" y="134"/>
                  </a:lnTo>
                  <a:lnTo>
                    <a:pt x="142" y="137"/>
                  </a:lnTo>
                  <a:lnTo>
                    <a:pt x="142" y="139"/>
                  </a:lnTo>
                  <a:lnTo>
                    <a:pt x="139" y="139"/>
                  </a:lnTo>
                  <a:lnTo>
                    <a:pt x="137" y="139"/>
                  </a:lnTo>
                  <a:lnTo>
                    <a:pt x="137" y="137"/>
                  </a:lnTo>
                  <a:lnTo>
                    <a:pt x="130" y="139"/>
                  </a:lnTo>
                  <a:lnTo>
                    <a:pt x="123" y="139"/>
                  </a:lnTo>
                  <a:lnTo>
                    <a:pt x="120" y="139"/>
                  </a:lnTo>
                  <a:lnTo>
                    <a:pt x="120" y="137"/>
                  </a:lnTo>
                  <a:lnTo>
                    <a:pt x="123" y="132"/>
                  </a:lnTo>
                  <a:lnTo>
                    <a:pt x="125" y="127"/>
                  </a:lnTo>
                  <a:lnTo>
                    <a:pt x="130" y="122"/>
                  </a:lnTo>
                  <a:lnTo>
                    <a:pt x="134" y="120"/>
                  </a:lnTo>
                  <a:lnTo>
                    <a:pt x="137" y="122"/>
                  </a:lnTo>
                  <a:lnTo>
                    <a:pt x="139" y="122"/>
                  </a:lnTo>
                  <a:lnTo>
                    <a:pt x="142" y="125"/>
                  </a:lnTo>
                  <a:lnTo>
                    <a:pt x="142" y="122"/>
                  </a:lnTo>
                  <a:lnTo>
                    <a:pt x="139" y="120"/>
                  </a:lnTo>
                  <a:lnTo>
                    <a:pt x="139" y="118"/>
                  </a:lnTo>
                  <a:lnTo>
                    <a:pt x="142" y="118"/>
                  </a:lnTo>
                  <a:lnTo>
                    <a:pt x="137" y="115"/>
                  </a:lnTo>
                  <a:lnTo>
                    <a:pt x="134" y="113"/>
                  </a:lnTo>
                  <a:lnTo>
                    <a:pt x="137" y="113"/>
                  </a:lnTo>
                  <a:lnTo>
                    <a:pt x="137" y="108"/>
                  </a:lnTo>
                  <a:lnTo>
                    <a:pt x="134" y="106"/>
                  </a:lnTo>
                  <a:lnTo>
                    <a:pt x="132" y="101"/>
                  </a:lnTo>
                  <a:lnTo>
                    <a:pt x="130" y="94"/>
                  </a:lnTo>
                  <a:lnTo>
                    <a:pt x="132" y="94"/>
                  </a:lnTo>
                  <a:lnTo>
                    <a:pt x="130" y="92"/>
                  </a:lnTo>
                  <a:lnTo>
                    <a:pt x="127" y="87"/>
                  </a:lnTo>
                  <a:lnTo>
                    <a:pt x="125" y="87"/>
                  </a:lnTo>
                  <a:lnTo>
                    <a:pt x="123" y="87"/>
                  </a:lnTo>
                  <a:lnTo>
                    <a:pt x="120" y="85"/>
                  </a:lnTo>
                  <a:lnTo>
                    <a:pt x="120" y="85"/>
                  </a:lnTo>
                  <a:lnTo>
                    <a:pt x="118" y="82"/>
                  </a:lnTo>
                  <a:lnTo>
                    <a:pt x="116" y="82"/>
                  </a:lnTo>
                  <a:lnTo>
                    <a:pt x="109" y="80"/>
                  </a:lnTo>
                  <a:lnTo>
                    <a:pt x="106" y="80"/>
                  </a:lnTo>
                  <a:lnTo>
                    <a:pt x="99" y="75"/>
                  </a:lnTo>
                  <a:lnTo>
                    <a:pt x="97" y="75"/>
                  </a:lnTo>
                  <a:lnTo>
                    <a:pt x="92" y="75"/>
                  </a:lnTo>
                  <a:lnTo>
                    <a:pt x="87" y="73"/>
                  </a:lnTo>
                  <a:lnTo>
                    <a:pt x="83" y="70"/>
                  </a:lnTo>
                  <a:lnTo>
                    <a:pt x="78" y="70"/>
                  </a:lnTo>
                  <a:lnTo>
                    <a:pt x="73" y="70"/>
                  </a:lnTo>
                  <a:lnTo>
                    <a:pt x="73" y="68"/>
                  </a:lnTo>
                  <a:lnTo>
                    <a:pt x="73" y="68"/>
                  </a:lnTo>
                  <a:lnTo>
                    <a:pt x="68" y="68"/>
                  </a:lnTo>
                  <a:lnTo>
                    <a:pt x="68" y="66"/>
                  </a:lnTo>
                  <a:lnTo>
                    <a:pt x="66" y="63"/>
                  </a:lnTo>
                  <a:lnTo>
                    <a:pt x="64" y="63"/>
                  </a:lnTo>
                  <a:lnTo>
                    <a:pt x="61" y="61"/>
                  </a:lnTo>
                  <a:lnTo>
                    <a:pt x="61" y="63"/>
                  </a:lnTo>
                  <a:lnTo>
                    <a:pt x="59" y="61"/>
                  </a:lnTo>
                  <a:lnTo>
                    <a:pt x="57" y="61"/>
                  </a:lnTo>
                  <a:lnTo>
                    <a:pt x="54" y="59"/>
                  </a:lnTo>
                  <a:lnTo>
                    <a:pt x="54" y="59"/>
                  </a:lnTo>
                  <a:lnTo>
                    <a:pt x="52" y="56"/>
                  </a:lnTo>
                  <a:lnTo>
                    <a:pt x="49" y="54"/>
                  </a:lnTo>
                  <a:lnTo>
                    <a:pt x="49" y="52"/>
                  </a:lnTo>
                  <a:lnTo>
                    <a:pt x="52" y="47"/>
                  </a:lnTo>
                  <a:lnTo>
                    <a:pt x="52" y="44"/>
                  </a:lnTo>
                  <a:lnTo>
                    <a:pt x="49" y="47"/>
                  </a:lnTo>
                  <a:lnTo>
                    <a:pt x="49" y="49"/>
                  </a:lnTo>
                  <a:lnTo>
                    <a:pt x="49" y="52"/>
                  </a:lnTo>
                  <a:lnTo>
                    <a:pt x="47" y="56"/>
                  </a:lnTo>
                  <a:lnTo>
                    <a:pt x="47" y="59"/>
                  </a:lnTo>
                  <a:lnTo>
                    <a:pt x="45" y="61"/>
                  </a:lnTo>
                  <a:lnTo>
                    <a:pt x="42" y="63"/>
                  </a:lnTo>
                  <a:lnTo>
                    <a:pt x="38" y="66"/>
                  </a:lnTo>
                  <a:lnTo>
                    <a:pt x="35" y="63"/>
                  </a:lnTo>
                  <a:lnTo>
                    <a:pt x="35" y="63"/>
                  </a:lnTo>
                  <a:lnTo>
                    <a:pt x="33" y="61"/>
                  </a:lnTo>
                  <a:lnTo>
                    <a:pt x="33" y="56"/>
                  </a:lnTo>
                  <a:lnTo>
                    <a:pt x="33" y="54"/>
                  </a:lnTo>
                  <a:lnTo>
                    <a:pt x="33" y="52"/>
                  </a:lnTo>
                  <a:lnTo>
                    <a:pt x="31" y="52"/>
                  </a:lnTo>
                  <a:lnTo>
                    <a:pt x="28" y="47"/>
                  </a:lnTo>
                  <a:lnTo>
                    <a:pt x="26" y="44"/>
                  </a:lnTo>
                  <a:lnTo>
                    <a:pt x="21" y="44"/>
                  </a:lnTo>
                  <a:lnTo>
                    <a:pt x="19" y="44"/>
                  </a:lnTo>
                  <a:lnTo>
                    <a:pt x="19" y="42"/>
                  </a:lnTo>
                  <a:lnTo>
                    <a:pt x="21" y="40"/>
                  </a:lnTo>
                  <a:lnTo>
                    <a:pt x="26" y="40"/>
                  </a:lnTo>
                  <a:lnTo>
                    <a:pt x="31" y="40"/>
                  </a:lnTo>
                  <a:lnTo>
                    <a:pt x="38" y="37"/>
                  </a:lnTo>
                  <a:lnTo>
                    <a:pt x="40" y="35"/>
                  </a:lnTo>
                  <a:lnTo>
                    <a:pt x="42" y="37"/>
                  </a:lnTo>
                  <a:lnTo>
                    <a:pt x="47" y="37"/>
                  </a:lnTo>
                  <a:lnTo>
                    <a:pt x="49" y="37"/>
                  </a:lnTo>
                  <a:lnTo>
                    <a:pt x="49" y="33"/>
                  </a:lnTo>
                  <a:lnTo>
                    <a:pt x="52" y="30"/>
                  </a:lnTo>
                  <a:lnTo>
                    <a:pt x="52" y="28"/>
                  </a:lnTo>
                  <a:lnTo>
                    <a:pt x="49" y="30"/>
                  </a:lnTo>
                  <a:lnTo>
                    <a:pt x="42" y="33"/>
                  </a:lnTo>
                  <a:lnTo>
                    <a:pt x="35" y="33"/>
                  </a:lnTo>
                  <a:lnTo>
                    <a:pt x="31" y="33"/>
                  </a:lnTo>
                  <a:lnTo>
                    <a:pt x="28" y="33"/>
                  </a:lnTo>
                  <a:lnTo>
                    <a:pt x="26" y="33"/>
                  </a:lnTo>
                  <a:lnTo>
                    <a:pt x="21" y="30"/>
                  </a:lnTo>
                  <a:lnTo>
                    <a:pt x="19" y="26"/>
                  </a:lnTo>
                  <a:lnTo>
                    <a:pt x="16" y="23"/>
                  </a:lnTo>
                  <a:lnTo>
                    <a:pt x="16" y="21"/>
                  </a:lnTo>
                  <a:lnTo>
                    <a:pt x="12" y="19"/>
                  </a:lnTo>
                  <a:lnTo>
                    <a:pt x="9" y="19"/>
                  </a:lnTo>
                  <a:lnTo>
                    <a:pt x="7" y="19"/>
                  </a:lnTo>
                  <a:lnTo>
                    <a:pt x="7" y="21"/>
                  </a:lnTo>
                  <a:lnTo>
                    <a:pt x="0" y="19"/>
                  </a:lnTo>
                  <a:lnTo>
                    <a:pt x="2" y="16"/>
                  </a:lnTo>
                  <a:lnTo>
                    <a:pt x="2" y="14"/>
                  </a:lnTo>
                  <a:lnTo>
                    <a:pt x="5" y="9"/>
                  </a:lnTo>
                  <a:lnTo>
                    <a:pt x="7" y="7"/>
                  </a:lnTo>
                  <a:lnTo>
                    <a:pt x="9" y="7"/>
                  </a:lnTo>
                  <a:lnTo>
                    <a:pt x="12" y="7"/>
                  </a:lnTo>
                  <a:lnTo>
                    <a:pt x="16" y="4"/>
                  </a:lnTo>
                  <a:lnTo>
                    <a:pt x="21" y="0"/>
                  </a:lnTo>
                  <a:lnTo>
                    <a:pt x="26" y="0"/>
                  </a:lnTo>
                  <a:lnTo>
                    <a:pt x="31" y="0"/>
                  </a:lnTo>
                  <a:lnTo>
                    <a:pt x="35" y="0"/>
                  </a:lnTo>
                  <a:lnTo>
                    <a:pt x="38" y="2"/>
                  </a:lnTo>
                  <a:lnTo>
                    <a:pt x="40" y="4"/>
                  </a:lnTo>
                  <a:lnTo>
                    <a:pt x="42" y="7"/>
                  </a:lnTo>
                  <a:lnTo>
                    <a:pt x="54" y="7"/>
                  </a:lnTo>
                  <a:lnTo>
                    <a:pt x="54" y="11"/>
                  </a:lnTo>
                  <a:lnTo>
                    <a:pt x="57" y="14"/>
                  </a:lnTo>
                  <a:lnTo>
                    <a:pt x="57" y="21"/>
                  </a:lnTo>
                  <a:lnTo>
                    <a:pt x="57" y="23"/>
                  </a:lnTo>
                  <a:lnTo>
                    <a:pt x="57" y="28"/>
                  </a:lnTo>
                  <a:lnTo>
                    <a:pt x="59" y="35"/>
                  </a:lnTo>
                  <a:lnTo>
                    <a:pt x="61" y="42"/>
                  </a:lnTo>
                  <a:lnTo>
                    <a:pt x="61" y="40"/>
                  </a:lnTo>
                  <a:lnTo>
                    <a:pt x="64" y="37"/>
                  </a:lnTo>
                  <a:lnTo>
                    <a:pt x="66" y="37"/>
                  </a:lnTo>
                  <a:lnTo>
                    <a:pt x="68" y="44"/>
                  </a:lnTo>
                  <a:lnTo>
                    <a:pt x="68" y="44"/>
                  </a:lnTo>
                  <a:lnTo>
                    <a:pt x="71" y="49"/>
                  </a:lnTo>
                  <a:lnTo>
                    <a:pt x="75" y="52"/>
                  </a:lnTo>
                  <a:lnTo>
                    <a:pt x="78" y="52"/>
                  </a:lnTo>
                  <a:lnTo>
                    <a:pt x="83" y="52"/>
                  </a:lnTo>
                  <a:lnTo>
                    <a:pt x="83" y="47"/>
                  </a:lnTo>
                  <a:lnTo>
                    <a:pt x="85" y="47"/>
                  </a:lnTo>
                  <a:lnTo>
                    <a:pt x="87" y="44"/>
                  </a:lnTo>
                  <a:lnTo>
                    <a:pt x="90" y="42"/>
                  </a:lnTo>
                  <a:lnTo>
                    <a:pt x="94" y="37"/>
                  </a:lnTo>
                  <a:lnTo>
                    <a:pt x="97" y="33"/>
                  </a:lnTo>
                  <a:lnTo>
                    <a:pt x="99" y="30"/>
                  </a:lnTo>
                  <a:lnTo>
                    <a:pt x="101" y="30"/>
                  </a:lnTo>
                  <a:lnTo>
                    <a:pt x="109" y="30"/>
                  </a:lnTo>
                  <a:lnTo>
                    <a:pt x="111" y="28"/>
                  </a:lnTo>
                  <a:lnTo>
                    <a:pt x="111" y="26"/>
                  </a:lnTo>
                  <a:lnTo>
                    <a:pt x="111" y="23"/>
                  </a:lnTo>
                  <a:lnTo>
                    <a:pt x="116" y="21"/>
                  </a:lnTo>
                  <a:lnTo>
                    <a:pt x="120" y="19"/>
                  </a:lnTo>
                  <a:lnTo>
                    <a:pt x="123" y="19"/>
                  </a:lnTo>
                  <a:lnTo>
                    <a:pt x="125" y="21"/>
                  </a:lnTo>
                  <a:lnTo>
                    <a:pt x="130" y="23"/>
                  </a:lnTo>
                  <a:lnTo>
                    <a:pt x="134" y="23"/>
                  </a:lnTo>
                  <a:lnTo>
                    <a:pt x="137" y="23"/>
                  </a:lnTo>
                  <a:lnTo>
                    <a:pt x="137" y="26"/>
                  </a:lnTo>
                  <a:lnTo>
                    <a:pt x="146" y="28"/>
                  </a:lnTo>
                  <a:lnTo>
                    <a:pt x="151" y="30"/>
                  </a:lnTo>
                  <a:lnTo>
                    <a:pt x="153" y="33"/>
                  </a:lnTo>
                  <a:lnTo>
                    <a:pt x="156" y="33"/>
                  </a:lnTo>
                  <a:lnTo>
                    <a:pt x="160" y="33"/>
                  </a:lnTo>
                  <a:lnTo>
                    <a:pt x="160" y="33"/>
                  </a:lnTo>
                  <a:lnTo>
                    <a:pt x="163" y="33"/>
                  </a:lnTo>
                  <a:lnTo>
                    <a:pt x="165" y="33"/>
                  </a:lnTo>
                  <a:lnTo>
                    <a:pt x="168" y="33"/>
                  </a:lnTo>
                  <a:lnTo>
                    <a:pt x="170" y="35"/>
                  </a:lnTo>
                  <a:lnTo>
                    <a:pt x="172" y="35"/>
                  </a:lnTo>
                  <a:lnTo>
                    <a:pt x="172" y="37"/>
                  </a:lnTo>
                  <a:lnTo>
                    <a:pt x="172" y="37"/>
                  </a:lnTo>
                  <a:lnTo>
                    <a:pt x="172" y="37"/>
                  </a:lnTo>
                  <a:lnTo>
                    <a:pt x="175" y="37"/>
                  </a:lnTo>
                  <a:lnTo>
                    <a:pt x="175" y="37"/>
                  </a:lnTo>
                  <a:lnTo>
                    <a:pt x="177" y="37"/>
                  </a:lnTo>
                  <a:lnTo>
                    <a:pt x="177" y="40"/>
                  </a:lnTo>
                  <a:lnTo>
                    <a:pt x="179" y="80"/>
                  </a:lnTo>
                  <a:lnTo>
                    <a:pt x="179" y="104"/>
                  </a:lnTo>
                  <a:lnTo>
                    <a:pt x="177" y="111"/>
                  </a:lnTo>
                  <a:lnTo>
                    <a:pt x="177" y="111"/>
                  </a:lnTo>
                  <a:lnTo>
                    <a:pt x="179" y="115"/>
                  </a:lnTo>
                  <a:lnTo>
                    <a:pt x="179" y="130"/>
                  </a:lnTo>
                  <a:lnTo>
                    <a:pt x="179" y="148"/>
                  </a:lnTo>
                  <a:lnTo>
                    <a:pt x="182" y="153"/>
                  </a:lnTo>
                  <a:close/>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sp>
          <p:nvSpPr>
            <p:cNvPr id="6480" name="Freeform 1264">
              <a:extLst>
                <a:ext uri="{FF2B5EF4-FFF2-40B4-BE49-F238E27FC236}">
                  <a16:creationId xmlns:a16="http://schemas.microsoft.com/office/drawing/2014/main" id="{A2165895-FBC9-4249-916F-E785C6995D61}"/>
                </a:ext>
              </a:extLst>
            </p:cNvPr>
            <p:cNvSpPr>
              <a:spLocks/>
            </p:cNvSpPr>
            <p:nvPr/>
          </p:nvSpPr>
          <p:spPr bwMode="auto">
            <a:xfrm>
              <a:off x="7656990" y="4663835"/>
              <a:ext cx="301107" cy="253128"/>
            </a:xfrm>
            <a:custGeom>
              <a:avLst/>
              <a:gdLst>
                <a:gd name="T0" fmla="*/ 175 w 182"/>
                <a:gd name="T1" fmla="*/ 148 h 153"/>
                <a:gd name="T2" fmla="*/ 160 w 182"/>
                <a:gd name="T3" fmla="*/ 137 h 153"/>
                <a:gd name="T4" fmla="*/ 151 w 182"/>
                <a:gd name="T5" fmla="*/ 134 h 153"/>
                <a:gd name="T6" fmla="*/ 142 w 182"/>
                <a:gd name="T7" fmla="*/ 137 h 153"/>
                <a:gd name="T8" fmla="*/ 137 w 182"/>
                <a:gd name="T9" fmla="*/ 137 h 153"/>
                <a:gd name="T10" fmla="*/ 120 w 182"/>
                <a:gd name="T11" fmla="*/ 137 h 153"/>
                <a:gd name="T12" fmla="*/ 134 w 182"/>
                <a:gd name="T13" fmla="*/ 120 h 153"/>
                <a:gd name="T14" fmla="*/ 142 w 182"/>
                <a:gd name="T15" fmla="*/ 122 h 153"/>
                <a:gd name="T16" fmla="*/ 137 w 182"/>
                <a:gd name="T17" fmla="*/ 115 h 153"/>
                <a:gd name="T18" fmla="*/ 134 w 182"/>
                <a:gd name="T19" fmla="*/ 106 h 153"/>
                <a:gd name="T20" fmla="*/ 130 w 182"/>
                <a:gd name="T21" fmla="*/ 92 h 153"/>
                <a:gd name="T22" fmla="*/ 120 w 182"/>
                <a:gd name="T23" fmla="*/ 85 h 153"/>
                <a:gd name="T24" fmla="*/ 109 w 182"/>
                <a:gd name="T25" fmla="*/ 80 h 153"/>
                <a:gd name="T26" fmla="*/ 92 w 182"/>
                <a:gd name="T27" fmla="*/ 75 h 153"/>
                <a:gd name="T28" fmla="*/ 73 w 182"/>
                <a:gd name="T29" fmla="*/ 70 h 153"/>
                <a:gd name="T30" fmla="*/ 68 w 182"/>
                <a:gd name="T31" fmla="*/ 66 h 153"/>
                <a:gd name="T32" fmla="*/ 61 w 182"/>
                <a:gd name="T33" fmla="*/ 63 h 153"/>
                <a:gd name="T34" fmla="*/ 54 w 182"/>
                <a:gd name="T35" fmla="*/ 59 h 153"/>
                <a:gd name="T36" fmla="*/ 52 w 182"/>
                <a:gd name="T37" fmla="*/ 47 h 153"/>
                <a:gd name="T38" fmla="*/ 49 w 182"/>
                <a:gd name="T39" fmla="*/ 52 h 153"/>
                <a:gd name="T40" fmla="*/ 42 w 182"/>
                <a:gd name="T41" fmla="*/ 63 h 153"/>
                <a:gd name="T42" fmla="*/ 33 w 182"/>
                <a:gd name="T43" fmla="*/ 61 h 153"/>
                <a:gd name="T44" fmla="*/ 31 w 182"/>
                <a:gd name="T45" fmla="*/ 52 h 153"/>
                <a:gd name="T46" fmla="*/ 19 w 182"/>
                <a:gd name="T47" fmla="*/ 44 h 153"/>
                <a:gd name="T48" fmla="*/ 31 w 182"/>
                <a:gd name="T49" fmla="*/ 40 h 153"/>
                <a:gd name="T50" fmla="*/ 47 w 182"/>
                <a:gd name="T51" fmla="*/ 37 h 153"/>
                <a:gd name="T52" fmla="*/ 52 w 182"/>
                <a:gd name="T53" fmla="*/ 28 h 153"/>
                <a:gd name="T54" fmla="*/ 31 w 182"/>
                <a:gd name="T55" fmla="*/ 33 h 153"/>
                <a:gd name="T56" fmla="*/ 19 w 182"/>
                <a:gd name="T57" fmla="*/ 26 h 153"/>
                <a:gd name="T58" fmla="*/ 9 w 182"/>
                <a:gd name="T59" fmla="*/ 19 h 153"/>
                <a:gd name="T60" fmla="*/ 2 w 182"/>
                <a:gd name="T61" fmla="*/ 16 h 153"/>
                <a:gd name="T62" fmla="*/ 9 w 182"/>
                <a:gd name="T63" fmla="*/ 7 h 153"/>
                <a:gd name="T64" fmla="*/ 26 w 182"/>
                <a:gd name="T65" fmla="*/ 0 h 153"/>
                <a:gd name="T66" fmla="*/ 40 w 182"/>
                <a:gd name="T67" fmla="*/ 4 h 153"/>
                <a:gd name="T68" fmla="*/ 57 w 182"/>
                <a:gd name="T69" fmla="*/ 14 h 153"/>
                <a:gd name="T70" fmla="*/ 59 w 182"/>
                <a:gd name="T71" fmla="*/ 35 h 153"/>
                <a:gd name="T72" fmla="*/ 66 w 182"/>
                <a:gd name="T73" fmla="*/ 37 h 153"/>
                <a:gd name="T74" fmla="*/ 75 w 182"/>
                <a:gd name="T75" fmla="*/ 52 h 153"/>
                <a:gd name="T76" fmla="*/ 85 w 182"/>
                <a:gd name="T77" fmla="*/ 47 h 153"/>
                <a:gd name="T78" fmla="*/ 97 w 182"/>
                <a:gd name="T79" fmla="*/ 33 h 153"/>
                <a:gd name="T80" fmla="*/ 111 w 182"/>
                <a:gd name="T81" fmla="*/ 28 h 153"/>
                <a:gd name="T82" fmla="*/ 120 w 182"/>
                <a:gd name="T83" fmla="*/ 19 h 153"/>
                <a:gd name="T84" fmla="*/ 134 w 182"/>
                <a:gd name="T85" fmla="*/ 23 h 153"/>
                <a:gd name="T86" fmla="*/ 151 w 182"/>
                <a:gd name="T87" fmla="*/ 30 h 153"/>
                <a:gd name="T88" fmla="*/ 160 w 182"/>
                <a:gd name="T89" fmla="*/ 33 h 153"/>
                <a:gd name="T90" fmla="*/ 170 w 182"/>
                <a:gd name="T91" fmla="*/ 35 h 153"/>
                <a:gd name="T92" fmla="*/ 172 w 182"/>
                <a:gd name="T93" fmla="*/ 37 h 153"/>
                <a:gd name="T94" fmla="*/ 177 w 182"/>
                <a:gd name="T95" fmla="*/ 40 h 153"/>
                <a:gd name="T96" fmla="*/ 177 w 182"/>
                <a:gd name="T97" fmla="*/ 111 h 153"/>
                <a:gd name="T98" fmla="*/ 182 w 182"/>
                <a:gd name="T9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2" h="153">
                  <a:moveTo>
                    <a:pt x="182" y="153"/>
                  </a:moveTo>
                  <a:lnTo>
                    <a:pt x="182" y="151"/>
                  </a:lnTo>
                  <a:lnTo>
                    <a:pt x="177" y="151"/>
                  </a:lnTo>
                  <a:lnTo>
                    <a:pt x="175" y="148"/>
                  </a:lnTo>
                  <a:lnTo>
                    <a:pt x="170" y="144"/>
                  </a:lnTo>
                  <a:lnTo>
                    <a:pt x="168" y="141"/>
                  </a:lnTo>
                  <a:lnTo>
                    <a:pt x="163" y="137"/>
                  </a:lnTo>
                  <a:lnTo>
                    <a:pt x="160" y="137"/>
                  </a:lnTo>
                  <a:lnTo>
                    <a:pt x="160" y="134"/>
                  </a:lnTo>
                  <a:lnTo>
                    <a:pt x="158" y="132"/>
                  </a:lnTo>
                  <a:lnTo>
                    <a:pt x="153" y="134"/>
                  </a:lnTo>
                  <a:lnTo>
                    <a:pt x="151" y="134"/>
                  </a:lnTo>
                  <a:lnTo>
                    <a:pt x="146" y="134"/>
                  </a:lnTo>
                  <a:lnTo>
                    <a:pt x="144" y="137"/>
                  </a:lnTo>
                  <a:lnTo>
                    <a:pt x="142" y="134"/>
                  </a:lnTo>
                  <a:lnTo>
                    <a:pt x="142" y="137"/>
                  </a:lnTo>
                  <a:lnTo>
                    <a:pt x="142" y="139"/>
                  </a:lnTo>
                  <a:lnTo>
                    <a:pt x="139" y="139"/>
                  </a:lnTo>
                  <a:lnTo>
                    <a:pt x="137" y="139"/>
                  </a:lnTo>
                  <a:lnTo>
                    <a:pt x="137" y="137"/>
                  </a:lnTo>
                  <a:lnTo>
                    <a:pt x="130" y="139"/>
                  </a:lnTo>
                  <a:lnTo>
                    <a:pt x="123" y="139"/>
                  </a:lnTo>
                  <a:lnTo>
                    <a:pt x="120" y="139"/>
                  </a:lnTo>
                  <a:lnTo>
                    <a:pt x="120" y="137"/>
                  </a:lnTo>
                  <a:lnTo>
                    <a:pt x="123" y="132"/>
                  </a:lnTo>
                  <a:lnTo>
                    <a:pt x="125" y="127"/>
                  </a:lnTo>
                  <a:lnTo>
                    <a:pt x="130" y="122"/>
                  </a:lnTo>
                  <a:lnTo>
                    <a:pt x="134" y="120"/>
                  </a:lnTo>
                  <a:lnTo>
                    <a:pt x="137" y="122"/>
                  </a:lnTo>
                  <a:lnTo>
                    <a:pt x="139" y="122"/>
                  </a:lnTo>
                  <a:lnTo>
                    <a:pt x="142" y="125"/>
                  </a:lnTo>
                  <a:lnTo>
                    <a:pt x="142" y="122"/>
                  </a:lnTo>
                  <a:lnTo>
                    <a:pt x="139" y="120"/>
                  </a:lnTo>
                  <a:lnTo>
                    <a:pt x="139" y="118"/>
                  </a:lnTo>
                  <a:lnTo>
                    <a:pt x="142" y="118"/>
                  </a:lnTo>
                  <a:lnTo>
                    <a:pt x="137" y="115"/>
                  </a:lnTo>
                  <a:lnTo>
                    <a:pt x="134" y="113"/>
                  </a:lnTo>
                  <a:lnTo>
                    <a:pt x="137" y="113"/>
                  </a:lnTo>
                  <a:lnTo>
                    <a:pt x="137" y="108"/>
                  </a:lnTo>
                  <a:lnTo>
                    <a:pt x="134" y="106"/>
                  </a:lnTo>
                  <a:lnTo>
                    <a:pt x="132" y="101"/>
                  </a:lnTo>
                  <a:lnTo>
                    <a:pt x="130" y="94"/>
                  </a:lnTo>
                  <a:lnTo>
                    <a:pt x="132" y="94"/>
                  </a:lnTo>
                  <a:lnTo>
                    <a:pt x="130" y="92"/>
                  </a:lnTo>
                  <a:lnTo>
                    <a:pt x="127" y="87"/>
                  </a:lnTo>
                  <a:lnTo>
                    <a:pt x="125" y="87"/>
                  </a:lnTo>
                  <a:lnTo>
                    <a:pt x="123" y="87"/>
                  </a:lnTo>
                  <a:lnTo>
                    <a:pt x="120" y="85"/>
                  </a:lnTo>
                  <a:lnTo>
                    <a:pt x="120" y="85"/>
                  </a:lnTo>
                  <a:lnTo>
                    <a:pt x="118" y="82"/>
                  </a:lnTo>
                  <a:lnTo>
                    <a:pt x="116" y="82"/>
                  </a:lnTo>
                  <a:lnTo>
                    <a:pt x="109" y="80"/>
                  </a:lnTo>
                  <a:lnTo>
                    <a:pt x="106" y="80"/>
                  </a:lnTo>
                  <a:lnTo>
                    <a:pt x="99" y="75"/>
                  </a:lnTo>
                  <a:lnTo>
                    <a:pt x="97" y="75"/>
                  </a:lnTo>
                  <a:lnTo>
                    <a:pt x="92" y="75"/>
                  </a:lnTo>
                  <a:lnTo>
                    <a:pt x="87" y="73"/>
                  </a:lnTo>
                  <a:lnTo>
                    <a:pt x="83" y="70"/>
                  </a:lnTo>
                  <a:lnTo>
                    <a:pt x="78" y="70"/>
                  </a:lnTo>
                  <a:lnTo>
                    <a:pt x="73" y="70"/>
                  </a:lnTo>
                  <a:lnTo>
                    <a:pt x="73" y="68"/>
                  </a:lnTo>
                  <a:lnTo>
                    <a:pt x="73" y="68"/>
                  </a:lnTo>
                  <a:lnTo>
                    <a:pt x="68" y="68"/>
                  </a:lnTo>
                  <a:lnTo>
                    <a:pt x="68" y="66"/>
                  </a:lnTo>
                  <a:lnTo>
                    <a:pt x="66" y="63"/>
                  </a:lnTo>
                  <a:lnTo>
                    <a:pt x="64" y="63"/>
                  </a:lnTo>
                  <a:lnTo>
                    <a:pt x="61" y="61"/>
                  </a:lnTo>
                  <a:lnTo>
                    <a:pt x="61" y="63"/>
                  </a:lnTo>
                  <a:lnTo>
                    <a:pt x="59" y="61"/>
                  </a:lnTo>
                  <a:lnTo>
                    <a:pt x="57" y="61"/>
                  </a:lnTo>
                  <a:lnTo>
                    <a:pt x="54" y="59"/>
                  </a:lnTo>
                  <a:lnTo>
                    <a:pt x="54" y="59"/>
                  </a:lnTo>
                  <a:lnTo>
                    <a:pt x="52" y="56"/>
                  </a:lnTo>
                  <a:lnTo>
                    <a:pt x="49" y="54"/>
                  </a:lnTo>
                  <a:lnTo>
                    <a:pt x="49" y="52"/>
                  </a:lnTo>
                  <a:lnTo>
                    <a:pt x="52" y="47"/>
                  </a:lnTo>
                  <a:lnTo>
                    <a:pt x="52" y="44"/>
                  </a:lnTo>
                  <a:lnTo>
                    <a:pt x="49" y="47"/>
                  </a:lnTo>
                  <a:lnTo>
                    <a:pt x="49" y="49"/>
                  </a:lnTo>
                  <a:lnTo>
                    <a:pt x="49" y="52"/>
                  </a:lnTo>
                  <a:lnTo>
                    <a:pt x="47" y="56"/>
                  </a:lnTo>
                  <a:lnTo>
                    <a:pt x="47" y="59"/>
                  </a:lnTo>
                  <a:lnTo>
                    <a:pt x="45" y="61"/>
                  </a:lnTo>
                  <a:lnTo>
                    <a:pt x="42" y="63"/>
                  </a:lnTo>
                  <a:lnTo>
                    <a:pt x="38" y="66"/>
                  </a:lnTo>
                  <a:lnTo>
                    <a:pt x="35" y="63"/>
                  </a:lnTo>
                  <a:lnTo>
                    <a:pt x="35" y="63"/>
                  </a:lnTo>
                  <a:lnTo>
                    <a:pt x="33" y="61"/>
                  </a:lnTo>
                  <a:lnTo>
                    <a:pt x="33" y="56"/>
                  </a:lnTo>
                  <a:lnTo>
                    <a:pt x="33" y="54"/>
                  </a:lnTo>
                  <a:lnTo>
                    <a:pt x="33" y="52"/>
                  </a:lnTo>
                  <a:lnTo>
                    <a:pt x="31" y="52"/>
                  </a:lnTo>
                  <a:lnTo>
                    <a:pt x="28" y="47"/>
                  </a:lnTo>
                  <a:lnTo>
                    <a:pt x="26" y="44"/>
                  </a:lnTo>
                  <a:lnTo>
                    <a:pt x="21" y="44"/>
                  </a:lnTo>
                  <a:lnTo>
                    <a:pt x="19" y="44"/>
                  </a:lnTo>
                  <a:lnTo>
                    <a:pt x="19" y="42"/>
                  </a:lnTo>
                  <a:lnTo>
                    <a:pt x="21" y="40"/>
                  </a:lnTo>
                  <a:lnTo>
                    <a:pt x="26" y="40"/>
                  </a:lnTo>
                  <a:lnTo>
                    <a:pt x="31" y="40"/>
                  </a:lnTo>
                  <a:lnTo>
                    <a:pt x="38" y="37"/>
                  </a:lnTo>
                  <a:lnTo>
                    <a:pt x="40" y="35"/>
                  </a:lnTo>
                  <a:lnTo>
                    <a:pt x="42" y="37"/>
                  </a:lnTo>
                  <a:lnTo>
                    <a:pt x="47" y="37"/>
                  </a:lnTo>
                  <a:lnTo>
                    <a:pt x="49" y="37"/>
                  </a:lnTo>
                  <a:lnTo>
                    <a:pt x="49" y="33"/>
                  </a:lnTo>
                  <a:lnTo>
                    <a:pt x="52" y="30"/>
                  </a:lnTo>
                  <a:lnTo>
                    <a:pt x="52" y="28"/>
                  </a:lnTo>
                  <a:lnTo>
                    <a:pt x="49" y="30"/>
                  </a:lnTo>
                  <a:lnTo>
                    <a:pt x="42" y="33"/>
                  </a:lnTo>
                  <a:lnTo>
                    <a:pt x="35" y="33"/>
                  </a:lnTo>
                  <a:lnTo>
                    <a:pt x="31" y="33"/>
                  </a:lnTo>
                  <a:lnTo>
                    <a:pt x="28" y="33"/>
                  </a:lnTo>
                  <a:lnTo>
                    <a:pt x="26" y="33"/>
                  </a:lnTo>
                  <a:lnTo>
                    <a:pt x="21" y="30"/>
                  </a:lnTo>
                  <a:lnTo>
                    <a:pt x="19" y="26"/>
                  </a:lnTo>
                  <a:lnTo>
                    <a:pt x="16" y="23"/>
                  </a:lnTo>
                  <a:lnTo>
                    <a:pt x="16" y="21"/>
                  </a:lnTo>
                  <a:lnTo>
                    <a:pt x="12" y="19"/>
                  </a:lnTo>
                  <a:lnTo>
                    <a:pt x="9" y="19"/>
                  </a:lnTo>
                  <a:lnTo>
                    <a:pt x="7" y="19"/>
                  </a:lnTo>
                  <a:lnTo>
                    <a:pt x="7" y="21"/>
                  </a:lnTo>
                  <a:lnTo>
                    <a:pt x="0" y="19"/>
                  </a:lnTo>
                  <a:lnTo>
                    <a:pt x="2" y="16"/>
                  </a:lnTo>
                  <a:lnTo>
                    <a:pt x="2" y="14"/>
                  </a:lnTo>
                  <a:lnTo>
                    <a:pt x="5" y="9"/>
                  </a:lnTo>
                  <a:lnTo>
                    <a:pt x="7" y="7"/>
                  </a:lnTo>
                  <a:lnTo>
                    <a:pt x="9" y="7"/>
                  </a:lnTo>
                  <a:lnTo>
                    <a:pt x="12" y="7"/>
                  </a:lnTo>
                  <a:lnTo>
                    <a:pt x="16" y="4"/>
                  </a:lnTo>
                  <a:lnTo>
                    <a:pt x="21" y="0"/>
                  </a:lnTo>
                  <a:lnTo>
                    <a:pt x="26" y="0"/>
                  </a:lnTo>
                  <a:lnTo>
                    <a:pt x="31" y="0"/>
                  </a:lnTo>
                  <a:lnTo>
                    <a:pt x="35" y="0"/>
                  </a:lnTo>
                  <a:lnTo>
                    <a:pt x="38" y="2"/>
                  </a:lnTo>
                  <a:lnTo>
                    <a:pt x="40" y="4"/>
                  </a:lnTo>
                  <a:lnTo>
                    <a:pt x="42" y="7"/>
                  </a:lnTo>
                  <a:lnTo>
                    <a:pt x="54" y="7"/>
                  </a:lnTo>
                  <a:lnTo>
                    <a:pt x="54" y="11"/>
                  </a:lnTo>
                  <a:lnTo>
                    <a:pt x="57" y="14"/>
                  </a:lnTo>
                  <a:lnTo>
                    <a:pt x="57" y="21"/>
                  </a:lnTo>
                  <a:lnTo>
                    <a:pt x="57" y="23"/>
                  </a:lnTo>
                  <a:lnTo>
                    <a:pt x="57" y="28"/>
                  </a:lnTo>
                  <a:lnTo>
                    <a:pt x="59" y="35"/>
                  </a:lnTo>
                  <a:lnTo>
                    <a:pt x="61" y="42"/>
                  </a:lnTo>
                  <a:lnTo>
                    <a:pt x="61" y="40"/>
                  </a:lnTo>
                  <a:lnTo>
                    <a:pt x="64" y="37"/>
                  </a:lnTo>
                  <a:lnTo>
                    <a:pt x="66" y="37"/>
                  </a:lnTo>
                  <a:lnTo>
                    <a:pt x="68" y="44"/>
                  </a:lnTo>
                  <a:lnTo>
                    <a:pt x="68" y="44"/>
                  </a:lnTo>
                  <a:lnTo>
                    <a:pt x="71" y="49"/>
                  </a:lnTo>
                  <a:lnTo>
                    <a:pt x="75" y="52"/>
                  </a:lnTo>
                  <a:lnTo>
                    <a:pt x="78" y="52"/>
                  </a:lnTo>
                  <a:lnTo>
                    <a:pt x="83" y="52"/>
                  </a:lnTo>
                  <a:lnTo>
                    <a:pt x="83" y="47"/>
                  </a:lnTo>
                  <a:lnTo>
                    <a:pt x="85" y="47"/>
                  </a:lnTo>
                  <a:lnTo>
                    <a:pt x="87" y="44"/>
                  </a:lnTo>
                  <a:lnTo>
                    <a:pt x="90" y="42"/>
                  </a:lnTo>
                  <a:lnTo>
                    <a:pt x="94" y="37"/>
                  </a:lnTo>
                  <a:lnTo>
                    <a:pt x="97" y="33"/>
                  </a:lnTo>
                  <a:lnTo>
                    <a:pt x="99" y="30"/>
                  </a:lnTo>
                  <a:lnTo>
                    <a:pt x="101" y="30"/>
                  </a:lnTo>
                  <a:lnTo>
                    <a:pt x="109" y="30"/>
                  </a:lnTo>
                  <a:lnTo>
                    <a:pt x="111" y="28"/>
                  </a:lnTo>
                  <a:lnTo>
                    <a:pt x="111" y="26"/>
                  </a:lnTo>
                  <a:lnTo>
                    <a:pt x="111" y="23"/>
                  </a:lnTo>
                  <a:lnTo>
                    <a:pt x="116" y="21"/>
                  </a:lnTo>
                  <a:lnTo>
                    <a:pt x="120" y="19"/>
                  </a:lnTo>
                  <a:lnTo>
                    <a:pt x="123" y="19"/>
                  </a:lnTo>
                  <a:lnTo>
                    <a:pt x="125" y="21"/>
                  </a:lnTo>
                  <a:lnTo>
                    <a:pt x="130" y="23"/>
                  </a:lnTo>
                  <a:lnTo>
                    <a:pt x="134" y="23"/>
                  </a:lnTo>
                  <a:lnTo>
                    <a:pt x="137" y="23"/>
                  </a:lnTo>
                  <a:lnTo>
                    <a:pt x="137" y="26"/>
                  </a:lnTo>
                  <a:lnTo>
                    <a:pt x="146" y="28"/>
                  </a:lnTo>
                  <a:lnTo>
                    <a:pt x="151" y="30"/>
                  </a:lnTo>
                  <a:lnTo>
                    <a:pt x="153" y="33"/>
                  </a:lnTo>
                  <a:lnTo>
                    <a:pt x="156" y="33"/>
                  </a:lnTo>
                  <a:lnTo>
                    <a:pt x="160" y="33"/>
                  </a:lnTo>
                  <a:lnTo>
                    <a:pt x="160" y="33"/>
                  </a:lnTo>
                  <a:lnTo>
                    <a:pt x="163" y="33"/>
                  </a:lnTo>
                  <a:lnTo>
                    <a:pt x="165" y="33"/>
                  </a:lnTo>
                  <a:lnTo>
                    <a:pt x="168" y="33"/>
                  </a:lnTo>
                  <a:lnTo>
                    <a:pt x="170" y="35"/>
                  </a:lnTo>
                  <a:lnTo>
                    <a:pt x="172" y="35"/>
                  </a:lnTo>
                  <a:lnTo>
                    <a:pt x="172" y="37"/>
                  </a:lnTo>
                  <a:lnTo>
                    <a:pt x="172" y="37"/>
                  </a:lnTo>
                  <a:lnTo>
                    <a:pt x="172" y="37"/>
                  </a:lnTo>
                  <a:lnTo>
                    <a:pt x="175" y="37"/>
                  </a:lnTo>
                  <a:lnTo>
                    <a:pt x="175" y="37"/>
                  </a:lnTo>
                  <a:lnTo>
                    <a:pt x="177" y="37"/>
                  </a:lnTo>
                  <a:lnTo>
                    <a:pt x="177" y="40"/>
                  </a:lnTo>
                  <a:lnTo>
                    <a:pt x="179" y="80"/>
                  </a:lnTo>
                  <a:lnTo>
                    <a:pt x="179" y="104"/>
                  </a:lnTo>
                  <a:lnTo>
                    <a:pt x="177" y="111"/>
                  </a:lnTo>
                  <a:lnTo>
                    <a:pt x="177" y="111"/>
                  </a:lnTo>
                  <a:lnTo>
                    <a:pt x="179" y="115"/>
                  </a:lnTo>
                  <a:lnTo>
                    <a:pt x="179" y="130"/>
                  </a:lnTo>
                  <a:lnTo>
                    <a:pt x="179" y="148"/>
                  </a:lnTo>
                  <a:lnTo>
                    <a:pt x="182" y="153"/>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E600"/>
                </a:solidFill>
                <a:effectLst/>
                <a:uLnTx/>
                <a:uFillTx/>
                <a:latin typeface="Arial"/>
              </a:endParaRPr>
            </a:p>
          </p:txBody>
        </p:sp>
      </p:grpSp>
      <p:grpSp>
        <p:nvGrpSpPr>
          <p:cNvPr id="6481" name="Group 6480">
            <a:extLst>
              <a:ext uri="{FF2B5EF4-FFF2-40B4-BE49-F238E27FC236}">
                <a16:creationId xmlns:a16="http://schemas.microsoft.com/office/drawing/2014/main" id="{C8C17ACA-D402-43C0-A8C5-9F02B661EC46}"/>
              </a:ext>
            </a:extLst>
          </p:cNvPr>
          <p:cNvGrpSpPr/>
          <p:nvPr/>
        </p:nvGrpSpPr>
        <p:grpSpPr>
          <a:xfrm>
            <a:off x="692593" y="1075804"/>
            <a:ext cx="1379111" cy="541825"/>
            <a:chOff x="532689" y="4763765"/>
            <a:chExt cx="1521822" cy="597895"/>
          </a:xfrm>
        </p:grpSpPr>
        <p:sp>
          <p:nvSpPr>
            <p:cNvPr id="6482" name="Rectangle 6481">
              <a:extLst>
                <a:ext uri="{FF2B5EF4-FFF2-40B4-BE49-F238E27FC236}">
                  <a16:creationId xmlns:a16="http://schemas.microsoft.com/office/drawing/2014/main" id="{529548FC-67F6-4DD9-8961-F1B8358D3F4B}"/>
                </a:ext>
              </a:extLst>
            </p:cNvPr>
            <p:cNvSpPr/>
            <p:nvPr/>
          </p:nvSpPr>
          <p:spPr>
            <a:xfrm>
              <a:off x="532689" y="4763765"/>
              <a:ext cx="153462" cy="153462"/>
            </a:xfrm>
            <a:prstGeom prst="rect">
              <a:avLst/>
            </a:prstGeom>
            <a:solidFill>
              <a:srgbClr val="ADE2E5"/>
            </a:solidFill>
            <a:ln w="9525" cap="flat" cmpd="sng" algn="ctr">
              <a:solidFill>
                <a:srgbClr val="80808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483" name="Rectangle 6482">
              <a:extLst>
                <a:ext uri="{FF2B5EF4-FFF2-40B4-BE49-F238E27FC236}">
                  <a16:creationId xmlns:a16="http://schemas.microsoft.com/office/drawing/2014/main" id="{8C8FA99F-D6F2-4C7A-8949-617564EAD058}"/>
                </a:ext>
              </a:extLst>
            </p:cNvPr>
            <p:cNvSpPr/>
            <p:nvPr/>
          </p:nvSpPr>
          <p:spPr>
            <a:xfrm>
              <a:off x="532689" y="4966991"/>
              <a:ext cx="153462" cy="153462"/>
            </a:xfrm>
            <a:prstGeom prst="rect">
              <a:avLst/>
            </a:prstGeom>
            <a:solidFill>
              <a:srgbClr val="C3E2BC"/>
            </a:solidFill>
            <a:ln w="9525" cap="flat" cmpd="sng" algn="ctr">
              <a:solidFill>
                <a:srgbClr val="80808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484" name="Rectangle 6483">
              <a:extLst>
                <a:ext uri="{FF2B5EF4-FFF2-40B4-BE49-F238E27FC236}">
                  <a16:creationId xmlns:a16="http://schemas.microsoft.com/office/drawing/2014/main" id="{2D8D08F4-CB3B-43D8-8709-7F099085FB6B}"/>
                </a:ext>
              </a:extLst>
            </p:cNvPr>
            <p:cNvSpPr/>
            <p:nvPr/>
          </p:nvSpPr>
          <p:spPr>
            <a:xfrm>
              <a:off x="532689" y="5170217"/>
              <a:ext cx="153462" cy="153462"/>
            </a:xfrm>
            <a:prstGeom prst="rect">
              <a:avLst/>
            </a:prstGeom>
            <a:solidFill>
              <a:srgbClr val="FFE600"/>
            </a:solidFill>
            <a:ln w="9525" cap="flat" cmpd="sng" algn="ctr">
              <a:solidFill>
                <a:srgbClr val="80808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485" name="TextBox 6484">
              <a:extLst>
                <a:ext uri="{FF2B5EF4-FFF2-40B4-BE49-F238E27FC236}">
                  <a16:creationId xmlns:a16="http://schemas.microsoft.com/office/drawing/2014/main" id="{1CEC0636-D89F-421D-9D9F-CE6468A9B46F}"/>
                </a:ext>
              </a:extLst>
            </p:cNvPr>
            <p:cNvSpPr txBox="1"/>
            <p:nvPr/>
          </p:nvSpPr>
          <p:spPr>
            <a:xfrm>
              <a:off x="748258" y="4777600"/>
              <a:ext cx="423116" cy="141794"/>
            </a:xfrm>
            <a:prstGeom prst="rect">
              <a:avLst/>
            </a:prstGeom>
            <a:noFill/>
          </p:spPr>
          <p:txBody>
            <a:bodyPr wrap="non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en-US" sz="700" b="1" i="0" u="none" strike="noStrike" kern="0" cap="none" spc="-20" normalizeH="0" baseline="0" noProof="0" dirty="0">
                  <a:ln>
                    <a:noFill/>
                  </a:ln>
                  <a:solidFill>
                    <a:srgbClr val="000000"/>
                  </a:solidFill>
                  <a:effectLst/>
                  <a:uLnTx/>
                  <a:uFillTx/>
                  <a:latin typeface="EYInterstate" panose="02000503020000020004" pitchFamily="2" charset="0"/>
                </a:rPr>
                <a:t>Americas</a:t>
              </a:r>
            </a:p>
          </p:txBody>
        </p:sp>
        <p:sp>
          <p:nvSpPr>
            <p:cNvPr id="6486" name="Rectangle 6485">
              <a:extLst>
                <a:ext uri="{FF2B5EF4-FFF2-40B4-BE49-F238E27FC236}">
                  <a16:creationId xmlns:a16="http://schemas.microsoft.com/office/drawing/2014/main" id="{FFD2AE05-0ADC-4C91-BAF9-2C69C8BCCB94}"/>
                </a:ext>
              </a:extLst>
            </p:cNvPr>
            <p:cNvSpPr/>
            <p:nvPr/>
          </p:nvSpPr>
          <p:spPr>
            <a:xfrm>
              <a:off x="585445" y="4949749"/>
              <a:ext cx="1469066" cy="220757"/>
            </a:xfrm>
            <a:prstGeom prst="rect">
              <a:avLst/>
            </a:prstGeom>
          </p:spPr>
          <p:txBody>
            <a:bodyPr wrap="square">
              <a:spAutoFit/>
            </a:bodyPr>
            <a:lstStyle/>
            <a:p>
              <a:pPr marL="53975" marR="0" lvl="0" indent="0" defTabSz="914400" eaLnBrk="1" fontAlgn="auto" latinLnBrk="0" hangingPunct="1">
                <a:lnSpc>
                  <a:spcPct val="100000"/>
                </a:lnSpc>
                <a:spcBef>
                  <a:spcPts val="0"/>
                </a:spcBef>
                <a:spcAft>
                  <a:spcPts val="300"/>
                </a:spcAft>
                <a:buClrTx/>
                <a:buSzPct val="70000"/>
                <a:buFontTx/>
                <a:buNone/>
                <a:tabLst/>
                <a:defRPr/>
              </a:pPr>
              <a:r>
                <a:rPr kumimoji="0" lang="en-US" sz="700" b="1" i="0" u="none" strike="noStrike" kern="0" cap="none" spc="-20" normalizeH="0" baseline="0" noProof="0" dirty="0">
                  <a:ln>
                    <a:noFill/>
                  </a:ln>
                  <a:solidFill>
                    <a:srgbClr val="000000"/>
                  </a:solidFill>
                  <a:effectLst/>
                  <a:uLnTx/>
                  <a:uFillTx/>
                  <a:latin typeface="EYInterstate" panose="02000503020000020004" pitchFamily="2" charset="0"/>
                </a:rPr>
                <a:t>EMEIA</a:t>
              </a:r>
            </a:p>
          </p:txBody>
        </p:sp>
        <p:sp>
          <p:nvSpPr>
            <p:cNvPr id="6487" name="Rectangle 6486">
              <a:extLst>
                <a:ext uri="{FF2B5EF4-FFF2-40B4-BE49-F238E27FC236}">
                  <a16:creationId xmlns:a16="http://schemas.microsoft.com/office/drawing/2014/main" id="{A4C4CC04-4C81-4786-842E-AA7F3947F1AE}"/>
                </a:ext>
              </a:extLst>
            </p:cNvPr>
            <p:cNvSpPr/>
            <p:nvPr/>
          </p:nvSpPr>
          <p:spPr>
            <a:xfrm>
              <a:off x="580633" y="5140903"/>
              <a:ext cx="1469066" cy="220757"/>
            </a:xfrm>
            <a:prstGeom prst="rect">
              <a:avLst/>
            </a:prstGeom>
          </p:spPr>
          <p:txBody>
            <a:bodyPr wrap="square">
              <a:spAutoFit/>
            </a:bodyPr>
            <a:lstStyle/>
            <a:p>
              <a:pPr marL="53975" marR="0" lvl="0" indent="0" defTabSz="914400" eaLnBrk="1" fontAlgn="auto" latinLnBrk="0" hangingPunct="1">
                <a:lnSpc>
                  <a:spcPct val="100000"/>
                </a:lnSpc>
                <a:spcBef>
                  <a:spcPts val="0"/>
                </a:spcBef>
                <a:spcAft>
                  <a:spcPts val="300"/>
                </a:spcAft>
                <a:buClrTx/>
                <a:buSzPct val="70000"/>
                <a:buFontTx/>
                <a:buNone/>
                <a:tabLst/>
                <a:defRPr/>
              </a:pPr>
              <a:r>
                <a:rPr kumimoji="0" lang="en-US" sz="700" b="1" i="0" u="none" strike="noStrike" kern="0" cap="none" spc="-20" normalizeH="0" baseline="0" noProof="0" dirty="0">
                  <a:ln>
                    <a:noFill/>
                  </a:ln>
                  <a:solidFill>
                    <a:srgbClr val="000000"/>
                  </a:solidFill>
                  <a:effectLst/>
                  <a:uLnTx/>
                  <a:uFillTx/>
                  <a:latin typeface="EYInterstate" panose="02000503020000020004" pitchFamily="2" charset="0"/>
                </a:rPr>
                <a:t>Asia-Pac</a:t>
              </a:r>
            </a:p>
          </p:txBody>
        </p:sp>
      </p:grpSp>
      <p:sp>
        <p:nvSpPr>
          <p:cNvPr id="6488" name="Rectangle 6487">
            <a:extLst>
              <a:ext uri="{FF2B5EF4-FFF2-40B4-BE49-F238E27FC236}">
                <a16:creationId xmlns:a16="http://schemas.microsoft.com/office/drawing/2014/main" id="{30D638E8-F284-4091-A287-E51F179554DC}"/>
              </a:ext>
            </a:extLst>
          </p:cNvPr>
          <p:cNvSpPr/>
          <p:nvPr/>
        </p:nvSpPr>
        <p:spPr>
          <a:xfrm>
            <a:off x="621829" y="1048645"/>
            <a:ext cx="933318" cy="963001"/>
          </a:xfrm>
          <a:prstGeom prst="rect">
            <a:avLst/>
          </a:prstGeom>
          <a:noFill/>
          <a:ln w="6350" cap="flat" cmpd="sng" algn="ctr">
            <a:solidFill>
              <a:srgbClr val="999999"/>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endParaRPr>
          </a:p>
        </p:txBody>
      </p:sp>
      <p:sp>
        <p:nvSpPr>
          <p:cNvPr id="6489" name="Rectangle 6488">
            <a:extLst>
              <a:ext uri="{FF2B5EF4-FFF2-40B4-BE49-F238E27FC236}">
                <a16:creationId xmlns:a16="http://schemas.microsoft.com/office/drawing/2014/main" id="{FB36A1C8-43EA-4382-9456-319AFFC27B79}"/>
              </a:ext>
            </a:extLst>
          </p:cNvPr>
          <p:cNvSpPr/>
          <p:nvPr/>
        </p:nvSpPr>
        <p:spPr>
          <a:xfrm>
            <a:off x="692369" y="1649802"/>
            <a:ext cx="139071" cy="139071"/>
          </a:xfrm>
          <a:prstGeom prst="rect">
            <a:avLst/>
          </a:prstGeom>
          <a:solidFill>
            <a:srgbClr val="646464">
              <a:lumMod val="60000"/>
              <a:lumOff val="40000"/>
            </a:srgbClr>
          </a:solidFill>
          <a:ln w="9525" cap="flat" cmpd="sng" algn="ctr">
            <a:solidFill>
              <a:srgbClr val="80808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490" name="Rectangle 6489">
            <a:extLst>
              <a:ext uri="{FF2B5EF4-FFF2-40B4-BE49-F238E27FC236}">
                <a16:creationId xmlns:a16="http://schemas.microsoft.com/office/drawing/2014/main" id="{8BB4DAD5-C2EA-4431-8D58-BB1818977494}"/>
              </a:ext>
            </a:extLst>
          </p:cNvPr>
          <p:cNvSpPr/>
          <p:nvPr/>
        </p:nvSpPr>
        <p:spPr>
          <a:xfrm>
            <a:off x="818521" y="1625589"/>
            <a:ext cx="1138511" cy="200055"/>
          </a:xfrm>
          <a:prstGeom prst="rect">
            <a:avLst/>
          </a:prstGeom>
        </p:spPr>
        <p:txBody>
          <a:bodyPr wrap="square">
            <a:spAutoFit/>
          </a:bodyPr>
          <a:lstStyle/>
          <a:p>
            <a:pPr>
              <a:spcAft>
                <a:spcPts val="300"/>
              </a:spcAft>
              <a:buSzPct val="70000"/>
              <a:defRPr/>
            </a:pPr>
            <a:r>
              <a:rPr lang="en-US" sz="700" b="1" spc="-20" dirty="0">
                <a:solidFill>
                  <a:srgbClr val="000000"/>
                </a:solidFill>
                <a:latin typeface="EYInterstate" panose="02000503020000020004" pitchFamily="2" charset="0"/>
              </a:rPr>
              <a:t>No EY presence</a:t>
            </a:r>
          </a:p>
        </p:txBody>
      </p:sp>
      <p:grpSp>
        <p:nvGrpSpPr>
          <p:cNvPr id="6491" name="Group 6490">
            <a:extLst>
              <a:ext uri="{FF2B5EF4-FFF2-40B4-BE49-F238E27FC236}">
                <a16:creationId xmlns:a16="http://schemas.microsoft.com/office/drawing/2014/main" id="{A73C34E6-2954-40F8-BEF1-90BE0FC65B4C}"/>
              </a:ext>
            </a:extLst>
          </p:cNvPr>
          <p:cNvGrpSpPr/>
          <p:nvPr/>
        </p:nvGrpSpPr>
        <p:grpSpPr>
          <a:xfrm>
            <a:off x="2657633" y="1636247"/>
            <a:ext cx="8423306" cy="3698440"/>
            <a:chOff x="794298" y="1986300"/>
            <a:chExt cx="8003282" cy="3586511"/>
          </a:xfrm>
        </p:grpSpPr>
        <p:sp>
          <p:nvSpPr>
            <p:cNvPr id="6492" name="Rectangle 6491">
              <a:extLst>
                <a:ext uri="{FF2B5EF4-FFF2-40B4-BE49-F238E27FC236}">
                  <a16:creationId xmlns:a16="http://schemas.microsoft.com/office/drawing/2014/main" id="{9476BF7C-B289-446A-9603-4864918CFE0F}"/>
                </a:ext>
              </a:extLst>
            </p:cNvPr>
            <p:cNvSpPr/>
            <p:nvPr/>
          </p:nvSpPr>
          <p:spPr>
            <a:xfrm>
              <a:off x="7550538" y="5341979"/>
              <a:ext cx="968058"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Oceania</a:t>
              </a:r>
            </a:p>
          </p:txBody>
        </p:sp>
        <p:sp>
          <p:nvSpPr>
            <p:cNvPr id="6493" name="Rectangle 6492">
              <a:extLst>
                <a:ext uri="{FF2B5EF4-FFF2-40B4-BE49-F238E27FC236}">
                  <a16:creationId xmlns:a16="http://schemas.microsoft.com/office/drawing/2014/main" id="{D96BBB5B-1BC7-4E55-BBF0-89E0C2FBB966}"/>
                </a:ext>
              </a:extLst>
            </p:cNvPr>
            <p:cNvSpPr/>
            <p:nvPr/>
          </p:nvSpPr>
          <p:spPr>
            <a:xfrm>
              <a:off x="7045798" y="4139190"/>
              <a:ext cx="1340415"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err="1">
                  <a:ln>
                    <a:noFill/>
                  </a:ln>
                  <a:solidFill>
                    <a:srgbClr val="000000"/>
                  </a:solidFill>
                  <a:effectLst/>
                  <a:uLnTx/>
                  <a:uFillTx/>
                  <a:latin typeface="EYInterstate" panose="02000503020000020004" pitchFamily="2" charset="0"/>
                </a:rPr>
                <a:t>Asean</a:t>
              </a:r>
              <a:endParaRPr kumimoji="0" lang="en-US" sz="900" b="1" i="0" u="none" strike="noStrike" kern="0" cap="none" spc="-20" normalizeH="0" baseline="0" noProof="0" dirty="0">
                <a:ln>
                  <a:noFill/>
                </a:ln>
                <a:solidFill>
                  <a:srgbClr val="000000"/>
                </a:solidFill>
                <a:effectLst/>
                <a:uLnTx/>
                <a:uFillTx/>
                <a:latin typeface="EYInterstate" panose="02000503020000020004" pitchFamily="2" charset="0"/>
              </a:endParaRPr>
            </a:p>
          </p:txBody>
        </p:sp>
        <p:sp>
          <p:nvSpPr>
            <p:cNvPr id="6494" name="Rectangle 6493">
              <a:extLst>
                <a:ext uri="{FF2B5EF4-FFF2-40B4-BE49-F238E27FC236}">
                  <a16:creationId xmlns:a16="http://schemas.microsoft.com/office/drawing/2014/main" id="{962234BA-E59D-4230-A5C8-1AD527361329}"/>
                </a:ext>
              </a:extLst>
            </p:cNvPr>
            <p:cNvSpPr/>
            <p:nvPr/>
          </p:nvSpPr>
          <p:spPr>
            <a:xfrm>
              <a:off x="7698689" y="3405520"/>
              <a:ext cx="1098891"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Japan</a:t>
              </a:r>
            </a:p>
          </p:txBody>
        </p:sp>
        <p:sp>
          <p:nvSpPr>
            <p:cNvPr id="6495" name="Rectangle 6494">
              <a:extLst>
                <a:ext uri="{FF2B5EF4-FFF2-40B4-BE49-F238E27FC236}">
                  <a16:creationId xmlns:a16="http://schemas.microsoft.com/office/drawing/2014/main" id="{94659BD9-0075-4332-9D8C-B82F59BE4790}"/>
                </a:ext>
              </a:extLst>
            </p:cNvPr>
            <p:cNvSpPr/>
            <p:nvPr/>
          </p:nvSpPr>
          <p:spPr>
            <a:xfrm>
              <a:off x="7236272" y="3490128"/>
              <a:ext cx="765977"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Korea</a:t>
              </a:r>
            </a:p>
          </p:txBody>
        </p:sp>
        <p:sp>
          <p:nvSpPr>
            <p:cNvPr id="6496" name="Rectangle 6495">
              <a:extLst>
                <a:ext uri="{FF2B5EF4-FFF2-40B4-BE49-F238E27FC236}">
                  <a16:creationId xmlns:a16="http://schemas.microsoft.com/office/drawing/2014/main" id="{6C6AD706-5F84-4292-9718-B6F5680589FC}"/>
                </a:ext>
              </a:extLst>
            </p:cNvPr>
            <p:cNvSpPr/>
            <p:nvPr/>
          </p:nvSpPr>
          <p:spPr>
            <a:xfrm>
              <a:off x="6346681" y="3369005"/>
              <a:ext cx="1345591"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Greater</a:t>
              </a:r>
              <a:r>
                <a:rPr kumimoji="0" lang="en-US" sz="900" b="0" i="0" u="none" strike="noStrike" kern="0" cap="none" spc="-20" normalizeH="0" baseline="0" noProof="0" dirty="0">
                  <a:ln>
                    <a:noFill/>
                  </a:ln>
                  <a:solidFill>
                    <a:srgbClr val="000000"/>
                  </a:solidFill>
                  <a:effectLst/>
                  <a:uLnTx/>
                  <a:uFillTx/>
                </a:rPr>
                <a:t> </a:t>
              </a: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China</a:t>
              </a:r>
            </a:p>
          </p:txBody>
        </p:sp>
        <p:sp>
          <p:nvSpPr>
            <p:cNvPr id="6497" name="Rectangle 6496">
              <a:extLst>
                <a:ext uri="{FF2B5EF4-FFF2-40B4-BE49-F238E27FC236}">
                  <a16:creationId xmlns:a16="http://schemas.microsoft.com/office/drawing/2014/main" id="{CEEA6503-9590-4455-AD23-25A96F26873F}"/>
                </a:ext>
              </a:extLst>
            </p:cNvPr>
            <p:cNvSpPr/>
            <p:nvPr/>
          </p:nvSpPr>
          <p:spPr>
            <a:xfrm>
              <a:off x="3522858" y="3112569"/>
              <a:ext cx="1057525"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WEM</a:t>
              </a:r>
            </a:p>
          </p:txBody>
        </p:sp>
        <p:sp>
          <p:nvSpPr>
            <p:cNvPr id="6498" name="Rectangle 6497">
              <a:extLst>
                <a:ext uri="{FF2B5EF4-FFF2-40B4-BE49-F238E27FC236}">
                  <a16:creationId xmlns:a16="http://schemas.microsoft.com/office/drawing/2014/main" id="{83A2F7B0-2328-4468-9895-134BEA7B2680}"/>
                </a:ext>
              </a:extLst>
            </p:cNvPr>
            <p:cNvSpPr/>
            <p:nvPr/>
          </p:nvSpPr>
          <p:spPr>
            <a:xfrm>
              <a:off x="3687262" y="4574023"/>
              <a:ext cx="1165847"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Africa</a:t>
              </a:r>
            </a:p>
          </p:txBody>
        </p:sp>
        <p:sp>
          <p:nvSpPr>
            <p:cNvPr id="6499" name="Rectangle 6498">
              <a:extLst>
                <a:ext uri="{FF2B5EF4-FFF2-40B4-BE49-F238E27FC236}">
                  <a16:creationId xmlns:a16="http://schemas.microsoft.com/office/drawing/2014/main" id="{F4F3CE1E-65EB-4701-8D70-2AEA9278E35F}"/>
                </a:ext>
              </a:extLst>
            </p:cNvPr>
            <p:cNvSpPr/>
            <p:nvPr/>
          </p:nvSpPr>
          <p:spPr>
            <a:xfrm>
              <a:off x="5741537" y="3862605"/>
              <a:ext cx="451713"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India</a:t>
              </a:r>
            </a:p>
          </p:txBody>
        </p:sp>
        <p:sp>
          <p:nvSpPr>
            <p:cNvPr id="6500" name="Rectangle 6499">
              <a:extLst>
                <a:ext uri="{FF2B5EF4-FFF2-40B4-BE49-F238E27FC236}">
                  <a16:creationId xmlns:a16="http://schemas.microsoft.com/office/drawing/2014/main" id="{88A1D178-9213-4FA1-9815-DC1B466F565E}"/>
                </a:ext>
              </a:extLst>
            </p:cNvPr>
            <p:cNvSpPr/>
            <p:nvPr/>
          </p:nvSpPr>
          <p:spPr>
            <a:xfrm>
              <a:off x="3842380" y="1986300"/>
              <a:ext cx="1332402"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Nordics</a:t>
              </a:r>
            </a:p>
          </p:txBody>
        </p:sp>
        <p:sp>
          <p:nvSpPr>
            <p:cNvPr id="6501" name="Rectangle 6500">
              <a:extLst>
                <a:ext uri="{FF2B5EF4-FFF2-40B4-BE49-F238E27FC236}">
                  <a16:creationId xmlns:a16="http://schemas.microsoft.com/office/drawing/2014/main" id="{24C4464B-25BA-4959-B091-E257644CCEF8}"/>
                </a:ext>
              </a:extLst>
            </p:cNvPr>
            <p:cNvSpPr/>
            <p:nvPr/>
          </p:nvSpPr>
          <p:spPr>
            <a:xfrm>
              <a:off x="3239333" y="2475675"/>
              <a:ext cx="1009650"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UK &amp; Ireland</a:t>
              </a:r>
            </a:p>
          </p:txBody>
        </p:sp>
        <p:sp>
          <p:nvSpPr>
            <p:cNvPr id="6502" name="Rectangle 6501">
              <a:extLst>
                <a:ext uri="{FF2B5EF4-FFF2-40B4-BE49-F238E27FC236}">
                  <a16:creationId xmlns:a16="http://schemas.microsoft.com/office/drawing/2014/main" id="{295551C2-C586-4E67-A614-DAC1BD6A00F8}"/>
                </a:ext>
              </a:extLst>
            </p:cNvPr>
            <p:cNvSpPr/>
            <p:nvPr/>
          </p:nvSpPr>
          <p:spPr>
            <a:xfrm>
              <a:off x="3924311" y="3277933"/>
              <a:ext cx="985962"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Mediterranean</a:t>
              </a:r>
            </a:p>
          </p:txBody>
        </p:sp>
        <p:sp>
          <p:nvSpPr>
            <p:cNvPr id="6503" name="Rectangle 6502">
              <a:extLst>
                <a:ext uri="{FF2B5EF4-FFF2-40B4-BE49-F238E27FC236}">
                  <a16:creationId xmlns:a16="http://schemas.microsoft.com/office/drawing/2014/main" id="{D6F535E0-28C6-43D3-B271-AB77F505DCD5}"/>
                </a:ext>
              </a:extLst>
            </p:cNvPr>
            <p:cNvSpPr/>
            <p:nvPr/>
          </p:nvSpPr>
          <p:spPr>
            <a:xfrm>
              <a:off x="4123654" y="2845747"/>
              <a:ext cx="1140302"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GSA</a:t>
              </a:r>
            </a:p>
          </p:txBody>
        </p:sp>
        <p:sp>
          <p:nvSpPr>
            <p:cNvPr id="6504" name="Rectangle 6503">
              <a:extLst>
                <a:ext uri="{FF2B5EF4-FFF2-40B4-BE49-F238E27FC236}">
                  <a16:creationId xmlns:a16="http://schemas.microsoft.com/office/drawing/2014/main" id="{8A908C69-EDD4-4BDF-AF6F-4AC105611CDA}"/>
                </a:ext>
              </a:extLst>
            </p:cNvPr>
            <p:cNvSpPr/>
            <p:nvPr/>
          </p:nvSpPr>
          <p:spPr>
            <a:xfrm>
              <a:off x="4775607" y="2750255"/>
              <a:ext cx="2238755"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CESA</a:t>
              </a:r>
            </a:p>
          </p:txBody>
        </p:sp>
        <p:sp>
          <p:nvSpPr>
            <p:cNvPr id="6505" name="Rectangle 6504">
              <a:extLst>
                <a:ext uri="{FF2B5EF4-FFF2-40B4-BE49-F238E27FC236}">
                  <a16:creationId xmlns:a16="http://schemas.microsoft.com/office/drawing/2014/main" id="{966BD593-C86C-4DAE-A3F6-417FBA181C9C}"/>
                </a:ext>
              </a:extLst>
            </p:cNvPr>
            <p:cNvSpPr/>
            <p:nvPr/>
          </p:nvSpPr>
          <p:spPr>
            <a:xfrm>
              <a:off x="5208500" y="4144163"/>
              <a:ext cx="918741" cy="5078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Middle East and North Africa</a:t>
              </a:r>
            </a:p>
          </p:txBody>
        </p:sp>
        <p:sp>
          <p:nvSpPr>
            <p:cNvPr id="6506" name="TextBox 6505">
              <a:extLst>
                <a:ext uri="{FF2B5EF4-FFF2-40B4-BE49-F238E27FC236}">
                  <a16:creationId xmlns:a16="http://schemas.microsoft.com/office/drawing/2014/main" id="{EBFEC6D3-7B11-4A1A-AF79-8270DD11C9B4}"/>
                </a:ext>
              </a:extLst>
            </p:cNvPr>
            <p:cNvSpPr txBox="1"/>
            <p:nvPr/>
          </p:nvSpPr>
          <p:spPr>
            <a:xfrm>
              <a:off x="2575319" y="3522023"/>
              <a:ext cx="396262" cy="154658"/>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en-US" sz="900" b="1" i="0" u="none" strike="noStrike" kern="0" cap="none" spc="0" normalizeH="0" baseline="0" noProof="0" dirty="0">
                  <a:ln>
                    <a:noFill/>
                  </a:ln>
                  <a:solidFill>
                    <a:srgbClr val="000000"/>
                  </a:solidFill>
                  <a:effectLst/>
                  <a:uLnTx/>
                  <a:uFillTx/>
                  <a:latin typeface="EYInterstate" panose="02000503020000020004" pitchFamily="2" charset="0"/>
                </a:rPr>
                <a:t>Israel</a:t>
              </a:r>
              <a:endParaRPr kumimoji="0" lang="en-US" sz="900" b="0" i="0" u="none" strike="noStrike" kern="0" cap="none" spc="0" normalizeH="0" baseline="0" noProof="0" dirty="0">
                <a:ln>
                  <a:noFill/>
                </a:ln>
                <a:solidFill>
                  <a:srgbClr val="000000"/>
                </a:solidFill>
                <a:effectLst/>
                <a:uLnTx/>
                <a:uFillTx/>
                <a:latin typeface="EYInterstate" panose="02000503020000020004" pitchFamily="2" charset="0"/>
              </a:endParaRPr>
            </a:p>
          </p:txBody>
        </p:sp>
        <p:sp>
          <p:nvSpPr>
            <p:cNvPr id="6507" name="Rectangle 6506">
              <a:extLst>
                <a:ext uri="{FF2B5EF4-FFF2-40B4-BE49-F238E27FC236}">
                  <a16:creationId xmlns:a16="http://schemas.microsoft.com/office/drawing/2014/main" id="{23B0F6E1-38A0-424D-8FF8-BE0CBD11541C}"/>
                </a:ext>
              </a:extLst>
            </p:cNvPr>
            <p:cNvSpPr/>
            <p:nvPr/>
          </p:nvSpPr>
          <p:spPr>
            <a:xfrm>
              <a:off x="1007311" y="2595322"/>
              <a:ext cx="1260531"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Canada</a:t>
              </a:r>
            </a:p>
          </p:txBody>
        </p:sp>
        <p:sp>
          <p:nvSpPr>
            <p:cNvPr id="6508" name="Rectangle 6507">
              <a:extLst>
                <a:ext uri="{FF2B5EF4-FFF2-40B4-BE49-F238E27FC236}">
                  <a16:creationId xmlns:a16="http://schemas.microsoft.com/office/drawing/2014/main" id="{6DF92433-1484-4FF9-8F68-582FBF3522C2}"/>
                </a:ext>
              </a:extLst>
            </p:cNvPr>
            <p:cNvSpPr/>
            <p:nvPr/>
          </p:nvSpPr>
          <p:spPr>
            <a:xfrm>
              <a:off x="1228989" y="3030320"/>
              <a:ext cx="1260531"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US-Central</a:t>
              </a:r>
            </a:p>
          </p:txBody>
        </p:sp>
        <p:sp>
          <p:nvSpPr>
            <p:cNvPr id="6509" name="Rectangle 6508">
              <a:extLst>
                <a:ext uri="{FF2B5EF4-FFF2-40B4-BE49-F238E27FC236}">
                  <a16:creationId xmlns:a16="http://schemas.microsoft.com/office/drawing/2014/main" id="{9207A3CF-FC24-47C9-AD27-4A94559766E0}"/>
                </a:ext>
              </a:extLst>
            </p:cNvPr>
            <p:cNvSpPr/>
            <p:nvPr/>
          </p:nvSpPr>
          <p:spPr>
            <a:xfrm>
              <a:off x="931604" y="3441835"/>
              <a:ext cx="849525"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US-West</a:t>
              </a:r>
            </a:p>
          </p:txBody>
        </p:sp>
        <p:sp>
          <p:nvSpPr>
            <p:cNvPr id="6510" name="Rectangle 6509">
              <a:extLst>
                <a:ext uri="{FF2B5EF4-FFF2-40B4-BE49-F238E27FC236}">
                  <a16:creationId xmlns:a16="http://schemas.microsoft.com/office/drawing/2014/main" id="{DC6093DA-26BB-41B0-9E43-FA5C7CF15869}"/>
                </a:ext>
              </a:extLst>
            </p:cNvPr>
            <p:cNvSpPr/>
            <p:nvPr/>
          </p:nvSpPr>
          <p:spPr>
            <a:xfrm>
              <a:off x="2155612" y="4825208"/>
              <a:ext cx="957858"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err="1">
                  <a:ln>
                    <a:noFill/>
                  </a:ln>
                  <a:solidFill>
                    <a:srgbClr val="000000"/>
                  </a:solidFill>
                  <a:effectLst/>
                  <a:uLnTx/>
                  <a:uFillTx/>
                  <a:latin typeface="EYInterstate" panose="02000503020000020004" pitchFamily="2" charset="0"/>
                </a:rPr>
                <a:t>Latam</a:t>
              </a: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 South</a:t>
              </a:r>
            </a:p>
          </p:txBody>
        </p:sp>
        <p:sp>
          <p:nvSpPr>
            <p:cNvPr id="6511" name="Rectangle 6510">
              <a:extLst>
                <a:ext uri="{FF2B5EF4-FFF2-40B4-BE49-F238E27FC236}">
                  <a16:creationId xmlns:a16="http://schemas.microsoft.com/office/drawing/2014/main" id="{45D6993C-91C5-4D33-8B0C-B7B0158068D0}"/>
                </a:ext>
              </a:extLst>
            </p:cNvPr>
            <p:cNvSpPr/>
            <p:nvPr/>
          </p:nvSpPr>
          <p:spPr>
            <a:xfrm>
              <a:off x="794298" y="3256119"/>
              <a:ext cx="1866259"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Financial Services Offices</a:t>
              </a:r>
            </a:p>
          </p:txBody>
        </p:sp>
        <p:sp>
          <p:nvSpPr>
            <p:cNvPr id="6512" name="Rectangle 6511">
              <a:extLst>
                <a:ext uri="{FF2B5EF4-FFF2-40B4-BE49-F238E27FC236}">
                  <a16:creationId xmlns:a16="http://schemas.microsoft.com/office/drawing/2014/main" id="{3ADACA9B-234D-4130-8D30-CC7AFBFD2426}"/>
                </a:ext>
              </a:extLst>
            </p:cNvPr>
            <p:cNvSpPr/>
            <p:nvPr/>
          </p:nvSpPr>
          <p:spPr>
            <a:xfrm>
              <a:off x="1980353" y="2972054"/>
              <a:ext cx="1260531"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300"/>
                </a:spcAft>
                <a:buClrTx/>
                <a:buSzPct val="70000"/>
                <a:buFontTx/>
                <a:buNone/>
                <a:tabLst/>
                <a:defRPr/>
              </a:pP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US-East</a:t>
              </a:r>
            </a:p>
          </p:txBody>
        </p:sp>
        <p:sp>
          <p:nvSpPr>
            <p:cNvPr id="6513" name="Rectangle 6512">
              <a:extLst>
                <a:ext uri="{FF2B5EF4-FFF2-40B4-BE49-F238E27FC236}">
                  <a16:creationId xmlns:a16="http://schemas.microsoft.com/office/drawing/2014/main" id="{45A3FBE7-6DC8-4EE9-834F-F2DDD5845FF3}"/>
                </a:ext>
              </a:extLst>
            </p:cNvPr>
            <p:cNvSpPr/>
            <p:nvPr/>
          </p:nvSpPr>
          <p:spPr>
            <a:xfrm>
              <a:off x="990300" y="3999610"/>
              <a:ext cx="1260531" cy="2308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Pct val="70000"/>
                <a:buFontTx/>
                <a:buNone/>
                <a:tabLst/>
                <a:defRPr/>
              </a:pPr>
              <a:r>
                <a:rPr kumimoji="0" lang="en-US" sz="900" b="1" i="0" u="none" strike="noStrike" kern="0" cap="none" spc="-20" normalizeH="0" baseline="0" noProof="0" dirty="0" err="1">
                  <a:ln>
                    <a:noFill/>
                  </a:ln>
                  <a:solidFill>
                    <a:srgbClr val="000000"/>
                  </a:solidFill>
                  <a:effectLst/>
                  <a:uLnTx/>
                  <a:uFillTx/>
                  <a:latin typeface="EYInterstate" panose="02000503020000020004" pitchFamily="2" charset="0"/>
                </a:rPr>
                <a:t>Latam</a:t>
              </a:r>
              <a:r>
                <a:rPr kumimoji="0" lang="en-US" sz="900" b="1" i="0" u="none" strike="noStrike" kern="0" cap="none" spc="-20" normalizeH="0" baseline="0" noProof="0" dirty="0">
                  <a:ln>
                    <a:noFill/>
                  </a:ln>
                  <a:solidFill>
                    <a:srgbClr val="000000"/>
                  </a:solidFill>
                  <a:effectLst/>
                  <a:uLnTx/>
                  <a:uFillTx/>
                  <a:latin typeface="EYInterstate" panose="02000503020000020004" pitchFamily="2" charset="0"/>
                </a:rPr>
                <a:t> North</a:t>
              </a:r>
            </a:p>
          </p:txBody>
        </p:sp>
      </p:grpSp>
      <p:sp>
        <p:nvSpPr>
          <p:cNvPr id="6514" name="Freeform 606">
            <a:extLst>
              <a:ext uri="{FF2B5EF4-FFF2-40B4-BE49-F238E27FC236}">
                <a16:creationId xmlns:a16="http://schemas.microsoft.com/office/drawing/2014/main" id="{4CCD6E22-D7F0-4CD7-9DAD-B96BF072FAFF}"/>
              </a:ext>
            </a:extLst>
          </p:cNvPr>
          <p:cNvSpPr>
            <a:spLocks/>
          </p:cNvSpPr>
          <p:nvPr/>
        </p:nvSpPr>
        <p:spPr bwMode="auto">
          <a:xfrm>
            <a:off x="7004871" y="4070565"/>
            <a:ext cx="212457" cy="89508"/>
          </a:xfrm>
          <a:custGeom>
            <a:avLst/>
            <a:gdLst>
              <a:gd name="T0" fmla="*/ 177 w 182"/>
              <a:gd name="T1" fmla="*/ 47 h 116"/>
              <a:gd name="T2" fmla="*/ 170 w 182"/>
              <a:gd name="T3" fmla="*/ 52 h 116"/>
              <a:gd name="T4" fmla="*/ 167 w 182"/>
              <a:gd name="T5" fmla="*/ 59 h 116"/>
              <a:gd name="T6" fmla="*/ 167 w 182"/>
              <a:gd name="T7" fmla="*/ 62 h 116"/>
              <a:gd name="T8" fmla="*/ 167 w 182"/>
              <a:gd name="T9" fmla="*/ 64 h 116"/>
              <a:gd name="T10" fmla="*/ 163 w 182"/>
              <a:gd name="T11" fmla="*/ 64 h 116"/>
              <a:gd name="T12" fmla="*/ 156 w 182"/>
              <a:gd name="T13" fmla="*/ 69 h 116"/>
              <a:gd name="T14" fmla="*/ 146 w 182"/>
              <a:gd name="T15" fmla="*/ 71 h 116"/>
              <a:gd name="T16" fmla="*/ 139 w 182"/>
              <a:gd name="T17" fmla="*/ 73 h 116"/>
              <a:gd name="T18" fmla="*/ 130 w 182"/>
              <a:gd name="T19" fmla="*/ 76 h 116"/>
              <a:gd name="T20" fmla="*/ 122 w 182"/>
              <a:gd name="T21" fmla="*/ 78 h 116"/>
              <a:gd name="T22" fmla="*/ 113 w 182"/>
              <a:gd name="T23" fmla="*/ 83 h 116"/>
              <a:gd name="T24" fmla="*/ 111 w 182"/>
              <a:gd name="T25" fmla="*/ 88 h 116"/>
              <a:gd name="T26" fmla="*/ 106 w 182"/>
              <a:gd name="T27" fmla="*/ 92 h 116"/>
              <a:gd name="T28" fmla="*/ 104 w 182"/>
              <a:gd name="T29" fmla="*/ 92 h 116"/>
              <a:gd name="T30" fmla="*/ 92 w 182"/>
              <a:gd name="T31" fmla="*/ 92 h 116"/>
              <a:gd name="T32" fmla="*/ 85 w 182"/>
              <a:gd name="T33" fmla="*/ 97 h 116"/>
              <a:gd name="T34" fmla="*/ 78 w 182"/>
              <a:gd name="T35" fmla="*/ 99 h 116"/>
              <a:gd name="T36" fmla="*/ 71 w 182"/>
              <a:gd name="T37" fmla="*/ 102 h 116"/>
              <a:gd name="T38" fmla="*/ 61 w 182"/>
              <a:gd name="T39" fmla="*/ 102 h 116"/>
              <a:gd name="T40" fmla="*/ 56 w 182"/>
              <a:gd name="T41" fmla="*/ 102 h 116"/>
              <a:gd name="T42" fmla="*/ 49 w 182"/>
              <a:gd name="T43" fmla="*/ 109 h 116"/>
              <a:gd name="T44" fmla="*/ 40 w 182"/>
              <a:gd name="T45" fmla="*/ 114 h 116"/>
              <a:gd name="T46" fmla="*/ 28 w 182"/>
              <a:gd name="T47" fmla="*/ 116 h 116"/>
              <a:gd name="T48" fmla="*/ 23 w 182"/>
              <a:gd name="T49" fmla="*/ 116 h 116"/>
              <a:gd name="T50" fmla="*/ 16 w 182"/>
              <a:gd name="T51" fmla="*/ 114 h 116"/>
              <a:gd name="T52" fmla="*/ 11 w 182"/>
              <a:gd name="T53" fmla="*/ 106 h 116"/>
              <a:gd name="T54" fmla="*/ 9 w 182"/>
              <a:gd name="T55" fmla="*/ 95 h 116"/>
              <a:gd name="T56" fmla="*/ 7 w 182"/>
              <a:gd name="T57" fmla="*/ 90 h 116"/>
              <a:gd name="T58" fmla="*/ 7 w 182"/>
              <a:gd name="T59" fmla="*/ 78 h 116"/>
              <a:gd name="T60" fmla="*/ 4 w 182"/>
              <a:gd name="T61" fmla="*/ 76 h 116"/>
              <a:gd name="T62" fmla="*/ 2 w 182"/>
              <a:gd name="T63" fmla="*/ 69 h 116"/>
              <a:gd name="T64" fmla="*/ 2 w 182"/>
              <a:gd name="T65" fmla="*/ 66 h 116"/>
              <a:gd name="T66" fmla="*/ 2 w 182"/>
              <a:gd name="T67" fmla="*/ 66 h 116"/>
              <a:gd name="T68" fmla="*/ 2 w 182"/>
              <a:gd name="T69" fmla="*/ 62 h 116"/>
              <a:gd name="T70" fmla="*/ 2 w 182"/>
              <a:gd name="T71" fmla="*/ 59 h 116"/>
              <a:gd name="T72" fmla="*/ 2 w 182"/>
              <a:gd name="T73" fmla="*/ 52 h 116"/>
              <a:gd name="T74" fmla="*/ 2 w 182"/>
              <a:gd name="T75" fmla="*/ 47 h 116"/>
              <a:gd name="T76" fmla="*/ 7 w 182"/>
              <a:gd name="T77" fmla="*/ 45 h 116"/>
              <a:gd name="T78" fmla="*/ 9 w 182"/>
              <a:gd name="T79" fmla="*/ 40 h 116"/>
              <a:gd name="T80" fmla="*/ 14 w 182"/>
              <a:gd name="T81" fmla="*/ 38 h 116"/>
              <a:gd name="T82" fmla="*/ 21 w 182"/>
              <a:gd name="T83" fmla="*/ 36 h 116"/>
              <a:gd name="T84" fmla="*/ 63 w 182"/>
              <a:gd name="T85" fmla="*/ 43 h 116"/>
              <a:gd name="T86" fmla="*/ 108 w 182"/>
              <a:gd name="T87" fmla="*/ 14 h 116"/>
              <a:gd name="T88" fmla="*/ 182 w 182"/>
              <a:gd name="T8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16">
                <a:moveTo>
                  <a:pt x="182" y="45"/>
                </a:moveTo>
                <a:lnTo>
                  <a:pt x="177" y="47"/>
                </a:lnTo>
                <a:lnTo>
                  <a:pt x="172" y="50"/>
                </a:lnTo>
                <a:lnTo>
                  <a:pt x="170" y="52"/>
                </a:lnTo>
                <a:lnTo>
                  <a:pt x="167" y="57"/>
                </a:lnTo>
                <a:lnTo>
                  <a:pt x="167" y="59"/>
                </a:lnTo>
                <a:lnTo>
                  <a:pt x="167" y="62"/>
                </a:lnTo>
                <a:lnTo>
                  <a:pt x="167" y="62"/>
                </a:lnTo>
                <a:lnTo>
                  <a:pt x="167" y="64"/>
                </a:lnTo>
                <a:lnTo>
                  <a:pt x="167" y="64"/>
                </a:lnTo>
                <a:lnTo>
                  <a:pt x="165" y="64"/>
                </a:lnTo>
                <a:lnTo>
                  <a:pt x="163" y="64"/>
                </a:lnTo>
                <a:lnTo>
                  <a:pt x="158" y="64"/>
                </a:lnTo>
                <a:lnTo>
                  <a:pt x="156" y="69"/>
                </a:lnTo>
                <a:lnTo>
                  <a:pt x="151" y="69"/>
                </a:lnTo>
                <a:lnTo>
                  <a:pt x="146" y="71"/>
                </a:lnTo>
                <a:lnTo>
                  <a:pt x="144" y="71"/>
                </a:lnTo>
                <a:lnTo>
                  <a:pt x="139" y="73"/>
                </a:lnTo>
                <a:lnTo>
                  <a:pt x="137" y="73"/>
                </a:lnTo>
                <a:lnTo>
                  <a:pt x="130" y="76"/>
                </a:lnTo>
                <a:lnTo>
                  <a:pt x="127" y="76"/>
                </a:lnTo>
                <a:lnTo>
                  <a:pt x="122" y="78"/>
                </a:lnTo>
                <a:lnTo>
                  <a:pt x="115" y="80"/>
                </a:lnTo>
                <a:lnTo>
                  <a:pt x="113" y="83"/>
                </a:lnTo>
                <a:lnTo>
                  <a:pt x="111" y="85"/>
                </a:lnTo>
                <a:lnTo>
                  <a:pt x="111" y="88"/>
                </a:lnTo>
                <a:lnTo>
                  <a:pt x="106" y="90"/>
                </a:lnTo>
                <a:lnTo>
                  <a:pt x="106" y="92"/>
                </a:lnTo>
                <a:lnTo>
                  <a:pt x="104" y="92"/>
                </a:lnTo>
                <a:lnTo>
                  <a:pt x="104" y="92"/>
                </a:lnTo>
                <a:lnTo>
                  <a:pt x="94" y="92"/>
                </a:lnTo>
                <a:lnTo>
                  <a:pt x="92" y="92"/>
                </a:lnTo>
                <a:lnTo>
                  <a:pt x="87" y="95"/>
                </a:lnTo>
                <a:lnTo>
                  <a:pt x="85" y="97"/>
                </a:lnTo>
                <a:lnTo>
                  <a:pt x="80" y="99"/>
                </a:lnTo>
                <a:lnTo>
                  <a:pt x="78" y="99"/>
                </a:lnTo>
                <a:lnTo>
                  <a:pt x="73" y="102"/>
                </a:lnTo>
                <a:lnTo>
                  <a:pt x="71" y="102"/>
                </a:lnTo>
                <a:lnTo>
                  <a:pt x="66" y="102"/>
                </a:lnTo>
                <a:lnTo>
                  <a:pt x="61" y="102"/>
                </a:lnTo>
                <a:lnTo>
                  <a:pt x="59" y="102"/>
                </a:lnTo>
                <a:lnTo>
                  <a:pt x="56" y="102"/>
                </a:lnTo>
                <a:lnTo>
                  <a:pt x="52" y="104"/>
                </a:lnTo>
                <a:lnTo>
                  <a:pt x="49" y="109"/>
                </a:lnTo>
                <a:lnTo>
                  <a:pt x="42" y="111"/>
                </a:lnTo>
                <a:lnTo>
                  <a:pt x="40" y="114"/>
                </a:lnTo>
                <a:lnTo>
                  <a:pt x="33" y="114"/>
                </a:lnTo>
                <a:lnTo>
                  <a:pt x="28" y="116"/>
                </a:lnTo>
                <a:lnTo>
                  <a:pt x="26" y="116"/>
                </a:lnTo>
                <a:lnTo>
                  <a:pt x="23" y="116"/>
                </a:lnTo>
                <a:lnTo>
                  <a:pt x="19" y="114"/>
                </a:lnTo>
                <a:lnTo>
                  <a:pt x="16" y="114"/>
                </a:lnTo>
                <a:lnTo>
                  <a:pt x="14" y="109"/>
                </a:lnTo>
                <a:lnTo>
                  <a:pt x="11" y="106"/>
                </a:lnTo>
                <a:lnTo>
                  <a:pt x="11" y="97"/>
                </a:lnTo>
                <a:lnTo>
                  <a:pt x="9" y="95"/>
                </a:lnTo>
                <a:lnTo>
                  <a:pt x="9" y="92"/>
                </a:lnTo>
                <a:lnTo>
                  <a:pt x="7" y="90"/>
                </a:lnTo>
                <a:lnTo>
                  <a:pt x="7" y="85"/>
                </a:lnTo>
                <a:lnTo>
                  <a:pt x="7" y="78"/>
                </a:lnTo>
                <a:lnTo>
                  <a:pt x="4" y="76"/>
                </a:lnTo>
                <a:lnTo>
                  <a:pt x="4" y="76"/>
                </a:lnTo>
                <a:lnTo>
                  <a:pt x="4" y="73"/>
                </a:lnTo>
                <a:lnTo>
                  <a:pt x="2" y="69"/>
                </a:lnTo>
                <a:lnTo>
                  <a:pt x="0" y="69"/>
                </a:lnTo>
                <a:lnTo>
                  <a:pt x="2" y="66"/>
                </a:lnTo>
                <a:lnTo>
                  <a:pt x="2" y="66"/>
                </a:lnTo>
                <a:lnTo>
                  <a:pt x="2" y="66"/>
                </a:lnTo>
                <a:lnTo>
                  <a:pt x="2" y="64"/>
                </a:lnTo>
                <a:lnTo>
                  <a:pt x="2" y="62"/>
                </a:lnTo>
                <a:lnTo>
                  <a:pt x="0" y="59"/>
                </a:lnTo>
                <a:lnTo>
                  <a:pt x="2" y="59"/>
                </a:lnTo>
                <a:lnTo>
                  <a:pt x="2" y="57"/>
                </a:lnTo>
                <a:lnTo>
                  <a:pt x="2" y="52"/>
                </a:lnTo>
                <a:lnTo>
                  <a:pt x="2" y="47"/>
                </a:lnTo>
                <a:lnTo>
                  <a:pt x="2" y="47"/>
                </a:lnTo>
                <a:lnTo>
                  <a:pt x="4" y="47"/>
                </a:lnTo>
                <a:lnTo>
                  <a:pt x="7" y="45"/>
                </a:lnTo>
                <a:lnTo>
                  <a:pt x="7" y="43"/>
                </a:lnTo>
                <a:lnTo>
                  <a:pt x="9" y="40"/>
                </a:lnTo>
                <a:lnTo>
                  <a:pt x="11" y="40"/>
                </a:lnTo>
                <a:lnTo>
                  <a:pt x="14" y="38"/>
                </a:lnTo>
                <a:lnTo>
                  <a:pt x="14" y="36"/>
                </a:lnTo>
                <a:lnTo>
                  <a:pt x="21" y="36"/>
                </a:lnTo>
                <a:lnTo>
                  <a:pt x="33" y="31"/>
                </a:lnTo>
                <a:lnTo>
                  <a:pt x="63" y="43"/>
                </a:lnTo>
                <a:lnTo>
                  <a:pt x="63" y="62"/>
                </a:lnTo>
                <a:lnTo>
                  <a:pt x="108" y="14"/>
                </a:lnTo>
                <a:lnTo>
                  <a:pt x="163" y="0"/>
                </a:lnTo>
                <a:lnTo>
                  <a:pt x="182" y="45"/>
                </a:lnTo>
              </a:path>
            </a:pathLst>
          </a:custGeom>
          <a:solidFill>
            <a:srgbClr val="646464">
              <a:lumMod val="60000"/>
              <a:lumOff val="40000"/>
            </a:srgb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a:endParaRPr>
          </a:p>
        </p:txBody>
      </p:sp>
    </p:spTree>
    <p:extLst>
      <p:ext uri="{BB962C8B-B14F-4D97-AF65-F5344CB8AC3E}">
        <p14:creationId xmlns:p14="http://schemas.microsoft.com/office/powerpoint/2010/main" val="1251795965"/>
      </p:ext>
    </p:extLst>
  </p:cSld>
  <p:clrMapOvr>
    <a:masterClrMapping/>
  </p:clrMapOvr>
  <mc:AlternateContent xmlns:mc="http://schemas.openxmlformats.org/markup-compatibility/2006" xmlns:p14="http://schemas.microsoft.com/office/powerpoint/2010/main">
    <mc:Choice Requires="p14">
      <p:transition spd="slow" p14:dur="1500" advTm="26018">
        <p:split orient="vert"/>
      </p:transition>
    </mc:Choice>
    <mc:Fallback xmlns="">
      <p:transition spd="slow" advTm="26018">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p:cNvSpPr>
            <a:spLocks noGrp="1"/>
          </p:cNvSpPr>
          <p:nvPr>
            <p:ph type="title"/>
          </p:nvPr>
        </p:nvSpPr>
        <p:spPr>
          <a:xfrm>
            <a:off x="610412" y="230138"/>
            <a:ext cx="9721040" cy="860400"/>
          </a:xfrm>
        </p:spPr>
        <p:txBody>
          <a:bodyPr anchor="ctr"/>
          <a:lstStyle/>
          <a:p>
            <a:r>
              <a:rPr lang="en-US" sz="2400" dirty="0">
                <a:solidFill>
                  <a:schemeClr val="bg1">
                    <a:lumMod val="75000"/>
                  </a:schemeClr>
                </a:solidFill>
                <a:latin typeface="EYInterstate" panose="02000503020000020004" pitchFamily="2" charset="0"/>
              </a:rPr>
              <a:t>Service Lines and Sub Service Lines</a:t>
            </a:r>
            <a:endParaRPr lang="en-IN" sz="2400" dirty="0">
              <a:solidFill>
                <a:schemeClr val="bg1">
                  <a:lumMod val="75000"/>
                </a:schemeClr>
              </a:solidFill>
              <a:latin typeface="EYInterstate" panose="02000503020000020004" pitchFamily="2" charset="0"/>
            </a:endParaRPr>
          </a:p>
        </p:txBody>
      </p:sp>
      <p:grpSp>
        <p:nvGrpSpPr>
          <p:cNvPr id="14" name="Group 13"/>
          <p:cNvGrpSpPr/>
          <p:nvPr/>
        </p:nvGrpSpPr>
        <p:grpSpPr>
          <a:xfrm>
            <a:off x="753490" y="1198787"/>
            <a:ext cx="8542972" cy="4886038"/>
            <a:chOff x="329566" y="1303020"/>
            <a:chExt cx="8542972" cy="4537938"/>
          </a:xfrm>
        </p:grpSpPr>
        <p:sp>
          <p:nvSpPr>
            <p:cNvPr id="7" name="Rectangle 6"/>
            <p:cNvSpPr/>
            <p:nvPr/>
          </p:nvSpPr>
          <p:spPr>
            <a:xfrm>
              <a:off x="3714750" y="1303020"/>
              <a:ext cx="1714500" cy="3429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US" b="1" dirty="0">
                  <a:solidFill>
                    <a:schemeClr val="tx2"/>
                  </a:solidFill>
                </a:rPr>
                <a:t>Service Lines</a:t>
              </a:r>
              <a:endParaRPr lang="en-IN" dirty="0">
                <a:solidFill>
                  <a:schemeClr val="tx2"/>
                </a:solidFill>
              </a:endParaRPr>
            </a:p>
          </p:txBody>
        </p:sp>
        <p:sp>
          <p:nvSpPr>
            <p:cNvPr id="12" name="Rectangle 11"/>
            <p:cNvSpPr/>
            <p:nvPr/>
          </p:nvSpPr>
          <p:spPr>
            <a:xfrm>
              <a:off x="514350" y="2196600"/>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500" b="1" dirty="0">
                  <a:solidFill>
                    <a:srgbClr val="000000"/>
                  </a:solidFill>
                </a:rPr>
                <a:t>Assurance</a:t>
              </a:r>
              <a:endParaRPr lang="en-IN" sz="1500" dirty="0">
                <a:solidFill>
                  <a:srgbClr val="000000"/>
                </a:solidFill>
              </a:endParaRPr>
            </a:p>
          </p:txBody>
        </p:sp>
        <p:sp>
          <p:nvSpPr>
            <p:cNvPr id="21" name="Rectangle 20"/>
            <p:cNvSpPr/>
            <p:nvPr/>
          </p:nvSpPr>
          <p:spPr>
            <a:xfrm>
              <a:off x="6523477" y="2196600"/>
              <a:ext cx="2163323" cy="343638"/>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500" b="1" dirty="0">
                  <a:solidFill>
                    <a:srgbClr val="000000"/>
                  </a:solidFill>
                </a:rPr>
                <a:t>TAS</a:t>
              </a:r>
              <a:endParaRPr lang="en-IN" sz="1500" dirty="0">
                <a:solidFill>
                  <a:srgbClr val="000000"/>
                </a:solidFill>
              </a:endParaRPr>
            </a:p>
          </p:txBody>
        </p:sp>
        <p:sp>
          <p:nvSpPr>
            <p:cNvPr id="22" name="Rectangle 21"/>
            <p:cNvSpPr/>
            <p:nvPr/>
          </p:nvSpPr>
          <p:spPr>
            <a:xfrm>
              <a:off x="4452186" y="2199787"/>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500" b="1" dirty="0">
                  <a:solidFill>
                    <a:srgbClr val="000000"/>
                  </a:solidFill>
                </a:rPr>
                <a:t>Advisory</a:t>
              </a:r>
              <a:endParaRPr lang="en-IN" sz="1500" dirty="0">
                <a:solidFill>
                  <a:srgbClr val="000000"/>
                </a:solidFill>
              </a:endParaRPr>
            </a:p>
          </p:txBody>
        </p:sp>
        <p:sp>
          <p:nvSpPr>
            <p:cNvPr id="23" name="Rectangle 22"/>
            <p:cNvSpPr/>
            <p:nvPr/>
          </p:nvSpPr>
          <p:spPr>
            <a:xfrm>
              <a:off x="514350" y="2682375"/>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200" dirty="0">
                  <a:solidFill>
                    <a:srgbClr val="000000"/>
                  </a:solidFill>
                </a:rPr>
                <a:t>Audit</a:t>
              </a:r>
              <a:endParaRPr lang="en-IN" sz="1200" dirty="0">
                <a:solidFill>
                  <a:srgbClr val="000000"/>
                </a:solidFill>
              </a:endParaRPr>
            </a:p>
          </p:txBody>
        </p:sp>
        <p:sp>
          <p:nvSpPr>
            <p:cNvPr id="24" name="Rectangle 23"/>
            <p:cNvSpPr/>
            <p:nvPr/>
          </p:nvSpPr>
          <p:spPr>
            <a:xfrm>
              <a:off x="514350" y="3092372"/>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200" dirty="0">
                  <a:solidFill>
                    <a:srgbClr val="000000"/>
                  </a:solidFill>
                </a:rPr>
                <a:t>Forensics</a:t>
              </a:r>
            </a:p>
          </p:txBody>
        </p:sp>
        <p:sp>
          <p:nvSpPr>
            <p:cNvPr id="25" name="Rectangle 24"/>
            <p:cNvSpPr/>
            <p:nvPr/>
          </p:nvSpPr>
          <p:spPr>
            <a:xfrm>
              <a:off x="514350" y="3486691"/>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200" dirty="0">
                  <a:solidFill>
                    <a:srgbClr val="000000"/>
                  </a:solidFill>
                </a:rPr>
                <a:t>FAAS</a:t>
              </a:r>
              <a:endParaRPr lang="en-IN" sz="1200" dirty="0">
                <a:solidFill>
                  <a:srgbClr val="000000"/>
                </a:solidFill>
              </a:endParaRPr>
            </a:p>
          </p:txBody>
        </p:sp>
        <p:sp>
          <p:nvSpPr>
            <p:cNvPr id="30" name="Rectangle 29"/>
            <p:cNvSpPr/>
            <p:nvPr/>
          </p:nvSpPr>
          <p:spPr>
            <a:xfrm>
              <a:off x="2571750" y="2196600"/>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US" sz="1500" b="1" dirty="0">
                  <a:solidFill>
                    <a:schemeClr val="tx1"/>
                  </a:solidFill>
                </a:rPr>
                <a:t>Tax</a:t>
              </a:r>
              <a:endParaRPr lang="en-IN" sz="1500" dirty="0">
                <a:solidFill>
                  <a:schemeClr val="tx1"/>
                </a:solidFill>
              </a:endParaRPr>
            </a:p>
          </p:txBody>
        </p:sp>
        <p:sp>
          <p:nvSpPr>
            <p:cNvPr id="40" name="Rectangle 39"/>
            <p:cNvSpPr/>
            <p:nvPr/>
          </p:nvSpPr>
          <p:spPr>
            <a:xfrm>
              <a:off x="4452186" y="3084756"/>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200" dirty="0">
                  <a:solidFill>
                    <a:srgbClr val="000000"/>
                  </a:solidFill>
                </a:rPr>
                <a:t>Risk</a:t>
              </a:r>
            </a:p>
          </p:txBody>
        </p:sp>
        <p:sp>
          <p:nvSpPr>
            <p:cNvPr id="41" name="Rectangle 40"/>
            <p:cNvSpPr/>
            <p:nvPr/>
          </p:nvSpPr>
          <p:spPr>
            <a:xfrm>
              <a:off x="4452186" y="2684706"/>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PI</a:t>
              </a:r>
            </a:p>
          </p:txBody>
        </p:sp>
        <p:sp>
          <p:nvSpPr>
            <p:cNvPr id="34" name="Rectangle 33"/>
            <p:cNvSpPr/>
            <p:nvPr/>
          </p:nvSpPr>
          <p:spPr>
            <a:xfrm>
              <a:off x="4452186" y="3886200"/>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Other Advisory</a:t>
              </a:r>
            </a:p>
          </p:txBody>
        </p:sp>
        <p:sp>
          <p:nvSpPr>
            <p:cNvPr id="31" name="Rectangle 30"/>
            <p:cNvSpPr/>
            <p:nvPr/>
          </p:nvSpPr>
          <p:spPr>
            <a:xfrm>
              <a:off x="6523477" y="2682375"/>
              <a:ext cx="2163323" cy="343638"/>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Corporate Finance</a:t>
              </a:r>
            </a:p>
          </p:txBody>
        </p:sp>
        <p:sp>
          <p:nvSpPr>
            <p:cNvPr id="32" name="Rectangle 31"/>
            <p:cNvSpPr/>
            <p:nvPr/>
          </p:nvSpPr>
          <p:spPr>
            <a:xfrm>
              <a:off x="6523477" y="3084756"/>
              <a:ext cx="2163323" cy="343638"/>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TD - Transaction Diligence</a:t>
              </a:r>
            </a:p>
          </p:txBody>
        </p:sp>
        <p:sp>
          <p:nvSpPr>
            <p:cNvPr id="35" name="Rectangle 34"/>
            <p:cNvSpPr/>
            <p:nvPr/>
          </p:nvSpPr>
          <p:spPr>
            <a:xfrm>
              <a:off x="2571750" y="5498058"/>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Other Tax</a:t>
              </a:r>
            </a:p>
          </p:txBody>
        </p:sp>
        <p:sp>
          <p:nvSpPr>
            <p:cNvPr id="37" name="Rectangle 36"/>
            <p:cNvSpPr/>
            <p:nvPr/>
          </p:nvSpPr>
          <p:spPr>
            <a:xfrm>
              <a:off x="2571750" y="2682375"/>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ITTS</a:t>
              </a:r>
            </a:p>
          </p:txBody>
        </p:sp>
        <p:sp>
          <p:nvSpPr>
            <p:cNvPr id="42" name="Rectangle 41"/>
            <p:cNvSpPr/>
            <p:nvPr/>
          </p:nvSpPr>
          <p:spPr>
            <a:xfrm>
              <a:off x="2571750" y="3087851"/>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Indirect</a:t>
              </a:r>
            </a:p>
          </p:txBody>
        </p:sp>
        <p:sp>
          <p:nvSpPr>
            <p:cNvPr id="43" name="Rectangle 42"/>
            <p:cNvSpPr/>
            <p:nvPr/>
          </p:nvSpPr>
          <p:spPr>
            <a:xfrm>
              <a:off x="2571750" y="3481793"/>
              <a:ext cx="1714500" cy="342900"/>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BTS</a:t>
              </a:r>
            </a:p>
          </p:txBody>
        </p:sp>
        <p:sp>
          <p:nvSpPr>
            <p:cNvPr id="44" name="Rectangle 43"/>
            <p:cNvSpPr/>
            <p:nvPr/>
          </p:nvSpPr>
          <p:spPr>
            <a:xfrm>
              <a:off x="2571750" y="3885461"/>
              <a:ext cx="1714500" cy="342900"/>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GCR (incl. ACR)</a:t>
              </a:r>
            </a:p>
          </p:txBody>
        </p:sp>
        <p:sp>
          <p:nvSpPr>
            <p:cNvPr id="45" name="Rectangle 44"/>
            <p:cNvSpPr/>
            <p:nvPr/>
          </p:nvSpPr>
          <p:spPr>
            <a:xfrm>
              <a:off x="2571750" y="4290497"/>
              <a:ext cx="1714500" cy="342900"/>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PAS</a:t>
              </a:r>
            </a:p>
          </p:txBody>
        </p:sp>
        <p:sp>
          <p:nvSpPr>
            <p:cNvPr id="46" name="Rectangle 45"/>
            <p:cNvSpPr/>
            <p:nvPr/>
          </p:nvSpPr>
          <p:spPr>
            <a:xfrm>
              <a:off x="2571750" y="4686300"/>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Tax Technology Transformation</a:t>
              </a:r>
            </a:p>
          </p:txBody>
        </p:sp>
        <p:sp>
          <p:nvSpPr>
            <p:cNvPr id="50" name="Rectangle 49"/>
            <p:cNvSpPr/>
            <p:nvPr/>
          </p:nvSpPr>
          <p:spPr>
            <a:xfrm>
              <a:off x="514350" y="3888248"/>
              <a:ext cx="1714500" cy="342900"/>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ACR</a:t>
              </a:r>
            </a:p>
          </p:txBody>
        </p:sp>
        <p:sp>
          <p:nvSpPr>
            <p:cNvPr id="51" name="Rectangle 50"/>
            <p:cNvSpPr/>
            <p:nvPr/>
          </p:nvSpPr>
          <p:spPr>
            <a:xfrm>
              <a:off x="6523477" y="3486691"/>
              <a:ext cx="2163323" cy="343638"/>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Strategy &amp; Operations</a:t>
              </a:r>
            </a:p>
          </p:txBody>
        </p:sp>
        <p:sp>
          <p:nvSpPr>
            <p:cNvPr id="52" name="Rectangle 51"/>
            <p:cNvSpPr/>
            <p:nvPr/>
          </p:nvSpPr>
          <p:spPr>
            <a:xfrm>
              <a:off x="6523477" y="3885461"/>
              <a:ext cx="2163323" cy="343638"/>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TAS Support &amp; Other</a:t>
              </a:r>
            </a:p>
          </p:txBody>
        </p:sp>
        <p:cxnSp>
          <p:nvCxnSpPr>
            <p:cNvPr id="3" name="Elbow Connector 2"/>
            <p:cNvCxnSpPr>
              <a:cxnSpLocks/>
              <a:stCxn id="7" idx="2"/>
              <a:endCxn id="21" idx="0"/>
            </p:cNvCxnSpPr>
            <p:nvPr/>
          </p:nvCxnSpPr>
          <p:spPr>
            <a:xfrm rot="16200000" flipH="1">
              <a:off x="5813229" y="404690"/>
              <a:ext cx="550680" cy="30331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Elbow Connector 10"/>
            <p:cNvCxnSpPr>
              <a:cxnSpLocks/>
              <a:stCxn id="7" idx="2"/>
              <a:endCxn id="12" idx="0"/>
            </p:cNvCxnSpPr>
            <p:nvPr/>
          </p:nvCxnSpPr>
          <p:spPr>
            <a:xfrm rot="5400000">
              <a:off x="2696460" y="321060"/>
              <a:ext cx="550680" cy="320040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Elbow Connector 55"/>
            <p:cNvCxnSpPr>
              <a:cxnSpLocks/>
              <a:stCxn id="21" idx="3"/>
            </p:cNvCxnSpPr>
            <p:nvPr/>
          </p:nvCxnSpPr>
          <p:spPr>
            <a:xfrm>
              <a:off x="8686800" y="2368419"/>
              <a:ext cx="185738" cy="2089281"/>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a:cxnSpLocks/>
              <a:stCxn id="31" idx="3"/>
              <a:endCxn id="32" idx="3"/>
            </p:cNvCxnSpPr>
            <p:nvPr/>
          </p:nvCxnSpPr>
          <p:spPr>
            <a:xfrm>
              <a:off x="8686800" y="2854194"/>
              <a:ext cx="12700" cy="402381"/>
            </a:xfrm>
            <a:prstGeom prst="bentConnector3">
              <a:avLst>
                <a:gd name="adj1" fmla="val 145300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Elbow Connector 81"/>
            <p:cNvCxnSpPr>
              <a:cxnSpLocks/>
              <a:stCxn id="32" idx="3"/>
              <a:endCxn id="51" idx="3"/>
            </p:cNvCxnSpPr>
            <p:nvPr/>
          </p:nvCxnSpPr>
          <p:spPr>
            <a:xfrm>
              <a:off x="8686800" y="3256575"/>
              <a:ext cx="12700" cy="401935"/>
            </a:xfrm>
            <a:prstGeom prst="bentConnector3">
              <a:avLst>
                <a:gd name="adj1" fmla="val 145300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cxnSpLocks/>
              <a:stCxn id="30" idx="1"/>
              <a:endCxn id="35" idx="1"/>
            </p:cNvCxnSpPr>
            <p:nvPr/>
          </p:nvCxnSpPr>
          <p:spPr>
            <a:xfrm rot="10800000" flipV="1">
              <a:off x="2571750" y="2368050"/>
              <a:ext cx="12700" cy="3301459"/>
            </a:xfrm>
            <a:prstGeom prst="bentConnector3">
              <a:avLst>
                <a:gd name="adj1" fmla="val 1869906"/>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85"/>
            <p:cNvCxnSpPr>
              <a:cxnSpLocks/>
            </p:cNvCxnSpPr>
            <p:nvPr/>
          </p:nvCxnSpPr>
          <p:spPr>
            <a:xfrm rot="10800000" flipV="1">
              <a:off x="2580628" y="2853825"/>
              <a:ext cx="9525" cy="405476"/>
            </a:xfrm>
            <a:prstGeom prst="bentConnector3">
              <a:avLst>
                <a:gd name="adj1" fmla="val 254562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8" name="Elbow Connector 87"/>
            <p:cNvCxnSpPr>
              <a:cxnSpLocks/>
            </p:cNvCxnSpPr>
            <p:nvPr/>
          </p:nvCxnSpPr>
          <p:spPr>
            <a:xfrm rot="10800000" flipV="1">
              <a:off x="2580628" y="3653242"/>
              <a:ext cx="9525" cy="403669"/>
            </a:xfrm>
            <a:prstGeom prst="bentConnector3">
              <a:avLst>
                <a:gd name="adj1" fmla="val 254562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Elbow Connector 88"/>
            <p:cNvCxnSpPr/>
            <p:nvPr/>
          </p:nvCxnSpPr>
          <p:spPr>
            <a:xfrm rot="10800000" flipV="1">
              <a:off x="2580629" y="4457700"/>
              <a:ext cx="9525" cy="403669"/>
            </a:xfrm>
            <a:prstGeom prst="bentConnector3">
              <a:avLst>
                <a:gd name="adj1" fmla="val 254563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Elbow Connector 90"/>
            <p:cNvCxnSpPr>
              <a:cxnSpLocks/>
              <a:stCxn id="22" idx="3"/>
            </p:cNvCxnSpPr>
            <p:nvPr/>
          </p:nvCxnSpPr>
          <p:spPr>
            <a:xfrm>
              <a:off x="6166686" y="2371237"/>
              <a:ext cx="158114" cy="2093063"/>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Elbow Connector 92"/>
            <p:cNvCxnSpPr>
              <a:cxnSpLocks/>
            </p:cNvCxnSpPr>
            <p:nvPr/>
          </p:nvCxnSpPr>
          <p:spPr>
            <a:xfrm>
              <a:off x="6148085" y="2856156"/>
              <a:ext cx="9525" cy="400050"/>
            </a:xfrm>
            <a:prstGeom prst="bentConnector3">
              <a:avLst>
                <a:gd name="adj1" fmla="val 180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Elbow Connector 94"/>
            <p:cNvCxnSpPr>
              <a:cxnSpLocks/>
            </p:cNvCxnSpPr>
            <p:nvPr/>
          </p:nvCxnSpPr>
          <p:spPr>
            <a:xfrm>
              <a:off x="6148080" y="3256206"/>
              <a:ext cx="9525" cy="401394"/>
            </a:xfrm>
            <a:prstGeom prst="bentConnector3">
              <a:avLst>
                <a:gd name="adj1" fmla="val 180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a:stCxn id="30" idx="0"/>
            </p:cNvCxnSpPr>
            <p:nvPr/>
          </p:nvCxnSpPr>
          <p:spPr>
            <a:xfrm flipV="1">
              <a:off x="3429000" y="1921259"/>
              <a:ext cx="0" cy="27534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5309436" y="1921259"/>
              <a:ext cx="0" cy="29146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452186" y="3486150"/>
              <a:ext cx="1714500" cy="342900"/>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US" sz="1200" dirty="0">
                  <a:solidFill>
                    <a:srgbClr val="000000"/>
                  </a:solidFill>
                </a:rPr>
                <a:t>PAS.</a:t>
              </a:r>
            </a:p>
          </p:txBody>
        </p:sp>
        <p:sp>
          <p:nvSpPr>
            <p:cNvPr id="48" name="Rectangle 47"/>
            <p:cNvSpPr/>
            <p:nvPr/>
          </p:nvSpPr>
          <p:spPr>
            <a:xfrm>
              <a:off x="520064" y="4318609"/>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Other Assurance</a:t>
              </a:r>
            </a:p>
          </p:txBody>
        </p:sp>
        <p:cxnSp>
          <p:nvCxnSpPr>
            <p:cNvPr id="58" name="Elbow Connector 57"/>
            <p:cNvCxnSpPr>
              <a:cxnSpLocks/>
            </p:cNvCxnSpPr>
            <p:nvPr/>
          </p:nvCxnSpPr>
          <p:spPr>
            <a:xfrm rot="16200000" flipH="1">
              <a:off x="-742132" y="3456266"/>
              <a:ext cx="2170062" cy="1"/>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a:endCxn id="12" idx="1"/>
            </p:cNvCxnSpPr>
            <p:nvPr/>
          </p:nvCxnSpPr>
          <p:spPr>
            <a:xfrm flipV="1">
              <a:off x="342901" y="2368050"/>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348615" y="2866752"/>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29567" y="3253019"/>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348615" y="3678405"/>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329566" y="4052197"/>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flipV="1">
              <a:off x="348615" y="4539533"/>
              <a:ext cx="171449" cy="1765"/>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4452186" y="4305204"/>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Adv Solutions</a:t>
              </a:r>
            </a:p>
          </p:txBody>
        </p:sp>
        <p:cxnSp>
          <p:nvCxnSpPr>
            <p:cNvPr id="72" name="Straight Connector 71"/>
            <p:cNvCxnSpPr/>
            <p:nvPr/>
          </p:nvCxnSpPr>
          <p:spPr>
            <a:xfrm flipV="1">
              <a:off x="6153352" y="4049010"/>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6153351" y="4464300"/>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533002" y="4304466"/>
              <a:ext cx="2163323" cy="343638"/>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lvl="0" algn="ctr"/>
              <a:r>
                <a:rPr lang="en-IN" sz="1200" dirty="0">
                  <a:solidFill>
                    <a:srgbClr val="000000"/>
                  </a:solidFill>
                </a:rPr>
                <a:t>ITTS (in TAS)</a:t>
              </a:r>
            </a:p>
          </p:txBody>
        </p:sp>
        <p:cxnSp>
          <p:nvCxnSpPr>
            <p:cNvPr id="78" name="Straight Connector 77"/>
            <p:cNvCxnSpPr/>
            <p:nvPr/>
          </p:nvCxnSpPr>
          <p:spPr>
            <a:xfrm flipV="1">
              <a:off x="8689659" y="4043160"/>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8695375" y="4457920"/>
              <a:ext cx="171449" cy="318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79" name="Rectangle 278">
              <a:extLst>
                <a:ext uri="{FF2B5EF4-FFF2-40B4-BE49-F238E27FC236}">
                  <a16:creationId xmlns:a16="http://schemas.microsoft.com/office/drawing/2014/main" id="{CB058C4C-8446-4E3D-926E-97FF706766D8}"/>
                </a:ext>
              </a:extLst>
            </p:cNvPr>
            <p:cNvSpPr/>
            <p:nvPr/>
          </p:nvSpPr>
          <p:spPr>
            <a:xfrm>
              <a:off x="2582103" y="5091694"/>
              <a:ext cx="1714500" cy="342900"/>
            </a:xfrm>
            <a:prstGeom prst="rect">
              <a:avLst/>
            </a:prstGeom>
            <a:solidFill>
              <a:schemeClr val="bg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IN" sz="1200" dirty="0">
                  <a:solidFill>
                    <a:srgbClr val="000000"/>
                  </a:solidFill>
                </a:rPr>
                <a:t>Law</a:t>
              </a:r>
            </a:p>
          </p:txBody>
        </p:sp>
        <p:cxnSp>
          <p:nvCxnSpPr>
            <p:cNvPr id="286" name="Elbow Connector 88">
              <a:extLst>
                <a:ext uri="{FF2B5EF4-FFF2-40B4-BE49-F238E27FC236}">
                  <a16:creationId xmlns:a16="http://schemas.microsoft.com/office/drawing/2014/main" id="{E64E2C88-546D-40FF-97C1-E84CF6691664}"/>
                </a:ext>
              </a:extLst>
            </p:cNvPr>
            <p:cNvCxnSpPr/>
            <p:nvPr/>
          </p:nvCxnSpPr>
          <p:spPr>
            <a:xfrm rot="10800000" flipV="1">
              <a:off x="2573232" y="4863085"/>
              <a:ext cx="9525" cy="403669"/>
            </a:xfrm>
            <a:prstGeom prst="bentConnector3">
              <a:avLst>
                <a:gd name="adj1" fmla="val 254563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11416616-46B9-4826-854F-688AB7F3DE4B}"/>
                </a:ext>
              </a:extLst>
            </p:cNvPr>
            <p:cNvSpPr/>
            <p:nvPr/>
          </p:nvSpPr>
          <p:spPr>
            <a:xfrm>
              <a:off x="3714751" y="1303021"/>
              <a:ext cx="1714500" cy="3429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pPr algn="ctr"/>
              <a:r>
                <a:rPr lang="en-US" b="1" dirty="0">
                  <a:solidFill>
                    <a:schemeClr val="tx2"/>
                  </a:solidFill>
                </a:rPr>
                <a:t>Service Lines</a:t>
              </a:r>
              <a:endParaRPr lang="en-IN" dirty="0">
                <a:solidFill>
                  <a:schemeClr val="tx2"/>
                </a:solidFill>
              </a:endParaRPr>
            </a:p>
          </p:txBody>
        </p:sp>
        <p:cxnSp>
          <p:nvCxnSpPr>
            <p:cNvPr id="289" name="Elbow Connector 2">
              <a:extLst>
                <a:ext uri="{FF2B5EF4-FFF2-40B4-BE49-F238E27FC236}">
                  <a16:creationId xmlns:a16="http://schemas.microsoft.com/office/drawing/2014/main" id="{B07B5E84-2C6F-4F93-9F39-1C861FCAD024}"/>
                </a:ext>
              </a:extLst>
            </p:cNvPr>
            <p:cNvCxnSpPr>
              <a:cxnSpLocks/>
              <a:stCxn id="288" idx="2"/>
            </p:cNvCxnSpPr>
            <p:nvPr/>
          </p:nvCxnSpPr>
          <p:spPr>
            <a:xfrm rot="16200000" flipH="1">
              <a:off x="5813230" y="404691"/>
              <a:ext cx="550680" cy="30331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Elbow Connector 10">
              <a:extLst>
                <a:ext uri="{FF2B5EF4-FFF2-40B4-BE49-F238E27FC236}">
                  <a16:creationId xmlns:a16="http://schemas.microsoft.com/office/drawing/2014/main" id="{A021E970-D5D1-4FBC-9CE0-D382703E629B}"/>
                </a:ext>
              </a:extLst>
            </p:cNvPr>
            <p:cNvCxnSpPr>
              <a:cxnSpLocks/>
              <a:stCxn id="288" idx="2"/>
            </p:cNvCxnSpPr>
            <p:nvPr/>
          </p:nvCxnSpPr>
          <p:spPr>
            <a:xfrm rot="5400000">
              <a:off x="2696461" y="321060"/>
              <a:ext cx="550680" cy="320040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60" name="Rectangle 59"/>
          <p:cNvSpPr/>
          <p:nvPr/>
        </p:nvSpPr>
        <p:spPr>
          <a:xfrm>
            <a:off x="7519386" y="5960084"/>
            <a:ext cx="4034011" cy="230138"/>
          </a:xfrm>
          <a:prstGeom prst="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56148" tIns="28074" rIns="56148" bIns="28074" rtlCol="0" anchor="ctr" anchorCtr="0"/>
          <a:lstStyle/>
          <a:p>
            <a:r>
              <a:rPr lang="en-IN" sz="1200" dirty="0">
                <a:solidFill>
                  <a:srgbClr val="000000"/>
                </a:solidFill>
              </a:rPr>
              <a:t>Double counted in two service lines</a:t>
            </a:r>
          </a:p>
        </p:txBody>
      </p:sp>
      <p:sp>
        <p:nvSpPr>
          <p:cNvPr id="2" name="TextBox 1">
            <a:extLst>
              <a:ext uri="{FF2B5EF4-FFF2-40B4-BE49-F238E27FC236}">
                <a16:creationId xmlns:a16="http://schemas.microsoft.com/office/drawing/2014/main" id="{009B7A8D-9F3E-4856-BE0B-0E49B8692DE0}"/>
              </a:ext>
            </a:extLst>
          </p:cNvPr>
          <p:cNvSpPr txBox="1"/>
          <p:nvPr/>
        </p:nvSpPr>
        <p:spPr>
          <a:xfrm>
            <a:off x="7519386" y="5189195"/>
            <a:ext cx="4034011" cy="89563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b="1" u="sng" dirty="0">
                <a:solidFill>
                  <a:schemeClr val="bg1"/>
                </a:solidFill>
              </a:rPr>
              <a:t>Structure as of FY21:</a:t>
            </a:r>
          </a:p>
          <a:p>
            <a:pPr marL="356616" indent="-356616">
              <a:lnSpc>
                <a:spcPct val="85000"/>
              </a:lnSpc>
              <a:spcAft>
                <a:spcPts val="600"/>
              </a:spcAft>
              <a:buClr>
                <a:schemeClr val="accent2"/>
              </a:buClr>
              <a:buSzPct val="70000"/>
              <a:buFont typeface="Arial" pitchFamily="34" charset="0"/>
              <a:buChar char="►"/>
            </a:pPr>
            <a:r>
              <a:rPr lang="en-IN" sz="1200" dirty="0">
                <a:solidFill>
                  <a:schemeClr val="bg1"/>
                </a:solidFill>
              </a:rPr>
              <a:t>Advisory will be known as Consulting</a:t>
            </a:r>
          </a:p>
          <a:p>
            <a:pPr marL="356616" indent="-356616">
              <a:lnSpc>
                <a:spcPct val="85000"/>
              </a:lnSpc>
              <a:spcAft>
                <a:spcPts val="600"/>
              </a:spcAft>
              <a:buClr>
                <a:schemeClr val="accent2"/>
              </a:buClr>
              <a:buSzPct val="70000"/>
              <a:buFont typeface="Arial" pitchFamily="34" charset="0"/>
              <a:buChar char="►"/>
            </a:pPr>
            <a:r>
              <a:rPr lang="en-IN" sz="1200" dirty="0">
                <a:solidFill>
                  <a:schemeClr val="bg1"/>
                </a:solidFill>
              </a:rPr>
              <a:t>TAS will be known as </a:t>
            </a:r>
            <a:r>
              <a:rPr lang="en-IN" sz="1200" dirty="0" err="1">
                <a:solidFill>
                  <a:schemeClr val="bg1"/>
                </a:solidFill>
              </a:rPr>
              <a:t>SaT</a:t>
            </a:r>
            <a:r>
              <a:rPr lang="en-IN" sz="1200" dirty="0">
                <a:solidFill>
                  <a:schemeClr val="bg1"/>
                </a:solidFill>
              </a:rPr>
              <a:t> (Strategy and Transactions)</a:t>
            </a:r>
          </a:p>
          <a:p>
            <a:pPr marL="356616" indent="-356616">
              <a:lnSpc>
                <a:spcPct val="85000"/>
              </a:lnSpc>
              <a:spcAft>
                <a:spcPts val="600"/>
              </a:spcAft>
              <a:buClr>
                <a:schemeClr val="accent2"/>
              </a:buClr>
              <a:buSzPct val="70000"/>
              <a:buFont typeface="Arial" pitchFamily="34" charset="0"/>
              <a:buChar char="►"/>
            </a:pPr>
            <a:endParaRPr lang="en-US" sz="1200" dirty="0" err="1">
              <a:solidFill>
                <a:schemeClr val="bg1"/>
              </a:solidFill>
            </a:endParaRPr>
          </a:p>
        </p:txBody>
      </p:sp>
    </p:spTree>
    <p:extLst>
      <p:ext uri="{BB962C8B-B14F-4D97-AF65-F5344CB8AC3E}">
        <p14:creationId xmlns:p14="http://schemas.microsoft.com/office/powerpoint/2010/main" val="2332227475"/>
      </p:ext>
    </p:extLst>
  </p:cSld>
  <p:clrMapOvr>
    <a:masterClrMapping/>
  </p:clrMapOvr>
  <mc:AlternateContent xmlns:mc="http://schemas.openxmlformats.org/markup-compatibility/2006" xmlns:p14="http://schemas.microsoft.com/office/powerpoint/2010/main">
    <mc:Choice Requires="p14">
      <p:transition spd="slow" p14:dur="1500" advTm="40814">
        <p:split orient="vert"/>
      </p:transition>
    </mc:Choice>
    <mc:Fallback xmlns="">
      <p:transition spd="slow" advTm="40814">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609918" y="201600"/>
            <a:ext cx="10978515" cy="860400"/>
          </a:xfrm>
        </p:spPr>
        <p:txBody>
          <a:bodyPr anchor="ctr"/>
          <a:lstStyle/>
          <a:p>
            <a:pPr eaLnBrk="1" hangingPunct="1"/>
            <a:r>
              <a:rPr lang="en-US" altLang="zh-CN" sz="2400" dirty="0">
                <a:latin typeface="EYInterstate" panose="02000503020000020004" pitchFamily="2" charset="0"/>
                <a:ea typeface="宋体" pitchFamily="2" charset="-122"/>
              </a:rPr>
              <a:t>How are our customers structured in EY</a:t>
            </a:r>
          </a:p>
        </p:txBody>
      </p:sp>
      <p:sp>
        <p:nvSpPr>
          <p:cNvPr id="2" name="Rectangle 1"/>
          <p:cNvSpPr/>
          <p:nvPr/>
        </p:nvSpPr>
        <p:spPr>
          <a:xfrm>
            <a:off x="609918" y="1261217"/>
            <a:ext cx="7980290" cy="847303"/>
          </a:xfrm>
          <a:prstGeom prst="rect">
            <a:avLst/>
          </a:prstGeom>
          <a:solidFill>
            <a:schemeClr val="bg1"/>
          </a:solidFill>
          <a:ln>
            <a:solidFill>
              <a:schemeClr val="bg1">
                <a:lumMod val="20000"/>
                <a:lumOff val="80000"/>
              </a:schemeClr>
            </a:solidFill>
          </a:ln>
          <a:effectLst/>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ACCOUNT  </a:t>
            </a: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14" name="Group 13"/>
          <p:cNvGrpSpPr/>
          <p:nvPr/>
        </p:nvGrpSpPr>
        <p:grpSpPr>
          <a:xfrm>
            <a:off x="671568" y="2465469"/>
            <a:ext cx="7977116" cy="1384456"/>
            <a:chOff x="709684" y="2248940"/>
            <a:chExt cx="7977116" cy="1586969"/>
          </a:xfrm>
        </p:grpSpPr>
        <p:sp>
          <p:nvSpPr>
            <p:cNvPr id="3" name="Rectangle 2"/>
            <p:cNvSpPr/>
            <p:nvPr/>
          </p:nvSpPr>
          <p:spPr>
            <a:xfrm>
              <a:off x="709684" y="2248940"/>
              <a:ext cx="7977116" cy="1586969"/>
            </a:xfrm>
            <a:prstGeom prst="rect">
              <a:avLst/>
            </a:prstGeom>
            <a:solidFill>
              <a:schemeClr val="tx1">
                <a:lumMod val="50000"/>
                <a:lumOff val="50000"/>
              </a:schemeClr>
            </a:solidFill>
            <a:ln>
              <a:noFill/>
            </a:ln>
          </p:spPr>
          <p:style>
            <a:lnRef idx="1">
              <a:schemeClr val="accent1"/>
            </a:lnRef>
            <a:fillRef idx="2">
              <a:schemeClr val="accent1"/>
            </a:fillRef>
            <a:effectRef idx="1">
              <a:schemeClr val="accent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30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4"/>
            <p:cNvSpPr/>
            <p:nvPr/>
          </p:nvSpPr>
          <p:spPr>
            <a:xfrm>
              <a:off x="1050877" y="3146459"/>
              <a:ext cx="1883392" cy="504967"/>
            </a:xfrm>
            <a:prstGeom prst="rect">
              <a:avLst/>
            </a:prstGeom>
            <a:solidFill>
              <a:schemeClr val="accent2"/>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46464"/>
                  </a:solidFill>
                  <a:effectLst/>
                  <a:uLnTx/>
                  <a:uFillTx/>
                  <a:latin typeface="Arial"/>
                  <a:ea typeface="+mn-ea"/>
                  <a:cs typeface="+mn-cs"/>
                </a:rPr>
                <a:t>TATA Steel</a:t>
              </a:r>
              <a:endParaRPr kumimoji="0" lang="en-IN" sz="2000" b="0" i="0" u="none" strike="noStrike" kern="1200" cap="none" spc="0" normalizeH="0" baseline="0" noProof="0" dirty="0">
                <a:ln>
                  <a:noFill/>
                </a:ln>
                <a:solidFill>
                  <a:srgbClr val="646464"/>
                </a:solidFill>
                <a:effectLst/>
                <a:uLnTx/>
                <a:uFillTx/>
                <a:latin typeface="Arial"/>
                <a:ea typeface="+mn-ea"/>
                <a:cs typeface="+mn-cs"/>
              </a:endParaRPr>
            </a:p>
          </p:txBody>
        </p:sp>
        <p:sp>
          <p:nvSpPr>
            <p:cNvPr id="8" name="Rectangle 7"/>
            <p:cNvSpPr/>
            <p:nvPr/>
          </p:nvSpPr>
          <p:spPr>
            <a:xfrm>
              <a:off x="3086669" y="3146458"/>
              <a:ext cx="1883392" cy="504967"/>
            </a:xfrm>
            <a:prstGeom prst="rect">
              <a:avLst/>
            </a:prstGeom>
            <a:solidFill>
              <a:schemeClr val="accent2"/>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46464"/>
                  </a:solidFill>
                  <a:effectLst/>
                  <a:uLnTx/>
                  <a:uFillTx/>
                  <a:latin typeface="Arial"/>
                  <a:ea typeface="+mn-ea"/>
                  <a:cs typeface="+mn-cs"/>
                </a:rPr>
                <a:t>TATA Motors</a:t>
              </a:r>
              <a:endParaRPr kumimoji="0" lang="en-IN" sz="2000" b="0" i="0" u="none" strike="noStrike" kern="1200" cap="none" spc="0" normalizeH="0" baseline="0" noProof="0" dirty="0">
                <a:ln>
                  <a:noFill/>
                </a:ln>
                <a:solidFill>
                  <a:srgbClr val="646464"/>
                </a:solidFill>
                <a:effectLst/>
                <a:uLnTx/>
                <a:uFillTx/>
                <a:latin typeface="Arial"/>
                <a:ea typeface="+mn-ea"/>
                <a:cs typeface="+mn-cs"/>
              </a:endParaRPr>
            </a:p>
          </p:txBody>
        </p:sp>
        <p:sp>
          <p:nvSpPr>
            <p:cNvPr id="9" name="Rectangle 8"/>
            <p:cNvSpPr/>
            <p:nvPr/>
          </p:nvSpPr>
          <p:spPr>
            <a:xfrm>
              <a:off x="5106537" y="3148733"/>
              <a:ext cx="1883392" cy="504967"/>
            </a:xfrm>
            <a:prstGeom prst="rect">
              <a:avLst/>
            </a:prstGeom>
            <a:solidFill>
              <a:schemeClr val="accent2"/>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46464"/>
                  </a:solidFill>
                  <a:effectLst/>
                  <a:uLnTx/>
                  <a:uFillTx/>
                  <a:latin typeface="Arial"/>
                  <a:ea typeface="+mn-ea"/>
                  <a:cs typeface="+mn-cs"/>
                </a:rPr>
                <a:t>Indian Hotels</a:t>
              </a:r>
              <a:endParaRPr kumimoji="0" lang="en-IN" sz="2000" b="0" i="0" u="none" strike="noStrike" kern="1200" cap="none" spc="0" normalizeH="0" baseline="0" noProof="0" dirty="0">
                <a:ln>
                  <a:noFill/>
                </a:ln>
                <a:solidFill>
                  <a:srgbClr val="646464"/>
                </a:solidFill>
                <a:effectLst/>
                <a:uLnTx/>
                <a:uFillTx/>
                <a:latin typeface="Arial"/>
                <a:ea typeface="+mn-ea"/>
                <a:cs typeface="+mn-cs"/>
              </a:endParaRPr>
            </a:p>
          </p:txBody>
        </p:sp>
        <p:sp>
          <p:nvSpPr>
            <p:cNvPr id="10" name="Rectangle 9"/>
            <p:cNvSpPr/>
            <p:nvPr/>
          </p:nvSpPr>
          <p:spPr>
            <a:xfrm>
              <a:off x="7087739" y="3148733"/>
              <a:ext cx="1448936" cy="504967"/>
            </a:xfrm>
            <a:prstGeom prst="rect">
              <a:avLst/>
            </a:prstGeom>
            <a:solidFill>
              <a:schemeClr val="accent2"/>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46464"/>
                  </a:solidFill>
                  <a:effectLst/>
                  <a:uLnTx/>
                  <a:uFillTx/>
                  <a:latin typeface="Arial"/>
                  <a:ea typeface="+mn-ea"/>
                  <a:cs typeface="+mn-cs"/>
                </a:rPr>
                <a:t>TCS</a:t>
              </a:r>
              <a:endParaRPr kumimoji="0" lang="en-IN" sz="2000" b="0" i="0" u="none" strike="noStrike" kern="1200" cap="none" spc="0" normalizeH="0" baseline="0" noProof="0" dirty="0">
                <a:ln>
                  <a:noFill/>
                </a:ln>
                <a:solidFill>
                  <a:srgbClr val="646464"/>
                </a:solidFill>
                <a:effectLst/>
                <a:uLnTx/>
                <a:uFillTx/>
                <a:latin typeface="Arial"/>
                <a:ea typeface="+mn-ea"/>
                <a:cs typeface="+mn-cs"/>
              </a:endParaRPr>
            </a:p>
          </p:txBody>
        </p:sp>
        <p:cxnSp>
          <p:nvCxnSpPr>
            <p:cNvPr id="19" name="Straight Connector 18"/>
            <p:cNvCxnSpPr/>
            <p:nvPr/>
          </p:nvCxnSpPr>
          <p:spPr>
            <a:xfrm>
              <a:off x="1907029" y="2750674"/>
              <a:ext cx="6008914" cy="2274"/>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907029" y="2752948"/>
              <a:ext cx="0" cy="395784"/>
            </a:xfrm>
            <a:prstGeom prst="straightConnector1">
              <a:avLst/>
            </a:prstGeom>
            <a:ln w="95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3905534" y="2750674"/>
              <a:ext cx="0" cy="395784"/>
            </a:xfrm>
            <a:prstGeom prst="straightConnector1">
              <a:avLst/>
            </a:prstGeom>
            <a:ln w="95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048233" y="2752949"/>
              <a:ext cx="0" cy="395784"/>
            </a:xfrm>
            <a:prstGeom prst="straightConnector1">
              <a:avLst/>
            </a:prstGeom>
            <a:ln w="95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7915943" y="2752948"/>
              <a:ext cx="0" cy="395784"/>
            </a:xfrm>
            <a:prstGeom prst="straightConnector1">
              <a:avLst/>
            </a:prstGeom>
            <a:ln w="95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174060" y="2269927"/>
              <a:ext cx="1110882" cy="402188"/>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CLIENT</a:t>
              </a:r>
              <a:endParaRPr kumimoji="0" lang="en-IN" sz="2400" b="1"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39" name="Group 38"/>
          <p:cNvGrpSpPr/>
          <p:nvPr/>
        </p:nvGrpSpPr>
        <p:grpSpPr>
          <a:xfrm>
            <a:off x="671568" y="4647475"/>
            <a:ext cx="7977116" cy="1176292"/>
            <a:chOff x="587129" y="4285397"/>
            <a:chExt cx="7977116" cy="1883391"/>
          </a:xfrm>
        </p:grpSpPr>
        <p:sp>
          <p:nvSpPr>
            <p:cNvPr id="40" name="Rectangle 39"/>
            <p:cNvSpPr/>
            <p:nvPr/>
          </p:nvSpPr>
          <p:spPr>
            <a:xfrm>
              <a:off x="587129" y="4285397"/>
              <a:ext cx="7977116" cy="1883391"/>
            </a:xfrm>
            <a:prstGeom prst="rect">
              <a:avLst/>
            </a:prstGeom>
            <a:solidFill>
              <a:schemeClr val="bg1">
                <a:lumMod val="20000"/>
                <a:lumOff val="8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dirty="0">
                <a:ln>
                  <a:noFill/>
                </a:ln>
                <a:solidFill>
                  <a:srgbClr val="646464"/>
                </a:solidFill>
                <a:effectLst/>
                <a:uLnTx/>
                <a:uFillTx/>
                <a:latin typeface="Arial"/>
                <a:ea typeface="+mn-ea"/>
                <a:cs typeface="+mn-cs"/>
              </a:endParaRPr>
            </a:p>
          </p:txBody>
        </p:sp>
        <p:sp>
          <p:nvSpPr>
            <p:cNvPr id="41" name="Rectangle 40"/>
            <p:cNvSpPr/>
            <p:nvPr/>
          </p:nvSpPr>
          <p:spPr>
            <a:xfrm>
              <a:off x="693274" y="4907434"/>
              <a:ext cx="1874520" cy="1173708"/>
            </a:xfrm>
            <a:prstGeom prst="rect">
              <a:avLst/>
            </a:prstGeom>
            <a:solidFill>
              <a:schemeClr val="accent4"/>
            </a:solidFill>
            <a:ln>
              <a:solidFill>
                <a:schemeClr val="bg1">
                  <a:lumMod val="75000"/>
                </a:schemeClr>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6464"/>
                  </a:solidFill>
                  <a:effectLst/>
                  <a:uLnTx/>
                  <a:uFillTx/>
                  <a:latin typeface="Arial"/>
                  <a:ea typeface="+mn-ea"/>
                  <a:cs typeface="+mn-cs"/>
                </a:rPr>
                <a:t>Assura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646464"/>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Audit (Statu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Forensics</a:t>
              </a:r>
              <a:endParaRPr kumimoji="0" lang="en-IN" sz="1050" b="1" i="0" u="none" strike="noStrike" kern="1200" cap="none" spc="0" normalizeH="0" baseline="0" noProof="0" dirty="0">
                <a:ln>
                  <a:noFill/>
                </a:ln>
                <a:solidFill>
                  <a:srgbClr val="646464"/>
                </a:solidFill>
                <a:effectLst/>
                <a:uLnTx/>
                <a:uFillTx/>
                <a:latin typeface="Arial"/>
                <a:ea typeface="+mn-ea"/>
                <a:cs typeface="+mn-cs"/>
              </a:endParaRPr>
            </a:p>
          </p:txBody>
        </p:sp>
        <p:sp>
          <p:nvSpPr>
            <p:cNvPr id="42" name="Rectangle 41"/>
            <p:cNvSpPr/>
            <p:nvPr/>
          </p:nvSpPr>
          <p:spPr>
            <a:xfrm>
              <a:off x="2652272" y="4907282"/>
              <a:ext cx="1874520" cy="1173708"/>
            </a:xfrm>
            <a:prstGeom prst="rect">
              <a:avLst/>
            </a:prstGeom>
            <a:solidFill>
              <a:schemeClr val="accent4"/>
            </a:solidFill>
            <a:ln>
              <a:solidFill>
                <a:schemeClr val="bg1">
                  <a:lumMod val="75000"/>
                </a:schemeClr>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6464"/>
                  </a:solidFill>
                  <a:effectLst/>
                  <a:uLnTx/>
                  <a:uFillTx/>
                  <a:latin typeface="Arial"/>
                  <a:ea typeface="+mn-ea"/>
                  <a:cs typeface="+mn-cs"/>
                </a:rPr>
                <a:t>Tax</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646464"/>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Tax Return fi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Tax </a:t>
              </a:r>
              <a:r>
                <a:rPr kumimoji="0" lang="en-US" sz="1050" b="1" i="0" u="none" strike="noStrike" kern="1200" cap="none" spc="0" normalizeH="0" baseline="0" noProof="0" dirty="0" err="1">
                  <a:ln>
                    <a:noFill/>
                  </a:ln>
                  <a:solidFill>
                    <a:srgbClr val="646464"/>
                  </a:solidFill>
                  <a:effectLst/>
                  <a:uLnTx/>
                  <a:uFillTx/>
                  <a:latin typeface="Arial"/>
                  <a:ea typeface="+mn-ea"/>
                  <a:cs typeface="+mn-cs"/>
                </a:rPr>
                <a:t>Mngt</a:t>
              </a:r>
              <a:r>
                <a:rPr kumimoji="0" lang="en-US" sz="1050" b="1" i="0" u="none" strike="noStrike" kern="1200" cap="none" spc="0" normalizeH="0" baseline="0" noProof="0" dirty="0">
                  <a:ln>
                    <a:noFill/>
                  </a:ln>
                  <a:solidFill>
                    <a:srgbClr val="646464"/>
                  </a:solidFill>
                  <a:effectLst/>
                  <a:uLnTx/>
                  <a:uFillTx/>
                  <a:latin typeface="Arial"/>
                  <a:ea typeface="+mn-ea"/>
                  <a:cs typeface="+mn-cs"/>
                </a:rPr>
                <a:t> Services</a:t>
              </a:r>
            </a:p>
          </p:txBody>
        </p:sp>
        <p:sp>
          <p:nvSpPr>
            <p:cNvPr id="43" name="Rectangle 42"/>
            <p:cNvSpPr/>
            <p:nvPr/>
          </p:nvSpPr>
          <p:spPr>
            <a:xfrm>
              <a:off x="4611270" y="4906907"/>
              <a:ext cx="1874520" cy="1173708"/>
            </a:xfrm>
            <a:prstGeom prst="rect">
              <a:avLst/>
            </a:prstGeom>
            <a:solidFill>
              <a:schemeClr val="accent4"/>
            </a:solidFill>
            <a:ln>
              <a:solidFill>
                <a:schemeClr val="bg1">
                  <a:lumMod val="75000"/>
                </a:schemeClr>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6464"/>
                  </a:solidFill>
                  <a:effectLst/>
                  <a:uLnTx/>
                  <a:uFillTx/>
                  <a:latin typeface="Arial"/>
                  <a:ea typeface="+mn-ea"/>
                  <a:cs typeface="+mn-cs"/>
                </a:rPr>
                <a:t>Adviso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646464"/>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Performance </a:t>
              </a:r>
              <a:r>
                <a:rPr kumimoji="0" lang="en-US" sz="1050" b="1" i="0" u="none" strike="noStrike" kern="1200" cap="none" spc="0" normalizeH="0" baseline="0" noProof="0" dirty="0" err="1">
                  <a:ln>
                    <a:noFill/>
                  </a:ln>
                  <a:solidFill>
                    <a:srgbClr val="646464"/>
                  </a:solidFill>
                  <a:effectLst/>
                  <a:uLnTx/>
                  <a:uFillTx/>
                  <a:latin typeface="Arial"/>
                  <a:ea typeface="+mn-ea"/>
                  <a:cs typeface="+mn-cs"/>
                </a:rPr>
                <a:t>Improvmt</a:t>
              </a:r>
              <a:endParaRPr kumimoji="0" lang="en-US" sz="1050" b="1" i="0" u="none" strike="noStrike" kern="1200" cap="none" spc="0" normalizeH="0" baseline="0" noProof="0" dirty="0">
                <a:ln>
                  <a:noFill/>
                </a:ln>
                <a:solidFill>
                  <a:srgbClr val="646464"/>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Internal Audit</a:t>
              </a:r>
            </a:p>
          </p:txBody>
        </p:sp>
        <p:sp>
          <p:nvSpPr>
            <p:cNvPr id="44" name="Rectangle 43"/>
            <p:cNvSpPr/>
            <p:nvPr/>
          </p:nvSpPr>
          <p:spPr>
            <a:xfrm>
              <a:off x="6569337" y="4906907"/>
              <a:ext cx="1874520" cy="1173708"/>
            </a:xfrm>
            <a:prstGeom prst="rect">
              <a:avLst/>
            </a:prstGeom>
            <a:solidFill>
              <a:schemeClr val="accent4"/>
            </a:solidFill>
            <a:ln>
              <a:solidFill>
                <a:schemeClr val="bg1">
                  <a:lumMod val="75000"/>
                </a:schemeClr>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6464"/>
                  </a:solidFill>
                  <a:effectLst/>
                  <a:uLnTx/>
                  <a:uFillTx/>
                  <a:latin typeface="Arial"/>
                  <a:ea typeface="+mn-ea"/>
                  <a:cs typeface="+mn-cs"/>
                </a:rPr>
                <a:t>T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646464"/>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Capital Structu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646464"/>
                  </a:solidFill>
                  <a:effectLst/>
                  <a:uLnTx/>
                  <a:uFillTx/>
                  <a:latin typeface="Arial"/>
                  <a:ea typeface="+mn-ea"/>
                  <a:cs typeface="+mn-cs"/>
                </a:rPr>
                <a:t>Merger &amp; Acquis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646464"/>
                </a:solidFill>
                <a:effectLst/>
                <a:uLnTx/>
                <a:uFillTx/>
                <a:latin typeface="Arial"/>
                <a:ea typeface="+mn-ea"/>
                <a:cs typeface="+mn-cs"/>
              </a:endParaRPr>
            </a:p>
          </p:txBody>
        </p:sp>
        <p:sp>
          <p:nvSpPr>
            <p:cNvPr id="45" name="TextBox 44"/>
            <p:cNvSpPr txBox="1"/>
            <p:nvPr/>
          </p:nvSpPr>
          <p:spPr>
            <a:xfrm>
              <a:off x="2122768" y="4355472"/>
              <a:ext cx="4891596" cy="561779"/>
            </a:xfrm>
            <a:prstGeom prst="rect">
              <a:avLst/>
            </a:prstGeom>
            <a:noFill/>
          </p:spPr>
          <p:txBody>
            <a:bodyPr wrap="non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2400" b="1" i="0" u="none" strike="noStrike" kern="1200" cap="none" spc="0" normalizeH="0" baseline="0" noProof="0" dirty="0">
                  <a:ln>
                    <a:noFill/>
                  </a:ln>
                  <a:solidFill>
                    <a:srgbClr val="646464"/>
                  </a:solidFill>
                  <a:effectLst/>
                  <a:uLnTx/>
                  <a:uFillTx/>
                  <a:latin typeface="Arial"/>
                  <a:ea typeface="+mn-ea"/>
                  <a:cs typeface="+mn-cs"/>
                </a:rPr>
                <a:t>OPPORTUNITY </a:t>
              </a:r>
              <a:r>
                <a:rPr kumimoji="0" lang="en-US" sz="2400" b="1" i="0" u="none" strike="noStrike" kern="1200" cap="none" spc="0" normalizeH="0" baseline="0" noProof="0" dirty="0">
                  <a:ln>
                    <a:noFill/>
                  </a:ln>
                  <a:solidFill>
                    <a:srgbClr val="646464"/>
                  </a:solidFill>
                  <a:effectLst/>
                  <a:uLnTx/>
                  <a:uFillTx/>
                  <a:latin typeface="Arial"/>
                  <a:ea typeface="+mn-ea"/>
                  <a:cs typeface="+mn-cs"/>
                  <a:sym typeface="Wingdings" panose="05000000000000000000" pitchFamily="2" charset="2"/>
                </a:rPr>
                <a:t> </a:t>
              </a:r>
              <a:r>
                <a:rPr kumimoji="0" lang="en-US" sz="2400" b="1" i="0" u="none" strike="noStrike" kern="1200" cap="none" spc="0" normalizeH="0" baseline="0" noProof="0" dirty="0">
                  <a:ln>
                    <a:noFill/>
                  </a:ln>
                  <a:solidFill>
                    <a:srgbClr val="646464"/>
                  </a:solidFill>
                  <a:effectLst/>
                  <a:uLnTx/>
                  <a:uFillTx/>
                  <a:latin typeface="Arial"/>
                  <a:ea typeface="+mn-ea"/>
                  <a:cs typeface="+mn-cs"/>
                </a:rPr>
                <a:t>ENGAGEMENT</a:t>
              </a:r>
              <a:endParaRPr kumimoji="0" lang="en-IN" sz="2400" b="1" i="0" u="none" strike="noStrike" kern="1200" cap="none" spc="0" normalizeH="0" baseline="0" noProof="0" dirty="0" err="1">
                <a:ln>
                  <a:noFill/>
                </a:ln>
                <a:solidFill>
                  <a:srgbClr val="646464"/>
                </a:solidFill>
                <a:effectLst/>
                <a:uLnTx/>
                <a:uFillTx/>
                <a:latin typeface="Arial"/>
                <a:ea typeface="+mn-ea"/>
                <a:cs typeface="+mn-cs"/>
              </a:endParaRPr>
            </a:p>
          </p:txBody>
        </p:sp>
      </p:grpSp>
      <p:cxnSp>
        <p:nvCxnSpPr>
          <p:cNvPr id="25" name="Straight Connector 24"/>
          <p:cNvCxnSpPr/>
          <p:nvPr/>
        </p:nvCxnSpPr>
        <p:spPr>
          <a:xfrm>
            <a:off x="4643885" y="2789869"/>
            <a:ext cx="4324" cy="115292"/>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3656779" y="1733414"/>
            <a:ext cx="1883392" cy="312561"/>
          </a:xfrm>
          <a:prstGeom prst="rect">
            <a:avLst/>
          </a:prstGeom>
          <a:solidFill>
            <a:schemeClr val="accent2"/>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46464"/>
                </a:solidFill>
                <a:effectLst/>
                <a:uLnTx/>
                <a:uFillTx/>
                <a:latin typeface="Arial"/>
                <a:ea typeface="+mn-ea"/>
                <a:cs typeface="+mn-cs"/>
              </a:rPr>
              <a:t>TATA Sons</a:t>
            </a:r>
            <a:endParaRPr kumimoji="0" lang="en-IN" sz="2000" b="0" i="0" u="none" strike="noStrike" kern="1200" cap="none" spc="0" normalizeH="0" baseline="0" noProof="0" dirty="0">
              <a:ln>
                <a:noFill/>
              </a:ln>
              <a:solidFill>
                <a:srgbClr val="646464"/>
              </a:solidFill>
              <a:effectLst/>
              <a:uLnTx/>
              <a:uFillTx/>
              <a:latin typeface="Arial"/>
              <a:ea typeface="+mn-ea"/>
              <a:cs typeface="+mn-cs"/>
            </a:endParaRPr>
          </a:p>
        </p:txBody>
      </p:sp>
      <p:cxnSp>
        <p:nvCxnSpPr>
          <p:cNvPr id="52" name="Straight Connector 51"/>
          <p:cNvCxnSpPr/>
          <p:nvPr/>
        </p:nvCxnSpPr>
        <p:spPr>
          <a:xfrm flipV="1">
            <a:off x="1495249" y="4320752"/>
            <a:ext cx="6034137" cy="3111"/>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1495248" y="4323863"/>
            <a:ext cx="0" cy="314791"/>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4628867" y="2050255"/>
            <a:ext cx="0" cy="415215"/>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cxnSpLocks/>
          </p:cNvCxnSpPr>
          <p:nvPr/>
        </p:nvCxnSpPr>
        <p:spPr>
          <a:xfrm>
            <a:off x="4645916" y="3838050"/>
            <a:ext cx="2293" cy="504568"/>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547699" y="4342618"/>
            <a:ext cx="0" cy="314791"/>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5632969" y="4320752"/>
            <a:ext cx="0" cy="314791"/>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29259" y="4318867"/>
            <a:ext cx="0" cy="314791"/>
          </a:xfrm>
          <a:prstGeom prst="straightConnector1">
            <a:avLst/>
          </a:prstGeom>
          <a:ln w="9525">
            <a:solidFill>
              <a:schemeClr val="bg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265249"/>
      </p:ext>
    </p:extLst>
  </p:cSld>
  <p:clrMapOvr>
    <a:masterClrMapping/>
  </p:clrMapOvr>
  <mc:AlternateContent xmlns:mc="http://schemas.openxmlformats.org/markup-compatibility/2006" xmlns:p14="http://schemas.microsoft.com/office/powerpoint/2010/main">
    <mc:Choice Requires="p14">
      <p:transition spd="slow" p14:dur="1500" advTm="51673">
        <p:split orient="vert"/>
      </p:transition>
    </mc:Choice>
    <mc:Fallback xmlns="">
      <p:transition spd="slow" advTm="51673">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Isosceles Triangle 16">
            <a:extLst>
              <a:ext uri="{FF2B5EF4-FFF2-40B4-BE49-F238E27FC236}">
                <a16:creationId xmlns:a16="http://schemas.microsoft.com/office/drawing/2014/main" id="{FCA30013-DFAA-4536-BA04-BC2B97416EB5}"/>
              </a:ext>
            </a:extLst>
          </p:cNvPr>
          <p:cNvSpPr/>
          <p:nvPr/>
        </p:nvSpPr>
        <p:spPr>
          <a:xfrm flipV="1">
            <a:off x="6376204" y="1159208"/>
            <a:ext cx="5466163" cy="657610"/>
          </a:xfrm>
          <a:custGeom>
            <a:avLst/>
            <a:gdLst/>
            <a:ahLst/>
            <a:cxnLst/>
            <a:rect l="l" t="t" r="r" b="b"/>
            <a:pathLst>
              <a:path w="4062413" h="1863287">
                <a:moveTo>
                  <a:pt x="0" y="1863287"/>
                </a:moveTo>
                <a:lnTo>
                  <a:pt x="4062413" y="1863287"/>
                </a:lnTo>
                <a:lnTo>
                  <a:pt x="4062413" y="425012"/>
                </a:lnTo>
                <a:lnTo>
                  <a:pt x="3799332" y="425012"/>
                </a:lnTo>
                <a:lnTo>
                  <a:pt x="3552825" y="0"/>
                </a:lnTo>
                <a:lnTo>
                  <a:pt x="3306318" y="425012"/>
                </a:lnTo>
                <a:lnTo>
                  <a:pt x="0" y="425012"/>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4498" tIns="52249" rIns="104498" bIns="52249" rtlCol="0" anchor="t" anchorCtr="0"/>
          <a:lstStyle/>
          <a:p>
            <a:pPr algn="ctr"/>
            <a:endParaRPr lang="en-IN" sz="1400" dirty="0">
              <a:solidFill>
                <a:schemeClr val="tx1"/>
              </a:solidFill>
            </a:endParaRPr>
          </a:p>
        </p:txBody>
      </p:sp>
      <p:sp>
        <p:nvSpPr>
          <p:cNvPr id="130" name="Isosceles Triangle 16">
            <a:extLst>
              <a:ext uri="{FF2B5EF4-FFF2-40B4-BE49-F238E27FC236}">
                <a16:creationId xmlns:a16="http://schemas.microsoft.com/office/drawing/2014/main" id="{1DDD4AF9-344A-4618-A2F8-E11B69A05B05}"/>
              </a:ext>
            </a:extLst>
          </p:cNvPr>
          <p:cNvSpPr/>
          <p:nvPr/>
        </p:nvSpPr>
        <p:spPr>
          <a:xfrm flipV="1">
            <a:off x="450945" y="1145118"/>
            <a:ext cx="5385168" cy="657610"/>
          </a:xfrm>
          <a:custGeom>
            <a:avLst/>
            <a:gdLst/>
            <a:ahLst/>
            <a:cxnLst/>
            <a:rect l="l" t="t" r="r" b="b"/>
            <a:pathLst>
              <a:path w="4062413" h="1863287">
                <a:moveTo>
                  <a:pt x="0" y="1863287"/>
                </a:moveTo>
                <a:lnTo>
                  <a:pt x="4062413" y="1863287"/>
                </a:lnTo>
                <a:lnTo>
                  <a:pt x="4062413" y="425012"/>
                </a:lnTo>
                <a:lnTo>
                  <a:pt x="3799332" y="425012"/>
                </a:lnTo>
                <a:lnTo>
                  <a:pt x="3552825" y="0"/>
                </a:lnTo>
                <a:lnTo>
                  <a:pt x="3306318" y="425012"/>
                </a:lnTo>
                <a:lnTo>
                  <a:pt x="0" y="425012"/>
                </a:lnTo>
                <a:close/>
              </a:path>
            </a:pathLst>
          </a:cu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4498" tIns="52249" rIns="104498" bIns="52249" rtlCol="0" anchor="t" anchorCtr="0"/>
          <a:lstStyle/>
          <a:p>
            <a:pPr algn="ctr"/>
            <a:endParaRPr lang="en-IN" sz="1400" dirty="0">
              <a:solidFill>
                <a:schemeClr val="tx1"/>
              </a:solidFill>
            </a:endParaRPr>
          </a:p>
        </p:txBody>
      </p:sp>
      <p:sp>
        <p:nvSpPr>
          <p:cNvPr id="15" name="Title 14"/>
          <p:cNvSpPr>
            <a:spLocks noGrp="1"/>
          </p:cNvSpPr>
          <p:nvPr>
            <p:ph type="title"/>
          </p:nvPr>
        </p:nvSpPr>
        <p:spPr>
          <a:xfrm>
            <a:off x="554477" y="183882"/>
            <a:ext cx="11021437" cy="860400"/>
          </a:xfrm>
        </p:spPr>
        <p:txBody>
          <a:bodyPr anchor="ctr"/>
          <a:lstStyle/>
          <a:p>
            <a:r>
              <a:rPr lang="en-US" sz="2400" dirty="0">
                <a:solidFill>
                  <a:schemeClr val="bg1">
                    <a:lumMod val="75000"/>
                  </a:schemeClr>
                </a:solidFill>
                <a:latin typeface="EYInterstate" panose="02000503020000020004" pitchFamily="2" charset="0"/>
              </a:rPr>
              <a:t>Opportunity and Engagement Life Cycle – Legacy vs Mercury</a:t>
            </a:r>
            <a:endParaRPr lang="en-IN" sz="2400" dirty="0">
              <a:solidFill>
                <a:schemeClr val="bg1">
                  <a:lumMod val="75000"/>
                </a:schemeClr>
              </a:solidFill>
              <a:latin typeface="EYInterstate" panose="02000503020000020004" pitchFamily="2" charset="0"/>
            </a:endParaRPr>
          </a:p>
        </p:txBody>
      </p:sp>
      <p:grpSp>
        <p:nvGrpSpPr>
          <p:cNvPr id="22" name="Group 21"/>
          <p:cNvGrpSpPr/>
          <p:nvPr/>
        </p:nvGrpSpPr>
        <p:grpSpPr>
          <a:xfrm>
            <a:off x="450945" y="2049545"/>
            <a:ext cx="5401158" cy="1028818"/>
            <a:chOff x="457200" y="1655229"/>
            <a:chExt cx="8485129" cy="772285"/>
          </a:xfrm>
        </p:grpSpPr>
        <p:sp>
          <p:nvSpPr>
            <p:cNvPr id="51" name="Rectangle 50"/>
            <p:cNvSpPr/>
            <p:nvPr/>
          </p:nvSpPr>
          <p:spPr>
            <a:xfrm>
              <a:off x="457200" y="1664640"/>
              <a:ext cx="1200348" cy="757254"/>
            </a:xfrm>
            <a:prstGeom prst="rect">
              <a:avLst/>
            </a:prstGeom>
            <a:solidFill>
              <a:schemeClr val="bg1">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Create Client / Opportunity</a:t>
              </a:r>
              <a:endParaRPr lang="en-IN" sz="1100" dirty="0">
                <a:solidFill>
                  <a:schemeClr val="tx1"/>
                </a:solidFill>
              </a:endParaRPr>
            </a:p>
          </p:txBody>
        </p:sp>
        <p:sp>
          <p:nvSpPr>
            <p:cNvPr id="52" name="Rectangle 51"/>
            <p:cNvSpPr/>
            <p:nvPr/>
          </p:nvSpPr>
          <p:spPr>
            <a:xfrm>
              <a:off x="1666042" y="1664640"/>
              <a:ext cx="1200348" cy="757254"/>
            </a:xfrm>
            <a:prstGeom prst="rect">
              <a:avLst/>
            </a:prstGeom>
            <a:solidFill>
              <a:schemeClr val="bg1">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Update opportunity attributes</a:t>
              </a:r>
              <a:endParaRPr lang="en-IN" sz="1100" dirty="0">
                <a:solidFill>
                  <a:schemeClr val="tx1"/>
                </a:solidFill>
              </a:endParaRPr>
            </a:p>
          </p:txBody>
        </p:sp>
        <p:sp>
          <p:nvSpPr>
            <p:cNvPr id="53" name="Rectangle 52"/>
            <p:cNvSpPr/>
            <p:nvPr/>
          </p:nvSpPr>
          <p:spPr>
            <a:xfrm>
              <a:off x="2873674" y="1670260"/>
              <a:ext cx="1200348" cy="757254"/>
            </a:xfrm>
            <a:prstGeom prst="rect">
              <a:avLst/>
            </a:prstGeom>
            <a:solidFill>
              <a:schemeClr val="bg1">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Opportunity GTAC Assessment</a:t>
              </a:r>
              <a:endParaRPr lang="en-IN" sz="1100" dirty="0">
                <a:solidFill>
                  <a:schemeClr val="tx1"/>
                </a:solidFill>
              </a:endParaRPr>
            </a:p>
          </p:txBody>
        </p:sp>
        <p:sp>
          <p:nvSpPr>
            <p:cNvPr id="54" name="Rectangle 53"/>
            <p:cNvSpPr/>
            <p:nvPr/>
          </p:nvSpPr>
          <p:spPr>
            <a:xfrm>
              <a:off x="4095833" y="1670260"/>
              <a:ext cx="1200348" cy="757254"/>
            </a:xfrm>
            <a:prstGeom prst="rect">
              <a:avLst/>
            </a:prstGeom>
            <a:solidFill>
              <a:schemeClr val="bg1">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Update stages accordingly *</a:t>
              </a:r>
              <a:endParaRPr lang="en-IN" sz="1100" dirty="0">
                <a:solidFill>
                  <a:schemeClr val="tx1"/>
                </a:solidFill>
              </a:endParaRPr>
            </a:p>
          </p:txBody>
        </p:sp>
        <p:sp>
          <p:nvSpPr>
            <p:cNvPr id="55" name="Rectangle 54"/>
            <p:cNvSpPr/>
            <p:nvPr/>
          </p:nvSpPr>
          <p:spPr>
            <a:xfrm>
              <a:off x="6525304" y="1670260"/>
              <a:ext cx="1200348" cy="757254"/>
            </a:xfrm>
            <a:prstGeom prst="rect">
              <a:avLst/>
            </a:prstGeom>
            <a:solidFill>
              <a:schemeClr val="bg1">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Close</a:t>
              </a:r>
              <a:endParaRPr lang="en-IN" sz="1100" dirty="0">
                <a:solidFill>
                  <a:schemeClr val="tx1"/>
                </a:solidFill>
              </a:endParaRPr>
            </a:p>
          </p:txBody>
        </p:sp>
        <p:grpSp>
          <p:nvGrpSpPr>
            <p:cNvPr id="19" name="Group 18"/>
            <p:cNvGrpSpPr/>
            <p:nvPr/>
          </p:nvGrpSpPr>
          <p:grpSpPr>
            <a:xfrm>
              <a:off x="7741981" y="1655229"/>
              <a:ext cx="1200348" cy="762874"/>
              <a:chOff x="7336972" y="918438"/>
              <a:chExt cx="1200348" cy="2271762"/>
            </a:xfrm>
          </p:grpSpPr>
          <p:sp>
            <p:nvSpPr>
              <p:cNvPr id="57" name="Rectangle 56"/>
              <p:cNvSpPr/>
              <p:nvPr/>
            </p:nvSpPr>
            <p:spPr>
              <a:xfrm>
                <a:off x="7336972" y="918438"/>
                <a:ext cx="1200348" cy="757254"/>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Won</a:t>
                </a:r>
                <a:endParaRPr lang="en-IN" sz="1100" dirty="0">
                  <a:solidFill>
                    <a:schemeClr val="tx1"/>
                  </a:solidFill>
                </a:endParaRPr>
              </a:p>
            </p:txBody>
          </p:sp>
          <p:sp>
            <p:nvSpPr>
              <p:cNvPr id="58" name="Rectangle 57"/>
              <p:cNvSpPr/>
              <p:nvPr/>
            </p:nvSpPr>
            <p:spPr>
              <a:xfrm>
                <a:off x="7336972" y="1675692"/>
                <a:ext cx="1200348" cy="757254"/>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Lost</a:t>
                </a:r>
                <a:endParaRPr lang="en-IN" sz="1100" dirty="0">
                  <a:solidFill>
                    <a:schemeClr val="tx1"/>
                  </a:solidFill>
                </a:endParaRPr>
              </a:p>
            </p:txBody>
          </p:sp>
          <p:sp>
            <p:nvSpPr>
              <p:cNvPr id="59" name="Rectangle 58"/>
              <p:cNvSpPr/>
              <p:nvPr/>
            </p:nvSpPr>
            <p:spPr>
              <a:xfrm>
                <a:off x="7336972" y="2432946"/>
                <a:ext cx="1200348" cy="757254"/>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Declined</a:t>
                </a:r>
                <a:endParaRPr lang="en-IN" sz="1100" dirty="0">
                  <a:solidFill>
                    <a:schemeClr val="tx1"/>
                  </a:solidFill>
                </a:endParaRPr>
              </a:p>
            </p:txBody>
          </p:sp>
        </p:grpSp>
        <p:grpSp>
          <p:nvGrpSpPr>
            <p:cNvPr id="21" name="Group 20"/>
            <p:cNvGrpSpPr/>
            <p:nvPr/>
          </p:nvGrpSpPr>
          <p:grpSpPr>
            <a:xfrm>
              <a:off x="5317992" y="1670260"/>
              <a:ext cx="1200348" cy="751634"/>
              <a:chOff x="5491018" y="1398186"/>
              <a:chExt cx="1200348" cy="1023708"/>
            </a:xfrm>
          </p:grpSpPr>
          <p:sp>
            <p:nvSpPr>
              <p:cNvPr id="63" name="Rectangle 62"/>
              <p:cNvSpPr/>
              <p:nvPr/>
            </p:nvSpPr>
            <p:spPr>
              <a:xfrm>
                <a:off x="5491018" y="1659020"/>
                <a:ext cx="1200348" cy="254291"/>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Qualify</a:t>
                </a:r>
                <a:endParaRPr lang="en-IN" sz="1100" dirty="0">
                  <a:solidFill>
                    <a:schemeClr val="tx1"/>
                  </a:solidFill>
                </a:endParaRPr>
              </a:p>
            </p:txBody>
          </p:sp>
          <p:sp>
            <p:nvSpPr>
              <p:cNvPr id="64" name="Rectangle 63"/>
              <p:cNvSpPr/>
              <p:nvPr/>
            </p:nvSpPr>
            <p:spPr>
              <a:xfrm>
                <a:off x="5491018" y="1913311"/>
                <a:ext cx="1200348" cy="254291"/>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Pursue</a:t>
                </a:r>
                <a:endParaRPr lang="en-IN" sz="1100" dirty="0">
                  <a:solidFill>
                    <a:schemeClr val="tx1"/>
                  </a:solidFill>
                </a:endParaRPr>
              </a:p>
            </p:txBody>
          </p:sp>
          <p:sp>
            <p:nvSpPr>
              <p:cNvPr id="65" name="Rectangle 64"/>
              <p:cNvSpPr/>
              <p:nvPr/>
            </p:nvSpPr>
            <p:spPr>
              <a:xfrm>
                <a:off x="5491018" y="2167603"/>
                <a:ext cx="1200348" cy="254291"/>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Closing</a:t>
                </a:r>
                <a:endParaRPr lang="en-IN" sz="1100" dirty="0">
                  <a:solidFill>
                    <a:schemeClr val="tx1"/>
                  </a:solidFill>
                </a:endParaRPr>
              </a:p>
            </p:txBody>
          </p:sp>
          <p:sp>
            <p:nvSpPr>
              <p:cNvPr id="66" name="Rectangle 65"/>
              <p:cNvSpPr/>
              <p:nvPr/>
            </p:nvSpPr>
            <p:spPr>
              <a:xfrm>
                <a:off x="5491018" y="1398186"/>
                <a:ext cx="1200348" cy="254291"/>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solidFill>
                      <a:schemeClr val="tx1"/>
                    </a:solidFill>
                  </a:rPr>
                  <a:t>Identify</a:t>
                </a:r>
                <a:endParaRPr lang="en-IN" sz="1100" dirty="0">
                  <a:solidFill>
                    <a:schemeClr val="tx1"/>
                  </a:solidFill>
                </a:endParaRPr>
              </a:p>
            </p:txBody>
          </p:sp>
        </p:grpSp>
      </p:grpSp>
      <p:sp>
        <p:nvSpPr>
          <p:cNvPr id="23" name="Rectangle 22"/>
          <p:cNvSpPr/>
          <p:nvPr/>
        </p:nvSpPr>
        <p:spPr>
          <a:xfrm>
            <a:off x="450945" y="1817979"/>
            <a:ext cx="5401158" cy="22408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2"/>
                </a:solidFill>
              </a:rPr>
              <a:t>Opportunity Cycle (IA)</a:t>
            </a:r>
            <a:endParaRPr lang="en-IN" sz="2000" b="1" dirty="0">
              <a:solidFill>
                <a:schemeClr val="tx2"/>
              </a:solidFill>
            </a:endParaRPr>
          </a:p>
        </p:txBody>
      </p:sp>
      <p:sp>
        <p:nvSpPr>
          <p:cNvPr id="70" name="Rectangle 69"/>
          <p:cNvSpPr/>
          <p:nvPr/>
        </p:nvSpPr>
        <p:spPr>
          <a:xfrm>
            <a:off x="446610" y="3924666"/>
            <a:ext cx="5404916" cy="27118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2"/>
                </a:solidFill>
              </a:rPr>
              <a:t>Engagement Cycle (GFIS)</a:t>
            </a:r>
            <a:endParaRPr lang="en-IN" sz="2000" b="1" dirty="0">
              <a:solidFill>
                <a:schemeClr val="tx2"/>
              </a:solidFill>
            </a:endParaRPr>
          </a:p>
        </p:txBody>
      </p:sp>
      <p:pic>
        <p:nvPicPr>
          <p:cNvPr id="3" name="Picture 2"/>
          <p:cNvPicPr>
            <a:picLocks noChangeAspect="1"/>
          </p:cNvPicPr>
          <p:nvPr/>
        </p:nvPicPr>
        <p:blipFill>
          <a:blip r:embed="rId2"/>
          <a:stretch>
            <a:fillRect/>
          </a:stretch>
        </p:blipFill>
        <p:spPr>
          <a:xfrm>
            <a:off x="371676" y="4200904"/>
            <a:ext cx="5592458" cy="1948280"/>
          </a:xfrm>
          <a:prstGeom prst="rect">
            <a:avLst/>
          </a:prstGeom>
        </p:spPr>
      </p:pic>
      <p:sp>
        <p:nvSpPr>
          <p:cNvPr id="4" name="TextBox 3"/>
          <p:cNvSpPr txBox="1"/>
          <p:nvPr/>
        </p:nvSpPr>
        <p:spPr>
          <a:xfrm>
            <a:off x="470914" y="3340698"/>
            <a:ext cx="5247553" cy="42934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000" i="1" dirty="0">
                <a:solidFill>
                  <a:schemeClr val="bg1"/>
                </a:solidFill>
              </a:rPr>
              <a:t>* Note: Opportunities once created in the system and move through various stages, they can be put on hold stage (not mentioned above) due to various reasons such as lack of clear feasibility study, change in regulations or change in client requirements.  </a:t>
            </a:r>
            <a:endParaRPr lang="en-IN" sz="1000" i="1" dirty="0" err="1">
              <a:solidFill>
                <a:schemeClr val="bg1"/>
              </a:solidFill>
            </a:endParaRPr>
          </a:p>
        </p:txBody>
      </p:sp>
      <p:pic>
        <p:nvPicPr>
          <p:cNvPr id="24" name="Picture 23">
            <a:extLst>
              <a:ext uri="{FF2B5EF4-FFF2-40B4-BE49-F238E27FC236}">
                <a16:creationId xmlns:a16="http://schemas.microsoft.com/office/drawing/2014/main" id="{24933004-4CE2-4762-8005-F86D14314E72}"/>
              </a:ext>
            </a:extLst>
          </p:cNvPr>
          <p:cNvPicPr>
            <a:picLocks noChangeAspect="1"/>
          </p:cNvPicPr>
          <p:nvPr/>
        </p:nvPicPr>
        <p:blipFill>
          <a:blip r:embed="rId3"/>
          <a:stretch>
            <a:fillRect/>
          </a:stretch>
        </p:blipFill>
        <p:spPr>
          <a:xfrm>
            <a:off x="6245279" y="2727067"/>
            <a:ext cx="5690996" cy="3422118"/>
          </a:xfrm>
          <a:prstGeom prst="rect">
            <a:avLst/>
          </a:prstGeom>
        </p:spPr>
      </p:pic>
      <p:sp>
        <p:nvSpPr>
          <p:cNvPr id="27" name="Rectangle 26">
            <a:extLst>
              <a:ext uri="{FF2B5EF4-FFF2-40B4-BE49-F238E27FC236}">
                <a16:creationId xmlns:a16="http://schemas.microsoft.com/office/drawing/2014/main" id="{49CA54F0-2520-41DE-94CA-A8D4A23F1847}"/>
              </a:ext>
            </a:extLst>
          </p:cNvPr>
          <p:cNvSpPr/>
          <p:nvPr/>
        </p:nvSpPr>
        <p:spPr>
          <a:xfrm>
            <a:off x="6392194" y="1769727"/>
            <a:ext cx="5520670" cy="9285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IN" sz="1200" dirty="0">
                <a:solidFill>
                  <a:schemeClr val="tx2"/>
                </a:solidFill>
              </a:rPr>
              <a:t>As an </a:t>
            </a:r>
            <a:r>
              <a:rPr lang="en-IN" sz="1200" dirty="0">
                <a:solidFill>
                  <a:schemeClr val="accent2"/>
                </a:solidFill>
              </a:rPr>
              <a:t>enterprise system</a:t>
            </a:r>
            <a:r>
              <a:rPr lang="en-IN" sz="1200" dirty="0">
                <a:solidFill>
                  <a:schemeClr val="tx2"/>
                </a:solidFill>
              </a:rPr>
              <a:t>, Mercury collects data from and </a:t>
            </a:r>
            <a:r>
              <a:rPr lang="en-IN" sz="1200" dirty="0">
                <a:solidFill>
                  <a:schemeClr val="accent2"/>
                </a:solidFill>
              </a:rPr>
              <a:t>feeds data</a:t>
            </a:r>
            <a:r>
              <a:rPr lang="en-IN" sz="1200" dirty="0">
                <a:solidFill>
                  <a:schemeClr val="tx2"/>
                </a:solidFill>
              </a:rPr>
              <a:t> into the </a:t>
            </a:r>
            <a:r>
              <a:rPr lang="en-IN" sz="1200" dirty="0">
                <a:solidFill>
                  <a:schemeClr val="accent2"/>
                </a:solidFill>
              </a:rPr>
              <a:t>15 process steps</a:t>
            </a:r>
            <a:r>
              <a:rPr lang="en-IN" sz="1200" dirty="0">
                <a:solidFill>
                  <a:schemeClr val="tx2"/>
                </a:solidFill>
              </a:rPr>
              <a:t> that comprise the Opportunity and Engagement lifecycle. Along the way, </a:t>
            </a:r>
            <a:r>
              <a:rPr lang="en-IN" sz="1200" dirty="0">
                <a:solidFill>
                  <a:schemeClr val="accent2"/>
                </a:solidFill>
              </a:rPr>
              <a:t>users make key decisions</a:t>
            </a:r>
            <a:r>
              <a:rPr lang="en-IN" sz="1200" dirty="0">
                <a:solidFill>
                  <a:schemeClr val="tx2"/>
                </a:solidFill>
              </a:rPr>
              <a:t> that have </a:t>
            </a:r>
            <a:r>
              <a:rPr lang="en-IN" sz="1200" dirty="0">
                <a:solidFill>
                  <a:schemeClr val="accent2"/>
                </a:solidFill>
              </a:rPr>
              <a:t>ramifications on downstream processes – starting with creating the opportunity:</a:t>
            </a:r>
          </a:p>
        </p:txBody>
      </p:sp>
      <p:sp>
        <p:nvSpPr>
          <p:cNvPr id="28" name="Textfeld 24">
            <a:extLst>
              <a:ext uri="{FF2B5EF4-FFF2-40B4-BE49-F238E27FC236}">
                <a16:creationId xmlns:a16="http://schemas.microsoft.com/office/drawing/2014/main" id="{85F4BAAB-E3FA-48E1-8C8C-309EE89B3749}"/>
              </a:ext>
            </a:extLst>
          </p:cNvPr>
          <p:cNvSpPr txBox="1"/>
          <p:nvPr/>
        </p:nvSpPr>
        <p:spPr bwMode="gray">
          <a:xfrm>
            <a:off x="478387" y="1240695"/>
            <a:ext cx="5297049" cy="304508"/>
          </a:xfrm>
          <a:prstGeom prst="rect">
            <a:avLst/>
          </a:prstGeom>
          <a:solidFill>
            <a:schemeClr val="bg1">
              <a:lumMod val="20000"/>
              <a:lumOff val="80000"/>
            </a:schemeClr>
          </a:solidFill>
          <a:ln w="12700" algn="ctr">
            <a:noFill/>
            <a:miter lim="800000"/>
            <a:headEnd/>
            <a:tailEnd/>
          </a:ln>
          <a:effectLst/>
        </p:spPr>
        <p:txBody>
          <a:bodyPr lIns="0" tIns="0" rIns="0" bIns="0" anchor="ctr"/>
          <a:lstStyle/>
          <a:p>
            <a:pPr algn="ctr" defTabSz="916169" eaLnBrk="0" hangingPunct="0">
              <a:lnSpc>
                <a:spcPct val="95000"/>
              </a:lnSpc>
              <a:spcAft>
                <a:spcPts val="914"/>
              </a:spcAft>
              <a:buClr>
                <a:srgbClr val="969696"/>
              </a:buClr>
              <a:defRPr/>
            </a:pPr>
            <a:r>
              <a:rPr lang="en-US" b="1" dirty="0">
                <a:solidFill>
                  <a:srgbClr val="646464"/>
                </a:solidFill>
                <a:latin typeface="+mj-lt"/>
                <a:cs typeface="Arial" charset="0"/>
              </a:rPr>
              <a:t>Legacy (IA and GFIS)</a:t>
            </a:r>
          </a:p>
        </p:txBody>
      </p:sp>
      <p:sp>
        <p:nvSpPr>
          <p:cNvPr id="131" name="Textfeld 24">
            <a:extLst>
              <a:ext uri="{FF2B5EF4-FFF2-40B4-BE49-F238E27FC236}">
                <a16:creationId xmlns:a16="http://schemas.microsoft.com/office/drawing/2014/main" id="{4DF7E959-F57D-4486-A62D-3911CD2377C3}"/>
              </a:ext>
            </a:extLst>
          </p:cNvPr>
          <p:cNvSpPr txBox="1"/>
          <p:nvPr/>
        </p:nvSpPr>
        <p:spPr bwMode="gray">
          <a:xfrm>
            <a:off x="6376204" y="1220794"/>
            <a:ext cx="5297049" cy="304508"/>
          </a:xfrm>
          <a:prstGeom prst="rect">
            <a:avLst/>
          </a:prstGeom>
          <a:solidFill>
            <a:schemeClr val="accent2"/>
          </a:solidFill>
          <a:ln w="12700" algn="ctr">
            <a:noFill/>
            <a:miter lim="800000"/>
            <a:headEnd/>
            <a:tailEnd/>
          </a:ln>
          <a:effectLst/>
        </p:spPr>
        <p:txBody>
          <a:bodyPr lIns="0" tIns="0" rIns="0" bIns="0" anchor="ctr"/>
          <a:lstStyle/>
          <a:p>
            <a:pPr algn="ctr" defTabSz="916169" eaLnBrk="0" hangingPunct="0">
              <a:lnSpc>
                <a:spcPct val="95000"/>
              </a:lnSpc>
              <a:spcAft>
                <a:spcPts val="914"/>
              </a:spcAft>
              <a:buClr>
                <a:srgbClr val="969696"/>
              </a:buClr>
              <a:defRPr/>
            </a:pPr>
            <a:r>
              <a:rPr lang="en-US" b="1" dirty="0">
                <a:solidFill>
                  <a:srgbClr val="646464"/>
                </a:solidFill>
                <a:latin typeface="+mj-lt"/>
                <a:cs typeface="Arial" charset="0"/>
              </a:rPr>
              <a:t>Mercury (One enterprise system)</a:t>
            </a:r>
          </a:p>
        </p:txBody>
      </p:sp>
      <p:cxnSp>
        <p:nvCxnSpPr>
          <p:cNvPr id="133" name="Gerade Verbindung 30">
            <a:extLst>
              <a:ext uri="{FF2B5EF4-FFF2-40B4-BE49-F238E27FC236}">
                <a16:creationId xmlns:a16="http://schemas.microsoft.com/office/drawing/2014/main" id="{5626E3B0-D81B-4F58-B706-3A0B9683F03A}"/>
              </a:ext>
            </a:extLst>
          </p:cNvPr>
          <p:cNvCxnSpPr>
            <a:cxnSpLocks/>
          </p:cNvCxnSpPr>
          <p:nvPr/>
        </p:nvCxnSpPr>
        <p:spPr bwMode="gray">
          <a:xfrm flipV="1">
            <a:off x="6133248" y="1141565"/>
            <a:ext cx="1" cy="5123048"/>
          </a:xfrm>
          <a:prstGeom prst="line">
            <a:avLst/>
          </a:prstGeom>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30110"/>
      </p:ext>
    </p:extLst>
  </p:cSld>
  <p:clrMapOvr>
    <a:masterClrMapping/>
  </p:clrMapOvr>
  <mc:AlternateContent xmlns:mc="http://schemas.openxmlformats.org/markup-compatibility/2006" xmlns:p14="http://schemas.microsoft.com/office/powerpoint/2010/main">
    <mc:Choice Requires="p14">
      <p:transition spd="slow" p14:dur="1500" advTm="198010">
        <p:split orient="vert"/>
      </p:transition>
    </mc:Choice>
    <mc:Fallback xmlns="">
      <p:transition spd="slow" advTm="198010">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sosceles Triangle 16">
            <a:extLst>
              <a:ext uri="{FF2B5EF4-FFF2-40B4-BE49-F238E27FC236}">
                <a16:creationId xmlns:a16="http://schemas.microsoft.com/office/drawing/2014/main" id="{E36E62C2-28CE-491E-83E4-81669087DF42}"/>
              </a:ext>
            </a:extLst>
          </p:cNvPr>
          <p:cNvSpPr/>
          <p:nvPr/>
        </p:nvSpPr>
        <p:spPr>
          <a:xfrm flipV="1">
            <a:off x="6633303" y="1081476"/>
            <a:ext cx="5288126" cy="451626"/>
          </a:xfrm>
          <a:custGeom>
            <a:avLst/>
            <a:gdLst/>
            <a:ahLst/>
            <a:cxnLst/>
            <a:rect l="l" t="t" r="r" b="b"/>
            <a:pathLst>
              <a:path w="4062413" h="1863287">
                <a:moveTo>
                  <a:pt x="0" y="1863287"/>
                </a:moveTo>
                <a:lnTo>
                  <a:pt x="4062413" y="1863287"/>
                </a:lnTo>
                <a:lnTo>
                  <a:pt x="4062413" y="425012"/>
                </a:lnTo>
                <a:lnTo>
                  <a:pt x="3799332" y="425012"/>
                </a:lnTo>
                <a:lnTo>
                  <a:pt x="3552825" y="0"/>
                </a:lnTo>
                <a:lnTo>
                  <a:pt x="3306318" y="425012"/>
                </a:lnTo>
                <a:lnTo>
                  <a:pt x="0" y="425012"/>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4498" tIns="52249" rIns="104498" bIns="52249" rtlCol="0" anchor="t" anchorCtr="0"/>
          <a:lstStyle/>
          <a:p>
            <a:pPr algn="ctr"/>
            <a:endParaRPr lang="en-IN" sz="1400" dirty="0">
              <a:solidFill>
                <a:schemeClr val="tx1"/>
              </a:solidFill>
            </a:endParaRPr>
          </a:p>
        </p:txBody>
      </p:sp>
      <p:sp>
        <p:nvSpPr>
          <p:cNvPr id="25" name="Isosceles Triangle 16">
            <a:extLst>
              <a:ext uri="{FF2B5EF4-FFF2-40B4-BE49-F238E27FC236}">
                <a16:creationId xmlns:a16="http://schemas.microsoft.com/office/drawing/2014/main" id="{B2037B95-4A7B-4E83-BC1F-3444738B90CC}"/>
              </a:ext>
            </a:extLst>
          </p:cNvPr>
          <p:cNvSpPr/>
          <p:nvPr/>
        </p:nvSpPr>
        <p:spPr>
          <a:xfrm flipV="1">
            <a:off x="560736" y="1084248"/>
            <a:ext cx="5592130" cy="391258"/>
          </a:xfrm>
          <a:custGeom>
            <a:avLst/>
            <a:gdLst/>
            <a:ahLst/>
            <a:cxnLst/>
            <a:rect l="l" t="t" r="r" b="b"/>
            <a:pathLst>
              <a:path w="4062413" h="1863287">
                <a:moveTo>
                  <a:pt x="0" y="1863287"/>
                </a:moveTo>
                <a:lnTo>
                  <a:pt x="4062413" y="1863287"/>
                </a:lnTo>
                <a:lnTo>
                  <a:pt x="4062413" y="425012"/>
                </a:lnTo>
                <a:lnTo>
                  <a:pt x="3799332" y="425012"/>
                </a:lnTo>
                <a:lnTo>
                  <a:pt x="3552825" y="0"/>
                </a:lnTo>
                <a:lnTo>
                  <a:pt x="3306318" y="425012"/>
                </a:lnTo>
                <a:lnTo>
                  <a:pt x="0" y="425012"/>
                </a:lnTo>
                <a:close/>
              </a:path>
            </a:pathLst>
          </a:cu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4498" tIns="52249" rIns="104498" bIns="52249" rtlCol="0" anchor="t" anchorCtr="0"/>
          <a:lstStyle/>
          <a:p>
            <a:pPr algn="ctr"/>
            <a:endParaRPr lang="en-IN" sz="1400" dirty="0">
              <a:solidFill>
                <a:schemeClr val="tx1"/>
              </a:solidFill>
            </a:endParaRPr>
          </a:p>
        </p:txBody>
      </p:sp>
      <p:sp>
        <p:nvSpPr>
          <p:cNvPr id="37890" name="Rectangle 2"/>
          <p:cNvSpPr>
            <a:spLocks noGrp="1" noChangeArrowheads="1"/>
          </p:cNvSpPr>
          <p:nvPr>
            <p:ph type="title"/>
          </p:nvPr>
        </p:nvSpPr>
        <p:spPr>
          <a:xfrm>
            <a:off x="609918" y="201600"/>
            <a:ext cx="10978515" cy="860400"/>
          </a:xfrm>
        </p:spPr>
        <p:txBody>
          <a:bodyPr anchor="ctr"/>
          <a:lstStyle/>
          <a:p>
            <a:pPr eaLnBrk="1" hangingPunct="1"/>
            <a:r>
              <a:rPr lang="en-US" altLang="zh-CN" sz="2400" dirty="0">
                <a:solidFill>
                  <a:schemeClr val="bg1">
                    <a:lumMod val="75000"/>
                  </a:schemeClr>
                </a:solidFill>
                <a:latin typeface="EYInterstate" panose="02000503020000020004" pitchFamily="2" charset="0"/>
                <a:ea typeface="宋体" pitchFamily="2" charset="-122"/>
              </a:rPr>
              <a:t>GFIS </a:t>
            </a:r>
            <a:r>
              <a:rPr lang="en-US" altLang="zh-CN" sz="2400" dirty="0" err="1">
                <a:solidFill>
                  <a:schemeClr val="bg1">
                    <a:lumMod val="75000"/>
                  </a:schemeClr>
                </a:solidFill>
                <a:latin typeface="EYInterstate" panose="02000503020000020004" pitchFamily="2" charset="0"/>
                <a:ea typeface="宋体" pitchFamily="2" charset="-122"/>
              </a:rPr>
              <a:t>Codeblock</a:t>
            </a:r>
            <a:r>
              <a:rPr lang="en-US" altLang="zh-CN" sz="2400" dirty="0">
                <a:solidFill>
                  <a:schemeClr val="bg1">
                    <a:lumMod val="75000"/>
                  </a:schemeClr>
                </a:solidFill>
                <a:latin typeface="EYInterstate" panose="02000503020000020004" pitchFamily="2" charset="0"/>
                <a:ea typeface="宋体" pitchFamily="2" charset="-122"/>
              </a:rPr>
              <a:t> vs Mercury Structure</a:t>
            </a:r>
          </a:p>
        </p:txBody>
      </p:sp>
      <p:sp>
        <p:nvSpPr>
          <p:cNvPr id="2" name="Rectangle 1"/>
          <p:cNvSpPr/>
          <p:nvPr/>
        </p:nvSpPr>
        <p:spPr>
          <a:xfrm>
            <a:off x="524905" y="1939522"/>
            <a:ext cx="1240326" cy="3480179"/>
          </a:xfrm>
          <a:prstGeom prst="rect">
            <a:avLst/>
          </a:prstGeom>
          <a:solidFill>
            <a:schemeClr val="bg1">
              <a:lumMod val="20000"/>
              <a:lumOff val="80000"/>
            </a:schemeClr>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t" anchorCtr="0"/>
          <a:lstStyle/>
          <a:p>
            <a:pPr marL="0" lvl="2" algn="ctr"/>
            <a:r>
              <a:rPr lang="en-US" altLang="en-US" sz="1100" b="1" dirty="0">
                <a:solidFill>
                  <a:schemeClr val="bg1"/>
                </a:solidFill>
              </a:rPr>
              <a:t>Represents a division of a firm within a country based on management reporting needs</a:t>
            </a:r>
          </a:p>
          <a:p>
            <a:pPr algn="ctr"/>
            <a:endParaRPr lang="en-IN" sz="1100" dirty="0">
              <a:solidFill>
                <a:schemeClr val="tx1"/>
              </a:solidFill>
            </a:endParaRPr>
          </a:p>
        </p:txBody>
      </p:sp>
      <p:sp>
        <p:nvSpPr>
          <p:cNvPr id="27" name="Rectangle 26"/>
          <p:cNvSpPr/>
          <p:nvPr/>
        </p:nvSpPr>
        <p:spPr>
          <a:xfrm>
            <a:off x="1858440" y="1939521"/>
            <a:ext cx="1373088" cy="3480179"/>
          </a:xfrm>
          <a:prstGeom prst="rect">
            <a:avLst/>
          </a:prstGeom>
          <a:solidFill>
            <a:schemeClr val="bg1">
              <a:lumMod val="20000"/>
              <a:lumOff val="80000"/>
            </a:schemeClr>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t" anchorCtr="0"/>
          <a:lstStyle/>
          <a:p>
            <a:pPr marL="0" lvl="2" algn="ctr"/>
            <a:r>
              <a:rPr lang="en-US" altLang="en-US" sz="1100" b="1" dirty="0">
                <a:solidFill>
                  <a:srgbClr val="646464"/>
                </a:solidFill>
              </a:rPr>
              <a:t>Reflects an industry, Market, team or any other required breakdown as per organizational needs</a:t>
            </a:r>
          </a:p>
          <a:p>
            <a:pPr marL="0" lvl="2" algn="ctr"/>
            <a:endParaRPr lang="en-US" altLang="en-US" sz="1100" b="1" dirty="0">
              <a:solidFill>
                <a:srgbClr val="646464"/>
              </a:solidFill>
            </a:endParaRPr>
          </a:p>
          <a:p>
            <a:pPr marL="0" lvl="2" algn="ctr"/>
            <a:r>
              <a:rPr lang="en-US" altLang="en-US" sz="1100" b="1" dirty="0">
                <a:solidFill>
                  <a:srgbClr val="646464"/>
                </a:solidFill>
              </a:rPr>
              <a:t>Examples:</a:t>
            </a:r>
          </a:p>
          <a:p>
            <a:pPr marL="0" lvl="2" algn="ctr"/>
            <a:endParaRPr lang="en-US" altLang="en-US" sz="1100" b="1" dirty="0">
              <a:solidFill>
                <a:srgbClr val="646464"/>
              </a:solidFill>
            </a:endParaRPr>
          </a:p>
          <a:p>
            <a:pPr marL="171450" lvl="2" indent="-171450">
              <a:buFont typeface="Arial" panose="020B0604020202020204" pitchFamily="34" charset="0"/>
              <a:buChar char="•"/>
            </a:pPr>
            <a:r>
              <a:rPr lang="en-US" altLang="en-US" sz="1100" b="1" dirty="0">
                <a:solidFill>
                  <a:srgbClr val="646464"/>
                </a:solidFill>
              </a:rPr>
              <a:t>Finance &amp; Operations (95220)</a:t>
            </a:r>
          </a:p>
          <a:p>
            <a:pPr marL="171450" lvl="2" indent="-171450">
              <a:buFont typeface="Arial" panose="020B0604020202020204" pitchFamily="34" charset="0"/>
              <a:buChar char="•"/>
            </a:pPr>
            <a:r>
              <a:rPr lang="en-US" altLang="en-US" sz="1100" b="1" dirty="0">
                <a:solidFill>
                  <a:srgbClr val="646464"/>
                </a:solidFill>
              </a:rPr>
              <a:t>Energy Chemicals &amp; Utilities (00100)</a:t>
            </a:r>
          </a:p>
          <a:p>
            <a:pPr marL="171450" lvl="2" indent="-171450">
              <a:buFont typeface="Arial" panose="020B0604020202020204" pitchFamily="34" charset="0"/>
              <a:buChar char="•"/>
            </a:pPr>
            <a:r>
              <a:rPr lang="en-US" altLang="en-US" sz="1100" b="1" dirty="0">
                <a:solidFill>
                  <a:srgbClr val="646464"/>
                </a:solidFill>
              </a:rPr>
              <a:t>Enterprise Intelligence (29262)</a:t>
            </a:r>
            <a:endParaRPr lang="en-IN" sz="1100" dirty="0">
              <a:solidFill>
                <a:schemeClr val="tx1"/>
              </a:solidFill>
            </a:endParaRPr>
          </a:p>
        </p:txBody>
      </p:sp>
      <p:sp>
        <p:nvSpPr>
          <p:cNvPr id="28" name="Rectangle 27"/>
          <p:cNvSpPr/>
          <p:nvPr/>
        </p:nvSpPr>
        <p:spPr>
          <a:xfrm>
            <a:off x="3307439" y="1934969"/>
            <a:ext cx="1371442" cy="3480179"/>
          </a:xfrm>
          <a:prstGeom prst="rect">
            <a:avLst/>
          </a:prstGeom>
          <a:solidFill>
            <a:schemeClr val="bg1">
              <a:lumMod val="20000"/>
              <a:lumOff val="80000"/>
            </a:schemeClr>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t" anchorCtr="0"/>
          <a:lstStyle/>
          <a:p>
            <a:pPr algn="ctr"/>
            <a:r>
              <a:rPr lang="en-US" sz="1100" b="1" dirty="0">
                <a:solidFill>
                  <a:schemeClr val="bg1"/>
                </a:solidFill>
              </a:rPr>
              <a:t>Reflects a geographical location. It can set to represent a Country or State or City depending on Organization needs</a:t>
            </a:r>
          </a:p>
          <a:p>
            <a:pPr algn="ctr"/>
            <a:endParaRPr lang="en-US" sz="1100" b="1" dirty="0">
              <a:solidFill>
                <a:schemeClr val="bg1"/>
              </a:solidFill>
            </a:endParaRPr>
          </a:p>
          <a:p>
            <a:pPr algn="ctr"/>
            <a:r>
              <a:rPr lang="en-US" sz="1100" b="1" dirty="0">
                <a:solidFill>
                  <a:schemeClr val="bg1"/>
                </a:solidFill>
              </a:rPr>
              <a:t>Examples:</a:t>
            </a:r>
          </a:p>
          <a:p>
            <a:pPr algn="ctr"/>
            <a:endParaRPr lang="en-US" sz="1100" b="1" dirty="0">
              <a:solidFill>
                <a:schemeClr val="bg1"/>
              </a:solidFill>
            </a:endParaRPr>
          </a:p>
          <a:p>
            <a:pPr marL="285750" indent="-285750">
              <a:buFont typeface="Arial" panose="020B0604020202020204" pitchFamily="34" charset="0"/>
              <a:buChar char="•"/>
            </a:pPr>
            <a:r>
              <a:rPr lang="en-IN" sz="1100" b="1" dirty="0">
                <a:solidFill>
                  <a:schemeClr val="bg1"/>
                </a:solidFill>
              </a:rPr>
              <a:t>Africa (00397)</a:t>
            </a:r>
          </a:p>
          <a:p>
            <a:pPr marL="285750" indent="-285750">
              <a:buFont typeface="Arial" panose="020B0604020202020204" pitchFamily="34" charset="0"/>
              <a:buChar char="•"/>
            </a:pPr>
            <a:r>
              <a:rPr lang="en-IN" sz="1100" b="1" dirty="0">
                <a:solidFill>
                  <a:schemeClr val="bg1"/>
                </a:solidFill>
              </a:rPr>
              <a:t>Tokyo (00222)</a:t>
            </a:r>
          </a:p>
          <a:p>
            <a:pPr marL="285750" indent="-285750">
              <a:buFont typeface="Arial" panose="020B0604020202020204" pitchFamily="34" charset="0"/>
              <a:buChar char="•"/>
            </a:pPr>
            <a:r>
              <a:rPr lang="en-IN" sz="1100" b="1" dirty="0">
                <a:solidFill>
                  <a:schemeClr val="bg1"/>
                </a:solidFill>
              </a:rPr>
              <a:t>Columbus, OH (00019)</a:t>
            </a:r>
          </a:p>
          <a:p>
            <a:pPr marL="285750" indent="-285750">
              <a:buFont typeface="Arial" panose="020B0604020202020204" pitchFamily="34" charset="0"/>
              <a:buChar char="•"/>
            </a:pPr>
            <a:r>
              <a:rPr lang="en-IN" sz="1100" b="1" dirty="0">
                <a:solidFill>
                  <a:schemeClr val="bg1"/>
                </a:solidFill>
              </a:rPr>
              <a:t>Bangalore (00801)</a:t>
            </a:r>
          </a:p>
          <a:p>
            <a:endParaRPr lang="en-IN" sz="1100" b="1" dirty="0">
              <a:solidFill>
                <a:schemeClr val="bg1"/>
              </a:solidFill>
            </a:endParaRPr>
          </a:p>
          <a:p>
            <a:pPr algn="ctr"/>
            <a:endParaRPr lang="en-IN" sz="1100" b="1" dirty="0">
              <a:solidFill>
                <a:schemeClr val="bg1"/>
              </a:solidFill>
            </a:endParaRPr>
          </a:p>
        </p:txBody>
      </p:sp>
      <p:sp>
        <p:nvSpPr>
          <p:cNvPr id="29" name="Rectangle 28"/>
          <p:cNvSpPr/>
          <p:nvPr/>
        </p:nvSpPr>
        <p:spPr>
          <a:xfrm>
            <a:off x="4781423" y="1934964"/>
            <a:ext cx="1371443" cy="3480179"/>
          </a:xfrm>
          <a:prstGeom prst="rect">
            <a:avLst/>
          </a:prstGeom>
          <a:solidFill>
            <a:schemeClr val="bg1">
              <a:lumMod val="20000"/>
              <a:lumOff val="80000"/>
            </a:schemeClr>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t" anchorCtr="0"/>
          <a:lstStyle/>
          <a:p>
            <a:pPr algn="ctr"/>
            <a:r>
              <a:rPr lang="en-US" sz="1100" b="1" dirty="0">
                <a:solidFill>
                  <a:schemeClr val="bg1"/>
                </a:solidFill>
              </a:rPr>
              <a:t>Reflects the Services that is offered by EY, which is structured under SL and  further down to</a:t>
            </a:r>
          </a:p>
          <a:p>
            <a:pPr algn="ctr"/>
            <a:r>
              <a:rPr lang="en-US" sz="1100" b="1" dirty="0">
                <a:solidFill>
                  <a:schemeClr val="bg1"/>
                </a:solidFill>
              </a:rPr>
              <a:t>SSL</a:t>
            </a:r>
            <a:endParaRPr lang="en-IN" sz="1100" b="1" dirty="0">
              <a:solidFill>
                <a:schemeClr val="bg1"/>
              </a:solidFill>
            </a:endParaRPr>
          </a:p>
        </p:txBody>
      </p:sp>
      <p:sp>
        <p:nvSpPr>
          <p:cNvPr id="30" name="Rectangle 29"/>
          <p:cNvSpPr/>
          <p:nvPr/>
        </p:nvSpPr>
        <p:spPr>
          <a:xfrm>
            <a:off x="542979" y="3292902"/>
            <a:ext cx="1195617" cy="386707"/>
          </a:xfrm>
          <a:prstGeom prst="rect">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algn="ctr"/>
            <a:r>
              <a:rPr lang="en-US" sz="1100" dirty="0">
                <a:solidFill>
                  <a:schemeClr val="tx2"/>
                </a:solidFill>
              </a:rPr>
              <a:t>GDS</a:t>
            </a:r>
            <a:endParaRPr lang="en-IN" sz="1100" dirty="0">
              <a:solidFill>
                <a:schemeClr val="tx2"/>
              </a:solidFill>
            </a:endParaRPr>
          </a:p>
        </p:txBody>
      </p:sp>
      <p:sp>
        <p:nvSpPr>
          <p:cNvPr id="31" name="Rectangle 30"/>
          <p:cNvSpPr/>
          <p:nvPr/>
        </p:nvSpPr>
        <p:spPr>
          <a:xfrm>
            <a:off x="557796" y="3934351"/>
            <a:ext cx="1195617" cy="363968"/>
          </a:xfrm>
          <a:prstGeom prst="rect">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algn="ctr"/>
            <a:r>
              <a:rPr lang="en-US" sz="1100" dirty="0">
                <a:solidFill>
                  <a:schemeClr val="tx2"/>
                </a:solidFill>
              </a:rPr>
              <a:t>CBS India</a:t>
            </a:r>
            <a:endParaRPr lang="en-IN" sz="1100" dirty="0">
              <a:solidFill>
                <a:schemeClr val="tx2"/>
              </a:solidFill>
            </a:endParaRPr>
          </a:p>
        </p:txBody>
      </p:sp>
      <p:cxnSp>
        <p:nvCxnSpPr>
          <p:cNvPr id="5" name="Straight Arrow Connector 4"/>
          <p:cNvCxnSpPr>
            <a:stCxn id="30" idx="2"/>
          </p:cNvCxnSpPr>
          <p:nvPr/>
        </p:nvCxnSpPr>
        <p:spPr>
          <a:xfrm>
            <a:off x="1140788" y="3679609"/>
            <a:ext cx="214232" cy="202427"/>
          </a:xfrm>
          <a:prstGeom prst="straightConnector1">
            <a:avLst/>
          </a:prstGeom>
          <a:ln w="9525">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31" idx="2"/>
          </p:cNvCxnSpPr>
          <p:nvPr/>
        </p:nvCxnSpPr>
        <p:spPr>
          <a:xfrm>
            <a:off x="1155605" y="4298319"/>
            <a:ext cx="226742" cy="272956"/>
          </a:xfrm>
          <a:prstGeom prst="straightConnector1">
            <a:avLst/>
          </a:prstGeom>
          <a:ln w="9525">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16025" y="1475507"/>
            <a:ext cx="1264021" cy="464013"/>
          </a:xfrm>
          <a:prstGeom prst="rect">
            <a:avLst/>
          </a:prstGeom>
          <a:solidFill>
            <a:schemeClr val="accent2"/>
          </a:solidFill>
          <a:ln>
            <a:solidFill>
              <a:schemeClr val="tx2"/>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algn="ctr"/>
            <a:r>
              <a:rPr lang="en-US" sz="1100" b="1" dirty="0">
                <a:solidFill>
                  <a:schemeClr val="tx1"/>
                </a:solidFill>
              </a:rPr>
              <a:t>Business Unit</a:t>
            </a:r>
          </a:p>
          <a:p>
            <a:pPr algn="ctr"/>
            <a:r>
              <a:rPr lang="en-US" sz="1100" b="1" dirty="0">
                <a:solidFill>
                  <a:schemeClr val="tx1"/>
                </a:solidFill>
              </a:rPr>
              <a:t>(BU)</a:t>
            </a:r>
            <a:endParaRPr lang="en-IN" sz="1100" b="1" dirty="0">
              <a:solidFill>
                <a:schemeClr val="tx1"/>
              </a:solidFill>
            </a:endParaRPr>
          </a:p>
        </p:txBody>
      </p:sp>
      <p:sp>
        <p:nvSpPr>
          <p:cNvPr id="35" name="Rectangle 34"/>
          <p:cNvSpPr/>
          <p:nvPr/>
        </p:nvSpPr>
        <p:spPr>
          <a:xfrm>
            <a:off x="557796" y="4571274"/>
            <a:ext cx="1189543" cy="655093"/>
          </a:xfrm>
          <a:prstGeom prst="rect">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algn="ctr"/>
            <a:r>
              <a:rPr lang="en-US" sz="1100" dirty="0">
                <a:solidFill>
                  <a:schemeClr val="tx2"/>
                </a:solidFill>
              </a:rPr>
              <a:t>F&amp;A GSS India</a:t>
            </a:r>
          </a:p>
          <a:p>
            <a:pPr algn="ctr"/>
            <a:r>
              <a:rPr lang="en-US" sz="1100" dirty="0">
                <a:solidFill>
                  <a:schemeClr val="tx2"/>
                </a:solidFill>
              </a:rPr>
              <a:t>(XE011)</a:t>
            </a:r>
            <a:endParaRPr lang="en-IN" sz="1100" dirty="0">
              <a:solidFill>
                <a:schemeClr val="tx2"/>
              </a:solidFill>
            </a:endParaRPr>
          </a:p>
        </p:txBody>
      </p:sp>
      <p:sp>
        <p:nvSpPr>
          <p:cNvPr id="36" name="Rectangle 35"/>
          <p:cNvSpPr/>
          <p:nvPr/>
        </p:nvSpPr>
        <p:spPr>
          <a:xfrm>
            <a:off x="1884511" y="1475509"/>
            <a:ext cx="1320383" cy="464013"/>
          </a:xfrm>
          <a:prstGeom prst="rect">
            <a:avLst/>
          </a:prstGeom>
          <a:solidFill>
            <a:schemeClr val="accent2"/>
          </a:solidFill>
          <a:ln>
            <a:solidFill>
              <a:schemeClr val="tx2"/>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algn="ctr"/>
            <a:r>
              <a:rPr lang="en-US" sz="1100" b="1" dirty="0">
                <a:solidFill>
                  <a:schemeClr val="tx1"/>
                </a:solidFill>
              </a:rPr>
              <a:t>Operating Unit (OU)</a:t>
            </a:r>
            <a:endParaRPr lang="en-IN" sz="1100" b="1" dirty="0">
              <a:solidFill>
                <a:schemeClr val="tx1"/>
              </a:solidFill>
            </a:endParaRPr>
          </a:p>
        </p:txBody>
      </p:sp>
      <p:sp>
        <p:nvSpPr>
          <p:cNvPr id="38" name="Rectangle 37"/>
          <p:cNvSpPr/>
          <p:nvPr/>
        </p:nvSpPr>
        <p:spPr>
          <a:xfrm>
            <a:off x="3307437" y="1475506"/>
            <a:ext cx="1371443" cy="464013"/>
          </a:xfrm>
          <a:prstGeom prst="rect">
            <a:avLst/>
          </a:prstGeom>
          <a:solidFill>
            <a:schemeClr val="accent2"/>
          </a:solidFill>
          <a:ln>
            <a:solidFill>
              <a:schemeClr val="tx2"/>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algn="ctr"/>
            <a:r>
              <a:rPr lang="en-US" sz="1100" b="1" dirty="0">
                <a:solidFill>
                  <a:schemeClr val="tx1"/>
                </a:solidFill>
              </a:rPr>
              <a:t>Management Unit</a:t>
            </a:r>
          </a:p>
          <a:p>
            <a:pPr algn="ctr"/>
            <a:r>
              <a:rPr lang="en-US" sz="1100" b="1" dirty="0">
                <a:solidFill>
                  <a:schemeClr val="tx1"/>
                </a:solidFill>
              </a:rPr>
              <a:t>(MU)</a:t>
            </a:r>
            <a:endParaRPr lang="en-IN" sz="1100" b="1" dirty="0">
              <a:solidFill>
                <a:schemeClr val="tx1"/>
              </a:solidFill>
            </a:endParaRPr>
          </a:p>
        </p:txBody>
      </p:sp>
      <p:sp>
        <p:nvSpPr>
          <p:cNvPr id="39" name="Rectangle 38"/>
          <p:cNvSpPr/>
          <p:nvPr/>
        </p:nvSpPr>
        <p:spPr>
          <a:xfrm>
            <a:off x="4781423" y="1470956"/>
            <a:ext cx="1371443" cy="464013"/>
          </a:xfrm>
          <a:prstGeom prst="rect">
            <a:avLst/>
          </a:prstGeom>
          <a:solidFill>
            <a:schemeClr val="accent2"/>
          </a:solidFill>
          <a:ln>
            <a:solidFill>
              <a:schemeClr val="tx2"/>
            </a:solidFill>
          </a:ln>
          <a:effectLst/>
        </p:spPr>
        <p:style>
          <a:lnRef idx="1">
            <a:schemeClr val="accent5"/>
          </a:lnRef>
          <a:fillRef idx="2">
            <a:schemeClr val="accent5"/>
          </a:fillRef>
          <a:effectRef idx="1">
            <a:schemeClr val="accent5"/>
          </a:effectRef>
          <a:fontRef idx="minor">
            <a:schemeClr val="dk1"/>
          </a:fontRef>
        </p:style>
        <p:txBody>
          <a:bodyPr rtlCol="0" anchor="t" anchorCtr="0"/>
          <a:lstStyle/>
          <a:p>
            <a:pPr algn="ctr"/>
            <a:r>
              <a:rPr lang="en-US" sz="1100" b="1" dirty="0">
                <a:solidFill>
                  <a:schemeClr val="tx1"/>
                </a:solidFill>
              </a:rPr>
              <a:t>Sub-Management Unit (SMU)</a:t>
            </a:r>
            <a:endParaRPr lang="en-IN" sz="1100" b="1" dirty="0">
              <a:solidFill>
                <a:schemeClr val="tx1"/>
              </a:solidFill>
            </a:endParaRPr>
          </a:p>
        </p:txBody>
      </p:sp>
      <p:sp>
        <p:nvSpPr>
          <p:cNvPr id="40" name="Rectangle 39"/>
          <p:cNvSpPr/>
          <p:nvPr/>
        </p:nvSpPr>
        <p:spPr>
          <a:xfrm>
            <a:off x="4900839" y="3423084"/>
            <a:ext cx="1195617" cy="386707"/>
          </a:xfrm>
          <a:prstGeom prst="rect">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algn="ctr"/>
            <a:r>
              <a:rPr lang="en-US" sz="1100" dirty="0">
                <a:solidFill>
                  <a:schemeClr val="tx2"/>
                </a:solidFill>
              </a:rPr>
              <a:t>Assurance</a:t>
            </a:r>
            <a:endParaRPr lang="en-IN" sz="1100" dirty="0">
              <a:solidFill>
                <a:schemeClr val="tx2"/>
              </a:solidFill>
            </a:endParaRPr>
          </a:p>
        </p:txBody>
      </p:sp>
      <p:sp>
        <p:nvSpPr>
          <p:cNvPr id="41" name="Rectangle 40"/>
          <p:cNvSpPr/>
          <p:nvPr/>
        </p:nvSpPr>
        <p:spPr>
          <a:xfrm>
            <a:off x="4900839" y="4013385"/>
            <a:ext cx="1195617" cy="386707"/>
          </a:xfrm>
          <a:prstGeom prst="rect">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algn="ctr"/>
            <a:r>
              <a:rPr lang="en-US" sz="1100" dirty="0">
                <a:solidFill>
                  <a:schemeClr val="tx2"/>
                </a:solidFill>
              </a:rPr>
              <a:t>Audit</a:t>
            </a:r>
            <a:endParaRPr lang="en-IN" sz="1100" dirty="0">
              <a:solidFill>
                <a:schemeClr val="tx2"/>
              </a:solidFill>
            </a:endParaRPr>
          </a:p>
        </p:txBody>
      </p:sp>
      <p:sp>
        <p:nvSpPr>
          <p:cNvPr id="43" name="Rectangle 42"/>
          <p:cNvSpPr/>
          <p:nvPr/>
        </p:nvSpPr>
        <p:spPr>
          <a:xfrm>
            <a:off x="4900839" y="4689549"/>
            <a:ext cx="1195617" cy="532262"/>
          </a:xfrm>
          <a:prstGeom prst="rect">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rtlCol="0" anchor="ctr" anchorCtr="0"/>
          <a:lstStyle/>
          <a:p>
            <a:pPr algn="ctr"/>
            <a:r>
              <a:rPr lang="en-US" sz="1100" dirty="0">
                <a:solidFill>
                  <a:schemeClr val="tx2"/>
                </a:solidFill>
              </a:rPr>
              <a:t>Audit Services (0101001)</a:t>
            </a:r>
            <a:endParaRPr lang="en-IN" sz="1100" dirty="0">
              <a:solidFill>
                <a:schemeClr val="tx2"/>
              </a:solidFill>
            </a:endParaRPr>
          </a:p>
        </p:txBody>
      </p:sp>
      <p:cxnSp>
        <p:nvCxnSpPr>
          <p:cNvPr id="37891" name="Straight Arrow Connector 37890"/>
          <p:cNvCxnSpPr>
            <a:endCxn id="41" idx="0"/>
          </p:cNvCxnSpPr>
          <p:nvPr/>
        </p:nvCxnSpPr>
        <p:spPr>
          <a:xfrm flipH="1">
            <a:off x="5498648" y="3776266"/>
            <a:ext cx="214233" cy="237119"/>
          </a:xfrm>
          <a:prstGeom prst="straightConnector1">
            <a:avLst/>
          </a:prstGeom>
          <a:ln w="9525">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43" idx="0"/>
          </p:cNvCxnSpPr>
          <p:nvPr/>
        </p:nvCxnSpPr>
        <p:spPr>
          <a:xfrm flipH="1">
            <a:off x="5498648" y="4430241"/>
            <a:ext cx="214233" cy="259308"/>
          </a:xfrm>
          <a:prstGeom prst="straightConnector1">
            <a:avLst/>
          </a:prstGeom>
          <a:ln w="9525">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37893" name="Rectangle 37892"/>
          <p:cNvSpPr/>
          <p:nvPr/>
        </p:nvSpPr>
        <p:spPr>
          <a:xfrm>
            <a:off x="505207" y="5525370"/>
            <a:ext cx="5647659" cy="614150"/>
          </a:xfrm>
          <a:prstGeom prst="rect">
            <a:avLst/>
          </a:prstGeom>
          <a:solidFill>
            <a:schemeClr val="bg1">
              <a:lumMod val="20000"/>
              <a:lumOff val="8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t" anchorCtr="0"/>
          <a:lstStyle/>
          <a:p>
            <a:pPr algn="ctr"/>
            <a:r>
              <a:rPr lang="en-US" sz="1100" b="1" dirty="0">
                <a:solidFill>
                  <a:schemeClr val="bg1"/>
                </a:solidFill>
              </a:rPr>
              <a:t>CODEBLOCK -    XE011 – 29147 – 00801 – 0907322</a:t>
            </a:r>
          </a:p>
          <a:p>
            <a:pPr algn="ctr"/>
            <a:r>
              <a:rPr lang="en-US" sz="1100" b="1" dirty="0">
                <a:solidFill>
                  <a:schemeClr val="bg1"/>
                </a:solidFill>
              </a:rPr>
              <a:t>(Codeblock is assigned for all EY Personnel and Engagements)</a:t>
            </a:r>
            <a:endParaRPr lang="en-IN" sz="1100" b="1" dirty="0">
              <a:solidFill>
                <a:schemeClr val="bg1"/>
              </a:solidFill>
            </a:endParaRPr>
          </a:p>
        </p:txBody>
      </p:sp>
      <p:graphicFrame>
        <p:nvGraphicFramePr>
          <p:cNvPr id="22" name="Diagram 21">
            <a:extLst>
              <a:ext uri="{FF2B5EF4-FFF2-40B4-BE49-F238E27FC236}">
                <a16:creationId xmlns:a16="http://schemas.microsoft.com/office/drawing/2014/main" id="{435B1017-40DB-448E-95AA-30BF2E63CA13}"/>
              </a:ext>
            </a:extLst>
          </p:cNvPr>
          <p:cNvGraphicFramePr/>
          <p:nvPr>
            <p:extLst>
              <p:ext uri="{D42A27DB-BD31-4B8C-83A1-F6EECF244321}">
                <p14:modId xmlns:p14="http://schemas.microsoft.com/office/powerpoint/2010/main" val="371126308"/>
              </p:ext>
            </p:extLst>
          </p:nvPr>
        </p:nvGraphicFramePr>
        <p:xfrm>
          <a:off x="6644473" y="1559244"/>
          <a:ext cx="5259201" cy="45010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 name="Textfeld 24">
            <a:extLst>
              <a:ext uri="{FF2B5EF4-FFF2-40B4-BE49-F238E27FC236}">
                <a16:creationId xmlns:a16="http://schemas.microsoft.com/office/drawing/2014/main" id="{02620DEA-0065-42D3-8434-FD9FF6BC3418}"/>
              </a:ext>
            </a:extLst>
          </p:cNvPr>
          <p:cNvSpPr txBox="1"/>
          <p:nvPr/>
        </p:nvSpPr>
        <p:spPr bwMode="gray">
          <a:xfrm>
            <a:off x="603668" y="1095558"/>
            <a:ext cx="5506266" cy="210047"/>
          </a:xfrm>
          <a:prstGeom prst="rect">
            <a:avLst/>
          </a:prstGeom>
          <a:solidFill>
            <a:schemeClr val="bg1">
              <a:lumMod val="20000"/>
              <a:lumOff val="80000"/>
            </a:schemeClr>
          </a:solidFill>
          <a:ln w="12700" algn="ctr">
            <a:noFill/>
            <a:miter lim="800000"/>
            <a:headEnd/>
            <a:tailEnd/>
          </a:ln>
          <a:effectLst/>
        </p:spPr>
        <p:txBody>
          <a:bodyPr lIns="0" tIns="0" rIns="0" bIns="0" anchor="ctr"/>
          <a:lstStyle/>
          <a:p>
            <a:pPr algn="ctr" defTabSz="916169" eaLnBrk="0" hangingPunct="0">
              <a:lnSpc>
                <a:spcPct val="95000"/>
              </a:lnSpc>
              <a:spcAft>
                <a:spcPts val="914"/>
              </a:spcAft>
              <a:buClr>
                <a:srgbClr val="969696"/>
              </a:buClr>
              <a:defRPr/>
            </a:pPr>
            <a:r>
              <a:rPr lang="en-US" b="1" dirty="0">
                <a:solidFill>
                  <a:srgbClr val="646464"/>
                </a:solidFill>
                <a:latin typeface="+mj-lt"/>
                <a:cs typeface="Arial" charset="0"/>
              </a:rPr>
              <a:t>Legacy (IA and GFIS)</a:t>
            </a:r>
          </a:p>
        </p:txBody>
      </p:sp>
      <p:sp>
        <p:nvSpPr>
          <p:cNvPr id="24" name="Textfeld 24">
            <a:extLst>
              <a:ext uri="{FF2B5EF4-FFF2-40B4-BE49-F238E27FC236}">
                <a16:creationId xmlns:a16="http://schemas.microsoft.com/office/drawing/2014/main" id="{679D8DF2-B259-4FB6-BCBA-8D6CDB031FD2}"/>
              </a:ext>
            </a:extLst>
          </p:cNvPr>
          <p:cNvSpPr txBox="1"/>
          <p:nvPr/>
        </p:nvSpPr>
        <p:spPr bwMode="gray">
          <a:xfrm>
            <a:off x="6688029" y="1139943"/>
            <a:ext cx="5110087" cy="244226"/>
          </a:xfrm>
          <a:prstGeom prst="rect">
            <a:avLst/>
          </a:prstGeom>
          <a:solidFill>
            <a:schemeClr val="accent2"/>
          </a:solidFill>
          <a:ln w="12700" algn="ctr">
            <a:noFill/>
            <a:miter lim="800000"/>
            <a:headEnd/>
            <a:tailEnd/>
          </a:ln>
          <a:effectLst/>
        </p:spPr>
        <p:txBody>
          <a:bodyPr lIns="0" tIns="0" rIns="0" bIns="0" anchor="ctr"/>
          <a:lstStyle/>
          <a:p>
            <a:pPr algn="ctr" defTabSz="916169" eaLnBrk="0" hangingPunct="0">
              <a:lnSpc>
                <a:spcPct val="95000"/>
              </a:lnSpc>
              <a:spcAft>
                <a:spcPts val="914"/>
              </a:spcAft>
              <a:buClr>
                <a:srgbClr val="969696"/>
              </a:buClr>
              <a:defRPr/>
            </a:pPr>
            <a:r>
              <a:rPr lang="en-US" b="1" dirty="0">
                <a:solidFill>
                  <a:srgbClr val="646464"/>
                </a:solidFill>
                <a:latin typeface="+mj-lt"/>
                <a:cs typeface="Arial" charset="0"/>
              </a:rPr>
              <a:t>Mercury (One enterprise system)</a:t>
            </a:r>
          </a:p>
        </p:txBody>
      </p:sp>
      <p:cxnSp>
        <p:nvCxnSpPr>
          <p:cNvPr id="33" name="Gerade Verbindung 30">
            <a:extLst>
              <a:ext uri="{FF2B5EF4-FFF2-40B4-BE49-F238E27FC236}">
                <a16:creationId xmlns:a16="http://schemas.microsoft.com/office/drawing/2014/main" id="{11D0669A-163F-4103-9F9D-6822F521CBCF}"/>
              </a:ext>
            </a:extLst>
          </p:cNvPr>
          <p:cNvCxnSpPr>
            <a:cxnSpLocks/>
          </p:cNvCxnSpPr>
          <p:nvPr/>
        </p:nvCxnSpPr>
        <p:spPr bwMode="gray">
          <a:xfrm flipV="1">
            <a:off x="6392035" y="1095558"/>
            <a:ext cx="0" cy="5123050"/>
          </a:xfrm>
          <a:prstGeom prst="line">
            <a:avLst/>
          </a:prstGeom>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629996"/>
      </p:ext>
    </p:extLst>
  </p:cSld>
  <p:clrMapOvr>
    <a:masterClrMapping/>
  </p:clrMapOvr>
  <mc:AlternateContent xmlns:mc="http://schemas.openxmlformats.org/markup-compatibility/2006" xmlns:p14="http://schemas.microsoft.com/office/powerpoint/2010/main">
    <mc:Choice Requires="p14">
      <p:transition spd="slow" p14:dur="1500" advTm="56692">
        <p:split orient="vert"/>
      </p:transition>
    </mc:Choice>
    <mc:Fallback xmlns="">
      <p:transition spd="slow" advTm="56692">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321" y="193626"/>
            <a:ext cx="8232775" cy="860400"/>
          </a:xfrm>
        </p:spPr>
        <p:txBody>
          <a:bodyPr anchor="ctr"/>
          <a:lstStyle/>
          <a:p>
            <a:r>
              <a:rPr lang="en-IN" sz="2400" dirty="0">
                <a:solidFill>
                  <a:schemeClr val="bg1">
                    <a:lumMod val="75000"/>
                  </a:schemeClr>
                </a:solidFill>
                <a:latin typeface="EYInterstate" panose="02000503020000020004" pitchFamily="2" charset="0"/>
              </a:rPr>
              <a:t>Engagement Pricing</a:t>
            </a:r>
          </a:p>
        </p:txBody>
      </p:sp>
      <p:sp>
        <p:nvSpPr>
          <p:cNvPr id="54" name="Freeform 53"/>
          <p:cNvSpPr/>
          <p:nvPr/>
        </p:nvSpPr>
        <p:spPr>
          <a:xfrm>
            <a:off x="1749477" y="1145731"/>
            <a:ext cx="3187565" cy="452945"/>
          </a:xfrm>
          <a:prstGeom prst="flowChartProcess">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4701" tIns="47556" rIns="64701" bIns="47556" numCol="1" spcCol="1270" anchor="ctr" anchorCtr="0">
            <a:noAutofit/>
          </a:bodyPr>
          <a:lstStyle/>
          <a:p>
            <a:pPr algn="ctr" defTabSz="1200150">
              <a:lnSpc>
                <a:spcPct val="90000"/>
              </a:lnSpc>
              <a:spcBef>
                <a:spcPct val="0"/>
              </a:spcBef>
              <a:spcAft>
                <a:spcPct val="35000"/>
              </a:spcAft>
            </a:pPr>
            <a:r>
              <a:rPr lang="en-US" sz="2700" dirty="0"/>
              <a:t>Legacy Model</a:t>
            </a:r>
            <a:endParaRPr lang="en-IN" sz="2700" dirty="0"/>
          </a:p>
        </p:txBody>
      </p:sp>
      <p:sp>
        <p:nvSpPr>
          <p:cNvPr id="56" name="Freeform 55"/>
          <p:cNvSpPr/>
          <p:nvPr/>
        </p:nvSpPr>
        <p:spPr>
          <a:xfrm>
            <a:off x="2223700" y="1785854"/>
            <a:ext cx="2274551" cy="454907"/>
          </a:xfrm>
          <a:prstGeom prst="flowChartProcess">
            <a:avLst/>
          </a:prstGeom>
          <a:ln>
            <a:solidFill>
              <a:schemeClr val="bg1"/>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a:solidFill>
                  <a:schemeClr val="tx2"/>
                </a:solidFill>
              </a:rPr>
              <a:t>Hours</a:t>
            </a:r>
            <a:endParaRPr lang="en-IN" sz="1400" dirty="0">
              <a:solidFill>
                <a:schemeClr val="tx2"/>
              </a:solidFill>
            </a:endParaRPr>
          </a:p>
        </p:txBody>
      </p:sp>
      <p:sp>
        <p:nvSpPr>
          <p:cNvPr id="58" name="Freeform 57"/>
          <p:cNvSpPr/>
          <p:nvPr/>
        </p:nvSpPr>
        <p:spPr>
          <a:xfrm>
            <a:off x="2223700" y="2427939"/>
            <a:ext cx="2274551" cy="454907"/>
          </a:xfrm>
          <a:prstGeom prst="flowChartProcess">
            <a:avLst/>
          </a:prstGeom>
          <a:solidFill>
            <a:srgbClr val="FFE600">
              <a:alpha val="89804"/>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Standard Bill Rate</a:t>
            </a:r>
            <a:endParaRPr lang="en-IN" sz="1400" dirty="0"/>
          </a:p>
        </p:txBody>
      </p:sp>
      <p:sp>
        <p:nvSpPr>
          <p:cNvPr id="60" name="Freeform 59"/>
          <p:cNvSpPr/>
          <p:nvPr/>
        </p:nvSpPr>
        <p:spPr>
          <a:xfrm>
            <a:off x="2223700" y="3070024"/>
            <a:ext cx="2274551" cy="454907"/>
          </a:xfrm>
          <a:prstGeom prst="flowChartProcess">
            <a:avLst/>
          </a:prstGeom>
          <a:solidFill>
            <a:srgbClr val="FFE600">
              <a:alpha val="90000"/>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Standard Engagement Revenue (SER)</a:t>
            </a:r>
            <a:endParaRPr lang="en-IN" sz="1400" dirty="0"/>
          </a:p>
        </p:txBody>
      </p:sp>
      <p:sp>
        <p:nvSpPr>
          <p:cNvPr id="62" name="Freeform 61"/>
          <p:cNvSpPr/>
          <p:nvPr/>
        </p:nvSpPr>
        <p:spPr>
          <a:xfrm>
            <a:off x="2223700" y="3712108"/>
            <a:ext cx="2274551" cy="454907"/>
          </a:xfrm>
          <a:prstGeom prst="flowChartProcess">
            <a:avLst/>
          </a:prstGeom>
          <a:solidFill>
            <a:srgbClr val="FFE600">
              <a:alpha val="90000"/>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ERP (Old Discount)</a:t>
            </a:r>
            <a:endParaRPr lang="en-IN" sz="1400" dirty="0"/>
          </a:p>
        </p:txBody>
      </p:sp>
      <p:sp>
        <p:nvSpPr>
          <p:cNvPr id="64" name="Freeform 63"/>
          <p:cNvSpPr/>
          <p:nvPr/>
        </p:nvSpPr>
        <p:spPr>
          <a:xfrm>
            <a:off x="2223700" y="4354193"/>
            <a:ext cx="2274551" cy="454907"/>
          </a:xfrm>
          <a:prstGeom prst="flowChartProcess">
            <a:avLst/>
          </a:prstGeom>
          <a:solidFill>
            <a:srgbClr val="FFE600">
              <a:alpha val="90000"/>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Net Engagement Revenue (NER)</a:t>
            </a:r>
            <a:endParaRPr lang="en-IN" sz="1400" dirty="0"/>
          </a:p>
        </p:txBody>
      </p:sp>
      <p:sp>
        <p:nvSpPr>
          <p:cNvPr id="66" name="Freeform 65"/>
          <p:cNvSpPr/>
          <p:nvPr/>
        </p:nvSpPr>
        <p:spPr>
          <a:xfrm>
            <a:off x="2223700" y="4996278"/>
            <a:ext cx="2274551" cy="454907"/>
          </a:xfrm>
          <a:prstGeom prst="flowChartProcess">
            <a:avLst/>
          </a:prstGeom>
          <a:ln>
            <a:solidFill>
              <a:schemeClr val="bg1"/>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solidFill>
                  <a:schemeClr val="tx2"/>
                </a:solidFill>
              </a:rPr>
              <a:t>Actual Direct Cost</a:t>
            </a:r>
            <a:endParaRPr lang="en-IN" sz="1400" dirty="0">
              <a:solidFill>
                <a:schemeClr val="tx2"/>
              </a:solidFill>
            </a:endParaRPr>
          </a:p>
        </p:txBody>
      </p:sp>
      <p:sp>
        <p:nvSpPr>
          <p:cNvPr id="68" name="Freeform 67"/>
          <p:cNvSpPr/>
          <p:nvPr/>
        </p:nvSpPr>
        <p:spPr>
          <a:xfrm>
            <a:off x="2223700" y="5638362"/>
            <a:ext cx="2274551" cy="454907"/>
          </a:xfrm>
          <a:prstGeom prst="flowChartProcess">
            <a:avLst/>
          </a:prstGeom>
          <a:ln>
            <a:solidFill>
              <a:schemeClr val="bg1"/>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a:solidFill>
                  <a:schemeClr val="tx2"/>
                </a:solidFill>
              </a:rPr>
              <a:t>Gross Margin</a:t>
            </a:r>
            <a:endParaRPr lang="en-IN" sz="1400" dirty="0">
              <a:solidFill>
                <a:schemeClr val="tx2"/>
              </a:solidFill>
            </a:endParaRPr>
          </a:p>
        </p:txBody>
      </p:sp>
      <p:sp>
        <p:nvSpPr>
          <p:cNvPr id="69" name="Freeform 68"/>
          <p:cNvSpPr/>
          <p:nvPr/>
        </p:nvSpPr>
        <p:spPr>
          <a:xfrm>
            <a:off x="6651928" y="1145731"/>
            <a:ext cx="3187565" cy="452945"/>
          </a:xfrm>
          <a:prstGeom prst="flowChartProcess">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4701" tIns="47556" rIns="64701" bIns="47556" numCol="1" spcCol="1270" anchor="ctr" anchorCtr="0">
            <a:noAutofit/>
          </a:bodyPr>
          <a:lstStyle/>
          <a:p>
            <a:pPr algn="ctr" defTabSz="1200150">
              <a:lnSpc>
                <a:spcPct val="90000"/>
              </a:lnSpc>
              <a:spcBef>
                <a:spcPct val="0"/>
              </a:spcBef>
              <a:spcAft>
                <a:spcPct val="35000"/>
              </a:spcAft>
            </a:pPr>
            <a:r>
              <a:rPr lang="en-US" sz="2700" dirty="0"/>
              <a:t>Mercury Model</a:t>
            </a:r>
            <a:endParaRPr lang="en-IN" sz="2700" dirty="0"/>
          </a:p>
        </p:txBody>
      </p:sp>
      <p:sp>
        <p:nvSpPr>
          <p:cNvPr id="71" name="Freeform 70"/>
          <p:cNvSpPr/>
          <p:nvPr/>
        </p:nvSpPr>
        <p:spPr>
          <a:xfrm>
            <a:off x="7202353" y="1785854"/>
            <a:ext cx="2274551" cy="454907"/>
          </a:xfrm>
          <a:prstGeom prst="flowChartProcess">
            <a:avLst/>
          </a:prstGeom>
          <a:ln>
            <a:solidFill>
              <a:schemeClr val="bg1"/>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a:solidFill>
                  <a:schemeClr val="tx2"/>
                </a:solidFill>
              </a:rPr>
              <a:t>Hours</a:t>
            </a:r>
            <a:endParaRPr lang="en-IN" sz="1400" dirty="0">
              <a:solidFill>
                <a:schemeClr val="tx2"/>
              </a:solidFill>
            </a:endParaRPr>
          </a:p>
        </p:txBody>
      </p:sp>
      <p:sp>
        <p:nvSpPr>
          <p:cNvPr id="73" name="Freeform 72"/>
          <p:cNvSpPr/>
          <p:nvPr/>
        </p:nvSpPr>
        <p:spPr>
          <a:xfrm>
            <a:off x="7202353" y="2427939"/>
            <a:ext cx="2274551" cy="454907"/>
          </a:xfrm>
          <a:prstGeom prst="flowChartProcess">
            <a:avLst/>
          </a:prstGeom>
          <a:solidFill>
            <a:srgbClr val="FFE600">
              <a:alpha val="89804"/>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Net Standard Revenue Rate</a:t>
            </a:r>
            <a:endParaRPr lang="en-IN" sz="1400" dirty="0"/>
          </a:p>
        </p:txBody>
      </p:sp>
      <p:sp>
        <p:nvSpPr>
          <p:cNvPr id="75" name="Freeform 74"/>
          <p:cNvSpPr/>
          <p:nvPr/>
        </p:nvSpPr>
        <p:spPr>
          <a:xfrm>
            <a:off x="7202353" y="3070024"/>
            <a:ext cx="2274551" cy="454907"/>
          </a:xfrm>
          <a:prstGeom prst="flowChartProcess">
            <a:avLst/>
          </a:prstGeom>
          <a:solidFill>
            <a:srgbClr val="FFE600">
              <a:alpha val="90000"/>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Net Standard Revenue (NSR)</a:t>
            </a:r>
            <a:endParaRPr lang="en-IN" sz="1400" dirty="0"/>
          </a:p>
        </p:txBody>
      </p:sp>
      <p:sp>
        <p:nvSpPr>
          <p:cNvPr id="77" name="Freeform 76"/>
          <p:cNvSpPr/>
          <p:nvPr/>
        </p:nvSpPr>
        <p:spPr>
          <a:xfrm>
            <a:off x="7202353" y="3712108"/>
            <a:ext cx="2274551" cy="454907"/>
          </a:xfrm>
          <a:prstGeom prst="flowChartProcess">
            <a:avLst/>
          </a:prstGeom>
          <a:solidFill>
            <a:srgbClr val="FFE600">
              <a:alpha val="90000"/>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EAF (margin Adjustment)</a:t>
            </a:r>
            <a:endParaRPr lang="en-IN" sz="1400" dirty="0"/>
          </a:p>
        </p:txBody>
      </p:sp>
      <p:sp>
        <p:nvSpPr>
          <p:cNvPr id="79" name="Freeform 78"/>
          <p:cNvSpPr/>
          <p:nvPr/>
        </p:nvSpPr>
        <p:spPr>
          <a:xfrm>
            <a:off x="7202353" y="4354193"/>
            <a:ext cx="2274551" cy="454907"/>
          </a:xfrm>
          <a:prstGeom prst="flowChartProcess">
            <a:avLst/>
          </a:prstGeom>
          <a:solidFill>
            <a:srgbClr val="FFE600">
              <a:alpha val="90000"/>
            </a:srgb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t>Adjusted Net Standard Revenue (ANSR)</a:t>
            </a:r>
            <a:endParaRPr lang="en-IN" sz="1400" dirty="0"/>
          </a:p>
        </p:txBody>
      </p:sp>
      <p:sp>
        <p:nvSpPr>
          <p:cNvPr id="81" name="Freeform 80"/>
          <p:cNvSpPr/>
          <p:nvPr/>
        </p:nvSpPr>
        <p:spPr>
          <a:xfrm>
            <a:off x="7202353" y="4996278"/>
            <a:ext cx="2274551" cy="454907"/>
          </a:xfrm>
          <a:prstGeom prst="flowChartProcess">
            <a:avLst/>
          </a:prstGeom>
          <a:ln>
            <a:solidFill>
              <a:schemeClr val="bg1"/>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dirty="0">
                <a:solidFill>
                  <a:schemeClr val="tx2"/>
                </a:solidFill>
              </a:rPr>
              <a:t>Planned Direct Cost</a:t>
            </a:r>
            <a:endParaRPr lang="en-IN" sz="1400" dirty="0">
              <a:solidFill>
                <a:schemeClr val="tx2"/>
              </a:solidFill>
            </a:endParaRPr>
          </a:p>
        </p:txBody>
      </p:sp>
      <p:sp>
        <p:nvSpPr>
          <p:cNvPr id="83" name="Freeform 82"/>
          <p:cNvSpPr/>
          <p:nvPr/>
        </p:nvSpPr>
        <p:spPr>
          <a:xfrm>
            <a:off x="7202353" y="5638362"/>
            <a:ext cx="2274551" cy="454907"/>
          </a:xfrm>
          <a:prstGeom prst="flowChartProcess">
            <a:avLst/>
          </a:prstGeom>
          <a:ln>
            <a:solidFill>
              <a:schemeClr val="bg1"/>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994" tIns="31104" rIns="39994" bIns="31104" numCol="1" spcCol="1270" anchor="ctr" anchorCtr="0">
            <a:noAutofit/>
          </a:bodyPr>
          <a:lstStyle/>
          <a:p>
            <a:pPr algn="ctr" defTabSz="622300">
              <a:lnSpc>
                <a:spcPct val="90000"/>
              </a:lnSpc>
              <a:spcBef>
                <a:spcPct val="0"/>
              </a:spcBef>
              <a:spcAft>
                <a:spcPct val="35000"/>
              </a:spcAft>
            </a:pPr>
            <a:r>
              <a:rPr lang="en-US" sz="1400">
                <a:solidFill>
                  <a:schemeClr val="tx2"/>
                </a:solidFill>
              </a:rPr>
              <a:t>Gross margin</a:t>
            </a:r>
            <a:endParaRPr lang="en-IN" sz="1400" dirty="0">
              <a:solidFill>
                <a:schemeClr val="tx2"/>
              </a:solidFill>
            </a:endParaRPr>
          </a:p>
        </p:txBody>
      </p:sp>
      <p:sp>
        <p:nvSpPr>
          <p:cNvPr id="84" name="Multiply 83"/>
          <p:cNvSpPr/>
          <p:nvPr/>
        </p:nvSpPr>
        <p:spPr>
          <a:xfrm>
            <a:off x="3181954" y="2255700"/>
            <a:ext cx="301752" cy="152400"/>
          </a:xfrm>
          <a:prstGeom prst="mathMultiply">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85" name="Equal 84"/>
          <p:cNvSpPr/>
          <p:nvPr/>
        </p:nvSpPr>
        <p:spPr>
          <a:xfrm>
            <a:off x="3196973" y="2894057"/>
            <a:ext cx="304800" cy="152400"/>
          </a:xfrm>
          <a:prstGeom prst="mathEqual">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86" name="Multiply 85"/>
          <p:cNvSpPr/>
          <p:nvPr/>
        </p:nvSpPr>
        <p:spPr>
          <a:xfrm>
            <a:off x="3200042" y="3543300"/>
            <a:ext cx="301752" cy="152400"/>
          </a:xfrm>
          <a:prstGeom prst="mathMultiply">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87" name="Equal 86"/>
          <p:cNvSpPr/>
          <p:nvPr/>
        </p:nvSpPr>
        <p:spPr>
          <a:xfrm>
            <a:off x="3200017" y="4172806"/>
            <a:ext cx="304800" cy="152400"/>
          </a:xfrm>
          <a:prstGeom prst="mathEqual">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88" name="Minus 87"/>
          <p:cNvSpPr/>
          <p:nvPr/>
        </p:nvSpPr>
        <p:spPr>
          <a:xfrm>
            <a:off x="3200032" y="4812492"/>
            <a:ext cx="301752" cy="152400"/>
          </a:xfrm>
          <a:prstGeom prst="mathMinus">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89" name="Equal 88"/>
          <p:cNvSpPr/>
          <p:nvPr/>
        </p:nvSpPr>
        <p:spPr>
          <a:xfrm>
            <a:off x="3200030" y="5471292"/>
            <a:ext cx="304800" cy="152400"/>
          </a:xfrm>
          <a:prstGeom prst="mathEqual">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0" name="Multiply 89"/>
          <p:cNvSpPr/>
          <p:nvPr/>
        </p:nvSpPr>
        <p:spPr>
          <a:xfrm>
            <a:off x="8185576" y="2255700"/>
            <a:ext cx="301752" cy="152400"/>
          </a:xfrm>
          <a:prstGeom prst="mathMultiply">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1" name="Equal 90"/>
          <p:cNvSpPr/>
          <p:nvPr/>
        </p:nvSpPr>
        <p:spPr>
          <a:xfrm>
            <a:off x="8187433" y="2898468"/>
            <a:ext cx="304800" cy="152400"/>
          </a:xfrm>
          <a:prstGeom prst="mathEqual">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2" name="Multiply 91"/>
          <p:cNvSpPr/>
          <p:nvPr/>
        </p:nvSpPr>
        <p:spPr>
          <a:xfrm>
            <a:off x="8188956" y="3539142"/>
            <a:ext cx="301752" cy="152400"/>
          </a:xfrm>
          <a:prstGeom prst="mathMultiply">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3" name="Equal 92"/>
          <p:cNvSpPr/>
          <p:nvPr/>
        </p:nvSpPr>
        <p:spPr>
          <a:xfrm>
            <a:off x="8185909" y="4187784"/>
            <a:ext cx="304800" cy="152400"/>
          </a:xfrm>
          <a:prstGeom prst="mathEqual">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4" name="Minus 93"/>
          <p:cNvSpPr/>
          <p:nvPr/>
        </p:nvSpPr>
        <p:spPr>
          <a:xfrm>
            <a:off x="8185587" y="4812492"/>
            <a:ext cx="301752" cy="152400"/>
          </a:xfrm>
          <a:prstGeom prst="mathMinus">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95" name="Equal 94"/>
          <p:cNvSpPr/>
          <p:nvPr/>
        </p:nvSpPr>
        <p:spPr>
          <a:xfrm>
            <a:off x="8185598" y="5471292"/>
            <a:ext cx="304800" cy="152400"/>
          </a:xfrm>
          <a:prstGeom prst="mathEqual">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4" name="Rectangular Callout 3"/>
          <p:cNvSpPr/>
          <p:nvPr/>
        </p:nvSpPr>
        <p:spPr>
          <a:xfrm>
            <a:off x="660906" y="3712108"/>
            <a:ext cx="1088571" cy="451363"/>
          </a:xfrm>
          <a:prstGeom prst="wedgeRectCallout">
            <a:avLst>
              <a:gd name="adj1" fmla="val 91167"/>
              <a:gd name="adj2" fmla="val -205"/>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Manual Input</a:t>
            </a:r>
            <a:endParaRPr lang="en-IN" sz="1200" dirty="0">
              <a:solidFill>
                <a:schemeClr val="tx2"/>
              </a:solidFill>
            </a:endParaRPr>
          </a:p>
        </p:txBody>
      </p:sp>
      <p:sp>
        <p:nvSpPr>
          <p:cNvPr id="49" name="Rectangular Callout 48"/>
          <p:cNvSpPr/>
          <p:nvPr/>
        </p:nvSpPr>
        <p:spPr>
          <a:xfrm>
            <a:off x="9830609" y="3520846"/>
            <a:ext cx="1088571" cy="817431"/>
          </a:xfrm>
          <a:prstGeom prst="wedgeRectCallout">
            <a:avLst>
              <a:gd name="adj1" fmla="val -80833"/>
              <a:gd name="adj2" fmla="val 10449"/>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2"/>
                </a:solidFill>
              </a:rPr>
              <a:t>Balancing Figure: ANSR </a:t>
            </a:r>
          </a:p>
          <a:p>
            <a:pPr algn="ctr"/>
            <a:r>
              <a:rPr lang="en-US" sz="1200" dirty="0">
                <a:solidFill>
                  <a:schemeClr val="tx2"/>
                </a:solidFill>
              </a:rPr>
              <a:t>Less NSR</a:t>
            </a:r>
            <a:endParaRPr lang="en-IN" sz="1200" dirty="0">
              <a:solidFill>
                <a:schemeClr val="tx2"/>
              </a:solidFill>
            </a:endParaRPr>
          </a:p>
        </p:txBody>
      </p:sp>
      <p:sp>
        <p:nvSpPr>
          <p:cNvPr id="3" name="Arrow: Left-Right 2">
            <a:extLst>
              <a:ext uri="{FF2B5EF4-FFF2-40B4-BE49-F238E27FC236}">
                <a16:creationId xmlns:a16="http://schemas.microsoft.com/office/drawing/2014/main" id="{256361BB-06F0-4926-B3FE-06004C3A0E98}"/>
              </a:ext>
            </a:extLst>
          </p:cNvPr>
          <p:cNvSpPr/>
          <p:nvPr/>
        </p:nvSpPr>
        <p:spPr>
          <a:xfrm>
            <a:off x="5220070" y="3309722"/>
            <a:ext cx="1212886" cy="451363"/>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en-IN" sz="1200" dirty="0">
                <a:solidFill>
                  <a:schemeClr val="tx1"/>
                </a:solidFill>
              </a:rPr>
              <a:t>  </a:t>
            </a:r>
            <a:r>
              <a:rPr lang="en-IN" sz="1400" b="1" dirty="0">
                <a:solidFill>
                  <a:schemeClr val="tx1"/>
                </a:solidFill>
              </a:rPr>
              <a:t>Vs.</a:t>
            </a:r>
          </a:p>
        </p:txBody>
      </p:sp>
    </p:spTree>
    <p:extLst>
      <p:ext uri="{BB962C8B-B14F-4D97-AF65-F5344CB8AC3E}">
        <p14:creationId xmlns:p14="http://schemas.microsoft.com/office/powerpoint/2010/main" val="1421134170"/>
      </p:ext>
    </p:extLst>
  </p:cSld>
  <p:clrMapOvr>
    <a:masterClrMapping/>
  </p:clrMapOvr>
  <mc:AlternateContent xmlns:mc="http://schemas.openxmlformats.org/markup-compatibility/2006" xmlns:p14="http://schemas.microsoft.com/office/powerpoint/2010/main">
    <mc:Choice Requires="p14">
      <p:transition spd="slow" p14:dur="1500" advTm="136378">
        <p:split orient="vert"/>
      </p:transition>
    </mc:Choice>
    <mc:Fallback xmlns="">
      <p:transition spd="slow" advTm="136378">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4578431</vt:lpwstr>
  </property>
  <property fmtid="{D5CDD505-2E9C-101B-9397-08002B2CF9AE}" pid="4" name="OptimizationTime">
    <vt:lpwstr>20200522_1918</vt:lpwstr>
  </property>
</Properties>
</file>

<file path=docProps/app.xml><?xml version="1.0" encoding="utf-8"?>
<Properties xmlns="http://schemas.openxmlformats.org/officeDocument/2006/extended-properties" xmlns:vt="http://schemas.openxmlformats.org/officeDocument/2006/docPropsVTypes">
  <Template/>
  <TotalTime>0</TotalTime>
  <Words>3327</Words>
  <Application>Microsoft Office PowerPoint</Application>
  <PresentationFormat>Custom</PresentationFormat>
  <Paragraphs>789</Paragraphs>
  <Slides>27</Slides>
  <Notes>1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7" baseType="lpstr">
      <vt:lpstr> Arial</vt:lpstr>
      <vt:lpstr>Arial</vt:lpstr>
      <vt:lpstr>Calibri</vt:lpstr>
      <vt:lpstr>EYInterstate</vt:lpstr>
      <vt:lpstr>EYInterstate Light</vt:lpstr>
      <vt:lpstr>Georgia</vt:lpstr>
      <vt:lpstr>EY dark background</vt:lpstr>
      <vt:lpstr>EY light background</vt:lpstr>
      <vt:lpstr>EY widescreen presentation 2015 v1</vt:lpstr>
      <vt:lpstr>think-cell Slide</vt:lpstr>
      <vt:lpstr>Business of our Business</vt:lpstr>
      <vt:lpstr>Agenda</vt:lpstr>
      <vt:lpstr>Understanding what EY Does</vt:lpstr>
      <vt:lpstr>PowerPoint Presentation</vt:lpstr>
      <vt:lpstr>Service Lines and Sub Service Lines</vt:lpstr>
      <vt:lpstr>How are our customers structured in EY</vt:lpstr>
      <vt:lpstr>Opportunity and Engagement Life Cycle – Legacy vs Mercury</vt:lpstr>
      <vt:lpstr>GFIS Codeblock vs Mercury Structure</vt:lpstr>
      <vt:lpstr>Engagement Pricing</vt:lpstr>
      <vt:lpstr>Markets and Finance Focus – Key Metrics</vt:lpstr>
      <vt:lpstr>Mercury OneGate</vt:lpstr>
      <vt:lpstr>Fiscal Calendar and concept of dates</vt:lpstr>
      <vt:lpstr>Appendix</vt:lpstr>
      <vt:lpstr>Who are our customers? And how do we provide services and lead to EY revenue ?</vt:lpstr>
      <vt:lpstr>Pursuit lifecycle Why clients go out to bid</vt:lpstr>
      <vt:lpstr>Pursuit lifecycle Framework</vt:lpstr>
      <vt:lpstr>GFIS vs Mercury – What’s changing?</vt:lpstr>
      <vt:lpstr>EY Revenue</vt:lpstr>
      <vt:lpstr>GTER Concept - Overview</vt:lpstr>
      <vt:lpstr>EY Operations Statement – Overview</vt:lpstr>
      <vt:lpstr>EY Operations Statement</vt:lpstr>
      <vt:lpstr>EY Operations Statement – RCIE</vt:lpstr>
      <vt:lpstr>PowerPoint Presentation</vt:lpstr>
      <vt:lpstr>Other key metrics</vt:lpstr>
      <vt:lpstr>Other key metrics (continued…)</vt:lpstr>
      <vt:lpstr>Full Time Equivalent</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6-03-16T05:57:48Z</dcterms:created>
  <dcterms:modified xsi:type="dcterms:W3CDTF">2020-05-22T13:48:41Z</dcterms:modified>
  <cp:contentStatus/>
</cp:coreProperties>
</file>